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3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4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charts/chart8.xml" ContentType="application/vnd.openxmlformats-officedocument.drawingml.chart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charts/chart10.xml" ContentType="application/vnd.openxmlformats-officedocument.drawingml.chart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charts/chart11.xml" ContentType="application/vnd.openxmlformats-officedocument.drawingml.chart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charts/chart12.xml" ContentType="application/vnd.openxmlformats-officedocument.drawingml.chart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44.xml" ContentType="application/vnd.openxmlformats-officedocument.drawingml.chart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charts/chart51.xml" ContentType="application/vnd.openxmlformats-officedocument.drawingml.chart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charts/chart52.xml" ContentType="application/vnd.openxmlformats-officedocument.drawingml.chart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53.xml" ContentType="application/vnd.openxmlformats-officedocument.drawingml.chart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54.xml" ContentType="application/vnd.openxmlformats-officedocument.drawingml.chart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57.xml" ContentType="application/vnd.openxmlformats-officedocument.drawingml.chart+xml"/>
  <Override PartName="/ppt/charts/chart58.xml" ContentType="application/vnd.openxmlformats-officedocument.drawingml.chart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67.xml" ContentType="application/vnd.openxmlformats-officedocument.drawingml.chart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notesSlides/notesSlide18.xml" ContentType="application/vnd.openxmlformats-officedocument.presentationml.notesSlide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charts/chart68.xml" ContentType="application/vnd.openxmlformats-officedocument.drawingml.chart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69.xml" ContentType="application/vnd.openxmlformats-officedocument.drawingml.chart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70.xml" ContentType="application/vnd.openxmlformats-officedocument.drawingml.chart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71.xml" ContentType="application/vnd.openxmlformats-officedocument.drawingml.chart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charts/chart72.xml" ContentType="application/vnd.openxmlformats-officedocument.drawingml.chart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charts/chart73.xml" ContentType="application/vnd.openxmlformats-officedocument.drawingml.chart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charts/chart74.xml" ContentType="application/vnd.openxmlformats-officedocument.drawingml.chart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charts/chart75.xml" ContentType="application/vnd.openxmlformats-officedocument.drawingml.chart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charts/chart76.xml" ContentType="application/vnd.openxmlformats-officedocument.drawingml.chart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charts/chart77.xml" ContentType="application/vnd.openxmlformats-officedocument.drawingml.chart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charts/chart78.xml" ContentType="application/vnd.openxmlformats-officedocument.drawingml.chart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charts/chart79.xml" ContentType="application/vnd.openxmlformats-officedocument.drawingml.chart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charts/chart80.xml" ContentType="application/vnd.openxmlformats-officedocument.drawingml.chart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charts/chart81.xml" ContentType="application/vnd.openxmlformats-officedocument.drawingml.chart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notesSlides/notesSlide22.xml" ContentType="application/vnd.openxmlformats-officedocument.presentationml.notesSlide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charts/chart82.xml" ContentType="application/vnd.openxmlformats-officedocument.drawingml.chart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83.xml" ContentType="application/vnd.openxmlformats-officedocument.drawingml.chart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charts/chart84.xml" ContentType="application/vnd.openxmlformats-officedocument.drawingml.chart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tags/tag2029.xml" ContentType="application/vnd.openxmlformats-officedocument.presentationml.tags+xml"/>
  <Override PartName="/ppt/notesSlides/notesSlide24.xml" ContentType="application/vnd.openxmlformats-officedocument.presentationml.notesSlide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tags/tag2073.xml" ContentType="application/vnd.openxmlformats-officedocument.presentationml.tags+xml"/>
  <Override PartName="/ppt/charts/chart85.xml" ContentType="application/vnd.openxmlformats-officedocument.drawingml.chart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charts/chart86.xml" ContentType="application/vnd.openxmlformats-officedocument.drawingml.chart+xml"/>
  <Override PartName="/ppt/charts/chart87.xml" ContentType="application/vnd.openxmlformats-officedocument.drawingml.chart+xml"/>
  <Override PartName="/ppt/tags/tag2116.xml" ContentType="application/vnd.openxmlformats-officedocument.presentationml.tags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tags/tag2136.xml" ContentType="application/vnd.openxmlformats-officedocument.presentationml.tags+xml"/>
  <Override PartName="/ppt/tags/tag2137.xml" ContentType="application/vnd.openxmlformats-officedocument.presentationml.tags+xml"/>
  <Override PartName="/ppt/tags/tag2138.xml" ContentType="application/vnd.openxmlformats-officedocument.presentationml.tags+xml"/>
  <Override PartName="/ppt/tags/tag2139.xml" ContentType="application/vnd.openxmlformats-officedocument.presentationml.tags+xml"/>
  <Override PartName="/ppt/tags/tag2140.xml" ContentType="application/vnd.openxmlformats-officedocument.presentationml.tags+xml"/>
  <Override PartName="/ppt/tags/tag2141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146.xml" ContentType="application/vnd.openxmlformats-officedocument.presentationml.tags+xml"/>
  <Override PartName="/ppt/tags/tag2147.xml" ContentType="application/vnd.openxmlformats-officedocument.presentationml.tags+xml"/>
  <Override PartName="/ppt/tags/tag2148.xml" ContentType="application/vnd.openxmlformats-officedocument.presentationml.tags+xml"/>
  <Override PartName="/ppt/tags/tag2149.xml" ContentType="application/vnd.openxmlformats-officedocument.presentationml.tags+xml"/>
  <Override PartName="/ppt/tags/tag2150.xml" ContentType="application/vnd.openxmlformats-officedocument.presentationml.tags+xml"/>
  <Override PartName="/ppt/tags/tag2151.xml" ContentType="application/vnd.openxmlformats-officedocument.presentationml.tags+xml"/>
  <Override PartName="/ppt/tags/tag2152.xml" ContentType="application/vnd.openxmlformats-officedocument.presentationml.tags+xml"/>
  <Override PartName="/ppt/charts/chart88.xml" ContentType="application/vnd.openxmlformats-officedocument.drawingml.chart+xml"/>
  <Override PartName="/ppt/tags/tag2153.xml" ContentType="application/vnd.openxmlformats-officedocument.presentationml.tags+xml"/>
  <Override PartName="/ppt/tags/tag2154.xml" ContentType="application/vnd.openxmlformats-officedocument.presentationml.tags+xml"/>
  <Override PartName="/ppt/tags/tag2155.xml" ContentType="application/vnd.openxmlformats-officedocument.presentationml.tags+xml"/>
  <Override PartName="/ppt/tags/tag2156.xml" ContentType="application/vnd.openxmlformats-officedocument.presentationml.tags+xml"/>
  <Override PartName="/ppt/tags/tag2157.xml" ContentType="application/vnd.openxmlformats-officedocument.presentationml.tags+xml"/>
  <Override PartName="/ppt/tags/tag2158.xml" ContentType="application/vnd.openxmlformats-officedocument.presentationml.tags+xml"/>
  <Override PartName="/ppt/tags/tag2159.xml" ContentType="application/vnd.openxmlformats-officedocument.presentationml.tags+xml"/>
  <Override PartName="/ppt/tags/tag2160.xml" ContentType="application/vnd.openxmlformats-officedocument.presentationml.tags+xml"/>
  <Override PartName="/ppt/tags/tag2161.xml" ContentType="application/vnd.openxmlformats-officedocument.presentationml.tags+xml"/>
  <Override PartName="/ppt/tags/tag2162.xml" ContentType="application/vnd.openxmlformats-officedocument.presentationml.tags+xml"/>
  <Override PartName="/ppt/tags/tag2163.xml" ContentType="application/vnd.openxmlformats-officedocument.presentationml.tags+xml"/>
  <Override PartName="/ppt/tags/tag2164.xml" ContentType="application/vnd.openxmlformats-officedocument.presentationml.tags+xml"/>
  <Override PartName="/ppt/tags/tag2165.xml" ContentType="application/vnd.openxmlformats-officedocument.presentationml.tags+xml"/>
  <Override PartName="/ppt/tags/tag2166.xml" ContentType="application/vnd.openxmlformats-officedocument.presentationml.tags+xml"/>
  <Override PartName="/ppt/tags/tag2167.xml" ContentType="application/vnd.openxmlformats-officedocument.presentationml.tags+xml"/>
  <Override PartName="/ppt/tags/tag2168.xml" ContentType="application/vnd.openxmlformats-officedocument.presentationml.tags+xml"/>
  <Override PartName="/ppt/tags/tag2169.xml" ContentType="application/vnd.openxmlformats-officedocument.presentationml.tags+xml"/>
  <Override PartName="/ppt/tags/tag2170.xml" ContentType="application/vnd.openxmlformats-officedocument.presentationml.tags+xml"/>
  <Override PartName="/ppt/tags/tag2171.xml" ContentType="application/vnd.openxmlformats-officedocument.presentationml.tags+xml"/>
  <Override PartName="/ppt/tags/tag2172.xml" ContentType="application/vnd.openxmlformats-officedocument.presentationml.tags+xml"/>
  <Override PartName="/ppt/tags/tag2173.xml" ContentType="application/vnd.openxmlformats-officedocument.presentationml.tags+xml"/>
  <Override PartName="/ppt/tags/tag2174.xml" ContentType="application/vnd.openxmlformats-officedocument.presentationml.tags+xml"/>
  <Override PartName="/ppt/tags/tag2175.xml" ContentType="application/vnd.openxmlformats-officedocument.presentationml.tags+xml"/>
  <Override PartName="/ppt/tags/tag2176.xml" ContentType="application/vnd.openxmlformats-officedocument.presentationml.tags+xml"/>
  <Override PartName="/ppt/charts/chart89.xml" ContentType="application/vnd.openxmlformats-officedocument.drawingml.chart+xml"/>
  <Override PartName="/ppt/charts/chart90.xml" ContentType="application/vnd.openxmlformats-officedocument.drawingml.chart+xml"/>
  <Override PartName="/ppt/tags/tag2177.xml" ContentType="application/vnd.openxmlformats-officedocument.presentationml.tags+xml"/>
  <Override PartName="/ppt/tags/tag2178.xml" ContentType="application/vnd.openxmlformats-officedocument.presentationml.tags+xml"/>
  <Override PartName="/ppt/tags/tag2179.xml" ContentType="application/vnd.openxmlformats-officedocument.presentationml.tags+xml"/>
  <Override PartName="/ppt/tags/tag2180.xml" ContentType="application/vnd.openxmlformats-officedocument.presentationml.tags+xml"/>
  <Override PartName="/ppt/tags/tag2181.xml" ContentType="application/vnd.openxmlformats-officedocument.presentationml.tags+xml"/>
  <Override PartName="/ppt/tags/tag2182.xml" ContentType="application/vnd.openxmlformats-officedocument.presentationml.tags+xml"/>
  <Override PartName="/ppt/tags/tag2183.xml" ContentType="application/vnd.openxmlformats-officedocument.presentationml.tags+xml"/>
  <Override PartName="/ppt/tags/tag2184.xml" ContentType="application/vnd.openxmlformats-officedocument.presentationml.tags+xml"/>
  <Override PartName="/ppt/tags/tag2185.xml" ContentType="application/vnd.openxmlformats-officedocument.presentationml.tags+xml"/>
  <Override PartName="/ppt/tags/tag2186.xml" ContentType="application/vnd.openxmlformats-officedocument.presentationml.tags+xml"/>
  <Override PartName="/ppt/tags/tag2187.xml" ContentType="application/vnd.openxmlformats-officedocument.presentationml.tags+xml"/>
  <Override PartName="/ppt/tags/tag2188.xml" ContentType="application/vnd.openxmlformats-officedocument.presentationml.tags+xml"/>
  <Override PartName="/ppt/tags/tag2189.xml" ContentType="application/vnd.openxmlformats-officedocument.presentationml.tags+xml"/>
  <Override PartName="/ppt/tags/tag2190.xml" ContentType="application/vnd.openxmlformats-officedocument.presentationml.tags+xml"/>
  <Override PartName="/ppt/tags/tag2191.xml" ContentType="application/vnd.openxmlformats-officedocument.presentationml.tags+xml"/>
  <Override PartName="/ppt/tags/tag2192.xml" ContentType="application/vnd.openxmlformats-officedocument.presentationml.tags+xml"/>
  <Override PartName="/ppt/tags/tag2193.xml" ContentType="application/vnd.openxmlformats-officedocument.presentationml.tags+xml"/>
  <Override PartName="/ppt/tags/tag2194.xml" ContentType="application/vnd.openxmlformats-officedocument.presentationml.tags+xml"/>
  <Override PartName="/ppt/tags/tag2195.xml" ContentType="application/vnd.openxmlformats-officedocument.presentationml.tags+xml"/>
  <Override PartName="/ppt/tags/tag2196.xml" ContentType="application/vnd.openxmlformats-officedocument.presentationml.tags+xml"/>
  <Override PartName="/ppt/tags/tag2197.xml" ContentType="application/vnd.openxmlformats-officedocument.presentationml.tags+xml"/>
  <Override PartName="/ppt/tags/tag2198.xml" ContentType="application/vnd.openxmlformats-officedocument.presentationml.tags+xml"/>
  <Override PartName="/ppt/tags/tag2199.xml" ContentType="application/vnd.openxmlformats-officedocument.presentationml.tags+xml"/>
  <Override PartName="/ppt/tags/tag2200.xml" ContentType="application/vnd.openxmlformats-officedocument.presentationml.tags+xml"/>
  <Override PartName="/ppt/tags/tag2201.xml" ContentType="application/vnd.openxmlformats-officedocument.presentationml.tags+xml"/>
  <Override PartName="/ppt/tags/tag2202.xml" ContentType="application/vnd.openxmlformats-officedocument.presentationml.tags+xml"/>
  <Override PartName="/ppt/tags/tag2203.xml" ContentType="application/vnd.openxmlformats-officedocument.presentationml.tags+xml"/>
  <Override PartName="/ppt/tags/tag2204.xml" ContentType="application/vnd.openxmlformats-officedocument.presentationml.tags+xml"/>
  <Override PartName="/ppt/tags/tag2205.xml" ContentType="application/vnd.openxmlformats-officedocument.presentationml.tags+xml"/>
  <Override PartName="/ppt/tags/tag2206.xml" ContentType="application/vnd.openxmlformats-officedocument.presentationml.tags+xml"/>
  <Override PartName="/ppt/tags/tag2207.xml" ContentType="application/vnd.openxmlformats-officedocument.presentationml.tags+xml"/>
  <Override PartName="/ppt/tags/tag2208.xml" ContentType="application/vnd.openxmlformats-officedocument.presentationml.tags+xml"/>
  <Override PartName="/ppt/tags/tag2209.xml" ContentType="application/vnd.openxmlformats-officedocument.presentationml.tags+xml"/>
  <Override PartName="/ppt/tags/tag2210.xml" ContentType="application/vnd.openxmlformats-officedocument.presentationml.tags+xml"/>
  <Override PartName="/ppt/tags/tag2211.xml" ContentType="application/vnd.openxmlformats-officedocument.presentationml.tags+xml"/>
  <Override PartName="/ppt/tags/tag2212.xml" ContentType="application/vnd.openxmlformats-officedocument.presentationml.tags+xml"/>
  <Override PartName="/ppt/tags/tag2213.xml" ContentType="application/vnd.openxmlformats-officedocument.presentationml.tags+xml"/>
  <Override PartName="/ppt/tags/tag2214.xml" ContentType="application/vnd.openxmlformats-officedocument.presentationml.tags+xml"/>
  <Override PartName="/ppt/charts/chart91.xml" ContentType="application/vnd.openxmlformats-officedocument.drawingml.chart+xml"/>
  <Override PartName="/ppt/charts/chart92.xml" ContentType="application/vnd.openxmlformats-officedocument.drawingml.chart+xml"/>
  <Override PartName="/ppt/charts/chart93.xml" ContentType="application/vnd.openxmlformats-officedocument.drawingml.chart+xml"/>
  <Override PartName="/ppt/charts/chart94.xml" ContentType="application/vnd.openxmlformats-officedocument.drawingml.chart+xml"/>
  <Override PartName="/ppt/tags/tag2215.xml" ContentType="application/vnd.openxmlformats-officedocument.presentationml.tags+xml"/>
  <Override PartName="/ppt/tags/tag2216.xml" ContentType="application/vnd.openxmlformats-officedocument.presentationml.tags+xml"/>
  <Override PartName="/ppt/tags/tag2217.xml" ContentType="application/vnd.openxmlformats-officedocument.presentationml.tags+xml"/>
  <Override PartName="/ppt/tags/tag2218.xml" ContentType="application/vnd.openxmlformats-officedocument.presentationml.tags+xml"/>
  <Override PartName="/ppt/tags/tag2219.xml" ContentType="application/vnd.openxmlformats-officedocument.presentationml.tags+xml"/>
  <Override PartName="/ppt/tags/tag2220.xml" ContentType="application/vnd.openxmlformats-officedocument.presentationml.tags+xml"/>
  <Override PartName="/ppt/tags/tag2221.xml" ContentType="application/vnd.openxmlformats-officedocument.presentationml.tags+xml"/>
  <Override PartName="/ppt/tags/tag2222.xml" ContentType="application/vnd.openxmlformats-officedocument.presentationml.tags+xml"/>
  <Override PartName="/ppt/tags/tag2223.xml" ContentType="application/vnd.openxmlformats-officedocument.presentationml.tags+xml"/>
  <Override PartName="/ppt/tags/tag2224.xml" ContentType="application/vnd.openxmlformats-officedocument.presentationml.tags+xml"/>
  <Override PartName="/ppt/tags/tag2225.xml" ContentType="application/vnd.openxmlformats-officedocument.presentationml.tags+xml"/>
  <Override PartName="/ppt/tags/tag2226.xml" ContentType="application/vnd.openxmlformats-officedocument.presentationml.tags+xml"/>
  <Override PartName="/ppt/tags/tag2227.xml" ContentType="application/vnd.openxmlformats-officedocument.presentationml.tags+xml"/>
  <Override PartName="/ppt/tags/tag2228.xml" ContentType="application/vnd.openxmlformats-officedocument.presentationml.tags+xml"/>
  <Override PartName="/ppt/tags/tag2229.xml" ContentType="application/vnd.openxmlformats-officedocument.presentationml.tags+xml"/>
  <Override PartName="/ppt/tags/tag2230.xml" ContentType="application/vnd.openxmlformats-officedocument.presentationml.tags+xml"/>
  <Override PartName="/ppt/tags/tag2231.xml" ContentType="application/vnd.openxmlformats-officedocument.presentationml.tags+xml"/>
  <Override PartName="/ppt/tags/tag2232.xml" ContentType="application/vnd.openxmlformats-officedocument.presentationml.tags+xml"/>
  <Override PartName="/ppt/tags/tag2233.xml" ContentType="application/vnd.openxmlformats-officedocument.presentationml.tags+xml"/>
  <Override PartName="/ppt/tags/tag2234.xml" ContentType="application/vnd.openxmlformats-officedocument.presentationml.tags+xml"/>
  <Override PartName="/ppt/tags/tag2235.xml" ContentType="application/vnd.openxmlformats-officedocument.presentationml.tags+xml"/>
  <Override PartName="/ppt/tags/tag2236.xml" ContentType="application/vnd.openxmlformats-officedocument.presentationml.tags+xml"/>
  <Override PartName="/ppt/tags/tag2237.xml" ContentType="application/vnd.openxmlformats-officedocument.presentationml.tags+xml"/>
  <Override PartName="/ppt/tags/tag2238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95.xml" ContentType="application/vnd.openxmlformats-officedocument.drawingml.chart+xml"/>
  <Override PartName="/ppt/tags/tag2239.xml" ContentType="application/vnd.openxmlformats-officedocument.presentationml.tags+xml"/>
  <Override PartName="/ppt/tags/tag2240.xml" ContentType="application/vnd.openxmlformats-officedocument.presentationml.tags+xml"/>
  <Override PartName="/ppt/tags/tag2241.xml" ContentType="application/vnd.openxmlformats-officedocument.presentationml.tags+xml"/>
  <Override PartName="/ppt/tags/tag2242.xml" ContentType="application/vnd.openxmlformats-officedocument.presentationml.tags+xml"/>
  <Override PartName="/ppt/tags/tag2243.xml" ContentType="application/vnd.openxmlformats-officedocument.presentationml.tags+xml"/>
  <Override PartName="/ppt/tags/tag2244.xml" ContentType="application/vnd.openxmlformats-officedocument.presentationml.tags+xml"/>
  <Override PartName="/ppt/tags/tag2245.xml" ContentType="application/vnd.openxmlformats-officedocument.presentationml.tags+xml"/>
  <Override PartName="/ppt/tags/tag2246.xml" ContentType="application/vnd.openxmlformats-officedocument.presentationml.tags+xml"/>
  <Override PartName="/ppt/tags/tag2247.xml" ContentType="application/vnd.openxmlformats-officedocument.presentationml.tags+xml"/>
  <Override PartName="/ppt/tags/tag2248.xml" ContentType="application/vnd.openxmlformats-officedocument.presentationml.tags+xml"/>
  <Override PartName="/ppt/tags/tag2249.xml" ContentType="application/vnd.openxmlformats-officedocument.presentationml.tags+xml"/>
  <Override PartName="/ppt/tags/tag2250.xml" ContentType="application/vnd.openxmlformats-officedocument.presentationml.tags+xml"/>
  <Override PartName="/ppt/tags/tag2251.xml" ContentType="application/vnd.openxmlformats-officedocument.presentationml.tags+xml"/>
  <Override PartName="/ppt/tags/tag2252.xml" ContentType="application/vnd.openxmlformats-officedocument.presentationml.tags+xml"/>
  <Override PartName="/ppt/tags/tag2253.xml" ContentType="application/vnd.openxmlformats-officedocument.presentationml.tags+xml"/>
  <Override PartName="/ppt/tags/tag2254.xml" ContentType="application/vnd.openxmlformats-officedocument.presentationml.tags+xml"/>
  <Override PartName="/ppt/tags/tag2255.xml" ContentType="application/vnd.openxmlformats-officedocument.presentationml.tags+xml"/>
  <Override PartName="/ppt/tags/tag2256.xml" ContentType="application/vnd.openxmlformats-officedocument.presentationml.tags+xml"/>
  <Override PartName="/ppt/tags/tag2257.xml" ContentType="application/vnd.openxmlformats-officedocument.presentationml.tags+xml"/>
  <Override PartName="/ppt/tags/tag2258.xml" ContentType="application/vnd.openxmlformats-officedocument.presentationml.tags+xml"/>
  <Override PartName="/ppt/tags/tag2259.xml" ContentType="application/vnd.openxmlformats-officedocument.presentationml.tags+xml"/>
  <Override PartName="/ppt/tags/tag2260.xml" ContentType="application/vnd.openxmlformats-officedocument.presentationml.tags+xml"/>
  <Override PartName="/ppt/tags/tag2261.xml" ContentType="application/vnd.openxmlformats-officedocument.presentationml.tags+xml"/>
  <Override PartName="/ppt/tags/tag2262.xml" ContentType="application/vnd.openxmlformats-officedocument.presentationml.tags+xml"/>
  <Override PartName="/ppt/tags/tag2263.xml" ContentType="application/vnd.openxmlformats-officedocument.presentationml.tags+xml"/>
  <Override PartName="/ppt/tags/tag2264.xml" ContentType="application/vnd.openxmlformats-officedocument.presentationml.tags+xml"/>
  <Override PartName="/ppt/tags/tag2265.xml" ContentType="application/vnd.openxmlformats-officedocument.presentationml.tags+xml"/>
  <Override PartName="/ppt/tags/tag2266.xml" ContentType="application/vnd.openxmlformats-officedocument.presentationml.tags+xml"/>
  <Override PartName="/ppt/tags/tag2267.xml" ContentType="application/vnd.openxmlformats-officedocument.presentationml.tags+xml"/>
  <Override PartName="/ppt/tags/tag2268.xml" ContentType="application/vnd.openxmlformats-officedocument.presentationml.tags+xml"/>
  <Override PartName="/ppt/charts/chart96.xml" ContentType="application/vnd.openxmlformats-officedocument.drawingml.chart+xml"/>
  <Override PartName="/ppt/tags/tag2269.xml" ContentType="application/vnd.openxmlformats-officedocument.presentationml.tags+xml"/>
  <Override PartName="/ppt/tags/tag2270.xml" ContentType="application/vnd.openxmlformats-officedocument.presentationml.tags+xml"/>
  <Override PartName="/ppt/tags/tag2271.xml" ContentType="application/vnd.openxmlformats-officedocument.presentationml.tags+xml"/>
  <Override PartName="/ppt/tags/tag2272.xml" ContentType="application/vnd.openxmlformats-officedocument.presentationml.tags+xml"/>
  <Override PartName="/ppt/tags/tag2273.xml" ContentType="application/vnd.openxmlformats-officedocument.presentationml.tags+xml"/>
  <Override PartName="/ppt/tags/tag2274.xml" ContentType="application/vnd.openxmlformats-officedocument.presentationml.tags+xml"/>
  <Override PartName="/ppt/tags/tag2275.xml" ContentType="application/vnd.openxmlformats-officedocument.presentationml.tags+xml"/>
  <Override PartName="/ppt/tags/tag2276.xml" ContentType="application/vnd.openxmlformats-officedocument.presentationml.tags+xml"/>
  <Override PartName="/ppt/tags/tag2277.xml" ContentType="application/vnd.openxmlformats-officedocument.presentationml.tags+xml"/>
  <Override PartName="/ppt/tags/tag2278.xml" ContentType="application/vnd.openxmlformats-officedocument.presentationml.tags+xml"/>
  <Override PartName="/ppt/tags/tag2279.xml" ContentType="application/vnd.openxmlformats-officedocument.presentationml.tags+xml"/>
  <Override PartName="/ppt/tags/tag2280.xml" ContentType="application/vnd.openxmlformats-officedocument.presentationml.tags+xml"/>
  <Override PartName="/ppt/tags/tag2281.xml" ContentType="application/vnd.openxmlformats-officedocument.presentationml.tags+xml"/>
  <Override PartName="/ppt/tags/tag2282.xml" ContentType="application/vnd.openxmlformats-officedocument.presentationml.tags+xml"/>
  <Override PartName="/ppt/tags/tag2283.xml" ContentType="application/vnd.openxmlformats-officedocument.presentationml.tags+xml"/>
  <Override PartName="/ppt/tags/tag2284.xml" ContentType="application/vnd.openxmlformats-officedocument.presentationml.tags+xml"/>
  <Override PartName="/ppt/tags/tag2285.xml" ContentType="application/vnd.openxmlformats-officedocument.presentationml.tags+xml"/>
  <Override PartName="/ppt/tags/tag2286.xml" ContentType="application/vnd.openxmlformats-officedocument.presentationml.tags+xml"/>
  <Override PartName="/ppt/tags/tag2287.xml" ContentType="application/vnd.openxmlformats-officedocument.presentationml.tags+xml"/>
  <Override PartName="/ppt/tags/tag2288.xml" ContentType="application/vnd.openxmlformats-officedocument.presentationml.tags+xml"/>
  <Override PartName="/ppt/tags/tag2289.xml" ContentType="application/vnd.openxmlformats-officedocument.presentationml.tags+xml"/>
  <Override PartName="/ppt/tags/tag2290.xml" ContentType="application/vnd.openxmlformats-officedocument.presentationml.tags+xml"/>
  <Override PartName="/ppt/tags/tag2291.xml" ContentType="application/vnd.openxmlformats-officedocument.presentationml.tags+xml"/>
  <Override PartName="/ppt/tags/tag2292.xml" ContentType="application/vnd.openxmlformats-officedocument.presentationml.tags+xml"/>
  <Override PartName="/ppt/tags/tag2293.xml" ContentType="application/vnd.openxmlformats-officedocument.presentationml.tags+xml"/>
  <Override PartName="/ppt/tags/tag2294.xml" ContentType="application/vnd.openxmlformats-officedocument.presentationml.tags+xml"/>
  <Override PartName="/ppt/tags/tag2295.xml" ContentType="application/vnd.openxmlformats-officedocument.presentationml.tags+xml"/>
  <Override PartName="/ppt/tags/tag2296.xml" ContentType="application/vnd.openxmlformats-officedocument.presentationml.tags+xml"/>
  <Override PartName="/ppt/tags/tag2297.xml" ContentType="application/vnd.openxmlformats-officedocument.presentationml.tags+xml"/>
  <Override PartName="/ppt/notesSlides/notesSlide26.xml" ContentType="application/vnd.openxmlformats-officedocument.presentationml.notesSlide+xml"/>
  <Override PartName="/ppt/tags/tag2298.xml" ContentType="application/vnd.openxmlformats-officedocument.presentationml.tags+xml"/>
  <Override PartName="/ppt/tags/tag2299.xml" ContentType="application/vnd.openxmlformats-officedocument.presentationml.tags+xml"/>
  <Override PartName="/ppt/tags/tag2300.xml" ContentType="application/vnd.openxmlformats-officedocument.presentationml.tags+xml"/>
  <Override PartName="/ppt/tags/tag2301.xml" ContentType="application/vnd.openxmlformats-officedocument.presentationml.tags+xml"/>
  <Override PartName="/ppt/tags/tag2302.xml" ContentType="application/vnd.openxmlformats-officedocument.presentationml.tags+xml"/>
  <Override PartName="/ppt/tags/tag2303.xml" ContentType="application/vnd.openxmlformats-officedocument.presentationml.tags+xml"/>
  <Override PartName="/ppt/tags/tag2304.xml" ContentType="application/vnd.openxmlformats-officedocument.presentationml.tags+xml"/>
  <Override PartName="/ppt/tags/tag2305.xml" ContentType="application/vnd.openxmlformats-officedocument.presentationml.tags+xml"/>
  <Override PartName="/ppt/tags/tag2306.xml" ContentType="application/vnd.openxmlformats-officedocument.presentationml.tags+xml"/>
  <Override PartName="/ppt/tags/tag2307.xml" ContentType="application/vnd.openxmlformats-officedocument.presentationml.tags+xml"/>
  <Override PartName="/ppt/tags/tag2308.xml" ContentType="application/vnd.openxmlformats-officedocument.presentationml.tags+xml"/>
  <Override PartName="/ppt/tags/tag2309.xml" ContentType="application/vnd.openxmlformats-officedocument.presentationml.tags+xml"/>
  <Override PartName="/ppt/tags/tag2310.xml" ContentType="application/vnd.openxmlformats-officedocument.presentationml.tags+xml"/>
  <Override PartName="/ppt/notesSlides/notesSlide27.xml" ContentType="application/vnd.openxmlformats-officedocument.presentationml.notesSlide+xml"/>
  <Override PartName="/ppt/tags/tag2311.xml" ContentType="application/vnd.openxmlformats-officedocument.presentationml.tags+xml"/>
  <Override PartName="/ppt/tags/tag2312.xml" ContentType="application/vnd.openxmlformats-officedocument.presentationml.tags+xml"/>
  <Override PartName="/ppt/notesSlides/notesSlide28.xml" ContentType="application/vnd.openxmlformats-officedocument.presentationml.notesSlide+xml"/>
  <Override PartName="/ppt/tags/tag2313.xml" ContentType="application/vnd.openxmlformats-officedocument.presentationml.tags+xml"/>
  <Override PartName="/ppt/tags/tag2314.xml" ContentType="application/vnd.openxmlformats-officedocument.presentationml.tags+xml"/>
  <Override PartName="/ppt/tags/tag2315.xml" ContentType="application/vnd.openxmlformats-officedocument.presentationml.tags+xml"/>
  <Override PartName="/ppt/tags/tag2316.xml" ContentType="application/vnd.openxmlformats-officedocument.presentationml.tags+xml"/>
  <Override PartName="/ppt/tags/tag2317.xml" ContentType="application/vnd.openxmlformats-officedocument.presentationml.tags+xml"/>
  <Override PartName="/ppt/tags/tag2318.xml" ContentType="application/vnd.openxmlformats-officedocument.presentationml.tags+xml"/>
  <Override PartName="/ppt/tags/tag2319.xml" ContentType="application/vnd.openxmlformats-officedocument.presentationml.tags+xml"/>
  <Override PartName="/ppt/tags/tag2320.xml" ContentType="application/vnd.openxmlformats-officedocument.presentationml.tags+xml"/>
  <Override PartName="/ppt/tags/tag2321.xml" ContentType="application/vnd.openxmlformats-officedocument.presentationml.tags+xml"/>
  <Override PartName="/ppt/tags/tag2322.xml" ContentType="application/vnd.openxmlformats-officedocument.presentationml.tags+xml"/>
  <Override PartName="/ppt/tags/tag2323.xml" ContentType="application/vnd.openxmlformats-officedocument.presentationml.tags+xml"/>
  <Override PartName="/ppt/tags/tag2324.xml" ContentType="application/vnd.openxmlformats-officedocument.presentationml.tags+xml"/>
  <Override PartName="/ppt/notesSlides/notesSlide29.xml" ContentType="application/vnd.openxmlformats-officedocument.presentationml.notesSlide+xml"/>
  <Override PartName="/ppt/tags/tag2325.xml" ContentType="application/vnd.openxmlformats-officedocument.presentationml.tags+xml"/>
  <Override PartName="/ppt/tags/tag2326.xml" ContentType="application/vnd.openxmlformats-officedocument.presentationml.tags+xml"/>
  <Override PartName="/ppt/tags/tag2327.xml" ContentType="application/vnd.openxmlformats-officedocument.presentationml.tags+xml"/>
  <Override PartName="/ppt/tags/tag2328.xml" ContentType="application/vnd.openxmlformats-officedocument.presentationml.tags+xml"/>
  <Override PartName="/ppt/tags/tag2329.xml" ContentType="application/vnd.openxmlformats-officedocument.presentationml.tags+xml"/>
  <Override PartName="/ppt/tags/tag2330.xml" ContentType="application/vnd.openxmlformats-officedocument.presentationml.tags+xml"/>
  <Override PartName="/ppt/tags/tag2331.xml" ContentType="application/vnd.openxmlformats-officedocument.presentationml.tags+xml"/>
  <Override PartName="/ppt/tags/tag2332.xml" ContentType="application/vnd.openxmlformats-officedocument.presentationml.tags+xml"/>
  <Override PartName="/ppt/tags/tag2333.xml" ContentType="application/vnd.openxmlformats-officedocument.presentationml.tags+xml"/>
  <Override PartName="/ppt/tags/tag2334.xml" ContentType="application/vnd.openxmlformats-officedocument.presentationml.tags+xml"/>
  <Override PartName="/ppt/tags/tag2335.xml" ContentType="application/vnd.openxmlformats-officedocument.presentationml.tags+xml"/>
  <Override PartName="/ppt/tags/tag2336.xml" ContentType="application/vnd.openxmlformats-officedocument.presentationml.tags+xml"/>
  <Override PartName="/ppt/tags/tag2337.xml" ContentType="application/vnd.openxmlformats-officedocument.presentationml.tags+xml"/>
  <Override PartName="/ppt/tags/tag2338.xml" ContentType="application/vnd.openxmlformats-officedocument.presentationml.tags+xml"/>
  <Override PartName="/ppt/tags/tag2339.xml" ContentType="application/vnd.openxmlformats-officedocument.presentationml.tags+xml"/>
  <Override PartName="/ppt/tags/tag2340.xml" ContentType="application/vnd.openxmlformats-officedocument.presentationml.tags+xml"/>
  <Override PartName="/ppt/tags/tag2341.xml" ContentType="application/vnd.openxmlformats-officedocument.presentationml.tags+xml"/>
  <Override PartName="/ppt/tags/tag2342.xml" ContentType="application/vnd.openxmlformats-officedocument.presentationml.tags+xml"/>
  <Override PartName="/ppt/tags/tag2343.xml" ContentType="application/vnd.openxmlformats-officedocument.presentationml.tags+xml"/>
  <Override PartName="/ppt/tags/tag2344.xml" ContentType="application/vnd.openxmlformats-officedocument.presentationml.tags+xml"/>
  <Override PartName="/ppt/tags/tag2345.xml" ContentType="application/vnd.openxmlformats-officedocument.presentationml.tags+xml"/>
  <Override PartName="/ppt/tags/tag2346.xml" ContentType="application/vnd.openxmlformats-officedocument.presentationml.tags+xml"/>
  <Override PartName="/ppt/tags/tag2347.xml" ContentType="application/vnd.openxmlformats-officedocument.presentationml.tags+xml"/>
  <Override PartName="/ppt/tags/tag2348.xml" ContentType="application/vnd.openxmlformats-officedocument.presentationml.tags+xml"/>
  <Override PartName="/ppt/tags/tag2349.xml" ContentType="application/vnd.openxmlformats-officedocument.presentationml.tags+xml"/>
  <Override PartName="/ppt/tags/tag2350.xml" ContentType="application/vnd.openxmlformats-officedocument.presentationml.tags+xml"/>
  <Override PartName="/ppt/tags/tag2351.xml" ContentType="application/vnd.openxmlformats-officedocument.presentationml.tags+xml"/>
  <Override PartName="/ppt/tags/tag2352.xml" ContentType="application/vnd.openxmlformats-officedocument.presentationml.tags+xml"/>
  <Override PartName="/ppt/tags/tag2353.xml" ContentType="application/vnd.openxmlformats-officedocument.presentationml.tags+xml"/>
  <Override PartName="/ppt/tags/tag2354.xml" ContentType="application/vnd.openxmlformats-officedocument.presentationml.tags+xml"/>
  <Override PartName="/ppt/tags/tag2355.xml" ContentType="application/vnd.openxmlformats-officedocument.presentationml.tags+xml"/>
  <Override PartName="/ppt/tags/tag2356.xml" ContentType="application/vnd.openxmlformats-officedocument.presentationml.tags+xml"/>
  <Override PartName="/ppt/tags/tag2357.xml" ContentType="application/vnd.openxmlformats-officedocument.presentationml.tags+xml"/>
  <Override PartName="/ppt/tags/tag2358.xml" ContentType="application/vnd.openxmlformats-officedocument.presentationml.tags+xml"/>
  <Override PartName="/ppt/tags/tag2359.xml" ContentType="application/vnd.openxmlformats-officedocument.presentationml.tags+xml"/>
  <Override PartName="/ppt/tags/tag2360.xml" ContentType="application/vnd.openxmlformats-officedocument.presentationml.tags+xml"/>
  <Override PartName="/ppt/tags/tag2361.xml" ContentType="application/vnd.openxmlformats-officedocument.presentationml.tags+xml"/>
  <Override PartName="/ppt/tags/tag2362.xml" ContentType="application/vnd.openxmlformats-officedocument.presentationml.tags+xml"/>
  <Override PartName="/ppt/tags/tag2363.xml" ContentType="application/vnd.openxmlformats-officedocument.presentationml.tags+xml"/>
  <Override PartName="/ppt/tags/tag2364.xml" ContentType="application/vnd.openxmlformats-officedocument.presentationml.tags+xml"/>
  <Override PartName="/ppt/tags/tag2365.xml" ContentType="application/vnd.openxmlformats-officedocument.presentationml.tags+xml"/>
  <Override PartName="/ppt/tags/tag2366.xml" ContentType="application/vnd.openxmlformats-officedocument.presentationml.tags+xml"/>
  <Override PartName="/ppt/tags/tag2367.xml" ContentType="application/vnd.openxmlformats-officedocument.presentationml.tags+xml"/>
  <Override PartName="/ppt/tags/tag2368.xml" ContentType="application/vnd.openxmlformats-officedocument.presentationml.tags+xml"/>
  <Override PartName="/ppt/tags/tag2369.xml" ContentType="application/vnd.openxmlformats-officedocument.presentationml.tags+xml"/>
  <Override PartName="/ppt/tags/tag2370.xml" ContentType="application/vnd.openxmlformats-officedocument.presentationml.tags+xml"/>
  <Override PartName="/ppt/tags/tag2371.xml" ContentType="application/vnd.openxmlformats-officedocument.presentationml.tags+xml"/>
  <Override PartName="/ppt/tags/tag2372.xml" ContentType="application/vnd.openxmlformats-officedocument.presentationml.tags+xml"/>
  <Override PartName="/ppt/tags/tag2373.xml" ContentType="application/vnd.openxmlformats-officedocument.presentationml.tags+xml"/>
  <Override PartName="/ppt/tags/tag2374.xml" ContentType="application/vnd.openxmlformats-officedocument.presentationml.tags+xml"/>
  <Override PartName="/ppt/tags/tag2375.xml" ContentType="application/vnd.openxmlformats-officedocument.presentationml.tags+xml"/>
  <Override PartName="/ppt/tags/tag2376.xml" ContentType="application/vnd.openxmlformats-officedocument.presentationml.tags+xml"/>
  <Override PartName="/ppt/tags/tag2377.xml" ContentType="application/vnd.openxmlformats-officedocument.presentationml.tags+xml"/>
  <Override PartName="/ppt/tags/tag2378.xml" ContentType="application/vnd.openxmlformats-officedocument.presentationml.tags+xml"/>
  <Override PartName="/ppt/tags/tag2379.xml" ContentType="application/vnd.openxmlformats-officedocument.presentationml.tags+xml"/>
  <Override PartName="/ppt/tags/tag2380.xml" ContentType="application/vnd.openxmlformats-officedocument.presentationml.tags+xml"/>
  <Override PartName="/ppt/tags/tag2381.xml" ContentType="application/vnd.openxmlformats-officedocument.presentationml.tags+xml"/>
  <Override PartName="/ppt/tags/tag2382.xml" ContentType="application/vnd.openxmlformats-officedocument.presentationml.tags+xml"/>
  <Override PartName="/ppt/tags/tag2383.xml" ContentType="application/vnd.openxmlformats-officedocument.presentationml.tags+xml"/>
  <Override PartName="/ppt/tags/tag2384.xml" ContentType="application/vnd.openxmlformats-officedocument.presentationml.tags+xml"/>
  <Override PartName="/ppt/tags/tag2385.xml" ContentType="application/vnd.openxmlformats-officedocument.presentationml.tags+xml"/>
  <Override PartName="/ppt/tags/tag2386.xml" ContentType="application/vnd.openxmlformats-officedocument.presentationml.tags+xml"/>
  <Override PartName="/ppt/tags/tag2387.xml" ContentType="application/vnd.openxmlformats-officedocument.presentationml.tags+xml"/>
  <Override PartName="/ppt/tags/tag2388.xml" ContentType="application/vnd.openxmlformats-officedocument.presentationml.tags+xml"/>
  <Override PartName="/ppt/tags/tag2389.xml" ContentType="application/vnd.openxmlformats-officedocument.presentationml.tags+xml"/>
  <Override PartName="/ppt/tags/tag2390.xml" ContentType="application/vnd.openxmlformats-officedocument.presentationml.tags+xml"/>
  <Override PartName="/ppt/tags/tag2391.xml" ContentType="application/vnd.openxmlformats-officedocument.presentationml.tags+xml"/>
  <Override PartName="/ppt/tags/tag2392.xml" ContentType="application/vnd.openxmlformats-officedocument.presentationml.tags+xml"/>
  <Override PartName="/ppt/tags/tag2393.xml" ContentType="application/vnd.openxmlformats-officedocument.presentationml.tags+xml"/>
  <Override PartName="/ppt/tags/tag2394.xml" ContentType="application/vnd.openxmlformats-officedocument.presentationml.tags+xml"/>
  <Override PartName="/ppt/tags/tag2395.xml" ContentType="application/vnd.openxmlformats-officedocument.presentationml.tags+xml"/>
  <Override PartName="/ppt/tags/tag2396.xml" ContentType="application/vnd.openxmlformats-officedocument.presentationml.tags+xml"/>
  <Override PartName="/ppt/tags/tag2397.xml" ContentType="application/vnd.openxmlformats-officedocument.presentationml.tags+xml"/>
  <Override PartName="/ppt/tags/tag2398.xml" ContentType="application/vnd.openxmlformats-officedocument.presentationml.tags+xml"/>
  <Override PartName="/ppt/tags/tag2399.xml" ContentType="application/vnd.openxmlformats-officedocument.presentationml.tags+xml"/>
  <Override PartName="/ppt/tags/tag2400.xml" ContentType="application/vnd.openxmlformats-officedocument.presentationml.tags+xml"/>
  <Override PartName="/ppt/tags/tag2401.xml" ContentType="application/vnd.openxmlformats-officedocument.presentationml.tags+xml"/>
  <Override PartName="/ppt/tags/tag2402.xml" ContentType="application/vnd.openxmlformats-officedocument.presentationml.tags+xml"/>
  <Override PartName="/ppt/tags/tag2403.xml" ContentType="application/vnd.openxmlformats-officedocument.presentationml.tags+xml"/>
  <Override PartName="/ppt/tags/tag2404.xml" ContentType="application/vnd.openxmlformats-officedocument.presentationml.tags+xml"/>
  <Override PartName="/ppt/tags/tag2405.xml" ContentType="application/vnd.openxmlformats-officedocument.presentationml.tags+xml"/>
  <Override PartName="/ppt/tags/tag2406.xml" ContentType="application/vnd.openxmlformats-officedocument.presentationml.tags+xml"/>
  <Override PartName="/ppt/tags/tag2407.xml" ContentType="application/vnd.openxmlformats-officedocument.presentationml.tags+xml"/>
  <Override PartName="/ppt/tags/tag2408.xml" ContentType="application/vnd.openxmlformats-officedocument.presentationml.tags+xml"/>
  <Override PartName="/ppt/tags/tag2409.xml" ContentType="application/vnd.openxmlformats-officedocument.presentationml.tags+xml"/>
  <Override PartName="/ppt/tags/tag2410.xml" ContentType="application/vnd.openxmlformats-officedocument.presentationml.tags+xml"/>
  <Override PartName="/ppt/tags/tag2411.xml" ContentType="application/vnd.openxmlformats-officedocument.presentationml.tags+xml"/>
  <Override PartName="/ppt/tags/tag2412.xml" ContentType="application/vnd.openxmlformats-officedocument.presentationml.tags+xml"/>
  <Override PartName="/ppt/tags/tag2413.xml" ContentType="application/vnd.openxmlformats-officedocument.presentationml.tags+xml"/>
  <Override PartName="/ppt/tags/tag2414.xml" ContentType="application/vnd.openxmlformats-officedocument.presentationml.tags+xml"/>
  <Override PartName="/ppt/tags/tag2415.xml" ContentType="application/vnd.openxmlformats-officedocument.presentationml.tags+xml"/>
  <Override PartName="/ppt/tags/tag2416.xml" ContentType="application/vnd.openxmlformats-officedocument.presentationml.tags+xml"/>
  <Override PartName="/ppt/tags/tag2417.xml" ContentType="application/vnd.openxmlformats-officedocument.presentationml.tags+xml"/>
  <Override PartName="/ppt/tags/tag2418.xml" ContentType="application/vnd.openxmlformats-officedocument.presentationml.tags+xml"/>
  <Override PartName="/ppt/tags/tag2419.xml" ContentType="application/vnd.openxmlformats-officedocument.presentationml.tags+xml"/>
  <Override PartName="/ppt/tags/tag2420.xml" ContentType="application/vnd.openxmlformats-officedocument.presentationml.tags+xml"/>
  <Override PartName="/ppt/tags/tag2421.xml" ContentType="application/vnd.openxmlformats-officedocument.presentationml.tags+xml"/>
  <Override PartName="/ppt/tags/tag2422.xml" ContentType="application/vnd.openxmlformats-officedocument.presentationml.tags+xml"/>
  <Override PartName="/ppt/tags/tag2423.xml" ContentType="application/vnd.openxmlformats-officedocument.presentationml.tags+xml"/>
  <Override PartName="/ppt/tags/tag2424.xml" ContentType="application/vnd.openxmlformats-officedocument.presentationml.tags+xml"/>
  <Override PartName="/ppt/tags/tag2425.xml" ContentType="application/vnd.openxmlformats-officedocument.presentationml.tags+xml"/>
  <Override PartName="/ppt/tags/tag2426.xml" ContentType="application/vnd.openxmlformats-officedocument.presentationml.tags+xml"/>
  <Override PartName="/ppt/tags/tag2427.xml" ContentType="application/vnd.openxmlformats-officedocument.presentationml.tags+xml"/>
  <Override PartName="/ppt/tags/tag2428.xml" ContentType="application/vnd.openxmlformats-officedocument.presentationml.tags+xml"/>
  <Override PartName="/ppt/tags/tag2429.xml" ContentType="application/vnd.openxmlformats-officedocument.presentationml.tags+xml"/>
  <Override PartName="/ppt/tags/tag2430.xml" ContentType="application/vnd.openxmlformats-officedocument.presentationml.tags+xml"/>
  <Override PartName="/ppt/tags/tag2431.xml" ContentType="application/vnd.openxmlformats-officedocument.presentationml.tags+xml"/>
  <Override PartName="/ppt/tags/tag2432.xml" ContentType="application/vnd.openxmlformats-officedocument.presentationml.tags+xml"/>
  <Override PartName="/ppt/tags/tag2433.xml" ContentType="application/vnd.openxmlformats-officedocument.presentationml.tags+xml"/>
  <Override PartName="/ppt/tags/tag2434.xml" ContentType="application/vnd.openxmlformats-officedocument.presentationml.tags+xml"/>
  <Override PartName="/ppt/tags/tag2435.xml" ContentType="application/vnd.openxmlformats-officedocument.presentationml.tags+xml"/>
  <Override PartName="/ppt/tags/tag2436.xml" ContentType="application/vnd.openxmlformats-officedocument.presentationml.tags+xml"/>
  <Override PartName="/ppt/tags/tag2437.xml" ContentType="application/vnd.openxmlformats-officedocument.presentationml.tags+xml"/>
  <Override PartName="/ppt/tags/tag2438.xml" ContentType="application/vnd.openxmlformats-officedocument.presentationml.tags+xml"/>
  <Override PartName="/ppt/tags/tag2439.xml" ContentType="application/vnd.openxmlformats-officedocument.presentationml.tags+xml"/>
  <Override PartName="/ppt/tags/tag2440.xml" ContentType="application/vnd.openxmlformats-officedocument.presentationml.tags+xml"/>
  <Override PartName="/ppt/tags/tag2441.xml" ContentType="application/vnd.openxmlformats-officedocument.presentationml.tags+xml"/>
  <Override PartName="/ppt/tags/tag244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</p:sldMasterIdLst>
  <p:notesMasterIdLst>
    <p:notesMasterId r:id="rId77"/>
  </p:notesMasterIdLst>
  <p:sldIdLst>
    <p:sldId id="1466" r:id="rId6"/>
    <p:sldId id="1514" r:id="rId7"/>
    <p:sldId id="1515" r:id="rId8"/>
    <p:sldId id="596" r:id="rId9"/>
    <p:sldId id="1516" r:id="rId10"/>
    <p:sldId id="1517" r:id="rId11"/>
    <p:sldId id="1518" r:id="rId12"/>
    <p:sldId id="1509" r:id="rId13"/>
    <p:sldId id="1384" r:id="rId14"/>
    <p:sldId id="1460" r:id="rId15"/>
    <p:sldId id="1461" r:id="rId16"/>
    <p:sldId id="1462" r:id="rId17"/>
    <p:sldId id="1088" r:id="rId18"/>
    <p:sldId id="851" r:id="rId19"/>
    <p:sldId id="1332" r:id="rId20"/>
    <p:sldId id="1476" r:id="rId21"/>
    <p:sldId id="1477" r:id="rId22"/>
    <p:sldId id="1434" r:id="rId23"/>
    <p:sldId id="1474" r:id="rId24"/>
    <p:sldId id="1447" r:id="rId25"/>
    <p:sldId id="1096" r:id="rId26"/>
    <p:sldId id="1432" r:id="rId27"/>
    <p:sldId id="1501" r:id="rId28"/>
    <p:sldId id="1503" r:id="rId29"/>
    <p:sldId id="1502" r:id="rId30"/>
    <p:sldId id="1522" r:id="rId31"/>
    <p:sldId id="1505" r:id="rId32"/>
    <p:sldId id="1109" r:id="rId33"/>
    <p:sldId id="987" r:id="rId34"/>
    <p:sldId id="1499" r:id="rId35"/>
    <p:sldId id="1500" r:id="rId36"/>
    <p:sldId id="1478" r:id="rId37"/>
    <p:sldId id="1506" r:id="rId38"/>
    <p:sldId id="1480" r:id="rId39"/>
    <p:sldId id="1481" r:id="rId40"/>
    <p:sldId id="1483" r:id="rId41"/>
    <p:sldId id="1484" r:id="rId42"/>
    <p:sldId id="1492" r:id="rId43"/>
    <p:sldId id="1494" r:id="rId44"/>
    <p:sldId id="1493" r:id="rId45"/>
    <p:sldId id="1495" r:id="rId46"/>
    <p:sldId id="1496" r:id="rId47"/>
    <p:sldId id="1527" r:id="rId48"/>
    <p:sldId id="1411" r:id="rId49"/>
    <p:sldId id="1491" r:id="rId50"/>
    <p:sldId id="1404" r:id="rId51"/>
    <p:sldId id="1445" r:id="rId52"/>
    <p:sldId id="833" r:id="rId53"/>
    <p:sldId id="1490" r:id="rId54"/>
    <p:sldId id="1429" r:id="rId55"/>
    <p:sldId id="1407" r:id="rId56"/>
    <p:sldId id="1519" r:id="rId57"/>
    <p:sldId id="1424" r:id="rId58"/>
    <p:sldId id="1520" r:id="rId59"/>
    <p:sldId id="1410" r:id="rId60"/>
    <p:sldId id="1449" r:id="rId61"/>
    <p:sldId id="1521" r:id="rId62"/>
    <p:sldId id="1440" r:id="rId63"/>
    <p:sldId id="1508" r:id="rId64"/>
    <p:sldId id="1512" r:id="rId65"/>
    <p:sldId id="1513" r:id="rId66"/>
    <p:sldId id="1523" r:id="rId67"/>
    <p:sldId id="1525" r:id="rId68"/>
    <p:sldId id="1526" r:id="rId69"/>
    <p:sldId id="1528" r:id="rId70"/>
    <p:sldId id="1529" r:id="rId71"/>
    <p:sldId id="1531" r:id="rId72"/>
    <p:sldId id="1532" r:id="rId73"/>
    <p:sldId id="1533" r:id="rId74"/>
    <p:sldId id="2787" r:id="rId75"/>
    <p:sldId id="2788" r:id="rId76"/>
  </p:sldIdLst>
  <p:sldSz cx="12192000" cy="6858000"/>
  <p:notesSz cx="6858000" cy="9144000"/>
  <p:custDataLst>
    <p:tags r:id="rId7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xecutive Summary" id="{6E04063F-526A-4AFD-B643-5A54211FDFF9}">
          <p14:sldIdLst>
            <p14:sldId id="1466"/>
            <p14:sldId id="1514"/>
            <p14:sldId id="1515"/>
            <p14:sldId id="596"/>
            <p14:sldId id="1516"/>
            <p14:sldId id="1517"/>
            <p14:sldId id="1518"/>
            <p14:sldId id="1509"/>
            <p14:sldId id="1384"/>
          </p14:sldIdLst>
        </p14:section>
        <p14:section name="Chapter 1 - Emissions" id="{EF12D5E1-91A6-4580-8CEB-879731327B98}">
          <p14:sldIdLst>
            <p14:sldId id="1460"/>
            <p14:sldId id="1461"/>
            <p14:sldId id="1462"/>
          </p14:sldIdLst>
        </p14:section>
        <p14:section name="Chapter 2 - Heavy Industry" id="{C82F6F79-EE9B-4CC0-879D-860692E3B66A}">
          <p14:sldIdLst>
            <p14:sldId id="1088"/>
            <p14:sldId id="851"/>
            <p14:sldId id="1332"/>
            <p14:sldId id="1476"/>
            <p14:sldId id="1477"/>
            <p14:sldId id="1434"/>
            <p14:sldId id="1474"/>
            <p14:sldId id="1447"/>
            <p14:sldId id="1096"/>
            <p14:sldId id="1432"/>
          </p14:sldIdLst>
        </p14:section>
        <p14:section name="Chapter 3 - Transport" id="{E4334BF1-5230-4CD7-AD50-754C5E5171D1}">
          <p14:sldIdLst>
            <p14:sldId id="1501"/>
            <p14:sldId id="1503"/>
            <p14:sldId id="1502"/>
            <p14:sldId id="1522"/>
            <p14:sldId id="1505"/>
            <p14:sldId id="1109"/>
            <p14:sldId id="987"/>
            <p14:sldId id="1499"/>
            <p14:sldId id="1500"/>
          </p14:sldIdLst>
        </p14:section>
        <p14:section name="Chapter 4 - Cost of emission reductions EBNT" id="{0592C8A2-5BB0-411E-85C2-345F13FF3C45}">
          <p14:sldIdLst>
            <p14:sldId id="1478"/>
            <p14:sldId id="1506"/>
            <p14:sldId id="1480"/>
            <p14:sldId id="1481"/>
            <p14:sldId id="1483"/>
            <p14:sldId id="1484"/>
          </p14:sldIdLst>
        </p14:section>
        <p14:section name="Chapter 5 - Circular economy" id="{2C7A92E5-1DDC-4C7C-96DE-E55C1CC5268D}">
          <p14:sldIdLst>
            <p14:sldId id="1492"/>
            <p14:sldId id="1494"/>
            <p14:sldId id="1493"/>
            <p14:sldId id="1495"/>
            <p14:sldId id="1496"/>
            <p14:sldId id="1527"/>
          </p14:sldIdLst>
        </p14:section>
        <p14:section name="Chapter 6" id="{3B3CBE59-8328-4957-A958-0E3CF5D71F6E}">
          <p14:sldIdLst>
            <p14:sldId id="1411"/>
            <p14:sldId id="1491"/>
            <p14:sldId id="1404"/>
            <p14:sldId id="1445"/>
            <p14:sldId id="833"/>
            <p14:sldId id="1490"/>
            <p14:sldId id="1429"/>
            <p14:sldId id="1407"/>
            <p14:sldId id="1519"/>
            <p14:sldId id="1424"/>
            <p14:sldId id="1520"/>
            <p14:sldId id="1410"/>
            <p14:sldId id="1449"/>
            <p14:sldId id="1521"/>
          </p14:sldIdLst>
        </p14:section>
        <p14:section name="Chapter 7 - Transitional" id="{1A7585F9-102E-4B50-8BA1-F05C2AD79ACB}">
          <p14:sldIdLst>
            <p14:sldId id="1440"/>
            <p14:sldId id="1508"/>
            <p14:sldId id="1512"/>
            <p14:sldId id="1513"/>
          </p14:sldIdLst>
        </p14:section>
        <p14:section name="Chapter 8" id="{62F8D712-D16D-440A-B4B3-8B15134F7D06}">
          <p14:sldIdLst>
            <p14:sldId id="1523"/>
            <p14:sldId id="1525"/>
            <p14:sldId id="1526"/>
          </p14:sldIdLst>
        </p14:section>
        <p14:section name="Chapter 9" id="{A5A2F2B3-70C3-42A3-85DB-2FC936F8F27A}">
          <p14:sldIdLst>
            <p14:sldId id="1528"/>
          </p14:sldIdLst>
        </p14:section>
        <p14:section name="Addtional tailored slides" id="{38BE5C53-824C-4571-9A3C-DD04786DF07B}">
          <p14:sldIdLst>
            <p14:sldId id="1529"/>
            <p14:sldId id="1531"/>
            <p14:sldId id="1532"/>
            <p14:sldId id="1533"/>
            <p14:sldId id="2787"/>
            <p14:sldId id="278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AAD7"/>
    <a:srgbClr val="0479BB"/>
    <a:srgbClr val="5790C9"/>
    <a:srgbClr val="B4C6E5"/>
    <a:srgbClr val="0C4371"/>
    <a:srgbClr val="9CC317"/>
    <a:srgbClr val="C2AFD6"/>
    <a:srgbClr val="DADADA"/>
    <a:srgbClr val="247A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3F5BBF-0B28-422B-882E-95589BCBE158}" v="14" dt="2019-02-20T13:17:11.03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09" autoAdjust="0"/>
    <p:restoredTop sz="94660"/>
  </p:normalViewPr>
  <p:slideViewPr>
    <p:cSldViewPr snapToGrid="0">
      <p:cViewPr varScale="1">
        <p:scale>
          <a:sx n="90" d="100"/>
          <a:sy n="90" d="100"/>
        </p:scale>
        <p:origin x="19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slide" Target="slides/slide71.xml"/><Relationship Id="rId84" Type="http://schemas.microsoft.com/office/2015/10/relationships/revisionInfo" Target="revisionInfo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82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tags" Target="tags/tag1.xml"/><Relationship Id="rId8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ttie Morrison" userId="a98325ed-3a45-4c84-8a2d-2748567f9961" providerId="ADAL" clId="{A13F5BBF-0B28-422B-882E-95589BCBE158}"/>
    <pc:docChg chg="modSld">
      <pc:chgData name="Hettie Morrison" userId="a98325ed-3a45-4c84-8a2d-2748567f9961" providerId="ADAL" clId="{A13F5BBF-0B28-422B-882E-95589BCBE158}" dt="2019-02-20T13:17:10.583" v="10" actId="478"/>
      <pc:docMkLst>
        <pc:docMk/>
      </pc:docMkLst>
      <pc:sldChg chg="addSp delSp modSp mod">
        <pc:chgData name="Hettie Morrison" userId="a98325ed-3a45-4c84-8a2d-2748567f9961" providerId="ADAL" clId="{A13F5BBF-0B28-422B-882E-95589BCBE158}" dt="2019-02-20T13:17:10.583" v="10" actId="478"/>
        <pc:sldMkLst>
          <pc:docMk/>
          <pc:sldMk cId="74964946" sldId="1088"/>
        </pc:sldMkLst>
        <pc:graphicFrameChg chg="add del mod">
          <ac:chgData name="Hettie Morrison" userId="a98325ed-3a45-4c84-8a2d-2748567f9961" providerId="ADAL" clId="{A13F5BBF-0B28-422B-882E-95589BCBE158}" dt="2019-02-20T13:17:10.583" v="10" actId="478"/>
          <ac:graphicFrameMkLst>
            <pc:docMk/>
            <pc:sldMk cId="74964946" sldId="1088"/>
            <ac:graphicFrameMk id="4" creationId="{F9B19702-8CB2-4F00-ABD7-8A4B5859CD71}"/>
          </ac:graphicFrameMkLst>
        </pc:graphicFrameChg>
        <pc:graphicFrameChg chg="mod">
          <ac:chgData name="Hettie Morrison" userId="a98325ed-3a45-4c84-8a2d-2748567f9961" providerId="ADAL" clId="{A13F5BBF-0B28-422B-882E-95589BCBE158}" dt="2019-02-20T13:17:10.224" v="9" actId="1076"/>
          <ac:graphicFrameMkLst>
            <pc:docMk/>
            <pc:sldMk cId="74964946" sldId="1088"/>
            <ac:graphicFrameMk id="452" creationId="{E3239200-A419-49DE-949D-8E3D24F25999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.xlsx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7.xlsx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8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9.xlsx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0.xlsx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1.xlsx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2.xlsx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3.xlsx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4.xlsx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5.xlsx"/></Relationships>
</file>

<file path=ppt/charts/_rels/chart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6.xlsx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7.xlsx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8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9.xlsx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0.xlsx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1.xlsx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2.xlsx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3.xlsx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4.xlsx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5.xlsx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6.xlsx"/></Relationships>
</file>

<file path=ppt/charts/_rels/chart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7.xlsx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8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9.xlsx"/></Relationships>
</file>

<file path=ppt/charts/_rels/chart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0.xlsx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1.xlsx"/></Relationships>
</file>

<file path=ppt/charts/_rels/chart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2.xlsx"/></Relationships>
</file>

<file path=ppt/charts/_rels/chart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3.xlsx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4.xlsx"/></Relationships>
</file>

<file path=ppt/charts/_rels/chart7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5.xlsx"/></Relationships>
</file>

<file path=ppt/charts/_rels/chart7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6.xlsx"/></Relationships>
</file>

<file path=ppt/charts/_rels/chart7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7.xlsx"/></Relationships>
</file>

<file path=ppt/charts/_rels/chart7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8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9.xlsx"/></Relationships>
</file>

<file path=ppt/charts/_rels/chart8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0.xlsx"/></Relationships>
</file>

<file path=ppt/charts/_rels/chart8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1.xlsx"/></Relationships>
</file>

<file path=ppt/charts/_rels/chart8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2.xlsx"/></Relationships>
</file>

<file path=ppt/charts/_rels/chart8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3.xlsx"/></Relationships>
</file>

<file path=ppt/charts/_rels/chart8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4.xlsx"/></Relationships>
</file>

<file path=ppt/charts/_rels/chart8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5.xlsx"/></Relationships>
</file>

<file path=ppt/charts/_rels/chart8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6.xlsx"/></Relationships>
</file>

<file path=ppt/charts/_rels/chart8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7.xlsx"/></Relationships>
</file>

<file path=ppt/charts/_rels/chart8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9.xlsx"/></Relationships>
</file>

<file path=ppt/charts/_rels/chart9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0.xlsx"/></Relationships>
</file>

<file path=ppt/charts/_rels/chart9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1.xlsx"/></Relationships>
</file>

<file path=ppt/charts/_rels/chart9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2.xlsx"/></Relationships>
</file>

<file path=ppt/charts/_rels/chart9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3.xlsx"/></Relationships>
</file>

<file path=ppt/charts/_rels/chart9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4.xlsx"/></Relationships>
</file>

<file path=ppt/charts/_rels/chart9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289622231871473E-2"/>
          <c:y val="5.7535263548626578E-2"/>
          <c:w val="0.97742075553625707"/>
          <c:h val="0.9231625835189308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B15-4980-B27F-99DFE121A73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B15-4980-B27F-99DFE121A733}"/>
              </c:ext>
            </c:extLst>
          </c:dPt>
          <c:dLbls>
            <c:dLbl>
              <c:idx val="0"/>
              <c:layout>
                <c:manualLayout>
                  <c:x val="0"/>
                  <c:y val="-0.490720118782479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B15-4980-B27F-99DFE121A73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B15-4980-B27F-99DFE121A73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9.3170000000000002</c:v>
                </c:pt>
                <c:pt idx="1">
                  <c:v>7.6</c:v>
                </c:pt>
                <c:pt idx="2">
                  <c:v>5.6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B15-4980-B27F-99DFE121A733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B15-4980-B27F-99DFE121A733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0.33100000000000041</c:v>
                </c:pt>
                <c:pt idx="2">
                  <c:v>0.59999999999999964</c:v>
                </c:pt>
                <c:pt idx="3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B15-4980-B27F-99DFE121A733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B15-4980-B27F-99DFE121A733}"/>
              </c:ext>
            </c:extLst>
          </c:dPt>
          <c:dLbls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B15-4980-B27F-99DFE121A73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1">
                  <c:v>0.61899999999999888</c:v>
                </c:pt>
                <c:pt idx="2">
                  <c:v>0.5</c:v>
                </c:pt>
                <c:pt idx="3">
                  <c:v>0.8999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B15-4980-B27F-99DFE121A733}"/>
            </c:ext>
          </c:extLst>
        </c:ser>
        <c:ser>
          <c:idx val="3"/>
          <c:order val="3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BB15-4980-B27F-99DFE121A733}"/>
              </c:ext>
            </c:extLst>
          </c:dPt>
          <c:dLbls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B15-4980-B27F-99DFE121A73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1">
                  <c:v>0.43900000000000006</c:v>
                </c:pt>
                <c:pt idx="2">
                  <c:v>0.70000000000000018</c:v>
                </c:pt>
                <c:pt idx="3">
                  <c:v>0.79999999999999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B15-4980-B27F-99DFE121A733}"/>
            </c:ext>
          </c:extLst>
        </c:ser>
        <c:ser>
          <c:idx val="4"/>
          <c:order val="4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5:$D$5</c:f>
              <c:numCache>
                <c:formatCode>General</c:formatCode>
                <c:ptCount val="4"/>
                <c:pt idx="1">
                  <c:v>0.32800000000000118</c:v>
                </c:pt>
                <c:pt idx="2">
                  <c:v>0.20000000000000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B15-4980-B27F-99DFE121A7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40092472"/>
        <c:axId val="1"/>
      </c:barChart>
      <c:catAx>
        <c:axId val="5400924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.31700000000000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400924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102177554438873E-3"/>
          <c:y val="2.3875114784205693E-2"/>
          <c:w val="0.98257956448911232"/>
          <c:h val="0.952249770431588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996-4532-BAEA-DA83CD97AD9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996-4532-BAEA-DA83CD97AD9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996-4532-BAEA-DA83CD97AD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48</c:v>
                </c:pt>
                <c:pt idx="1">
                  <c:v>369.36728650515499</c:v>
                </c:pt>
                <c:pt idx="2">
                  <c:v>275.29953817651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996-4532-BAEA-DA83CD97AD9B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996-4532-BAEA-DA83CD97AD9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996-4532-BAEA-DA83CD97AD9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996-4532-BAEA-DA83CD97AD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93</c:v>
                </c:pt>
                <c:pt idx="1">
                  <c:v>123.25260650840244</c:v>
                </c:pt>
                <c:pt idx="2">
                  <c:v>79.9325777990476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996-4532-BAEA-DA83CD97AD9B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996-4532-BAEA-DA83CD97AD9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996-4532-BAEA-DA83CD97AD9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996-4532-BAEA-DA83CD97AD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555</c:v>
                </c:pt>
                <c:pt idx="1">
                  <c:v>146.37963877580603</c:v>
                </c:pt>
                <c:pt idx="2">
                  <c:v>90.5192935015189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996-4532-BAEA-DA83CD97AD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00907744"/>
        <c:axId val="1"/>
      </c:barChart>
      <c:catAx>
        <c:axId val="700907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009077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420336677435801E-3"/>
          <c:y val="2.0520915548539857E-2"/>
          <c:w val="0.98231593266451278"/>
          <c:h val="0.9589581689029202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9E9-4A20-9DB3-9032E833D499}"/>
              </c:ext>
            </c:extLst>
          </c:dPt>
          <c:dPt>
            <c:idx val="2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9E9-4A20-9DB3-9032E833D499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13625</c:v>
                </c:pt>
                <c:pt idx="1">
                  <c:v>10341</c:v>
                </c:pt>
                <c:pt idx="2">
                  <c:v>7.6219905023164183E-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9E9-4A20-9DB3-9032E833D499}"/>
            </c:ext>
          </c:extLst>
        </c:ser>
        <c:ser>
          <c:idx val="1"/>
          <c:order val="1"/>
          <c:spPr>
            <a:solidFill>
              <a:srgbClr val="29B8F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9E9-4A20-9DB3-9032E833D499}"/>
              </c:ext>
            </c:extLst>
          </c:dPt>
          <c:val>
            <c:numRef>
              <c:f>Sheet1!$A$2:$C$2</c:f>
              <c:numCache>
                <c:formatCode>General</c:formatCode>
                <c:ptCount val="3"/>
                <c:pt idx="0">
                  <c:v>8346</c:v>
                </c:pt>
                <c:pt idx="1">
                  <c:v>23914</c:v>
                </c:pt>
                <c:pt idx="2">
                  <c:v>58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9E9-4A20-9DB3-9032E833D499}"/>
            </c:ext>
          </c:extLst>
        </c:ser>
        <c:ser>
          <c:idx val="2"/>
          <c:order val="2"/>
          <c:spPr>
            <a:solidFill>
              <a:srgbClr val="FFC000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7408</c:v>
                </c:pt>
                <c:pt idx="2">
                  <c:v>44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9E9-4A20-9DB3-9032E833D499}"/>
            </c:ext>
          </c:extLst>
        </c:ser>
        <c:ser>
          <c:idx val="3"/>
          <c:order val="3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0">
                  <c:v>32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9E9-4A20-9DB3-9032E833D499}"/>
            </c:ext>
          </c:extLst>
        </c:ser>
        <c:ser>
          <c:idx val="4"/>
          <c:order val="4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5:$C$5</c:f>
              <c:numCache>
                <c:formatCode>General</c:formatCode>
                <c:ptCount val="3"/>
                <c:pt idx="0">
                  <c:v>15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9E9-4A20-9DB3-9032E833D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83744168"/>
        <c:axId val="1"/>
      </c:barChart>
      <c:catAx>
        <c:axId val="4837441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25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83744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28976034858388E-2"/>
          <c:y val="2.7733333333333336E-2"/>
          <c:w val="0.97734204793028323"/>
          <c:h val="0.944533333333333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2526.8234744045444</c:v>
                </c:pt>
                <c:pt idx="1">
                  <c:v>4626.7416532242341</c:v>
                </c:pt>
                <c:pt idx="2">
                  <c:v>2181.00107786104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5C-44FD-89D8-0278895A948C}"/>
            </c:ext>
          </c:extLst>
        </c:ser>
        <c:ser>
          <c:idx val="1"/>
          <c:order val="1"/>
          <c:spPr>
            <a:solidFill>
              <a:srgbClr val="ED5C05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985.42671442215806</c:v>
                </c:pt>
                <c:pt idx="1">
                  <c:v>1801.1398027816131</c:v>
                </c:pt>
                <c:pt idx="2">
                  <c:v>682.340767672850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5C-44FD-89D8-0278895A948C}"/>
            </c:ext>
          </c:extLst>
        </c:ser>
        <c:ser>
          <c:idx val="2"/>
          <c:order val="2"/>
          <c:spPr>
            <a:solidFill>
              <a:srgbClr val="F38B00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938.74739737135951</c:v>
                </c:pt>
                <c:pt idx="1">
                  <c:v>1724.9123924748756</c:v>
                </c:pt>
                <c:pt idx="2">
                  <c:v>915.975284334892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5C-44FD-89D8-0278895A948C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0">
                  <c:v>2338.4101620461934</c:v>
                </c:pt>
                <c:pt idx="1">
                  <c:v>3276.6266897012256</c:v>
                </c:pt>
                <c:pt idx="2">
                  <c:v>1305.68366255927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45C-44FD-89D8-0278895A948C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C$5</c:f>
              <c:numCache>
                <c:formatCode>General</c:formatCode>
                <c:ptCount val="3"/>
                <c:pt idx="0">
                  <c:v>2230.1009269397146</c:v>
                </c:pt>
                <c:pt idx="1">
                  <c:v>2278.9614519340521</c:v>
                </c:pt>
                <c:pt idx="2">
                  <c:v>1694.49231994907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5C-44FD-89D8-0278895A948C}"/>
            </c:ext>
          </c:extLst>
        </c:ser>
        <c:ser>
          <c:idx val="5"/>
          <c:order val="5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6:$C$6</c:f>
              <c:numCache>
                <c:formatCode>General</c:formatCode>
                <c:ptCount val="3"/>
                <c:pt idx="0">
                  <c:v>1061.06978446639</c:v>
                </c:pt>
                <c:pt idx="1">
                  <c:v>1571.8873732376051</c:v>
                </c:pt>
                <c:pt idx="2">
                  <c:v>1032.3902823065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45C-44FD-89D8-0278895A948C}"/>
            </c:ext>
          </c:extLst>
        </c:ser>
        <c:ser>
          <c:idx val="6"/>
          <c:order val="6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7:$C$7</c:f>
              <c:numCache>
                <c:formatCode>General</c:formatCode>
                <c:ptCount val="3"/>
                <c:pt idx="0">
                  <c:v>260.65242521456821</c:v>
                </c:pt>
                <c:pt idx="1">
                  <c:v>397.97518593942732</c:v>
                </c:pt>
                <c:pt idx="2">
                  <c:v>287.52790418051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45C-44FD-89D8-0278895A94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61124712"/>
        <c:axId val="1"/>
      </c:barChart>
      <c:catAx>
        <c:axId val="5611247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678.2445492930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11247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829131652661069E-2"/>
          <c:y val="0.15160349854227406"/>
          <c:w val="0.85434173669467783"/>
          <c:h val="0.6967930029154518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5C5C5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74</c:v>
                </c:pt>
                <c:pt idx="1">
                  <c:v>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D9-4C87-B0A4-DBDE466B82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11471688"/>
        <c:axId val="1"/>
      </c:barChart>
      <c:catAx>
        <c:axId val="7114716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14716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711111111111111"/>
          <c:y val="3.8235294117647062E-2"/>
          <c:w val="0.50488888888888894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33088235294117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552-4AE3-94D2-44CD1F52A2B3}"/>
                </c:ext>
              </c:extLst>
            </c:dLbl>
            <c:dLbl>
              <c:idx val="1"/>
              <c:layout>
                <c:manualLayout>
                  <c:x val="0"/>
                  <c:y val="-0.187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552-4AE3-94D2-44CD1F52A2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80</c:v>
                </c:pt>
                <c:pt idx="1">
                  <c:v>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552-4AE3-94D2-44CD1F52A2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88334560"/>
        <c:axId val="1"/>
      </c:barChart>
      <c:catAx>
        <c:axId val="4883345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883345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333333333333336"/>
          <c:y val="3.8235294117647062E-2"/>
          <c:w val="0.47333333333333338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34558823529411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246-44BB-8BA6-129C60B2F140}"/>
                </c:ext>
              </c:extLst>
            </c:dLbl>
            <c:dLbl>
              <c:idx val="1"/>
              <c:layout>
                <c:manualLayout>
                  <c:x val="0"/>
                  <c:y val="-0.138970588235294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246-44BB-8BA6-129C60B2F14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73.51</c:v>
                </c:pt>
                <c:pt idx="1">
                  <c:v>286.89602188776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46-44BB-8BA6-129C60B2F1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09218848"/>
        <c:axId val="1"/>
      </c:barChart>
      <c:catAx>
        <c:axId val="6092188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92188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333333333333336"/>
          <c:y val="3.8235294117647062E-2"/>
          <c:w val="0.47333333333333338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94117647058823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B42-4A50-ADC2-ECD92C761A37}"/>
                </c:ext>
              </c:extLst>
            </c:dLbl>
            <c:dLbl>
              <c:idx val="1"/>
              <c:layout>
                <c:manualLayout>
                  <c:x val="0"/>
                  <c:y val="-8.602941176470588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B42-4A50-ADC2-ECD92C761A3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94.568999999999974</c:v>
                </c:pt>
                <c:pt idx="1">
                  <c:v>115.75771510633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42-4A50-ADC2-ECD92C761A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88336200"/>
        <c:axId val="1"/>
      </c:barChart>
      <c:catAx>
        <c:axId val="488336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883362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333333333333336"/>
          <c:y val="3.8235294117647062E-2"/>
          <c:w val="0.47333333333333338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07352941176470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816-4D85-BB81-65E5D60F8018}"/>
                </c:ext>
              </c:extLst>
            </c:dLbl>
            <c:dLbl>
              <c:idx val="1"/>
              <c:layout>
                <c:manualLayout>
                  <c:x val="0"/>
                  <c:y val="-0.108088235294117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816-4D85-BB81-65E5D60F801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85.14</c:v>
                </c:pt>
                <c:pt idx="1">
                  <c:v>187.1545728222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816-4D85-BB81-65E5D60F8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12273128"/>
        <c:axId val="1"/>
      </c:barChart>
      <c:catAx>
        <c:axId val="6122731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22731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333333333333336"/>
          <c:y val="3.8235294117647062E-2"/>
          <c:w val="0.47333333333333338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05147058823529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F01-4809-8EA8-69AEC758E142}"/>
                </c:ext>
              </c:extLst>
            </c:dLbl>
            <c:dLbl>
              <c:idx val="1"/>
              <c:layout>
                <c:manualLayout>
                  <c:x val="0"/>
                  <c:y val="-0.224264705882352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F01-4809-8EA8-69AEC758E14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77.22799999999998</c:v>
                </c:pt>
                <c:pt idx="1">
                  <c:v>564.92671283146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01-4809-8EA8-69AEC758E1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09706432"/>
        <c:axId val="1"/>
      </c:barChart>
      <c:catAx>
        <c:axId val="609706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9706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333333333333336"/>
          <c:y val="3.8235294117647062E-2"/>
          <c:w val="0.47333333333333338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3382352941176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FCF-4B77-BCB1-E83C8ED07958}"/>
                </c:ext>
              </c:extLst>
            </c:dLbl>
            <c:dLbl>
              <c:idx val="1"/>
              <c:layout>
                <c:manualLayout>
                  <c:x val="0"/>
                  <c:y val="-0.318382352941176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FCF-4B77-BCB1-E83C8ED079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70.89999999999992</c:v>
                </c:pt>
                <c:pt idx="1">
                  <c:v>870.000000000000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CF-4B77-BCB1-E83C8ED079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08034912"/>
        <c:axId val="1"/>
      </c:barChart>
      <c:catAx>
        <c:axId val="608034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80349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276422764227641E-2"/>
          <c:y val="2.0069471246622925E-2"/>
          <c:w val="0.91544715447154468"/>
          <c:h val="0.9598610575067542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90A-483F-8848-725FB7AEC2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0A-483F-8848-725FB7AEC2AB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90A-483F-8848-725FB7AEC2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2.79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90A-483F-8848-725FB7AEC2AB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90A-483F-8848-725FB7AEC2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90A-483F-8848-725FB7AEC2AB}"/>
            </c:ext>
          </c:extLst>
        </c:ser>
        <c:ser>
          <c:idx val="3"/>
          <c:order val="3"/>
          <c:spPr>
            <a:solidFill>
              <a:srgbClr val="C3CFE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90A-483F-8848-725FB7AEC2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1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90A-483F-8848-725FB7AEC2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41486400"/>
        <c:axId val="1"/>
      </c:barChart>
      <c:catAx>
        <c:axId val="541486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.199999999999999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414864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82108626198083"/>
          <c:y val="3.8235294117647062E-2"/>
          <c:w val="0.36293929712460066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30882352941176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F65-4483-A237-580526DB903C}"/>
                </c:ext>
              </c:extLst>
            </c:dLbl>
            <c:dLbl>
              <c:idx val="1"/>
              <c:layout>
                <c:manualLayout>
                  <c:x val="0"/>
                  <c:y val="-0.28382352941176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F65-4483-A237-580526DB903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493.9</c:v>
                </c:pt>
                <c:pt idx="1">
                  <c:v>1530.088417177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65-4483-A237-580526DB90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77882135"/>
        <c:axId val="1"/>
      </c:barChart>
      <c:catAx>
        <c:axId val="1778821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78821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333333333333336"/>
          <c:y val="3.8235294117647062E-2"/>
          <c:w val="0.47333333333333338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72058823529411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CAF-4A35-BF9A-5E70F2F60A9F}"/>
                </c:ext>
              </c:extLst>
            </c:dLbl>
            <c:dLbl>
              <c:idx val="1"/>
              <c:layout>
                <c:manualLayout>
                  <c:x val="0"/>
                  <c:y val="-0.256617647058823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CAF-4A35-BF9A-5E70F2F60A9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95.49100000000021</c:v>
                </c:pt>
                <c:pt idx="1">
                  <c:v>670.56636651531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AF-4A35-BF9A-5E70F2F60A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09209008"/>
        <c:axId val="1"/>
      </c:barChart>
      <c:catAx>
        <c:axId val="609209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92090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240963855421688"/>
          <c:y val="6.3098346388163612E-2"/>
          <c:w val="0.69518072289156629"/>
          <c:h val="0.914273281114012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39512619669277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01-4950-A8C0-2163A41B482F}"/>
                </c:ext>
              </c:extLst>
            </c:dLbl>
            <c:dLbl>
              <c:idx val="1"/>
              <c:layout>
                <c:manualLayout>
                  <c:x val="0"/>
                  <c:y val="-0.489120974760661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01-4950-A8C0-2163A41B48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4171</c:v>
                </c:pt>
                <c:pt idx="1">
                  <c:v>46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01-4950-A8C0-2163A41B48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28890840"/>
        <c:axId val="1"/>
      </c:barChart>
      <c:catAx>
        <c:axId val="728890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288908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632465543644726E-2"/>
          <c:y val="0.15384615384615385"/>
          <c:w val="0.84073506891271055"/>
          <c:h val="0.692307692307692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5C5C5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74</c:v>
                </c:pt>
                <c:pt idx="1">
                  <c:v>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46-4E16-98E4-F8F24CF471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85407368"/>
        <c:axId val="1"/>
      </c:barChart>
      <c:catAx>
        <c:axId val="485407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854073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59450171821306"/>
          <c:y val="2.2677714784125599E-2"/>
          <c:w val="0.64810996563573886"/>
          <c:h val="0.954644570431748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B07-492D-AC4D-CED8A1B88B3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B07-492D-AC4D-CED8A1B88B3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170.8487607332434</c:v>
                </c:pt>
                <c:pt idx="1">
                  <c:v>1198.00347322014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07-492D-AC4D-CED8A1B88B39}"/>
            </c:ext>
          </c:extLst>
        </c:ser>
        <c:ser>
          <c:idx val="1"/>
          <c:order val="1"/>
          <c:spPr>
            <a:solidFill>
              <a:srgbClr val="C5C5C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B07-492D-AC4D-CED8A1B88B3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B07-492D-AC4D-CED8A1B88B3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104.26217870623964</c:v>
                </c:pt>
                <c:pt idx="1">
                  <c:v>429.396492917045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B07-492D-AC4D-CED8A1B88B39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B07-492D-AC4D-CED8A1B88B3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B07-492D-AC4D-CED8A1B88B3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387.03005996438856</c:v>
                </c:pt>
                <c:pt idx="1">
                  <c:v>542.561322044754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B07-492D-AC4D-CED8A1B88B39}"/>
            </c:ext>
          </c:extLst>
        </c:ser>
        <c:ser>
          <c:idx val="3"/>
          <c:order val="3"/>
          <c:spPr>
            <a:solidFill>
              <a:srgbClr val="4C6C9C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B07-492D-AC4D-CED8A1B88B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27226496"/>
        <c:axId val="1"/>
      </c:barChart>
      <c:catAx>
        <c:axId val="7272264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69.961288181947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272264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"/>
          <c:y val="4.6594982078853049E-2"/>
          <c:w val="0.68"/>
          <c:h val="0.906810035842293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F18-4C66-B009-BBCB3D8C6391}"/>
              </c:ext>
            </c:extLst>
          </c:dPt>
          <c:dLbls>
            <c:dLbl>
              <c:idx val="1"/>
              <c:layout>
                <c:manualLayout>
                  <c:x val="0"/>
                  <c:y val="-0.292114695340501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F18-4C66-B009-BBCB3D8C639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2.000306703081094</c:v>
                </c:pt>
                <c:pt idx="1">
                  <c:v>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18-4C66-B009-BBCB3D8C6391}"/>
            </c:ext>
          </c:extLst>
        </c:ser>
        <c:ser>
          <c:idx val="1"/>
          <c:order val="1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9.542857142855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F18-4C66-B009-BBCB3D8C6391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74.658836154063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18-4C66-B009-BBCB3D8C63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19541008"/>
        <c:axId val="1"/>
      </c:barChart>
      <c:catAx>
        <c:axId val="719541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95410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"/>
          <c:y val="3.5812672176308541E-2"/>
          <c:w val="0.68"/>
          <c:h val="0.928374655647382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B86-48B0-8D8A-A28DB99EC78A}"/>
              </c:ext>
            </c:extLst>
          </c:dPt>
          <c:dLbls>
            <c:dLbl>
              <c:idx val="1"/>
              <c:layout>
                <c:manualLayout>
                  <c:x val="0"/>
                  <c:y val="-0.419421487603305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B86-48B0-8D8A-A28DB99EC78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673.83273714262464</c:v>
                </c:pt>
                <c:pt idx="1">
                  <c:v>5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86-48B0-8D8A-A28DB99EC78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55.4749033002215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B86-48B0-8D8A-A28DB99EC7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19504928"/>
        <c:axId val="1"/>
      </c:barChart>
      <c:catAx>
        <c:axId val="7195049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9.3076404428461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95049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083333333333335"/>
          <c:y val="0.11333333333333334"/>
          <c:w val="0.63833333333333342"/>
          <c:h val="0.843333333333333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9BC-4D28-9CCA-8473C268A584}"/>
              </c:ext>
            </c:extLst>
          </c:dPt>
          <c:dLbls>
            <c:dLbl>
              <c:idx val="1"/>
              <c:layout>
                <c:manualLayout>
                  <c:x val="0"/>
                  <c:y val="-0.4791666666666666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+mj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9BC-4D28-9CCA-8473C268A5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7.08100000000281</c:v>
                </c:pt>
                <c:pt idx="1">
                  <c:v>4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C-4D28-9CCA-8473C268A584}"/>
            </c:ext>
          </c:extLst>
        </c:ser>
        <c:ser>
          <c:idx val="1"/>
          <c:order val="1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32.3269841269840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9BC-4D28-9CCA-8473C268A584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7.884015873013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C-4D28-9CCA-8473C268A5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19504272"/>
        <c:axId val="1"/>
      </c:barChart>
      <c:catAx>
        <c:axId val="7195042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95042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911111111111112"/>
          <c:y val="4.6594982078853049E-2"/>
          <c:w val="0.68088888888888888"/>
          <c:h val="0.906810035842293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719-41CF-88CA-654B0FAD3963}"/>
              </c:ext>
            </c:extLst>
          </c:dPt>
          <c:dLbls>
            <c:dLbl>
              <c:idx val="1"/>
              <c:layout>
                <c:manualLayout>
                  <c:x val="0"/>
                  <c:y val="-0.309139784946236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719-41CF-88CA-654B0FAD396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12.60504806812615</c:v>
                </c:pt>
                <c:pt idx="1">
                  <c:v>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19-41CF-88CA-654B0FAD3963}"/>
            </c:ext>
          </c:extLst>
        </c:ser>
        <c:ser>
          <c:idx val="1"/>
          <c:order val="1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.14737588601434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19-41CF-88CA-654B0FAD3963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18.099958418128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719-41CF-88CA-654B0FAD3963}"/>
            </c:ext>
          </c:extLst>
        </c:ser>
        <c:ser>
          <c:idx val="3"/>
          <c:order val="3"/>
          <c:spPr>
            <a:solidFill>
              <a:srgbClr val="FFC000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6.1536176277308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719-41CF-88CA-654B0FAD39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94310287"/>
        <c:axId val="1"/>
      </c:barChart>
      <c:catAx>
        <c:axId val="943102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3102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"/>
          <c:y val="4.6594982078853049E-2"/>
          <c:w val="0.68"/>
          <c:h val="0.906810035842293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C52-41BD-BD62-4AC1F3599D72}"/>
              </c:ext>
            </c:extLst>
          </c:dPt>
          <c:dLbls>
            <c:dLbl>
              <c:idx val="1"/>
              <c:layout>
                <c:manualLayout>
                  <c:x val="0"/>
                  <c:y val="-0.1568100358422939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C52-41BD-BD62-4AC1F3599D7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4.139791302091773</c:v>
                </c:pt>
                <c:pt idx="1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52-41BD-BD62-4AC1F3599D72}"/>
            </c:ext>
          </c:extLst>
        </c:ser>
        <c:ser>
          <c:idx val="1"/>
          <c:order val="1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0.294895027838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C52-41BD-BD62-4AC1F3599D72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29.7639307016725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52-41BD-BD62-4AC1F3599D72}"/>
            </c:ext>
          </c:extLst>
        </c:ser>
        <c:ser>
          <c:idx val="3"/>
          <c:order val="3"/>
          <c:spPr>
            <a:solidFill>
              <a:srgbClr val="FFC000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.846382968396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C52-41BD-BD62-4AC1F3599D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19512144"/>
        <c:axId val="1"/>
      </c:barChart>
      <c:catAx>
        <c:axId val="7195121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95121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456491520711705E-2"/>
          <c:y val="6.7973856209150321E-2"/>
          <c:w val="0.97108701695857658"/>
          <c:h val="0.8640522875816992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8</c:v>
                </c:pt>
                <c:pt idx="1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38-4AFB-8AE5-CE38FAC788E6}"/>
            </c:ext>
          </c:extLst>
        </c:ser>
        <c:ser>
          <c:idx val="1"/>
          <c:order val="1"/>
          <c:spPr>
            <a:solidFill>
              <a:srgbClr val="DADADA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32</c:v>
                </c:pt>
                <c:pt idx="1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38-4AFB-8AE5-CE38FAC788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6945256"/>
        <c:axId val="1"/>
      </c:barChart>
      <c:catAx>
        <c:axId val="77694525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7769452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348066298342552E-2"/>
          <c:y val="4.6594982078853049E-2"/>
          <c:w val="0.84530386740331498"/>
          <c:h val="0.906810035842293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9EC-4300-9284-6D42C0A4C3A2}"/>
              </c:ext>
            </c:extLst>
          </c:dPt>
          <c:dLbls>
            <c:dLbl>
              <c:idx val="0"/>
              <c:layout>
                <c:manualLayout>
                  <c:x val="0"/>
                  <c:y val="-8.602150537634409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9EC-4300-9284-6D42C0A4C3A2}"/>
                </c:ext>
              </c:extLst>
            </c:dLbl>
            <c:dLbl>
              <c:idx val="1"/>
              <c:layout>
                <c:manualLayout>
                  <c:x val="0"/>
                  <c:y val="-0.126344086021505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9EC-4300-9284-6D42C0A4C3A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9.686</c:v>
                </c:pt>
                <c:pt idx="1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EC-4300-9284-6D42C0A4C3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19513128"/>
        <c:axId val="1"/>
      </c:barChart>
      <c:catAx>
        <c:axId val="7195131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95131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166666666666667"/>
          <c:y val="4.6594982078853049E-2"/>
          <c:w val="0.63750000000000007"/>
          <c:h val="0.906810035842293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F7A-4CD9-A5F8-24E381C2D13D}"/>
              </c:ext>
            </c:extLst>
          </c:dPt>
          <c:dLbls>
            <c:dLbl>
              <c:idx val="1"/>
              <c:layout>
                <c:manualLayout>
                  <c:x val="0"/>
                  <c:y val="-0.378136200716845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+mj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F7A-4CD9-A5F8-24E381C2D13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44.2199569845545</c:v>
                </c:pt>
                <c:pt idx="1">
                  <c:v>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F7A-4CD9-A5F8-24E381C2D13D}"/>
            </c:ext>
          </c:extLst>
        </c:ser>
        <c:ser>
          <c:idx val="1"/>
          <c:order val="1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.2291710218386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F7A-4CD9-A5F8-24E381C2D13D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88.740871993606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7A-4CD9-A5F8-24E381C2D1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85920280"/>
        <c:axId val="1"/>
      </c:barChart>
      <c:catAx>
        <c:axId val="12859202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85920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083333333333335"/>
          <c:y val="4.6594982078853049E-2"/>
          <c:w val="0.63833333333333342"/>
          <c:h val="0.906810035842293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BAC-4820-9C4E-7A974BB73319}"/>
              </c:ext>
            </c:extLst>
          </c:dPt>
          <c:dLbls>
            <c:dLbl>
              <c:idx val="1"/>
              <c:layout>
                <c:manualLayout>
                  <c:x val="0"/>
                  <c:y val="-0.163978494623655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+mj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BAC-4820-9C4E-7A974BB7331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.5795609756087443</c:v>
                </c:pt>
                <c:pt idx="1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AC-4820-9C4E-7A974BB73319}"/>
            </c:ext>
          </c:extLst>
        </c:ser>
        <c:ser>
          <c:idx val="1"/>
          <c:order val="1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9.03489550070850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BAC-4820-9C4E-7A974BB73319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2.4075435236827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AC-4820-9C4E-7A974BB733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85925856"/>
        <c:axId val="1"/>
      </c:barChart>
      <c:catAx>
        <c:axId val="12859258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859258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829131652661069E-2"/>
          <c:y val="0.15160349854227406"/>
          <c:w val="0.85434173669467783"/>
          <c:h val="0.6967930029154518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5C5C5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74</c:v>
                </c:pt>
                <c:pt idx="1">
                  <c:v>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5D-49F7-BB1D-9274F23364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164390680"/>
        <c:axId val="1"/>
      </c:barChart>
      <c:catAx>
        <c:axId val="11643906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643906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447513812154699"/>
          <c:y val="3.8235294117647062E-2"/>
          <c:w val="0.60994475138121551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37500000000000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3E7-427C-AC6D-41C5FBDDE527}"/>
                </c:ext>
              </c:extLst>
            </c:dLbl>
            <c:dLbl>
              <c:idx val="1"/>
              <c:layout>
                <c:manualLayout>
                  <c:x val="0"/>
                  <c:y val="-0.1580882352941176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3E7-427C-AC6D-41C5FBDDE5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1.336553463977197</c:v>
                </c:pt>
                <c:pt idx="1">
                  <c:v>62.621284582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E7-427C-AC6D-41C5FBDDE5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86226320"/>
        <c:axId val="1"/>
      </c:barChart>
      <c:catAx>
        <c:axId val="4862263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0.812105384081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86226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04712041884817"/>
          <c:y val="3.8235294117647062E-2"/>
          <c:w val="0.57801047120418858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39705882352941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045-422F-8A40-58CAC44AD7F2}"/>
                </c:ext>
              </c:extLst>
            </c:dLbl>
            <c:dLbl>
              <c:idx val="1"/>
              <c:layout>
                <c:manualLayout>
                  <c:x val="0"/>
                  <c:y val="-0.163235294117647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045-422F-8A40-58CAC44AD7F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0.313181331371197</c:v>
                </c:pt>
                <c:pt idx="1">
                  <c:v>63.56919563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045-422F-8A40-58CAC44AD7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90989032"/>
        <c:axId val="1"/>
      </c:barChart>
      <c:catAx>
        <c:axId val="490989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0.812105384081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909890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"/>
          <c:y val="9.4182825484764546E-2"/>
          <c:w val="0.46"/>
          <c:h val="0.8698060941828255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15373961218836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+mj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96C-42E6-B414-AC9C32A019C9}"/>
                </c:ext>
              </c:extLst>
            </c:dLbl>
            <c:dLbl>
              <c:idx val="1"/>
              <c:layout>
                <c:manualLayout>
                  <c:x val="0"/>
                  <c:y val="-0.482686980609418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+mj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96C-42E6-B414-AC9C32A019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00.46684144177</c:v>
                </c:pt>
                <c:pt idx="1">
                  <c:v>260.81210538408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6C-42E6-B414-AC9C32A019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84805608"/>
        <c:axId val="1"/>
      </c:barChart>
      <c:catAx>
        <c:axId val="484805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0.812105384081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84805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"/>
          <c:y val="3.8235294117647062E-2"/>
          <c:w val="0.46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19117647058823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+mj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8AD-481C-9B98-C0FBCC01602D}"/>
                </c:ext>
              </c:extLst>
            </c:dLbl>
            <c:dLbl>
              <c:idx val="1"/>
              <c:layout>
                <c:manualLayout>
                  <c:x val="0"/>
                  <c:y val="-0.353676470588235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+mj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8AD-481C-9B98-C0FBCC01602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3.500285808726499</c:v>
                </c:pt>
                <c:pt idx="1">
                  <c:v>171.04764534910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8AD-481C-9B98-C0FBCC0160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00356720"/>
        <c:axId val="1"/>
      </c:barChart>
      <c:catAx>
        <c:axId val="400356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0.812105384081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03567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04712041884817"/>
          <c:y val="3.8235294117647062E-2"/>
          <c:w val="0.57801047120418858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117647058823528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896-424E-B937-77D1BDA3A3EC}"/>
                </c:ext>
              </c:extLst>
            </c:dLbl>
            <c:dLbl>
              <c:idx val="1"/>
              <c:layout>
                <c:manualLayout>
                  <c:x val="0"/>
                  <c:y val="-9.26470588235294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896-424E-B937-77D1BDA3A3E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2.955170106742699</c:v>
                </c:pt>
                <c:pt idx="1">
                  <c:v>23.7779495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896-424E-B937-77D1BDA3A3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85614480"/>
        <c:axId val="1"/>
      </c:barChart>
      <c:catAx>
        <c:axId val="4856144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0.812105384081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856144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"/>
          <c:y val="3.8235294117647062E-2"/>
          <c:w val="0.46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44117647058823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DB2-45EC-BF5C-CBB1FCC92ED2}"/>
                </c:ext>
              </c:extLst>
            </c:dLbl>
            <c:dLbl>
              <c:idx val="1"/>
              <c:layout>
                <c:manualLayout>
                  <c:x val="0"/>
                  <c:y val="-0.3470588235294117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DB2-45EC-BF5C-CBB1FCC92ED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2.803555299949302</c:v>
                </c:pt>
                <c:pt idx="1">
                  <c:v>167.562713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DB2-45EC-BF5C-CBB1FCC92E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82835624"/>
        <c:axId val="1"/>
      </c:barChart>
      <c:catAx>
        <c:axId val="4828356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0.812105384081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828356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456491520711705E-2"/>
          <c:y val="6.7973856209150321E-2"/>
          <c:w val="0.97108701695857658"/>
          <c:h val="0.8640522875816992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2AFD6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2</c:v>
                </c:pt>
                <c:pt idx="1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1C-4BEA-AE73-725370B1A738}"/>
            </c:ext>
          </c:extLst>
        </c:ser>
        <c:ser>
          <c:idx val="1"/>
          <c:order val="1"/>
          <c:spPr>
            <a:solidFill>
              <a:srgbClr val="D9D9D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ADAD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B1C-4BEA-AE73-725370B1A738}"/>
              </c:ext>
            </c:extLst>
          </c:dPt>
          <c:val>
            <c:numRef>
              <c:f>Sheet1!$A$2:$B$2</c:f>
              <c:numCache>
                <c:formatCode>General</c:formatCode>
                <c:ptCount val="2"/>
                <c:pt idx="0">
                  <c:v>38</c:v>
                </c:pt>
                <c:pt idx="1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B1C-4BEA-AE73-725370B1A7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5623344"/>
        <c:axId val="1"/>
      </c:barChart>
      <c:catAx>
        <c:axId val="60562334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056233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04712041884817"/>
          <c:y val="3.8235294117647062E-2"/>
          <c:w val="0.57801047120418858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676470588235293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+mj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3D1-4BA1-929E-4F8954A2601C}"/>
                </c:ext>
              </c:extLst>
            </c:dLbl>
            <c:dLbl>
              <c:idx val="1"/>
              <c:layout>
                <c:manualLayout>
                  <c:x val="0"/>
                  <c:y val="-0.172058823529411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3D1-4BA1-929E-4F8954A2601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0.624412547463201</c:v>
                </c:pt>
                <c:pt idx="1">
                  <c:v>68.492097461733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D1-4BA1-929E-4F8954A26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85624320"/>
        <c:axId val="1"/>
      </c:barChart>
      <c:catAx>
        <c:axId val="4856243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0.812105384081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85624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189368770764118E-2"/>
          <c:y val="2.2887323943661973E-2"/>
          <c:w val="0.91362126245847175"/>
          <c:h val="0.954225352112676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0.32200000000000001</c:v>
                </c:pt>
                <c:pt idx="1">
                  <c:v>0.817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A0-4E7B-BA7C-9BB6EC16DB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27086936"/>
        <c:axId val="1"/>
      </c:barChart>
      <c:catAx>
        <c:axId val="7270869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817999999999999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270869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289622231871473E-2"/>
          <c:y val="5.7535263548626578E-2"/>
          <c:w val="0.97742075553625707"/>
          <c:h val="0.9231625835189308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3FE-4EF7-85A1-D392608E3D4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3FE-4EF7-85A1-D392608E3D48}"/>
              </c:ext>
            </c:extLst>
          </c:dPt>
          <c:dLbls>
            <c:dLbl>
              <c:idx val="0"/>
              <c:layout>
                <c:manualLayout>
                  <c:x val="0"/>
                  <c:y val="-0.490720118782479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3FE-4EF7-85A1-D392608E3D4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3FE-4EF7-85A1-D392608E3D4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9.3170000000000002</c:v>
                </c:pt>
                <c:pt idx="1">
                  <c:v>7.6</c:v>
                </c:pt>
                <c:pt idx="2">
                  <c:v>5.6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FE-4EF7-85A1-D392608E3D48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3FE-4EF7-85A1-D392608E3D48}"/>
              </c:ext>
            </c:extLst>
          </c:dPt>
          <c:dLbls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3FE-4EF7-85A1-D392608E3D4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0.33100000000000041</c:v>
                </c:pt>
                <c:pt idx="2">
                  <c:v>0.59999999999999964</c:v>
                </c:pt>
                <c:pt idx="3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3FE-4EF7-85A1-D392608E3D48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3FE-4EF7-85A1-D392608E3D48}"/>
              </c:ext>
            </c:extLst>
          </c:dPt>
          <c:dLbls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3FE-4EF7-85A1-D392608E3D4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1">
                  <c:v>0.61899999999999888</c:v>
                </c:pt>
                <c:pt idx="2">
                  <c:v>0.5</c:v>
                </c:pt>
                <c:pt idx="3">
                  <c:v>0.8999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3FE-4EF7-85A1-D392608E3D48}"/>
            </c:ext>
          </c:extLst>
        </c:ser>
        <c:ser>
          <c:idx val="3"/>
          <c:order val="3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63FE-4EF7-85A1-D392608E3D48}"/>
              </c:ext>
            </c:extLst>
          </c:dPt>
          <c:dLbls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3FE-4EF7-85A1-D392608E3D4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1">
                  <c:v>0.43900000000000006</c:v>
                </c:pt>
                <c:pt idx="2">
                  <c:v>0.70000000000000018</c:v>
                </c:pt>
                <c:pt idx="3">
                  <c:v>0.79999999999999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3FE-4EF7-85A1-D392608E3D48}"/>
            </c:ext>
          </c:extLst>
        </c:ser>
        <c:ser>
          <c:idx val="4"/>
          <c:order val="4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5:$D$5</c:f>
              <c:numCache>
                <c:formatCode>General</c:formatCode>
                <c:ptCount val="4"/>
                <c:pt idx="1">
                  <c:v>0.32800000000000118</c:v>
                </c:pt>
                <c:pt idx="2">
                  <c:v>0.20000000000000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3FE-4EF7-85A1-D392608E3D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56640168"/>
        <c:axId val="1"/>
      </c:barChart>
      <c:catAx>
        <c:axId val="4566401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.31700000000000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56640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276422764227641E-2"/>
          <c:y val="2.0069471246622925E-2"/>
          <c:w val="0.91544715447154468"/>
          <c:h val="0.9598610575067542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90A-483F-8848-725FB7AEC2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0A-483F-8848-725FB7AEC2AB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90A-483F-8848-725FB7AEC2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2.79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90A-483F-8848-725FB7AEC2AB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90A-483F-8848-725FB7AEC2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90A-483F-8848-725FB7AEC2AB}"/>
            </c:ext>
          </c:extLst>
        </c:ser>
        <c:ser>
          <c:idx val="3"/>
          <c:order val="3"/>
          <c:spPr>
            <a:solidFill>
              <a:srgbClr val="C3CFE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90A-483F-8848-725FB7AEC2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1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90A-483F-8848-725FB7AEC2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41486400"/>
        <c:axId val="1"/>
      </c:barChart>
      <c:catAx>
        <c:axId val="541486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.199999999999999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414864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591633839804917E-2"/>
          <c:y val="2.7364864864864866E-2"/>
          <c:w val="0.90245732507972232"/>
          <c:h val="0.89290540540540542"/>
        </c:manualLayout>
      </c:layout>
      <c:scatterChart>
        <c:scatterStyle val="lineMarker"/>
        <c:varyColors val="0"/>
        <c:ser>
          <c:idx val="0"/>
          <c:order val="0"/>
          <c:spPr>
            <a:ln w="38100">
              <a:solidFill>
                <a:srgbClr val="969696"/>
              </a:solidFill>
              <a:prstDash val="solid"/>
            </a:ln>
          </c:spPr>
          <c:marker>
            <c:symbol val="none"/>
          </c:marker>
          <c:xVal>
            <c:numRef>
              <c:f>Sheet1!$A$1:$I$1</c:f>
              <c:numCache>
                <c:formatCode>General</c:formatCode>
                <c:ptCount val="9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</c:numCache>
            </c:numRef>
          </c:xVal>
          <c:yVal>
            <c:numRef>
              <c:f>Sheet1!$A$2:$I$2</c:f>
              <c:numCache>
                <c:formatCode>General</c:formatCode>
                <c:ptCount val="9"/>
                <c:pt idx="0">
                  <c:v>70</c:v>
                </c:pt>
                <c:pt idx="1">
                  <c:v>77.5</c:v>
                </c:pt>
                <c:pt idx="2">
                  <c:v>85</c:v>
                </c:pt>
                <c:pt idx="3">
                  <c:v>92.5</c:v>
                </c:pt>
                <c:pt idx="4">
                  <c:v>100</c:v>
                </c:pt>
                <c:pt idx="5">
                  <c:v>107.5</c:v>
                </c:pt>
                <c:pt idx="6">
                  <c:v>115</c:v>
                </c:pt>
                <c:pt idx="7">
                  <c:v>122.5</c:v>
                </c:pt>
                <c:pt idx="8">
                  <c:v>13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A52-43E1-A21E-8129DE9D6174}"/>
            </c:ext>
          </c:extLst>
        </c:ser>
        <c:ser>
          <c:idx val="1"/>
          <c:order val="1"/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I$1</c:f>
              <c:numCache>
                <c:formatCode>General</c:formatCode>
                <c:ptCount val="9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</c:numCache>
            </c:numRef>
          </c:xVal>
          <c:yVal>
            <c:numRef>
              <c:f>Sheet1!$A$3:$I$3</c:f>
              <c:numCache>
                <c:formatCode>General</c:formatCode>
                <c:ptCount val="9"/>
                <c:pt idx="0">
                  <c:v>0</c:v>
                </c:pt>
                <c:pt idx="1">
                  <c:v>22.5</c:v>
                </c:pt>
                <c:pt idx="2">
                  <c:v>45</c:v>
                </c:pt>
                <c:pt idx="3">
                  <c:v>67.5</c:v>
                </c:pt>
                <c:pt idx="4">
                  <c:v>90</c:v>
                </c:pt>
                <c:pt idx="5">
                  <c:v>112.5</c:v>
                </c:pt>
                <c:pt idx="6">
                  <c:v>135</c:v>
                </c:pt>
                <c:pt idx="7">
                  <c:v>157.5</c:v>
                </c:pt>
                <c:pt idx="8">
                  <c:v>18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A52-43E1-A21E-8129DE9D6174}"/>
            </c:ext>
          </c:extLst>
        </c:ser>
        <c:ser>
          <c:idx val="2"/>
          <c:order val="2"/>
          <c:spPr>
            <a:ln w="38100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I$1</c:f>
              <c:numCache>
                <c:formatCode>General</c:formatCode>
                <c:ptCount val="9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70</c:v>
                </c:pt>
                <c:pt idx="8">
                  <c:v>80</c:v>
                </c:pt>
              </c:numCache>
            </c:numRef>
          </c:xVal>
          <c:yVal>
            <c:numRef>
              <c:f>Sheet1!$A$4:$I$4</c:f>
              <c:numCache>
                <c:formatCode>General</c:formatCode>
                <c:ptCount val="9"/>
                <c:pt idx="0">
                  <c:v>60</c:v>
                </c:pt>
                <c:pt idx="1">
                  <c:v>62.5</c:v>
                </c:pt>
                <c:pt idx="2">
                  <c:v>65</c:v>
                </c:pt>
                <c:pt idx="3">
                  <c:v>67.5</c:v>
                </c:pt>
                <c:pt idx="4">
                  <c:v>70</c:v>
                </c:pt>
                <c:pt idx="5">
                  <c:v>72.5</c:v>
                </c:pt>
                <c:pt idx="6">
                  <c:v>75</c:v>
                </c:pt>
                <c:pt idx="7">
                  <c:v>77.5</c:v>
                </c:pt>
                <c:pt idx="8">
                  <c:v>8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A52-43E1-A21E-8129DE9D61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948944"/>
        <c:axId val="1"/>
      </c:scatterChart>
      <c:valAx>
        <c:axId val="574948944"/>
        <c:scaling>
          <c:orientation val="minMax"/>
          <c:max val="8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3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574948944"/>
        <c:crosses val="min"/>
        <c:crossBetween val="midCat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456491520711705E-2"/>
          <c:y val="6.7973856209150321E-2"/>
          <c:w val="0.97108701695857658"/>
          <c:h val="0.8640522875816992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8</c:v>
                </c:pt>
                <c:pt idx="1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E7-4B3E-873A-EB56861FD4AA}"/>
            </c:ext>
          </c:extLst>
        </c:ser>
        <c:ser>
          <c:idx val="1"/>
          <c:order val="1"/>
          <c:spPr>
            <a:solidFill>
              <a:srgbClr val="D9D9D9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32</c:v>
                </c:pt>
                <c:pt idx="1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E7-4B3E-873A-EB56861FD4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9553336"/>
        <c:axId val="1"/>
      </c:barChart>
      <c:catAx>
        <c:axId val="8495533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495533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456491520711705E-2"/>
          <c:y val="6.7973856209150321E-2"/>
          <c:w val="0.97108701695857658"/>
          <c:h val="0.8640522875816992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2AFD6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2</c:v>
                </c:pt>
                <c:pt idx="1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D0-44FE-A56C-5258EF1A2C30}"/>
            </c:ext>
          </c:extLst>
        </c:ser>
        <c:ser>
          <c:idx val="1"/>
          <c:order val="1"/>
          <c:spPr>
            <a:solidFill>
              <a:srgbClr val="DADADA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38</c:v>
                </c:pt>
                <c:pt idx="1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D0-44FE-A56C-5258EF1A2C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54236824"/>
        <c:axId val="1"/>
      </c:barChart>
      <c:catAx>
        <c:axId val="45423682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542368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239821381665355E-2"/>
          <c:y val="5.5555555555555559E-2"/>
          <c:w val="0.91752035723666936"/>
          <c:h val="0.7061965811965812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5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4D-4AA6-9B8D-E83F0FB4CAA3}"/>
            </c:ext>
          </c:extLst>
        </c:ser>
        <c:ser>
          <c:idx val="1"/>
          <c:order val="1"/>
          <c:spPr>
            <a:solidFill>
              <a:srgbClr val="DADADA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55</c:v>
                </c:pt>
                <c:pt idx="1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4D-4AA6-9B8D-E83F0FB4CA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8773656"/>
        <c:axId val="1"/>
      </c:barChart>
      <c:catAx>
        <c:axId val="44877365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448773656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398612425102491E-2"/>
          <c:y val="6.7973856209150321E-2"/>
          <c:w val="0.96720277514979502"/>
          <c:h val="0.86405228758169927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14"/>
            <c:spPr>
              <a:solidFill>
                <a:srgbClr val="C2AFD6"/>
              </a:solidFill>
              <a:ln w="9525">
                <a:solidFill>
                  <a:srgbClr val="C2AFD6"/>
                </a:solidFill>
                <a:prstDash val="solid"/>
              </a:ln>
            </c:spPr>
          </c:marker>
          <c:xVal>
            <c:numRef>
              <c:f>Sheet1!$A$1:$A$6</c:f>
              <c:numCache>
                <c:formatCode>General</c:formatCode>
                <c:ptCount val="6"/>
                <c:pt idx="0">
                  <c:v>17.138718528252681</c:v>
                </c:pt>
                <c:pt idx="1">
                  <c:v>58</c:v>
                </c:pt>
              </c:numCache>
            </c:numRef>
          </c:xVal>
          <c:yVal>
            <c:numRef>
              <c:f>Sheet1!$B$1:$B$6</c:f>
              <c:numCache>
                <c:formatCode>General</c:formatCode>
                <c:ptCount val="6"/>
                <c:pt idx="0">
                  <c:v>3</c:v>
                </c:pt>
                <c:pt idx="1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874-42F0-B51E-B7923B73A38B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diamond"/>
            <c:size val="14"/>
            <c:spPr>
              <a:solidFill>
                <a:srgbClr val="969696"/>
              </a:solidFill>
              <a:ln w="9525">
                <a:solidFill>
                  <a:srgbClr val="969696"/>
                </a:solidFill>
                <a:prstDash val="solid"/>
              </a:ln>
            </c:spPr>
          </c:marker>
          <c:dPt>
            <c:idx val="3"/>
            <c:marker>
              <c:spPr>
                <a:solidFill>
                  <a:srgbClr val="C2AFD6"/>
                </a:solidFill>
                <a:ln w="9525">
                  <a:solidFill>
                    <a:srgbClr val="C2AFD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3874-42F0-B51E-B7923B73A38B}"/>
              </c:ext>
            </c:extLst>
          </c:dPt>
          <c:xVal>
            <c:numRef>
              <c:f>Sheet1!$A$1:$A$6</c:f>
              <c:numCache>
                <c:formatCode>General</c:formatCode>
                <c:ptCount val="6"/>
                <c:pt idx="2">
                  <c:v>78</c:v>
                </c:pt>
                <c:pt idx="3">
                  <c:v>83</c:v>
                </c:pt>
              </c:numCache>
            </c:numRef>
          </c:xVal>
          <c:yVal>
            <c:numRef>
              <c:f>Sheet1!$C$1:$C$6</c:f>
              <c:numCache>
                <c:formatCode>General</c:formatCode>
                <c:ptCount val="6"/>
                <c:pt idx="2">
                  <c:v>3</c:v>
                </c:pt>
                <c:pt idx="3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3874-42F0-B51E-B7923B73A38B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square"/>
            <c:size val="14"/>
            <c:spPr>
              <a:solidFill>
                <a:srgbClr val="969696"/>
              </a:solidFill>
              <a:ln w="9525">
                <a:solidFill>
                  <a:srgbClr val="969696"/>
                </a:solidFill>
                <a:prstDash val="solid"/>
              </a:ln>
            </c:spPr>
          </c:marker>
          <c:xVal>
            <c:numRef>
              <c:f>Sheet1!$A$1:$A$6</c:f>
              <c:numCache>
                <c:formatCode>General</c:formatCode>
                <c:ptCount val="6"/>
                <c:pt idx="4">
                  <c:v>113</c:v>
                </c:pt>
                <c:pt idx="5">
                  <c:v>114</c:v>
                </c:pt>
              </c:numCache>
            </c:numRef>
          </c:xVal>
          <c:yVal>
            <c:numRef>
              <c:f>Sheet1!$D$1:$D$6</c:f>
              <c:numCache>
                <c:formatCode>General</c:formatCode>
                <c:ptCount val="6"/>
                <c:pt idx="4">
                  <c:v>3</c:v>
                </c:pt>
                <c:pt idx="5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3874-42F0-B51E-B7923B73A3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7244032"/>
        <c:axId val="1"/>
      </c:scatterChart>
      <c:valAx>
        <c:axId val="557244032"/>
        <c:scaling>
          <c:orientation val="minMax"/>
          <c:max val="2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557244032"/>
        <c:crosses val="min"/>
        <c:crossBetween val="midCat"/>
        <c:majorUnit val="1"/>
      </c:valAx>
      <c:spPr>
        <a:noFill/>
        <a:ln w="9525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398612425102491E-2"/>
          <c:y val="6.7973856209150321E-2"/>
          <c:w val="0.96720277514979502"/>
          <c:h val="0.86405228758169927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14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prstDash val="solid"/>
              </a:ln>
            </c:spPr>
          </c:marker>
          <c:xVal>
            <c:numRef>
              <c:f>Sheet1!$A$1:$A$6</c:f>
              <c:numCache>
                <c:formatCode>General</c:formatCode>
                <c:ptCount val="6"/>
                <c:pt idx="0">
                  <c:v>100.47562595853751</c:v>
                </c:pt>
                <c:pt idx="1">
                  <c:v>122.25981182870507</c:v>
                </c:pt>
              </c:numCache>
            </c:numRef>
          </c:xVal>
          <c:yVal>
            <c:numRef>
              <c:f>Sheet1!$B$1:$B$6</c:f>
              <c:numCache>
                <c:formatCode>General</c:formatCode>
                <c:ptCount val="6"/>
                <c:pt idx="0">
                  <c:v>3</c:v>
                </c:pt>
                <c:pt idx="1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6C0-4E60-82CE-8E077A71FD77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diamond"/>
            <c:size val="14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prstDash val="solid"/>
              </a:ln>
            </c:spPr>
          </c:marker>
          <c:xVal>
            <c:numRef>
              <c:f>Sheet1!$A$1:$A$6</c:f>
              <c:numCache>
                <c:formatCode>General</c:formatCode>
                <c:ptCount val="6"/>
                <c:pt idx="2">
                  <c:v>137</c:v>
                </c:pt>
                <c:pt idx="3">
                  <c:v>145</c:v>
                </c:pt>
              </c:numCache>
            </c:numRef>
          </c:xVal>
          <c:yVal>
            <c:numRef>
              <c:f>Sheet1!$C$1:$C$6</c:f>
              <c:numCache>
                <c:formatCode>General</c:formatCode>
                <c:ptCount val="6"/>
                <c:pt idx="2">
                  <c:v>3</c:v>
                </c:pt>
                <c:pt idx="3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6C0-4E60-82CE-8E077A71FD77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square"/>
            <c:size val="14"/>
            <c:spPr>
              <a:solidFill>
                <a:srgbClr val="969696"/>
              </a:solidFill>
              <a:ln w="9525">
                <a:solidFill>
                  <a:srgbClr val="969696"/>
                </a:solidFill>
                <a:prstDash val="solid"/>
              </a:ln>
            </c:spPr>
          </c:marker>
          <c:xVal>
            <c:numRef>
              <c:f>Sheet1!$A$1:$A$6</c:f>
              <c:numCache>
                <c:formatCode>General</c:formatCode>
                <c:ptCount val="6"/>
                <c:pt idx="4">
                  <c:v>170</c:v>
                </c:pt>
                <c:pt idx="5">
                  <c:v>170</c:v>
                </c:pt>
              </c:numCache>
            </c:numRef>
          </c:xVal>
          <c:yVal>
            <c:numRef>
              <c:f>Sheet1!$D$1:$D$6</c:f>
              <c:numCache>
                <c:formatCode>General</c:formatCode>
                <c:ptCount val="6"/>
                <c:pt idx="4">
                  <c:v>3</c:v>
                </c:pt>
                <c:pt idx="5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6C0-4E60-82CE-8E077A71FD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67892336"/>
        <c:axId val="1"/>
      </c:scatterChart>
      <c:valAx>
        <c:axId val="567892336"/>
        <c:scaling>
          <c:orientation val="minMax"/>
          <c:max val="2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567892336"/>
        <c:crosses val="min"/>
        <c:crossBetween val="midCat"/>
        <c:majorUnit val="1"/>
      </c:valAx>
      <c:spPr>
        <a:noFill/>
        <a:ln w="9525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239821381665355E-2"/>
          <c:y val="5.5555555555555559E-2"/>
          <c:w val="0.91752035723666936"/>
          <c:h val="0.7061965811965812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5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74-42F8-9A07-14CC4CCEE192}"/>
            </c:ext>
          </c:extLst>
        </c:ser>
        <c:ser>
          <c:idx val="1"/>
          <c:order val="1"/>
          <c:spPr>
            <a:solidFill>
              <a:srgbClr val="DADADA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55</c:v>
                </c:pt>
                <c:pt idx="1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74-42F8-9A07-14CC4CCEE1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7926384"/>
        <c:axId val="1"/>
      </c:barChart>
      <c:catAx>
        <c:axId val="4479263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447926384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085489968013954E-2"/>
          <c:y val="5.5555555555555559E-2"/>
          <c:w val="0.89182902006397202"/>
          <c:h val="0.70619658119658124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14"/>
            <c:spPr>
              <a:solidFill>
                <a:srgbClr val="969696"/>
              </a:solidFill>
              <a:ln w="9525">
                <a:solidFill>
                  <a:srgbClr val="969696"/>
                </a:solidFill>
                <a:prstDash val="solid"/>
              </a:ln>
            </c:spPr>
          </c:marker>
          <c:dPt>
            <c:idx val="1"/>
            <c:marker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F19-480E-8FF4-22535238F5CB}"/>
              </c:ext>
            </c:extLst>
          </c:dPt>
          <c:xVal>
            <c:numRef>
              <c:f>Sheet1!$A$1:$A$6</c:f>
              <c:numCache>
                <c:formatCode>General</c:formatCode>
                <c:ptCount val="6"/>
                <c:pt idx="0">
                  <c:v>78</c:v>
                </c:pt>
                <c:pt idx="1">
                  <c:v>95</c:v>
                </c:pt>
              </c:numCache>
            </c:numRef>
          </c:xVal>
          <c:yVal>
            <c:numRef>
              <c:f>Sheet1!$B$1:$B$6</c:f>
              <c:numCache>
                <c:formatCode>General</c:formatCode>
                <c:ptCount val="6"/>
                <c:pt idx="0">
                  <c:v>3</c:v>
                </c:pt>
                <c:pt idx="1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F19-480E-8FF4-22535238F5CB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diamond"/>
            <c:size val="14"/>
            <c:spPr>
              <a:solidFill>
                <a:srgbClr val="969696"/>
              </a:solidFill>
              <a:ln w="9525">
                <a:solidFill>
                  <a:srgbClr val="969696"/>
                </a:solidFill>
                <a:prstDash val="solid"/>
              </a:ln>
            </c:spPr>
          </c:marker>
          <c:xVal>
            <c:numRef>
              <c:f>Sheet1!$A$1:$A$6</c:f>
              <c:numCache>
                <c:formatCode>General</c:formatCode>
                <c:ptCount val="6"/>
                <c:pt idx="2">
                  <c:v>111</c:v>
                </c:pt>
                <c:pt idx="3">
                  <c:v>111</c:v>
                </c:pt>
              </c:numCache>
            </c:numRef>
          </c:xVal>
          <c:yVal>
            <c:numRef>
              <c:f>Sheet1!$C$1:$C$6</c:f>
              <c:numCache>
                <c:formatCode>General</c:formatCode>
                <c:ptCount val="6"/>
                <c:pt idx="2">
                  <c:v>3</c:v>
                </c:pt>
                <c:pt idx="3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F19-480E-8FF4-22535238F5CB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square"/>
            <c:size val="14"/>
            <c:spPr>
              <a:solidFill>
                <a:srgbClr val="969696"/>
              </a:solidFill>
              <a:ln w="9525">
                <a:solidFill>
                  <a:srgbClr val="969696"/>
                </a:solidFill>
                <a:prstDash val="solid"/>
              </a:ln>
            </c:spPr>
          </c:marker>
          <c:xVal>
            <c:numRef>
              <c:f>Sheet1!$A$1:$A$6</c:f>
              <c:numCache>
                <c:formatCode>General</c:formatCode>
                <c:ptCount val="6"/>
                <c:pt idx="4">
                  <c:v>134</c:v>
                </c:pt>
                <c:pt idx="5">
                  <c:v>134</c:v>
                </c:pt>
              </c:numCache>
            </c:numRef>
          </c:xVal>
          <c:yVal>
            <c:numRef>
              <c:f>Sheet1!$D$1:$D$6</c:f>
              <c:numCache>
                <c:formatCode>General</c:formatCode>
                <c:ptCount val="6"/>
                <c:pt idx="4">
                  <c:v>3</c:v>
                </c:pt>
                <c:pt idx="5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5F19-480E-8FF4-22535238F5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916800"/>
        <c:axId val="1"/>
      </c:scatterChart>
      <c:valAx>
        <c:axId val="574916800"/>
        <c:scaling>
          <c:orientation val="minMax"/>
          <c:max val="2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20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574916800"/>
        <c:crosses val="min"/>
        <c:crossBetween val="midCat"/>
        <c:majorUnit val="1"/>
      </c:valAx>
      <c:spPr>
        <a:noFill/>
        <a:ln w="9525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064059339177341E-2"/>
          <c:y val="1.9439252336448599E-2"/>
          <c:w val="0.92987188132164533"/>
          <c:h val="0.961121495327102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3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B8-44EF-88CA-C821BD0E8BEA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B8-44EF-88CA-C821BD0E8BEA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9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9B8-44EF-88CA-C821BD0E8BEA}"/>
            </c:ext>
          </c:extLst>
        </c:ser>
        <c:ser>
          <c:idx val="3"/>
          <c:order val="3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7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9B8-44EF-88CA-C821BD0E8BEA}"/>
            </c:ext>
          </c:extLst>
        </c:ser>
        <c:ser>
          <c:idx val="4"/>
          <c:order val="4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9B8-44EF-88CA-C821BD0E8BEA}"/>
            </c:ext>
          </c:extLst>
        </c:ser>
        <c:ser>
          <c:idx val="5"/>
          <c:order val="5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9B8-44EF-88CA-C821BD0E8B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8538184"/>
        <c:axId val="1"/>
      </c:barChart>
      <c:catAx>
        <c:axId val="6185381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16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85381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271688792837304E-3"/>
          <c:y val="2.1666666666666667E-2"/>
          <c:w val="0.98394566224143254"/>
          <c:h val="0.95666666666666678"/>
        </c:manualLayout>
      </c:layout>
      <c:scatterChart>
        <c:scatterStyle val="lineMarker"/>
        <c:varyColors val="0"/>
        <c:ser>
          <c:idx val="0"/>
          <c:order val="0"/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50</c:v>
                </c:pt>
                <c:pt idx="2">
                  <c:v>100</c:v>
                </c:pt>
              </c:numCache>
            </c:numRef>
          </c:xVal>
          <c:yVal>
            <c:numRef>
              <c:f>Sheet1!$A$2:$C$2</c:f>
              <c:numCache>
                <c:formatCode>General</c:formatCode>
                <c:ptCount val="3"/>
                <c:pt idx="0">
                  <c:v>0</c:v>
                </c:pt>
                <c:pt idx="1">
                  <c:v>195.37632952171538</c:v>
                </c:pt>
                <c:pt idx="2">
                  <c:v>390.752659043430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42E-428D-B6E8-0422F84344E4}"/>
            </c:ext>
          </c:extLst>
        </c:ser>
        <c:ser>
          <c:idx val="1"/>
          <c:order val="1"/>
          <c:spPr>
            <a:ln w="38100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50</c:v>
                </c:pt>
                <c:pt idx="2">
                  <c:v>100</c:v>
                </c:pt>
              </c:numCache>
            </c:numRef>
          </c:xVal>
          <c:yVal>
            <c:numRef>
              <c:f>Sheet1!$A$3:$C$3</c:f>
              <c:numCache>
                <c:formatCode>General</c:formatCode>
                <c:ptCount val="3"/>
                <c:pt idx="0">
                  <c:v>79.798152143707554</c:v>
                </c:pt>
                <c:pt idx="1">
                  <c:v>118.59063651847973</c:v>
                </c:pt>
                <c:pt idx="2">
                  <c:v>157.383120893251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42E-428D-B6E8-0422F84344E4}"/>
            </c:ext>
          </c:extLst>
        </c:ser>
        <c:ser>
          <c:idx val="2"/>
          <c:order val="2"/>
          <c:spPr>
            <a:ln w="38100">
              <a:solidFill>
                <a:schemeClr val="accent3"/>
              </a:solidFill>
              <a:prstDash val="dash"/>
            </a:ln>
          </c:spPr>
          <c:marker>
            <c:symbol val="none"/>
          </c:marker>
          <c:x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50</c:v>
                </c:pt>
                <c:pt idx="2">
                  <c:v>100</c:v>
                </c:pt>
              </c:numCache>
            </c:numRef>
          </c:xVal>
          <c:yVal>
            <c:numRef>
              <c:f>Sheet1!$A$4:$C$4</c:f>
              <c:numCache>
                <c:formatCode>General</c:formatCode>
                <c:ptCount val="3"/>
                <c:pt idx="0">
                  <c:v>205.14456994285678</c:v>
                </c:pt>
                <c:pt idx="1">
                  <c:v>205.14456994285678</c:v>
                </c:pt>
                <c:pt idx="2">
                  <c:v>205.144569942856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42E-428D-B6E8-0422F84344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4225344"/>
        <c:axId val="1"/>
      </c:scatterChart>
      <c:valAx>
        <c:axId val="454225344"/>
        <c:scaling>
          <c:orientation val="minMax"/>
          <c:max val="1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1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454225344"/>
        <c:crosses val="min"/>
        <c:crossBetween val="midCat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07698229407235E-2"/>
          <c:y val="2.4231127679403542E-2"/>
          <c:w val="0.97998460354118544"/>
          <c:h val="0.95153774464119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526.8234744045444</c:v>
                </c:pt>
                <c:pt idx="1">
                  <c:v>4626.7416532242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89-4637-8E1F-2DCCEA41DFE7}"/>
            </c:ext>
          </c:extLst>
        </c:ser>
        <c:ser>
          <c:idx val="1"/>
          <c:order val="1"/>
          <c:spPr>
            <a:solidFill>
              <a:srgbClr val="ED5C05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985.42671442215806</c:v>
                </c:pt>
                <c:pt idx="1">
                  <c:v>1801.1398027816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89-4637-8E1F-2DCCEA41DFE7}"/>
            </c:ext>
          </c:extLst>
        </c:ser>
        <c:ser>
          <c:idx val="2"/>
          <c:order val="2"/>
          <c:spPr>
            <a:solidFill>
              <a:srgbClr val="F38B00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938.74739737135951</c:v>
                </c:pt>
                <c:pt idx="1">
                  <c:v>1724.9123924748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389-4637-8E1F-2DCCEA41DF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8109736"/>
        <c:axId val="1"/>
      </c:barChart>
      <c:catAx>
        <c:axId val="948109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152.79384848072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8109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931674398987768E-2"/>
          <c:y val="6.643806258036862E-2"/>
          <c:w val="0.9561366512020244"/>
          <c:h val="0.9112730390055722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CFE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6630947278182598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217-4B44-A81F-6BE75FE10EF6}"/>
                </c:ext>
              </c:extLst>
            </c:dLbl>
            <c:dLbl>
              <c:idx val="1"/>
              <c:layout>
                <c:manualLayout>
                  <c:x val="0"/>
                  <c:y val="-0.2627518216888126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217-4B44-A81F-6BE75FE10EF6}"/>
                </c:ext>
              </c:extLst>
            </c:dLbl>
            <c:dLbl>
              <c:idx val="2"/>
              <c:layout>
                <c:manualLayout>
                  <c:x val="0"/>
                  <c:y val="-0.4894984997856836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217-4B44-A81F-6BE75FE10E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634.29999999999995</c:v>
                </c:pt>
                <c:pt idx="1">
                  <c:v>1095</c:v>
                </c:pt>
                <c:pt idx="2">
                  <c:v>2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217-4B44-A81F-6BE75FE10E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5803008"/>
        <c:axId val="1"/>
      </c:barChart>
      <c:catAx>
        <c:axId val="585803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858030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922428330522763E-2"/>
          <c:y val="6.643806258036862E-2"/>
          <c:w val="0.95615514333895446"/>
          <c:h val="0.9112730390055722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24389198456922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5F1-470D-B764-EEB9D201012B}"/>
                </c:ext>
              </c:extLst>
            </c:dLbl>
            <c:dLbl>
              <c:idx val="1"/>
              <c:layout>
                <c:manualLayout>
                  <c:x val="0"/>
                  <c:y val="-8.486926703814830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5F1-470D-B764-EEB9D201012B}"/>
                </c:ext>
              </c:extLst>
            </c:dLbl>
            <c:dLbl>
              <c:idx val="2"/>
              <c:layout>
                <c:manualLayout>
                  <c:x val="-1.7284991568296795E-2"/>
                  <c:y val="-9.644234890698671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5F1-470D-B764-EEB9D201012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7343.3422596616992</c:v>
                </c:pt>
                <c:pt idx="1">
                  <c:v>9199</c:v>
                </c:pt>
                <c:pt idx="2">
                  <c:v>11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5F1-470D-B764-EEB9D201012B}"/>
            </c:ext>
          </c:extLst>
        </c:ser>
        <c:ser>
          <c:idx val="1"/>
          <c:order val="1"/>
          <c:spPr>
            <a:solidFill>
              <a:srgbClr val="C3CFE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80882983283326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5F1-470D-B764-EEB9D201012B}"/>
                </c:ext>
              </c:extLst>
            </c:dLbl>
            <c:dLbl>
              <c:idx val="1"/>
              <c:layout>
                <c:manualLayout>
                  <c:x val="0"/>
                  <c:y val="-0.3034719245606515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5F1-470D-B764-EEB9D201012B}"/>
                </c:ext>
              </c:extLst>
            </c:dLbl>
            <c:dLbl>
              <c:idx val="2"/>
              <c:layout>
                <c:manualLayout>
                  <c:x val="0"/>
                  <c:y val="-0.489498499785683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5F1-470D-B764-EEB9D201012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26523.082299982521</c:v>
                </c:pt>
                <c:pt idx="1">
                  <c:v>48646.290578098982</c:v>
                </c:pt>
                <c:pt idx="2">
                  <c:v>82167.1120831815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5F1-470D-B764-EEB9D20101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36836904"/>
        <c:axId val="1"/>
      </c:barChart>
      <c:catAx>
        <c:axId val="4368369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2167.11208318156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368369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922428330522763E-2"/>
          <c:y val="2.3318385650224215E-2"/>
          <c:w val="0.95615514333895446"/>
          <c:h val="0.953363228699551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6323</c:v>
                </c:pt>
                <c:pt idx="1">
                  <c:v>11416</c:v>
                </c:pt>
                <c:pt idx="2">
                  <c:v>213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D3-4ED4-9A47-31D51819BE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98180904"/>
        <c:axId val="1"/>
      </c:barChart>
      <c:catAx>
        <c:axId val="5981809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37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981809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829131652661069E-2"/>
          <c:y val="0.15160349854227406"/>
          <c:w val="0.85434173669467783"/>
          <c:h val="0.6967930029154518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5C5C5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74</c:v>
                </c:pt>
                <c:pt idx="1">
                  <c:v>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99-4139-B973-6C995CABB0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506034488"/>
        <c:axId val="1"/>
      </c:barChart>
      <c:catAx>
        <c:axId val="506034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06034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431372549019607E-2"/>
          <c:y val="3.8235294117647062E-2"/>
          <c:w val="0.84313725490196079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919</c:v>
                </c:pt>
                <c:pt idx="1">
                  <c:v>10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40-4FB6-A7F8-914FE573BE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8446679"/>
        <c:axId val="1"/>
      </c:barChart>
      <c:catAx>
        <c:axId val="184466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4466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431372549019607E-2"/>
          <c:y val="3.8235294117647062E-2"/>
          <c:w val="0.84313725490196079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603</c:v>
                </c:pt>
                <c:pt idx="1">
                  <c:v>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78-451A-97AC-17E29DBF54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87743519"/>
        <c:axId val="1"/>
      </c:barChart>
      <c:catAx>
        <c:axId val="7877435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877435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513489991296773E-3"/>
          <c:y val="2.135523613963039E-2"/>
          <c:w val="0.98189730200174064"/>
          <c:h val="0.9572895277207391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4D7-4BB8-9784-639264550EAC}"/>
              </c:ext>
            </c:extLst>
          </c:dPt>
          <c:dPt>
            <c:idx val="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4D7-4BB8-9784-639264550EAC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4626.7416532242341</c:v>
                </c:pt>
                <c:pt idx="1">
                  <c:v>7571.0337597051639</c:v>
                </c:pt>
                <c:pt idx="2">
                  <c:v>7422.079498015124</c:v>
                </c:pt>
                <c:pt idx="3">
                  <c:v>6525.9339162656197</c:v>
                </c:pt>
                <c:pt idx="4">
                  <c:v>3328.4779453295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4D7-4BB8-9784-639264550EAC}"/>
            </c:ext>
          </c:extLst>
        </c:ser>
        <c:ser>
          <c:idx val="1"/>
          <c:order val="1"/>
          <c:spPr>
            <a:solidFill>
              <a:srgbClr val="FFC0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D5C0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4D7-4BB8-9784-639264550EAC}"/>
              </c:ext>
            </c:extLst>
          </c:dPt>
          <c:dPt>
            <c:idx val="4"/>
            <c:invertIfNegative val="0"/>
            <c:bubble3D val="0"/>
            <c:spPr>
              <a:solidFill>
                <a:srgbClr val="ED5C0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4D7-4BB8-9784-639264550EAC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1801.1398027816131</c:v>
                </c:pt>
                <c:pt idx="1">
                  <c:v>557.98504337884242</c:v>
                </c:pt>
                <c:pt idx="2">
                  <c:v>0</c:v>
                </c:pt>
                <c:pt idx="3">
                  <c:v>740.27866451587761</c:v>
                </c:pt>
                <c:pt idx="4">
                  <c:v>1537.22779317903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4D7-4BB8-9784-639264550EAC}"/>
            </c:ext>
          </c:extLst>
        </c:ser>
        <c:ser>
          <c:idx val="2"/>
          <c:order val="2"/>
          <c:spPr>
            <a:solidFill>
              <a:srgbClr val="ED5C0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38B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4D7-4BB8-9784-639264550EAC}"/>
              </c:ext>
            </c:extLst>
          </c:dPt>
          <c:dPt>
            <c:idx val="4"/>
            <c:invertIfNegative val="0"/>
            <c:bubble3D val="0"/>
            <c:spPr>
              <a:solidFill>
                <a:srgbClr val="F38B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B4D7-4BB8-9784-639264550EAC}"/>
              </c:ext>
            </c:extLst>
          </c:dPt>
          <c:val>
            <c:numRef>
              <c:f>Sheet1!$A$3:$E$3</c:f>
              <c:numCache>
                <c:formatCode>General</c:formatCode>
                <c:ptCount val="5"/>
                <c:pt idx="0">
                  <c:v>1724.9123924748765</c:v>
                </c:pt>
                <c:pt idx="1">
                  <c:v>23.77504539671736</c:v>
                </c:pt>
                <c:pt idx="2">
                  <c:v>148.95426169003986</c:v>
                </c:pt>
                <c:pt idx="3">
                  <c:v>91.182702515819074</c:v>
                </c:pt>
                <c:pt idx="4">
                  <c:v>1660.22817775706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4D7-4BB8-9784-639264550EAC}"/>
            </c:ext>
          </c:extLst>
        </c:ser>
        <c:ser>
          <c:idx val="3"/>
          <c:order val="3"/>
          <c:spPr>
            <a:solidFill>
              <a:srgbClr val="F38B00"/>
            </a:solidFill>
            <a:ln>
              <a:noFill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1">
                  <c:v>0</c:v>
                </c:pt>
                <c:pt idx="2">
                  <c:v>0</c:v>
                </c:pt>
                <c:pt idx="3">
                  <c:v>64.684214717807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4D7-4BB8-9784-639264550E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74014535"/>
        <c:axId val="1"/>
      </c:barChart>
      <c:catAx>
        <c:axId val="4740145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90.507561502276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740145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431372549019607E-2"/>
          <c:y val="3.8235294117647062E-2"/>
          <c:w val="0.84313725490196079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0</c:v>
                </c:pt>
                <c:pt idx="1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3B-4B61-9796-C83D67340E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08172048"/>
        <c:axId val="1"/>
      </c:barChart>
      <c:catAx>
        <c:axId val="10081720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081720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431372549019607E-2"/>
          <c:y val="3.8235294117647062E-2"/>
          <c:w val="0.84313725490196079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91</c:v>
                </c:pt>
                <c:pt idx="1">
                  <c:v>1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28-497A-BE5A-29E4C82C28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8454223"/>
        <c:axId val="1"/>
      </c:barChart>
      <c:catAx>
        <c:axId val="184542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4542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431372549019607E-2"/>
          <c:y val="3.8235294117647062E-2"/>
          <c:w val="0.84313725490196079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740</c:v>
                </c:pt>
                <c:pt idx="1">
                  <c:v>1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1A-4324-9CE4-90615ED41D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367750552"/>
        <c:axId val="1"/>
      </c:barChart>
      <c:catAx>
        <c:axId val="13677505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677505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907435508345974E-2"/>
          <c:y val="3.8235294117647062E-2"/>
          <c:w val="0.84218512898330811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77</c:v>
                </c:pt>
                <c:pt idx="1">
                  <c:v>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1C-4DEF-837F-4561DDE0EA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15031920"/>
        <c:axId val="1"/>
      </c:barChart>
      <c:catAx>
        <c:axId val="10150319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150319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818181818181813E-2"/>
          <c:y val="6.3624396665204044E-2"/>
          <c:w val="0.92436363636363628"/>
          <c:h val="0.913558578323826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821412900394910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AB0-470A-A341-A82BE879982C}"/>
                </c:ext>
              </c:extLst>
            </c:dLbl>
            <c:dLbl>
              <c:idx val="1"/>
              <c:layout>
                <c:manualLayout>
                  <c:x val="0"/>
                  <c:y val="-0.4892496709082931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AB0-470A-A341-A82BE87998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4.5</c:v>
                </c:pt>
                <c:pt idx="1">
                  <c:v>8.234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B0-470A-A341-A82BE87998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49858416"/>
        <c:axId val="1"/>
      </c:barChart>
      <c:catAx>
        <c:axId val="7498584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.234999999999999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498584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431372549019607E-2"/>
          <c:y val="3.8235294117647062E-2"/>
          <c:w val="0.84313725490196079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09</c:v>
                </c:pt>
                <c:pt idx="1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AC-4A4A-8193-E4924CE163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93105272"/>
        <c:axId val="1"/>
      </c:barChart>
      <c:catAx>
        <c:axId val="6931052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931052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431372549019607E-2"/>
          <c:y val="3.8235294117647062E-2"/>
          <c:w val="0.84313725490196079"/>
          <c:h val="0.923529411764705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89</c:v>
                </c:pt>
                <c:pt idx="1">
                  <c:v>2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68-4479-8CA1-CA2E9B2FC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08144496"/>
        <c:axId val="1"/>
      </c:barChart>
      <c:catAx>
        <c:axId val="10081444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081444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513489991296773E-3"/>
          <c:y val="2.135523613963039E-2"/>
          <c:w val="0.98189730200174064"/>
          <c:h val="0.9572895277207391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2B4-4674-8EE4-6691D3507F73}"/>
              </c:ext>
            </c:extLst>
          </c:dPt>
          <c:dPt>
            <c:idx val="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2B4-4674-8EE4-6691D3507F73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4626.7416532242341</c:v>
                </c:pt>
                <c:pt idx="1">
                  <c:v>7571.0337597051639</c:v>
                </c:pt>
                <c:pt idx="2">
                  <c:v>7422.079498015124</c:v>
                </c:pt>
                <c:pt idx="3">
                  <c:v>6525.9339162656197</c:v>
                </c:pt>
                <c:pt idx="4">
                  <c:v>3328.4779453295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2B4-4674-8EE4-6691D3507F73}"/>
            </c:ext>
          </c:extLst>
        </c:ser>
        <c:ser>
          <c:idx val="1"/>
          <c:order val="1"/>
          <c:spPr>
            <a:solidFill>
              <a:srgbClr val="FFC0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D5C0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2B4-4674-8EE4-6691D3507F73}"/>
              </c:ext>
            </c:extLst>
          </c:dPt>
          <c:dPt>
            <c:idx val="4"/>
            <c:invertIfNegative val="0"/>
            <c:bubble3D val="0"/>
            <c:spPr>
              <a:solidFill>
                <a:srgbClr val="ED5C0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2B4-4674-8EE4-6691D3507F73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1801.1398027816131</c:v>
                </c:pt>
                <c:pt idx="1">
                  <c:v>557.98504337884242</c:v>
                </c:pt>
                <c:pt idx="2">
                  <c:v>0</c:v>
                </c:pt>
                <c:pt idx="3">
                  <c:v>740.27866451587761</c:v>
                </c:pt>
                <c:pt idx="4">
                  <c:v>1537.22779317903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2B4-4674-8EE4-6691D3507F73}"/>
            </c:ext>
          </c:extLst>
        </c:ser>
        <c:ser>
          <c:idx val="2"/>
          <c:order val="2"/>
          <c:spPr>
            <a:solidFill>
              <a:srgbClr val="ED5C0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38B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72B4-4674-8EE4-6691D3507F73}"/>
              </c:ext>
            </c:extLst>
          </c:dPt>
          <c:dPt>
            <c:idx val="4"/>
            <c:invertIfNegative val="0"/>
            <c:bubble3D val="0"/>
            <c:spPr>
              <a:solidFill>
                <a:srgbClr val="F38B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72B4-4674-8EE4-6691D3507F73}"/>
              </c:ext>
            </c:extLst>
          </c:dPt>
          <c:val>
            <c:numRef>
              <c:f>Sheet1!$A$3:$E$3</c:f>
              <c:numCache>
                <c:formatCode>General</c:formatCode>
                <c:ptCount val="5"/>
                <c:pt idx="0">
                  <c:v>1724.9123924748765</c:v>
                </c:pt>
                <c:pt idx="1">
                  <c:v>23.77504539671736</c:v>
                </c:pt>
                <c:pt idx="2">
                  <c:v>148.95426169003986</c:v>
                </c:pt>
                <c:pt idx="3">
                  <c:v>91.182702515819074</c:v>
                </c:pt>
                <c:pt idx="4">
                  <c:v>1660.22817775706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2B4-4674-8EE4-6691D3507F73}"/>
            </c:ext>
          </c:extLst>
        </c:ser>
        <c:ser>
          <c:idx val="3"/>
          <c:order val="3"/>
          <c:spPr>
            <a:solidFill>
              <a:srgbClr val="F38B00"/>
            </a:solidFill>
            <a:ln>
              <a:noFill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1">
                  <c:v>0</c:v>
                </c:pt>
                <c:pt idx="2">
                  <c:v>0</c:v>
                </c:pt>
                <c:pt idx="3">
                  <c:v>64.684214717807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2B4-4674-8EE4-6691D3507F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52837512"/>
        <c:axId val="1"/>
      </c:barChart>
      <c:catAx>
        <c:axId val="5528375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90.507561502276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528375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609082813891359E-3"/>
          <c:y val="6.5929391748192262E-2"/>
          <c:w val="0.98147818343722182"/>
          <c:h val="0.9119523606975755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8957890259464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F55-4C32-B8B0-2BC3EE95A9F8}"/>
                </c:ext>
              </c:extLst>
            </c:dLbl>
            <c:dLbl>
              <c:idx val="1"/>
              <c:layout>
                <c:manualLayout>
                  <c:x val="0"/>
                  <c:y val="-0.398128455976180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F55-4C32-B8B0-2BC3EE95A9F8}"/>
                </c:ext>
              </c:extLst>
            </c:dLbl>
            <c:dLbl>
              <c:idx val="2"/>
              <c:layout>
                <c:manualLayout>
                  <c:x val="0"/>
                  <c:y val="-0.326244151424925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F55-4C32-B8B0-2BC3EE95A9F8}"/>
                </c:ext>
              </c:extLst>
            </c:dLbl>
            <c:dLbl>
              <c:idx val="3"/>
              <c:layout>
                <c:manualLayout>
                  <c:x val="0"/>
                  <c:y val="-0.30667800935772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F55-4C32-B8B0-2BC3EE95A9F8}"/>
                </c:ext>
              </c:extLst>
            </c:dLbl>
            <c:dLbl>
              <c:idx val="4"/>
              <c:layout>
                <c:manualLayout>
                  <c:x val="0"/>
                  <c:y val="-0.279880901743938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F55-4C32-B8B0-2BC3EE95A9F8}"/>
                </c:ext>
              </c:extLst>
            </c:dLbl>
            <c:dLbl>
              <c:idx val="5"/>
              <c:layout>
                <c:manualLayout>
                  <c:x val="0"/>
                  <c:y val="-0.1931093151850276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F55-4C32-B8B0-2BC3EE95A9F8}"/>
                </c:ext>
              </c:extLst>
            </c:dLbl>
            <c:dLbl>
              <c:idx val="6"/>
              <c:layout>
                <c:manualLayout>
                  <c:x val="0"/>
                  <c:y val="-0.1578051892811569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F55-4C32-B8B0-2BC3EE95A9F8}"/>
                </c:ext>
              </c:extLst>
            </c:dLbl>
            <c:dLbl>
              <c:idx val="7"/>
              <c:layout>
                <c:manualLayout>
                  <c:x val="0"/>
                  <c:y val="-0.128881327094853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F55-4C32-B8B0-2BC3EE95A9F8}"/>
                </c:ext>
              </c:extLst>
            </c:dLbl>
            <c:dLbl>
              <c:idx val="10"/>
              <c:layout>
                <c:manualLayout>
                  <c:x val="0"/>
                  <c:y val="-7.91152700978307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F55-4C32-B8B0-2BC3EE95A9F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1000</c:v>
                </c:pt>
                <c:pt idx="1">
                  <c:v>800</c:v>
                </c:pt>
                <c:pt idx="2">
                  <c:v>642</c:v>
                </c:pt>
                <c:pt idx="3">
                  <c:v>599</c:v>
                </c:pt>
                <c:pt idx="4">
                  <c:v>540</c:v>
                </c:pt>
                <c:pt idx="5">
                  <c:v>350</c:v>
                </c:pt>
                <c:pt idx="6">
                  <c:v>273</c:v>
                </c:pt>
                <c:pt idx="7">
                  <c:v>209</c:v>
                </c:pt>
                <c:pt idx="1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F55-4C32-B8B0-2BC3EE95A9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1086064"/>
        <c:axId val="1"/>
      </c:barChart>
      <c:catAx>
        <c:axId val="441086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410860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896976483762604E-2"/>
          <c:y val="2.2015241320914477E-2"/>
          <c:w val="0.91220604703247488"/>
          <c:h val="0.8780694326841659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4137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8D0-4B98-A513-135474C508DC}"/>
              </c:ext>
            </c:extLst>
          </c:dPt>
          <c:dPt>
            <c:idx val="1"/>
            <c:invertIfNegative val="0"/>
            <c:bubble3D val="0"/>
            <c:spPr>
              <a:solidFill>
                <a:srgbClr val="C2AFD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8D0-4B98-A513-135474C508DC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85</c:v>
                </c:pt>
                <c:pt idx="1">
                  <c:v>60</c:v>
                </c:pt>
                <c:pt idx="2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8D0-4B98-A513-135474C508DC}"/>
            </c:ext>
          </c:extLst>
        </c:ser>
        <c:ser>
          <c:idx val="1"/>
          <c:order val="1"/>
          <c:spPr>
            <a:solidFill>
              <a:srgbClr val="37B89D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5</c:v>
                </c:pt>
                <c:pt idx="1">
                  <c:v>40</c:v>
                </c:pt>
                <c:pt idx="2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8D0-4B98-A513-135474C508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54248960"/>
        <c:axId val="1"/>
      </c:barChart>
      <c:catAx>
        <c:axId val="4542489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454248960"/>
        <c:crosses val="max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849155017734195E-2"/>
          <c:y val="1.9885277246653919E-2"/>
          <c:w val="0.9783016899645316"/>
          <c:h val="0.9602294455066922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25</c:v>
                </c:pt>
                <c:pt idx="1">
                  <c:v>110</c:v>
                </c:pt>
                <c:pt idx="2">
                  <c:v>265</c:v>
                </c:pt>
                <c:pt idx="3">
                  <c:v>0</c:v>
                </c:pt>
                <c:pt idx="4">
                  <c:v>115</c:v>
                </c:pt>
                <c:pt idx="5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2C-4BAE-93DA-2C3231E83ADC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35</c:v>
                </c:pt>
                <c:pt idx="1">
                  <c:v>20</c:v>
                </c:pt>
                <c:pt idx="2">
                  <c:v>30</c:v>
                </c:pt>
                <c:pt idx="4">
                  <c:v>115</c:v>
                </c:pt>
                <c:pt idx="5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82C-4BAE-93DA-2C3231E83A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35138295"/>
        <c:axId val="1"/>
      </c:barChart>
      <c:catAx>
        <c:axId val="83513829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351382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76674667248527E-2"/>
          <c:y val="1.9817073170731708E-2"/>
          <c:w val="0.91446650665502949"/>
          <c:h val="0.8902439024390244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16"/>
            <c:spPr>
              <a:solidFill>
                <a:srgbClr val="841376"/>
              </a:solidFill>
              <a:ln w="9525">
                <a:solidFill>
                  <a:srgbClr val="841376"/>
                </a:solidFill>
                <a:prstDash val="solid"/>
              </a:ln>
            </c:spPr>
          </c:marker>
          <c:dPt>
            <c:idx val="0"/>
            <c:marker>
              <c:spPr>
                <a:solidFill>
                  <a:srgbClr val="C2AFD6"/>
                </a:solidFill>
                <a:ln w="9525">
                  <a:solidFill>
                    <a:srgbClr val="C2AFD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564-4A3B-8CE5-EFF652948A56}"/>
              </c:ext>
            </c:extLst>
          </c:dPt>
          <c:xVal>
            <c:numRef>
              <c:f>Sheet1!$A$1:$A$7</c:f>
              <c:numCache>
                <c:formatCode>General</c:formatCode>
                <c:ptCount val="7"/>
                <c:pt idx="0">
                  <c:v>108</c:v>
                </c:pt>
                <c:pt idx="1">
                  <c:v>155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2</c:v>
                </c:pt>
                <c:pt idx="1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564-4A3B-8CE5-EFF652948A56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diamond"/>
            <c:size val="16"/>
            <c:spPr>
              <a:solidFill>
                <a:srgbClr val="37B89D"/>
              </a:solidFill>
              <a:ln w="9525">
                <a:solidFill>
                  <a:srgbClr val="37B89D"/>
                </a:solidFill>
                <a:prstDash val="solid"/>
              </a:ln>
            </c:spPr>
          </c:marker>
          <c:dPt>
            <c:idx val="2"/>
            <c:marker>
              <c:spPr>
                <a:solidFill>
                  <a:srgbClr val="C2AFD6"/>
                </a:solidFill>
                <a:ln w="9525">
                  <a:solidFill>
                    <a:srgbClr val="C2AFD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9564-4A3B-8CE5-EFF652948A56}"/>
              </c:ext>
            </c:extLst>
          </c:dPt>
          <c:xVal>
            <c:numRef>
              <c:f>Sheet1!$A$1:$A$7</c:f>
              <c:numCache>
                <c:formatCode>General</c:formatCode>
                <c:ptCount val="7"/>
                <c:pt idx="2">
                  <c:v>203</c:v>
                </c:pt>
                <c:pt idx="3">
                  <c:v>232.94830769230765</c:v>
                </c:pt>
              </c:numCache>
            </c:numRef>
          </c:xVal>
          <c:yVal>
            <c:numRef>
              <c:f>Sheet1!$C$1:$C$7</c:f>
              <c:numCache>
                <c:formatCode>General</c:formatCode>
                <c:ptCount val="7"/>
                <c:pt idx="2">
                  <c:v>2</c:v>
                </c:pt>
                <c:pt idx="3">
                  <c:v>0.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564-4A3B-8CE5-EFF652948A56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square"/>
            <c:size val="16"/>
            <c:spPr>
              <a:solidFill>
                <a:srgbClr val="37B89D"/>
              </a:solidFill>
              <a:ln w="9525">
                <a:solidFill>
                  <a:srgbClr val="37B89D"/>
                </a:solidFill>
                <a:prstDash val="solid"/>
              </a:ln>
            </c:spPr>
          </c:marker>
          <c:dPt>
            <c:idx val="6"/>
            <c:marker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9564-4A3B-8CE5-EFF652948A56}"/>
              </c:ext>
            </c:extLst>
          </c:dPt>
          <c:xVal>
            <c:numRef>
              <c:f>Sheet1!$A$1:$A$7</c:f>
              <c:numCache>
                <c:formatCode>General</c:formatCode>
                <c:ptCount val="7"/>
                <c:pt idx="4">
                  <c:v>300</c:v>
                </c:pt>
                <c:pt idx="5">
                  <c:v>232.94830769230765</c:v>
                </c:pt>
                <c:pt idx="6">
                  <c:v>0</c:v>
                </c:pt>
              </c:numCache>
            </c:numRef>
          </c:xVal>
          <c:yVal>
            <c:numRef>
              <c:f>Sheet1!$D$1:$D$7</c:f>
              <c:numCache>
                <c:formatCode>General</c:formatCode>
                <c:ptCount val="7"/>
                <c:pt idx="4">
                  <c:v>2</c:v>
                </c:pt>
                <c:pt idx="5">
                  <c:v>1.1499999999999999</c:v>
                </c:pt>
                <c:pt idx="6">
                  <c:v>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564-4A3B-8CE5-EFF652948A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7058184"/>
        <c:axId val="1"/>
      </c:scatterChart>
      <c:valAx>
        <c:axId val="537058184"/>
        <c:scaling>
          <c:orientation val="minMax"/>
          <c:max val="35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50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537058184"/>
        <c:crosses val="min"/>
        <c:crossBetween val="midCat"/>
        <c:majorUnit val="1"/>
      </c:valAx>
      <c:spPr>
        <a:noFill/>
        <a:ln w="9525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849155017734195E-2"/>
          <c:y val="1.9885277246653919E-2"/>
          <c:w val="0.9783016899645316"/>
          <c:h val="0.9602294455066922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25</c:v>
                </c:pt>
                <c:pt idx="1">
                  <c:v>110</c:v>
                </c:pt>
                <c:pt idx="2">
                  <c:v>265</c:v>
                </c:pt>
                <c:pt idx="3">
                  <c:v>0</c:v>
                </c:pt>
                <c:pt idx="4">
                  <c:v>115</c:v>
                </c:pt>
                <c:pt idx="5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2C-4BAE-93DA-2C3231E83ADC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35</c:v>
                </c:pt>
                <c:pt idx="1">
                  <c:v>20</c:v>
                </c:pt>
                <c:pt idx="2">
                  <c:v>30</c:v>
                </c:pt>
                <c:pt idx="4">
                  <c:v>115</c:v>
                </c:pt>
                <c:pt idx="5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82C-4BAE-93DA-2C3231E83A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35138295"/>
        <c:axId val="1"/>
      </c:barChart>
      <c:catAx>
        <c:axId val="83513829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351382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184584178498986E-2"/>
          <c:y val="2.3008849557522124E-2"/>
          <c:w val="0.97363083164300201"/>
          <c:h val="0.953982300884955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38B00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603719</c:v>
                </c:pt>
                <c:pt idx="1">
                  <c:v>2587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1F-45BB-AB93-1ED22A4788BC}"/>
            </c:ext>
          </c:extLst>
        </c:ser>
        <c:ser>
          <c:idx val="1"/>
          <c:order val="1"/>
          <c:spPr>
            <a:solidFill>
              <a:srgbClr val="ED5C05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414262</c:v>
                </c:pt>
                <c:pt idx="1">
                  <c:v>207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1F-45BB-AB93-1ED22A4788BC}"/>
            </c:ext>
          </c:extLst>
        </c:ser>
        <c:ser>
          <c:idx val="2"/>
          <c:order val="2"/>
          <c:spPr>
            <a:solidFill>
              <a:srgbClr val="FFC000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45250</c:v>
                </c:pt>
                <c:pt idx="1">
                  <c:v>226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81F-45BB-AB93-1ED22A4788BC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243224</c:v>
                </c:pt>
                <c:pt idx="1">
                  <c:v>212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81F-45BB-AB93-1ED22A4788BC}"/>
            </c:ext>
          </c:extLst>
        </c:ser>
        <c:ser>
          <c:idx val="4"/>
          <c:order val="4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61810</c:v>
                </c:pt>
                <c:pt idx="1">
                  <c:v>54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81F-45BB-AB93-1ED22A4788BC}"/>
            </c:ext>
          </c:extLst>
        </c:ser>
        <c:ser>
          <c:idx val="5"/>
          <c:order val="5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6:$B$6</c:f>
              <c:numCache>
                <c:formatCode>General</c:formatCode>
                <c:ptCount val="2"/>
                <c:pt idx="0">
                  <c:v>77623</c:v>
                </c:pt>
                <c:pt idx="1">
                  <c:v>308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81F-45BB-AB93-1ED22A4788BC}"/>
            </c:ext>
          </c:extLst>
        </c:ser>
        <c:ser>
          <c:idx val="6"/>
          <c:order val="6"/>
          <c:spPr>
            <a:solidFill>
              <a:srgbClr val="EE8CE2"/>
            </a:solidFill>
            <a:ln>
              <a:noFill/>
            </a:ln>
          </c:spPr>
          <c:invertIfNegative val="0"/>
          <c:val>
            <c:numRef>
              <c:f>Sheet1!$A$7:$B$7</c:f>
              <c:numCache>
                <c:formatCode>General</c:formatCode>
                <c:ptCount val="2"/>
                <c:pt idx="0">
                  <c:v>18491</c:v>
                </c:pt>
                <c:pt idx="1">
                  <c:v>2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81F-45BB-AB93-1ED22A4788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43394856"/>
        <c:axId val="1"/>
      </c:barChart>
      <c:catAx>
        <c:axId val="7433948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48235.0428786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433948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732528041415009E-3"/>
          <c:y val="2.9131652661064423E-2"/>
          <c:w val="0.98205349439171696"/>
          <c:h val="0.941736694677871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38B00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603719.33736620657</c:v>
                </c:pt>
                <c:pt idx="1">
                  <c:v>320591.34951721254</c:v>
                </c:pt>
                <c:pt idx="3">
                  <c:v>258736.85887123138</c:v>
                </c:pt>
                <c:pt idx="4">
                  <c:v>137396.29265023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BB-4223-A149-7E93C45F660A}"/>
            </c:ext>
          </c:extLst>
        </c:ser>
        <c:ser>
          <c:idx val="1"/>
          <c:order val="1"/>
          <c:spPr>
            <a:solidFill>
              <a:srgbClr val="ED5C05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414262.15463977098</c:v>
                </c:pt>
                <c:pt idx="1">
                  <c:v>156938.37656475569</c:v>
                </c:pt>
                <c:pt idx="3">
                  <c:v>207131.07731988555</c:v>
                </c:pt>
                <c:pt idx="4">
                  <c:v>78469.1882823778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BB-4223-A149-7E93C45F660A}"/>
            </c:ext>
          </c:extLst>
        </c:ser>
        <c:ser>
          <c:idx val="2"/>
          <c:order val="2"/>
          <c:spPr>
            <a:solidFill>
              <a:srgbClr val="FFC000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45249.533368533012</c:v>
                </c:pt>
                <c:pt idx="1">
                  <c:v>21330.190541481017</c:v>
                </c:pt>
                <c:pt idx="3">
                  <c:v>22624.766684266506</c:v>
                </c:pt>
                <c:pt idx="4">
                  <c:v>10665.0952707405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ABB-4223-A149-7E93C45F660A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243223.97352300398</c:v>
                </c:pt>
                <c:pt idx="1">
                  <c:v>198262.77092325519</c:v>
                </c:pt>
                <c:pt idx="3">
                  <c:v>212344.63974092843</c:v>
                </c:pt>
                <c:pt idx="4">
                  <c:v>177882.410627085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ABB-4223-A149-7E93C45F660A}"/>
            </c:ext>
          </c:extLst>
        </c:ser>
        <c:ser>
          <c:idx val="4"/>
          <c:order val="4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61809.598407810787</c:v>
                </c:pt>
                <c:pt idx="1">
                  <c:v>58728.445544965682</c:v>
                </c:pt>
                <c:pt idx="3">
                  <c:v>54177.219915505615</c:v>
                </c:pt>
                <c:pt idx="4">
                  <c:v>55370.1990083514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ABB-4223-A149-7E93C45F660A}"/>
            </c:ext>
          </c:extLst>
        </c:ser>
        <c:ser>
          <c:idx val="5"/>
          <c:order val="5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6:$E$6</c:f>
              <c:numCache>
                <c:formatCode>General</c:formatCode>
                <c:ptCount val="5"/>
                <c:pt idx="0">
                  <c:v>77622.501539615914</c:v>
                </c:pt>
                <c:pt idx="1">
                  <c:v>57475.006356935948</c:v>
                </c:pt>
                <c:pt idx="3">
                  <c:v>30818.98720186227</c:v>
                </c:pt>
                <c:pt idx="4">
                  <c:v>27988.792324151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ABB-4223-A149-7E93C45F660A}"/>
            </c:ext>
          </c:extLst>
        </c:ser>
        <c:ser>
          <c:idx val="6"/>
          <c:order val="6"/>
          <c:spPr>
            <a:solidFill>
              <a:srgbClr val="EE8CE2"/>
            </a:solidFill>
            <a:ln>
              <a:noFill/>
            </a:ln>
          </c:spPr>
          <c:invertIfNegative val="0"/>
          <c:val>
            <c:numRef>
              <c:f>Sheet1!$A$7:$E$7</c:f>
              <c:numCache>
                <c:formatCode>General</c:formatCode>
                <c:ptCount val="5"/>
                <c:pt idx="0">
                  <c:v>18491.112077080412</c:v>
                </c:pt>
                <c:pt idx="1">
                  <c:v>12868.982277834206</c:v>
                </c:pt>
                <c:pt idx="3">
                  <c:v>2692.7733500815229</c:v>
                </c:pt>
                <c:pt idx="4">
                  <c:v>1874.0491310619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ABB-4223-A149-7E93C45F66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3682456"/>
        <c:axId val="1"/>
      </c:barChart>
      <c:catAx>
        <c:axId val="4336824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48235.0428786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336824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23550087873461E-2"/>
          <c:y val="2.2108843537414966E-2"/>
          <c:w val="0.97715289982425302"/>
          <c:h val="0.955782312925170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086-4AAB-AB3B-4D336D14302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086-4AAB-AB3B-4D336D14302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086-4AAB-AB3B-4D336D1430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751</c:v>
                </c:pt>
                <c:pt idx="1">
                  <c:v>1490</c:v>
                </c:pt>
                <c:pt idx="2">
                  <c:v>9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86-4AAB-AB3B-4D336D14302F}"/>
            </c:ext>
          </c:extLst>
        </c:ser>
        <c:ser>
          <c:idx val="1"/>
          <c:order val="1"/>
          <c:spPr>
            <a:solidFill>
              <a:srgbClr val="DFE5E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086-4AAB-AB3B-4D336D14302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086-4AAB-AB3B-4D336D14302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086-4AAB-AB3B-4D336D1430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91</c:v>
                </c:pt>
                <c:pt idx="1">
                  <c:v>851</c:v>
                </c:pt>
                <c:pt idx="2">
                  <c:v>8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086-4AAB-AB3B-4D336D1430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1482743"/>
        <c:axId val="1"/>
      </c:barChart>
      <c:catAx>
        <c:axId val="7714827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3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714827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10687268630292E-2"/>
          <c:y val="3.1727379553466509E-2"/>
          <c:w val="0.91952357959117981"/>
          <c:h val="0.9365452408930669"/>
        </c:manualLayout>
      </c:layout>
      <c:lineChart>
        <c:grouping val="standard"/>
        <c:varyColors val="0"/>
        <c:ser>
          <c:idx val="0"/>
          <c:order val="0"/>
          <c:spPr>
            <a:ln w="28575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1:$AJ$1</c:f>
              <c:numCache>
                <c:formatCode>General</c:formatCode>
                <c:ptCount val="36"/>
                <c:pt idx="0">
                  <c:v>2881.1348718822628</c:v>
                </c:pt>
                <c:pt idx="1">
                  <c:v>2925.2947337432711</c:v>
                </c:pt>
                <c:pt idx="2">
                  <c:v>2966.1008888050078</c:v>
                </c:pt>
                <c:pt idx="3">
                  <c:v>3000.0423531387146</c:v>
                </c:pt>
                <c:pt idx="4">
                  <c:v>3033.6285728324774</c:v>
                </c:pt>
                <c:pt idx="5">
                  <c:v>3063.362401445977</c:v>
                </c:pt>
                <c:pt idx="6">
                  <c:v>3089.7166530500317</c:v>
                </c:pt>
                <c:pt idx="7">
                  <c:v>3115.0741537482586</c:v>
                </c:pt>
                <c:pt idx="8">
                  <c:v>3135.9148061293317</c:v>
                </c:pt>
                <c:pt idx="9">
                  <c:v>3151.4775464785871</c:v>
                </c:pt>
                <c:pt idx="10">
                  <c:v>3210.1474070884369</c:v>
                </c:pt>
                <c:pt idx="11">
                  <c:v>3196.9161633875578</c:v>
                </c:pt>
                <c:pt idx="12">
                  <c:v>3168.1173273604991</c:v>
                </c:pt>
                <c:pt idx="13">
                  <c:v>3128.7799622463613</c:v>
                </c:pt>
                <c:pt idx="14">
                  <c:v>3080.4669159188506</c:v>
                </c:pt>
                <c:pt idx="15">
                  <c:v>3022.2900333404332</c:v>
                </c:pt>
                <c:pt idx="16">
                  <c:v>2993.5817241113705</c:v>
                </c:pt>
                <c:pt idx="17">
                  <c:v>2958.4573674646431</c:v>
                </c:pt>
                <c:pt idx="18">
                  <c:v>2920.7196094176534</c:v>
                </c:pt>
                <c:pt idx="19">
                  <c:v>2881.7740242001059</c:v>
                </c:pt>
                <c:pt idx="20">
                  <c:v>2843.6191845858248</c:v>
                </c:pt>
                <c:pt idx="21">
                  <c:v>2807.7661075249107</c:v>
                </c:pt>
                <c:pt idx="22">
                  <c:v>2776.4375888041805</c:v>
                </c:pt>
                <c:pt idx="23">
                  <c:v>2750.2074069537593</c:v>
                </c:pt>
                <c:pt idx="24">
                  <c:v>2725.2905419731942</c:v>
                </c:pt>
                <c:pt idx="25">
                  <c:v>2705.7428871834554</c:v>
                </c:pt>
                <c:pt idx="26">
                  <c:v>2710.4447364850535</c:v>
                </c:pt>
                <c:pt idx="27">
                  <c:v>2728.201345978473</c:v>
                </c:pt>
                <c:pt idx="28">
                  <c:v>2750.8807305855589</c:v>
                </c:pt>
                <c:pt idx="29">
                  <c:v>2770.9274482618266</c:v>
                </c:pt>
                <c:pt idx="30">
                  <c:v>2793.5478843316764</c:v>
                </c:pt>
                <c:pt idx="31">
                  <c:v>2820.8354869590416</c:v>
                </c:pt>
                <c:pt idx="32">
                  <c:v>2852.8490438199319</c:v>
                </c:pt>
                <c:pt idx="33">
                  <c:v>2888.5448206014162</c:v>
                </c:pt>
                <c:pt idx="34">
                  <c:v>2924.6806253688351</c:v>
                </c:pt>
                <c:pt idx="35">
                  <c:v>2964.21205791444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51F-4475-9F22-991EB266AF15}"/>
            </c:ext>
          </c:extLst>
        </c:ser>
        <c:ser>
          <c:idx val="1"/>
          <c:order val="1"/>
          <c:spPr>
            <a:ln w="19050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AJ$2</c:f>
              <c:numCache>
                <c:formatCode>General</c:formatCode>
                <c:ptCount val="36"/>
                <c:pt idx="0">
                  <c:v>2881.1348718822628</c:v>
                </c:pt>
                <c:pt idx="1">
                  <c:v>2930.0004205474102</c:v>
                </c:pt>
                <c:pt idx="2">
                  <c:v>2975.4235953671782</c:v>
                </c:pt>
                <c:pt idx="3">
                  <c:v>3013.8934124128091</c:v>
                </c:pt>
                <c:pt idx="4">
                  <c:v>3051.804183043434</c:v>
                </c:pt>
                <c:pt idx="5">
                  <c:v>3085.5193514560638</c:v>
                </c:pt>
                <c:pt idx="6">
                  <c:v>3115.4706732170512</c:v>
                </c:pt>
                <c:pt idx="7">
                  <c:v>3144.016083152088</c:v>
                </c:pt>
                <c:pt idx="8">
                  <c:v>3167.5886861821054</c:v>
                </c:pt>
                <c:pt idx="9">
                  <c:v>3185.4155884170541</c:v>
                </c:pt>
                <c:pt idx="10">
                  <c:v>3174.6363180006751</c:v>
                </c:pt>
                <c:pt idx="11">
                  <c:v>3150.4406095039585</c:v>
                </c:pt>
                <c:pt idx="12">
                  <c:v>3109.5364744868752</c:v>
                </c:pt>
                <c:pt idx="13">
                  <c:v>3056.9103326696804</c:v>
                </c:pt>
                <c:pt idx="14">
                  <c:v>2994.2325134453959</c:v>
                </c:pt>
                <c:pt idx="15">
                  <c:v>2920.8010272052138</c:v>
                </c:pt>
                <c:pt idx="16">
                  <c:v>2874.5203912821212</c:v>
                </c:pt>
                <c:pt idx="17">
                  <c:v>2820.6392634880531</c:v>
                </c:pt>
                <c:pt idx="18">
                  <c:v>2763.4742176931613</c:v>
                </c:pt>
                <c:pt idx="19">
                  <c:v>2704.9776444480226</c:v>
                </c:pt>
                <c:pt idx="20">
                  <c:v>2647.1482160714968</c:v>
                </c:pt>
                <c:pt idx="21">
                  <c:v>2590.1113960075195</c:v>
                </c:pt>
                <c:pt idx="22">
                  <c:v>2536.3915293402647</c:v>
                </c:pt>
                <c:pt idx="23">
                  <c:v>2487.4381684686873</c:v>
                </c:pt>
                <c:pt idx="24">
                  <c:v>2439.5688682283408</c:v>
                </c:pt>
                <c:pt idx="25">
                  <c:v>2398.1105965793104</c:v>
                </c:pt>
                <c:pt idx="26">
                  <c:v>2359.1993473339685</c:v>
                </c:pt>
                <c:pt idx="27">
                  <c:v>2327.1517319473605</c:v>
                </c:pt>
                <c:pt idx="28">
                  <c:v>2302.6443926564198</c:v>
                </c:pt>
                <c:pt idx="29">
                  <c:v>2280.2291467471555</c:v>
                </c:pt>
                <c:pt idx="30">
                  <c:v>2264.7431585078052</c:v>
                </c:pt>
                <c:pt idx="31">
                  <c:v>2255.3334483909684</c:v>
                </c:pt>
                <c:pt idx="32">
                  <c:v>2270.4635598382351</c:v>
                </c:pt>
                <c:pt idx="33">
                  <c:v>2291.8787820715215</c:v>
                </c:pt>
                <c:pt idx="34">
                  <c:v>2316.554062507827</c:v>
                </c:pt>
                <c:pt idx="35">
                  <c:v>2345.5639996387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51F-4475-9F22-991EB266AF15}"/>
            </c:ext>
          </c:extLst>
        </c:ser>
        <c:ser>
          <c:idx val="2"/>
          <c:order val="2"/>
          <c:spPr>
            <a:ln w="19050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3:$AJ$3</c:f>
              <c:numCache>
                <c:formatCode>General</c:formatCode>
                <c:ptCount val="36"/>
                <c:pt idx="0">
                  <c:v>2881.1348718822628</c:v>
                </c:pt>
                <c:pt idx="1">
                  <c:v>2913.8732297759698</c:v>
                </c:pt>
                <c:pt idx="2">
                  <c:v>2942.6677906142772</c:v>
                </c:pt>
                <c:pt idx="3">
                  <c:v>2964.1106471789753</c:v>
                </c:pt>
                <c:pt idx="4">
                  <c:v>2984.5764562606109</c:v>
                </c:pt>
                <c:pt idx="5">
                  <c:v>3000.5269395669848</c:v>
                </c:pt>
                <c:pt idx="6">
                  <c:v>3012.4447999116546</c:v>
                </c:pt>
                <c:pt idx="7">
                  <c:v>3022.6659335267746</c:v>
                </c:pt>
                <c:pt idx="8">
                  <c:v>3027.7835892271073</c:v>
                </c:pt>
                <c:pt idx="9">
                  <c:v>3027.1328173501615</c:v>
                </c:pt>
                <c:pt idx="10">
                  <c:v>2999.1955861046658</c:v>
                </c:pt>
                <c:pt idx="11">
                  <c:v>2958.6899191130051</c:v>
                </c:pt>
                <c:pt idx="12">
                  <c:v>2902.7953514426558</c:v>
                </c:pt>
                <c:pt idx="13">
                  <c:v>2836.3860721543469</c:v>
                </c:pt>
                <c:pt idx="14">
                  <c:v>2761.1953177127025</c:v>
                </c:pt>
                <c:pt idx="15">
                  <c:v>2676.7945434399171</c:v>
                </c:pt>
                <c:pt idx="16">
                  <c:v>2617.7828833626486</c:v>
                </c:pt>
                <c:pt idx="17">
                  <c:v>2552.3588405919627</c:v>
                </c:pt>
                <c:pt idx="18">
                  <c:v>2484.4880478213554</c:v>
                </c:pt>
                <c:pt idx="19">
                  <c:v>2415.9830758407743</c:v>
                </c:pt>
                <c:pt idx="20">
                  <c:v>2348.6310387118406</c:v>
                </c:pt>
                <c:pt idx="21">
                  <c:v>2282.5640697169993</c:v>
                </c:pt>
                <c:pt idx="22">
                  <c:v>2219.9495652070577</c:v>
                </c:pt>
                <c:pt idx="23">
                  <c:v>2161.9879609279906</c:v>
                </c:pt>
                <c:pt idx="24">
                  <c:v>2105.5793585503193</c:v>
                </c:pt>
                <c:pt idx="25">
                  <c:v>2055.119238513661</c:v>
                </c:pt>
                <c:pt idx="26">
                  <c:v>2007.3966902338877</c:v>
                </c:pt>
                <c:pt idx="27">
                  <c:v>1965.8480395321189</c:v>
                </c:pt>
                <c:pt idx="28">
                  <c:v>1930.8820279506037</c:v>
                </c:pt>
                <c:pt idx="29">
                  <c:v>1898.1572105451735</c:v>
                </c:pt>
                <c:pt idx="30">
                  <c:v>1871.4064885421735</c:v>
                </c:pt>
                <c:pt idx="31">
                  <c:v>1849.8748400335451</c:v>
                </c:pt>
                <c:pt idx="32">
                  <c:v>1848.8433160388774</c:v>
                </c:pt>
                <c:pt idx="33">
                  <c:v>1852.6366871320631</c:v>
                </c:pt>
                <c:pt idx="34">
                  <c:v>1859.0025785199366</c:v>
                </c:pt>
                <c:pt idx="35">
                  <c:v>1868.5920351762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51F-4475-9F22-991EB266AF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33416016"/>
        <c:axId val="1"/>
      </c:lineChart>
      <c:catAx>
        <c:axId val="4334160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433416016"/>
        <c:crosses val="min"/>
        <c:crossBetween val="midCat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666666666666663E-3"/>
          <c:y val="2.5909317389138015E-2"/>
          <c:w val="0.98266666666666669"/>
          <c:h val="0.9481813652217239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435-4B68-9667-A5CFDDFB405F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435-4B68-9667-A5CFDDFB405F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435-4B68-9667-A5CFDDFB405F}"/>
              </c:ext>
            </c:extLst>
          </c:dPt>
          <c:dLbls>
            <c:dLbl>
              <c:idx val="0"/>
              <c:layout>
                <c:manualLayout>
                  <c:x val="0"/>
                  <c:y val="-0.192825112107623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435-4B68-9667-A5CFDDFB405F}"/>
                </c:ext>
              </c:extLst>
            </c:dLbl>
            <c:dLbl>
              <c:idx val="4"/>
              <c:layout>
                <c:manualLayout>
                  <c:x val="0"/>
                  <c:y val="-0.477827603388141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435-4B68-9667-A5CFDDFB405F}"/>
                </c:ext>
              </c:extLst>
            </c:dLbl>
            <c:dLbl>
              <c:idx val="9"/>
              <c:layout>
                <c:manualLayout>
                  <c:x val="0"/>
                  <c:y val="-0.231689088191330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435-4B68-9667-A5CFDDFB405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731.64072821740217</c:v>
                </c:pt>
                <c:pt idx="1">
                  <c:v>731.64072821740217</c:v>
                </c:pt>
                <c:pt idx="2">
                  <c:v>1847.4971074844834</c:v>
                </c:pt>
                <c:pt idx="3">
                  <c:v>2105.1595588729806</c:v>
                </c:pt>
                <c:pt idx="4">
                  <c:v>2105.1595588729806</c:v>
                </c:pt>
                <c:pt idx="5">
                  <c:v>1829.7648348161938</c:v>
                </c:pt>
                <c:pt idx="6">
                  <c:v>1646.0595160396563</c:v>
                </c:pt>
                <c:pt idx="7">
                  <c:v>1324.7336411787282</c:v>
                </c:pt>
                <c:pt idx="8">
                  <c:v>918.59091693943492</c:v>
                </c:pt>
                <c:pt idx="9">
                  <c:v>918.59091693943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435-4B68-9667-A5CFDDFB405F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1">
                  <c:v>1115.8563792670811</c:v>
                </c:pt>
                <c:pt idx="2">
                  <c:v>439.21985051648653</c:v>
                </c:pt>
                <c:pt idx="3">
                  <c:v>181.55739912798936</c:v>
                </c:pt>
                <c:pt idx="5">
                  <c:v>275.3947240567868</c:v>
                </c:pt>
                <c:pt idx="6">
                  <c:v>183.70531877653752</c:v>
                </c:pt>
                <c:pt idx="7">
                  <c:v>321.32587486092802</c:v>
                </c:pt>
                <c:pt idx="8">
                  <c:v>406.14272423929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435-4B68-9667-A5CFDDFB40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5558535"/>
        <c:axId val="1"/>
      </c:barChart>
      <c:catAx>
        <c:axId val="255585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86.716958000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55585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718149234278266E-3"/>
          <c:y val="2.0069471246622925E-2"/>
          <c:w val="0.9830563701531444"/>
          <c:h val="0.9598610575067542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506-402F-826E-001E7764965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506-402F-826E-001E7764965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506-402F-826E-001E77649653}"/>
              </c:ext>
            </c:extLst>
          </c:dPt>
          <c:dPt>
            <c:idx val="9"/>
            <c:invertIfNegative val="0"/>
            <c:bubble3D val="0"/>
            <c:spPr>
              <a:pattFill prst="ltUpDiag">
                <a:fgClr>
                  <a:schemeClr val="tx1"/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506-402F-826E-001E7764965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506-402F-826E-001E7764965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506-402F-826E-001E7764965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506-402F-826E-001E77649653}"/>
                </c:ext>
              </c:extLst>
            </c:dLbl>
            <c:dLbl>
              <c:idx val="9"/>
              <c:layout>
                <c:manualLayout>
                  <c:x val="0"/>
                  <c:y val="-0.255885758394442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506-402F-826E-001E7764965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74.320546949999994</c:v>
                </c:pt>
                <c:pt idx="1">
                  <c:v>77.09857568304767</c:v>
                </c:pt>
                <c:pt idx="2">
                  <c:v>217.45289904727815</c:v>
                </c:pt>
                <c:pt idx="3">
                  <c:v>207.91098546336167</c:v>
                </c:pt>
                <c:pt idx="4">
                  <c:v>188.3043601872503</c:v>
                </c:pt>
                <c:pt idx="5">
                  <c:v>164.02411025086775</c:v>
                </c:pt>
                <c:pt idx="6">
                  <c:v>151.21886222125187</c:v>
                </c:pt>
                <c:pt idx="7">
                  <c:v>41.630038040973645</c:v>
                </c:pt>
                <c:pt idx="8">
                  <c:v>107.75940474390219</c:v>
                </c:pt>
                <c:pt idx="9">
                  <c:v>107.75940474390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506-402F-826E-001E77649653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506-402F-826E-001E7764965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2506-402F-826E-001E7764965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2506-402F-826E-001E77649653}"/>
              </c:ext>
            </c:extLst>
          </c:dPt>
          <c:dPt>
            <c:idx val="8"/>
            <c:invertIfNegative val="0"/>
            <c:bubble3D val="0"/>
            <c:spPr>
              <a:solidFill>
                <a:srgbClr val="FFFFFF"/>
              </a:solidFill>
              <a:ln w="12700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2506-402F-826E-001E7764965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506-402F-826E-001E7764965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506-402F-826E-001E7764965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506-402F-826E-001E77649653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506-402F-826E-001E7764965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0">
                  <c:v>77.800000000000011</c:v>
                </c:pt>
                <c:pt idx="1">
                  <c:v>89.6756525064703</c:v>
                </c:pt>
                <c:pt idx="2">
                  <c:v>13.342681080151749</c:v>
                </c:pt>
                <c:pt idx="3">
                  <c:v>3.1875304813224545</c:v>
                </c:pt>
                <c:pt idx="4">
                  <c:v>6.5497046429780141</c:v>
                </c:pt>
                <c:pt idx="5">
                  <c:v>8.1109555316870683</c:v>
                </c:pt>
                <c:pt idx="6">
                  <c:v>4.2776659059347537</c:v>
                </c:pt>
                <c:pt idx="7">
                  <c:v>63.940408931909431</c:v>
                </c:pt>
                <c:pt idx="8">
                  <c:v>43.4594574773496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506-402F-826E-001E77649653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2506-402F-826E-001E77649653}"/>
              </c:ext>
            </c:extLst>
          </c:dPt>
          <c:dPt>
            <c:idx val="1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2506-402F-826E-001E77649653}"/>
              </c:ext>
            </c:extLst>
          </c:dPt>
          <c:dPt>
            <c:idx val="7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2506-402F-826E-001E7764965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506-402F-826E-001E7764965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506-402F-826E-001E7764965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2506-402F-826E-001E7764965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J$3</c:f>
              <c:numCache>
                <c:formatCode>General</c:formatCode>
                <c:ptCount val="10"/>
                <c:pt idx="0">
                  <c:v>29.056000000000012</c:v>
                </c:pt>
                <c:pt idx="1">
                  <c:v>33.491205131465307</c:v>
                </c:pt>
                <c:pt idx="2">
                  <c:v>0</c:v>
                </c:pt>
                <c:pt idx="3">
                  <c:v>3.7075117570519183</c:v>
                </c:pt>
                <c:pt idx="4">
                  <c:v>7.6181567866869671</c:v>
                </c:pt>
                <c:pt idx="5">
                  <c:v>9.4340942528583014</c:v>
                </c:pt>
                <c:pt idx="6">
                  <c:v>4.9754807779636394</c:v>
                </c:pt>
                <c:pt idx="7">
                  <c:v>23.879852466909512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2506-402F-826E-001E77649653}"/>
            </c:ext>
          </c:extLst>
        </c:ser>
        <c:ser>
          <c:idx val="3"/>
          <c:order val="3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2506-402F-826E-001E7764965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2506-402F-826E-001E7764965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2506-402F-826E-001E7764965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2506-402F-826E-001E7764965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2506-402F-826E-001E7764965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2506-402F-826E-001E7764965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J$4</c:f>
              <c:numCache>
                <c:formatCode>General</c:formatCode>
                <c:ptCount val="10"/>
                <c:pt idx="0">
                  <c:v>26.487071520000001</c:v>
                </c:pt>
                <c:pt idx="1">
                  <c:v>30.530146806446623</c:v>
                </c:pt>
                <c:pt idx="2">
                  <c:v>0</c:v>
                </c:pt>
                <c:pt idx="3">
                  <c:v>1.3846460361555444</c:v>
                </c:pt>
                <c:pt idx="4">
                  <c:v>2.8451563443956047</c:v>
                </c:pt>
                <c:pt idx="5">
                  <c:v>3.5233553034839531</c:v>
                </c:pt>
                <c:pt idx="6">
                  <c:v>1.8581949805207216</c:v>
                </c:pt>
                <c:pt idx="7">
                  <c:v>21.768562781459281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2506-402F-826E-001E77649653}"/>
            </c:ext>
          </c:extLst>
        </c:ser>
        <c:ser>
          <c:idx val="4"/>
          <c:order val="4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2506-402F-826E-001E77649653}"/>
              </c:ext>
            </c:extLst>
          </c:dPt>
          <c:dPt>
            <c:idx val="8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2506-402F-826E-001E77649653}"/>
              </c:ext>
            </c:extLst>
          </c:dPt>
          <c:val>
            <c:numRef>
              <c:f>Sheet1!$A$5:$J$5</c:f>
              <c:numCache>
                <c:formatCode>General</c:formatCode>
                <c:ptCount val="10"/>
                <c:pt idx="2">
                  <c:v>0</c:v>
                </c:pt>
                <c:pt idx="3">
                  <c:v>1.2622253093865652</c:v>
                </c:pt>
                <c:pt idx="4">
                  <c:v>2.5936075020507872</c:v>
                </c:pt>
                <c:pt idx="5">
                  <c:v>3.2118448483532234</c:v>
                </c:pt>
                <c:pt idx="6">
                  <c:v>1.6939063651967672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2506-402F-826E-001E77649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5585400"/>
        <c:axId val="1"/>
      </c:barChart>
      <c:catAx>
        <c:axId val="585585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30.79558012742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855854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655061250805932E-2"/>
          <c:y val="1.9854906452844597E-2"/>
          <c:w val="0.93068987749838816"/>
          <c:h val="0.89499809087437954"/>
        </c:manualLayout>
      </c:layout>
      <c:scatterChart>
        <c:scatterStyle val="lineMarker"/>
        <c:varyColors val="0"/>
        <c:ser>
          <c:idx val="0"/>
          <c:order val="0"/>
          <c:spPr>
            <a:ln w="19050">
              <a:solidFill>
                <a:srgbClr val="4C6C9C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  <c:pt idx="15">
                  <c:v>2030</c:v>
                </c:pt>
                <c:pt idx="16">
                  <c:v>2031</c:v>
                </c:pt>
                <c:pt idx="17">
                  <c:v>2032</c:v>
                </c:pt>
                <c:pt idx="18">
                  <c:v>2033</c:v>
                </c:pt>
                <c:pt idx="19">
                  <c:v>2034</c:v>
                </c:pt>
                <c:pt idx="20">
                  <c:v>2035</c:v>
                </c:pt>
                <c:pt idx="21">
                  <c:v>2036</c:v>
                </c:pt>
                <c:pt idx="22">
                  <c:v>2037</c:v>
                </c:pt>
                <c:pt idx="23">
                  <c:v>2038</c:v>
                </c:pt>
                <c:pt idx="24">
                  <c:v>2039</c:v>
                </c:pt>
                <c:pt idx="25">
                  <c:v>2040</c:v>
                </c:pt>
                <c:pt idx="26">
                  <c:v>2041</c:v>
                </c:pt>
                <c:pt idx="27">
                  <c:v>2042</c:v>
                </c:pt>
                <c:pt idx="28">
                  <c:v>2043</c:v>
                </c:pt>
                <c:pt idx="29">
                  <c:v>2044</c:v>
                </c:pt>
                <c:pt idx="30">
                  <c:v>2045</c:v>
                </c:pt>
                <c:pt idx="31">
                  <c:v>2046</c:v>
                </c:pt>
                <c:pt idx="32">
                  <c:v>2047</c:v>
                </c:pt>
                <c:pt idx="33">
                  <c:v>2048</c:v>
                </c:pt>
                <c:pt idx="34">
                  <c:v>2049</c:v>
                </c:pt>
                <c:pt idx="35">
                  <c:v>2050</c:v>
                </c:pt>
              </c:numCache>
            </c:numRef>
          </c:xVal>
          <c:yVal>
            <c:numRef>
              <c:f>Sheet1!$A$2:$AJ$2</c:f>
              <c:numCache>
                <c:formatCode>General</c:formatCode>
                <c:ptCount val="36"/>
                <c:pt idx="0">
                  <c:v>2.2916120619628186</c:v>
                </c:pt>
                <c:pt idx="1">
                  <c:v>2.3242305677760688</c:v>
                </c:pt>
                <c:pt idx="2">
                  <c:v>2.3568490735893191</c:v>
                </c:pt>
                <c:pt idx="3">
                  <c:v>2.3894675794025693</c:v>
                </c:pt>
                <c:pt idx="4">
                  <c:v>2.4220860852158199</c:v>
                </c:pt>
                <c:pt idx="5">
                  <c:v>2.4547045910290697</c:v>
                </c:pt>
                <c:pt idx="6">
                  <c:v>2.4873230968423199</c:v>
                </c:pt>
                <c:pt idx="7">
                  <c:v>2.5199416026555705</c:v>
                </c:pt>
                <c:pt idx="8">
                  <c:v>2.5525601084688212</c:v>
                </c:pt>
                <c:pt idx="9">
                  <c:v>2.585178614282071</c:v>
                </c:pt>
                <c:pt idx="10">
                  <c:v>2.6177971200953212</c:v>
                </c:pt>
                <c:pt idx="11">
                  <c:v>2.6504156259085718</c:v>
                </c:pt>
                <c:pt idx="12">
                  <c:v>2.6830341317218216</c:v>
                </c:pt>
                <c:pt idx="13">
                  <c:v>2.7156526375350718</c:v>
                </c:pt>
                <c:pt idx="14">
                  <c:v>2.7482711433483229</c:v>
                </c:pt>
                <c:pt idx="15">
                  <c:v>2.7808896491615727</c:v>
                </c:pt>
                <c:pt idx="16">
                  <c:v>2.8135081549748229</c:v>
                </c:pt>
                <c:pt idx="17">
                  <c:v>2.8461266607880735</c:v>
                </c:pt>
                <c:pt idx="18">
                  <c:v>2.8787451666013237</c:v>
                </c:pt>
                <c:pt idx="19">
                  <c:v>2.9113636724145735</c:v>
                </c:pt>
                <c:pt idx="20">
                  <c:v>2.9439821782278237</c:v>
                </c:pt>
                <c:pt idx="21">
                  <c:v>2.9766006840410748</c:v>
                </c:pt>
                <c:pt idx="22">
                  <c:v>3.0092191898543246</c:v>
                </c:pt>
                <c:pt idx="23">
                  <c:v>3.0418376956675752</c:v>
                </c:pt>
                <c:pt idx="24">
                  <c:v>3.0744562014808254</c:v>
                </c:pt>
                <c:pt idx="25">
                  <c:v>3.1070747072940752</c:v>
                </c:pt>
                <c:pt idx="26">
                  <c:v>3.1396932131073254</c:v>
                </c:pt>
                <c:pt idx="27">
                  <c:v>3.1723117189205765</c:v>
                </c:pt>
                <c:pt idx="28">
                  <c:v>3.2049302247338267</c:v>
                </c:pt>
                <c:pt idx="29">
                  <c:v>3.2375487305470769</c:v>
                </c:pt>
                <c:pt idx="30">
                  <c:v>3.2701672363603271</c:v>
                </c:pt>
                <c:pt idx="31">
                  <c:v>3.3027857421735773</c:v>
                </c:pt>
                <c:pt idx="32">
                  <c:v>3.3354042479868271</c:v>
                </c:pt>
                <c:pt idx="33">
                  <c:v>3.3680227538000782</c:v>
                </c:pt>
                <c:pt idx="34">
                  <c:v>3.4006412596133284</c:v>
                </c:pt>
                <c:pt idx="35">
                  <c:v>3.433259765426578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C8A-40CD-8BFC-7A027EE4F3A9}"/>
            </c:ext>
          </c:extLst>
        </c:ser>
        <c:ser>
          <c:idx val="1"/>
          <c:order val="1"/>
          <c:spPr>
            <a:ln w="19050">
              <a:solidFill>
                <a:srgbClr val="C30C3E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  <c:pt idx="15">
                  <c:v>2030</c:v>
                </c:pt>
                <c:pt idx="16">
                  <c:v>2031</c:v>
                </c:pt>
                <c:pt idx="17">
                  <c:v>2032</c:v>
                </c:pt>
                <c:pt idx="18">
                  <c:v>2033</c:v>
                </c:pt>
                <c:pt idx="19">
                  <c:v>2034</c:v>
                </c:pt>
                <c:pt idx="20">
                  <c:v>2035</c:v>
                </c:pt>
                <c:pt idx="21">
                  <c:v>2036</c:v>
                </c:pt>
                <c:pt idx="22">
                  <c:v>2037</c:v>
                </c:pt>
                <c:pt idx="23">
                  <c:v>2038</c:v>
                </c:pt>
                <c:pt idx="24">
                  <c:v>2039</c:v>
                </c:pt>
                <c:pt idx="25">
                  <c:v>2040</c:v>
                </c:pt>
                <c:pt idx="26">
                  <c:v>2041</c:v>
                </c:pt>
                <c:pt idx="27">
                  <c:v>2042</c:v>
                </c:pt>
                <c:pt idx="28">
                  <c:v>2043</c:v>
                </c:pt>
                <c:pt idx="29">
                  <c:v>2044</c:v>
                </c:pt>
                <c:pt idx="30">
                  <c:v>2045</c:v>
                </c:pt>
                <c:pt idx="31">
                  <c:v>2046</c:v>
                </c:pt>
                <c:pt idx="32">
                  <c:v>2047</c:v>
                </c:pt>
                <c:pt idx="33">
                  <c:v>2048</c:v>
                </c:pt>
                <c:pt idx="34">
                  <c:v>2049</c:v>
                </c:pt>
                <c:pt idx="35">
                  <c:v>2050</c:v>
                </c:pt>
              </c:numCache>
            </c:numRef>
          </c:xVal>
          <c:yVal>
            <c:numRef>
              <c:f>Sheet1!$A$3:$AJ$3</c:f>
              <c:numCache>
                <c:formatCode>General</c:formatCode>
                <c:ptCount val="36"/>
                <c:pt idx="0">
                  <c:v>2.2731960992166238</c:v>
                </c:pt>
                <c:pt idx="1">
                  <c:v>2.2962134280558297</c:v>
                </c:pt>
                <c:pt idx="2">
                  <c:v>2.3189686264944052</c:v>
                </c:pt>
                <c:pt idx="3">
                  <c:v>2.3414616945323492</c:v>
                </c:pt>
                <c:pt idx="4">
                  <c:v>2.3636926321696623</c:v>
                </c:pt>
                <c:pt idx="5">
                  <c:v>2.385661439406344</c:v>
                </c:pt>
                <c:pt idx="6">
                  <c:v>2.4073681162423948</c:v>
                </c:pt>
                <c:pt idx="7">
                  <c:v>2.4288126626778146</c:v>
                </c:pt>
                <c:pt idx="8">
                  <c:v>2.4499950787126035</c:v>
                </c:pt>
                <c:pt idx="9">
                  <c:v>2.4709153643467605</c:v>
                </c:pt>
                <c:pt idx="10">
                  <c:v>2.4915735195802871</c:v>
                </c:pt>
                <c:pt idx="11">
                  <c:v>2.5119695444131827</c:v>
                </c:pt>
                <c:pt idx="12">
                  <c:v>2.5321034388454464</c:v>
                </c:pt>
                <c:pt idx="13">
                  <c:v>2.5519752028770792</c:v>
                </c:pt>
                <c:pt idx="14">
                  <c:v>2.571584836508082</c:v>
                </c:pt>
                <c:pt idx="15">
                  <c:v>2.5909323397384529</c:v>
                </c:pt>
                <c:pt idx="16">
                  <c:v>2.6100177125681925</c:v>
                </c:pt>
                <c:pt idx="17">
                  <c:v>2.6288409549973015</c:v>
                </c:pt>
                <c:pt idx="18">
                  <c:v>2.6474020670257792</c:v>
                </c:pt>
                <c:pt idx="19">
                  <c:v>2.6657010486536254</c:v>
                </c:pt>
                <c:pt idx="20">
                  <c:v>2.6837378998808412</c:v>
                </c:pt>
                <c:pt idx="21">
                  <c:v>2.7015126207074265</c:v>
                </c:pt>
                <c:pt idx="22">
                  <c:v>2.7190252111333799</c:v>
                </c:pt>
                <c:pt idx="23">
                  <c:v>2.7362756711587028</c:v>
                </c:pt>
                <c:pt idx="24">
                  <c:v>2.7532640007833939</c:v>
                </c:pt>
                <c:pt idx="25">
                  <c:v>2.7699902000074541</c:v>
                </c:pt>
                <c:pt idx="26">
                  <c:v>2.7864542688308833</c:v>
                </c:pt>
                <c:pt idx="27">
                  <c:v>2.802656207253682</c:v>
                </c:pt>
                <c:pt idx="28">
                  <c:v>2.8185960152758489</c:v>
                </c:pt>
                <c:pt idx="29">
                  <c:v>2.8342736928973853</c:v>
                </c:pt>
                <c:pt idx="30">
                  <c:v>2.8496892401182898</c:v>
                </c:pt>
                <c:pt idx="31">
                  <c:v>2.8648426569385639</c:v>
                </c:pt>
                <c:pt idx="32">
                  <c:v>2.8797339433582061</c:v>
                </c:pt>
                <c:pt idx="33">
                  <c:v>2.8943630993772187</c:v>
                </c:pt>
                <c:pt idx="34">
                  <c:v>2.908730124995599</c:v>
                </c:pt>
                <c:pt idx="35">
                  <c:v>2.922835020213351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C8A-40CD-8BFC-7A027EE4F3A9}"/>
            </c:ext>
          </c:extLst>
        </c:ser>
        <c:ser>
          <c:idx val="2"/>
          <c:order val="2"/>
          <c:spPr>
            <a:ln w="19050">
              <a:solidFill>
                <a:srgbClr val="007770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  <c:pt idx="15">
                  <c:v>2030</c:v>
                </c:pt>
                <c:pt idx="16">
                  <c:v>2031</c:v>
                </c:pt>
                <c:pt idx="17">
                  <c:v>2032</c:v>
                </c:pt>
                <c:pt idx="18">
                  <c:v>2033</c:v>
                </c:pt>
                <c:pt idx="19">
                  <c:v>2034</c:v>
                </c:pt>
                <c:pt idx="20">
                  <c:v>2035</c:v>
                </c:pt>
                <c:pt idx="21">
                  <c:v>2036</c:v>
                </c:pt>
                <c:pt idx="22">
                  <c:v>2037</c:v>
                </c:pt>
                <c:pt idx="23">
                  <c:v>2038</c:v>
                </c:pt>
                <c:pt idx="24">
                  <c:v>2039</c:v>
                </c:pt>
                <c:pt idx="25">
                  <c:v>2040</c:v>
                </c:pt>
                <c:pt idx="26">
                  <c:v>2041</c:v>
                </c:pt>
                <c:pt idx="27">
                  <c:v>2042</c:v>
                </c:pt>
                <c:pt idx="28">
                  <c:v>2043</c:v>
                </c:pt>
                <c:pt idx="29">
                  <c:v>2044</c:v>
                </c:pt>
                <c:pt idx="30">
                  <c:v>2045</c:v>
                </c:pt>
                <c:pt idx="31">
                  <c:v>2046</c:v>
                </c:pt>
                <c:pt idx="32">
                  <c:v>2047</c:v>
                </c:pt>
                <c:pt idx="33">
                  <c:v>2048</c:v>
                </c:pt>
                <c:pt idx="34">
                  <c:v>2049</c:v>
                </c:pt>
                <c:pt idx="35">
                  <c:v>2050</c:v>
                </c:pt>
              </c:numCache>
            </c:numRef>
          </c:xVal>
          <c:yVal>
            <c:numRef>
              <c:f>Sheet1!$A$4:$AJ$4</c:f>
              <c:numCache>
                <c:formatCode>General</c:formatCode>
                <c:ptCount val="36"/>
                <c:pt idx="0">
                  <c:v>2.2662217778966784</c:v>
                </c:pt>
                <c:pt idx="1">
                  <c:v>2.2804376298011424</c:v>
                </c:pt>
                <c:pt idx="2">
                  <c:v>2.2908265570923332</c:v>
                </c:pt>
                <c:pt idx="3">
                  <c:v>2.2974215941562921</c:v>
                </c:pt>
                <c:pt idx="4">
                  <c:v>2.30029498211064</c:v>
                </c:pt>
                <c:pt idx="5">
                  <c:v>2.299557168266475</c:v>
                </c:pt>
                <c:pt idx="6">
                  <c:v>2.2953552448100001</c:v>
                </c:pt>
                <c:pt idx="7">
                  <c:v>2.2878708688369027</c:v>
                </c:pt>
                <c:pt idx="8">
                  <c:v>2.2773177169813232</c:v>
                </c:pt>
                <c:pt idx="9">
                  <c:v>2.2639385372935519</c:v>
                </c:pt>
                <c:pt idx="10">
                  <c:v>2.2480018684643261</c:v>
                </c:pt>
                <c:pt idx="11">
                  <c:v>2.2297985017626969</c:v>
                </c:pt>
                <c:pt idx="12">
                  <c:v>2.2096377640166729</c:v>
                </c:pt>
                <c:pt idx="13">
                  <c:v>2.1878437005665106</c:v>
                </c:pt>
                <c:pt idx="14">
                  <c:v>2.1647512353845388</c:v>
                </c:pt>
                <c:pt idx="15">
                  <c:v>2.1407023815863173</c:v>
                </c:pt>
                <c:pt idx="16">
                  <c:v>2.1160425695336715</c:v>
                </c:pt>
                <c:pt idx="17">
                  <c:v>2.0911171518971319</c:v>
                </c:pt>
                <c:pt idx="18">
                  <c:v>2.0662681357093704</c:v>
                </c:pt>
                <c:pt idx="19">
                  <c:v>2.0418311809565997</c:v>
                </c:pt>
                <c:pt idx="20">
                  <c:v>2.0181328940120604</c:v>
                </c:pt>
                <c:pt idx="21">
                  <c:v>1.995488432627047</c:v>
                </c:pt>
                <c:pt idx="22">
                  <c:v>1.974199427680513</c:v>
                </c:pt>
                <c:pt idx="23">
                  <c:v>1.954552215860752</c:v>
                </c:pt>
                <c:pt idx="24">
                  <c:v>1.9368163673027075</c:v>
                </c:pt>
                <c:pt idx="25">
                  <c:v>1.9212434832871503</c:v>
                </c:pt>
                <c:pt idx="26">
                  <c:v>1.9080662317297761</c:v>
                </c:pt>
                <c:pt idx="27">
                  <c:v>1.897497582596855</c:v>
                </c:pt>
                <c:pt idx="28">
                  <c:v>1.8897302017588968</c:v>
                </c:pt>
                <c:pt idx="29">
                  <c:v>1.8849359602403777</c:v>
                </c:pt>
                <c:pt idx="30">
                  <c:v>1.883265516369371</c:v>
                </c:pt>
                <c:pt idx="31">
                  <c:v>1.884847930924733</c:v>
                </c:pt>
                <c:pt idx="32">
                  <c:v>1.8897902798921407</c:v>
                </c:pt>
                <c:pt idx="33">
                  <c:v>1.898177235673393</c:v>
                </c:pt>
                <c:pt idx="34">
                  <c:v>1.9100705952805848</c:v>
                </c:pt>
                <c:pt idx="35">
                  <c:v>1.91812115652395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C8A-40CD-8BFC-7A027EE4F3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35093031"/>
        <c:axId val="1"/>
      </c:scatterChart>
      <c:valAx>
        <c:axId val="835093031"/>
        <c:scaling>
          <c:orientation val="minMax"/>
          <c:max val="2050"/>
          <c:min val="2015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5"/>
      </c:valAx>
      <c:valAx>
        <c:axId val="1"/>
        <c:scaling>
          <c:orientation val="minMax"/>
          <c:max val="3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835093031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48309178743961E-2"/>
          <c:y val="1.6159105034182723E-2"/>
          <c:w val="0.97990338164251201"/>
          <c:h val="0.9676817899316344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9AF-4794-854A-025B17870DB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9AF-4794-854A-025B17870DB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9AF-4794-854A-025B17870DB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9AF-4794-854A-025B17870DB3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9AF-4794-854A-025B17870DB3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9AF-4794-854A-025B17870DB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9AF-4794-854A-025B17870DB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9AF-4794-854A-025B17870DB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9AF-4794-854A-025B17870DB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9AF-4794-854A-025B17870DB3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9AF-4794-854A-025B17870DB3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9AF-4794-854A-025B17870DB3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9AF-4794-854A-025B17870DB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9AF-4794-854A-025B17870DB3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9AF-4794-854A-025B17870DB3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9AF-4794-854A-025B17870DB3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9AF-4794-854A-025B17870DB3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9AF-4794-854A-025B17870DB3}"/>
                </c:ext>
              </c:extLst>
            </c:dLbl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9AF-4794-854A-025B17870DB3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9AF-4794-854A-025B17870D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N$1</c:f>
              <c:numCache>
                <c:formatCode>General</c:formatCode>
                <c:ptCount val="14"/>
                <c:pt idx="0">
                  <c:v>30</c:v>
                </c:pt>
                <c:pt idx="1">
                  <c:v>9.9999999999999982</c:v>
                </c:pt>
                <c:pt idx="2">
                  <c:v>35</c:v>
                </c:pt>
                <c:pt idx="3">
                  <c:v>70</c:v>
                </c:pt>
                <c:pt idx="4">
                  <c:v>95</c:v>
                </c:pt>
                <c:pt idx="5">
                  <c:v>90</c:v>
                </c:pt>
                <c:pt idx="6">
                  <c:v>80</c:v>
                </c:pt>
                <c:pt idx="7">
                  <c:v>10</c:v>
                </c:pt>
                <c:pt idx="8">
                  <c:v>10</c:v>
                </c:pt>
                <c:pt idx="9">
                  <c:v>80</c:v>
                </c:pt>
                <c:pt idx="10">
                  <c:v>90</c:v>
                </c:pt>
                <c:pt idx="11">
                  <c:v>100</c:v>
                </c:pt>
                <c:pt idx="12">
                  <c:v>9.7393168377513994</c:v>
                </c:pt>
                <c:pt idx="13">
                  <c:v>6.5234019166439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9AF-4794-854A-025B17870DB3}"/>
            </c:ext>
          </c:extLst>
        </c:ser>
        <c:ser>
          <c:idx val="1"/>
          <c:order val="1"/>
          <c:spPr>
            <a:solidFill>
              <a:srgbClr val="C2AFD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A9AF-4794-854A-025B17870DB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A9AF-4794-854A-025B17870DB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A9AF-4794-854A-025B17870DB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A9AF-4794-854A-025B17870DB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A9AF-4794-854A-025B17870DB3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4-A9AF-4794-854A-025B17870DB3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5-A9AF-4794-854A-025B17870DB3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6-A9AF-4794-854A-025B17870DB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9AF-4794-854A-025B17870DB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9AF-4794-854A-025B17870DB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A9AF-4794-854A-025B17870DB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9AF-4794-854A-025B17870DB3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9AF-4794-854A-025B17870DB3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A9AF-4794-854A-025B17870DB3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A9AF-4794-854A-025B17870DB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A9AF-4794-854A-025B17870DB3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A9AF-4794-854A-025B17870DB3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A9AF-4794-854A-025B17870DB3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A9AF-4794-854A-025B17870DB3}"/>
                </c:ext>
              </c:extLst>
            </c:dLbl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A9AF-4794-854A-025B17870DB3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A9AF-4794-854A-025B17870D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N$2</c:f>
              <c:numCache>
                <c:formatCode>General</c:formatCode>
                <c:ptCount val="14"/>
                <c:pt idx="0">
                  <c:v>20</c:v>
                </c:pt>
                <c:pt idx="1">
                  <c:v>35</c:v>
                </c:pt>
                <c:pt idx="2">
                  <c:v>35</c:v>
                </c:pt>
                <c:pt idx="3">
                  <c:v>30.000000000000004</c:v>
                </c:pt>
                <c:pt idx="4">
                  <c:v>5.0000000000000044</c:v>
                </c:pt>
                <c:pt idx="5">
                  <c:v>9.9999999999999982</c:v>
                </c:pt>
                <c:pt idx="6">
                  <c:v>19.999999999999996</c:v>
                </c:pt>
                <c:pt idx="7">
                  <c:v>10</c:v>
                </c:pt>
                <c:pt idx="8">
                  <c:v>10</c:v>
                </c:pt>
                <c:pt idx="9">
                  <c:v>9.9999999999999982</c:v>
                </c:pt>
                <c:pt idx="10">
                  <c:v>9.9999999999999982</c:v>
                </c:pt>
                <c:pt idx="12">
                  <c:v>66.967608444521261</c:v>
                </c:pt>
                <c:pt idx="13">
                  <c:v>72.1530796184606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A9AF-4794-854A-025B17870DB3}"/>
            </c:ext>
          </c:extLst>
        </c:ser>
        <c:ser>
          <c:idx val="2"/>
          <c:order val="2"/>
          <c:spPr>
            <a:solidFill>
              <a:srgbClr val="C2AFD6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9B7AB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D-A9AF-4794-854A-025B17870DB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E-A9AF-4794-854A-025B17870DB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F-A9AF-4794-854A-025B17870DB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A9AF-4794-854A-025B17870DB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A9AF-4794-854A-025B17870DB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A9AF-4794-854A-025B17870DB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A9AF-4794-854A-025B17870DB3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A9AF-4794-854A-025B17870DB3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A9AF-4794-854A-025B17870DB3}"/>
                </c:ext>
              </c:extLst>
            </c:dLbl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A9AF-4794-854A-025B17870DB3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A9AF-4794-854A-025B17870D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N$3</c:f>
              <c:numCache>
                <c:formatCode>General</c:formatCode>
                <c:ptCount val="14"/>
                <c:pt idx="0">
                  <c:v>30.000000000000004</c:v>
                </c:pt>
                <c:pt idx="1">
                  <c:v>50</c:v>
                </c:pt>
                <c:pt idx="2">
                  <c:v>25</c:v>
                </c:pt>
                <c:pt idx="7">
                  <c:v>60.000000000000007</c:v>
                </c:pt>
                <c:pt idx="8">
                  <c:v>49.999999999999993</c:v>
                </c:pt>
                <c:pt idx="9">
                  <c:v>9.9999999999999982</c:v>
                </c:pt>
                <c:pt idx="12">
                  <c:v>11.209087611493096</c:v>
                </c:pt>
                <c:pt idx="13">
                  <c:v>10.15485501543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A9AF-4794-854A-025B17870DB3}"/>
            </c:ext>
          </c:extLst>
        </c:ser>
        <c:ser>
          <c:idx val="3"/>
          <c:order val="3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rgbClr val="4A226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6-A9AF-4794-854A-025B17870DB3}"/>
              </c:ext>
            </c:extLst>
          </c:dPt>
          <c:dPt>
            <c:idx val="12"/>
            <c:invertIfNegative val="0"/>
            <c:bubble3D val="0"/>
            <c:spPr>
              <a:solidFill>
                <a:srgbClr val="9B7AB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7-A9AF-4794-854A-025B17870DB3}"/>
              </c:ext>
            </c:extLst>
          </c:dPt>
          <c:dPt>
            <c:idx val="13"/>
            <c:invertIfNegative val="0"/>
            <c:bubble3D val="0"/>
            <c:spPr>
              <a:solidFill>
                <a:srgbClr val="9B7AB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8-A9AF-4794-854A-025B17870DB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A9AF-4794-854A-025B17870DB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A9AF-4794-854A-025B17870DB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A9AF-4794-854A-025B17870DB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C-A9AF-4794-854A-025B17870DB3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A9AF-4794-854A-025B17870D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N$4</c:f>
              <c:numCache>
                <c:formatCode>General</c:formatCode>
                <c:ptCount val="14"/>
                <c:pt idx="0">
                  <c:v>19.999999999999996</c:v>
                </c:pt>
                <c:pt idx="1">
                  <c:v>5.0000000000000044</c:v>
                </c:pt>
                <c:pt idx="2">
                  <c:v>5.0000000000000044</c:v>
                </c:pt>
                <c:pt idx="7">
                  <c:v>19.999999999999996</c:v>
                </c:pt>
                <c:pt idx="8">
                  <c:v>30.000000000000004</c:v>
                </c:pt>
                <c:pt idx="12">
                  <c:v>2.2163656827181799</c:v>
                </c:pt>
                <c:pt idx="13">
                  <c:v>2.18071279268479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D-A9AF-4794-854A-025B17870DB3}"/>
            </c:ext>
          </c:extLst>
        </c:ser>
        <c:ser>
          <c:idx val="4"/>
          <c:order val="4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A9AF-4794-854A-025B17870DB3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A9AF-4794-854A-025B17870D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N$5</c:f>
              <c:numCache>
                <c:formatCode>General</c:formatCode>
                <c:ptCount val="14"/>
                <c:pt idx="12">
                  <c:v>8.7739592807854478</c:v>
                </c:pt>
                <c:pt idx="13">
                  <c:v>7.9490851391040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A9AF-4794-854A-025B17870DB3}"/>
            </c:ext>
          </c:extLst>
        </c:ser>
        <c:ser>
          <c:idx val="5"/>
          <c:order val="5"/>
          <c:spPr>
            <a:solidFill>
              <a:srgbClr val="4A2260"/>
            </a:solidFill>
            <a:ln>
              <a:noFill/>
            </a:ln>
          </c:spPr>
          <c:invertIfNegative val="0"/>
          <c:val>
            <c:numRef>
              <c:f>Sheet1!$A$6:$N$6</c:f>
              <c:numCache>
                <c:formatCode>General</c:formatCode>
                <c:ptCount val="14"/>
                <c:pt idx="12">
                  <c:v>1.0936621427306337</c:v>
                </c:pt>
                <c:pt idx="13">
                  <c:v>1.0388655176694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1-A9AF-4794-854A-025B17870D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18583560"/>
        <c:axId val="1"/>
      </c:barChart>
      <c:catAx>
        <c:axId val="13185835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3185835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732528041415009E-3"/>
          <c:y val="2.9131652661064423E-2"/>
          <c:w val="0.98205349439171696"/>
          <c:h val="0.941736694677871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38B00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603719.33736620657</c:v>
                </c:pt>
                <c:pt idx="1">
                  <c:v>320591.34951721254</c:v>
                </c:pt>
                <c:pt idx="3">
                  <c:v>258736.85887123138</c:v>
                </c:pt>
                <c:pt idx="4">
                  <c:v>137396.29265023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BB-4223-A149-7E93C45F660A}"/>
            </c:ext>
          </c:extLst>
        </c:ser>
        <c:ser>
          <c:idx val="1"/>
          <c:order val="1"/>
          <c:spPr>
            <a:solidFill>
              <a:srgbClr val="ED5C05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414262.15463977098</c:v>
                </c:pt>
                <c:pt idx="1">
                  <c:v>156938.37656475569</c:v>
                </c:pt>
                <c:pt idx="3">
                  <c:v>207131.07731988555</c:v>
                </c:pt>
                <c:pt idx="4">
                  <c:v>78469.1882823778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BB-4223-A149-7E93C45F660A}"/>
            </c:ext>
          </c:extLst>
        </c:ser>
        <c:ser>
          <c:idx val="2"/>
          <c:order val="2"/>
          <c:spPr>
            <a:solidFill>
              <a:srgbClr val="FFC000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45249.533368533012</c:v>
                </c:pt>
                <c:pt idx="1">
                  <c:v>21330.190541481017</c:v>
                </c:pt>
                <c:pt idx="3">
                  <c:v>22624.766684266506</c:v>
                </c:pt>
                <c:pt idx="4">
                  <c:v>10665.0952707405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ABB-4223-A149-7E93C45F660A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243223.97352300398</c:v>
                </c:pt>
                <c:pt idx="1">
                  <c:v>198262.77092325519</c:v>
                </c:pt>
                <c:pt idx="3">
                  <c:v>212344.63974092843</c:v>
                </c:pt>
                <c:pt idx="4">
                  <c:v>177882.410627085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ABB-4223-A149-7E93C45F660A}"/>
            </c:ext>
          </c:extLst>
        </c:ser>
        <c:ser>
          <c:idx val="4"/>
          <c:order val="4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61809.598407810787</c:v>
                </c:pt>
                <c:pt idx="1">
                  <c:v>58728.445544965682</c:v>
                </c:pt>
                <c:pt idx="3">
                  <c:v>54177.219915505615</c:v>
                </c:pt>
                <c:pt idx="4">
                  <c:v>55370.1990083514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ABB-4223-A149-7E93C45F660A}"/>
            </c:ext>
          </c:extLst>
        </c:ser>
        <c:ser>
          <c:idx val="5"/>
          <c:order val="5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6:$E$6</c:f>
              <c:numCache>
                <c:formatCode>General</c:formatCode>
                <c:ptCount val="5"/>
                <c:pt idx="0">
                  <c:v>77622.501539615914</c:v>
                </c:pt>
                <c:pt idx="1">
                  <c:v>57475.006356935948</c:v>
                </c:pt>
                <c:pt idx="3">
                  <c:v>30818.98720186227</c:v>
                </c:pt>
                <c:pt idx="4">
                  <c:v>27988.792324151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ABB-4223-A149-7E93C45F660A}"/>
            </c:ext>
          </c:extLst>
        </c:ser>
        <c:ser>
          <c:idx val="6"/>
          <c:order val="6"/>
          <c:spPr>
            <a:solidFill>
              <a:srgbClr val="EE8CE2"/>
            </a:solidFill>
            <a:ln>
              <a:noFill/>
            </a:ln>
          </c:spPr>
          <c:invertIfNegative val="0"/>
          <c:val>
            <c:numRef>
              <c:f>Sheet1!$A$7:$E$7</c:f>
              <c:numCache>
                <c:formatCode>General</c:formatCode>
                <c:ptCount val="5"/>
                <c:pt idx="0">
                  <c:v>18491.112077080412</c:v>
                </c:pt>
                <c:pt idx="1">
                  <c:v>12868.982277834206</c:v>
                </c:pt>
                <c:pt idx="3">
                  <c:v>2692.7733500815229</c:v>
                </c:pt>
                <c:pt idx="4">
                  <c:v>1874.0491310619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ABB-4223-A149-7E93C45F66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3682456"/>
        <c:axId val="1"/>
      </c:barChart>
      <c:catAx>
        <c:axId val="4336824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48235.0428786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336824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93657505285411E-2"/>
          <c:y val="2.3864157870582835E-2"/>
          <c:w val="0.97801268498942917"/>
          <c:h val="0.9522716842588343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A4A-4F89-AB9B-48DDF26396E5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A4A-4F89-AB9B-48DDF26396E5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A4A-4F89-AB9B-48DDF26396E5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A4A-4F89-AB9B-48DDF26396E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1.713011655956002</c:v>
                </c:pt>
                <c:pt idx="1">
                  <c:v>78.618755059570546</c:v>
                </c:pt>
                <c:pt idx="2">
                  <c:v>369.36728650515499</c:v>
                </c:pt>
                <c:pt idx="3">
                  <c:v>275.29953817651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A4A-4F89-AB9B-48DDF26396E5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A4A-4F89-AB9B-48DDF26396E5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A4A-4F89-AB9B-48DDF26396E5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A4A-4F89-AB9B-48DDF26396E5}"/>
                </c:ext>
              </c:extLst>
            </c:dLbl>
            <c:dLbl>
              <c:idx val="3"/>
              <c:layout>
                <c:manualLayout>
                  <c:x val="-3.382663847780127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A4A-4F89-AB9B-48DDF26396E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54.727207129212012</c:v>
                </c:pt>
                <c:pt idx="1">
                  <c:v>92.911455462890004</c:v>
                </c:pt>
                <c:pt idx="2">
                  <c:v>123.25260650840244</c:v>
                </c:pt>
                <c:pt idx="3">
                  <c:v>79.9325777990476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A4A-4F89-AB9B-48DDF26396E5}"/>
            </c:ext>
          </c:extLst>
        </c:ser>
        <c:ser>
          <c:idx val="2"/>
          <c:order val="2"/>
          <c:spPr>
            <a:solidFill>
              <a:schemeClr val="tx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A4A-4F89-AB9B-48DDF26396E5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A4A-4F89-AB9B-48DDF26396E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163.853629945488</c:v>
                </c:pt>
                <c:pt idx="1">
                  <c:v>163.4466679049728</c:v>
                </c:pt>
                <c:pt idx="2">
                  <c:v>6.975433333333342</c:v>
                </c:pt>
                <c:pt idx="3">
                  <c:v>3.6400163333333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A4A-4F89-AB9B-48DDF26396E5}"/>
            </c:ext>
          </c:extLst>
        </c:ser>
        <c:ser>
          <c:idx val="3"/>
          <c:order val="3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A4A-4F89-AB9B-48DDF26396E5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A4A-4F89-AB9B-48DDF26396E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179.6037740053921</c:v>
                </c:pt>
                <c:pt idx="1">
                  <c:v>207.96044191028659</c:v>
                </c:pt>
                <c:pt idx="2">
                  <c:v>21.865483333333316</c:v>
                </c:pt>
                <c:pt idx="3">
                  <c:v>10.191638333333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A4A-4F89-AB9B-48DDF26396E5}"/>
            </c:ext>
          </c:extLst>
        </c:ser>
        <c:ser>
          <c:idx val="4"/>
          <c:order val="4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A4A-4F89-AB9B-48DDF26396E5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EA4A-4F89-AB9B-48DDF26396E5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A4A-4F89-AB9B-48DDF26396E5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EA4A-4F89-AB9B-48DDF26396E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D$5</c:f>
              <c:numCache>
                <c:formatCode>General</c:formatCode>
                <c:ptCount val="4"/>
                <c:pt idx="0">
                  <c:v>121.44143859937196</c:v>
                </c:pt>
                <c:pt idx="1">
                  <c:v>183.91128735033988</c:v>
                </c:pt>
                <c:pt idx="2">
                  <c:v>117.5375510813974</c:v>
                </c:pt>
                <c:pt idx="3">
                  <c:v>76.6869146862974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EA4A-4F89-AB9B-48DDF26396E5}"/>
            </c:ext>
          </c:extLst>
        </c:ser>
        <c:ser>
          <c:idx val="5"/>
          <c:order val="5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EA4A-4F89-AB9B-48DDF26396E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D$6</c:f>
              <c:numCache>
                <c:formatCode>General</c:formatCode>
                <c:ptCount val="4"/>
                <c:pt idx="0">
                  <c:v>7.7686318090439954</c:v>
                </c:pt>
                <c:pt idx="1">
                  <c:v>69.303266971006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EA4A-4F89-AB9B-48DDF26396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54529480"/>
        <c:axId val="1"/>
      </c:barChart>
      <c:catAx>
        <c:axId val="4545294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96.151874659066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545294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76833864888372E-2"/>
          <c:y val="2.1621621621621623E-2"/>
          <c:w val="0.96984633227022321"/>
          <c:h val="0.956756756756756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96849.319259259268</c:v>
                </c:pt>
                <c:pt idx="1">
                  <c:v>73809.2466798511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05-433D-9626-479A926B506B}"/>
            </c:ext>
          </c:extLst>
        </c:ser>
        <c:ser>
          <c:idx val="1"/>
          <c:order val="1"/>
          <c:spPr>
            <a:solidFill>
              <a:srgbClr val="C2AFD6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4138.288715655581</c:v>
                </c:pt>
                <c:pt idx="1">
                  <c:v>9201.05033330345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05-433D-9626-479A926B506B}"/>
            </c:ext>
          </c:extLst>
        </c:ser>
        <c:ser>
          <c:idx val="2"/>
          <c:order val="2"/>
          <c:spPr>
            <a:solidFill>
              <a:srgbClr val="841376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3163.3586400000058</c:v>
                </c:pt>
                <c:pt idx="1">
                  <c:v>2125.4392768645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05-433D-9626-479A926B506B}"/>
            </c:ext>
          </c:extLst>
        </c:ser>
        <c:ser>
          <c:idx val="3"/>
          <c:order val="3"/>
          <c:spPr>
            <a:solidFill>
              <a:srgbClr val="9B7AB6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132.206451612903</c:v>
                </c:pt>
                <c:pt idx="1">
                  <c:v>787.964763823794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105-433D-9626-479A926B50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54240088"/>
        <c:axId val="1"/>
      </c:barChart>
      <c:catAx>
        <c:axId val="8542400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5283.1730665277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542400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139090309822014E-2"/>
          <c:y val="1.5916743189470461E-2"/>
          <c:w val="0.96572181938035584"/>
          <c:h val="0.9681665136210591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A2E-4B56-BBB6-1D0646C46B7E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A2E-4B56-BBB6-1D0646C46B7E}"/>
              </c:ext>
            </c:extLst>
          </c:dPt>
          <c:val>
            <c:numRef>
              <c:f>Sheet1!$A$1:$M$1</c:f>
              <c:numCache>
                <c:formatCode>General</c:formatCode>
                <c:ptCount val="13"/>
                <c:pt idx="0">
                  <c:v>671.6111111111112</c:v>
                </c:pt>
                <c:pt idx="1">
                  <c:v>1391.2002011168679</c:v>
                </c:pt>
                <c:pt idx="2">
                  <c:v>10846.720547980467</c:v>
                </c:pt>
                <c:pt idx="4">
                  <c:v>16084.583910693036</c:v>
                </c:pt>
                <c:pt idx="5">
                  <c:v>30588.181132915255</c:v>
                </c:pt>
                <c:pt idx="6">
                  <c:v>41083.026671435713</c:v>
                </c:pt>
                <c:pt idx="7">
                  <c:v>47646.228277623566</c:v>
                </c:pt>
                <c:pt idx="8">
                  <c:v>52253.364552715197</c:v>
                </c:pt>
                <c:pt idx="9">
                  <c:v>56320.535729226147</c:v>
                </c:pt>
                <c:pt idx="10">
                  <c:v>78160.72862208329</c:v>
                </c:pt>
                <c:pt idx="11">
                  <c:v>81166.22862208329</c:v>
                </c:pt>
                <c:pt idx="12">
                  <c:v>96849.3192592592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2E-4B56-BBB6-1D0646C46B7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2AFD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A2E-4B56-BBB6-1D0646C46B7E}"/>
              </c:ext>
            </c:extLst>
          </c:dPt>
          <c:dPt>
            <c:idx val="12"/>
            <c:invertIfNegative val="0"/>
            <c:bubble3D val="0"/>
            <c:spPr>
              <a:solidFill>
                <a:srgbClr val="C2AFD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A2E-4B56-BBB6-1D0646C46B7E}"/>
              </c:ext>
            </c:extLst>
          </c:dPt>
          <c:val>
            <c:numRef>
              <c:f>Sheet1!$A$2:$M$2</c:f>
              <c:numCache>
                <c:formatCode>General</c:formatCode>
                <c:ptCount val="13"/>
                <c:pt idx="0">
                  <c:v>719.5890900057567</c:v>
                </c:pt>
                <c:pt idx="1">
                  <c:v>4679.9861111111104</c:v>
                </c:pt>
                <c:pt idx="2">
                  <c:v>3468.3055555555547</c:v>
                </c:pt>
                <c:pt idx="4">
                  <c:v>14503.597222222219</c:v>
                </c:pt>
                <c:pt idx="5">
                  <c:v>9723.1600000000035</c:v>
                </c:pt>
                <c:pt idx="6">
                  <c:v>5568.7703703703737</c:v>
                </c:pt>
                <c:pt idx="7">
                  <c:v>534.22222222221899</c:v>
                </c:pt>
                <c:pt idx="8">
                  <c:v>527.22222222221899</c:v>
                </c:pt>
                <c:pt idx="9">
                  <c:v>20050</c:v>
                </c:pt>
                <c:pt idx="10">
                  <c:v>3005.5</c:v>
                </c:pt>
                <c:pt idx="11">
                  <c:v>34116.944444444453</c:v>
                </c:pt>
                <c:pt idx="12">
                  <c:v>14138.2887156555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A2E-4B56-BBB6-1D0646C46B7E}"/>
            </c:ext>
          </c:extLst>
        </c:ser>
        <c:ser>
          <c:idx val="2"/>
          <c:order val="2"/>
          <c:spPr>
            <a:solidFill>
              <a:srgbClr val="C2AFD6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84137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3A2E-4B56-BBB6-1D0646C46B7E}"/>
              </c:ext>
            </c:extLst>
          </c:dPt>
          <c:val>
            <c:numRef>
              <c:f>Sheet1!$A$3:$M$3</c:f>
              <c:numCache>
                <c:formatCode>General</c:formatCode>
                <c:ptCount val="13"/>
                <c:pt idx="1">
                  <c:v>4775.5342357524887</c:v>
                </c:pt>
                <c:pt idx="2">
                  <c:v>1769.5578071570144</c:v>
                </c:pt>
                <c:pt idx="5">
                  <c:v>771.68553852045443</c:v>
                </c:pt>
                <c:pt idx="6">
                  <c:v>994.43123581747932</c:v>
                </c:pt>
                <c:pt idx="7">
                  <c:v>2940.7076012565085</c:v>
                </c:pt>
                <c:pt idx="8">
                  <c:v>376.59031428873277</c:v>
                </c:pt>
                <c:pt idx="9">
                  <c:v>1790.1928928571433</c:v>
                </c:pt>
                <c:pt idx="12">
                  <c:v>3163.3586400000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A2E-4B56-BBB6-1D0646C46B7E}"/>
            </c:ext>
          </c:extLst>
        </c:ser>
        <c:ser>
          <c:idx val="3"/>
          <c:order val="3"/>
          <c:spPr>
            <a:solidFill>
              <a:srgbClr val="9B7AB6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rgbClr val="84137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3A2E-4B56-BBB6-1D0646C46B7E}"/>
              </c:ext>
            </c:extLst>
          </c:dPt>
          <c:val>
            <c:numRef>
              <c:f>Sheet1!$A$4:$M$4</c:f>
              <c:numCache>
                <c:formatCode>General</c:formatCode>
                <c:ptCount val="13"/>
                <c:pt idx="7">
                  <c:v>1132.206451612903</c:v>
                </c:pt>
                <c:pt idx="8">
                  <c:v>3163.3586399999986</c:v>
                </c:pt>
                <c:pt idx="12">
                  <c:v>1132.20645161288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A2E-4B56-BBB6-1D0646C46B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54205320"/>
        <c:axId val="1"/>
      </c:barChart>
      <c:catAx>
        <c:axId val="8542053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5283.1730665277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54205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920417482061316E-2"/>
          <c:y val="2.388608176389527E-2"/>
          <c:w val="0.93215916503587737"/>
          <c:h val="0.952227836472209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hlink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2D-450D-819B-A4B0931DDA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2D-450D-819B-A4B0931DDA38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2D-450D-819B-A4B0931DDA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02D-450D-819B-A4B0931DDA38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0.1409001956947162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02D-450D-819B-A4B0931DDA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02D-450D-819B-A4B0931DDA38}"/>
            </c:ext>
          </c:extLst>
        </c:ser>
        <c:ser>
          <c:idx val="3"/>
          <c:order val="3"/>
          <c:spPr>
            <a:solidFill>
              <a:srgbClr val="FFCB84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02D-450D-819B-A4B0931DDA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100"/>
        <c:axId val="544293720"/>
        <c:axId val="1"/>
      </c:barChart>
      <c:catAx>
        <c:axId val="544293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442937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329686630817733E-2"/>
          <c:y val="2.9933481152993349E-2"/>
          <c:w val="0.90357871314667171"/>
          <c:h val="0.88285291943828526"/>
        </c:manualLayout>
      </c:layout>
      <c:scatterChart>
        <c:scatterStyle val="lineMarker"/>
        <c:varyColors val="0"/>
        <c:ser>
          <c:idx val="0"/>
          <c:order val="0"/>
          <c:spPr>
            <a:ln w="38100">
              <a:solidFill>
                <a:srgbClr val="C30C3E"/>
              </a:solidFill>
              <a:prstDash val="solid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500</c:v>
                </c:pt>
                <c:pt idx="1">
                  <c:v>1000</c:v>
                </c:pt>
                <c:pt idx="2">
                  <c:v>1500</c:v>
                </c:pt>
                <c:pt idx="3">
                  <c:v>2000</c:v>
                </c:pt>
                <c:pt idx="4">
                  <c:v>2500</c:v>
                </c:pt>
                <c:pt idx="5">
                  <c:v>3000</c:v>
                </c:pt>
                <c:pt idx="6">
                  <c:v>3500</c:v>
                </c:pt>
                <c:pt idx="7">
                  <c:v>4000</c:v>
                </c:pt>
                <c:pt idx="8">
                  <c:v>4500</c:v>
                </c:pt>
                <c:pt idx="9">
                  <c:v>5000</c:v>
                </c:pt>
                <c:pt idx="10">
                  <c:v>5500</c:v>
                </c:pt>
                <c:pt idx="11">
                  <c:v>6000</c:v>
                </c:pt>
                <c:pt idx="12">
                  <c:v>6500</c:v>
                </c:pt>
                <c:pt idx="13">
                  <c:v>7000</c:v>
                </c:pt>
                <c:pt idx="14">
                  <c:v>7500</c:v>
                </c:pt>
                <c:pt idx="15">
                  <c:v>8000</c:v>
                </c:pt>
                <c:pt idx="16">
                  <c:v>8500</c:v>
                </c:pt>
              </c:numCache>
            </c:numRef>
          </c:xVal>
          <c:yVal>
            <c:numRef>
              <c:f>Sheet1!$A$2:$Q$2</c:f>
              <c:numCache>
                <c:formatCode>General</c:formatCode>
                <c:ptCount val="17"/>
                <c:pt idx="0">
                  <c:v>6.815666485645103</c:v>
                </c:pt>
                <c:pt idx="1">
                  <c:v>4.1220475285368376</c:v>
                </c:pt>
                <c:pt idx="2">
                  <c:v>3.2241745428340822</c:v>
                </c:pt>
                <c:pt idx="3">
                  <c:v>2.7752380499827041</c:v>
                </c:pt>
                <c:pt idx="4">
                  <c:v>2.5058761542718777</c:v>
                </c:pt>
                <c:pt idx="5">
                  <c:v>2.3263015571313268</c:v>
                </c:pt>
                <c:pt idx="6">
                  <c:v>2.1980339877452186</c:v>
                </c:pt>
                <c:pt idx="7">
                  <c:v>2.1018333107056377</c:v>
                </c:pt>
                <c:pt idx="8">
                  <c:v>2.0270105618970748</c:v>
                </c:pt>
                <c:pt idx="9">
                  <c:v>1.9671523628502245</c:v>
                </c:pt>
                <c:pt idx="10">
                  <c:v>1.9181774727209833</c:v>
                </c:pt>
                <c:pt idx="11">
                  <c:v>1.8773650642799491</c:v>
                </c:pt>
                <c:pt idx="12">
                  <c:v>1.8428314879067662</c:v>
                </c:pt>
                <c:pt idx="13">
                  <c:v>1.813231279586895</c:v>
                </c:pt>
                <c:pt idx="14">
                  <c:v>1.7875777657096736</c:v>
                </c:pt>
                <c:pt idx="15">
                  <c:v>1.7651309410671046</c:v>
                </c:pt>
                <c:pt idx="16">
                  <c:v>1.74532491932366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FCC-481F-B7BC-669C336485C5}"/>
            </c:ext>
          </c:extLst>
        </c:ser>
        <c:ser>
          <c:idx val="1"/>
          <c:order val="1"/>
          <c:spPr>
            <a:ln w="38100">
              <a:solidFill>
                <a:srgbClr val="007770"/>
              </a:solidFill>
              <a:prstDash val="solid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500</c:v>
                </c:pt>
                <c:pt idx="1">
                  <c:v>1000</c:v>
                </c:pt>
                <c:pt idx="2">
                  <c:v>1500</c:v>
                </c:pt>
                <c:pt idx="3">
                  <c:v>2000</c:v>
                </c:pt>
                <c:pt idx="4">
                  <c:v>2500</c:v>
                </c:pt>
                <c:pt idx="5">
                  <c:v>3000</c:v>
                </c:pt>
                <c:pt idx="6">
                  <c:v>3500</c:v>
                </c:pt>
                <c:pt idx="7">
                  <c:v>4000</c:v>
                </c:pt>
                <c:pt idx="8">
                  <c:v>4500</c:v>
                </c:pt>
                <c:pt idx="9">
                  <c:v>5000</c:v>
                </c:pt>
                <c:pt idx="10">
                  <c:v>5500</c:v>
                </c:pt>
                <c:pt idx="11">
                  <c:v>6000</c:v>
                </c:pt>
                <c:pt idx="12">
                  <c:v>6500</c:v>
                </c:pt>
                <c:pt idx="13">
                  <c:v>7000</c:v>
                </c:pt>
                <c:pt idx="14">
                  <c:v>7500</c:v>
                </c:pt>
                <c:pt idx="15">
                  <c:v>8000</c:v>
                </c:pt>
                <c:pt idx="16">
                  <c:v>8500</c:v>
                </c:pt>
              </c:numCache>
            </c:numRef>
          </c:xVal>
          <c:yVal>
            <c:numRef>
              <c:f>Sheet1!$A$3:$Q$3</c:f>
              <c:numCache>
                <c:formatCode>General</c:formatCode>
                <c:ptCount val="17"/>
                <c:pt idx="0">
                  <c:v>8.7202379142165327</c:v>
                </c:pt>
                <c:pt idx="1">
                  <c:v>6.0266189571082656</c:v>
                </c:pt>
                <c:pt idx="2">
                  <c:v>5.128745971405511</c:v>
                </c:pt>
                <c:pt idx="3">
                  <c:v>4.6798094785541329</c:v>
                </c:pt>
                <c:pt idx="4">
                  <c:v>4.4104475828433065</c:v>
                </c:pt>
                <c:pt idx="5">
                  <c:v>4.2308729857027556</c:v>
                </c:pt>
                <c:pt idx="6">
                  <c:v>4.1026054163166474</c:v>
                </c:pt>
                <c:pt idx="7">
                  <c:v>4.006404739277067</c:v>
                </c:pt>
                <c:pt idx="8">
                  <c:v>3.9315819904685037</c:v>
                </c:pt>
                <c:pt idx="9">
                  <c:v>3.8717237914216533</c:v>
                </c:pt>
                <c:pt idx="10">
                  <c:v>3.8227489012924121</c:v>
                </c:pt>
                <c:pt idx="11">
                  <c:v>3.7819364928513779</c:v>
                </c:pt>
                <c:pt idx="12">
                  <c:v>3.7474029164781948</c:v>
                </c:pt>
                <c:pt idx="13">
                  <c:v>3.7178027081583238</c:v>
                </c:pt>
                <c:pt idx="14">
                  <c:v>3.6921491942811024</c:v>
                </c:pt>
                <c:pt idx="15">
                  <c:v>3.6697023696385336</c:v>
                </c:pt>
                <c:pt idx="16">
                  <c:v>3.64989634789509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FCC-481F-B7BC-669C336485C5}"/>
            </c:ext>
          </c:extLst>
        </c:ser>
        <c:ser>
          <c:idx val="2"/>
          <c:order val="2"/>
          <c:spPr>
            <a:ln w="38100">
              <a:solidFill>
                <a:srgbClr val="FFC000"/>
              </a:solidFill>
              <a:prstDash val="solid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500</c:v>
                </c:pt>
                <c:pt idx="1">
                  <c:v>1000</c:v>
                </c:pt>
                <c:pt idx="2">
                  <c:v>1500</c:v>
                </c:pt>
                <c:pt idx="3">
                  <c:v>2000</c:v>
                </c:pt>
                <c:pt idx="4">
                  <c:v>2500</c:v>
                </c:pt>
                <c:pt idx="5">
                  <c:v>3000</c:v>
                </c:pt>
                <c:pt idx="6">
                  <c:v>3500</c:v>
                </c:pt>
                <c:pt idx="7">
                  <c:v>4000</c:v>
                </c:pt>
                <c:pt idx="8">
                  <c:v>4500</c:v>
                </c:pt>
                <c:pt idx="9">
                  <c:v>5000</c:v>
                </c:pt>
                <c:pt idx="10">
                  <c:v>5500</c:v>
                </c:pt>
                <c:pt idx="11">
                  <c:v>6000</c:v>
                </c:pt>
                <c:pt idx="12">
                  <c:v>6500</c:v>
                </c:pt>
                <c:pt idx="13">
                  <c:v>7000</c:v>
                </c:pt>
                <c:pt idx="14">
                  <c:v>7500</c:v>
                </c:pt>
                <c:pt idx="15">
                  <c:v>8000</c:v>
                </c:pt>
                <c:pt idx="16">
                  <c:v>8500</c:v>
                </c:pt>
              </c:numCache>
            </c:numRef>
          </c:xVal>
          <c:yVal>
            <c:numRef>
              <c:f>Sheet1!$A$4:$Q$4</c:f>
              <c:numCache>
                <c:formatCode>General</c:formatCode>
                <c:ptCount val="17"/>
                <c:pt idx="0">
                  <c:v>5.3872379142165316</c:v>
                </c:pt>
                <c:pt idx="1">
                  <c:v>2.6936189571082658</c:v>
                </c:pt>
                <c:pt idx="2">
                  <c:v>1.7957459714055106</c:v>
                </c:pt>
                <c:pt idx="3">
                  <c:v>1.34680947855413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3FCC-481F-B7BC-669C336485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4047143"/>
        <c:axId val="1"/>
      </c:scatterChart>
      <c:valAx>
        <c:axId val="134047143"/>
        <c:scaling>
          <c:orientation val="minMax"/>
          <c:max val="8500"/>
          <c:min val="50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500"/>
      </c:valAx>
      <c:valAx>
        <c:axId val="1"/>
        <c:scaling>
          <c:orientation val="minMax"/>
          <c:max val="1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134047143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139090309822014E-2"/>
          <c:y val="1.5916743189470461E-2"/>
          <c:w val="0.96572181938035584"/>
          <c:h val="0.9681665136210591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E01-4148-A3EC-4B2FB61684CC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E01-4148-A3EC-4B2FB61684CC}"/>
              </c:ext>
            </c:extLst>
          </c:dPt>
          <c:dLbls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E01-4148-A3EC-4B2FB61684C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5.3729318720000006</c:v>
                </c:pt>
                <c:pt idx="1">
                  <c:v>5.9077055604643425</c:v>
                </c:pt>
                <c:pt idx="2">
                  <c:v>14.870232202862798</c:v>
                </c:pt>
                <c:pt idx="3">
                  <c:v>20.678317935541525</c:v>
                </c:pt>
                <c:pt idx="4">
                  <c:v>49.040544831541524</c:v>
                </c:pt>
                <c:pt idx="5">
                  <c:v>56.013421210707712</c:v>
                </c:pt>
                <c:pt idx="6">
                  <c:v>59.209405473455739</c:v>
                </c:pt>
                <c:pt idx="7">
                  <c:v>61.300221423777721</c:v>
                </c:pt>
                <c:pt idx="8">
                  <c:v>71.719201831823113</c:v>
                </c:pt>
                <c:pt idx="9">
                  <c:v>94.060786439087082</c:v>
                </c:pt>
                <c:pt idx="10">
                  <c:v>109.76750076887065</c:v>
                </c:pt>
                <c:pt idx="11">
                  <c:v>113.31456047634377</c:v>
                </c:pt>
                <c:pt idx="12">
                  <c:v>58.7642423323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E01-4148-A3EC-4B2FB61684C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E01-4148-A3EC-4B2FB61684CC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E01-4148-A3EC-4B2FB61684CC}"/>
              </c:ext>
            </c:extLst>
          </c:dPt>
          <c:dLbls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E01-4148-A3EC-4B2FB61684C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0.25086759425823679</c:v>
                </c:pt>
                <c:pt idx="1">
                  <c:v>5.348598344</c:v>
                </c:pt>
                <c:pt idx="2">
                  <c:v>3.963809487999999</c:v>
                </c:pt>
                <c:pt idx="3">
                  <c:v>0</c:v>
                </c:pt>
                <c:pt idx="4">
                  <c:v>2.7480719843999992</c:v>
                </c:pt>
                <c:pt idx="5">
                  <c:v>0</c:v>
                </c:pt>
                <c:pt idx="6">
                  <c:v>0</c:v>
                </c:pt>
                <c:pt idx="7">
                  <c:v>8.5476239360000008</c:v>
                </c:pt>
                <c:pt idx="8">
                  <c:v>21.089057600000004</c:v>
                </c:pt>
                <c:pt idx="9">
                  <c:v>9.0225721799999974</c:v>
                </c:pt>
                <c:pt idx="10">
                  <c:v>2.6715769279999932</c:v>
                </c:pt>
                <c:pt idx="11">
                  <c:v>0</c:v>
                </c:pt>
                <c:pt idx="12">
                  <c:v>20.7883899545427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E01-4148-A3EC-4B2FB61684CC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7E01-4148-A3EC-4B2FB61684CC}"/>
              </c:ext>
            </c:extLst>
          </c:dPt>
          <c:dPt>
            <c:idx val="12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7E01-4148-A3EC-4B2FB61684CC}"/>
              </c:ext>
            </c:extLst>
          </c:dPt>
          <c:dLbls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E01-4148-A3EC-4B2FB61684C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M$3</c:f>
              <c:numCache>
                <c:formatCode>General</c:formatCode>
                <c:ptCount val="13"/>
                <c:pt idx="0">
                  <c:v>0</c:v>
                </c:pt>
                <c:pt idx="1">
                  <c:v>1.7050627508342426</c:v>
                </c:pt>
                <c:pt idx="2">
                  <c:v>0.94451551962266933</c:v>
                </c:pt>
                <c:pt idx="3">
                  <c:v>0</c:v>
                </c:pt>
                <c:pt idx="4">
                  <c:v>2.6153551015219278</c:v>
                </c:pt>
                <c:pt idx="5">
                  <c:v>1.8924786312184025</c:v>
                </c:pt>
                <c:pt idx="6">
                  <c:v>1.1835065839225152</c:v>
                </c:pt>
                <c:pt idx="7">
                  <c:v>0.83077992141190293</c:v>
                </c:pt>
                <c:pt idx="8">
                  <c:v>0.73341094090456238</c:v>
                </c:pt>
                <c:pt idx="9">
                  <c:v>3.9383236465667011</c:v>
                </c:pt>
                <c:pt idx="10">
                  <c:v>0.54196553015003701</c:v>
                </c:pt>
                <c:pt idx="11">
                  <c:v>6.152123734131564</c:v>
                </c:pt>
                <c:pt idx="12">
                  <c:v>28.362226895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E01-4148-A3EC-4B2FB61684CC}"/>
            </c:ext>
          </c:extLst>
        </c:ser>
        <c:ser>
          <c:idx val="3"/>
          <c:order val="3"/>
          <c:spPr>
            <a:solidFill>
              <a:srgbClr val="00777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7E01-4148-A3EC-4B2FB61684CC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7E01-4148-A3EC-4B2FB61684CC}"/>
              </c:ext>
            </c:extLst>
          </c:dPt>
          <c:dLbls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E01-4148-A3EC-4B2FB61684C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M$4</c:f>
              <c:numCache>
                <c:formatCode>General</c:formatCode>
                <c:ptCount val="13"/>
                <c:pt idx="0">
                  <c:v>0.15438005800506893</c:v>
                </c:pt>
                <c:pt idx="1">
                  <c:v>0</c:v>
                </c:pt>
                <c:pt idx="2">
                  <c:v>0</c:v>
                </c:pt>
                <c:pt idx="3">
                  <c:v>28.362226895999999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2.7928553566416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E01-4148-A3EC-4B2FB61684CC}"/>
            </c:ext>
          </c:extLst>
        </c:ser>
        <c:ser>
          <c:idx val="4"/>
          <c:order val="4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B7AB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7E01-4148-A3EC-4B2FB61684CC}"/>
              </c:ext>
            </c:extLst>
          </c:dPt>
          <c:dPt>
            <c:idx val="12"/>
            <c:invertIfNegative val="0"/>
            <c:bubble3D val="0"/>
            <c:spPr>
              <a:solidFill>
                <a:srgbClr val="9B7AB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7E01-4148-A3EC-4B2FB61684CC}"/>
              </c:ext>
            </c:extLst>
          </c:dPt>
          <c:val>
            <c:numRef>
              <c:f>Sheet1!$A$5:$M$5</c:f>
              <c:numCache>
                <c:formatCode>General</c:formatCode>
                <c:ptCount val="13"/>
                <c:pt idx="0">
                  <c:v>0.1295260362010362</c:v>
                </c:pt>
                <c:pt idx="1">
                  <c:v>1.0492693851287651</c:v>
                </c:pt>
                <c:pt idx="2">
                  <c:v>0.58124031976779733</c:v>
                </c:pt>
                <c:pt idx="3">
                  <c:v>0</c:v>
                </c:pt>
                <c:pt idx="4">
                  <c:v>1.6094492932442606</c:v>
                </c:pt>
                <c:pt idx="5">
                  <c:v>1.1646022345959395</c:v>
                </c:pt>
                <c:pt idx="6">
                  <c:v>0.72831174395231812</c:v>
                </c:pt>
                <c:pt idx="7">
                  <c:v>0.51124918240732597</c:v>
                </c:pt>
                <c:pt idx="8">
                  <c:v>0.4513298097874241</c:v>
                </c:pt>
                <c:pt idx="9">
                  <c:v>2.4235837825025897</c:v>
                </c:pt>
                <c:pt idx="10">
                  <c:v>0.33351724932309423</c:v>
                </c:pt>
                <c:pt idx="11">
                  <c:v>3.7859222979271152</c:v>
                </c:pt>
                <c:pt idx="12">
                  <c:v>2.54489196881800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E01-4148-A3EC-4B2FB61684CC}"/>
            </c:ext>
          </c:extLst>
        </c:ser>
        <c:ser>
          <c:idx val="5"/>
          <c:order val="5"/>
          <c:spPr>
            <a:solidFill>
              <a:srgbClr val="9B7AB6"/>
            </a:solidFill>
            <a:ln>
              <a:noFill/>
            </a:ln>
          </c:spPr>
          <c:invertIfNegative val="0"/>
          <c:val>
            <c:numRef>
              <c:f>Sheet1!$A$6:$M$6</c:f>
              <c:numCache>
                <c:formatCode>General</c:formatCode>
                <c:ptCount val="13"/>
                <c:pt idx="1">
                  <c:v>0.85959616243544801</c:v>
                </c:pt>
                <c:pt idx="2">
                  <c:v>0.31852040528826109</c:v>
                </c:pt>
                <c:pt idx="3">
                  <c:v>0</c:v>
                </c:pt>
                <c:pt idx="4">
                  <c:v>0</c:v>
                </c:pt>
                <c:pt idx="5">
                  <c:v>0.13890339693368503</c:v>
                </c:pt>
                <c:pt idx="6">
                  <c:v>0.17899762244714879</c:v>
                </c:pt>
                <c:pt idx="7">
                  <c:v>0.52932736822616278</c:v>
                </c:pt>
                <c:pt idx="8">
                  <c:v>6.7786256571977788E-2</c:v>
                </c:pt>
                <c:pt idx="9">
                  <c:v>0.3222347207142775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E01-4148-A3EC-4B2FB61684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52904280"/>
        <c:axId val="1"/>
      </c:barChart>
      <c:catAx>
        <c:axId val="8529042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3.2526065084024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52904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931674398987768E-2"/>
          <c:y val="8.1349206349206338E-2"/>
          <c:w val="0.9561366512020244"/>
          <c:h val="0.892857142857142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BE5-4BF8-B4E1-646137EC8A5E}"/>
              </c:ext>
            </c:extLst>
          </c:dPt>
          <c:dLbls>
            <c:dLbl>
              <c:idx val="0"/>
              <c:layout>
                <c:manualLayout>
                  <c:x val="0"/>
                  <c:y val="-0.4875992063492063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BE5-4BF8-B4E1-646137EC8A5E}"/>
                </c:ext>
              </c:extLst>
            </c:dLbl>
            <c:dLbl>
              <c:idx val="2"/>
              <c:layout>
                <c:manualLayout>
                  <c:x val="0"/>
                  <c:y val="-0.1294642857142857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BE5-4BF8-B4E1-646137EC8A5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0.1</c:v>
                </c:pt>
                <c:pt idx="1">
                  <c:v>2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BE5-4BF8-B4E1-646137EC8A5E}"/>
            </c:ext>
          </c:extLst>
        </c:ser>
        <c:ser>
          <c:idx val="1"/>
          <c:order val="1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BE5-4BF8-B4E1-646137EC8A5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1">
                  <c:v>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E5-4BF8-B4E1-646137EC8A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95807944"/>
        <c:axId val="1"/>
      </c:barChart>
      <c:catAx>
        <c:axId val="1195807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.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958079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86941580756014E-2"/>
          <c:y val="1.6666666666666666E-2"/>
          <c:w val="0.96426116838487985"/>
          <c:h val="0.96666666666666667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502-4CA9-8587-DDEC38939275}"/>
              </c:ext>
            </c:extLst>
          </c:dPt>
          <c:dPt>
            <c:idx val="12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502-4CA9-8587-DDEC38939275}"/>
              </c:ext>
            </c:extLst>
          </c:dPt>
          <c:dLbls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502-4CA9-8587-DDEC3893927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0.24109588224619008</c:v>
                </c:pt>
                <c:pt idx="1">
                  <c:v>1.7128194933573011</c:v>
                </c:pt>
                <c:pt idx="2">
                  <c:v>3.2507976887128294</c:v>
                </c:pt>
                <c:pt idx="3">
                  <c:v>4.7004110398700494</c:v>
                </c:pt>
                <c:pt idx="4">
                  <c:v>6.5616672898700497</c:v>
                </c:pt>
                <c:pt idx="5">
                  <c:v>6.8746132599886733</c:v>
                </c:pt>
                <c:pt idx="6">
                  <c:v>7.2553977559215639</c:v>
                </c:pt>
                <c:pt idx="7">
                  <c:v>7.595897451522668</c:v>
                </c:pt>
                <c:pt idx="8">
                  <c:v>8.2834430346551731</c:v>
                </c:pt>
                <c:pt idx="9">
                  <c:v>8.4465183670355923</c:v>
                </c:pt>
                <c:pt idx="10">
                  <c:v>9.275802713485529</c:v>
                </c:pt>
                <c:pt idx="11">
                  <c:v>9.3406527709423379</c:v>
                </c:pt>
                <c:pt idx="12">
                  <c:v>6.52986394896652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502-4CA9-8587-DDEC38939275}"/>
            </c:ext>
          </c:extLst>
        </c:ser>
        <c:ser>
          <c:idx val="1"/>
          <c:order val="1"/>
          <c:spPr>
            <a:solidFill>
              <a:srgbClr val="D6D7D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502-4CA9-8587-DDEC38939275}"/>
              </c:ext>
            </c:extLst>
          </c:dPt>
          <c:dPt>
            <c:idx val="12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502-4CA9-8587-DDEC38939275}"/>
              </c:ext>
            </c:extLst>
          </c:dPt>
          <c:dLbls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502-4CA9-8587-DDEC3893927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8.3951388888888895E-2</c:v>
                </c:pt>
                <c:pt idx="1">
                  <c:v>1.2482647694296023</c:v>
                </c:pt>
                <c:pt idx="2">
                  <c:v>0.69814714745351658</c:v>
                </c:pt>
                <c:pt idx="3">
                  <c:v>0.82722500000000032</c:v>
                </c:pt>
                <c:pt idx="4">
                  <c:v>0.31294597011862368</c:v>
                </c:pt>
                <c:pt idx="5">
                  <c:v>0.38078449593289054</c:v>
                </c:pt>
                <c:pt idx="6">
                  <c:v>0.34049969560110416</c:v>
                </c:pt>
                <c:pt idx="7">
                  <c:v>0.68754558313250502</c:v>
                </c:pt>
                <c:pt idx="8">
                  <c:v>0.16307533238041927</c:v>
                </c:pt>
                <c:pt idx="9">
                  <c:v>0.82928434644993665</c:v>
                </c:pt>
                <c:pt idx="10">
                  <c:v>6.4850057456808941E-2</c:v>
                </c:pt>
                <c:pt idx="11">
                  <c:v>0.73614566876492304</c:v>
                </c:pt>
                <c:pt idx="12">
                  <c:v>1.51843634259259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502-4CA9-8587-DDEC38939275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3502-4CA9-8587-DDEC38939275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502-4CA9-8587-DDEC38939275}"/>
              </c:ext>
            </c:extLst>
          </c:dPt>
          <c:dLbls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502-4CA9-8587-DDEC3893927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M$3</c:f>
              <c:numCache>
                <c:formatCode>General</c:formatCode>
                <c:ptCount val="13"/>
                <c:pt idx="0">
                  <c:v>0.13432222222222223</c:v>
                </c:pt>
                <c:pt idx="1">
                  <c:v>0.11142824074074076</c:v>
                </c:pt>
                <c:pt idx="2">
                  <c:v>0.28902546296296272</c:v>
                </c:pt>
                <c:pt idx="3">
                  <c:v>1.03403125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775048148148147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502-4CA9-8587-DDEC38939275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3502-4CA9-8587-DDEC38939275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3502-4CA9-8587-DDEC38939275}"/>
              </c:ext>
            </c:extLst>
          </c:dPt>
          <c:dLbls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502-4CA9-8587-DDEC3893927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M$4</c:f>
              <c:numCache>
                <c:formatCode>General</c:formatCode>
                <c:ptCount val="13"/>
                <c:pt idx="0">
                  <c:v>1.25345</c:v>
                </c:pt>
                <c:pt idx="1">
                  <c:v>0.17828518518518521</c:v>
                </c:pt>
                <c:pt idx="2">
                  <c:v>0.4624407407407407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.25344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502-4CA9-8587-DDEC389392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72316240"/>
        <c:axId val="1"/>
      </c:barChart>
      <c:catAx>
        <c:axId val="207231624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.07679843970726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72316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513178786916483E-2"/>
          <c:y val="1.5916743189470461E-2"/>
          <c:w val="0.92473801206732298"/>
          <c:h val="0.9681665136210591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2AFD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7DB-4ABC-83FF-83B02601E25A}"/>
              </c:ext>
            </c:extLst>
          </c:dPt>
          <c:dPt>
            <c:idx val="12"/>
            <c:invertIfNegative val="0"/>
            <c:bubble3D val="0"/>
            <c:spPr>
              <a:solidFill>
                <a:srgbClr val="C2AFD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7DB-4ABC-83FF-83B02601E25A}"/>
              </c:ext>
            </c:extLst>
          </c:dPt>
          <c:dLbls>
            <c:dLbl>
              <c:idx val="0"/>
              <c:layout>
                <c:manualLayout>
                  <c:x val="5.3350269926960937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7DB-4ABC-83FF-83B02601E25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33.244750000265959</c:v>
                </c:pt>
                <c:pt idx="1">
                  <c:v>33.244750000265959</c:v>
                </c:pt>
                <c:pt idx="2">
                  <c:v>253.87266666869766</c:v>
                </c:pt>
                <c:pt idx="5">
                  <c:v>335.62558333601839</c:v>
                </c:pt>
                <c:pt idx="6">
                  <c:v>371.27717000297025</c:v>
                </c:pt>
                <c:pt idx="7">
                  <c:v>417.21952555889334</c:v>
                </c:pt>
                <c:pt idx="8">
                  <c:v>553.07912986010967</c:v>
                </c:pt>
                <c:pt idx="9">
                  <c:v>570.47746319358225</c:v>
                </c:pt>
                <c:pt idx="12">
                  <c:v>534.953442226501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DB-4ABC-83FF-83B02601E25A}"/>
            </c:ext>
          </c:extLst>
        </c:ser>
        <c:ser>
          <c:idx val="1"/>
          <c:order val="1"/>
          <c:spPr>
            <a:solidFill>
              <a:srgbClr val="C2AFD6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9B7AB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7DB-4ABC-83FF-83B02601E25A}"/>
              </c:ext>
            </c:extLst>
          </c:dPt>
          <c:dLbls>
            <c:dLbl>
              <c:idx val="1"/>
              <c:layout>
                <c:manualLayout>
                  <c:x val="0.195935217529374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7DB-4ABC-83FF-83B02601E25A}"/>
                </c:ext>
              </c:extLst>
            </c:dLbl>
            <c:dLbl>
              <c:idx val="2"/>
              <c:layout>
                <c:manualLayout>
                  <c:x val="8.7646872022864405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7DB-4ABC-83FF-83B02601E25A}"/>
                </c:ext>
              </c:extLst>
            </c:dLbl>
            <c:dLbl>
              <c:idx val="5"/>
              <c:layout>
                <c:manualLayout>
                  <c:x val="5.525563671006669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7DB-4ABC-83FF-83B02601E25A}"/>
                </c:ext>
              </c:extLst>
            </c:dLbl>
            <c:dLbl>
              <c:idx val="6"/>
              <c:layout>
                <c:manualLayout>
                  <c:x val="6.255954271197206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7DB-4ABC-83FF-83B02601E25A}"/>
                </c:ext>
              </c:extLst>
            </c:dLbl>
            <c:dLbl>
              <c:idx val="8"/>
              <c:layout>
                <c:manualLayout>
                  <c:x val="4.2235630358844076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7DB-4ABC-83FF-83B02601E25A}"/>
                </c:ext>
              </c:extLst>
            </c:dLbl>
            <c:dLbl>
              <c:idx val="9"/>
              <c:layout>
                <c:manualLayout>
                  <c:x val="8.8599555414417275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7DB-4ABC-83FF-83B02601E25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1">
                  <c:v>220.62791666843171</c:v>
                </c:pt>
                <c:pt idx="2">
                  <c:v>81.752916667320733</c:v>
                </c:pt>
                <c:pt idx="5">
                  <c:v>35.651586666951857</c:v>
                </c:pt>
                <c:pt idx="6">
                  <c:v>45.942355555923086</c:v>
                </c:pt>
                <c:pt idx="7">
                  <c:v>17.629333333474392</c:v>
                </c:pt>
                <c:pt idx="8">
                  <c:v>17.398333333472578</c:v>
                </c:pt>
                <c:pt idx="9">
                  <c:v>82.706250000661612</c:v>
                </c:pt>
                <c:pt idx="12">
                  <c:v>118.230270967742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7DB-4ABC-83FF-83B02601E25A}"/>
            </c:ext>
          </c:extLst>
        </c:ser>
        <c:ser>
          <c:idx val="2"/>
          <c:order val="2"/>
          <c:spPr>
            <a:solidFill>
              <a:srgbClr val="9B7AB6"/>
            </a:solidFill>
            <a:ln>
              <a:noFill/>
            </a:ln>
          </c:spPr>
          <c:invertIfNegative val="0"/>
          <c:val>
            <c:numRef>
              <c:f>Sheet1!$A$3:$M$3</c:f>
              <c:numCache>
                <c:formatCode>General</c:formatCode>
                <c:ptCount val="13"/>
                <c:pt idx="7">
                  <c:v>118.23027096774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7DB-4ABC-83FF-83B02601E2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37208616"/>
        <c:axId val="1"/>
      </c:barChart>
      <c:catAx>
        <c:axId val="93720861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53.1837131942438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372086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928961748633881"/>
          <c:y val="2.645318482422555E-2"/>
          <c:w val="0.88018619712608792"/>
          <c:h val="0.9467455621301775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val>
            <c:numRef>
              <c:f>Sheet1!$A$1:$AQ$1</c:f>
              <c:numCache>
                <c:formatCode>General</c:formatCode>
                <c:ptCount val="43"/>
                <c:pt idx="10">
                  <c:v>1239.0786108</c:v>
                </c:pt>
                <c:pt idx="11">
                  <c:v>1365.1215536879999</c:v>
                </c:pt>
                <c:pt idx="12">
                  <c:v>1505.0292202936801</c:v>
                </c:pt>
                <c:pt idx="13">
                  <c:v>1660.3267302259846</c:v>
                </c:pt>
                <c:pt idx="14">
                  <c:v>1832.7069662508434</c:v>
                </c:pt>
                <c:pt idx="15">
                  <c:v>2024.0490282384362</c:v>
                </c:pt>
                <c:pt idx="16">
                  <c:v>2236.4387170446644</c:v>
                </c:pt>
                <c:pt idx="17">
                  <c:v>2472.1912716195779</c:v>
                </c:pt>
                <c:pt idx="18">
                  <c:v>2733.8766071977311</c:v>
                </c:pt>
                <c:pt idx="19">
                  <c:v>3024.3473296894813</c:v>
                </c:pt>
                <c:pt idx="20">
                  <c:v>3346.7698316553247</c:v>
                </c:pt>
                <c:pt idx="21">
                  <c:v>3704.6588088374106</c:v>
                </c:pt>
                <c:pt idx="22">
                  <c:v>4101.9155735095255</c:v>
                </c:pt>
                <c:pt idx="23">
                  <c:v>4542.8705822955744</c:v>
                </c:pt>
                <c:pt idx="24">
                  <c:v>5032.3306420480876</c:v>
                </c:pt>
                <c:pt idx="25">
                  <c:v>5575.6313083733767</c:v>
                </c:pt>
                <c:pt idx="26">
                  <c:v>6178.6950479944489</c:v>
                </c:pt>
                <c:pt idx="27">
                  <c:v>6848.095798973839</c:v>
                </c:pt>
                <c:pt idx="28">
                  <c:v>7591.1306325609603</c:v>
                </c:pt>
                <c:pt idx="29">
                  <c:v>8415.8992978426668</c:v>
                </c:pt>
                <c:pt idx="30">
                  <c:v>9331.3925163053609</c:v>
                </c:pt>
                <c:pt idx="31">
                  <c:v>10347.589988798949</c:v>
                </c:pt>
                <c:pt idx="32">
                  <c:v>11475.569183266836</c:v>
                </c:pt>
                <c:pt idx="33">
                  <c:v>12727.62608912619</c:v>
                </c:pt>
                <c:pt idx="34">
                  <c:v>14117.409254630071</c:v>
                </c:pt>
                <c:pt idx="35">
                  <c:v>15660.06856833938</c:v>
                </c:pt>
                <c:pt idx="36">
                  <c:v>17372.420406556714</c:v>
                </c:pt>
                <c:pt idx="37">
                  <c:v>19273.130946977952</c:v>
                </c:pt>
                <c:pt idx="38">
                  <c:v>21382.91964684553</c:v>
                </c:pt>
                <c:pt idx="39">
                  <c:v>23724.785103698541</c:v>
                </c:pt>
                <c:pt idx="40">
                  <c:v>26324.255760805383</c:v>
                </c:pt>
                <c:pt idx="41">
                  <c:v>29209.668190193977</c:v>
                </c:pt>
                <c:pt idx="42">
                  <c:v>32412.475986815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B4-4FA0-BE6F-9CE6806761A1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val>
            <c:numRef>
              <c:f>Sheet1!$A$2:$AQ$2</c:f>
              <c:numCache>
                <c:formatCode>General</c:formatCode>
                <c:ptCount val="43"/>
                <c:pt idx="0">
                  <c:v>251.40980999999999</c:v>
                </c:pt>
                <c:pt idx="1">
                  <c:v>328.72118999999998</c:v>
                </c:pt>
                <c:pt idx="2">
                  <c:v>395.77461</c:v>
                </c:pt>
                <c:pt idx="3">
                  <c:v>481.82846999999998</c:v>
                </c:pt>
                <c:pt idx="4">
                  <c:v>590.51598000000001</c:v>
                </c:pt>
                <c:pt idx="5">
                  <c:v>660.39668999999992</c:v>
                </c:pt>
                <c:pt idx="6">
                  <c:v>764.72172</c:v>
                </c:pt>
                <c:pt idx="7">
                  <c:v>912.78761999999983</c:v>
                </c:pt>
                <c:pt idx="8">
                  <c:v>1023.2271299999999</c:v>
                </c:pt>
                <c:pt idx="9">
                  <c:v>1125.52640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B4-4FA0-BE6F-9CE6806761A1}"/>
            </c:ext>
          </c:extLst>
        </c:ser>
        <c:ser>
          <c:idx val="2"/>
          <c:order val="2"/>
          <c:spPr>
            <a:solidFill>
              <a:srgbClr val="FFC000"/>
            </a:solidFill>
            <a:ln>
              <a:noFill/>
            </a:ln>
          </c:spPr>
          <c:val>
            <c:numRef>
              <c:f>Sheet1!$A$3:$AQ$3</c:f>
              <c:numCache>
                <c:formatCode>General</c:formatCode>
                <c:ptCount val="43"/>
                <c:pt idx="10">
                  <c:v>1083.3704867999998</c:v>
                </c:pt>
                <c:pt idx="11">
                  <c:v>1336.341414648</c:v>
                </c:pt>
                <c:pt idx="12">
                  <c:v>1617.1391445592806</c:v>
                </c:pt>
                <c:pt idx="13">
                  <c:v>1928.8246247608013</c:v>
                </c:pt>
                <c:pt idx="14">
                  <c:v>2274.7955077844895</c:v>
                </c:pt>
                <c:pt idx="15">
                  <c:v>2658.8231879407831</c:v>
                </c:pt>
                <c:pt idx="16">
                  <c:v>3085.0939129142698</c:v>
                </c:pt>
                <c:pt idx="17">
                  <c:v>3558.2544176348406</c:v>
                </c:pt>
                <c:pt idx="18">
                  <c:v>4083.4625778746727</c:v>
                </c:pt>
                <c:pt idx="19">
                  <c:v>4666.4436357408886</c:v>
                </c:pt>
                <c:pt idx="20">
                  <c:v>5313.5526099723847</c:v>
                </c:pt>
                <c:pt idx="21">
                  <c:v>6031.8435713693489</c:v>
                </c:pt>
                <c:pt idx="22">
                  <c:v>6829.1465385199763</c:v>
                </c:pt>
                <c:pt idx="23">
                  <c:v>7714.1528320571742</c:v>
                </c:pt>
                <c:pt idx="24">
                  <c:v>8696.5098178834633</c:v>
                </c:pt>
                <c:pt idx="25">
                  <c:v>9786.9260721506471</c:v>
                </c:pt>
                <c:pt idx="26">
                  <c:v>10997.288114387218</c:v>
                </c:pt>
                <c:pt idx="27">
                  <c:v>12340.789981269812</c:v>
                </c:pt>
                <c:pt idx="28">
                  <c:v>13832.077053509494</c:v>
                </c:pt>
                <c:pt idx="29">
                  <c:v>15487.40570369554</c:v>
                </c:pt>
                <c:pt idx="30">
                  <c:v>17324.820505402047</c:v>
                </c:pt>
                <c:pt idx="31">
                  <c:v>19364.350935296272</c:v>
                </c:pt>
                <c:pt idx="32">
                  <c:v>21628.229712478867</c:v>
                </c:pt>
                <c:pt idx="33">
                  <c:v>24141.135155151547</c:v>
                </c:pt>
                <c:pt idx="34">
                  <c:v>26930.460196518219</c:v>
                </c:pt>
                <c:pt idx="35">
                  <c:v>30026.61099243522</c:v>
                </c:pt>
                <c:pt idx="36">
                  <c:v>33463.338375903098</c:v>
                </c:pt>
                <c:pt idx="37">
                  <c:v>37278.105771552444</c:v>
                </c:pt>
                <c:pt idx="38">
                  <c:v>41512.497580723211</c:v>
                </c:pt>
                <c:pt idx="39">
                  <c:v>46212.672488902783</c:v>
                </c:pt>
                <c:pt idx="40">
                  <c:v>51429.866636982108</c:v>
                </c:pt>
                <c:pt idx="41">
                  <c:v>57220.952141350135</c:v>
                </c:pt>
                <c:pt idx="42">
                  <c:v>63649.057051198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1B4-4FA0-BE6F-9CE6806761A1}"/>
            </c:ext>
          </c:extLst>
        </c:ser>
        <c:ser>
          <c:idx val="3"/>
          <c:order val="3"/>
          <c:spPr>
            <a:solidFill>
              <a:srgbClr val="F38B00"/>
            </a:solidFill>
            <a:ln>
              <a:noFill/>
            </a:ln>
          </c:spPr>
          <c:val>
            <c:numRef>
              <c:f>Sheet1!$A$4:$AQ$4</c:f>
              <c:numCache>
                <c:formatCode>General</c:formatCode>
                <c:ptCount val="43"/>
                <c:pt idx="0">
                  <c:v>33.211349999999982</c:v>
                </c:pt>
                <c:pt idx="1">
                  <c:v>50.827710000000025</c:v>
                </c:pt>
                <c:pt idx="2">
                  <c:v>87.258359999999982</c:v>
                </c:pt>
                <c:pt idx="3">
                  <c:v>154.38405000000006</c:v>
                </c:pt>
                <c:pt idx="4">
                  <c:v>215.54637000000002</c:v>
                </c:pt>
                <c:pt idx="5">
                  <c:v>300.25337999999999</c:v>
                </c:pt>
                <c:pt idx="6">
                  <c:v>381.85059000000001</c:v>
                </c:pt>
                <c:pt idx="7">
                  <c:v>491.31555000000003</c:v>
                </c:pt>
                <c:pt idx="8">
                  <c:v>650.15187000000003</c:v>
                </c:pt>
                <c:pt idx="9">
                  <c:v>855.4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1B4-4FA0-BE6F-9CE6806761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7344920"/>
        <c:axId val="1"/>
      </c:areaChart>
      <c:catAx>
        <c:axId val="5173449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517344920"/>
        <c:crosses val="min"/>
        <c:crossBetween val="midCat"/>
        <c:majorUnit val="10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920417482061316E-2"/>
          <c:y val="2.388608176389527E-2"/>
          <c:w val="0.93215916503587737"/>
          <c:h val="0.952227836472209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hlink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2D-450D-819B-A4B0931DDA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2D-450D-819B-A4B0931DDA38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2D-450D-819B-A4B0931DDA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02D-450D-819B-A4B0931DDA38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0.1409001956947162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02D-450D-819B-A4B0931DDA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02D-450D-819B-A4B0931DDA38}"/>
            </c:ext>
          </c:extLst>
        </c:ser>
        <c:ser>
          <c:idx val="3"/>
          <c:order val="3"/>
          <c:spPr>
            <a:solidFill>
              <a:srgbClr val="FFCB84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02D-450D-819B-A4B0931DDA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100"/>
        <c:axId val="544293720"/>
        <c:axId val="1"/>
      </c:barChart>
      <c:catAx>
        <c:axId val="544293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442937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333333333333333"/>
          <c:y val="1.8413597733711051E-2"/>
          <c:w val="0.73333333333333328"/>
          <c:h val="0.963172804532577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960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DE-4108-8AF1-EE2CB3C39E3F}"/>
            </c:ext>
          </c:extLst>
        </c:ser>
        <c:ser>
          <c:idx val="1"/>
          <c:order val="1"/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8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DE-4108-8AF1-EE2CB3C39E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52113736"/>
        <c:axId val="1"/>
      </c:barChart>
      <c:catAx>
        <c:axId val="552113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52113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666666666666669"/>
          <c:y val="3.0110935023771792E-2"/>
          <c:w val="0.81535269709543567"/>
          <c:h val="0.93938193343898579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val>
            <c:numRef>
              <c:f>Sheet1!$A$1:$AQ$1</c:f>
              <c:numCache>
                <c:formatCode>General</c:formatCode>
                <c:ptCount val="43"/>
                <c:pt idx="10">
                  <c:v>209.29085400000005</c:v>
                </c:pt>
                <c:pt idx="11">
                  <c:v>227.31017400000005</c:v>
                </c:pt>
                <c:pt idx="12">
                  <c:v>247.13142600000003</c:v>
                </c:pt>
                <c:pt idx="13">
                  <c:v>268.93480319999998</c:v>
                </c:pt>
                <c:pt idx="14">
                  <c:v>292.91851811999999</c:v>
                </c:pt>
                <c:pt idx="15">
                  <c:v>319.30060453199997</c:v>
                </c:pt>
                <c:pt idx="16">
                  <c:v>348.32089958519998</c:v>
                </c:pt>
                <c:pt idx="17">
                  <c:v>380.24322414372</c:v>
                </c:pt>
                <c:pt idx="18">
                  <c:v>415.35778115809194</c:v>
                </c:pt>
                <c:pt idx="19">
                  <c:v>453.98379387390116</c:v>
                </c:pt>
                <c:pt idx="20">
                  <c:v>496.47240786129129</c:v>
                </c:pt>
                <c:pt idx="21">
                  <c:v>543.20988324742052</c:v>
                </c:pt>
                <c:pt idx="22">
                  <c:v>594.62110617216263</c:v>
                </c:pt>
                <c:pt idx="23">
                  <c:v>651.1734513893789</c:v>
                </c:pt>
                <c:pt idx="24">
                  <c:v>713.38103112831675</c:v>
                </c:pt>
                <c:pt idx="25">
                  <c:v>781.80936884114851</c:v>
                </c:pt>
                <c:pt idx="26">
                  <c:v>857.08054032526354</c:v>
                </c:pt>
                <c:pt idx="27">
                  <c:v>939.87882895778978</c:v>
                </c:pt>
                <c:pt idx="28">
                  <c:v>1030.9569464535689</c:v>
                </c:pt>
                <c:pt idx="29">
                  <c:v>1131.1428756989258</c:v>
                </c:pt>
                <c:pt idx="30">
                  <c:v>1241.3473978688185</c:v>
                </c:pt>
                <c:pt idx="31">
                  <c:v>1362.5723722557004</c:v>
                </c:pt>
                <c:pt idx="32">
                  <c:v>1495.9198440812702</c:v>
                </c:pt>
                <c:pt idx="33">
                  <c:v>1642.6020630893977</c:v>
                </c:pt>
                <c:pt idx="34">
                  <c:v>1803.9525039983375</c:v>
                </c:pt>
                <c:pt idx="35">
                  <c:v>1981.4379889981715</c:v>
                </c:pt>
                <c:pt idx="36">
                  <c:v>2176.6720224979886</c:v>
                </c:pt>
                <c:pt idx="37">
                  <c:v>2391.429459347788</c:v>
                </c:pt>
                <c:pt idx="38">
                  <c:v>2627.6626398825665</c:v>
                </c:pt>
                <c:pt idx="39">
                  <c:v>2887.5191384708232</c:v>
                </c:pt>
                <c:pt idx="40">
                  <c:v>3173.361286917906</c:v>
                </c:pt>
                <c:pt idx="41">
                  <c:v>3487.7876502096969</c:v>
                </c:pt>
                <c:pt idx="42">
                  <c:v>3833.656649830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A4-477A-9284-32D8C5E0599F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val>
            <c:numRef>
              <c:f>Sheet1!$A$2:$AQ$2</c:f>
              <c:numCache>
                <c:formatCode>General</c:formatCode>
                <c:ptCount val="43"/>
                <c:pt idx="0">
                  <c:v>53.985689999999998</c:v>
                </c:pt>
                <c:pt idx="1">
                  <c:v>75.107801999999992</c:v>
                </c:pt>
                <c:pt idx="2">
                  <c:v>85.704555000000013</c:v>
                </c:pt>
                <c:pt idx="3">
                  <c:v>100.030221</c:v>
                </c:pt>
                <c:pt idx="4">
                  <c:v>129.37381200000002</c:v>
                </c:pt>
                <c:pt idx="5">
                  <c:v>131.341746</c:v>
                </c:pt>
                <c:pt idx="6">
                  <c:v>140.66698499999998</c:v>
                </c:pt>
                <c:pt idx="7">
                  <c:v>158.93574600000002</c:v>
                </c:pt>
                <c:pt idx="8">
                  <c:v>178.01765400000005</c:v>
                </c:pt>
                <c:pt idx="9">
                  <c:v>192.909654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A4-477A-9284-32D8C5E0599F}"/>
            </c:ext>
          </c:extLst>
        </c:ser>
        <c:ser>
          <c:idx val="2"/>
          <c:order val="2"/>
          <c:spPr>
            <a:solidFill>
              <a:srgbClr val="FFC000"/>
            </a:solidFill>
            <a:ln>
              <a:noFill/>
            </a:ln>
          </c:spPr>
          <c:val>
            <c:numRef>
              <c:f>Sheet1!$A$3:$AQ$3</c:f>
              <c:numCache>
                <c:formatCode>General</c:formatCode>
                <c:ptCount val="43"/>
                <c:pt idx="10">
                  <c:v>124.77722099999997</c:v>
                </c:pt>
                <c:pt idx="11">
                  <c:v>152.86616100000006</c:v>
                </c:pt>
                <c:pt idx="12">
                  <c:v>183.76399500000002</c:v>
                </c:pt>
                <c:pt idx="13">
                  <c:v>217.75161240000006</c:v>
                </c:pt>
                <c:pt idx="14">
                  <c:v>255.13799154000009</c:v>
                </c:pt>
                <c:pt idx="15">
                  <c:v>296.2630085940001</c:v>
                </c:pt>
                <c:pt idx="16">
                  <c:v>341.50052735340012</c:v>
                </c:pt>
                <c:pt idx="17">
                  <c:v>391.26179798874023</c:v>
                </c:pt>
                <c:pt idx="18">
                  <c:v>445.99919568761425</c:v>
                </c:pt>
                <c:pt idx="19">
                  <c:v>506.21033315637567</c:v>
                </c:pt>
                <c:pt idx="20">
                  <c:v>572.44258437201347</c:v>
                </c:pt>
                <c:pt idx="21">
                  <c:v>645.29806070921472</c:v>
                </c:pt>
                <c:pt idx="22">
                  <c:v>725.43908468013638</c:v>
                </c:pt>
                <c:pt idx="23">
                  <c:v>813.59421104814987</c:v>
                </c:pt>
                <c:pt idx="24">
                  <c:v>910.56485005296497</c:v>
                </c:pt>
                <c:pt idx="25">
                  <c:v>1017.2325529582614</c:v>
                </c:pt>
                <c:pt idx="26">
                  <c:v>1134.5670261540881</c:v>
                </c:pt>
                <c:pt idx="27">
                  <c:v>1263.6349466694969</c:v>
                </c:pt>
                <c:pt idx="28">
                  <c:v>1405.6096592364465</c:v>
                </c:pt>
                <c:pt idx="29">
                  <c:v>1561.7818430600914</c:v>
                </c:pt>
                <c:pt idx="30">
                  <c:v>1733.5712452661005</c:v>
                </c:pt>
                <c:pt idx="31">
                  <c:v>1922.5395876927105</c:v>
                </c:pt>
                <c:pt idx="32">
                  <c:v>2130.4047643619815</c:v>
                </c:pt>
                <c:pt idx="33">
                  <c:v>2359.0564586981795</c:v>
                </c:pt>
                <c:pt idx="34">
                  <c:v>2610.573322467998</c:v>
                </c:pt>
                <c:pt idx="35">
                  <c:v>2887.2418726147976</c:v>
                </c:pt>
                <c:pt idx="36">
                  <c:v>3191.5772777762782</c:v>
                </c:pt>
                <c:pt idx="37">
                  <c:v>3526.3462234539056</c:v>
                </c:pt>
                <c:pt idx="38">
                  <c:v>3894.5920636992969</c:v>
                </c:pt>
                <c:pt idx="39">
                  <c:v>4299.6624879692263</c:v>
                </c:pt>
                <c:pt idx="40">
                  <c:v>4745.23995466615</c:v>
                </c:pt>
                <c:pt idx="41">
                  <c:v>5235.3751680327641</c:v>
                </c:pt>
                <c:pt idx="42">
                  <c:v>5774.5239027360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BA4-477A-9284-32D8C5E0599F}"/>
            </c:ext>
          </c:extLst>
        </c:ser>
        <c:ser>
          <c:idx val="3"/>
          <c:order val="3"/>
          <c:spPr>
            <a:solidFill>
              <a:srgbClr val="F38B00"/>
            </a:solidFill>
            <a:ln>
              <a:noFill/>
            </a:ln>
          </c:spPr>
          <c:val>
            <c:numRef>
              <c:f>Sheet1!$A$4:$AQ$4</c:f>
              <c:numCache>
                <c:formatCode>General</c:formatCode>
                <c:ptCount val="43"/>
                <c:pt idx="0">
                  <c:v>1.1729640000000003</c:v>
                </c:pt>
                <c:pt idx="1">
                  <c:v>1.3545150000000064</c:v>
                </c:pt>
                <c:pt idx="2">
                  <c:v>1.8974160000000069</c:v>
                </c:pt>
                <c:pt idx="3">
                  <c:v>3.336465000000004</c:v>
                </c:pt>
                <c:pt idx="4">
                  <c:v>6.9425190000000043</c:v>
                </c:pt>
                <c:pt idx="5">
                  <c:v>14.503275000000002</c:v>
                </c:pt>
                <c:pt idx="6">
                  <c:v>38.653280999999993</c:v>
                </c:pt>
                <c:pt idx="7">
                  <c:v>51.337542000000013</c:v>
                </c:pt>
                <c:pt idx="8">
                  <c:v>76.027821000000017</c:v>
                </c:pt>
                <c:pt idx="9">
                  <c:v>99.2418209999999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BA4-477A-9284-32D8C5E059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789608"/>
        <c:axId val="1"/>
      </c:areaChart>
      <c:catAx>
        <c:axId val="417789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417789608"/>
        <c:crosses val="min"/>
        <c:crossBetween val="midCat"/>
        <c:majorUnit val="1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333333333333333"/>
          <c:y val="2.1052631578947368E-2"/>
          <c:w val="0.73333333333333328"/>
          <c:h val="0.957894736842105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96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06-46C2-86AA-88049719B79B}"/>
            </c:ext>
          </c:extLst>
        </c:ser>
        <c:ser>
          <c:idx val="1"/>
          <c:order val="1"/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06-46C2-86AA-88049719B7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2520408"/>
        <c:axId val="1"/>
      </c:barChart>
      <c:catAx>
        <c:axId val="602520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25204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666666666666669"/>
          <c:y val="3.0110935023771792E-2"/>
          <c:w val="0.81535269709543567"/>
          <c:h val="0.93938193343898579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val>
            <c:numRef>
              <c:f>Sheet1!$A$1:$AQ$1</c:f>
              <c:numCache>
                <c:formatCode>General</c:formatCode>
                <c:ptCount val="43"/>
                <c:pt idx="10">
                  <c:v>83.263799999999989</c:v>
                </c:pt>
                <c:pt idx="11">
                  <c:v>95.453339999999983</c:v>
                </c:pt>
                <c:pt idx="12">
                  <c:v>108.86183399999997</c:v>
                </c:pt>
                <c:pt idx="13">
                  <c:v>123.61117739999999</c:v>
                </c:pt>
                <c:pt idx="14">
                  <c:v>139.83545513999997</c:v>
                </c:pt>
                <c:pt idx="15">
                  <c:v>157.68216065399997</c:v>
                </c:pt>
                <c:pt idx="16">
                  <c:v>177.31353671939996</c:v>
                </c:pt>
                <c:pt idx="17">
                  <c:v>198.90805039134003</c:v>
                </c:pt>
                <c:pt idx="18">
                  <c:v>222.66201543047401</c:v>
                </c:pt>
                <c:pt idx="19">
                  <c:v>248.79137697352141</c:v>
                </c:pt>
                <c:pt idx="20">
                  <c:v>277.53367467087355</c:v>
                </c:pt>
                <c:pt idx="21">
                  <c:v>309.15020213796095</c:v>
                </c:pt>
                <c:pt idx="22">
                  <c:v>343.92838235175702</c:v>
                </c:pt>
                <c:pt idx="23">
                  <c:v>382.18438058693278</c:v>
                </c:pt>
                <c:pt idx="24">
                  <c:v>424.26597864562598</c:v>
                </c:pt>
                <c:pt idx="25">
                  <c:v>470.55573651018869</c:v>
                </c:pt>
                <c:pt idx="26">
                  <c:v>521.47447016120748</c:v>
                </c:pt>
                <c:pt idx="27">
                  <c:v>577.48507717732844</c:v>
                </c:pt>
                <c:pt idx="28">
                  <c:v>639.09674489506119</c:v>
                </c:pt>
                <c:pt idx="29">
                  <c:v>706.86957938456749</c:v>
                </c:pt>
                <c:pt idx="30">
                  <c:v>781.41969732302414</c:v>
                </c:pt>
                <c:pt idx="31">
                  <c:v>863.42482705532666</c:v>
                </c:pt>
                <c:pt idx="32">
                  <c:v>953.63046976085934</c:v>
                </c:pt>
                <c:pt idx="33">
                  <c:v>1052.8566767369452</c:v>
                </c:pt>
                <c:pt idx="34">
                  <c:v>1162.0055044106398</c:v>
                </c:pt>
                <c:pt idx="35">
                  <c:v>1282.0692148517041</c:v>
                </c:pt>
                <c:pt idx="36">
                  <c:v>1414.1392963368746</c:v>
                </c:pt>
                <c:pt idx="37">
                  <c:v>1559.4163859705623</c:v>
                </c:pt>
                <c:pt idx="38">
                  <c:v>1719.2211845676186</c:v>
                </c:pt>
                <c:pt idx="39">
                  <c:v>1895.0064630243805</c:v>
                </c:pt>
                <c:pt idx="40">
                  <c:v>2088.3702693268187</c:v>
                </c:pt>
                <c:pt idx="41">
                  <c:v>2301.0704562595001</c:v>
                </c:pt>
                <c:pt idx="42">
                  <c:v>2535.0406618854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32-49E0-BD78-3D05DE31B36E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val>
            <c:numRef>
              <c:f>Sheet1!$A$2:$AQ$2</c:f>
              <c:numCache>
                <c:formatCode>General</c:formatCode>
                <c:ptCount val="43"/>
                <c:pt idx="0">
                  <c:v>21.9</c:v>
                </c:pt>
                <c:pt idx="1">
                  <c:v>24.09</c:v>
                </c:pt>
                <c:pt idx="2">
                  <c:v>28.612349999999999</c:v>
                </c:pt>
                <c:pt idx="3">
                  <c:v>35.223959999999998</c:v>
                </c:pt>
                <c:pt idx="4">
                  <c:v>40.341989999999996</c:v>
                </c:pt>
                <c:pt idx="5">
                  <c:v>44.128499999999995</c:v>
                </c:pt>
                <c:pt idx="6">
                  <c:v>49.198350000000005</c:v>
                </c:pt>
                <c:pt idx="7">
                  <c:v>54.22440000000001</c:v>
                </c:pt>
                <c:pt idx="8">
                  <c:v>62.10840000000001</c:v>
                </c:pt>
                <c:pt idx="9">
                  <c:v>72.182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32-49E0-BD78-3D05DE31B36E}"/>
            </c:ext>
          </c:extLst>
        </c:ser>
        <c:ser>
          <c:idx val="2"/>
          <c:order val="2"/>
          <c:spPr>
            <a:solidFill>
              <a:srgbClr val="FFC000"/>
            </a:solidFill>
            <a:ln>
              <a:noFill/>
            </a:ln>
          </c:spPr>
          <c:val>
            <c:numRef>
              <c:f>Sheet1!$A$3:$AQ$3</c:f>
              <c:numCache>
                <c:formatCode>General</c:formatCode>
                <c:ptCount val="43"/>
                <c:pt idx="10">
                  <c:v>48.399000000000015</c:v>
                </c:pt>
                <c:pt idx="11">
                  <c:v>64.298400000000001</c:v>
                </c:pt>
                <c:pt idx="12">
                  <c:v>81.787739999999999</c:v>
                </c:pt>
                <c:pt idx="13">
                  <c:v>101.02601400000002</c:v>
                </c:pt>
                <c:pt idx="14">
                  <c:v>122.18811540000002</c:v>
                </c:pt>
                <c:pt idx="15">
                  <c:v>145.46642694000002</c:v>
                </c:pt>
                <c:pt idx="16">
                  <c:v>171.07256963400005</c:v>
                </c:pt>
                <c:pt idx="17">
                  <c:v>199.23932659740009</c:v>
                </c:pt>
                <c:pt idx="18">
                  <c:v>230.22275925714013</c:v>
                </c:pt>
                <c:pt idx="19">
                  <c:v>264.30453518285412</c:v>
                </c:pt>
                <c:pt idx="20">
                  <c:v>301.79448870113958</c:v>
                </c:pt>
                <c:pt idx="21">
                  <c:v>343.03343757125356</c:v>
                </c:pt>
                <c:pt idx="22">
                  <c:v>388.3962813283789</c:v>
                </c:pt>
                <c:pt idx="23">
                  <c:v>438.29540946121688</c:v>
                </c:pt>
                <c:pt idx="24">
                  <c:v>493.18445040733866</c:v>
                </c:pt>
                <c:pt idx="25">
                  <c:v>553.56239544807238</c:v>
                </c:pt>
                <c:pt idx="26">
                  <c:v>619.97813499287975</c:v>
                </c:pt>
                <c:pt idx="27">
                  <c:v>693.0354484921678</c:v>
                </c:pt>
                <c:pt idx="28">
                  <c:v>773.39849334138466</c:v>
                </c:pt>
                <c:pt idx="29">
                  <c:v>861.79784267552304</c:v>
                </c:pt>
                <c:pt idx="30">
                  <c:v>959.03712694307524</c:v>
                </c:pt>
                <c:pt idx="31">
                  <c:v>1066.0003396373831</c:v>
                </c:pt>
                <c:pt idx="32">
                  <c:v>1183.659873601121</c:v>
                </c:pt>
                <c:pt idx="33">
                  <c:v>1313.0853609612336</c:v>
                </c:pt>
                <c:pt idx="34">
                  <c:v>1455.4533970573571</c:v>
                </c:pt>
                <c:pt idx="35">
                  <c:v>1612.0582367630932</c:v>
                </c:pt>
                <c:pt idx="36">
                  <c:v>1784.3235604394024</c:v>
                </c:pt>
                <c:pt idx="37">
                  <c:v>1973.8154164833431</c:v>
                </c:pt>
                <c:pt idx="38">
                  <c:v>2182.2564581316774</c:v>
                </c:pt>
                <c:pt idx="39">
                  <c:v>2411.5416039448455</c:v>
                </c:pt>
                <c:pt idx="40">
                  <c:v>2663.7552643393301</c:v>
                </c:pt>
                <c:pt idx="41">
                  <c:v>2941.1902907732638</c:v>
                </c:pt>
                <c:pt idx="42">
                  <c:v>3246.3688198505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732-49E0-BD78-3D05DE31B36E}"/>
            </c:ext>
          </c:extLst>
        </c:ser>
        <c:ser>
          <c:idx val="3"/>
          <c:order val="3"/>
          <c:spPr>
            <a:solidFill>
              <a:srgbClr val="F38B00"/>
            </a:solidFill>
            <a:ln>
              <a:noFill/>
            </a:ln>
          </c:spPr>
          <c:val>
            <c:numRef>
              <c:f>Sheet1!$A$4:$AQ$4</c:f>
              <c:numCache>
                <c:formatCode>General</c:formatCode>
                <c:ptCount val="43"/>
                <c:pt idx="0">
                  <c:v>2.1899999999998698E-2</c:v>
                </c:pt>
                <c:pt idx="1">
                  <c:v>2.6279999999999859E-2</c:v>
                </c:pt>
                <c:pt idx="2">
                  <c:v>8.1029999999998381E-2</c:v>
                </c:pt>
                <c:pt idx="3">
                  <c:v>1.2373499999999993</c:v>
                </c:pt>
                <c:pt idx="4">
                  <c:v>2.8053900000000027</c:v>
                </c:pt>
                <c:pt idx="5">
                  <c:v>5.0851800000000011</c:v>
                </c:pt>
                <c:pt idx="6">
                  <c:v>7.3868700000000018</c:v>
                </c:pt>
                <c:pt idx="7">
                  <c:v>12.044999999999995</c:v>
                </c:pt>
                <c:pt idx="8">
                  <c:v>20.805</c:v>
                </c:pt>
                <c:pt idx="9">
                  <c:v>33.944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32-49E0-BD78-3D05DE31B3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02320368"/>
        <c:axId val="1"/>
      </c:areaChart>
      <c:catAx>
        <c:axId val="602320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602320368"/>
        <c:crosses val="min"/>
        <c:crossBetween val="midCat"/>
        <c:majorUnit val="1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333333333333333"/>
          <c:y val="2.1052631578947368E-2"/>
          <c:w val="0.73333333333333328"/>
          <c:h val="0.957894736842105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5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40-4C1F-87FD-42E13BAA0BE4}"/>
            </c:ext>
          </c:extLst>
        </c:ser>
        <c:ser>
          <c:idx val="1"/>
          <c:order val="1"/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3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40-4C1F-87FD-42E13BAA0B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59719976"/>
        <c:axId val="1"/>
      </c:barChart>
      <c:catAx>
        <c:axId val="5597199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597199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945344129554655E-2"/>
          <c:y val="1.6768784263140921E-2"/>
          <c:w val="0.88385627530364375"/>
          <c:h val="0.9113189293776200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875</c:v>
                </c:pt>
                <c:pt idx="1">
                  <c:v>440</c:v>
                </c:pt>
                <c:pt idx="2">
                  <c:v>200</c:v>
                </c:pt>
                <c:pt idx="3">
                  <c:v>115</c:v>
                </c:pt>
                <c:pt idx="4">
                  <c:v>500</c:v>
                </c:pt>
                <c:pt idx="5">
                  <c:v>300</c:v>
                </c:pt>
                <c:pt idx="6">
                  <c:v>60</c:v>
                </c:pt>
                <c:pt idx="7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07-4FED-8793-1CBA8CA64895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2:$H$2</c:f>
              <c:numCache>
                <c:formatCode>General</c:formatCode>
                <c:ptCount val="8"/>
                <c:pt idx="0">
                  <c:v>125</c:v>
                </c:pt>
                <c:pt idx="1">
                  <c:v>560</c:v>
                </c:pt>
                <c:pt idx="2">
                  <c:v>800</c:v>
                </c:pt>
                <c:pt idx="3">
                  <c:v>885</c:v>
                </c:pt>
                <c:pt idx="4">
                  <c:v>500</c:v>
                </c:pt>
                <c:pt idx="5">
                  <c:v>700</c:v>
                </c:pt>
                <c:pt idx="6">
                  <c:v>940</c:v>
                </c:pt>
                <c:pt idx="7">
                  <c:v>999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707-4FED-8793-1CBA8CA648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0167808"/>
        <c:axId val="1"/>
      </c:barChart>
      <c:catAx>
        <c:axId val="5701678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Arial Unicode MS"/>
                <a:cs typeface="Arial Unicode MS"/>
                <a:sym typeface="+mn-lt"/>
              </a:defRPr>
            </a:pPr>
            <a:endParaRPr lang="en-US"/>
          </a:p>
        </c:txPr>
        <c:crossAx val="570167808"/>
        <c:crosses val="max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93657505285411E-2"/>
          <c:y val="2.5641025641025644E-2"/>
          <c:w val="0.97801268498942917"/>
          <c:h val="0.948717948717948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90C-4D43-96CA-38EF687E043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90C-4D43-96CA-38EF687E0438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90C-4D43-96CA-38EF687E043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90C-4D43-96CA-38EF687E04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1.713011655956002</c:v>
                </c:pt>
                <c:pt idx="1">
                  <c:v>78.618755059570546</c:v>
                </c:pt>
                <c:pt idx="2">
                  <c:v>369.36728650515499</c:v>
                </c:pt>
                <c:pt idx="3">
                  <c:v>275.29953817651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90C-4D43-96CA-38EF687E0438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90C-4D43-96CA-38EF687E043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90C-4D43-96CA-38EF687E0438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90C-4D43-96CA-38EF687E0438}"/>
                </c:ext>
              </c:extLst>
            </c:dLbl>
            <c:dLbl>
              <c:idx val="3"/>
              <c:layout>
                <c:manualLayout>
                  <c:x val="-3.382663847780127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90C-4D43-96CA-38EF687E04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54.727207129212012</c:v>
                </c:pt>
                <c:pt idx="1">
                  <c:v>92.911455462890004</c:v>
                </c:pt>
                <c:pt idx="2">
                  <c:v>123.25260650840244</c:v>
                </c:pt>
                <c:pt idx="3">
                  <c:v>79.9325777990476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90C-4D43-96CA-38EF687E0438}"/>
            </c:ext>
          </c:extLst>
        </c:ser>
        <c:ser>
          <c:idx val="2"/>
          <c:order val="2"/>
          <c:spPr>
            <a:solidFill>
              <a:schemeClr val="tx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90C-4D43-96CA-38EF687E043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90C-4D43-96CA-38EF687E04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163.853629945488</c:v>
                </c:pt>
                <c:pt idx="1">
                  <c:v>163.4466679049728</c:v>
                </c:pt>
                <c:pt idx="2">
                  <c:v>6.975433333333342</c:v>
                </c:pt>
                <c:pt idx="3">
                  <c:v>3.6400163333333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90C-4D43-96CA-38EF687E0438}"/>
            </c:ext>
          </c:extLst>
        </c:ser>
        <c:ser>
          <c:idx val="3"/>
          <c:order val="3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90C-4D43-96CA-38EF687E043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790C-4D43-96CA-38EF687E04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179.6037740053921</c:v>
                </c:pt>
                <c:pt idx="1">
                  <c:v>207.96044191028659</c:v>
                </c:pt>
                <c:pt idx="2">
                  <c:v>21.865483333333316</c:v>
                </c:pt>
                <c:pt idx="3">
                  <c:v>10.191638333333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90C-4D43-96CA-38EF687E0438}"/>
            </c:ext>
          </c:extLst>
        </c:ser>
        <c:ser>
          <c:idx val="4"/>
          <c:order val="4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790C-4D43-96CA-38EF687E043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790C-4D43-96CA-38EF687E0438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90C-4D43-96CA-38EF687E0438}"/>
                </c:ext>
              </c:extLst>
            </c:dLbl>
            <c:dLbl>
              <c:idx val="3"/>
              <c:layout>
                <c:manualLayout>
                  <c:x val="3.4038054968287525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790C-4D43-96CA-38EF687E04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D$5</c:f>
              <c:numCache>
                <c:formatCode>General</c:formatCode>
                <c:ptCount val="4"/>
                <c:pt idx="0">
                  <c:v>121.44143859937196</c:v>
                </c:pt>
                <c:pt idx="1">
                  <c:v>183.91128735033988</c:v>
                </c:pt>
                <c:pt idx="2">
                  <c:v>117.5375510813974</c:v>
                </c:pt>
                <c:pt idx="3">
                  <c:v>76.6869146862974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90C-4D43-96CA-38EF687E0438}"/>
            </c:ext>
          </c:extLst>
        </c:ser>
        <c:ser>
          <c:idx val="5"/>
          <c:order val="5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bg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790C-4D43-96CA-38EF687E04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D$6</c:f>
              <c:numCache>
                <c:formatCode>General</c:formatCode>
                <c:ptCount val="4"/>
                <c:pt idx="0">
                  <c:v>7.7686318090439954</c:v>
                </c:pt>
                <c:pt idx="1">
                  <c:v>69.303266971006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790C-4D43-96CA-38EF687E04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03622104"/>
        <c:axId val="1"/>
      </c:barChart>
      <c:catAx>
        <c:axId val="5036221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96.151874659066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03622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357959-8450-4FAA-9717-C54BE14E7D1F}" type="datetimeFigureOut">
              <a:rPr lang="en-GB" smtClean="0"/>
              <a:t>18/1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C17270-E61A-4EF9-BFFF-E48A025880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1430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79157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14367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57630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820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33722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54C76-941D-4572-9BEC-E35494EDA15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0428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54C76-941D-4572-9BEC-E35494EDA15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71724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9151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09825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54C76-941D-4572-9BEC-E35494EDA1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29282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0567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072988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9462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67597"/>
            <a:ext cx="4951206" cy="2447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8" y="9245445"/>
            <a:ext cx="142491" cy="16827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2051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54C76-941D-4572-9BEC-E35494EDA15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144888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54C76-941D-4572-9BEC-E35494EDA1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2888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54C76-941D-4572-9BEC-E35494EDA15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1690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66429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54C76-941D-4572-9BEC-E35494EDA1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20782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54C76-941D-4572-9BEC-E35494EDA1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036949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54C76-941D-4572-9BEC-E35494EDA1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180018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54C76-941D-4572-9BEC-E35494EDA1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41500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39770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54C76-941D-4572-9BEC-E35494EDA1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84465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67597"/>
            <a:ext cx="4951206" cy="2447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8" y="9245445"/>
            <a:ext cx="142491" cy="16827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0198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54C76-941D-4572-9BEC-E35494EDA1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23563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39021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85011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4011" y="5095302"/>
            <a:ext cx="4951206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2727" y="9295991"/>
            <a:ext cx="142491" cy="169190"/>
          </a:xfrm>
        </p:spPr>
        <p:txBody>
          <a:bodyPr/>
          <a:lstStyle/>
          <a:p>
            <a:pPr marL="0" marR="0" lvl="0" indent="0" algn="r" defTabSz="8701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701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9360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5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5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3.jp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3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4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3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8613" y="3587251"/>
            <a:ext cx="6714780" cy="497262"/>
            <a:chOff x="1663" y="3104"/>
            <a:chExt cx="3109" cy="30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noProof="0" dirty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3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noProof="0" dirty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6" name="Rectangle 5"/>
          <p:cNvSpPr/>
          <p:nvPr userDrawn="1"/>
        </p:nvSpPr>
        <p:spPr>
          <a:xfrm>
            <a:off x="0" y="1062990"/>
            <a:ext cx="7346557" cy="192962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200400"/>
            <a:ext cx="7346557" cy="800100"/>
          </a:xfrm>
          <a:prstGeom prst="rect">
            <a:avLst/>
          </a:prstGeom>
          <a:solidFill>
            <a:srgbClr val="95D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8057" y="3377021"/>
            <a:ext cx="15229857" cy="4159038"/>
          </a:xfrm>
          <a:prstGeom prst="rect">
            <a:avLst/>
          </a:prstGeom>
          <a:noFill/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8613" y="1806103"/>
            <a:ext cx="7006514" cy="471042"/>
          </a:xfrm>
          <a:prstGeom prst="rect">
            <a:avLst/>
          </a:prstGeom>
          <a:solidFill>
            <a:schemeClr val="tx2"/>
          </a:solidFill>
        </p:spPr>
        <p:txBody>
          <a:bodyPr wrap="square" anchor="b">
            <a:spAutoFit/>
          </a:bodyPr>
          <a:lstStyle>
            <a:lvl1pPr>
              <a:defRPr sz="3061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28613" y="3487853"/>
            <a:ext cx="7006514" cy="251222"/>
          </a:xfrm>
          <a:solidFill>
            <a:srgbClr val="95D600"/>
          </a:solidFill>
        </p:spPr>
        <p:txBody>
          <a:bodyPr wrap="square">
            <a:spAutoFit/>
          </a:bodyPr>
          <a:lstStyle>
            <a:lvl1pPr>
              <a:defRPr sz="1632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548" y="220027"/>
            <a:ext cx="2571751" cy="1002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814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Agenda layout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2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" y="1878"/>
            <a:ext cx="12191567" cy="6850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29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" t="10688" r="8889" b="11051"/>
          <a:stretch/>
        </p:blipFill>
        <p:spPr bwMode="auto">
          <a:xfrm>
            <a:off x="9573258" y="203853"/>
            <a:ext cx="2447953" cy="691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 userDrawn="1">
            <p:ph type="title"/>
          </p:nvPr>
        </p:nvSpPr>
        <p:spPr>
          <a:xfrm>
            <a:off x="836919" y="1299555"/>
            <a:ext cx="7943115" cy="502445"/>
          </a:xfrm>
        </p:spPr>
        <p:txBody>
          <a:bodyPr/>
          <a:lstStyle>
            <a:lvl1pPr>
              <a:defRPr sz="3265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56041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slide">
    <p:bg bwMode="auto"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1062990"/>
            <a:ext cx="7335127" cy="257175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9791" y="3375653"/>
            <a:ext cx="15229857" cy="4159038"/>
          </a:xfrm>
          <a:prstGeom prst="rect">
            <a:avLst/>
          </a:prstGeom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548" y="220027"/>
            <a:ext cx="2571751" cy="1002983"/>
          </a:xfrm>
          <a:prstGeom prst="rect">
            <a:avLst/>
          </a:prstGeom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301599" y="2694670"/>
            <a:ext cx="7010668" cy="502445"/>
          </a:xfrm>
          <a:solidFill>
            <a:schemeClr val="tx2"/>
          </a:solidFill>
        </p:spPr>
        <p:txBody>
          <a:bodyPr wrap="square" anchor="ctr">
            <a:spAutoFit/>
          </a:bodyPr>
          <a:lstStyle>
            <a:lvl1pPr>
              <a:defRPr sz="3265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9784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C541FD1-51B1-46C3-B767-FFBA4C9DE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1" i="0" baseline="0" dirty="0" err="1">
              <a:solidFill>
                <a:schemeClr val="tx1"/>
              </a:solidFill>
              <a:latin typeface="Century Gothic" panose="020B0502020202020204" pitchFamily="34" charset="0"/>
              <a:ea typeface="Arial Unicode MS"/>
              <a:sym typeface="Century Gothic" panose="020B0502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15147" y="367551"/>
            <a:ext cx="11788660" cy="314060"/>
          </a:xfrm>
        </p:spPr>
        <p:txBody>
          <a:bodyPr/>
          <a:lstStyle/>
          <a:p>
            <a:r>
              <a:rPr kumimoji="0" lang="en-US"/>
              <a:t>Click to edit Master title style</a:t>
            </a:r>
            <a:endParaRPr kumimoji="0"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215146" y="1474789"/>
            <a:ext cx="11788660" cy="1255793"/>
          </a:xfrm>
        </p:spPr>
        <p:txBody>
          <a:bodyPr/>
          <a:lstStyle/>
          <a:p>
            <a:pPr lvl="0" eaLnBrk="1" latinLnBrk="0" hangingPunct="1"/>
            <a:r>
              <a:rPr lang="en-US"/>
              <a:t>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82163" y="6510842"/>
            <a:ext cx="1016000" cy="184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A704AD-0E37-40CA-A7B5-19DE5AA2FEE3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03678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44" name="Object 4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33261" y="240242"/>
            <a:ext cx="10058751" cy="314028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6359FBD-6490-49D1-BAB0-819A0316BE44}"/>
              </a:ext>
            </a:extLst>
          </p:cNvPr>
          <p:cNvCxnSpPr>
            <a:cxnSpLocks/>
          </p:cNvCxnSpPr>
          <p:nvPr userDrawn="1"/>
        </p:nvCxnSpPr>
        <p:spPr>
          <a:xfrm>
            <a:off x="90" y="850791"/>
            <a:ext cx="1218685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2427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auto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44" name="Object 4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33261" y="240242"/>
            <a:ext cx="10058751" cy="314028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5" name="Group 138"/>
          <p:cNvGrpSpPr>
            <a:grpSpLocks/>
          </p:cNvGrpSpPr>
          <p:nvPr userDrawn="1"/>
        </p:nvGrpSpPr>
        <p:grpSpPr bwMode="auto">
          <a:xfrm>
            <a:off x="826123" y="789655"/>
            <a:ext cx="9742189" cy="6602870"/>
            <a:chOff x="538" y="563"/>
            <a:chExt cx="4592" cy="3233"/>
          </a:xfrm>
          <a:solidFill>
            <a:schemeClr val="bg2">
              <a:alpha val="36000"/>
            </a:schemeClr>
          </a:solidFill>
        </p:grpSpPr>
        <p:sp>
          <p:nvSpPr>
            <p:cNvPr id="6" name="Freeform 5"/>
            <p:cNvSpPr>
              <a:spLocks/>
            </p:cNvSpPr>
            <p:nvPr/>
          </p:nvSpPr>
          <p:spPr bwMode="gray">
            <a:xfrm>
              <a:off x="1378" y="3692"/>
              <a:ext cx="40" cy="26"/>
            </a:xfrm>
            <a:custGeom>
              <a:avLst/>
              <a:gdLst>
                <a:gd name="T0" fmla="*/ 29 w 81"/>
                <a:gd name="T1" fmla="*/ 0 h 52"/>
                <a:gd name="T2" fmla="*/ 0 w 81"/>
                <a:gd name="T3" fmla="*/ 29 h 52"/>
                <a:gd name="T4" fmla="*/ 29 w 81"/>
                <a:gd name="T5" fmla="*/ 52 h 52"/>
                <a:gd name="T6" fmla="*/ 52 w 81"/>
                <a:gd name="T7" fmla="*/ 52 h 52"/>
                <a:gd name="T8" fmla="*/ 52 w 81"/>
                <a:gd name="T9" fmla="*/ 29 h 52"/>
                <a:gd name="T10" fmla="*/ 81 w 81"/>
                <a:gd name="T11" fmla="*/ 29 h 52"/>
                <a:gd name="T12" fmla="*/ 52 w 81"/>
                <a:gd name="T13" fmla="*/ 0 h 52"/>
                <a:gd name="T14" fmla="*/ 29 w 81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52">
                  <a:moveTo>
                    <a:pt x="29" y="0"/>
                  </a:moveTo>
                  <a:lnTo>
                    <a:pt x="0" y="29"/>
                  </a:lnTo>
                  <a:lnTo>
                    <a:pt x="29" y="52"/>
                  </a:lnTo>
                  <a:lnTo>
                    <a:pt x="52" y="52"/>
                  </a:lnTo>
                  <a:lnTo>
                    <a:pt x="52" y="29"/>
                  </a:lnTo>
                  <a:lnTo>
                    <a:pt x="81" y="29"/>
                  </a:lnTo>
                  <a:lnTo>
                    <a:pt x="52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gray">
            <a:xfrm>
              <a:off x="1274" y="3744"/>
              <a:ext cx="78" cy="52"/>
            </a:xfrm>
            <a:custGeom>
              <a:avLst/>
              <a:gdLst>
                <a:gd name="T0" fmla="*/ 104 w 156"/>
                <a:gd name="T1" fmla="*/ 51 h 103"/>
                <a:gd name="T2" fmla="*/ 79 w 156"/>
                <a:gd name="T3" fmla="*/ 0 h 103"/>
                <a:gd name="T4" fmla="*/ 52 w 156"/>
                <a:gd name="T5" fmla="*/ 0 h 103"/>
                <a:gd name="T6" fmla="*/ 23 w 156"/>
                <a:gd name="T7" fmla="*/ 28 h 103"/>
                <a:gd name="T8" fmla="*/ 23 w 156"/>
                <a:gd name="T9" fmla="*/ 51 h 103"/>
                <a:gd name="T10" fmla="*/ 0 w 156"/>
                <a:gd name="T11" fmla="*/ 51 h 103"/>
                <a:gd name="T12" fmla="*/ 0 w 156"/>
                <a:gd name="T13" fmla="*/ 80 h 103"/>
                <a:gd name="T14" fmla="*/ 23 w 156"/>
                <a:gd name="T15" fmla="*/ 80 h 103"/>
                <a:gd name="T16" fmla="*/ 52 w 156"/>
                <a:gd name="T17" fmla="*/ 103 h 103"/>
                <a:gd name="T18" fmla="*/ 79 w 156"/>
                <a:gd name="T19" fmla="*/ 103 h 103"/>
                <a:gd name="T20" fmla="*/ 104 w 156"/>
                <a:gd name="T21" fmla="*/ 103 h 103"/>
                <a:gd name="T22" fmla="*/ 156 w 156"/>
                <a:gd name="T23" fmla="*/ 103 h 103"/>
                <a:gd name="T24" fmla="*/ 127 w 156"/>
                <a:gd name="T25" fmla="*/ 80 h 103"/>
                <a:gd name="T26" fmla="*/ 104 w 156"/>
                <a:gd name="T27" fmla="*/ 5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103">
                  <a:moveTo>
                    <a:pt x="104" y="51"/>
                  </a:moveTo>
                  <a:lnTo>
                    <a:pt x="79" y="0"/>
                  </a:lnTo>
                  <a:lnTo>
                    <a:pt x="52" y="0"/>
                  </a:lnTo>
                  <a:lnTo>
                    <a:pt x="23" y="28"/>
                  </a:lnTo>
                  <a:lnTo>
                    <a:pt x="23" y="51"/>
                  </a:lnTo>
                  <a:lnTo>
                    <a:pt x="0" y="51"/>
                  </a:lnTo>
                  <a:lnTo>
                    <a:pt x="0" y="80"/>
                  </a:lnTo>
                  <a:lnTo>
                    <a:pt x="23" y="80"/>
                  </a:lnTo>
                  <a:lnTo>
                    <a:pt x="52" y="103"/>
                  </a:lnTo>
                  <a:lnTo>
                    <a:pt x="79" y="103"/>
                  </a:lnTo>
                  <a:lnTo>
                    <a:pt x="104" y="103"/>
                  </a:lnTo>
                  <a:lnTo>
                    <a:pt x="156" y="103"/>
                  </a:lnTo>
                  <a:lnTo>
                    <a:pt x="127" y="80"/>
                  </a:lnTo>
                  <a:lnTo>
                    <a:pt x="104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gray">
            <a:xfrm>
              <a:off x="1118" y="2563"/>
              <a:ext cx="845" cy="1181"/>
            </a:xfrm>
            <a:custGeom>
              <a:avLst/>
              <a:gdLst>
                <a:gd name="T0" fmla="*/ 806 w 845"/>
                <a:gd name="T1" fmla="*/ 390 h 1181"/>
                <a:gd name="T2" fmla="*/ 741 w 845"/>
                <a:gd name="T3" fmla="*/ 350 h 1181"/>
                <a:gd name="T4" fmla="*/ 689 w 845"/>
                <a:gd name="T5" fmla="*/ 324 h 1181"/>
                <a:gd name="T6" fmla="*/ 664 w 845"/>
                <a:gd name="T7" fmla="*/ 297 h 1181"/>
                <a:gd name="T8" fmla="*/ 586 w 845"/>
                <a:gd name="T9" fmla="*/ 297 h 1181"/>
                <a:gd name="T10" fmla="*/ 597 w 845"/>
                <a:gd name="T11" fmla="*/ 286 h 1181"/>
                <a:gd name="T12" fmla="*/ 572 w 845"/>
                <a:gd name="T13" fmla="*/ 272 h 1181"/>
                <a:gd name="T14" fmla="*/ 572 w 845"/>
                <a:gd name="T15" fmla="*/ 272 h 1181"/>
                <a:gd name="T16" fmla="*/ 572 w 845"/>
                <a:gd name="T17" fmla="*/ 208 h 1181"/>
                <a:gd name="T18" fmla="*/ 533 w 845"/>
                <a:gd name="T19" fmla="*/ 182 h 1181"/>
                <a:gd name="T20" fmla="*/ 481 w 845"/>
                <a:gd name="T21" fmla="*/ 156 h 1181"/>
                <a:gd name="T22" fmla="*/ 389 w 845"/>
                <a:gd name="T23" fmla="*/ 90 h 1181"/>
                <a:gd name="T24" fmla="*/ 260 w 845"/>
                <a:gd name="T25" fmla="*/ 38 h 1181"/>
                <a:gd name="T26" fmla="*/ 208 w 845"/>
                <a:gd name="T27" fmla="*/ 26 h 1181"/>
                <a:gd name="T28" fmla="*/ 196 w 845"/>
                <a:gd name="T29" fmla="*/ 64 h 1181"/>
                <a:gd name="T30" fmla="*/ 196 w 845"/>
                <a:gd name="T31" fmla="*/ 0 h 1181"/>
                <a:gd name="T32" fmla="*/ 118 w 845"/>
                <a:gd name="T33" fmla="*/ 38 h 1181"/>
                <a:gd name="T34" fmla="*/ 78 w 845"/>
                <a:gd name="T35" fmla="*/ 90 h 1181"/>
                <a:gd name="T36" fmla="*/ 78 w 845"/>
                <a:gd name="T37" fmla="*/ 156 h 1181"/>
                <a:gd name="T38" fmla="*/ 13 w 845"/>
                <a:gd name="T39" fmla="*/ 234 h 1181"/>
                <a:gd name="T40" fmla="*/ 26 w 845"/>
                <a:gd name="T41" fmla="*/ 272 h 1181"/>
                <a:gd name="T42" fmla="*/ 26 w 845"/>
                <a:gd name="T43" fmla="*/ 338 h 1181"/>
                <a:gd name="T44" fmla="*/ 38 w 845"/>
                <a:gd name="T45" fmla="*/ 402 h 1181"/>
                <a:gd name="T46" fmla="*/ 105 w 845"/>
                <a:gd name="T47" fmla="*/ 506 h 1181"/>
                <a:gd name="T48" fmla="*/ 168 w 845"/>
                <a:gd name="T49" fmla="*/ 557 h 1181"/>
                <a:gd name="T50" fmla="*/ 182 w 845"/>
                <a:gd name="T51" fmla="*/ 701 h 1181"/>
                <a:gd name="T52" fmla="*/ 156 w 845"/>
                <a:gd name="T53" fmla="*/ 792 h 1181"/>
                <a:gd name="T54" fmla="*/ 130 w 845"/>
                <a:gd name="T55" fmla="*/ 921 h 1181"/>
                <a:gd name="T56" fmla="*/ 142 w 845"/>
                <a:gd name="T57" fmla="*/ 987 h 1181"/>
                <a:gd name="T58" fmla="*/ 130 w 845"/>
                <a:gd name="T59" fmla="*/ 1039 h 1181"/>
                <a:gd name="T60" fmla="*/ 118 w 845"/>
                <a:gd name="T61" fmla="*/ 1077 h 1181"/>
                <a:gd name="T62" fmla="*/ 118 w 845"/>
                <a:gd name="T63" fmla="*/ 1118 h 1181"/>
                <a:gd name="T64" fmla="*/ 130 w 845"/>
                <a:gd name="T65" fmla="*/ 1170 h 1181"/>
                <a:gd name="T66" fmla="*/ 142 w 845"/>
                <a:gd name="T67" fmla="*/ 1181 h 1181"/>
                <a:gd name="T68" fmla="*/ 182 w 845"/>
                <a:gd name="T69" fmla="*/ 1170 h 1181"/>
                <a:gd name="T70" fmla="*/ 220 w 845"/>
                <a:gd name="T71" fmla="*/ 1103 h 1181"/>
                <a:gd name="T72" fmla="*/ 208 w 845"/>
                <a:gd name="T73" fmla="*/ 1052 h 1181"/>
                <a:gd name="T74" fmla="*/ 260 w 845"/>
                <a:gd name="T75" fmla="*/ 1013 h 1181"/>
                <a:gd name="T76" fmla="*/ 260 w 845"/>
                <a:gd name="T77" fmla="*/ 987 h 1181"/>
                <a:gd name="T78" fmla="*/ 286 w 845"/>
                <a:gd name="T79" fmla="*/ 948 h 1181"/>
                <a:gd name="T80" fmla="*/ 378 w 845"/>
                <a:gd name="T81" fmla="*/ 895 h 1181"/>
                <a:gd name="T82" fmla="*/ 416 w 845"/>
                <a:gd name="T83" fmla="*/ 884 h 1181"/>
                <a:gd name="T84" fmla="*/ 468 w 845"/>
                <a:gd name="T85" fmla="*/ 832 h 1181"/>
                <a:gd name="T86" fmla="*/ 546 w 845"/>
                <a:gd name="T87" fmla="*/ 727 h 1181"/>
                <a:gd name="T88" fmla="*/ 638 w 845"/>
                <a:gd name="T89" fmla="*/ 688 h 1181"/>
                <a:gd name="T90" fmla="*/ 728 w 845"/>
                <a:gd name="T91" fmla="*/ 609 h 1181"/>
                <a:gd name="T92" fmla="*/ 754 w 845"/>
                <a:gd name="T93" fmla="*/ 520 h 1181"/>
                <a:gd name="T94" fmla="*/ 831 w 845"/>
                <a:gd name="T95" fmla="*/ 468 h 1181"/>
                <a:gd name="T96" fmla="*/ 831 w 845"/>
                <a:gd name="T97" fmla="*/ 390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45" h="1181">
                  <a:moveTo>
                    <a:pt x="831" y="390"/>
                  </a:moveTo>
                  <a:lnTo>
                    <a:pt x="819" y="390"/>
                  </a:lnTo>
                  <a:lnTo>
                    <a:pt x="806" y="390"/>
                  </a:lnTo>
                  <a:lnTo>
                    <a:pt x="767" y="350"/>
                  </a:lnTo>
                  <a:lnTo>
                    <a:pt x="754" y="338"/>
                  </a:lnTo>
                  <a:lnTo>
                    <a:pt x="741" y="350"/>
                  </a:lnTo>
                  <a:lnTo>
                    <a:pt x="715" y="338"/>
                  </a:lnTo>
                  <a:lnTo>
                    <a:pt x="675" y="338"/>
                  </a:lnTo>
                  <a:lnTo>
                    <a:pt x="689" y="324"/>
                  </a:lnTo>
                  <a:lnTo>
                    <a:pt x="675" y="324"/>
                  </a:lnTo>
                  <a:lnTo>
                    <a:pt x="675" y="312"/>
                  </a:lnTo>
                  <a:lnTo>
                    <a:pt x="664" y="297"/>
                  </a:lnTo>
                  <a:lnTo>
                    <a:pt x="623" y="297"/>
                  </a:lnTo>
                  <a:lnTo>
                    <a:pt x="597" y="312"/>
                  </a:lnTo>
                  <a:lnTo>
                    <a:pt x="586" y="297"/>
                  </a:lnTo>
                  <a:lnTo>
                    <a:pt x="597" y="297"/>
                  </a:lnTo>
                  <a:lnTo>
                    <a:pt x="612" y="286"/>
                  </a:lnTo>
                  <a:lnTo>
                    <a:pt x="597" y="286"/>
                  </a:lnTo>
                  <a:lnTo>
                    <a:pt x="572" y="297"/>
                  </a:lnTo>
                  <a:lnTo>
                    <a:pt x="546" y="297"/>
                  </a:lnTo>
                  <a:lnTo>
                    <a:pt x="572" y="272"/>
                  </a:lnTo>
                  <a:lnTo>
                    <a:pt x="586" y="286"/>
                  </a:lnTo>
                  <a:lnTo>
                    <a:pt x="586" y="272"/>
                  </a:lnTo>
                  <a:lnTo>
                    <a:pt x="572" y="272"/>
                  </a:lnTo>
                  <a:lnTo>
                    <a:pt x="597" y="246"/>
                  </a:lnTo>
                  <a:lnTo>
                    <a:pt x="586" y="234"/>
                  </a:lnTo>
                  <a:lnTo>
                    <a:pt x="572" y="208"/>
                  </a:lnTo>
                  <a:lnTo>
                    <a:pt x="560" y="194"/>
                  </a:lnTo>
                  <a:lnTo>
                    <a:pt x="546" y="182"/>
                  </a:lnTo>
                  <a:lnTo>
                    <a:pt x="533" y="182"/>
                  </a:lnTo>
                  <a:lnTo>
                    <a:pt x="520" y="168"/>
                  </a:lnTo>
                  <a:lnTo>
                    <a:pt x="494" y="156"/>
                  </a:lnTo>
                  <a:lnTo>
                    <a:pt x="481" y="156"/>
                  </a:lnTo>
                  <a:lnTo>
                    <a:pt x="456" y="156"/>
                  </a:lnTo>
                  <a:lnTo>
                    <a:pt x="430" y="116"/>
                  </a:lnTo>
                  <a:lnTo>
                    <a:pt x="389" y="90"/>
                  </a:lnTo>
                  <a:lnTo>
                    <a:pt x="389" y="78"/>
                  </a:lnTo>
                  <a:lnTo>
                    <a:pt x="363" y="52"/>
                  </a:lnTo>
                  <a:lnTo>
                    <a:pt x="260" y="38"/>
                  </a:lnTo>
                  <a:lnTo>
                    <a:pt x="248" y="26"/>
                  </a:lnTo>
                  <a:lnTo>
                    <a:pt x="220" y="13"/>
                  </a:lnTo>
                  <a:lnTo>
                    <a:pt x="208" y="26"/>
                  </a:lnTo>
                  <a:lnTo>
                    <a:pt x="196" y="38"/>
                  </a:lnTo>
                  <a:lnTo>
                    <a:pt x="208" y="52"/>
                  </a:lnTo>
                  <a:lnTo>
                    <a:pt x="196" y="64"/>
                  </a:lnTo>
                  <a:lnTo>
                    <a:pt x="196" y="52"/>
                  </a:lnTo>
                  <a:lnTo>
                    <a:pt x="182" y="26"/>
                  </a:lnTo>
                  <a:lnTo>
                    <a:pt x="196" y="0"/>
                  </a:lnTo>
                  <a:lnTo>
                    <a:pt x="182" y="0"/>
                  </a:lnTo>
                  <a:lnTo>
                    <a:pt x="118" y="26"/>
                  </a:lnTo>
                  <a:lnTo>
                    <a:pt x="118" y="38"/>
                  </a:lnTo>
                  <a:lnTo>
                    <a:pt x="105" y="64"/>
                  </a:lnTo>
                  <a:lnTo>
                    <a:pt x="90" y="64"/>
                  </a:lnTo>
                  <a:lnTo>
                    <a:pt x="78" y="90"/>
                  </a:lnTo>
                  <a:lnTo>
                    <a:pt x="90" y="130"/>
                  </a:lnTo>
                  <a:lnTo>
                    <a:pt x="78" y="130"/>
                  </a:lnTo>
                  <a:lnTo>
                    <a:pt x="78" y="156"/>
                  </a:lnTo>
                  <a:lnTo>
                    <a:pt x="38" y="182"/>
                  </a:lnTo>
                  <a:lnTo>
                    <a:pt x="26" y="194"/>
                  </a:lnTo>
                  <a:lnTo>
                    <a:pt x="13" y="234"/>
                  </a:lnTo>
                  <a:lnTo>
                    <a:pt x="13" y="260"/>
                  </a:lnTo>
                  <a:lnTo>
                    <a:pt x="26" y="246"/>
                  </a:lnTo>
                  <a:lnTo>
                    <a:pt x="26" y="272"/>
                  </a:lnTo>
                  <a:lnTo>
                    <a:pt x="0" y="286"/>
                  </a:lnTo>
                  <a:lnTo>
                    <a:pt x="0" y="324"/>
                  </a:lnTo>
                  <a:lnTo>
                    <a:pt x="26" y="338"/>
                  </a:lnTo>
                  <a:lnTo>
                    <a:pt x="26" y="364"/>
                  </a:lnTo>
                  <a:lnTo>
                    <a:pt x="38" y="364"/>
                  </a:lnTo>
                  <a:lnTo>
                    <a:pt x="38" y="402"/>
                  </a:lnTo>
                  <a:lnTo>
                    <a:pt x="78" y="441"/>
                  </a:lnTo>
                  <a:lnTo>
                    <a:pt x="78" y="468"/>
                  </a:lnTo>
                  <a:lnTo>
                    <a:pt x="105" y="506"/>
                  </a:lnTo>
                  <a:lnTo>
                    <a:pt x="156" y="532"/>
                  </a:lnTo>
                  <a:lnTo>
                    <a:pt x="168" y="557"/>
                  </a:lnTo>
                  <a:lnTo>
                    <a:pt x="168" y="557"/>
                  </a:lnTo>
                  <a:lnTo>
                    <a:pt x="182" y="572"/>
                  </a:lnTo>
                  <a:lnTo>
                    <a:pt x="168" y="688"/>
                  </a:lnTo>
                  <a:lnTo>
                    <a:pt x="182" y="701"/>
                  </a:lnTo>
                  <a:lnTo>
                    <a:pt x="156" y="714"/>
                  </a:lnTo>
                  <a:lnTo>
                    <a:pt x="142" y="766"/>
                  </a:lnTo>
                  <a:lnTo>
                    <a:pt x="156" y="792"/>
                  </a:lnTo>
                  <a:lnTo>
                    <a:pt x="142" y="869"/>
                  </a:lnTo>
                  <a:lnTo>
                    <a:pt x="118" y="895"/>
                  </a:lnTo>
                  <a:lnTo>
                    <a:pt x="130" y="921"/>
                  </a:lnTo>
                  <a:lnTo>
                    <a:pt x="130" y="961"/>
                  </a:lnTo>
                  <a:lnTo>
                    <a:pt x="142" y="974"/>
                  </a:lnTo>
                  <a:lnTo>
                    <a:pt x="142" y="987"/>
                  </a:lnTo>
                  <a:lnTo>
                    <a:pt x="130" y="1000"/>
                  </a:lnTo>
                  <a:lnTo>
                    <a:pt x="142" y="1026"/>
                  </a:lnTo>
                  <a:lnTo>
                    <a:pt x="130" y="1039"/>
                  </a:lnTo>
                  <a:lnTo>
                    <a:pt x="105" y="1052"/>
                  </a:lnTo>
                  <a:lnTo>
                    <a:pt x="118" y="1065"/>
                  </a:lnTo>
                  <a:lnTo>
                    <a:pt x="118" y="1077"/>
                  </a:lnTo>
                  <a:lnTo>
                    <a:pt x="130" y="1077"/>
                  </a:lnTo>
                  <a:lnTo>
                    <a:pt x="118" y="1092"/>
                  </a:lnTo>
                  <a:lnTo>
                    <a:pt x="118" y="1118"/>
                  </a:lnTo>
                  <a:lnTo>
                    <a:pt x="118" y="1144"/>
                  </a:lnTo>
                  <a:lnTo>
                    <a:pt x="130" y="1155"/>
                  </a:lnTo>
                  <a:lnTo>
                    <a:pt x="130" y="1170"/>
                  </a:lnTo>
                  <a:lnTo>
                    <a:pt x="142" y="1170"/>
                  </a:lnTo>
                  <a:lnTo>
                    <a:pt x="156" y="1170"/>
                  </a:lnTo>
                  <a:lnTo>
                    <a:pt x="142" y="1181"/>
                  </a:lnTo>
                  <a:lnTo>
                    <a:pt x="156" y="1181"/>
                  </a:lnTo>
                  <a:lnTo>
                    <a:pt x="168" y="1170"/>
                  </a:lnTo>
                  <a:lnTo>
                    <a:pt x="182" y="1170"/>
                  </a:lnTo>
                  <a:lnTo>
                    <a:pt x="182" y="1155"/>
                  </a:lnTo>
                  <a:lnTo>
                    <a:pt x="182" y="1144"/>
                  </a:lnTo>
                  <a:lnTo>
                    <a:pt x="220" y="1103"/>
                  </a:lnTo>
                  <a:lnTo>
                    <a:pt x="220" y="1077"/>
                  </a:lnTo>
                  <a:lnTo>
                    <a:pt x="208" y="1077"/>
                  </a:lnTo>
                  <a:lnTo>
                    <a:pt x="208" y="1052"/>
                  </a:lnTo>
                  <a:lnTo>
                    <a:pt x="234" y="1052"/>
                  </a:lnTo>
                  <a:lnTo>
                    <a:pt x="248" y="1013"/>
                  </a:lnTo>
                  <a:lnTo>
                    <a:pt x="260" y="1013"/>
                  </a:lnTo>
                  <a:lnTo>
                    <a:pt x="260" y="1000"/>
                  </a:lnTo>
                  <a:lnTo>
                    <a:pt x="248" y="1000"/>
                  </a:lnTo>
                  <a:lnTo>
                    <a:pt x="260" y="987"/>
                  </a:lnTo>
                  <a:lnTo>
                    <a:pt x="286" y="974"/>
                  </a:lnTo>
                  <a:lnTo>
                    <a:pt x="300" y="961"/>
                  </a:lnTo>
                  <a:lnTo>
                    <a:pt x="286" y="948"/>
                  </a:lnTo>
                  <a:lnTo>
                    <a:pt x="338" y="948"/>
                  </a:lnTo>
                  <a:lnTo>
                    <a:pt x="363" y="935"/>
                  </a:lnTo>
                  <a:lnTo>
                    <a:pt x="378" y="895"/>
                  </a:lnTo>
                  <a:lnTo>
                    <a:pt x="352" y="858"/>
                  </a:lnTo>
                  <a:lnTo>
                    <a:pt x="378" y="869"/>
                  </a:lnTo>
                  <a:lnTo>
                    <a:pt x="416" y="884"/>
                  </a:lnTo>
                  <a:lnTo>
                    <a:pt x="442" y="858"/>
                  </a:lnTo>
                  <a:lnTo>
                    <a:pt x="474" y="816"/>
                  </a:lnTo>
                  <a:lnTo>
                    <a:pt x="468" y="832"/>
                  </a:lnTo>
                  <a:lnTo>
                    <a:pt x="481" y="832"/>
                  </a:lnTo>
                  <a:lnTo>
                    <a:pt x="533" y="780"/>
                  </a:lnTo>
                  <a:lnTo>
                    <a:pt x="546" y="727"/>
                  </a:lnTo>
                  <a:lnTo>
                    <a:pt x="597" y="701"/>
                  </a:lnTo>
                  <a:lnTo>
                    <a:pt x="612" y="701"/>
                  </a:lnTo>
                  <a:lnTo>
                    <a:pt x="638" y="688"/>
                  </a:lnTo>
                  <a:lnTo>
                    <a:pt x="664" y="688"/>
                  </a:lnTo>
                  <a:lnTo>
                    <a:pt x="675" y="688"/>
                  </a:lnTo>
                  <a:lnTo>
                    <a:pt x="728" y="609"/>
                  </a:lnTo>
                  <a:lnTo>
                    <a:pt x="741" y="583"/>
                  </a:lnTo>
                  <a:lnTo>
                    <a:pt x="754" y="557"/>
                  </a:lnTo>
                  <a:lnTo>
                    <a:pt x="754" y="520"/>
                  </a:lnTo>
                  <a:lnTo>
                    <a:pt x="767" y="520"/>
                  </a:lnTo>
                  <a:lnTo>
                    <a:pt x="819" y="468"/>
                  </a:lnTo>
                  <a:lnTo>
                    <a:pt x="831" y="468"/>
                  </a:lnTo>
                  <a:lnTo>
                    <a:pt x="845" y="441"/>
                  </a:lnTo>
                  <a:lnTo>
                    <a:pt x="845" y="402"/>
                  </a:lnTo>
                  <a:lnTo>
                    <a:pt x="831" y="39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gray">
            <a:xfrm>
              <a:off x="2060" y="1227"/>
              <a:ext cx="142" cy="90"/>
            </a:xfrm>
            <a:custGeom>
              <a:avLst/>
              <a:gdLst>
                <a:gd name="T0" fmla="*/ 52 w 142"/>
                <a:gd name="T1" fmla="*/ 12 h 90"/>
                <a:gd name="T2" fmla="*/ 52 w 142"/>
                <a:gd name="T3" fmla="*/ 26 h 90"/>
                <a:gd name="T4" fmla="*/ 38 w 142"/>
                <a:gd name="T5" fmla="*/ 26 h 90"/>
                <a:gd name="T6" fmla="*/ 38 w 142"/>
                <a:gd name="T7" fmla="*/ 12 h 90"/>
                <a:gd name="T8" fmla="*/ 26 w 142"/>
                <a:gd name="T9" fmla="*/ 0 h 90"/>
                <a:gd name="T10" fmla="*/ 12 w 142"/>
                <a:gd name="T11" fmla="*/ 0 h 90"/>
                <a:gd name="T12" fmla="*/ 12 w 142"/>
                <a:gd name="T13" fmla="*/ 12 h 90"/>
                <a:gd name="T14" fmla="*/ 26 w 142"/>
                <a:gd name="T15" fmla="*/ 12 h 90"/>
                <a:gd name="T16" fmla="*/ 12 w 142"/>
                <a:gd name="T17" fmla="*/ 12 h 90"/>
                <a:gd name="T18" fmla="*/ 0 w 142"/>
                <a:gd name="T19" fmla="*/ 12 h 90"/>
                <a:gd name="T20" fmla="*/ 0 w 142"/>
                <a:gd name="T21" fmla="*/ 26 h 90"/>
                <a:gd name="T22" fmla="*/ 12 w 142"/>
                <a:gd name="T23" fmla="*/ 26 h 90"/>
                <a:gd name="T24" fmla="*/ 26 w 142"/>
                <a:gd name="T25" fmla="*/ 38 h 90"/>
                <a:gd name="T26" fmla="*/ 38 w 142"/>
                <a:gd name="T27" fmla="*/ 38 h 90"/>
                <a:gd name="T28" fmla="*/ 38 w 142"/>
                <a:gd name="T29" fmla="*/ 52 h 90"/>
                <a:gd name="T30" fmla="*/ 26 w 142"/>
                <a:gd name="T31" fmla="*/ 52 h 90"/>
                <a:gd name="T32" fmla="*/ 12 w 142"/>
                <a:gd name="T33" fmla="*/ 52 h 90"/>
                <a:gd name="T34" fmla="*/ 26 w 142"/>
                <a:gd name="T35" fmla="*/ 64 h 90"/>
                <a:gd name="T36" fmla="*/ 38 w 142"/>
                <a:gd name="T37" fmla="*/ 64 h 90"/>
                <a:gd name="T38" fmla="*/ 26 w 142"/>
                <a:gd name="T39" fmla="*/ 64 h 90"/>
                <a:gd name="T40" fmla="*/ 26 w 142"/>
                <a:gd name="T41" fmla="*/ 78 h 90"/>
                <a:gd name="T42" fmla="*/ 38 w 142"/>
                <a:gd name="T43" fmla="*/ 90 h 90"/>
                <a:gd name="T44" fmla="*/ 52 w 142"/>
                <a:gd name="T45" fmla="*/ 90 h 90"/>
                <a:gd name="T46" fmla="*/ 64 w 142"/>
                <a:gd name="T47" fmla="*/ 90 h 90"/>
                <a:gd name="T48" fmla="*/ 78 w 142"/>
                <a:gd name="T49" fmla="*/ 78 h 90"/>
                <a:gd name="T50" fmla="*/ 104 w 142"/>
                <a:gd name="T51" fmla="*/ 90 h 90"/>
                <a:gd name="T52" fmla="*/ 116 w 142"/>
                <a:gd name="T53" fmla="*/ 78 h 90"/>
                <a:gd name="T54" fmla="*/ 116 w 142"/>
                <a:gd name="T55" fmla="*/ 64 h 90"/>
                <a:gd name="T56" fmla="*/ 130 w 142"/>
                <a:gd name="T57" fmla="*/ 64 h 90"/>
                <a:gd name="T58" fmla="*/ 142 w 142"/>
                <a:gd name="T59" fmla="*/ 52 h 90"/>
                <a:gd name="T60" fmla="*/ 142 w 142"/>
                <a:gd name="T61" fmla="*/ 38 h 90"/>
                <a:gd name="T62" fmla="*/ 142 w 142"/>
                <a:gd name="T63" fmla="*/ 26 h 90"/>
                <a:gd name="T64" fmla="*/ 130 w 142"/>
                <a:gd name="T65" fmla="*/ 26 h 90"/>
                <a:gd name="T66" fmla="*/ 130 w 142"/>
                <a:gd name="T67" fmla="*/ 12 h 90"/>
                <a:gd name="T68" fmla="*/ 116 w 142"/>
                <a:gd name="T69" fmla="*/ 12 h 90"/>
                <a:gd name="T70" fmla="*/ 104 w 142"/>
                <a:gd name="T71" fmla="*/ 12 h 90"/>
                <a:gd name="T72" fmla="*/ 90 w 142"/>
                <a:gd name="T73" fmla="*/ 12 h 90"/>
                <a:gd name="T74" fmla="*/ 78 w 142"/>
                <a:gd name="T75" fmla="*/ 26 h 90"/>
                <a:gd name="T76" fmla="*/ 78 w 142"/>
                <a:gd name="T77" fmla="*/ 12 h 90"/>
                <a:gd name="T78" fmla="*/ 64 w 142"/>
                <a:gd name="T79" fmla="*/ 12 h 90"/>
                <a:gd name="T80" fmla="*/ 52 w 142"/>
                <a:gd name="T81" fmla="*/ 12 h 90"/>
                <a:gd name="T82" fmla="*/ 52 w 142"/>
                <a:gd name="T8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2" h="90">
                  <a:moveTo>
                    <a:pt x="52" y="12"/>
                  </a:moveTo>
                  <a:lnTo>
                    <a:pt x="52" y="26"/>
                  </a:lnTo>
                  <a:lnTo>
                    <a:pt x="38" y="26"/>
                  </a:lnTo>
                  <a:lnTo>
                    <a:pt x="38" y="12"/>
                  </a:lnTo>
                  <a:lnTo>
                    <a:pt x="2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26" y="12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26"/>
                  </a:lnTo>
                  <a:lnTo>
                    <a:pt x="12" y="26"/>
                  </a:lnTo>
                  <a:lnTo>
                    <a:pt x="26" y="38"/>
                  </a:lnTo>
                  <a:lnTo>
                    <a:pt x="38" y="38"/>
                  </a:lnTo>
                  <a:lnTo>
                    <a:pt x="38" y="52"/>
                  </a:lnTo>
                  <a:lnTo>
                    <a:pt x="26" y="52"/>
                  </a:lnTo>
                  <a:lnTo>
                    <a:pt x="12" y="52"/>
                  </a:lnTo>
                  <a:lnTo>
                    <a:pt x="26" y="64"/>
                  </a:lnTo>
                  <a:lnTo>
                    <a:pt x="38" y="64"/>
                  </a:lnTo>
                  <a:lnTo>
                    <a:pt x="26" y="64"/>
                  </a:lnTo>
                  <a:lnTo>
                    <a:pt x="26" y="78"/>
                  </a:lnTo>
                  <a:lnTo>
                    <a:pt x="38" y="90"/>
                  </a:lnTo>
                  <a:lnTo>
                    <a:pt x="52" y="90"/>
                  </a:lnTo>
                  <a:lnTo>
                    <a:pt x="64" y="90"/>
                  </a:lnTo>
                  <a:lnTo>
                    <a:pt x="78" y="78"/>
                  </a:lnTo>
                  <a:lnTo>
                    <a:pt x="104" y="90"/>
                  </a:lnTo>
                  <a:lnTo>
                    <a:pt x="116" y="78"/>
                  </a:lnTo>
                  <a:lnTo>
                    <a:pt x="116" y="64"/>
                  </a:lnTo>
                  <a:lnTo>
                    <a:pt x="130" y="64"/>
                  </a:lnTo>
                  <a:lnTo>
                    <a:pt x="142" y="52"/>
                  </a:lnTo>
                  <a:lnTo>
                    <a:pt x="142" y="38"/>
                  </a:lnTo>
                  <a:lnTo>
                    <a:pt x="142" y="26"/>
                  </a:lnTo>
                  <a:lnTo>
                    <a:pt x="130" y="26"/>
                  </a:lnTo>
                  <a:lnTo>
                    <a:pt x="130" y="12"/>
                  </a:lnTo>
                  <a:lnTo>
                    <a:pt x="116" y="12"/>
                  </a:lnTo>
                  <a:lnTo>
                    <a:pt x="104" y="12"/>
                  </a:lnTo>
                  <a:lnTo>
                    <a:pt x="90" y="12"/>
                  </a:lnTo>
                  <a:lnTo>
                    <a:pt x="78" y="26"/>
                  </a:lnTo>
                  <a:lnTo>
                    <a:pt x="78" y="12"/>
                  </a:lnTo>
                  <a:lnTo>
                    <a:pt x="64" y="12"/>
                  </a:lnTo>
                  <a:lnTo>
                    <a:pt x="52" y="12"/>
                  </a:lnTo>
                  <a:lnTo>
                    <a:pt x="52" y="12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gray">
            <a:xfrm>
              <a:off x="1708" y="615"/>
              <a:ext cx="442" cy="702"/>
            </a:xfrm>
            <a:custGeom>
              <a:avLst/>
              <a:gdLst>
                <a:gd name="T0" fmla="*/ 156 w 442"/>
                <a:gd name="T1" fmla="*/ 66 h 702"/>
                <a:gd name="T2" fmla="*/ 118 w 442"/>
                <a:gd name="T3" fmla="*/ 92 h 702"/>
                <a:gd name="T4" fmla="*/ 92 w 442"/>
                <a:gd name="T5" fmla="*/ 118 h 702"/>
                <a:gd name="T6" fmla="*/ 66 w 442"/>
                <a:gd name="T7" fmla="*/ 144 h 702"/>
                <a:gd name="T8" fmla="*/ 66 w 442"/>
                <a:gd name="T9" fmla="*/ 196 h 702"/>
                <a:gd name="T10" fmla="*/ 0 w 442"/>
                <a:gd name="T11" fmla="*/ 234 h 702"/>
                <a:gd name="T12" fmla="*/ 40 w 442"/>
                <a:gd name="T13" fmla="*/ 274 h 702"/>
                <a:gd name="T14" fmla="*/ 14 w 442"/>
                <a:gd name="T15" fmla="*/ 300 h 702"/>
                <a:gd name="T16" fmla="*/ 66 w 442"/>
                <a:gd name="T17" fmla="*/ 312 h 702"/>
                <a:gd name="T18" fmla="*/ 104 w 442"/>
                <a:gd name="T19" fmla="*/ 326 h 702"/>
                <a:gd name="T20" fmla="*/ 130 w 442"/>
                <a:gd name="T21" fmla="*/ 378 h 702"/>
                <a:gd name="T22" fmla="*/ 144 w 442"/>
                <a:gd name="T23" fmla="*/ 416 h 702"/>
                <a:gd name="T24" fmla="*/ 156 w 442"/>
                <a:gd name="T25" fmla="*/ 456 h 702"/>
                <a:gd name="T26" fmla="*/ 130 w 442"/>
                <a:gd name="T27" fmla="*/ 482 h 702"/>
                <a:gd name="T28" fmla="*/ 130 w 442"/>
                <a:gd name="T29" fmla="*/ 520 h 702"/>
                <a:gd name="T30" fmla="*/ 130 w 442"/>
                <a:gd name="T31" fmla="*/ 546 h 702"/>
                <a:gd name="T32" fmla="*/ 130 w 442"/>
                <a:gd name="T33" fmla="*/ 586 h 702"/>
                <a:gd name="T34" fmla="*/ 144 w 442"/>
                <a:gd name="T35" fmla="*/ 638 h 702"/>
                <a:gd name="T36" fmla="*/ 144 w 442"/>
                <a:gd name="T37" fmla="*/ 676 h 702"/>
                <a:gd name="T38" fmla="*/ 182 w 442"/>
                <a:gd name="T39" fmla="*/ 690 h 702"/>
                <a:gd name="T40" fmla="*/ 196 w 442"/>
                <a:gd name="T41" fmla="*/ 702 h 702"/>
                <a:gd name="T42" fmla="*/ 234 w 442"/>
                <a:gd name="T43" fmla="*/ 664 h 702"/>
                <a:gd name="T44" fmla="*/ 248 w 442"/>
                <a:gd name="T45" fmla="*/ 598 h 702"/>
                <a:gd name="T46" fmla="*/ 274 w 442"/>
                <a:gd name="T47" fmla="*/ 546 h 702"/>
                <a:gd name="T48" fmla="*/ 326 w 442"/>
                <a:gd name="T49" fmla="*/ 520 h 702"/>
                <a:gd name="T50" fmla="*/ 338 w 442"/>
                <a:gd name="T51" fmla="*/ 482 h 702"/>
                <a:gd name="T52" fmla="*/ 390 w 442"/>
                <a:gd name="T53" fmla="*/ 442 h 702"/>
                <a:gd name="T54" fmla="*/ 430 w 442"/>
                <a:gd name="T55" fmla="*/ 416 h 702"/>
                <a:gd name="T56" fmla="*/ 390 w 442"/>
                <a:gd name="T57" fmla="*/ 404 h 702"/>
                <a:gd name="T58" fmla="*/ 390 w 442"/>
                <a:gd name="T59" fmla="*/ 378 h 702"/>
                <a:gd name="T60" fmla="*/ 416 w 442"/>
                <a:gd name="T61" fmla="*/ 378 h 702"/>
                <a:gd name="T62" fmla="*/ 442 w 442"/>
                <a:gd name="T63" fmla="*/ 378 h 702"/>
                <a:gd name="T64" fmla="*/ 404 w 442"/>
                <a:gd name="T65" fmla="*/ 352 h 702"/>
                <a:gd name="T66" fmla="*/ 390 w 442"/>
                <a:gd name="T67" fmla="*/ 326 h 702"/>
                <a:gd name="T68" fmla="*/ 404 w 442"/>
                <a:gd name="T69" fmla="*/ 300 h 702"/>
                <a:gd name="T70" fmla="*/ 416 w 442"/>
                <a:gd name="T71" fmla="*/ 274 h 702"/>
                <a:gd name="T72" fmla="*/ 404 w 442"/>
                <a:gd name="T73" fmla="*/ 222 h 702"/>
                <a:gd name="T74" fmla="*/ 390 w 442"/>
                <a:gd name="T75" fmla="*/ 182 h 702"/>
                <a:gd name="T76" fmla="*/ 378 w 442"/>
                <a:gd name="T77" fmla="*/ 170 h 702"/>
                <a:gd name="T78" fmla="*/ 404 w 442"/>
                <a:gd name="T79" fmla="*/ 130 h 702"/>
                <a:gd name="T80" fmla="*/ 404 w 442"/>
                <a:gd name="T81" fmla="*/ 118 h 702"/>
                <a:gd name="T82" fmla="*/ 390 w 442"/>
                <a:gd name="T83" fmla="*/ 92 h 702"/>
                <a:gd name="T84" fmla="*/ 338 w 442"/>
                <a:gd name="T85" fmla="*/ 118 h 702"/>
                <a:gd name="T86" fmla="*/ 326 w 442"/>
                <a:gd name="T87" fmla="*/ 104 h 702"/>
                <a:gd name="T88" fmla="*/ 352 w 442"/>
                <a:gd name="T89" fmla="*/ 92 h 702"/>
                <a:gd name="T90" fmla="*/ 326 w 442"/>
                <a:gd name="T91" fmla="*/ 92 h 702"/>
                <a:gd name="T92" fmla="*/ 312 w 442"/>
                <a:gd name="T93" fmla="*/ 78 h 702"/>
                <a:gd name="T94" fmla="*/ 300 w 442"/>
                <a:gd name="T95" fmla="*/ 66 h 702"/>
                <a:gd name="T96" fmla="*/ 352 w 442"/>
                <a:gd name="T97" fmla="*/ 52 h 702"/>
                <a:gd name="T98" fmla="*/ 378 w 442"/>
                <a:gd name="T99" fmla="*/ 26 h 702"/>
                <a:gd name="T100" fmla="*/ 326 w 442"/>
                <a:gd name="T101" fmla="*/ 0 h 702"/>
                <a:gd name="T102" fmla="*/ 274 w 442"/>
                <a:gd name="T103" fmla="*/ 0 h 702"/>
                <a:gd name="T104" fmla="*/ 260 w 442"/>
                <a:gd name="T105" fmla="*/ 26 h 702"/>
                <a:gd name="T106" fmla="*/ 222 w 442"/>
                <a:gd name="T107" fmla="*/ 26 h 702"/>
                <a:gd name="T108" fmla="*/ 208 w 442"/>
                <a:gd name="T109" fmla="*/ 52 h 702"/>
                <a:gd name="T110" fmla="*/ 196 w 442"/>
                <a:gd name="T111" fmla="*/ 52 h 702"/>
                <a:gd name="T112" fmla="*/ 196 w 442"/>
                <a:gd name="T113" fmla="*/ 78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2" h="702">
                  <a:moveTo>
                    <a:pt x="196" y="78"/>
                  </a:moveTo>
                  <a:lnTo>
                    <a:pt x="156" y="66"/>
                  </a:lnTo>
                  <a:lnTo>
                    <a:pt x="130" y="78"/>
                  </a:lnTo>
                  <a:lnTo>
                    <a:pt x="118" y="92"/>
                  </a:lnTo>
                  <a:lnTo>
                    <a:pt x="104" y="104"/>
                  </a:lnTo>
                  <a:lnTo>
                    <a:pt x="92" y="118"/>
                  </a:lnTo>
                  <a:lnTo>
                    <a:pt x="92" y="144"/>
                  </a:lnTo>
                  <a:lnTo>
                    <a:pt x="66" y="144"/>
                  </a:lnTo>
                  <a:lnTo>
                    <a:pt x="52" y="170"/>
                  </a:lnTo>
                  <a:lnTo>
                    <a:pt x="66" y="196"/>
                  </a:lnTo>
                  <a:lnTo>
                    <a:pt x="40" y="222"/>
                  </a:lnTo>
                  <a:lnTo>
                    <a:pt x="0" y="234"/>
                  </a:lnTo>
                  <a:lnTo>
                    <a:pt x="0" y="248"/>
                  </a:lnTo>
                  <a:lnTo>
                    <a:pt x="40" y="274"/>
                  </a:lnTo>
                  <a:lnTo>
                    <a:pt x="14" y="286"/>
                  </a:lnTo>
                  <a:lnTo>
                    <a:pt x="14" y="300"/>
                  </a:lnTo>
                  <a:lnTo>
                    <a:pt x="26" y="326"/>
                  </a:lnTo>
                  <a:lnTo>
                    <a:pt x="66" y="312"/>
                  </a:lnTo>
                  <a:lnTo>
                    <a:pt x="78" y="312"/>
                  </a:lnTo>
                  <a:lnTo>
                    <a:pt x="104" y="326"/>
                  </a:lnTo>
                  <a:lnTo>
                    <a:pt x="104" y="338"/>
                  </a:lnTo>
                  <a:lnTo>
                    <a:pt x="130" y="378"/>
                  </a:lnTo>
                  <a:lnTo>
                    <a:pt x="144" y="390"/>
                  </a:lnTo>
                  <a:lnTo>
                    <a:pt x="144" y="416"/>
                  </a:lnTo>
                  <a:lnTo>
                    <a:pt x="144" y="442"/>
                  </a:lnTo>
                  <a:lnTo>
                    <a:pt x="156" y="456"/>
                  </a:lnTo>
                  <a:lnTo>
                    <a:pt x="156" y="468"/>
                  </a:lnTo>
                  <a:lnTo>
                    <a:pt x="130" y="482"/>
                  </a:lnTo>
                  <a:lnTo>
                    <a:pt x="130" y="494"/>
                  </a:lnTo>
                  <a:lnTo>
                    <a:pt x="130" y="520"/>
                  </a:lnTo>
                  <a:lnTo>
                    <a:pt x="118" y="534"/>
                  </a:lnTo>
                  <a:lnTo>
                    <a:pt x="130" y="546"/>
                  </a:lnTo>
                  <a:lnTo>
                    <a:pt x="130" y="560"/>
                  </a:lnTo>
                  <a:lnTo>
                    <a:pt x="130" y="586"/>
                  </a:lnTo>
                  <a:lnTo>
                    <a:pt x="130" y="612"/>
                  </a:lnTo>
                  <a:lnTo>
                    <a:pt x="144" y="638"/>
                  </a:lnTo>
                  <a:lnTo>
                    <a:pt x="156" y="650"/>
                  </a:lnTo>
                  <a:lnTo>
                    <a:pt x="144" y="676"/>
                  </a:lnTo>
                  <a:lnTo>
                    <a:pt x="156" y="690"/>
                  </a:lnTo>
                  <a:lnTo>
                    <a:pt x="182" y="690"/>
                  </a:lnTo>
                  <a:lnTo>
                    <a:pt x="182" y="702"/>
                  </a:lnTo>
                  <a:lnTo>
                    <a:pt x="196" y="702"/>
                  </a:lnTo>
                  <a:lnTo>
                    <a:pt x="222" y="690"/>
                  </a:lnTo>
                  <a:lnTo>
                    <a:pt x="234" y="664"/>
                  </a:lnTo>
                  <a:lnTo>
                    <a:pt x="234" y="624"/>
                  </a:lnTo>
                  <a:lnTo>
                    <a:pt x="248" y="598"/>
                  </a:lnTo>
                  <a:lnTo>
                    <a:pt x="260" y="560"/>
                  </a:lnTo>
                  <a:lnTo>
                    <a:pt x="274" y="546"/>
                  </a:lnTo>
                  <a:lnTo>
                    <a:pt x="300" y="534"/>
                  </a:lnTo>
                  <a:lnTo>
                    <a:pt x="326" y="520"/>
                  </a:lnTo>
                  <a:lnTo>
                    <a:pt x="338" y="508"/>
                  </a:lnTo>
                  <a:lnTo>
                    <a:pt x="338" y="482"/>
                  </a:lnTo>
                  <a:lnTo>
                    <a:pt x="364" y="468"/>
                  </a:lnTo>
                  <a:lnTo>
                    <a:pt x="390" y="442"/>
                  </a:lnTo>
                  <a:lnTo>
                    <a:pt x="404" y="442"/>
                  </a:lnTo>
                  <a:lnTo>
                    <a:pt x="430" y="416"/>
                  </a:lnTo>
                  <a:lnTo>
                    <a:pt x="416" y="404"/>
                  </a:lnTo>
                  <a:lnTo>
                    <a:pt x="390" y="404"/>
                  </a:lnTo>
                  <a:lnTo>
                    <a:pt x="390" y="390"/>
                  </a:lnTo>
                  <a:lnTo>
                    <a:pt x="390" y="378"/>
                  </a:lnTo>
                  <a:lnTo>
                    <a:pt x="390" y="364"/>
                  </a:lnTo>
                  <a:lnTo>
                    <a:pt x="416" y="378"/>
                  </a:lnTo>
                  <a:lnTo>
                    <a:pt x="430" y="378"/>
                  </a:lnTo>
                  <a:lnTo>
                    <a:pt x="442" y="378"/>
                  </a:lnTo>
                  <a:lnTo>
                    <a:pt x="430" y="352"/>
                  </a:lnTo>
                  <a:lnTo>
                    <a:pt x="404" y="352"/>
                  </a:lnTo>
                  <a:lnTo>
                    <a:pt x="390" y="338"/>
                  </a:lnTo>
                  <a:lnTo>
                    <a:pt x="390" y="326"/>
                  </a:lnTo>
                  <a:lnTo>
                    <a:pt x="416" y="312"/>
                  </a:lnTo>
                  <a:lnTo>
                    <a:pt x="404" y="300"/>
                  </a:lnTo>
                  <a:lnTo>
                    <a:pt x="416" y="286"/>
                  </a:lnTo>
                  <a:lnTo>
                    <a:pt x="416" y="274"/>
                  </a:lnTo>
                  <a:lnTo>
                    <a:pt x="416" y="248"/>
                  </a:lnTo>
                  <a:lnTo>
                    <a:pt x="404" y="222"/>
                  </a:lnTo>
                  <a:lnTo>
                    <a:pt x="378" y="208"/>
                  </a:lnTo>
                  <a:lnTo>
                    <a:pt x="390" y="182"/>
                  </a:lnTo>
                  <a:lnTo>
                    <a:pt x="390" y="170"/>
                  </a:lnTo>
                  <a:lnTo>
                    <a:pt x="378" y="170"/>
                  </a:lnTo>
                  <a:lnTo>
                    <a:pt x="390" y="144"/>
                  </a:lnTo>
                  <a:lnTo>
                    <a:pt x="404" y="130"/>
                  </a:lnTo>
                  <a:lnTo>
                    <a:pt x="416" y="118"/>
                  </a:lnTo>
                  <a:lnTo>
                    <a:pt x="404" y="118"/>
                  </a:lnTo>
                  <a:lnTo>
                    <a:pt x="404" y="92"/>
                  </a:lnTo>
                  <a:lnTo>
                    <a:pt x="390" y="92"/>
                  </a:lnTo>
                  <a:lnTo>
                    <a:pt x="378" y="104"/>
                  </a:lnTo>
                  <a:lnTo>
                    <a:pt x="338" y="118"/>
                  </a:lnTo>
                  <a:lnTo>
                    <a:pt x="326" y="118"/>
                  </a:lnTo>
                  <a:lnTo>
                    <a:pt x="326" y="104"/>
                  </a:lnTo>
                  <a:lnTo>
                    <a:pt x="338" y="92"/>
                  </a:lnTo>
                  <a:lnTo>
                    <a:pt x="352" y="92"/>
                  </a:lnTo>
                  <a:lnTo>
                    <a:pt x="338" y="78"/>
                  </a:lnTo>
                  <a:lnTo>
                    <a:pt x="326" y="92"/>
                  </a:lnTo>
                  <a:lnTo>
                    <a:pt x="312" y="92"/>
                  </a:lnTo>
                  <a:lnTo>
                    <a:pt x="312" y="78"/>
                  </a:lnTo>
                  <a:lnTo>
                    <a:pt x="312" y="66"/>
                  </a:lnTo>
                  <a:lnTo>
                    <a:pt x="300" y="66"/>
                  </a:lnTo>
                  <a:lnTo>
                    <a:pt x="326" y="52"/>
                  </a:lnTo>
                  <a:lnTo>
                    <a:pt x="352" y="52"/>
                  </a:lnTo>
                  <a:lnTo>
                    <a:pt x="378" y="40"/>
                  </a:lnTo>
                  <a:lnTo>
                    <a:pt x="378" y="26"/>
                  </a:lnTo>
                  <a:lnTo>
                    <a:pt x="352" y="26"/>
                  </a:lnTo>
                  <a:lnTo>
                    <a:pt x="326" y="0"/>
                  </a:lnTo>
                  <a:lnTo>
                    <a:pt x="300" y="0"/>
                  </a:lnTo>
                  <a:lnTo>
                    <a:pt x="274" y="0"/>
                  </a:lnTo>
                  <a:lnTo>
                    <a:pt x="260" y="0"/>
                  </a:lnTo>
                  <a:lnTo>
                    <a:pt x="260" y="26"/>
                  </a:lnTo>
                  <a:lnTo>
                    <a:pt x="234" y="26"/>
                  </a:lnTo>
                  <a:lnTo>
                    <a:pt x="222" y="26"/>
                  </a:lnTo>
                  <a:lnTo>
                    <a:pt x="222" y="40"/>
                  </a:lnTo>
                  <a:lnTo>
                    <a:pt x="208" y="52"/>
                  </a:lnTo>
                  <a:lnTo>
                    <a:pt x="208" y="66"/>
                  </a:lnTo>
                  <a:lnTo>
                    <a:pt x="196" y="52"/>
                  </a:lnTo>
                  <a:lnTo>
                    <a:pt x="196" y="66"/>
                  </a:lnTo>
                  <a:lnTo>
                    <a:pt x="196" y="78"/>
                  </a:lnTo>
                  <a:lnTo>
                    <a:pt x="196" y="78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gray">
            <a:xfrm>
              <a:off x="538" y="719"/>
              <a:ext cx="1195" cy="1859"/>
            </a:xfrm>
            <a:custGeom>
              <a:avLst/>
              <a:gdLst>
                <a:gd name="T0" fmla="*/ 2130 w 2391"/>
                <a:gd name="T1" fmla="*/ 1767 h 3718"/>
                <a:gd name="T2" fmla="*/ 2130 w 2391"/>
                <a:gd name="T3" fmla="*/ 1690 h 3718"/>
                <a:gd name="T4" fmla="*/ 2391 w 2391"/>
                <a:gd name="T5" fmla="*/ 1560 h 3718"/>
                <a:gd name="T6" fmla="*/ 2159 w 2391"/>
                <a:gd name="T7" fmla="*/ 1403 h 3718"/>
                <a:gd name="T8" fmla="*/ 2004 w 2391"/>
                <a:gd name="T9" fmla="*/ 1328 h 3718"/>
                <a:gd name="T10" fmla="*/ 1871 w 2391"/>
                <a:gd name="T11" fmla="*/ 1144 h 3718"/>
                <a:gd name="T12" fmla="*/ 1739 w 2391"/>
                <a:gd name="T13" fmla="*/ 1299 h 3718"/>
                <a:gd name="T14" fmla="*/ 1687 w 2391"/>
                <a:gd name="T15" fmla="*/ 1535 h 3718"/>
                <a:gd name="T16" fmla="*/ 1664 w 2391"/>
                <a:gd name="T17" fmla="*/ 1535 h 3718"/>
                <a:gd name="T18" fmla="*/ 1376 w 2391"/>
                <a:gd name="T19" fmla="*/ 1328 h 3718"/>
                <a:gd name="T20" fmla="*/ 1455 w 2391"/>
                <a:gd name="T21" fmla="*/ 1040 h 3718"/>
                <a:gd name="T22" fmla="*/ 1532 w 2391"/>
                <a:gd name="T23" fmla="*/ 963 h 3718"/>
                <a:gd name="T24" fmla="*/ 1687 w 2391"/>
                <a:gd name="T25" fmla="*/ 808 h 3718"/>
                <a:gd name="T26" fmla="*/ 1583 w 2391"/>
                <a:gd name="T27" fmla="*/ 833 h 3718"/>
                <a:gd name="T28" fmla="*/ 1480 w 2391"/>
                <a:gd name="T29" fmla="*/ 675 h 3718"/>
                <a:gd name="T30" fmla="*/ 1428 w 2391"/>
                <a:gd name="T31" fmla="*/ 833 h 3718"/>
                <a:gd name="T32" fmla="*/ 1351 w 2391"/>
                <a:gd name="T33" fmla="*/ 808 h 3718"/>
                <a:gd name="T34" fmla="*/ 1196 w 2391"/>
                <a:gd name="T35" fmla="*/ 727 h 3718"/>
                <a:gd name="T36" fmla="*/ 1012 w 2391"/>
                <a:gd name="T37" fmla="*/ 520 h 3718"/>
                <a:gd name="T38" fmla="*/ 831 w 2391"/>
                <a:gd name="T39" fmla="*/ 416 h 3718"/>
                <a:gd name="T40" fmla="*/ 728 w 2391"/>
                <a:gd name="T41" fmla="*/ 184 h 3718"/>
                <a:gd name="T42" fmla="*/ 491 w 2391"/>
                <a:gd name="T43" fmla="*/ 81 h 3718"/>
                <a:gd name="T44" fmla="*/ 417 w 2391"/>
                <a:gd name="T45" fmla="*/ 29 h 3718"/>
                <a:gd name="T46" fmla="*/ 259 w 2391"/>
                <a:gd name="T47" fmla="*/ 104 h 3718"/>
                <a:gd name="T48" fmla="*/ 129 w 2391"/>
                <a:gd name="T49" fmla="*/ 261 h 3718"/>
                <a:gd name="T50" fmla="*/ 284 w 2391"/>
                <a:gd name="T51" fmla="*/ 416 h 3718"/>
                <a:gd name="T52" fmla="*/ 365 w 2391"/>
                <a:gd name="T53" fmla="*/ 468 h 3718"/>
                <a:gd name="T54" fmla="*/ 417 w 2391"/>
                <a:gd name="T55" fmla="*/ 675 h 3718"/>
                <a:gd name="T56" fmla="*/ 417 w 2391"/>
                <a:gd name="T57" fmla="*/ 963 h 3718"/>
                <a:gd name="T58" fmla="*/ 388 w 2391"/>
                <a:gd name="T59" fmla="*/ 1247 h 3718"/>
                <a:gd name="T60" fmla="*/ 336 w 2391"/>
                <a:gd name="T61" fmla="*/ 1276 h 3718"/>
                <a:gd name="T62" fmla="*/ 129 w 2391"/>
                <a:gd name="T63" fmla="*/ 1560 h 3718"/>
                <a:gd name="T64" fmla="*/ 181 w 2391"/>
                <a:gd name="T65" fmla="*/ 2026 h 3718"/>
                <a:gd name="T66" fmla="*/ 181 w 2391"/>
                <a:gd name="T67" fmla="*/ 2368 h 3718"/>
                <a:gd name="T68" fmla="*/ 232 w 2391"/>
                <a:gd name="T69" fmla="*/ 2494 h 3718"/>
                <a:gd name="T70" fmla="*/ 232 w 2391"/>
                <a:gd name="T71" fmla="*/ 2132 h 3718"/>
                <a:gd name="T72" fmla="*/ 336 w 2391"/>
                <a:gd name="T73" fmla="*/ 2442 h 3718"/>
                <a:gd name="T74" fmla="*/ 417 w 2391"/>
                <a:gd name="T75" fmla="*/ 2914 h 3718"/>
                <a:gd name="T76" fmla="*/ 856 w 2391"/>
                <a:gd name="T77" fmla="*/ 3173 h 3718"/>
                <a:gd name="T78" fmla="*/ 1115 w 2391"/>
                <a:gd name="T79" fmla="*/ 3354 h 3718"/>
                <a:gd name="T80" fmla="*/ 1299 w 2391"/>
                <a:gd name="T81" fmla="*/ 3615 h 3718"/>
                <a:gd name="T82" fmla="*/ 1455 w 2391"/>
                <a:gd name="T83" fmla="*/ 3615 h 3718"/>
                <a:gd name="T84" fmla="*/ 1560 w 2391"/>
                <a:gd name="T85" fmla="*/ 3641 h 3718"/>
                <a:gd name="T86" fmla="*/ 1272 w 2391"/>
                <a:gd name="T87" fmla="*/ 3486 h 3718"/>
                <a:gd name="T88" fmla="*/ 1299 w 2391"/>
                <a:gd name="T89" fmla="*/ 3273 h 3718"/>
                <a:gd name="T90" fmla="*/ 1144 w 2391"/>
                <a:gd name="T91" fmla="*/ 3146 h 3718"/>
                <a:gd name="T92" fmla="*/ 1196 w 2391"/>
                <a:gd name="T93" fmla="*/ 2962 h 3718"/>
                <a:gd name="T94" fmla="*/ 937 w 2391"/>
                <a:gd name="T95" fmla="*/ 3043 h 3718"/>
                <a:gd name="T96" fmla="*/ 728 w 2391"/>
                <a:gd name="T97" fmla="*/ 2807 h 3718"/>
                <a:gd name="T98" fmla="*/ 856 w 2391"/>
                <a:gd name="T99" fmla="*/ 2546 h 3718"/>
                <a:gd name="T100" fmla="*/ 1115 w 2391"/>
                <a:gd name="T101" fmla="*/ 2598 h 3718"/>
                <a:gd name="T102" fmla="*/ 1219 w 2391"/>
                <a:gd name="T103" fmla="*/ 2627 h 3718"/>
                <a:gd name="T104" fmla="*/ 1351 w 2391"/>
                <a:gd name="T105" fmla="*/ 2627 h 3718"/>
                <a:gd name="T106" fmla="*/ 1507 w 2391"/>
                <a:gd name="T107" fmla="*/ 2834 h 3718"/>
                <a:gd name="T108" fmla="*/ 1560 w 2391"/>
                <a:gd name="T109" fmla="*/ 2575 h 3718"/>
                <a:gd name="T110" fmla="*/ 1791 w 2391"/>
                <a:gd name="T111" fmla="*/ 2287 h 3718"/>
                <a:gd name="T112" fmla="*/ 1900 w 2391"/>
                <a:gd name="T113" fmla="*/ 2158 h 3718"/>
                <a:gd name="T114" fmla="*/ 2078 w 2391"/>
                <a:gd name="T115" fmla="*/ 2003 h 3718"/>
                <a:gd name="T116" fmla="*/ 2107 w 2391"/>
                <a:gd name="T117" fmla="*/ 1974 h 3718"/>
                <a:gd name="T118" fmla="*/ 2236 w 2391"/>
                <a:gd name="T119" fmla="*/ 1951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1" h="3718">
                  <a:moveTo>
                    <a:pt x="2184" y="1848"/>
                  </a:moveTo>
                  <a:lnTo>
                    <a:pt x="2159" y="1848"/>
                  </a:lnTo>
                  <a:lnTo>
                    <a:pt x="2184" y="1819"/>
                  </a:lnTo>
                  <a:lnTo>
                    <a:pt x="2159" y="1796"/>
                  </a:lnTo>
                  <a:lnTo>
                    <a:pt x="2130" y="1767"/>
                  </a:lnTo>
                  <a:lnTo>
                    <a:pt x="2027" y="1848"/>
                  </a:lnTo>
                  <a:lnTo>
                    <a:pt x="1975" y="1848"/>
                  </a:lnTo>
                  <a:lnTo>
                    <a:pt x="2004" y="1819"/>
                  </a:lnTo>
                  <a:lnTo>
                    <a:pt x="2055" y="1767"/>
                  </a:lnTo>
                  <a:lnTo>
                    <a:pt x="2130" y="1690"/>
                  </a:lnTo>
                  <a:lnTo>
                    <a:pt x="2236" y="1690"/>
                  </a:lnTo>
                  <a:lnTo>
                    <a:pt x="2314" y="1663"/>
                  </a:lnTo>
                  <a:lnTo>
                    <a:pt x="2366" y="1612"/>
                  </a:lnTo>
                  <a:lnTo>
                    <a:pt x="2391" y="1587"/>
                  </a:lnTo>
                  <a:lnTo>
                    <a:pt x="2391" y="1560"/>
                  </a:lnTo>
                  <a:lnTo>
                    <a:pt x="2339" y="1535"/>
                  </a:lnTo>
                  <a:lnTo>
                    <a:pt x="2339" y="1483"/>
                  </a:lnTo>
                  <a:lnTo>
                    <a:pt x="2314" y="1456"/>
                  </a:lnTo>
                  <a:lnTo>
                    <a:pt x="2211" y="1456"/>
                  </a:lnTo>
                  <a:lnTo>
                    <a:pt x="2159" y="1403"/>
                  </a:lnTo>
                  <a:lnTo>
                    <a:pt x="2184" y="1351"/>
                  </a:lnTo>
                  <a:lnTo>
                    <a:pt x="2130" y="1328"/>
                  </a:lnTo>
                  <a:lnTo>
                    <a:pt x="2078" y="1247"/>
                  </a:lnTo>
                  <a:lnTo>
                    <a:pt x="2027" y="1328"/>
                  </a:lnTo>
                  <a:lnTo>
                    <a:pt x="2004" y="1328"/>
                  </a:lnTo>
                  <a:lnTo>
                    <a:pt x="1975" y="1299"/>
                  </a:lnTo>
                  <a:lnTo>
                    <a:pt x="1975" y="1224"/>
                  </a:lnTo>
                  <a:lnTo>
                    <a:pt x="1923" y="1195"/>
                  </a:lnTo>
                  <a:lnTo>
                    <a:pt x="1900" y="1172"/>
                  </a:lnTo>
                  <a:lnTo>
                    <a:pt x="1871" y="1144"/>
                  </a:lnTo>
                  <a:lnTo>
                    <a:pt x="1819" y="1144"/>
                  </a:lnTo>
                  <a:lnTo>
                    <a:pt x="1739" y="1144"/>
                  </a:lnTo>
                  <a:lnTo>
                    <a:pt x="1739" y="1224"/>
                  </a:lnTo>
                  <a:lnTo>
                    <a:pt x="1768" y="1247"/>
                  </a:lnTo>
                  <a:lnTo>
                    <a:pt x="1739" y="1299"/>
                  </a:lnTo>
                  <a:lnTo>
                    <a:pt x="1716" y="1328"/>
                  </a:lnTo>
                  <a:lnTo>
                    <a:pt x="1739" y="1328"/>
                  </a:lnTo>
                  <a:lnTo>
                    <a:pt x="1768" y="1431"/>
                  </a:lnTo>
                  <a:lnTo>
                    <a:pt x="1716" y="1483"/>
                  </a:lnTo>
                  <a:lnTo>
                    <a:pt x="1687" y="1535"/>
                  </a:lnTo>
                  <a:lnTo>
                    <a:pt x="1739" y="1560"/>
                  </a:lnTo>
                  <a:lnTo>
                    <a:pt x="1739" y="1639"/>
                  </a:lnTo>
                  <a:lnTo>
                    <a:pt x="1687" y="1639"/>
                  </a:lnTo>
                  <a:lnTo>
                    <a:pt x="1635" y="1560"/>
                  </a:lnTo>
                  <a:lnTo>
                    <a:pt x="1664" y="1535"/>
                  </a:lnTo>
                  <a:lnTo>
                    <a:pt x="1635" y="1508"/>
                  </a:lnTo>
                  <a:lnTo>
                    <a:pt x="1635" y="1456"/>
                  </a:lnTo>
                  <a:lnTo>
                    <a:pt x="1560" y="1456"/>
                  </a:lnTo>
                  <a:lnTo>
                    <a:pt x="1480" y="1380"/>
                  </a:lnTo>
                  <a:lnTo>
                    <a:pt x="1376" y="1328"/>
                  </a:lnTo>
                  <a:lnTo>
                    <a:pt x="1376" y="1276"/>
                  </a:lnTo>
                  <a:lnTo>
                    <a:pt x="1324" y="1224"/>
                  </a:lnTo>
                  <a:lnTo>
                    <a:pt x="1376" y="1144"/>
                  </a:lnTo>
                  <a:lnTo>
                    <a:pt x="1480" y="1067"/>
                  </a:lnTo>
                  <a:lnTo>
                    <a:pt x="1455" y="1040"/>
                  </a:lnTo>
                  <a:lnTo>
                    <a:pt x="1507" y="1040"/>
                  </a:lnTo>
                  <a:lnTo>
                    <a:pt x="1507" y="1015"/>
                  </a:lnTo>
                  <a:lnTo>
                    <a:pt x="1532" y="1040"/>
                  </a:lnTo>
                  <a:lnTo>
                    <a:pt x="1560" y="988"/>
                  </a:lnTo>
                  <a:lnTo>
                    <a:pt x="1532" y="963"/>
                  </a:lnTo>
                  <a:lnTo>
                    <a:pt x="1583" y="963"/>
                  </a:lnTo>
                  <a:lnTo>
                    <a:pt x="1612" y="936"/>
                  </a:lnTo>
                  <a:lnTo>
                    <a:pt x="1664" y="936"/>
                  </a:lnTo>
                  <a:lnTo>
                    <a:pt x="1687" y="885"/>
                  </a:lnTo>
                  <a:lnTo>
                    <a:pt x="1687" y="808"/>
                  </a:lnTo>
                  <a:lnTo>
                    <a:pt x="1635" y="779"/>
                  </a:lnTo>
                  <a:lnTo>
                    <a:pt x="1635" y="833"/>
                  </a:lnTo>
                  <a:lnTo>
                    <a:pt x="1583" y="885"/>
                  </a:lnTo>
                  <a:lnTo>
                    <a:pt x="1560" y="833"/>
                  </a:lnTo>
                  <a:lnTo>
                    <a:pt x="1583" y="833"/>
                  </a:lnTo>
                  <a:lnTo>
                    <a:pt x="1560" y="808"/>
                  </a:lnTo>
                  <a:lnTo>
                    <a:pt x="1507" y="808"/>
                  </a:lnTo>
                  <a:lnTo>
                    <a:pt x="1507" y="756"/>
                  </a:lnTo>
                  <a:lnTo>
                    <a:pt x="1507" y="727"/>
                  </a:lnTo>
                  <a:lnTo>
                    <a:pt x="1480" y="675"/>
                  </a:lnTo>
                  <a:lnTo>
                    <a:pt x="1455" y="704"/>
                  </a:lnTo>
                  <a:lnTo>
                    <a:pt x="1480" y="779"/>
                  </a:lnTo>
                  <a:lnTo>
                    <a:pt x="1455" y="808"/>
                  </a:lnTo>
                  <a:lnTo>
                    <a:pt x="1455" y="833"/>
                  </a:lnTo>
                  <a:lnTo>
                    <a:pt x="1428" y="833"/>
                  </a:lnTo>
                  <a:lnTo>
                    <a:pt x="1403" y="833"/>
                  </a:lnTo>
                  <a:lnTo>
                    <a:pt x="1428" y="756"/>
                  </a:lnTo>
                  <a:lnTo>
                    <a:pt x="1376" y="756"/>
                  </a:lnTo>
                  <a:lnTo>
                    <a:pt x="1376" y="779"/>
                  </a:lnTo>
                  <a:lnTo>
                    <a:pt x="1351" y="808"/>
                  </a:lnTo>
                  <a:lnTo>
                    <a:pt x="1299" y="756"/>
                  </a:lnTo>
                  <a:lnTo>
                    <a:pt x="1248" y="727"/>
                  </a:lnTo>
                  <a:lnTo>
                    <a:pt x="1248" y="756"/>
                  </a:lnTo>
                  <a:lnTo>
                    <a:pt x="1196" y="756"/>
                  </a:lnTo>
                  <a:lnTo>
                    <a:pt x="1196" y="727"/>
                  </a:lnTo>
                  <a:lnTo>
                    <a:pt x="1115" y="675"/>
                  </a:lnTo>
                  <a:lnTo>
                    <a:pt x="1115" y="652"/>
                  </a:lnTo>
                  <a:lnTo>
                    <a:pt x="1063" y="624"/>
                  </a:lnTo>
                  <a:lnTo>
                    <a:pt x="1063" y="572"/>
                  </a:lnTo>
                  <a:lnTo>
                    <a:pt x="1012" y="520"/>
                  </a:lnTo>
                  <a:lnTo>
                    <a:pt x="988" y="497"/>
                  </a:lnTo>
                  <a:lnTo>
                    <a:pt x="988" y="468"/>
                  </a:lnTo>
                  <a:lnTo>
                    <a:pt x="937" y="468"/>
                  </a:lnTo>
                  <a:lnTo>
                    <a:pt x="937" y="443"/>
                  </a:lnTo>
                  <a:lnTo>
                    <a:pt x="831" y="416"/>
                  </a:lnTo>
                  <a:lnTo>
                    <a:pt x="804" y="340"/>
                  </a:lnTo>
                  <a:lnTo>
                    <a:pt x="804" y="313"/>
                  </a:lnTo>
                  <a:lnTo>
                    <a:pt x="779" y="261"/>
                  </a:lnTo>
                  <a:lnTo>
                    <a:pt x="779" y="236"/>
                  </a:lnTo>
                  <a:lnTo>
                    <a:pt x="728" y="184"/>
                  </a:lnTo>
                  <a:lnTo>
                    <a:pt x="752" y="133"/>
                  </a:lnTo>
                  <a:lnTo>
                    <a:pt x="701" y="81"/>
                  </a:lnTo>
                  <a:lnTo>
                    <a:pt x="624" y="52"/>
                  </a:lnTo>
                  <a:lnTo>
                    <a:pt x="543" y="0"/>
                  </a:lnTo>
                  <a:lnTo>
                    <a:pt x="491" y="81"/>
                  </a:lnTo>
                  <a:lnTo>
                    <a:pt x="491" y="104"/>
                  </a:lnTo>
                  <a:lnTo>
                    <a:pt x="468" y="133"/>
                  </a:lnTo>
                  <a:lnTo>
                    <a:pt x="440" y="104"/>
                  </a:lnTo>
                  <a:lnTo>
                    <a:pt x="440" y="81"/>
                  </a:lnTo>
                  <a:lnTo>
                    <a:pt x="417" y="29"/>
                  </a:lnTo>
                  <a:lnTo>
                    <a:pt x="365" y="29"/>
                  </a:lnTo>
                  <a:lnTo>
                    <a:pt x="365" y="104"/>
                  </a:lnTo>
                  <a:lnTo>
                    <a:pt x="365" y="156"/>
                  </a:lnTo>
                  <a:lnTo>
                    <a:pt x="336" y="156"/>
                  </a:lnTo>
                  <a:lnTo>
                    <a:pt x="259" y="104"/>
                  </a:lnTo>
                  <a:lnTo>
                    <a:pt x="129" y="156"/>
                  </a:lnTo>
                  <a:lnTo>
                    <a:pt x="129" y="209"/>
                  </a:lnTo>
                  <a:lnTo>
                    <a:pt x="156" y="209"/>
                  </a:lnTo>
                  <a:lnTo>
                    <a:pt x="104" y="261"/>
                  </a:lnTo>
                  <a:lnTo>
                    <a:pt x="129" y="261"/>
                  </a:lnTo>
                  <a:lnTo>
                    <a:pt x="129" y="288"/>
                  </a:lnTo>
                  <a:lnTo>
                    <a:pt x="156" y="340"/>
                  </a:lnTo>
                  <a:lnTo>
                    <a:pt x="0" y="340"/>
                  </a:lnTo>
                  <a:lnTo>
                    <a:pt x="181" y="392"/>
                  </a:lnTo>
                  <a:lnTo>
                    <a:pt x="284" y="416"/>
                  </a:lnTo>
                  <a:lnTo>
                    <a:pt x="232" y="443"/>
                  </a:lnTo>
                  <a:lnTo>
                    <a:pt x="259" y="468"/>
                  </a:lnTo>
                  <a:lnTo>
                    <a:pt x="336" y="468"/>
                  </a:lnTo>
                  <a:lnTo>
                    <a:pt x="336" y="443"/>
                  </a:lnTo>
                  <a:lnTo>
                    <a:pt x="365" y="468"/>
                  </a:lnTo>
                  <a:lnTo>
                    <a:pt x="365" y="497"/>
                  </a:lnTo>
                  <a:lnTo>
                    <a:pt x="365" y="549"/>
                  </a:lnTo>
                  <a:lnTo>
                    <a:pt x="417" y="572"/>
                  </a:lnTo>
                  <a:lnTo>
                    <a:pt x="417" y="624"/>
                  </a:lnTo>
                  <a:lnTo>
                    <a:pt x="417" y="675"/>
                  </a:lnTo>
                  <a:lnTo>
                    <a:pt x="417" y="727"/>
                  </a:lnTo>
                  <a:lnTo>
                    <a:pt x="440" y="756"/>
                  </a:lnTo>
                  <a:lnTo>
                    <a:pt x="468" y="756"/>
                  </a:lnTo>
                  <a:lnTo>
                    <a:pt x="417" y="860"/>
                  </a:lnTo>
                  <a:lnTo>
                    <a:pt x="417" y="963"/>
                  </a:lnTo>
                  <a:lnTo>
                    <a:pt x="388" y="1015"/>
                  </a:lnTo>
                  <a:lnTo>
                    <a:pt x="417" y="1040"/>
                  </a:lnTo>
                  <a:lnTo>
                    <a:pt x="388" y="1172"/>
                  </a:lnTo>
                  <a:lnTo>
                    <a:pt x="388" y="1224"/>
                  </a:lnTo>
                  <a:lnTo>
                    <a:pt x="388" y="1247"/>
                  </a:lnTo>
                  <a:lnTo>
                    <a:pt x="388" y="1299"/>
                  </a:lnTo>
                  <a:lnTo>
                    <a:pt x="388" y="1328"/>
                  </a:lnTo>
                  <a:lnTo>
                    <a:pt x="417" y="1328"/>
                  </a:lnTo>
                  <a:lnTo>
                    <a:pt x="365" y="1299"/>
                  </a:lnTo>
                  <a:lnTo>
                    <a:pt x="336" y="1276"/>
                  </a:lnTo>
                  <a:lnTo>
                    <a:pt x="313" y="1351"/>
                  </a:lnTo>
                  <a:lnTo>
                    <a:pt x="259" y="1456"/>
                  </a:lnTo>
                  <a:lnTo>
                    <a:pt x="207" y="1483"/>
                  </a:lnTo>
                  <a:lnTo>
                    <a:pt x="181" y="1535"/>
                  </a:lnTo>
                  <a:lnTo>
                    <a:pt x="129" y="1560"/>
                  </a:lnTo>
                  <a:lnTo>
                    <a:pt x="104" y="1715"/>
                  </a:lnTo>
                  <a:lnTo>
                    <a:pt x="104" y="1871"/>
                  </a:lnTo>
                  <a:lnTo>
                    <a:pt x="156" y="1974"/>
                  </a:lnTo>
                  <a:lnTo>
                    <a:pt x="181" y="2003"/>
                  </a:lnTo>
                  <a:lnTo>
                    <a:pt x="181" y="2026"/>
                  </a:lnTo>
                  <a:lnTo>
                    <a:pt x="156" y="2080"/>
                  </a:lnTo>
                  <a:lnTo>
                    <a:pt x="207" y="2262"/>
                  </a:lnTo>
                  <a:lnTo>
                    <a:pt x="181" y="2287"/>
                  </a:lnTo>
                  <a:lnTo>
                    <a:pt x="156" y="2262"/>
                  </a:lnTo>
                  <a:lnTo>
                    <a:pt x="181" y="2368"/>
                  </a:lnTo>
                  <a:lnTo>
                    <a:pt x="207" y="2391"/>
                  </a:lnTo>
                  <a:lnTo>
                    <a:pt x="181" y="2471"/>
                  </a:lnTo>
                  <a:lnTo>
                    <a:pt x="259" y="2575"/>
                  </a:lnTo>
                  <a:lnTo>
                    <a:pt x="259" y="2523"/>
                  </a:lnTo>
                  <a:lnTo>
                    <a:pt x="232" y="2494"/>
                  </a:lnTo>
                  <a:lnTo>
                    <a:pt x="232" y="2442"/>
                  </a:lnTo>
                  <a:lnTo>
                    <a:pt x="232" y="2314"/>
                  </a:lnTo>
                  <a:lnTo>
                    <a:pt x="232" y="2287"/>
                  </a:lnTo>
                  <a:lnTo>
                    <a:pt x="207" y="2210"/>
                  </a:lnTo>
                  <a:lnTo>
                    <a:pt x="232" y="2132"/>
                  </a:lnTo>
                  <a:lnTo>
                    <a:pt x="284" y="2183"/>
                  </a:lnTo>
                  <a:lnTo>
                    <a:pt x="313" y="2339"/>
                  </a:lnTo>
                  <a:lnTo>
                    <a:pt x="313" y="2391"/>
                  </a:lnTo>
                  <a:lnTo>
                    <a:pt x="313" y="2442"/>
                  </a:lnTo>
                  <a:lnTo>
                    <a:pt x="336" y="2442"/>
                  </a:lnTo>
                  <a:lnTo>
                    <a:pt x="313" y="2471"/>
                  </a:lnTo>
                  <a:lnTo>
                    <a:pt x="365" y="2523"/>
                  </a:lnTo>
                  <a:lnTo>
                    <a:pt x="417" y="2703"/>
                  </a:lnTo>
                  <a:lnTo>
                    <a:pt x="365" y="2782"/>
                  </a:lnTo>
                  <a:lnTo>
                    <a:pt x="417" y="2914"/>
                  </a:lnTo>
                  <a:lnTo>
                    <a:pt x="491" y="2937"/>
                  </a:lnTo>
                  <a:lnTo>
                    <a:pt x="543" y="3014"/>
                  </a:lnTo>
                  <a:lnTo>
                    <a:pt x="728" y="3118"/>
                  </a:lnTo>
                  <a:lnTo>
                    <a:pt x="804" y="3118"/>
                  </a:lnTo>
                  <a:lnTo>
                    <a:pt x="856" y="3173"/>
                  </a:lnTo>
                  <a:lnTo>
                    <a:pt x="883" y="3225"/>
                  </a:lnTo>
                  <a:lnTo>
                    <a:pt x="937" y="3273"/>
                  </a:lnTo>
                  <a:lnTo>
                    <a:pt x="1012" y="3302"/>
                  </a:lnTo>
                  <a:lnTo>
                    <a:pt x="1040" y="3331"/>
                  </a:lnTo>
                  <a:lnTo>
                    <a:pt x="1115" y="3354"/>
                  </a:lnTo>
                  <a:lnTo>
                    <a:pt x="1167" y="3457"/>
                  </a:lnTo>
                  <a:lnTo>
                    <a:pt x="1167" y="3486"/>
                  </a:lnTo>
                  <a:lnTo>
                    <a:pt x="1167" y="3509"/>
                  </a:lnTo>
                  <a:lnTo>
                    <a:pt x="1272" y="3615"/>
                  </a:lnTo>
                  <a:lnTo>
                    <a:pt x="1299" y="3615"/>
                  </a:lnTo>
                  <a:lnTo>
                    <a:pt x="1403" y="3693"/>
                  </a:lnTo>
                  <a:lnTo>
                    <a:pt x="1428" y="3666"/>
                  </a:lnTo>
                  <a:lnTo>
                    <a:pt x="1376" y="3641"/>
                  </a:lnTo>
                  <a:lnTo>
                    <a:pt x="1428" y="3641"/>
                  </a:lnTo>
                  <a:lnTo>
                    <a:pt x="1455" y="3615"/>
                  </a:lnTo>
                  <a:lnTo>
                    <a:pt x="1507" y="3666"/>
                  </a:lnTo>
                  <a:lnTo>
                    <a:pt x="1480" y="3693"/>
                  </a:lnTo>
                  <a:lnTo>
                    <a:pt x="1532" y="3718"/>
                  </a:lnTo>
                  <a:lnTo>
                    <a:pt x="1560" y="3718"/>
                  </a:lnTo>
                  <a:lnTo>
                    <a:pt x="1560" y="3641"/>
                  </a:lnTo>
                  <a:lnTo>
                    <a:pt x="1455" y="3590"/>
                  </a:lnTo>
                  <a:lnTo>
                    <a:pt x="1351" y="3615"/>
                  </a:lnTo>
                  <a:lnTo>
                    <a:pt x="1299" y="3561"/>
                  </a:lnTo>
                  <a:lnTo>
                    <a:pt x="1248" y="3538"/>
                  </a:lnTo>
                  <a:lnTo>
                    <a:pt x="1272" y="3486"/>
                  </a:lnTo>
                  <a:lnTo>
                    <a:pt x="1272" y="3430"/>
                  </a:lnTo>
                  <a:lnTo>
                    <a:pt x="1351" y="3354"/>
                  </a:lnTo>
                  <a:lnTo>
                    <a:pt x="1351" y="3331"/>
                  </a:lnTo>
                  <a:lnTo>
                    <a:pt x="1299" y="3302"/>
                  </a:lnTo>
                  <a:lnTo>
                    <a:pt x="1299" y="3273"/>
                  </a:lnTo>
                  <a:lnTo>
                    <a:pt x="1272" y="3273"/>
                  </a:lnTo>
                  <a:lnTo>
                    <a:pt x="1115" y="3250"/>
                  </a:lnTo>
                  <a:lnTo>
                    <a:pt x="1092" y="3225"/>
                  </a:lnTo>
                  <a:lnTo>
                    <a:pt x="1115" y="3198"/>
                  </a:lnTo>
                  <a:lnTo>
                    <a:pt x="1144" y="3146"/>
                  </a:lnTo>
                  <a:lnTo>
                    <a:pt x="1144" y="3118"/>
                  </a:lnTo>
                  <a:lnTo>
                    <a:pt x="1167" y="3095"/>
                  </a:lnTo>
                  <a:lnTo>
                    <a:pt x="1167" y="3043"/>
                  </a:lnTo>
                  <a:lnTo>
                    <a:pt x="1196" y="3014"/>
                  </a:lnTo>
                  <a:lnTo>
                    <a:pt x="1196" y="2962"/>
                  </a:lnTo>
                  <a:lnTo>
                    <a:pt x="1167" y="2962"/>
                  </a:lnTo>
                  <a:lnTo>
                    <a:pt x="1063" y="2962"/>
                  </a:lnTo>
                  <a:lnTo>
                    <a:pt x="1040" y="3043"/>
                  </a:lnTo>
                  <a:lnTo>
                    <a:pt x="1012" y="3070"/>
                  </a:lnTo>
                  <a:lnTo>
                    <a:pt x="937" y="3043"/>
                  </a:lnTo>
                  <a:lnTo>
                    <a:pt x="883" y="3043"/>
                  </a:lnTo>
                  <a:lnTo>
                    <a:pt x="779" y="2991"/>
                  </a:lnTo>
                  <a:lnTo>
                    <a:pt x="752" y="2962"/>
                  </a:lnTo>
                  <a:lnTo>
                    <a:pt x="779" y="2886"/>
                  </a:lnTo>
                  <a:lnTo>
                    <a:pt x="728" y="2807"/>
                  </a:lnTo>
                  <a:lnTo>
                    <a:pt x="752" y="2755"/>
                  </a:lnTo>
                  <a:lnTo>
                    <a:pt x="804" y="2703"/>
                  </a:lnTo>
                  <a:lnTo>
                    <a:pt x="804" y="2678"/>
                  </a:lnTo>
                  <a:lnTo>
                    <a:pt x="831" y="2575"/>
                  </a:lnTo>
                  <a:lnTo>
                    <a:pt x="856" y="2546"/>
                  </a:lnTo>
                  <a:lnTo>
                    <a:pt x="1012" y="2546"/>
                  </a:lnTo>
                  <a:lnTo>
                    <a:pt x="1040" y="2546"/>
                  </a:lnTo>
                  <a:lnTo>
                    <a:pt x="1063" y="2575"/>
                  </a:lnTo>
                  <a:lnTo>
                    <a:pt x="1092" y="2575"/>
                  </a:lnTo>
                  <a:lnTo>
                    <a:pt x="1115" y="2598"/>
                  </a:lnTo>
                  <a:lnTo>
                    <a:pt x="1144" y="2598"/>
                  </a:lnTo>
                  <a:lnTo>
                    <a:pt x="1144" y="2627"/>
                  </a:lnTo>
                  <a:lnTo>
                    <a:pt x="1167" y="2598"/>
                  </a:lnTo>
                  <a:lnTo>
                    <a:pt x="1196" y="2627"/>
                  </a:lnTo>
                  <a:lnTo>
                    <a:pt x="1219" y="2627"/>
                  </a:lnTo>
                  <a:lnTo>
                    <a:pt x="1196" y="2575"/>
                  </a:lnTo>
                  <a:lnTo>
                    <a:pt x="1272" y="2598"/>
                  </a:lnTo>
                  <a:lnTo>
                    <a:pt x="1299" y="2575"/>
                  </a:lnTo>
                  <a:lnTo>
                    <a:pt x="1351" y="2598"/>
                  </a:lnTo>
                  <a:lnTo>
                    <a:pt x="1351" y="2627"/>
                  </a:lnTo>
                  <a:lnTo>
                    <a:pt x="1455" y="2650"/>
                  </a:lnTo>
                  <a:lnTo>
                    <a:pt x="1480" y="2678"/>
                  </a:lnTo>
                  <a:lnTo>
                    <a:pt x="1455" y="2782"/>
                  </a:lnTo>
                  <a:lnTo>
                    <a:pt x="1480" y="2782"/>
                  </a:lnTo>
                  <a:lnTo>
                    <a:pt x="1507" y="2834"/>
                  </a:lnTo>
                  <a:lnTo>
                    <a:pt x="1507" y="2886"/>
                  </a:lnTo>
                  <a:lnTo>
                    <a:pt x="1560" y="2859"/>
                  </a:lnTo>
                  <a:lnTo>
                    <a:pt x="1587" y="2807"/>
                  </a:lnTo>
                  <a:lnTo>
                    <a:pt x="1560" y="2627"/>
                  </a:lnTo>
                  <a:lnTo>
                    <a:pt x="1560" y="2575"/>
                  </a:lnTo>
                  <a:lnTo>
                    <a:pt x="1743" y="2442"/>
                  </a:lnTo>
                  <a:lnTo>
                    <a:pt x="1768" y="2391"/>
                  </a:lnTo>
                  <a:lnTo>
                    <a:pt x="1819" y="2391"/>
                  </a:lnTo>
                  <a:lnTo>
                    <a:pt x="1768" y="2314"/>
                  </a:lnTo>
                  <a:lnTo>
                    <a:pt x="1791" y="2287"/>
                  </a:lnTo>
                  <a:lnTo>
                    <a:pt x="1791" y="2314"/>
                  </a:lnTo>
                  <a:lnTo>
                    <a:pt x="1819" y="2287"/>
                  </a:lnTo>
                  <a:lnTo>
                    <a:pt x="1819" y="2262"/>
                  </a:lnTo>
                  <a:lnTo>
                    <a:pt x="1871" y="2210"/>
                  </a:lnTo>
                  <a:lnTo>
                    <a:pt x="1900" y="2158"/>
                  </a:lnTo>
                  <a:lnTo>
                    <a:pt x="1975" y="2132"/>
                  </a:lnTo>
                  <a:lnTo>
                    <a:pt x="2027" y="2080"/>
                  </a:lnTo>
                  <a:lnTo>
                    <a:pt x="2004" y="2107"/>
                  </a:lnTo>
                  <a:lnTo>
                    <a:pt x="2004" y="2080"/>
                  </a:lnTo>
                  <a:lnTo>
                    <a:pt x="2078" y="2003"/>
                  </a:lnTo>
                  <a:lnTo>
                    <a:pt x="2107" y="2003"/>
                  </a:lnTo>
                  <a:lnTo>
                    <a:pt x="2130" y="1974"/>
                  </a:lnTo>
                  <a:lnTo>
                    <a:pt x="2107" y="1974"/>
                  </a:lnTo>
                  <a:lnTo>
                    <a:pt x="2078" y="1922"/>
                  </a:lnTo>
                  <a:lnTo>
                    <a:pt x="2107" y="1974"/>
                  </a:lnTo>
                  <a:lnTo>
                    <a:pt x="2130" y="1974"/>
                  </a:lnTo>
                  <a:lnTo>
                    <a:pt x="2184" y="1951"/>
                  </a:lnTo>
                  <a:lnTo>
                    <a:pt x="2159" y="2003"/>
                  </a:lnTo>
                  <a:lnTo>
                    <a:pt x="2184" y="2026"/>
                  </a:lnTo>
                  <a:lnTo>
                    <a:pt x="2236" y="1951"/>
                  </a:lnTo>
                  <a:lnTo>
                    <a:pt x="2288" y="1922"/>
                  </a:lnTo>
                  <a:lnTo>
                    <a:pt x="2184" y="1871"/>
                  </a:lnTo>
                  <a:lnTo>
                    <a:pt x="2184" y="1848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gray">
            <a:xfrm>
              <a:off x="1500" y="563"/>
              <a:ext cx="364" cy="312"/>
            </a:xfrm>
            <a:custGeom>
              <a:avLst/>
              <a:gdLst>
                <a:gd name="T0" fmla="*/ 26 w 364"/>
                <a:gd name="T1" fmla="*/ 286 h 312"/>
                <a:gd name="T2" fmla="*/ 52 w 364"/>
                <a:gd name="T3" fmla="*/ 286 h 312"/>
                <a:gd name="T4" fmla="*/ 78 w 364"/>
                <a:gd name="T5" fmla="*/ 312 h 312"/>
                <a:gd name="T6" fmla="*/ 118 w 364"/>
                <a:gd name="T7" fmla="*/ 312 h 312"/>
                <a:gd name="T8" fmla="*/ 144 w 364"/>
                <a:gd name="T9" fmla="*/ 300 h 312"/>
                <a:gd name="T10" fmla="*/ 118 w 364"/>
                <a:gd name="T11" fmla="*/ 260 h 312"/>
                <a:gd name="T12" fmla="*/ 156 w 364"/>
                <a:gd name="T13" fmla="*/ 274 h 312"/>
                <a:gd name="T14" fmla="*/ 208 w 364"/>
                <a:gd name="T15" fmla="*/ 248 h 312"/>
                <a:gd name="T16" fmla="*/ 208 w 364"/>
                <a:gd name="T17" fmla="*/ 208 h 312"/>
                <a:gd name="T18" fmla="*/ 222 w 364"/>
                <a:gd name="T19" fmla="*/ 182 h 312"/>
                <a:gd name="T20" fmla="*/ 222 w 364"/>
                <a:gd name="T21" fmla="*/ 170 h 312"/>
                <a:gd name="T22" fmla="*/ 286 w 364"/>
                <a:gd name="T23" fmla="*/ 144 h 312"/>
                <a:gd name="T24" fmla="*/ 338 w 364"/>
                <a:gd name="T25" fmla="*/ 92 h 312"/>
                <a:gd name="T26" fmla="*/ 338 w 364"/>
                <a:gd name="T27" fmla="*/ 78 h 312"/>
                <a:gd name="T28" fmla="*/ 352 w 364"/>
                <a:gd name="T29" fmla="*/ 66 h 312"/>
                <a:gd name="T30" fmla="*/ 352 w 364"/>
                <a:gd name="T31" fmla="*/ 40 h 312"/>
                <a:gd name="T32" fmla="*/ 300 w 364"/>
                <a:gd name="T33" fmla="*/ 14 h 312"/>
                <a:gd name="T34" fmla="*/ 274 w 364"/>
                <a:gd name="T35" fmla="*/ 0 h 312"/>
                <a:gd name="T36" fmla="*/ 234 w 364"/>
                <a:gd name="T37" fmla="*/ 0 h 312"/>
                <a:gd name="T38" fmla="*/ 208 w 364"/>
                <a:gd name="T39" fmla="*/ 26 h 312"/>
                <a:gd name="T40" fmla="*/ 170 w 364"/>
                <a:gd name="T41" fmla="*/ 14 h 312"/>
                <a:gd name="T42" fmla="*/ 170 w 364"/>
                <a:gd name="T43" fmla="*/ 40 h 312"/>
                <a:gd name="T44" fmla="*/ 144 w 364"/>
                <a:gd name="T45" fmla="*/ 66 h 312"/>
                <a:gd name="T46" fmla="*/ 156 w 364"/>
                <a:gd name="T47" fmla="*/ 92 h 312"/>
                <a:gd name="T48" fmla="*/ 182 w 364"/>
                <a:gd name="T49" fmla="*/ 104 h 312"/>
                <a:gd name="T50" fmla="*/ 196 w 364"/>
                <a:gd name="T51" fmla="*/ 118 h 312"/>
                <a:gd name="T52" fmla="*/ 156 w 364"/>
                <a:gd name="T53" fmla="*/ 118 h 312"/>
                <a:gd name="T54" fmla="*/ 144 w 364"/>
                <a:gd name="T55" fmla="*/ 156 h 312"/>
                <a:gd name="T56" fmla="*/ 130 w 364"/>
                <a:gd name="T57" fmla="*/ 144 h 312"/>
                <a:gd name="T58" fmla="*/ 118 w 364"/>
                <a:gd name="T59" fmla="*/ 144 h 312"/>
                <a:gd name="T60" fmla="*/ 104 w 364"/>
                <a:gd name="T61" fmla="*/ 170 h 312"/>
                <a:gd name="T62" fmla="*/ 104 w 364"/>
                <a:gd name="T63" fmla="*/ 196 h 312"/>
                <a:gd name="T64" fmla="*/ 104 w 364"/>
                <a:gd name="T65" fmla="*/ 208 h 312"/>
                <a:gd name="T66" fmla="*/ 66 w 364"/>
                <a:gd name="T67" fmla="*/ 222 h 312"/>
                <a:gd name="T68" fmla="*/ 52 w 364"/>
                <a:gd name="T69" fmla="*/ 234 h 312"/>
                <a:gd name="T70" fmla="*/ 52 w 364"/>
                <a:gd name="T71" fmla="*/ 234 h 312"/>
                <a:gd name="T72" fmla="*/ 26 w 364"/>
                <a:gd name="T73" fmla="*/ 248 h 312"/>
                <a:gd name="T74" fmla="*/ 14 w 364"/>
                <a:gd name="T75" fmla="*/ 234 h 312"/>
                <a:gd name="T76" fmla="*/ 0 w 364"/>
                <a:gd name="T77" fmla="*/ 260 h 312"/>
                <a:gd name="T78" fmla="*/ 14 w 364"/>
                <a:gd name="T79" fmla="*/ 27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4" h="312">
                  <a:moveTo>
                    <a:pt x="14" y="274"/>
                  </a:moveTo>
                  <a:lnTo>
                    <a:pt x="26" y="286"/>
                  </a:lnTo>
                  <a:lnTo>
                    <a:pt x="40" y="286"/>
                  </a:lnTo>
                  <a:lnTo>
                    <a:pt x="52" y="286"/>
                  </a:lnTo>
                  <a:lnTo>
                    <a:pt x="52" y="312"/>
                  </a:lnTo>
                  <a:lnTo>
                    <a:pt x="78" y="312"/>
                  </a:lnTo>
                  <a:lnTo>
                    <a:pt x="92" y="312"/>
                  </a:lnTo>
                  <a:lnTo>
                    <a:pt x="118" y="312"/>
                  </a:lnTo>
                  <a:lnTo>
                    <a:pt x="130" y="312"/>
                  </a:lnTo>
                  <a:lnTo>
                    <a:pt x="144" y="300"/>
                  </a:lnTo>
                  <a:lnTo>
                    <a:pt x="118" y="274"/>
                  </a:lnTo>
                  <a:lnTo>
                    <a:pt x="118" y="260"/>
                  </a:lnTo>
                  <a:lnTo>
                    <a:pt x="156" y="286"/>
                  </a:lnTo>
                  <a:lnTo>
                    <a:pt x="156" y="274"/>
                  </a:lnTo>
                  <a:lnTo>
                    <a:pt x="182" y="248"/>
                  </a:lnTo>
                  <a:lnTo>
                    <a:pt x="208" y="248"/>
                  </a:lnTo>
                  <a:lnTo>
                    <a:pt x="222" y="234"/>
                  </a:lnTo>
                  <a:lnTo>
                    <a:pt x="208" y="208"/>
                  </a:lnTo>
                  <a:lnTo>
                    <a:pt x="208" y="196"/>
                  </a:lnTo>
                  <a:lnTo>
                    <a:pt x="222" y="182"/>
                  </a:lnTo>
                  <a:lnTo>
                    <a:pt x="208" y="170"/>
                  </a:lnTo>
                  <a:lnTo>
                    <a:pt x="222" y="170"/>
                  </a:lnTo>
                  <a:lnTo>
                    <a:pt x="248" y="156"/>
                  </a:lnTo>
                  <a:lnTo>
                    <a:pt x="286" y="144"/>
                  </a:lnTo>
                  <a:lnTo>
                    <a:pt x="312" y="118"/>
                  </a:lnTo>
                  <a:lnTo>
                    <a:pt x="338" y="92"/>
                  </a:lnTo>
                  <a:lnTo>
                    <a:pt x="352" y="92"/>
                  </a:lnTo>
                  <a:lnTo>
                    <a:pt x="338" y="78"/>
                  </a:lnTo>
                  <a:lnTo>
                    <a:pt x="338" y="66"/>
                  </a:lnTo>
                  <a:lnTo>
                    <a:pt x="352" y="66"/>
                  </a:lnTo>
                  <a:lnTo>
                    <a:pt x="364" y="52"/>
                  </a:lnTo>
                  <a:lnTo>
                    <a:pt x="352" y="40"/>
                  </a:lnTo>
                  <a:lnTo>
                    <a:pt x="326" y="26"/>
                  </a:lnTo>
                  <a:lnTo>
                    <a:pt x="300" y="14"/>
                  </a:lnTo>
                  <a:lnTo>
                    <a:pt x="300" y="26"/>
                  </a:lnTo>
                  <a:lnTo>
                    <a:pt x="274" y="0"/>
                  </a:lnTo>
                  <a:lnTo>
                    <a:pt x="260" y="0"/>
                  </a:lnTo>
                  <a:lnTo>
                    <a:pt x="234" y="0"/>
                  </a:lnTo>
                  <a:lnTo>
                    <a:pt x="222" y="14"/>
                  </a:lnTo>
                  <a:lnTo>
                    <a:pt x="208" y="26"/>
                  </a:lnTo>
                  <a:lnTo>
                    <a:pt x="196" y="14"/>
                  </a:lnTo>
                  <a:lnTo>
                    <a:pt x="170" y="14"/>
                  </a:lnTo>
                  <a:lnTo>
                    <a:pt x="170" y="26"/>
                  </a:lnTo>
                  <a:lnTo>
                    <a:pt x="170" y="40"/>
                  </a:lnTo>
                  <a:lnTo>
                    <a:pt x="156" y="40"/>
                  </a:lnTo>
                  <a:lnTo>
                    <a:pt x="144" y="66"/>
                  </a:lnTo>
                  <a:lnTo>
                    <a:pt x="144" y="78"/>
                  </a:lnTo>
                  <a:lnTo>
                    <a:pt x="156" y="92"/>
                  </a:lnTo>
                  <a:lnTo>
                    <a:pt x="182" y="92"/>
                  </a:lnTo>
                  <a:lnTo>
                    <a:pt x="182" y="104"/>
                  </a:lnTo>
                  <a:lnTo>
                    <a:pt x="208" y="104"/>
                  </a:lnTo>
                  <a:lnTo>
                    <a:pt x="196" y="118"/>
                  </a:lnTo>
                  <a:lnTo>
                    <a:pt x="170" y="118"/>
                  </a:lnTo>
                  <a:lnTo>
                    <a:pt x="156" y="118"/>
                  </a:lnTo>
                  <a:lnTo>
                    <a:pt x="144" y="130"/>
                  </a:lnTo>
                  <a:lnTo>
                    <a:pt x="144" y="156"/>
                  </a:lnTo>
                  <a:lnTo>
                    <a:pt x="156" y="156"/>
                  </a:lnTo>
                  <a:lnTo>
                    <a:pt x="130" y="144"/>
                  </a:lnTo>
                  <a:lnTo>
                    <a:pt x="118" y="130"/>
                  </a:lnTo>
                  <a:lnTo>
                    <a:pt x="118" y="144"/>
                  </a:lnTo>
                  <a:lnTo>
                    <a:pt x="104" y="156"/>
                  </a:lnTo>
                  <a:lnTo>
                    <a:pt x="104" y="170"/>
                  </a:lnTo>
                  <a:lnTo>
                    <a:pt x="118" y="182"/>
                  </a:lnTo>
                  <a:lnTo>
                    <a:pt x="104" y="196"/>
                  </a:lnTo>
                  <a:lnTo>
                    <a:pt x="118" y="208"/>
                  </a:lnTo>
                  <a:lnTo>
                    <a:pt x="104" y="208"/>
                  </a:lnTo>
                  <a:lnTo>
                    <a:pt x="92" y="208"/>
                  </a:lnTo>
                  <a:lnTo>
                    <a:pt x="66" y="222"/>
                  </a:lnTo>
                  <a:lnTo>
                    <a:pt x="52" y="222"/>
                  </a:lnTo>
                  <a:lnTo>
                    <a:pt x="52" y="234"/>
                  </a:lnTo>
                  <a:lnTo>
                    <a:pt x="66" y="234"/>
                  </a:lnTo>
                  <a:lnTo>
                    <a:pt x="52" y="234"/>
                  </a:lnTo>
                  <a:lnTo>
                    <a:pt x="40" y="234"/>
                  </a:lnTo>
                  <a:lnTo>
                    <a:pt x="26" y="248"/>
                  </a:lnTo>
                  <a:lnTo>
                    <a:pt x="26" y="222"/>
                  </a:lnTo>
                  <a:lnTo>
                    <a:pt x="14" y="234"/>
                  </a:lnTo>
                  <a:lnTo>
                    <a:pt x="14" y="248"/>
                  </a:lnTo>
                  <a:lnTo>
                    <a:pt x="0" y="260"/>
                  </a:lnTo>
                  <a:lnTo>
                    <a:pt x="14" y="274"/>
                  </a:lnTo>
                  <a:lnTo>
                    <a:pt x="14" y="274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gray">
            <a:xfrm>
              <a:off x="1500" y="629"/>
              <a:ext cx="92" cy="130"/>
            </a:xfrm>
            <a:custGeom>
              <a:avLst/>
              <a:gdLst>
                <a:gd name="T0" fmla="*/ 26 w 92"/>
                <a:gd name="T1" fmla="*/ 130 h 130"/>
                <a:gd name="T2" fmla="*/ 52 w 92"/>
                <a:gd name="T3" fmla="*/ 116 h 130"/>
                <a:gd name="T4" fmla="*/ 66 w 92"/>
                <a:gd name="T5" fmla="*/ 116 h 130"/>
                <a:gd name="T6" fmla="*/ 66 w 92"/>
                <a:gd name="T7" fmla="*/ 104 h 130"/>
                <a:gd name="T8" fmla="*/ 78 w 92"/>
                <a:gd name="T9" fmla="*/ 90 h 130"/>
                <a:gd name="T10" fmla="*/ 78 w 92"/>
                <a:gd name="T11" fmla="*/ 78 h 130"/>
                <a:gd name="T12" fmla="*/ 78 w 92"/>
                <a:gd name="T13" fmla="*/ 52 h 130"/>
                <a:gd name="T14" fmla="*/ 92 w 92"/>
                <a:gd name="T15" fmla="*/ 52 h 130"/>
                <a:gd name="T16" fmla="*/ 92 w 92"/>
                <a:gd name="T17" fmla="*/ 38 h 130"/>
                <a:gd name="T18" fmla="*/ 78 w 92"/>
                <a:gd name="T19" fmla="*/ 52 h 130"/>
                <a:gd name="T20" fmla="*/ 78 w 92"/>
                <a:gd name="T21" fmla="*/ 26 h 130"/>
                <a:gd name="T22" fmla="*/ 78 w 92"/>
                <a:gd name="T23" fmla="*/ 0 h 130"/>
                <a:gd name="T24" fmla="*/ 66 w 92"/>
                <a:gd name="T25" fmla="*/ 0 h 130"/>
                <a:gd name="T26" fmla="*/ 66 w 92"/>
                <a:gd name="T27" fmla="*/ 12 h 130"/>
                <a:gd name="T28" fmla="*/ 40 w 92"/>
                <a:gd name="T29" fmla="*/ 12 h 130"/>
                <a:gd name="T30" fmla="*/ 26 w 92"/>
                <a:gd name="T31" fmla="*/ 38 h 130"/>
                <a:gd name="T32" fmla="*/ 26 w 92"/>
                <a:gd name="T33" fmla="*/ 52 h 130"/>
                <a:gd name="T34" fmla="*/ 26 w 92"/>
                <a:gd name="T35" fmla="*/ 64 h 130"/>
                <a:gd name="T36" fmla="*/ 14 w 92"/>
                <a:gd name="T37" fmla="*/ 64 h 130"/>
                <a:gd name="T38" fmla="*/ 40 w 92"/>
                <a:gd name="T39" fmla="*/ 78 h 130"/>
                <a:gd name="T40" fmla="*/ 40 w 92"/>
                <a:gd name="T41" fmla="*/ 90 h 130"/>
                <a:gd name="T42" fmla="*/ 14 w 92"/>
                <a:gd name="T43" fmla="*/ 90 h 130"/>
                <a:gd name="T44" fmla="*/ 0 w 92"/>
                <a:gd name="T45" fmla="*/ 104 h 130"/>
                <a:gd name="T46" fmla="*/ 0 w 92"/>
                <a:gd name="T47" fmla="*/ 116 h 130"/>
                <a:gd name="T48" fmla="*/ 0 w 92"/>
                <a:gd name="T49" fmla="*/ 130 h 130"/>
                <a:gd name="T50" fmla="*/ 14 w 92"/>
                <a:gd name="T51" fmla="*/ 130 h 130"/>
                <a:gd name="T52" fmla="*/ 26 w 92"/>
                <a:gd name="T53" fmla="*/ 130 h 130"/>
                <a:gd name="T54" fmla="*/ 26 w 92"/>
                <a:gd name="T55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130">
                  <a:moveTo>
                    <a:pt x="26" y="130"/>
                  </a:moveTo>
                  <a:lnTo>
                    <a:pt x="52" y="116"/>
                  </a:lnTo>
                  <a:lnTo>
                    <a:pt x="66" y="116"/>
                  </a:lnTo>
                  <a:lnTo>
                    <a:pt x="66" y="104"/>
                  </a:lnTo>
                  <a:lnTo>
                    <a:pt x="78" y="90"/>
                  </a:lnTo>
                  <a:lnTo>
                    <a:pt x="78" y="78"/>
                  </a:lnTo>
                  <a:lnTo>
                    <a:pt x="78" y="52"/>
                  </a:lnTo>
                  <a:lnTo>
                    <a:pt x="92" y="52"/>
                  </a:lnTo>
                  <a:lnTo>
                    <a:pt x="92" y="38"/>
                  </a:lnTo>
                  <a:lnTo>
                    <a:pt x="78" y="52"/>
                  </a:lnTo>
                  <a:lnTo>
                    <a:pt x="78" y="26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66" y="12"/>
                  </a:lnTo>
                  <a:lnTo>
                    <a:pt x="40" y="12"/>
                  </a:lnTo>
                  <a:lnTo>
                    <a:pt x="26" y="38"/>
                  </a:lnTo>
                  <a:lnTo>
                    <a:pt x="26" y="52"/>
                  </a:lnTo>
                  <a:lnTo>
                    <a:pt x="26" y="64"/>
                  </a:lnTo>
                  <a:lnTo>
                    <a:pt x="14" y="64"/>
                  </a:lnTo>
                  <a:lnTo>
                    <a:pt x="40" y="78"/>
                  </a:lnTo>
                  <a:lnTo>
                    <a:pt x="40" y="90"/>
                  </a:lnTo>
                  <a:lnTo>
                    <a:pt x="14" y="90"/>
                  </a:lnTo>
                  <a:lnTo>
                    <a:pt x="0" y="104"/>
                  </a:lnTo>
                  <a:lnTo>
                    <a:pt x="0" y="116"/>
                  </a:lnTo>
                  <a:lnTo>
                    <a:pt x="0" y="130"/>
                  </a:lnTo>
                  <a:lnTo>
                    <a:pt x="14" y="130"/>
                  </a:lnTo>
                  <a:lnTo>
                    <a:pt x="26" y="130"/>
                  </a:lnTo>
                  <a:lnTo>
                    <a:pt x="26" y="13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gray">
            <a:xfrm>
              <a:off x="1488" y="641"/>
              <a:ext cx="12" cy="26"/>
            </a:xfrm>
            <a:custGeom>
              <a:avLst/>
              <a:gdLst>
                <a:gd name="T0" fmla="*/ 12 w 12"/>
                <a:gd name="T1" fmla="*/ 14 h 26"/>
                <a:gd name="T2" fmla="*/ 0 w 12"/>
                <a:gd name="T3" fmla="*/ 0 h 26"/>
                <a:gd name="T4" fmla="*/ 0 w 12"/>
                <a:gd name="T5" fmla="*/ 26 h 26"/>
                <a:gd name="T6" fmla="*/ 12 w 12"/>
                <a:gd name="T7" fmla="*/ 26 h 26"/>
                <a:gd name="T8" fmla="*/ 12 w 12"/>
                <a:gd name="T9" fmla="*/ 14 h 26"/>
                <a:gd name="T10" fmla="*/ 12 w 12"/>
                <a:gd name="T1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6">
                  <a:moveTo>
                    <a:pt x="12" y="14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gray">
            <a:xfrm>
              <a:off x="1396" y="797"/>
              <a:ext cx="104" cy="170"/>
            </a:xfrm>
            <a:custGeom>
              <a:avLst/>
              <a:gdLst>
                <a:gd name="T0" fmla="*/ 78 w 104"/>
                <a:gd name="T1" fmla="*/ 170 h 170"/>
                <a:gd name="T2" fmla="*/ 92 w 104"/>
                <a:gd name="T3" fmla="*/ 156 h 170"/>
                <a:gd name="T4" fmla="*/ 92 w 104"/>
                <a:gd name="T5" fmla="*/ 144 h 170"/>
                <a:gd name="T6" fmla="*/ 104 w 104"/>
                <a:gd name="T7" fmla="*/ 130 h 170"/>
                <a:gd name="T8" fmla="*/ 104 w 104"/>
                <a:gd name="T9" fmla="*/ 118 h 170"/>
                <a:gd name="T10" fmla="*/ 92 w 104"/>
                <a:gd name="T11" fmla="*/ 104 h 170"/>
                <a:gd name="T12" fmla="*/ 66 w 104"/>
                <a:gd name="T13" fmla="*/ 104 h 170"/>
                <a:gd name="T14" fmla="*/ 52 w 104"/>
                <a:gd name="T15" fmla="*/ 92 h 170"/>
                <a:gd name="T16" fmla="*/ 38 w 104"/>
                <a:gd name="T17" fmla="*/ 78 h 170"/>
                <a:gd name="T18" fmla="*/ 38 w 104"/>
                <a:gd name="T19" fmla="*/ 66 h 170"/>
                <a:gd name="T20" fmla="*/ 52 w 104"/>
                <a:gd name="T21" fmla="*/ 66 h 170"/>
                <a:gd name="T22" fmla="*/ 66 w 104"/>
                <a:gd name="T23" fmla="*/ 66 h 170"/>
                <a:gd name="T24" fmla="*/ 52 w 104"/>
                <a:gd name="T25" fmla="*/ 52 h 170"/>
                <a:gd name="T26" fmla="*/ 66 w 104"/>
                <a:gd name="T27" fmla="*/ 52 h 170"/>
                <a:gd name="T28" fmla="*/ 66 w 104"/>
                <a:gd name="T29" fmla="*/ 26 h 170"/>
                <a:gd name="T30" fmla="*/ 52 w 104"/>
                <a:gd name="T31" fmla="*/ 26 h 170"/>
                <a:gd name="T32" fmla="*/ 38 w 104"/>
                <a:gd name="T33" fmla="*/ 26 h 170"/>
                <a:gd name="T34" fmla="*/ 26 w 104"/>
                <a:gd name="T35" fmla="*/ 26 h 170"/>
                <a:gd name="T36" fmla="*/ 26 w 104"/>
                <a:gd name="T37" fmla="*/ 14 h 170"/>
                <a:gd name="T38" fmla="*/ 0 w 104"/>
                <a:gd name="T39" fmla="*/ 0 h 170"/>
                <a:gd name="T40" fmla="*/ 0 w 104"/>
                <a:gd name="T41" fmla="*/ 14 h 170"/>
                <a:gd name="T42" fmla="*/ 0 w 104"/>
                <a:gd name="T43" fmla="*/ 40 h 170"/>
                <a:gd name="T44" fmla="*/ 12 w 104"/>
                <a:gd name="T45" fmla="*/ 40 h 170"/>
                <a:gd name="T46" fmla="*/ 12 w 104"/>
                <a:gd name="T47" fmla="*/ 52 h 170"/>
                <a:gd name="T48" fmla="*/ 12 w 104"/>
                <a:gd name="T49" fmla="*/ 66 h 170"/>
                <a:gd name="T50" fmla="*/ 12 w 104"/>
                <a:gd name="T51" fmla="*/ 92 h 170"/>
                <a:gd name="T52" fmla="*/ 12 w 104"/>
                <a:gd name="T53" fmla="*/ 104 h 170"/>
                <a:gd name="T54" fmla="*/ 26 w 104"/>
                <a:gd name="T55" fmla="*/ 118 h 170"/>
                <a:gd name="T56" fmla="*/ 26 w 104"/>
                <a:gd name="T57" fmla="*/ 130 h 170"/>
                <a:gd name="T58" fmla="*/ 26 w 104"/>
                <a:gd name="T59" fmla="*/ 144 h 170"/>
                <a:gd name="T60" fmla="*/ 38 w 104"/>
                <a:gd name="T61" fmla="*/ 170 h 170"/>
                <a:gd name="T62" fmla="*/ 52 w 104"/>
                <a:gd name="T63" fmla="*/ 170 h 170"/>
                <a:gd name="T64" fmla="*/ 78 w 104"/>
                <a:gd name="T65" fmla="*/ 170 h 170"/>
                <a:gd name="T66" fmla="*/ 78 w 104"/>
                <a:gd name="T6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170">
                  <a:moveTo>
                    <a:pt x="78" y="170"/>
                  </a:moveTo>
                  <a:lnTo>
                    <a:pt x="92" y="156"/>
                  </a:lnTo>
                  <a:lnTo>
                    <a:pt x="92" y="144"/>
                  </a:lnTo>
                  <a:lnTo>
                    <a:pt x="104" y="130"/>
                  </a:lnTo>
                  <a:lnTo>
                    <a:pt x="104" y="118"/>
                  </a:lnTo>
                  <a:lnTo>
                    <a:pt x="92" y="104"/>
                  </a:lnTo>
                  <a:lnTo>
                    <a:pt x="66" y="104"/>
                  </a:lnTo>
                  <a:lnTo>
                    <a:pt x="52" y="92"/>
                  </a:lnTo>
                  <a:lnTo>
                    <a:pt x="38" y="78"/>
                  </a:lnTo>
                  <a:lnTo>
                    <a:pt x="38" y="66"/>
                  </a:lnTo>
                  <a:lnTo>
                    <a:pt x="52" y="66"/>
                  </a:lnTo>
                  <a:lnTo>
                    <a:pt x="66" y="66"/>
                  </a:lnTo>
                  <a:lnTo>
                    <a:pt x="52" y="52"/>
                  </a:lnTo>
                  <a:lnTo>
                    <a:pt x="66" y="52"/>
                  </a:lnTo>
                  <a:lnTo>
                    <a:pt x="66" y="26"/>
                  </a:lnTo>
                  <a:lnTo>
                    <a:pt x="52" y="26"/>
                  </a:lnTo>
                  <a:lnTo>
                    <a:pt x="38" y="26"/>
                  </a:lnTo>
                  <a:lnTo>
                    <a:pt x="26" y="26"/>
                  </a:lnTo>
                  <a:lnTo>
                    <a:pt x="26" y="14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40"/>
                  </a:lnTo>
                  <a:lnTo>
                    <a:pt x="12" y="40"/>
                  </a:lnTo>
                  <a:lnTo>
                    <a:pt x="12" y="52"/>
                  </a:lnTo>
                  <a:lnTo>
                    <a:pt x="12" y="66"/>
                  </a:lnTo>
                  <a:lnTo>
                    <a:pt x="12" y="92"/>
                  </a:lnTo>
                  <a:lnTo>
                    <a:pt x="12" y="104"/>
                  </a:lnTo>
                  <a:lnTo>
                    <a:pt x="26" y="118"/>
                  </a:lnTo>
                  <a:lnTo>
                    <a:pt x="26" y="130"/>
                  </a:lnTo>
                  <a:lnTo>
                    <a:pt x="26" y="144"/>
                  </a:lnTo>
                  <a:lnTo>
                    <a:pt x="38" y="170"/>
                  </a:lnTo>
                  <a:lnTo>
                    <a:pt x="52" y="170"/>
                  </a:lnTo>
                  <a:lnTo>
                    <a:pt x="78" y="170"/>
                  </a:lnTo>
                  <a:lnTo>
                    <a:pt x="78" y="17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gray">
            <a:xfrm>
              <a:off x="1462" y="771"/>
              <a:ext cx="26" cy="26"/>
            </a:xfrm>
            <a:custGeom>
              <a:avLst/>
              <a:gdLst>
                <a:gd name="T0" fmla="*/ 12 w 26"/>
                <a:gd name="T1" fmla="*/ 14 h 26"/>
                <a:gd name="T2" fmla="*/ 0 w 26"/>
                <a:gd name="T3" fmla="*/ 14 h 26"/>
                <a:gd name="T4" fmla="*/ 0 w 26"/>
                <a:gd name="T5" fmla="*/ 26 h 26"/>
                <a:gd name="T6" fmla="*/ 12 w 26"/>
                <a:gd name="T7" fmla="*/ 26 h 26"/>
                <a:gd name="T8" fmla="*/ 26 w 26"/>
                <a:gd name="T9" fmla="*/ 0 h 26"/>
                <a:gd name="T10" fmla="*/ 12 w 26"/>
                <a:gd name="T11" fmla="*/ 14 h 26"/>
                <a:gd name="T12" fmla="*/ 12 w 26"/>
                <a:gd name="T1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12" y="14"/>
                  </a:moveTo>
                  <a:lnTo>
                    <a:pt x="0" y="14"/>
                  </a:lnTo>
                  <a:lnTo>
                    <a:pt x="0" y="26"/>
                  </a:lnTo>
                  <a:lnTo>
                    <a:pt x="12" y="26"/>
                  </a:lnTo>
                  <a:lnTo>
                    <a:pt x="26" y="0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gray">
            <a:xfrm>
              <a:off x="1370" y="681"/>
              <a:ext cx="38" cy="52"/>
            </a:xfrm>
            <a:custGeom>
              <a:avLst/>
              <a:gdLst>
                <a:gd name="T0" fmla="*/ 0 w 38"/>
                <a:gd name="T1" fmla="*/ 12 h 52"/>
                <a:gd name="T2" fmla="*/ 0 w 38"/>
                <a:gd name="T3" fmla="*/ 38 h 52"/>
                <a:gd name="T4" fmla="*/ 12 w 38"/>
                <a:gd name="T5" fmla="*/ 52 h 52"/>
                <a:gd name="T6" fmla="*/ 26 w 38"/>
                <a:gd name="T7" fmla="*/ 38 h 52"/>
                <a:gd name="T8" fmla="*/ 38 w 38"/>
                <a:gd name="T9" fmla="*/ 26 h 52"/>
                <a:gd name="T10" fmla="*/ 26 w 38"/>
                <a:gd name="T11" fmla="*/ 0 h 52"/>
                <a:gd name="T12" fmla="*/ 0 w 38"/>
                <a:gd name="T13" fmla="*/ 12 h 52"/>
                <a:gd name="T14" fmla="*/ 0 w 38"/>
                <a:gd name="T15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52">
                  <a:moveTo>
                    <a:pt x="0" y="12"/>
                  </a:moveTo>
                  <a:lnTo>
                    <a:pt x="0" y="38"/>
                  </a:lnTo>
                  <a:lnTo>
                    <a:pt x="12" y="52"/>
                  </a:lnTo>
                  <a:lnTo>
                    <a:pt x="26" y="38"/>
                  </a:lnTo>
                  <a:lnTo>
                    <a:pt x="38" y="26"/>
                  </a:lnTo>
                  <a:lnTo>
                    <a:pt x="26" y="0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gray">
            <a:xfrm>
              <a:off x="1318" y="655"/>
              <a:ext cx="38" cy="52"/>
            </a:xfrm>
            <a:custGeom>
              <a:avLst/>
              <a:gdLst>
                <a:gd name="T0" fmla="*/ 26 w 38"/>
                <a:gd name="T1" fmla="*/ 0 h 52"/>
                <a:gd name="T2" fmla="*/ 12 w 38"/>
                <a:gd name="T3" fmla="*/ 12 h 52"/>
                <a:gd name="T4" fmla="*/ 0 w 38"/>
                <a:gd name="T5" fmla="*/ 12 h 52"/>
                <a:gd name="T6" fmla="*/ 0 w 38"/>
                <a:gd name="T7" fmla="*/ 26 h 52"/>
                <a:gd name="T8" fmla="*/ 12 w 38"/>
                <a:gd name="T9" fmla="*/ 38 h 52"/>
                <a:gd name="T10" fmla="*/ 0 w 38"/>
                <a:gd name="T11" fmla="*/ 52 h 52"/>
                <a:gd name="T12" fmla="*/ 12 w 38"/>
                <a:gd name="T13" fmla="*/ 52 h 52"/>
                <a:gd name="T14" fmla="*/ 12 w 38"/>
                <a:gd name="T15" fmla="*/ 38 h 52"/>
                <a:gd name="T16" fmla="*/ 38 w 38"/>
                <a:gd name="T17" fmla="*/ 26 h 52"/>
                <a:gd name="T18" fmla="*/ 38 w 38"/>
                <a:gd name="T19" fmla="*/ 12 h 52"/>
                <a:gd name="T20" fmla="*/ 26 w 38"/>
                <a:gd name="T21" fmla="*/ 0 h 52"/>
                <a:gd name="T22" fmla="*/ 26 w 38"/>
                <a:gd name="T23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52">
                  <a:moveTo>
                    <a:pt x="26" y="0"/>
                  </a:moveTo>
                  <a:lnTo>
                    <a:pt x="12" y="12"/>
                  </a:lnTo>
                  <a:lnTo>
                    <a:pt x="0" y="12"/>
                  </a:lnTo>
                  <a:lnTo>
                    <a:pt x="0" y="26"/>
                  </a:lnTo>
                  <a:lnTo>
                    <a:pt x="12" y="38"/>
                  </a:lnTo>
                  <a:lnTo>
                    <a:pt x="0" y="52"/>
                  </a:lnTo>
                  <a:lnTo>
                    <a:pt x="12" y="52"/>
                  </a:lnTo>
                  <a:lnTo>
                    <a:pt x="12" y="38"/>
                  </a:lnTo>
                  <a:lnTo>
                    <a:pt x="38" y="26"/>
                  </a:lnTo>
                  <a:lnTo>
                    <a:pt x="38" y="12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gray">
            <a:xfrm>
              <a:off x="1200" y="2176"/>
              <a:ext cx="247" cy="101"/>
            </a:xfrm>
            <a:custGeom>
              <a:avLst/>
              <a:gdLst>
                <a:gd name="T0" fmla="*/ 131 w 495"/>
                <a:gd name="T1" fmla="*/ 48 h 204"/>
                <a:gd name="T2" fmla="*/ 236 w 495"/>
                <a:gd name="T3" fmla="*/ 100 h 204"/>
                <a:gd name="T4" fmla="*/ 263 w 495"/>
                <a:gd name="T5" fmla="*/ 100 h 204"/>
                <a:gd name="T6" fmla="*/ 311 w 495"/>
                <a:gd name="T7" fmla="*/ 156 h 204"/>
                <a:gd name="T8" fmla="*/ 311 w 495"/>
                <a:gd name="T9" fmla="*/ 181 h 204"/>
                <a:gd name="T10" fmla="*/ 467 w 495"/>
                <a:gd name="T11" fmla="*/ 204 h 204"/>
                <a:gd name="T12" fmla="*/ 495 w 495"/>
                <a:gd name="T13" fmla="*/ 181 h 204"/>
                <a:gd name="T14" fmla="*/ 444 w 495"/>
                <a:gd name="T15" fmla="*/ 156 h 204"/>
                <a:gd name="T16" fmla="*/ 444 w 495"/>
                <a:gd name="T17" fmla="*/ 129 h 204"/>
                <a:gd name="T18" fmla="*/ 340 w 495"/>
                <a:gd name="T19" fmla="*/ 100 h 204"/>
                <a:gd name="T20" fmla="*/ 288 w 495"/>
                <a:gd name="T21" fmla="*/ 48 h 204"/>
                <a:gd name="T22" fmla="*/ 131 w 495"/>
                <a:gd name="T23" fmla="*/ 0 h 204"/>
                <a:gd name="T24" fmla="*/ 27 w 495"/>
                <a:gd name="T25" fmla="*/ 23 h 204"/>
                <a:gd name="T26" fmla="*/ 0 w 495"/>
                <a:gd name="T27" fmla="*/ 48 h 204"/>
                <a:gd name="T28" fmla="*/ 52 w 495"/>
                <a:gd name="T29" fmla="*/ 48 h 204"/>
                <a:gd name="T30" fmla="*/ 104 w 495"/>
                <a:gd name="T31" fmla="*/ 23 h 204"/>
                <a:gd name="T32" fmla="*/ 131 w 495"/>
                <a:gd name="T33" fmla="*/ 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5" h="204">
                  <a:moveTo>
                    <a:pt x="131" y="48"/>
                  </a:moveTo>
                  <a:lnTo>
                    <a:pt x="236" y="100"/>
                  </a:lnTo>
                  <a:lnTo>
                    <a:pt x="263" y="100"/>
                  </a:lnTo>
                  <a:lnTo>
                    <a:pt x="311" y="156"/>
                  </a:lnTo>
                  <a:lnTo>
                    <a:pt x="311" y="181"/>
                  </a:lnTo>
                  <a:lnTo>
                    <a:pt x="467" y="204"/>
                  </a:lnTo>
                  <a:lnTo>
                    <a:pt x="495" y="181"/>
                  </a:lnTo>
                  <a:lnTo>
                    <a:pt x="444" y="156"/>
                  </a:lnTo>
                  <a:lnTo>
                    <a:pt x="444" y="129"/>
                  </a:lnTo>
                  <a:lnTo>
                    <a:pt x="340" y="100"/>
                  </a:lnTo>
                  <a:lnTo>
                    <a:pt x="288" y="48"/>
                  </a:lnTo>
                  <a:lnTo>
                    <a:pt x="131" y="0"/>
                  </a:lnTo>
                  <a:lnTo>
                    <a:pt x="27" y="23"/>
                  </a:lnTo>
                  <a:lnTo>
                    <a:pt x="0" y="48"/>
                  </a:lnTo>
                  <a:lnTo>
                    <a:pt x="52" y="48"/>
                  </a:lnTo>
                  <a:lnTo>
                    <a:pt x="104" y="23"/>
                  </a:lnTo>
                  <a:lnTo>
                    <a:pt x="131" y="48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gray">
            <a:xfrm>
              <a:off x="1331" y="2292"/>
              <a:ext cx="50" cy="26"/>
            </a:xfrm>
            <a:custGeom>
              <a:avLst/>
              <a:gdLst>
                <a:gd name="T0" fmla="*/ 48 w 100"/>
                <a:gd name="T1" fmla="*/ 27 h 52"/>
                <a:gd name="T2" fmla="*/ 25 w 100"/>
                <a:gd name="T3" fmla="*/ 0 h 52"/>
                <a:gd name="T4" fmla="*/ 0 w 100"/>
                <a:gd name="T5" fmla="*/ 0 h 52"/>
                <a:gd name="T6" fmla="*/ 48 w 100"/>
                <a:gd name="T7" fmla="*/ 52 h 52"/>
                <a:gd name="T8" fmla="*/ 77 w 100"/>
                <a:gd name="T9" fmla="*/ 52 h 52"/>
                <a:gd name="T10" fmla="*/ 100 w 100"/>
                <a:gd name="T11" fmla="*/ 52 h 52"/>
                <a:gd name="T12" fmla="*/ 77 w 100"/>
                <a:gd name="T13" fmla="*/ 27 h 52"/>
                <a:gd name="T14" fmla="*/ 48 w 100"/>
                <a:gd name="T15" fmla="*/ 2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52">
                  <a:moveTo>
                    <a:pt x="48" y="27"/>
                  </a:moveTo>
                  <a:lnTo>
                    <a:pt x="25" y="0"/>
                  </a:lnTo>
                  <a:lnTo>
                    <a:pt x="0" y="0"/>
                  </a:lnTo>
                  <a:lnTo>
                    <a:pt x="48" y="52"/>
                  </a:lnTo>
                  <a:lnTo>
                    <a:pt x="77" y="52"/>
                  </a:lnTo>
                  <a:lnTo>
                    <a:pt x="100" y="52"/>
                  </a:lnTo>
                  <a:lnTo>
                    <a:pt x="77" y="27"/>
                  </a:lnTo>
                  <a:lnTo>
                    <a:pt x="48" y="27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gray">
            <a:xfrm>
              <a:off x="1226" y="2200"/>
              <a:ext cx="25" cy="14"/>
            </a:xfrm>
            <a:custGeom>
              <a:avLst/>
              <a:gdLst>
                <a:gd name="T0" fmla="*/ 52 w 52"/>
                <a:gd name="T1" fmla="*/ 29 h 29"/>
                <a:gd name="T2" fmla="*/ 27 w 52"/>
                <a:gd name="T3" fmla="*/ 0 h 29"/>
                <a:gd name="T4" fmla="*/ 0 w 52"/>
                <a:gd name="T5" fmla="*/ 29 h 29"/>
                <a:gd name="T6" fmla="*/ 52 w 52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29">
                  <a:moveTo>
                    <a:pt x="52" y="29"/>
                  </a:moveTo>
                  <a:lnTo>
                    <a:pt x="27" y="0"/>
                  </a:lnTo>
                  <a:lnTo>
                    <a:pt x="0" y="29"/>
                  </a:lnTo>
                  <a:lnTo>
                    <a:pt x="52" y="29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gray">
            <a:xfrm>
              <a:off x="1695" y="1512"/>
              <a:ext cx="116" cy="116"/>
            </a:xfrm>
            <a:custGeom>
              <a:avLst/>
              <a:gdLst>
                <a:gd name="T0" fmla="*/ 233 w 233"/>
                <a:gd name="T1" fmla="*/ 128 h 232"/>
                <a:gd name="T2" fmla="*/ 210 w 233"/>
                <a:gd name="T3" fmla="*/ 103 h 232"/>
                <a:gd name="T4" fmla="*/ 210 w 233"/>
                <a:gd name="T5" fmla="*/ 76 h 232"/>
                <a:gd name="T6" fmla="*/ 129 w 233"/>
                <a:gd name="T7" fmla="*/ 76 h 232"/>
                <a:gd name="T8" fmla="*/ 104 w 233"/>
                <a:gd name="T9" fmla="*/ 103 h 232"/>
                <a:gd name="T10" fmla="*/ 129 w 233"/>
                <a:gd name="T11" fmla="*/ 25 h 232"/>
                <a:gd name="T12" fmla="*/ 104 w 233"/>
                <a:gd name="T13" fmla="*/ 0 h 232"/>
                <a:gd name="T14" fmla="*/ 52 w 233"/>
                <a:gd name="T15" fmla="*/ 128 h 232"/>
                <a:gd name="T16" fmla="*/ 0 w 233"/>
                <a:gd name="T17" fmla="*/ 157 h 232"/>
                <a:gd name="T18" fmla="*/ 52 w 233"/>
                <a:gd name="T19" fmla="*/ 157 h 232"/>
                <a:gd name="T20" fmla="*/ 52 w 233"/>
                <a:gd name="T21" fmla="*/ 209 h 232"/>
                <a:gd name="T22" fmla="*/ 77 w 233"/>
                <a:gd name="T23" fmla="*/ 232 h 232"/>
                <a:gd name="T24" fmla="*/ 129 w 233"/>
                <a:gd name="T25" fmla="*/ 209 h 232"/>
                <a:gd name="T26" fmla="*/ 158 w 233"/>
                <a:gd name="T27" fmla="*/ 209 h 232"/>
                <a:gd name="T28" fmla="*/ 181 w 233"/>
                <a:gd name="T29" fmla="*/ 232 h 232"/>
                <a:gd name="T30" fmla="*/ 210 w 233"/>
                <a:gd name="T31" fmla="*/ 209 h 232"/>
                <a:gd name="T32" fmla="*/ 233 w 233"/>
                <a:gd name="T33" fmla="*/ 232 h 232"/>
                <a:gd name="T34" fmla="*/ 233 w 233"/>
                <a:gd name="T35" fmla="*/ 157 h 232"/>
                <a:gd name="T36" fmla="*/ 210 w 233"/>
                <a:gd name="T37" fmla="*/ 157 h 232"/>
                <a:gd name="T38" fmla="*/ 233 w 233"/>
                <a:gd name="T39" fmla="*/ 12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3" h="232">
                  <a:moveTo>
                    <a:pt x="233" y="128"/>
                  </a:moveTo>
                  <a:lnTo>
                    <a:pt x="210" y="103"/>
                  </a:lnTo>
                  <a:lnTo>
                    <a:pt x="210" y="76"/>
                  </a:lnTo>
                  <a:lnTo>
                    <a:pt x="129" y="76"/>
                  </a:lnTo>
                  <a:lnTo>
                    <a:pt x="104" y="103"/>
                  </a:lnTo>
                  <a:lnTo>
                    <a:pt x="129" y="25"/>
                  </a:lnTo>
                  <a:lnTo>
                    <a:pt x="104" y="0"/>
                  </a:lnTo>
                  <a:lnTo>
                    <a:pt x="52" y="128"/>
                  </a:lnTo>
                  <a:lnTo>
                    <a:pt x="0" y="157"/>
                  </a:lnTo>
                  <a:lnTo>
                    <a:pt x="52" y="157"/>
                  </a:lnTo>
                  <a:lnTo>
                    <a:pt x="52" y="209"/>
                  </a:lnTo>
                  <a:lnTo>
                    <a:pt x="77" y="232"/>
                  </a:lnTo>
                  <a:lnTo>
                    <a:pt x="129" y="209"/>
                  </a:lnTo>
                  <a:lnTo>
                    <a:pt x="158" y="209"/>
                  </a:lnTo>
                  <a:lnTo>
                    <a:pt x="181" y="232"/>
                  </a:lnTo>
                  <a:lnTo>
                    <a:pt x="210" y="209"/>
                  </a:lnTo>
                  <a:lnTo>
                    <a:pt x="233" y="232"/>
                  </a:lnTo>
                  <a:lnTo>
                    <a:pt x="233" y="157"/>
                  </a:lnTo>
                  <a:lnTo>
                    <a:pt x="210" y="157"/>
                  </a:lnTo>
                  <a:lnTo>
                    <a:pt x="233" y="128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gray">
            <a:xfrm>
              <a:off x="1329" y="1213"/>
              <a:ext cx="66" cy="51"/>
            </a:xfrm>
            <a:custGeom>
              <a:avLst/>
              <a:gdLst>
                <a:gd name="T0" fmla="*/ 52 w 133"/>
                <a:gd name="T1" fmla="*/ 52 h 104"/>
                <a:gd name="T2" fmla="*/ 81 w 133"/>
                <a:gd name="T3" fmla="*/ 79 h 104"/>
                <a:gd name="T4" fmla="*/ 104 w 133"/>
                <a:gd name="T5" fmla="*/ 104 h 104"/>
                <a:gd name="T6" fmla="*/ 133 w 133"/>
                <a:gd name="T7" fmla="*/ 79 h 104"/>
                <a:gd name="T8" fmla="*/ 133 w 133"/>
                <a:gd name="T9" fmla="*/ 52 h 104"/>
                <a:gd name="T10" fmla="*/ 104 w 133"/>
                <a:gd name="T11" fmla="*/ 52 h 104"/>
                <a:gd name="T12" fmla="*/ 81 w 133"/>
                <a:gd name="T13" fmla="*/ 27 h 104"/>
                <a:gd name="T14" fmla="*/ 52 w 133"/>
                <a:gd name="T15" fmla="*/ 0 h 104"/>
                <a:gd name="T16" fmla="*/ 29 w 133"/>
                <a:gd name="T17" fmla="*/ 0 h 104"/>
                <a:gd name="T18" fmla="*/ 0 w 133"/>
                <a:gd name="T19" fmla="*/ 52 h 104"/>
                <a:gd name="T20" fmla="*/ 29 w 133"/>
                <a:gd name="T21" fmla="*/ 104 h 104"/>
                <a:gd name="T22" fmla="*/ 52 w 133"/>
                <a:gd name="T23" fmla="*/ 79 h 104"/>
                <a:gd name="T24" fmla="*/ 52 w 133"/>
                <a:gd name="T25" fmla="*/ 5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3" h="104">
                  <a:moveTo>
                    <a:pt x="52" y="52"/>
                  </a:moveTo>
                  <a:lnTo>
                    <a:pt x="81" y="79"/>
                  </a:lnTo>
                  <a:lnTo>
                    <a:pt x="104" y="104"/>
                  </a:lnTo>
                  <a:lnTo>
                    <a:pt x="133" y="79"/>
                  </a:lnTo>
                  <a:lnTo>
                    <a:pt x="133" y="52"/>
                  </a:lnTo>
                  <a:lnTo>
                    <a:pt x="104" y="52"/>
                  </a:lnTo>
                  <a:lnTo>
                    <a:pt x="81" y="27"/>
                  </a:lnTo>
                  <a:lnTo>
                    <a:pt x="52" y="0"/>
                  </a:lnTo>
                  <a:lnTo>
                    <a:pt x="29" y="0"/>
                  </a:lnTo>
                  <a:lnTo>
                    <a:pt x="0" y="52"/>
                  </a:lnTo>
                  <a:lnTo>
                    <a:pt x="29" y="104"/>
                  </a:lnTo>
                  <a:lnTo>
                    <a:pt x="52" y="79"/>
                  </a:lnTo>
                  <a:lnTo>
                    <a:pt x="52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gray">
            <a:xfrm>
              <a:off x="1069" y="901"/>
              <a:ext cx="78" cy="66"/>
            </a:xfrm>
            <a:custGeom>
              <a:avLst/>
              <a:gdLst>
                <a:gd name="T0" fmla="*/ 81 w 156"/>
                <a:gd name="T1" fmla="*/ 103 h 132"/>
                <a:gd name="T2" fmla="*/ 156 w 156"/>
                <a:gd name="T3" fmla="*/ 103 h 132"/>
                <a:gd name="T4" fmla="*/ 133 w 156"/>
                <a:gd name="T5" fmla="*/ 0 h 132"/>
                <a:gd name="T6" fmla="*/ 104 w 156"/>
                <a:gd name="T7" fmla="*/ 0 h 132"/>
                <a:gd name="T8" fmla="*/ 52 w 156"/>
                <a:gd name="T9" fmla="*/ 51 h 132"/>
                <a:gd name="T10" fmla="*/ 0 w 156"/>
                <a:gd name="T11" fmla="*/ 78 h 132"/>
                <a:gd name="T12" fmla="*/ 0 w 156"/>
                <a:gd name="T13" fmla="*/ 132 h 132"/>
                <a:gd name="T14" fmla="*/ 52 w 156"/>
                <a:gd name="T15" fmla="*/ 132 h 132"/>
                <a:gd name="T16" fmla="*/ 81 w 156"/>
                <a:gd name="T17" fmla="*/ 10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132">
                  <a:moveTo>
                    <a:pt x="81" y="103"/>
                  </a:moveTo>
                  <a:lnTo>
                    <a:pt x="156" y="103"/>
                  </a:lnTo>
                  <a:lnTo>
                    <a:pt x="133" y="0"/>
                  </a:lnTo>
                  <a:lnTo>
                    <a:pt x="104" y="0"/>
                  </a:lnTo>
                  <a:lnTo>
                    <a:pt x="52" y="51"/>
                  </a:lnTo>
                  <a:lnTo>
                    <a:pt x="0" y="78"/>
                  </a:lnTo>
                  <a:lnTo>
                    <a:pt x="0" y="132"/>
                  </a:lnTo>
                  <a:lnTo>
                    <a:pt x="52" y="132"/>
                  </a:lnTo>
                  <a:lnTo>
                    <a:pt x="81" y="10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gray">
            <a:xfrm>
              <a:off x="1095" y="967"/>
              <a:ext cx="118" cy="115"/>
            </a:xfrm>
            <a:custGeom>
              <a:avLst/>
              <a:gdLst>
                <a:gd name="T0" fmla="*/ 209 w 236"/>
                <a:gd name="T1" fmla="*/ 23 h 230"/>
                <a:gd name="T2" fmla="*/ 184 w 236"/>
                <a:gd name="T3" fmla="*/ 75 h 230"/>
                <a:gd name="T4" fmla="*/ 184 w 236"/>
                <a:gd name="T5" fmla="*/ 23 h 230"/>
                <a:gd name="T6" fmla="*/ 133 w 236"/>
                <a:gd name="T7" fmla="*/ 23 h 230"/>
                <a:gd name="T8" fmla="*/ 104 w 236"/>
                <a:gd name="T9" fmla="*/ 0 h 230"/>
                <a:gd name="T10" fmla="*/ 52 w 236"/>
                <a:gd name="T11" fmla="*/ 0 h 230"/>
                <a:gd name="T12" fmla="*/ 29 w 236"/>
                <a:gd name="T13" fmla="*/ 23 h 230"/>
                <a:gd name="T14" fmla="*/ 29 w 236"/>
                <a:gd name="T15" fmla="*/ 75 h 230"/>
                <a:gd name="T16" fmla="*/ 52 w 236"/>
                <a:gd name="T17" fmla="*/ 104 h 230"/>
                <a:gd name="T18" fmla="*/ 0 w 236"/>
                <a:gd name="T19" fmla="*/ 104 h 230"/>
                <a:gd name="T20" fmla="*/ 52 w 236"/>
                <a:gd name="T21" fmla="*/ 127 h 230"/>
                <a:gd name="T22" fmla="*/ 52 w 236"/>
                <a:gd name="T23" fmla="*/ 178 h 230"/>
                <a:gd name="T24" fmla="*/ 133 w 236"/>
                <a:gd name="T25" fmla="*/ 207 h 230"/>
                <a:gd name="T26" fmla="*/ 184 w 236"/>
                <a:gd name="T27" fmla="*/ 230 h 230"/>
                <a:gd name="T28" fmla="*/ 236 w 236"/>
                <a:gd name="T29" fmla="*/ 230 h 230"/>
                <a:gd name="T30" fmla="*/ 209 w 236"/>
                <a:gd name="T31" fmla="*/ 207 h 230"/>
                <a:gd name="T32" fmla="*/ 236 w 236"/>
                <a:gd name="T33" fmla="*/ 207 h 230"/>
                <a:gd name="T34" fmla="*/ 209 w 236"/>
                <a:gd name="T35" fmla="*/ 127 h 230"/>
                <a:gd name="T36" fmla="*/ 236 w 236"/>
                <a:gd name="T37" fmla="*/ 52 h 230"/>
                <a:gd name="T38" fmla="*/ 209 w 236"/>
                <a:gd name="T39" fmla="*/ 2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6" h="230">
                  <a:moveTo>
                    <a:pt x="209" y="23"/>
                  </a:moveTo>
                  <a:lnTo>
                    <a:pt x="184" y="75"/>
                  </a:lnTo>
                  <a:lnTo>
                    <a:pt x="184" y="23"/>
                  </a:lnTo>
                  <a:lnTo>
                    <a:pt x="133" y="23"/>
                  </a:lnTo>
                  <a:lnTo>
                    <a:pt x="104" y="0"/>
                  </a:lnTo>
                  <a:lnTo>
                    <a:pt x="52" y="0"/>
                  </a:lnTo>
                  <a:lnTo>
                    <a:pt x="29" y="23"/>
                  </a:lnTo>
                  <a:lnTo>
                    <a:pt x="29" y="75"/>
                  </a:lnTo>
                  <a:lnTo>
                    <a:pt x="52" y="104"/>
                  </a:lnTo>
                  <a:lnTo>
                    <a:pt x="0" y="104"/>
                  </a:lnTo>
                  <a:lnTo>
                    <a:pt x="52" y="127"/>
                  </a:lnTo>
                  <a:lnTo>
                    <a:pt x="52" y="178"/>
                  </a:lnTo>
                  <a:lnTo>
                    <a:pt x="133" y="207"/>
                  </a:lnTo>
                  <a:lnTo>
                    <a:pt x="184" y="230"/>
                  </a:lnTo>
                  <a:lnTo>
                    <a:pt x="236" y="230"/>
                  </a:lnTo>
                  <a:lnTo>
                    <a:pt x="209" y="207"/>
                  </a:lnTo>
                  <a:lnTo>
                    <a:pt x="236" y="207"/>
                  </a:lnTo>
                  <a:lnTo>
                    <a:pt x="209" y="127"/>
                  </a:lnTo>
                  <a:lnTo>
                    <a:pt x="236" y="52"/>
                  </a:lnTo>
                  <a:lnTo>
                    <a:pt x="209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gray">
            <a:xfrm>
              <a:off x="1303" y="1019"/>
              <a:ext cx="274" cy="286"/>
            </a:xfrm>
            <a:custGeom>
              <a:avLst/>
              <a:gdLst>
                <a:gd name="T0" fmla="*/ 207 w 546"/>
                <a:gd name="T1" fmla="*/ 51 h 571"/>
                <a:gd name="T2" fmla="*/ 155 w 546"/>
                <a:gd name="T3" fmla="*/ 23 h 571"/>
                <a:gd name="T4" fmla="*/ 103 w 546"/>
                <a:gd name="T5" fmla="*/ 23 h 571"/>
                <a:gd name="T6" fmla="*/ 103 w 546"/>
                <a:gd name="T7" fmla="*/ 74 h 571"/>
                <a:gd name="T8" fmla="*/ 80 w 546"/>
                <a:gd name="T9" fmla="*/ 51 h 571"/>
                <a:gd name="T10" fmla="*/ 80 w 546"/>
                <a:gd name="T11" fmla="*/ 23 h 571"/>
                <a:gd name="T12" fmla="*/ 80 w 546"/>
                <a:gd name="T13" fmla="*/ 0 h 571"/>
                <a:gd name="T14" fmla="*/ 51 w 546"/>
                <a:gd name="T15" fmla="*/ 23 h 571"/>
                <a:gd name="T16" fmla="*/ 28 w 546"/>
                <a:gd name="T17" fmla="*/ 23 h 571"/>
                <a:gd name="T18" fmla="*/ 0 w 546"/>
                <a:gd name="T19" fmla="*/ 51 h 571"/>
                <a:gd name="T20" fmla="*/ 51 w 546"/>
                <a:gd name="T21" fmla="*/ 103 h 571"/>
                <a:gd name="T22" fmla="*/ 28 w 546"/>
                <a:gd name="T23" fmla="*/ 103 h 571"/>
                <a:gd name="T24" fmla="*/ 51 w 546"/>
                <a:gd name="T25" fmla="*/ 155 h 571"/>
                <a:gd name="T26" fmla="*/ 103 w 546"/>
                <a:gd name="T27" fmla="*/ 155 h 571"/>
                <a:gd name="T28" fmla="*/ 184 w 546"/>
                <a:gd name="T29" fmla="*/ 207 h 571"/>
                <a:gd name="T30" fmla="*/ 184 w 546"/>
                <a:gd name="T31" fmla="*/ 178 h 571"/>
                <a:gd name="T32" fmla="*/ 184 w 546"/>
                <a:gd name="T33" fmla="*/ 126 h 571"/>
                <a:gd name="T34" fmla="*/ 207 w 546"/>
                <a:gd name="T35" fmla="*/ 155 h 571"/>
                <a:gd name="T36" fmla="*/ 207 w 546"/>
                <a:gd name="T37" fmla="*/ 178 h 571"/>
                <a:gd name="T38" fmla="*/ 287 w 546"/>
                <a:gd name="T39" fmla="*/ 207 h 571"/>
                <a:gd name="T40" fmla="*/ 259 w 546"/>
                <a:gd name="T41" fmla="*/ 232 h 571"/>
                <a:gd name="T42" fmla="*/ 316 w 546"/>
                <a:gd name="T43" fmla="*/ 284 h 571"/>
                <a:gd name="T44" fmla="*/ 316 w 546"/>
                <a:gd name="T45" fmla="*/ 310 h 571"/>
                <a:gd name="T46" fmla="*/ 287 w 546"/>
                <a:gd name="T47" fmla="*/ 310 h 571"/>
                <a:gd name="T48" fmla="*/ 316 w 546"/>
                <a:gd name="T49" fmla="*/ 387 h 571"/>
                <a:gd name="T50" fmla="*/ 287 w 546"/>
                <a:gd name="T51" fmla="*/ 387 h 571"/>
                <a:gd name="T52" fmla="*/ 236 w 546"/>
                <a:gd name="T53" fmla="*/ 387 h 571"/>
                <a:gd name="T54" fmla="*/ 236 w 546"/>
                <a:gd name="T55" fmla="*/ 466 h 571"/>
                <a:gd name="T56" fmla="*/ 287 w 546"/>
                <a:gd name="T57" fmla="*/ 466 h 571"/>
                <a:gd name="T58" fmla="*/ 316 w 546"/>
                <a:gd name="T59" fmla="*/ 439 h 571"/>
                <a:gd name="T60" fmla="*/ 368 w 546"/>
                <a:gd name="T61" fmla="*/ 520 h 571"/>
                <a:gd name="T62" fmla="*/ 391 w 546"/>
                <a:gd name="T63" fmla="*/ 520 h 571"/>
                <a:gd name="T64" fmla="*/ 420 w 546"/>
                <a:gd name="T65" fmla="*/ 543 h 571"/>
                <a:gd name="T66" fmla="*/ 523 w 546"/>
                <a:gd name="T67" fmla="*/ 571 h 571"/>
                <a:gd name="T68" fmla="*/ 523 w 546"/>
                <a:gd name="T69" fmla="*/ 543 h 571"/>
                <a:gd name="T70" fmla="*/ 483 w 546"/>
                <a:gd name="T71" fmla="*/ 506 h 571"/>
                <a:gd name="T72" fmla="*/ 523 w 546"/>
                <a:gd name="T73" fmla="*/ 520 h 571"/>
                <a:gd name="T74" fmla="*/ 523 w 546"/>
                <a:gd name="T75" fmla="*/ 491 h 571"/>
                <a:gd name="T76" fmla="*/ 495 w 546"/>
                <a:gd name="T77" fmla="*/ 466 h 571"/>
                <a:gd name="T78" fmla="*/ 495 w 546"/>
                <a:gd name="T79" fmla="*/ 439 h 571"/>
                <a:gd name="T80" fmla="*/ 443 w 546"/>
                <a:gd name="T81" fmla="*/ 414 h 571"/>
                <a:gd name="T82" fmla="*/ 472 w 546"/>
                <a:gd name="T83" fmla="*/ 387 h 571"/>
                <a:gd name="T84" fmla="*/ 443 w 546"/>
                <a:gd name="T85" fmla="*/ 362 h 571"/>
                <a:gd name="T86" fmla="*/ 523 w 546"/>
                <a:gd name="T87" fmla="*/ 387 h 571"/>
                <a:gd name="T88" fmla="*/ 523 w 546"/>
                <a:gd name="T89" fmla="*/ 362 h 571"/>
                <a:gd name="T90" fmla="*/ 546 w 546"/>
                <a:gd name="T91" fmla="*/ 362 h 571"/>
                <a:gd name="T92" fmla="*/ 546 w 546"/>
                <a:gd name="T93" fmla="*/ 310 h 571"/>
                <a:gd name="T94" fmla="*/ 495 w 546"/>
                <a:gd name="T95" fmla="*/ 310 h 571"/>
                <a:gd name="T96" fmla="*/ 472 w 546"/>
                <a:gd name="T97" fmla="*/ 284 h 571"/>
                <a:gd name="T98" fmla="*/ 420 w 546"/>
                <a:gd name="T99" fmla="*/ 259 h 571"/>
                <a:gd name="T100" fmla="*/ 391 w 546"/>
                <a:gd name="T101" fmla="*/ 232 h 571"/>
                <a:gd name="T102" fmla="*/ 420 w 546"/>
                <a:gd name="T103" fmla="*/ 207 h 571"/>
                <a:gd name="T104" fmla="*/ 391 w 546"/>
                <a:gd name="T105" fmla="*/ 155 h 571"/>
                <a:gd name="T106" fmla="*/ 339 w 546"/>
                <a:gd name="T107" fmla="*/ 155 h 571"/>
                <a:gd name="T108" fmla="*/ 287 w 546"/>
                <a:gd name="T109" fmla="*/ 126 h 571"/>
                <a:gd name="T110" fmla="*/ 287 w 546"/>
                <a:gd name="T111" fmla="*/ 74 h 571"/>
                <a:gd name="T112" fmla="*/ 236 w 546"/>
                <a:gd name="T113" fmla="*/ 103 h 571"/>
                <a:gd name="T114" fmla="*/ 236 w 546"/>
                <a:gd name="T115" fmla="*/ 74 h 571"/>
                <a:gd name="T116" fmla="*/ 184 w 546"/>
                <a:gd name="T117" fmla="*/ 74 h 571"/>
                <a:gd name="T118" fmla="*/ 184 w 546"/>
                <a:gd name="T119" fmla="*/ 51 h 571"/>
                <a:gd name="T120" fmla="*/ 207 w 546"/>
                <a:gd name="T121" fmla="*/ 5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6" h="571">
                  <a:moveTo>
                    <a:pt x="207" y="51"/>
                  </a:moveTo>
                  <a:lnTo>
                    <a:pt x="155" y="23"/>
                  </a:lnTo>
                  <a:lnTo>
                    <a:pt x="103" y="23"/>
                  </a:lnTo>
                  <a:lnTo>
                    <a:pt x="103" y="74"/>
                  </a:lnTo>
                  <a:lnTo>
                    <a:pt x="80" y="51"/>
                  </a:lnTo>
                  <a:lnTo>
                    <a:pt x="80" y="23"/>
                  </a:lnTo>
                  <a:lnTo>
                    <a:pt x="80" y="0"/>
                  </a:lnTo>
                  <a:lnTo>
                    <a:pt x="51" y="23"/>
                  </a:lnTo>
                  <a:lnTo>
                    <a:pt x="28" y="23"/>
                  </a:lnTo>
                  <a:lnTo>
                    <a:pt x="0" y="51"/>
                  </a:lnTo>
                  <a:lnTo>
                    <a:pt x="51" y="103"/>
                  </a:lnTo>
                  <a:lnTo>
                    <a:pt x="28" y="103"/>
                  </a:lnTo>
                  <a:lnTo>
                    <a:pt x="51" y="155"/>
                  </a:lnTo>
                  <a:lnTo>
                    <a:pt x="103" y="155"/>
                  </a:lnTo>
                  <a:lnTo>
                    <a:pt x="184" y="207"/>
                  </a:lnTo>
                  <a:lnTo>
                    <a:pt x="184" y="178"/>
                  </a:lnTo>
                  <a:lnTo>
                    <a:pt x="184" y="126"/>
                  </a:lnTo>
                  <a:lnTo>
                    <a:pt x="207" y="155"/>
                  </a:lnTo>
                  <a:lnTo>
                    <a:pt x="207" y="178"/>
                  </a:lnTo>
                  <a:lnTo>
                    <a:pt x="287" y="207"/>
                  </a:lnTo>
                  <a:lnTo>
                    <a:pt x="259" y="232"/>
                  </a:lnTo>
                  <a:lnTo>
                    <a:pt x="316" y="284"/>
                  </a:lnTo>
                  <a:lnTo>
                    <a:pt x="316" y="310"/>
                  </a:lnTo>
                  <a:lnTo>
                    <a:pt x="287" y="310"/>
                  </a:lnTo>
                  <a:lnTo>
                    <a:pt x="316" y="387"/>
                  </a:lnTo>
                  <a:lnTo>
                    <a:pt x="287" y="387"/>
                  </a:lnTo>
                  <a:lnTo>
                    <a:pt x="236" y="387"/>
                  </a:lnTo>
                  <a:lnTo>
                    <a:pt x="236" y="466"/>
                  </a:lnTo>
                  <a:lnTo>
                    <a:pt x="287" y="466"/>
                  </a:lnTo>
                  <a:lnTo>
                    <a:pt x="316" y="439"/>
                  </a:lnTo>
                  <a:lnTo>
                    <a:pt x="368" y="520"/>
                  </a:lnTo>
                  <a:lnTo>
                    <a:pt x="391" y="520"/>
                  </a:lnTo>
                  <a:lnTo>
                    <a:pt x="420" y="543"/>
                  </a:lnTo>
                  <a:lnTo>
                    <a:pt x="523" y="571"/>
                  </a:lnTo>
                  <a:lnTo>
                    <a:pt x="523" y="543"/>
                  </a:lnTo>
                  <a:lnTo>
                    <a:pt x="483" y="506"/>
                  </a:lnTo>
                  <a:lnTo>
                    <a:pt x="523" y="520"/>
                  </a:lnTo>
                  <a:lnTo>
                    <a:pt x="523" y="491"/>
                  </a:lnTo>
                  <a:lnTo>
                    <a:pt x="495" y="466"/>
                  </a:lnTo>
                  <a:lnTo>
                    <a:pt x="495" y="439"/>
                  </a:lnTo>
                  <a:lnTo>
                    <a:pt x="443" y="414"/>
                  </a:lnTo>
                  <a:lnTo>
                    <a:pt x="472" y="387"/>
                  </a:lnTo>
                  <a:lnTo>
                    <a:pt x="443" y="362"/>
                  </a:lnTo>
                  <a:lnTo>
                    <a:pt x="523" y="387"/>
                  </a:lnTo>
                  <a:lnTo>
                    <a:pt x="523" y="362"/>
                  </a:lnTo>
                  <a:lnTo>
                    <a:pt x="546" y="362"/>
                  </a:lnTo>
                  <a:lnTo>
                    <a:pt x="546" y="310"/>
                  </a:lnTo>
                  <a:lnTo>
                    <a:pt x="495" y="310"/>
                  </a:lnTo>
                  <a:lnTo>
                    <a:pt x="472" y="284"/>
                  </a:lnTo>
                  <a:lnTo>
                    <a:pt x="420" y="259"/>
                  </a:lnTo>
                  <a:lnTo>
                    <a:pt x="391" y="232"/>
                  </a:lnTo>
                  <a:lnTo>
                    <a:pt x="420" y="207"/>
                  </a:lnTo>
                  <a:lnTo>
                    <a:pt x="391" y="155"/>
                  </a:lnTo>
                  <a:lnTo>
                    <a:pt x="339" y="155"/>
                  </a:lnTo>
                  <a:lnTo>
                    <a:pt x="287" y="126"/>
                  </a:lnTo>
                  <a:lnTo>
                    <a:pt x="287" y="74"/>
                  </a:lnTo>
                  <a:lnTo>
                    <a:pt x="236" y="103"/>
                  </a:lnTo>
                  <a:lnTo>
                    <a:pt x="236" y="74"/>
                  </a:lnTo>
                  <a:lnTo>
                    <a:pt x="184" y="74"/>
                  </a:lnTo>
                  <a:lnTo>
                    <a:pt x="184" y="51"/>
                  </a:lnTo>
                  <a:lnTo>
                    <a:pt x="207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gray">
            <a:xfrm>
              <a:off x="1421" y="1148"/>
              <a:ext cx="12" cy="26"/>
            </a:xfrm>
            <a:custGeom>
              <a:avLst/>
              <a:gdLst>
                <a:gd name="T0" fmla="*/ 0 w 23"/>
                <a:gd name="T1" fmla="*/ 0 h 51"/>
                <a:gd name="T2" fmla="*/ 0 w 23"/>
                <a:gd name="T3" fmla="*/ 25 h 51"/>
                <a:gd name="T4" fmla="*/ 0 w 23"/>
                <a:gd name="T5" fmla="*/ 51 h 51"/>
                <a:gd name="T6" fmla="*/ 23 w 23"/>
                <a:gd name="T7" fmla="*/ 51 h 51"/>
                <a:gd name="T8" fmla="*/ 23 w 23"/>
                <a:gd name="T9" fmla="*/ 25 h 51"/>
                <a:gd name="T10" fmla="*/ 0 w 23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51">
                  <a:moveTo>
                    <a:pt x="0" y="0"/>
                  </a:moveTo>
                  <a:lnTo>
                    <a:pt x="0" y="25"/>
                  </a:lnTo>
                  <a:lnTo>
                    <a:pt x="0" y="51"/>
                  </a:lnTo>
                  <a:lnTo>
                    <a:pt x="23" y="51"/>
                  </a:lnTo>
                  <a:lnTo>
                    <a:pt x="23" y="25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8" name="Freeform 29"/>
            <p:cNvSpPr>
              <a:spLocks/>
            </p:cNvSpPr>
            <p:nvPr/>
          </p:nvSpPr>
          <p:spPr bwMode="gray">
            <a:xfrm>
              <a:off x="1421" y="2277"/>
              <a:ext cx="156" cy="54"/>
            </a:xfrm>
            <a:custGeom>
              <a:avLst/>
              <a:gdLst>
                <a:gd name="T0" fmla="*/ 236 w 310"/>
                <a:gd name="T1" fmla="*/ 55 h 107"/>
                <a:gd name="T2" fmla="*/ 236 w 310"/>
                <a:gd name="T3" fmla="*/ 0 h 107"/>
                <a:gd name="T4" fmla="*/ 155 w 310"/>
                <a:gd name="T5" fmla="*/ 0 h 107"/>
                <a:gd name="T6" fmla="*/ 132 w 310"/>
                <a:gd name="T7" fmla="*/ 0 h 107"/>
                <a:gd name="T8" fmla="*/ 103 w 310"/>
                <a:gd name="T9" fmla="*/ 0 h 107"/>
                <a:gd name="T10" fmla="*/ 51 w 310"/>
                <a:gd name="T11" fmla="*/ 0 h 107"/>
                <a:gd name="T12" fmla="*/ 103 w 310"/>
                <a:gd name="T13" fmla="*/ 28 h 107"/>
                <a:gd name="T14" fmla="*/ 80 w 310"/>
                <a:gd name="T15" fmla="*/ 55 h 107"/>
                <a:gd name="T16" fmla="*/ 51 w 310"/>
                <a:gd name="T17" fmla="*/ 55 h 107"/>
                <a:gd name="T18" fmla="*/ 0 w 310"/>
                <a:gd name="T19" fmla="*/ 80 h 107"/>
                <a:gd name="T20" fmla="*/ 51 w 310"/>
                <a:gd name="T21" fmla="*/ 107 h 107"/>
                <a:gd name="T22" fmla="*/ 80 w 310"/>
                <a:gd name="T23" fmla="*/ 80 h 107"/>
                <a:gd name="T24" fmla="*/ 132 w 310"/>
                <a:gd name="T25" fmla="*/ 107 h 107"/>
                <a:gd name="T26" fmla="*/ 155 w 310"/>
                <a:gd name="T27" fmla="*/ 107 h 107"/>
                <a:gd name="T28" fmla="*/ 184 w 310"/>
                <a:gd name="T29" fmla="*/ 107 h 107"/>
                <a:gd name="T30" fmla="*/ 207 w 310"/>
                <a:gd name="T31" fmla="*/ 107 h 107"/>
                <a:gd name="T32" fmla="*/ 236 w 310"/>
                <a:gd name="T33" fmla="*/ 80 h 107"/>
                <a:gd name="T34" fmla="*/ 287 w 310"/>
                <a:gd name="T35" fmla="*/ 107 h 107"/>
                <a:gd name="T36" fmla="*/ 310 w 310"/>
                <a:gd name="T37" fmla="*/ 107 h 107"/>
                <a:gd name="T38" fmla="*/ 287 w 310"/>
                <a:gd name="T39" fmla="*/ 55 h 107"/>
                <a:gd name="T40" fmla="*/ 236 w 310"/>
                <a:gd name="T41" fmla="*/ 5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107">
                  <a:moveTo>
                    <a:pt x="236" y="55"/>
                  </a:moveTo>
                  <a:lnTo>
                    <a:pt x="236" y="0"/>
                  </a:lnTo>
                  <a:lnTo>
                    <a:pt x="155" y="0"/>
                  </a:lnTo>
                  <a:lnTo>
                    <a:pt x="132" y="0"/>
                  </a:lnTo>
                  <a:lnTo>
                    <a:pt x="103" y="0"/>
                  </a:lnTo>
                  <a:lnTo>
                    <a:pt x="51" y="0"/>
                  </a:lnTo>
                  <a:lnTo>
                    <a:pt x="103" y="28"/>
                  </a:lnTo>
                  <a:lnTo>
                    <a:pt x="80" y="55"/>
                  </a:lnTo>
                  <a:lnTo>
                    <a:pt x="51" y="55"/>
                  </a:lnTo>
                  <a:lnTo>
                    <a:pt x="0" y="80"/>
                  </a:lnTo>
                  <a:lnTo>
                    <a:pt x="51" y="107"/>
                  </a:lnTo>
                  <a:lnTo>
                    <a:pt x="80" y="80"/>
                  </a:lnTo>
                  <a:lnTo>
                    <a:pt x="132" y="107"/>
                  </a:lnTo>
                  <a:lnTo>
                    <a:pt x="155" y="107"/>
                  </a:lnTo>
                  <a:lnTo>
                    <a:pt x="184" y="107"/>
                  </a:lnTo>
                  <a:lnTo>
                    <a:pt x="207" y="107"/>
                  </a:lnTo>
                  <a:lnTo>
                    <a:pt x="236" y="80"/>
                  </a:lnTo>
                  <a:lnTo>
                    <a:pt x="287" y="107"/>
                  </a:lnTo>
                  <a:lnTo>
                    <a:pt x="310" y="107"/>
                  </a:lnTo>
                  <a:lnTo>
                    <a:pt x="287" y="55"/>
                  </a:lnTo>
                  <a:lnTo>
                    <a:pt x="236" y="55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9" name="Freeform 30"/>
            <p:cNvSpPr>
              <a:spLocks/>
            </p:cNvSpPr>
            <p:nvPr/>
          </p:nvSpPr>
          <p:spPr bwMode="gray">
            <a:xfrm>
              <a:off x="1226" y="993"/>
              <a:ext cx="39" cy="52"/>
            </a:xfrm>
            <a:custGeom>
              <a:avLst/>
              <a:gdLst>
                <a:gd name="T0" fmla="*/ 52 w 79"/>
                <a:gd name="T1" fmla="*/ 103 h 103"/>
                <a:gd name="T2" fmla="*/ 79 w 79"/>
                <a:gd name="T3" fmla="*/ 75 h 103"/>
                <a:gd name="T4" fmla="*/ 79 w 79"/>
                <a:gd name="T5" fmla="*/ 0 h 103"/>
                <a:gd name="T6" fmla="*/ 52 w 79"/>
                <a:gd name="T7" fmla="*/ 0 h 103"/>
                <a:gd name="T8" fmla="*/ 27 w 79"/>
                <a:gd name="T9" fmla="*/ 23 h 103"/>
                <a:gd name="T10" fmla="*/ 0 w 79"/>
                <a:gd name="T11" fmla="*/ 23 h 103"/>
                <a:gd name="T12" fmla="*/ 27 w 79"/>
                <a:gd name="T13" fmla="*/ 75 h 103"/>
                <a:gd name="T14" fmla="*/ 27 w 79"/>
                <a:gd name="T15" fmla="*/ 103 h 103"/>
                <a:gd name="T16" fmla="*/ 52 w 79"/>
                <a:gd name="T17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103">
                  <a:moveTo>
                    <a:pt x="52" y="103"/>
                  </a:moveTo>
                  <a:lnTo>
                    <a:pt x="79" y="75"/>
                  </a:lnTo>
                  <a:lnTo>
                    <a:pt x="79" y="0"/>
                  </a:lnTo>
                  <a:lnTo>
                    <a:pt x="52" y="0"/>
                  </a:lnTo>
                  <a:lnTo>
                    <a:pt x="27" y="23"/>
                  </a:lnTo>
                  <a:lnTo>
                    <a:pt x="0" y="23"/>
                  </a:lnTo>
                  <a:lnTo>
                    <a:pt x="27" y="75"/>
                  </a:lnTo>
                  <a:lnTo>
                    <a:pt x="27" y="103"/>
                  </a:lnTo>
                  <a:lnTo>
                    <a:pt x="52" y="10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0" name="Freeform 31"/>
            <p:cNvSpPr>
              <a:spLocks/>
            </p:cNvSpPr>
            <p:nvPr/>
          </p:nvSpPr>
          <p:spPr bwMode="gray">
            <a:xfrm>
              <a:off x="1277" y="993"/>
              <a:ext cx="41" cy="37"/>
            </a:xfrm>
            <a:custGeom>
              <a:avLst/>
              <a:gdLst>
                <a:gd name="T0" fmla="*/ 0 w 80"/>
                <a:gd name="T1" fmla="*/ 23 h 75"/>
                <a:gd name="T2" fmla="*/ 0 w 80"/>
                <a:gd name="T3" fmla="*/ 75 h 75"/>
                <a:gd name="T4" fmla="*/ 27 w 80"/>
                <a:gd name="T5" fmla="*/ 75 h 75"/>
                <a:gd name="T6" fmla="*/ 80 w 80"/>
                <a:gd name="T7" fmla="*/ 23 h 75"/>
                <a:gd name="T8" fmla="*/ 52 w 80"/>
                <a:gd name="T9" fmla="*/ 0 h 75"/>
                <a:gd name="T10" fmla="*/ 27 w 80"/>
                <a:gd name="T11" fmla="*/ 0 h 75"/>
                <a:gd name="T12" fmla="*/ 0 w 80"/>
                <a:gd name="T13" fmla="*/ 2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75">
                  <a:moveTo>
                    <a:pt x="0" y="23"/>
                  </a:moveTo>
                  <a:lnTo>
                    <a:pt x="0" y="75"/>
                  </a:lnTo>
                  <a:lnTo>
                    <a:pt x="27" y="75"/>
                  </a:lnTo>
                  <a:lnTo>
                    <a:pt x="80" y="23"/>
                  </a:lnTo>
                  <a:lnTo>
                    <a:pt x="52" y="0"/>
                  </a:lnTo>
                  <a:lnTo>
                    <a:pt x="27" y="0"/>
                  </a:lnTo>
                  <a:lnTo>
                    <a:pt x="0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1" name="Freeform 32"/>
            <p:cNvSpPr>
              <a:spLocks/>
            </p:cNvSpPr>
            <p:nvPr/>
          </p:nvSpPr>
          <p:spPr bwMode="gray">
            <a:xfrm>
              <a:off x="1135" y="862"/>
              <a:ext cx="65" cy="26"/>
            </a:xfrm>
            <a:custGeom>
              <a:avLst/>
              <a:gdLst>
                <a:gd name="T0" fmla="*/ 103 w 128"/>
                <a:gd name="T1" fmla="*/ 52 h 52"/>
                <a:gd name="T2" fmla="*/ 128 w 128"/>
                <a:gd name="T3" fmla="*/ 25 h 52"/>
                <a:gd name="T4" fmla="*/ 103 w 128"/>
                <a:gd name="T5" fmla="*/ 0 h 52"/>
                <a:gd name="T6" fmla="*/ 76 w 128"/>
                <a:gd name="T7" fmla="*/ 0 h 52"/>
                <a:gd name="T8" fmla="*/ 0 w 128"/>
                <a:gd name="T9" fmla="*/ 25 h 52"/>
                <a:gd name="T10" fmla="*/ 52 w 128"/>
                <a:gd name="T11" fmla="*/ 52 h 52"/>
                <a:gd name="T12" fmla="*/ 103 w 12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52">
                  <a:moveTo>
                    <a:pt x="103" y="52"/>
                  </a:moveTo>
                  <a:lnTo>
                    <a:pt x="128" y="25"/>
                  </a:lnTo>
                  <a:lnTo>
                    <a:pt x="103" y="0"/>
                  </a:lnTo>
                  <a:lnTo>
                    <a:pt x="76" y="0"/>
                  </a:lnTo>
                  <a:lnTo>
                    <a:pt x="0" y="25"/>
                  </a:lnTo>
                  <a:lnTo>
                    <a:pt x="52" y="52"/>
                  </a:lnTo>
                  <a:lnTo>
                    <a:pt x="103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2" name="Freeform 33"/>
            <p:cNvSpPr>
              <a:spLocks/>
            </p:cNvSpPr>
            <p:nvPr/>
          </p:nvSpPr>
          <p:spPr bwMode="gray">
            <a:xfrm>
              <a:off x="1291" y="940"/>
              <a:ext cx="104" cy="53"/>
            </a:xfrm>
            <a:custGeom>
              <a:avLst/>
              <a:gdLst>
                <a:gd name="T0" fmla="*/ 25 w 209"/>
                <a:gd name="T1" fmla="*/ 0 h 106"/>
                <a:gd name="T2" fmla="*/ 0 w 209"/>
                <a:gd name="T3" fmla="*/ 0 h 106"/>
                <a:gd name="T4" fmla="*/ 25 w 209"/>
                <a:gd name="T5" fmla="*/ 25 h 106"/>
                <a:gd name="T6" fmla="*/ 25 w 209"/>
                <a:gd name="T7" fmla="*/ 106 h 106"/>
                <a:gd name="T8" fmla="*/ 209 w 209"/>
                <a:gd name="T9" fmla="*/ 106 h 106"/>
                <a:gd name="T10" fmla="*/ 209 w 209"/>
                <a:gd name="T11" fmla="*/ 77 h 106"/>
                <a:gd name="T12" fmla="*/ 105 w 209"/>
                <a:gd name="T13" fmla="*/ 54 h 106"/>
                <a:gd name="T14" fmla="*/ 25 w 209"/>
                <a:gd name="T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9" h="106">
                  <a:moveTo>
                    <a:pt x="25" y="0"/>
                  </a:moveTo>
                  <a:lnTo>
                    <a:pt x="0" y="0"/>
                  </a:lnTo>
                  <a:lnTo>
                    <a:pt x="25" y="25"/>
                  </a:lnTo>
                  <a:lnTo>
                    <a:pt x="25" y="106"/>
                  </a:lnTo>
                  <a:lnTo>
                    <a:pt x="209" y="106"/>
                  </a:lnTo>
                  <a:lnTo>
                    <a:pt x="209" y="77"/>
                  </a:lnTo>
                  <a:lnTo>
                    <a:pt x="105" y="54"/>
                  </a:lnTo>
                  <a:lnTo>
                    <a:pt x="25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3" name="Freeform 34"/>
            <p:cNvSpPr>
              <a:spLocks/>
            </p:cNvSpPr>
            <p:nvPr/>
          </p:nvSpPr>
          <p:spPr bwMode="gray">
            <a:xfrm>
              <a:off x="1174" y="901"/>
              <a:ext cx="65" cy="52"/>
            </a:xfrm>
            <a:custGeom>
              <a:avLst/>
              <a:gdLst>
                <a:gd name="T0" fmla="*/ 131 w 131"/>
                <a:gd name="T1" fmla="*/ 51 h 103"/>
                <a:gd name="T2" fmla="*/ 104 w 131"/>
                <a:gd name="T3" fmla="*/ 27 h 103"/>
                <a:gd name="T4" fmla="*/ 27 w 131"/>
                <a:gd name="T5" fmla="*/ 0 h 103"/>
                <a:gd name="T6" fmla="*/ 0 w 131"/>
                <a:gd name="T7" fmla="*/ 27 h 103"/>
                <a:gd name="T8" fmla="*/ 0 w 131"/>
                <a:gd name="T9" fmla="*/ 51 h 103"/>
                <a:gd name="T10" fmla="*/ 27 w 131"/>
                <a:gd name="T11" fmla="*/ 78 h 103"/>
                <a:gd name="T12" fmla="*/ 52 w 131"/>
                <a:gd name="T13" fmla="*/ 78 h 103"/>
                <a:gd name="T14" fmla="*/ 104 w 131"/>
                <a:gd name="T15" fmla="*/ 103 h 103"/>
                <a:gd name="T16" fmla="*/ 131 w 131"/>
                <a:gd name="T17" fmla="*/ 5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103">
                  <a:moveTo>
                    <a:pt x="131" y="51"/>
                  </a:moveTo>
                  <a:lnTo>
                    <a:pt x="104" y="27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0" y="51"/>
                  </a:lnTo>
                  <a:lnTo>
                    <a:pt x="27" y="78"/>
                  </a:lnTo>
                  <a:lnTo>
                    <a:pt x="52" y="78"/>
                  </a:lnTo>
                  <a:lnTo>
                    <a:pt x="104" y="103"/>
                  </a:lnTo>
                  <a:lnTo>
                    <a:pt x="131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4" name="Freeform 35"/>
            <p:cNvSpPr>
              <a:spLocks/>
            </p:cNvSpPr>
            <p:nvPr/>
          </p:nvSpPr>
          <p:spPr bwMode="gray">
            <a:xfrm>
              <a:off x="1239" y="927"/>
              <a:ext cx="38" cy="40"/>
            </a:xfrm>
            <a:custGeom>
              <a:avLst/>
              <a:gdLst>
                <a:gd name="T0" fmla="*/ 77 w 77"/>
                <a:gd name="T1" fmla="*/ 81 h 81"/>
                <a:gd name="T2" fmla="*/ 52 w 77"/>
                <a:gd name="T3" fmla="*/ 52 h 81"/>
                <a:gd name="T4" fmla="*/ 77 w 77"/>
                <a:gd name="T5" fmla="*/ 52 h 81"/>
                <a:gd name="T6" fmla="*/ 52 w 77"/>
                <a:gd name="T7" fmla="*/ 0 h 81"/>
                <a:gd name="T8" fmla="*/ 25 w 77"/>
                <a:gd name="T9" fmla="*/ 27 h 81"/>
                <a:gd name="T10" fmla="*/ 0 w 77"/>
                <a:gd name="T11" fmla="*/ 52 h 81"/>
                <a:gd name="T12" fmla="*/ 25 w 77"/>
                <a:gd name="T13" fmla="*/ 52 h 81"/>
                <a:gd name="T14" fmla="*/ 25 w 77"/>
                <a:gd name="T15" fmla="*/ 81 h 81"/>
                <a:gd name="T16" fmla="*/ 52 w 77"/>
                <a:gd name="T17" fmla="*/ 81 h 81"/>
                <a:gd name="T18" fmla="*/ 77 w 77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81">
                  <a:moveTo>
                    <a:pt x="77" y="81"/>
                  </a:moveTo>
                  <a:lnTo>
                    <a:pt x="52" y="52"/>
                  </a:lnTo>
                  <a:lnTo>
                    <a:pt x="77" y="52"/>
                  </a:lnTo>
                  <a:lnTo>
                    <a:pt x="52" y="0"/>
                  </a:lnTo>
                  <a:lnTo>
                    <a:pt x="25" y="27"/>
                  </a:lnTo>
                  <a:lnTo>
                    <a:pt x="0" y="52"/>
                  </a:lnTo>
                  <a:lnTo>
                    <a:pt x="25" y="52"/>
                  </a:lnTo>
                  <a:lnTo>
                    <a:pt x="25" y="81"/>
                  </a:lnTo>
                  <a:lnTo>
                    <a:pt x="52" y="81"/>
                  </a:lnTo>
                  <a:lnTo>
                    <a:pt x="77" y="8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5" name="Freeform 36"/>
            <p:cNvSpPr>
              <a:spLocks/>
            </p:cNvSpPr>
            <p:nvPr/>
          </p:nvSpPr>
          <p:spPr bwMode="gray">
            <a:xfrm>
              <a:off x="1187" y="744"/>
              <a:ext cx="104" cy="79"/>
            </a:xfrm>
            <a:custGeom>
              <a:avLst/>
              <a:gdLst>
                <a:gd name="T0" fmla="*/ 104 w 208"/>
                <a:gd name="T1" fmla="*/ 104 h 157"/>
                <a:gd name="T2" fmla="*/ 129 w 208"/>
                <a:gd name="T3" fmla="*/ 81 h 157"/>
                <a:gd name="T4" fmla="*/ 129 w 208"/>
                <a:gd name="T5" fmla="*/ 104 h 157"/>
                <a:gd name="T6" fmla="*/ 156 w 208"/>
                <a:gd name="T7" fmla="*/ 81 h 157"/>
                <a:gd name="T8" fmla="*/ 181 w 208"/>
                <a:gd name="T9" fmla="*/ 52 h 157"/>
                <a:gd name="T10" fmla="*/ 208 w 208"/>
                <a:gd name="T11" fmla="*/ 29 h 157"/>
                <a:gd name="T12" fmla="*/ 156 w 208"/>
                <a:gd name="T13" fmla="*/ 0 h 157"/>
                <a:gd name="T14" fmla="*/ 129 w 208"/>
                <a:gd name="T15" fmla="*/ 29 h 157"/>
                <a:gd name="T16" fmla="*/ 104 w 208"/>
                <a:gd name="T17" fmla="*/ 52 h 157"/>
                <a:gd name="T18" fmla="*/ 77 w 208"/>
                <a:gd name="T19" fmla="*/ 29 h 157"/>
                <a:gd name="T20" fmla="*/ 52 w 208"/>
                <a:gd name="T21" fmla="*/ 81 h 157"/>
                <a:gd name="T22" fmla="*/ 25 w 208"/>
                <a:gd name="T23" fmla="*/ 104 h 157"/>
                <a:gd name="T24" fmla="*/ 0 w 208"/>
                <a:gd name="T25" fmla="*/ 132 h 157"/>
                <a:gd name="T26" fmla="*/ 0 w 208"/>
                <a:gd name="T27" fmla="*/ 157 h 157"/>
                <a:gd name="T28" fmla="*/ 52 w 208"/>
                <a:gd name="T29" fmla="*/ 132 h 157"/>
                <a:gd name="T30" fmla="*/ 104 w 208"/>
                <a:gd name="T31" fmla="*/ 10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157">
                  <a:moveTo>
                    <a:pt x="104" y="104"/>
                  </a:moveTo>
                  <a:lnTo>
                    <a:pt x="129" y="81"/>
                  </a:lnTo>
                  <a:lnTo>
                    <a:pt x="129" y="104"/>
                  </a:lnTo>
                  <a:lnTo>
                    <a:pt x="156" y="81"/>
                  </a:lnTo>
                  <a:lnTo>
                    <a:pt x="181" y="52"/>
                  </a:lnTo>
                  <a:lnTo>
                    <a:pt x="208" y="29"/>
                  </a:lnTo>
                  <a:lnTo>
                    <a:pt x="156" y="0"/>
                  </a:lnTo>
                  <a:lnTo>
                    <a:pt x="129" y="29"/>
                  </a:lnTo>
                  <a:lnTo>
                    <a:pt x="104" y="52"/>
                  </a:lnTo>
                  <a:lnTo>
                    <a:pt x="77" y="29"/>
                  </a:lnTo>
                  <a:lnTo>
                    <a:pt x="52" y="81"/>
                  </a:lnTo>
                  <a:lnTo>
                    <a:pt x="25" y="104"/>
                  </a:lnTo>
                  <a:lnTo>
                    <a:pt x="0" y="132"/>
                  </a:lnTo>
                  <a:lnTo>
                    <a:pt x="0" y="157"/>
                  </a:lnTo>
                  <a:lnTo>
                    <a:pt x="52" y="132"/>
                  </a:lnTo>
                  <a:lnTo>
                    <a:pt x="104" y="104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6" name="Freeform 37"/>
            <p:cNvSpPr>
              <a:spLocks/>
            </p:cNvSpPr>
            <p:nvPr/>
          </p:nvSpPr>
          <p:spPr bwMode="gray">
            <a:xfrm>
              <a:off x="1239" y="837"/>
              <a:ext cx="105" cy="77"/>
            </a:xfrm>
            <a:custGeom>
              <a:avLst/>
              <a:gdLst>
                <a:gd name="T0" fmla="*/ 77 w 209"/>
                <a:gd name="T1" fmla="*/ 52 h 156"/>
                <a:gd name="T2" fmla="*/ 77 w 209"/>
                <a:gd name="T3" fmla="*/ 0 h 156"/>
                <a:gd name="T4" fmla="*/ 52 w 209"/>
                <a:gd name="T5" fmla="*/ 0 h 156"/>
                <a:gd name="T6" fmla="*/ 25 w 209"/>
                <a:gd name="T7" fmla="*/ 25 h 156"/>
                <a:gd name="T8" fmla="*/ 25 w 209"/>
                <a:gd name="T9" fmla="*/ 52 h 156"/>
                <a:gd name="T10" fmla="*/ 0 w 209"/>
                <a:gd name="T11" fmla="*/ 52 h 156"/>
                <a:gd name="T12" fmla="*/ 0 w 209"/>
                <a:gd name="T13" fmla="*/ 77 h 156"/>
                <a:gd name="T14" fmla="*/ 25 w 209"/>
                <a:gd name="T15" fmla="*/ 104 h 156"/>
                <a:gd name="T16" fmla="*/ 0 w 209"/>
                <a:gd name="T17" fmla="*/ 129 h 156"/>
                <a:gd name="T18" fmla="*/ 0 w 209"/>
                <a:gd name="T19" fmla="*/ 156 h 156"/>
                <a:gd name="T20" fmla="*/ 52 w 209"/>
                <a:gd name="T21" fmla="*/ 156 h 156"/>
                <a:gd name="T22" fmla="*/ 104 w 209"/>
                <a:gd name="T23" fmla="*/ 129 h 156"/>
                <a:gd name="T24" fmla="*/ 129 w 209"/>
                <a:gd name="T25" fmla="*/ 129 h 156"/>
                <a:gd name="T26" fmla="*/ 157 w 209"/>
                <a:gd name="T27" fmla="*/ 129 h 156"/>
                <a:gd name="T28" fmla="*/ 180 w 209"/>
                <a:gd name="T29" fmla="*/ 104 h 156"/>
                <a:gd name="T30" fmla="*/ 157 w 209"/>
                <a:gd name="T31" fmla="*/ 77 h 156"/>
                <a:gd name="T32" fmla="*/ 180 w 209"/>
                <a:gd name="T33" fmla="*/ 52 h 156"/>
                <a:gd name="T34" fmla="*/ 209 w 209"/>
                <a:gd name="T35" fmla="*/ 25 h 156"/>
                <a:gd name="T36" fmla="*/ 180 w 209"/>
                <a:gd name="T37" fmla="*/ 0 h 156"/>
                <a:gd name="T38" fmla="*/ 157 w 209"/>
                <a:gd name="T39" fmla="*/ 0 h 156"/>
                <a:gd name="T40" fmla="*/ 157 w 209"/>
                <a:gd name="T41" fmla="*/ 52 h 156"/>
                <a:gd name="T42" fmla="*/ 129 w 209"/>
                <a:gd name="T43" fmla="*/ 52 h 156"/>
                <a:gd name="T44" fmla="*/ 104 w 209"/>
                <a:gd name="T45" fmla="*/ 52 h 156"/>
                <a:gd name="T46" fmla="*/ 77 w 209"/>
                <a:gd name="T47" fmla="*/ 5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9" h="156">
                  <a:moveTo>
                    <a:pt x="77" y="52"/>
                  </a:moveTo>
                  <a:lnTo>
                    <a:pt x="77" y="0"/>
                  </a:lnTo>
                  <a:lnTo>
                    <a:pt x="52" y="0"/>
                  </a:lnTo>
                  <a:lnTo>
                    <a:pt x="25" y="25"/>
                  </a:lnTo>
                  <a:lnTo>
                    <a:pt x="25" y="52"/>
                  </a:lnTo>
                  <a:lnTo>
                    <a:pt x="0" y="52"/>
                  </a:lnTo>
                  <a:lnTo>
                    <a:pt x="0" y="77"/>
                  </a:lnTo>
                  <a:lnTo>
                    <a:pt x="25" y="104"/>
                  </a:lnTo>
                  <a:lnTo>
                    <a:pt x="0" y="129"/>
                  </a:lnTo>
                  <a:lnTo>
                    <a:pt x="0" y="156"/>
                  </a:lnTo>
                  <a:lnTo>
                    <a:pt x="52" y="156"/>
                  </a:lnTo>
                  <a:lnTo>
                    <a:pt x="104" y="129"/>
                  </a:lnTo>
                  <a:lnTo>
                    <a:pt x="129" y="129"/>
                  </a:lnTo>
                  <a:lnTo>
                    <a:pt x="157" y="129"/>
                  </a:lnTo>
                  <a:lnTo>
                    <a:pt x="180" y="104"/>
                  </a:lnTo>
                  <a:lnTo>
                    <a:pt x="157" y="77"/>
                  </a:lnTo>
                  <a:lnTo>
                    <a:pt x="180" y="52"/>
                  </a:lnTo>
                  <a:lnTo>
                    <a:pt x="209" y="25"/>
                  </a:lnTo>
                  <a:lnTo>
                    <a:pt x="180" y="0"/>
                  </a:lnTo>
                  <a:lnTo>
                    <a:pt x="157" y="0"/>
                  </a:lnTo>
                  <a:lnTo>
                    <a:pt x="157" y="52"/>
                  </a:lnTo>
                  <a:lnTo>
                    <a:pt x="129" y="52"/>
                  </a:lnTo>
                  <a:lnTo>
                    <a:pt x="104" y="52"/>
                  </a:lnTo>
                  <a:lnTo>
                    <a:pt x="77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7" name="Freeform 38"/>
            <p:cNvSpPr>
              <a:spLocks/>
            </p:cNvSpPr>
            <p:nvPr/>
          </p:nvSpPr>
          <p:spPr bwMode="gray">
            <a:xfrm>
              <a:off x="2592" y="771"/>
              <a:ext cx="103" cy="144"/>
            </a:xfrm>
            <a:custGeom>
              <a:avLst/>
              <a:gdLst>
                <a:gd name="T0" fmla="*/ 27 w 207"/>
                <a:gd name="T1" fmla="*/ 106 h 288"/>
                <a:gd name="T2" fmla="*/ 27 w 207"/>
                <a:gd name="T3" fmla="*/ 133 h 288"/>
                <a:gd name="T4" fmla="*/ 52 w 207"/>
                <a:gd name="T5" fmla="*/ 158 h 288"/>
                <a:gd name="T6" fmla="*/ 79 w 207"/>
                <a:gd name="T7" fmla="*/ 158 h 288"/>
                <a:gd name="T8" fmla="*/ 104 w 207"/>
                <a:gd name="T9" fmla="*/ 133 h 288"/>
                <a:gd name="T10" fmla="*/ 131 w 207"/>
                <a:gd name="T11" fmla="*/ 133 h 288"/>
                <a:gd name="T12" fmla="*/ 131 w 207"/>
                <a:gd name="T13" fmla="*/ 158 h 288"/>
                <a:gd name="T14" fmla="*/ 104 w 207"/>
                <a:gd name="T15" fmla="*/ 158 h 288"/>
                <a:gd name="T16" fmla="*/ 104 w 207"/>
                <a:gd name="T17" fmla="*/ 185 h 288"/>
                <a:gd name="T18" fmla="*/ 131 w 207"/>
                <a:gd name="T19" fmla="*/ 185 h 288"/>
                <a:gd name="T20" fmla="*/ 131 w 207"/>
                <a:gd name="T21" fmla="*/ 210 h 288"/>
                <a:gd name="T22" fmla="*/ 104 w 207"/>
                <a:gd name="T23" fmla="*/ 237 h 288"/>
                <a:gd name="T24" fmla="*/ 104 w 207"/>
                <a:gd name="T25" fmla="*/ 261 h 288"/>
                <a:gd name="T26" fmla="*/ 156 w 207"/>
                <a:gd name="T27" fmla="*/ 288 h 288"/>
                <a:gd name="T28" fmla="*/ 156 w 207"/>
                <a:gd name="T29" fmla="*/ 261 h 288"/>
                <a:gd name="T30" fmla="*/ 156 w 207"/>
                <a:gd name="T31" fmla="*/ 237 h 288"/>
                <a:gd name="T32" fmla="*/ 184 w 207"/>
                <a:gd name="T33" fmla="*/ 185 h 288"/>
                <a:gd name="T34" fmla="*/ 184 w 207"/>
                <a:gd name="T35" fmla="*/ 158 h 288"/>
                <a:gd name="T36" fmla="*/ 184 w 207"/>
                <a:gd name="T37" fmla="*/ 106 h 288"/>
                <a:gd name="T38" fmla="*/ 207 w 207"/>
                <a:gd name="T39" fmla="*/ 106 h 288"/>
                <a:gd name="T40" fmla="*/ 184 w 207"/>
                <a:gd name="T41" fmla="*/ 81 h 288"/>
                <a:gd name="T42" fmla="*/ 156 w 207"/>
                <a:gd name="T43" fmla="*/ 81 h 288"/>
                <a:gd name="T44" fmla="*/ 131 w 207"/>
                <a:gd name="T45" fmla="*/ 29 h 288"/>
                <a:gd name="T46" fmla="*/ 131 w 207"/>
                <a:gd name="T47" fmla="*/ 54 h 288"/>
                <a:gd name="T48" fmla="*/ 104 w 207"/>
                <a:gd name="T49" fmla="*/ 54 h 288"/>
                <a:gd name="T50" fmla="*/ 104 w 207"/>
                <a:gd name="T51" fmla="*/ 81 h 288"/>
                <a:gd name="T52" fmla="*/ 79 w 207"/>
                <a:gd name="T53" fmla="*/ 54 h 288"/>
                <a:gd name="T54" fmla="*/ 79 w 207"/>
                <a:gd name="T55" fmla="*/ 29 h 288"/>
                <a:gd name="T56" fmla="*/ 52 w 207"/>
                <a:gd name="T57" fmla="*/ 0 h 288"/>
                <a:gd name="T58" fmla="*/ 52 w 207"/>
                <a:gd name="T59" fmla="*/ 29 h 288"/>
                <a:gd name="T60" fmla="*/ 27 w 207"/>
                <a:gd name="T61" fmla="*/ 29 h 288"/>
                <a:gd name="T62" fmla="*/ 0 w 207"/>
                <a:gd name="T63" fmla="*/ 29 h 288"/>
                <a:gd name="T64" fmla="*/ 27 w 207"/>
                <a:gd name="T65" fmla="*/ 81 h 288"/>
                <a:gd name="T66" fmla="*/ 27 w 207"/>
                <a:gd name="T67" fmla="*/ 10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7" h="288">
                  <a:moveTo>
                    <a:pt x="27" y="106"/>
                  </a:moveTo>
                  <a:lnTo>
                    <a:pt x="27" y="133"/>
                  </a:lnTo>
                  <a:lnTo>
                    <a:pt x="52" y="158"/>
                  </a:lnTo>
                  <a:lnTo>
                    <a:pt x="79" y="158"/>
                  </a:lnTo>
                  <a:lnTo>
                    <a:pt x="104" y="133"/>
                  </a:lnTo>
                  <a:lnTo>
                    <a:pt x="131" y="133"/>
                  </a:lnTo>
                  <a:lnTo>
                    <a:pt x="131" y="158"/>
                  </a:lnTo>
                  <a:lnTo>
                    <a:pt x="104" y="158"/>
                  </a:lnTo>
                  <a:lnTo>
                    <a:pt x="104" y="185"/>
                  </a:lnTo>
                  <a:lnTo>
                    <a:pt x="131" y="185"/>
                  </a:lnTo>
                  <a:lnTo>
                    <a:pt x="131" y="210"/>
                  </a:lnTo>
                  <a:lnTo>
                    <a:pt x="104" y="237"/>
                  </a:lnTo>
                  <a:lnTo>
                    <a:pt x="104" y="261"/>
                  </a:lnTo>
                  <a:lnTo>
                    <a:pt x="156" y="288"/>
                  </a:lnTo>
                  <a:lnTo>
                    <a:pt x="156" y="261"/>
                  </a:lnTo>
                  <a:lnTo>
                    <a:pt x="156" y="237"/>
                  </a:lnTo>
                  <a:lnTo>
                    <a:pt x="184" y="185"/>
                  </a:lnTo>
                  <a:lnTo>
                    <a:pt x="184" y="158"/>
                  </a:lnTo>
                  <a:lnTo>
                    <a:pt x="184" y="106"/>
                  </a:lnTo>
                  <a:lnTo>
                    <a:pt x="207" y="106"/>
                  </a:lnTo>
                  <a:lnTo>
                    <a:pt x="184" y="81"/>
                  </a:lnTo>
                  <a:lnTo>
                    <a:pt x="156" y="81"/>
                  </a:lnTo>
                  <a:lnTo>
                    <a:pt x="131" y="29"/>
                  </a:lnTo>
                  <a:lnTo>
                    <a:pt x="131" y="54"/>
                  </a:lnTo>
                  <a:lnTo>
                    <a:pt x="104" y="54"/>
                  </a:lnTo>
                  <a:lnTo>
                    <a:pt x="104" y="81"/>
                  </a:lnTo>
                  <a:lnTo>
                    <a:pt x="79" y="54"/>
                  </a:lnTo>
                  <a:lnTo>
                    <a:pt x="79" y="29"/>
                  </a:lnTo>
                  <a:lnTo>
                    <a:pt x="52" y="0"/>
                  </a:lnTo>
                  <a:lnTo>
                    <a:pt x="52" y="29"/>
                  </a:lnTo>
                  <a:lnTo>
                    <a:pt x="27" y="29"/>
                  </a:lnTo>
                  <a:lnTo>
                    <a:pt x="0" y="29"/>
                  </a:lnTo>
                  <a:lnTo>
                    <a:pt x="27" y="81"/>
                  </a:lnTo>
                  <a:lnTo>
                    <a:pt x="27" y="106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8" name="Freeform 39"/>
            <p:cNvSpPr>
              <a:spLocks/>
            </p:cNvSpPr>
            <p:nvPr/>
          </p:nvSpPr>
          <p:spPr bwMode="gray">
            <a:xfrm>
              <a:off x="2695" y="771"/>
              <a:ext cx="52" cy="53"/>
            </a:xfrm>
            <a:custGeom>
              <a:avLst/>
              <a:gdLst>
                <a:gd name="T0" fmla="*/ 52 w 104"/>
                <a:gd name="T1" fmla="*/ 106 h 106"/>
                <a:gd name="T2" fmla="*/ 52 w 104"/>
                <a:gd name="T3" fmla="*/ 81 h 106"/>
                <a:gd name="T4" fmla="*/ 81 w 104"/>
                <a:gd name="T5" fmla="*/ 54 h 106"/>
                <a:gd name="T6" fmla="*/ 104 w 104"/>
                <a:gd name="T7" fmla="*/ 54 h 106"/>
                <a:gd name="T8" fmla="*/ 104 w 104"/>
                <a:gd name="T9" fmla="*/ 29 h 106"/>
                <a:gd name="T10" fmla="*/ 104 w 104"/>
                <a:gd name="T11" fmla="*/ 0 h 106"/>
                <a:gd name="T12" fmla="*/ 81 w 104"/>
                <a:gd name="T13" fmla="*/ 0 h 106"/>
                <a:gd name="T14" fmla="*/ 29 w 104"/>
                <a:gd name="T15" fmla="*/ 29 h 106"/>
                <a:gd name="T16" fmla="*/ 29 w 104"/>
                <a:gd name="T17" fmla="*/ 0 h 106"/>
                <a:gd name="T18" fmla="*/ 0 w 104"/>
                <a:gd name="T19" fmla="*/ 29 h 106"/>
                <a:gd name="T20" fmla="*/ 0 w 104"/>
                <a:gd name="T21" fmla="*/ 54 h 106"/>
                <a:gd name="T22" fmla="*/ 0 w 104"/>
                <a:gd name="T23" fmla="*/ 81 h 106"/>
                <a:gd name="T24" fmla="*/ 29 w 104"/>
                <a:gd name="T25" fmla="*/ 106 h 106"/>
                <a:gd name="T26" fmla="*/ 52 w 104"/>
                <a:gd name="T2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106">
                  <a:moveTo>
                    <a:pt x="52" y="106"/>
                  </a:moveTo>
                  <a:lnTo>
                    <a:pt x="52" y="81"/>
                  </a:lnTo>
                  <a:lnTo>
                    <a:pt x="81" y="54"/>
                  </a:lnTo>
                  <a:lnTo>
                    <a:pt x="104" y="54"/>
                  </a:lnTo>
                  <a:lnTo>
                    <a:pt x="104" y="29"/>
                  </a:lnTo>
                  <a:lnTo>
                    <a:pt x="104" y="0"/>
                  </a:lnTo>
                  <a:lnTo>
                    <a:pt x="81" y="0"/>
                  </a:lnTo>
                  <a:lnTo>
                    <a:pt x="29" y="29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0" y="54"/>
                  </a:lnTo>
                  <a:lnTo>
                    <a:pt x="0" y="81"/>
                  </a:lnTo>
                  <a:lnTo>
                    <a:pt x="29" y="106"/>
                  </a:lnTo>
                  <a:lnTo>
                    <a:pt x="52" y="106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9" name="Freeform 40"/>
            <p:cNvSpPr>
              <a:spLocks/>
            </p:cNvSpPr>
            <p:nvPr/>
          </p:nvSpPr>
          <p:spPr bwMode="gray">
            <a:xfrm>
              <a:off x="2695" y="849"/>
              <a:ext cx="41" cy="52"/>
            </a:xfrm>
            <a:custGeom>
              <a:avLst/>
              <a:gdLst>
                <a:gd name="T0" fmla="*/ 0 w 81"/>
                <a:gd name="T1" fmla="*/ 0 h 103"/>
                <a:gd name="T2" fmla="*/ 0 w 81"/>
                <a:gd name="T3" fmla="*/ 52 h 103"/>
                <a:gd name="T4" fmla="*/ 29 w 81"/>
                <a:gd name="T5" fmla="*/ 79 h 103"/>
                <a:gd name="T6" fmla="*/ 52 w 81"/>
                <a:gd name="T7" fmla="*/ 103 h 103"/>
                <a:gd name="T8" fmla="*/ 81 w 81"/>
                <a:gd name="T9" fmla="*/ 79 h 103"/>
                <a:gd name="T10" fmla="*/ 81 w 81"/>
                <a:gd name="T11" fmla="*/ 52 h 103"/>
                <a:gd name="T12" fmla="*/ 52 w 81"/>
                <a:gd name="T13" fmla="*/ 52 h 103"/>
                <a:gd name="T14" fmla="*/ 29 w 81"/>
                <a:gd name="T15" fmla="*/ 52 h 103"/>
                <a:gd name="T16" fmla="*/ 29 w 81"/>
                <a:gd name="T17" fmla="*/ 27 h 103"/>
                <a:gd name="T18" fmla="*/ 0 w 81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3">
                  <a:moveTo>
                    <a:pt x="0" y="0"/>
                  </a:moveTo>
                  <a:lnTo>
                    <a:pt x="0" y="52"/>
                  </a:lnTo>
                  <a:lnTo>
                    <a:pt x="29" y="79"/>
                  </a:lnTo>
                  <a:lnTo>
                    <a:pt x="52" y="103"/>
                  </a:lnTo>
                  <a:lnTo>
                    <a:pt x="81" y="79"/>
                  </a:lnTo>
                  <a:lnTo>
                    <a:pt x="81" y="52"/>
                  </a:lnTo>
                  <a:lnTo>
                    <a:pt x="52" y="52"/>
                  </a:lnTo>
                  <a:lnTo>
                    <a:pt x="29" y="52"/>
                  </a:lnTo>
                  <a:lnTo>
                    <a:pt x="29" y="27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0" name="Freeform 41"/>
            <p:cNvSpPr>
              <a:spLocks/>
            </p:cNvSpPr>
            <p:nvPr/>
          </p:nvSpPr>
          <p:spPr bwMode="gray">
            <a:xfrm>
              <a:off x="4076" y="2723"/>
              <a:ext cx="51" cy="25"/>
            </a:xfrm>
            <a:custGeom>
              <a:avLst/>
              <a:gdLst>
                <a:gd name="T0" fmla="*/ 52 w 104"/>
                <a:gd name="T1" fmla="*/ 0 h 52"/>
                <a:gd name="T2" fmla="*/ 23 w 104"/>
                <a:gd name="T3" fmla="*/ 0 h 52"/>
                <a:gd name="T4" fmla="*/ 0 w 104"/>
                <a:gd name="T5" fmla="*/ 23 h 52"/>
                <a:gd name="T6" fmla="*/ 23 w 104"/>
                <a:gd name="T7" fmla="*/ 23 h 52"/>
                <a:gd name="T8" fmla="*/ 52 w 104"/>
                <a:gd name="T9" fmla="*/ 52 h 52"/>
                <a:gd name="T10" fmla="*/ 75 w 104"/>
                <a:gd name="T11" fmla="*/ 23 h 52"/>
                <a:gd name="T12" fmla="*/ 104 w 104"/>
                <a:gd name="T13" fmla="*/ 23 h 52"/>
                <a:gd name="T14" fmla="*/ 75 w 104"/>
                <a:gd name="T15" fmla="*/ 0 h 52"/>
                <a:gd name="T16" fmla="*/ 52 w 104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52">
                  <a:moveTo>
                    <a:pt x="52" y="0"/>
                  </a:moveTo>
                  <a:lnTo>
                    <a:pt x="23" y="0"/>
                  </a:lnTo>
                  <a:lnTo>
                    <a:pt x="0" y="23"/>
                  </a:lnTo>
                  <a:lnTo>
                    <a:pt x="23" y="23"/>
                  </a:lnTo>
                  <a:lnTo>
                    <a:pt x="52" y="52"/>
                  </a:lnTo>
                  <a:lnTo>
                    <a:pt x="75" y="23"/>
                  </a:lnTo>
                  <a:lnTo>
                    <a:pt x="104" y="23"/>
                  </a:lnTo>
                  <a:lnTo>
                    <a:pt x="75" y="0"/>
                  </a:lnTo>
                  <a:lnTo>
                    <a:pt x="52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1" name="Freeform 42"/>
            <p:cNvSpPr>
              <a:spLocks/>
            </p:cNvSpPr>
            <p:nvPr/>
          </p:nvSpPr>
          <p:spPr bwMode="gray">
            <a:xfrm>
              <a:off x="4127" y="2723"/>
              <a:ext cx="90" cy="25"/>
            </a:xfrm>
            <a:custGeom>
              <a:avLst/>
              <a:gdLst>
                <a:gd name="T0" fmla="*/ 127 w 179"/>
                <a:gd name="T1" fmla="*/ 23 h 52"/>
                <a:gd name="T2" fmla="*/ 127 w 179"/>
                <a:gd name="T3" fmla="*/ 0 h 52"/>
                <a:gd name="T4" fmla="*/ 104 w 179"/>
                <a:gd name="T5" fmla="*/ 0 h 52"/>
                <a:gd name="T6" fmla="*/ 52 w 179"/>
                <a:gd name="T7" fmla="*/ 0 h 52"/>
                <a:gd name="T8" fmla="*/ 0 w 179"/>
                <a:gd name="T9" fmla="*/ 0 h 52"/>
                <a:gd name="T10" fmla="*/ 0 w 179"/>
                <a:gd name="T11" fmla="*/ 23 h 52"/>
                <a:gd name="T12" fmla="*/ 23 w 179"/>
                <a:gd name="T13" fmla="*/ 23 h 52"/>
                <a:gd name="T14" fmla="*/ 52 w 179"/>
                <a:gd name="T15" fmla="*/ 52 h 52"/>
                <a:gd name="T16" fmla="*/ 75 w 179"/>
                <a:gd name="T17" fmla="*/ 52 h 52"/>
                <a:gd name="T18" fmla="*/ 104 w 179"/>
                <a:gd name="T19" fmla="*/ 52 h 52"/>
                <a:gd name="T20" fmla="*/ 179 w 179"/>
                <a:gd name="T21" fmla="*/ 52 h 52"/>
                <a:gd name="T22" fmla="*/ 179 w 179"/>
                <a:gd name="T23" fmla="*/ 23 h 52"/>
                <a:gd name="T24" fmla="*/ 155 w 179"/>
                <a:gd name="T25" fmla="*/ 23 h 52"/>
                <a:gd name="T26" fmla="*/ 127 w 179"/>
                <a:gd name="T27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9" h="52">
                  <a:moveTo>
                    <a:pt x="127" y="23"/>
                  </a:moveTo>
                  <a:lnTo>
                    <a:pt x="127" y="0"/>
                  </a:lnTo>
                  <a:lnTo>
                    <a:pt x="104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23" y="23"/>
                  </a:lnTo>
                  <a:lnTo>
                    <a:pt x="52" y="52"/>
                  </a:lnTo>
                  <a:lnTo>
                    <a:pt x="75" y="52"/>
                  </a:lnTo>
                  <a:lnTo>
                    <a:pt x="104" y="52"/>
                  </a:lnTo>
                  <a:lnTo>
                    <a:pt x="179" y="52"/>
                  </a:lnTo>
                  <a:lnTo>
                    <a:pt x="179" y="23"/>
                  </a:lnTo>
                  <a:lnTo>
                    <a:pt x="155" y="23"/>
                  </a:lnTo>
                  <a:lnTo>
                    <a:pt x="127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2" name="Freeform 43"/>
            <p:cNvSpPr>
              <a:spLocks/>
            </p:cNvSpPr>
            <p:nvPr/>
          </p:nvSpPr>
          <p:spPr bwMode="gray">
            <a:xfrm>
              <a:off x="4283" y="2723"/>
              <a:ext cx="38" cy="11"/>
            </a:xfrm>
            <a:custGeom>
              <a:avLst/>
              <a:gdLst>
                <a:gd name="T0" fmla="*/ 25 w 77"/>
                <a:gd name="T1" fmla="*/ 0 h 23"/>
                <a:gd name="T2" fmla="*/ 0 w 77"/>
                <a:gd name="T3" fmla="*/ 0 h 23"/>
                <a:gd name="T4" fmla="*/ 25 w 77"/>
                <a:gd name="T5" fmla="*/ 23 h 23"/>
                <a:gd name="T6" fmla="*/ 52 w 77"/>
                <a:gd name="T7" fmla="*/ 23 h 23"/>
                <a:gd name="T8" fmla="*/ 77 w 77"/>
                <a:gd name="T9" fmla="*/ 23 h 23"/>
                <a:gd name="T10" fmla="*/ 77 w 77"/>
                <a:gd name="T11" fmla="*/ 0 h 23"/>
                <a:gd name="T12" fmla="*/ 52 w 77"/>
                <a:gd name="T13" fmla="*/ 0 h 23"/>
                <a:gd name="T14" fmla="*/ 25 w 77"/>
                <a:gd name="T1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23">
                  <a:moveTo>
                    <a:pt x="25" y="0"/>
                  </a:moveTo>
                  <a:lnTo>
                    <a:pt x="0" y="0"/>
                  </a:lnTo>
                  <a:lnTo>
                    <a:pt x="25" y="23"/>
                  </a:lnTo>
                  <a:lnTo>
                    <a:pt x="52" y="23"/>
                  </a:lnTo>
                  <a:lnTo>
                    <a:pt x="77" y="23"/>
                  </a:lnTo>
                  <a:lnTo>
                    <a:pt x="77" y="0"/>
                  </a:lnTo>
                  <a:lnTo>
                    <a:pt x="52" y="0"/>
                  </a:lnTo>
                  <a:lnTo>
                    <a:pt x="25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3" name="Freeform 44"/>
            <p:cNvSpPr>
              <a:spLocks/>
            </p:cNvSpPr>
            <p:nvPr/>
          </p:nvSpPr>
          <p:spPr bwMode="gray">
            <a:xfrm>
              <a:off x="4283" y="2748"/>
              <a:ext cx="12" cy="12"/>
            </a:xfrm>
            <a:custGeom>
              <a:avLst/>
              <a:gdLst>
                <a:gd name="T0" fmla="*/ 25 w 25"/>
                <a:gd name="T1" fmla="*/ 23 h 23"/>
                <a:gd name="T2" fmla="*/ 25 w 25"/>
                <a:gd name="T3" fmla="*/ 0 h 23"/>
                <a:gd name="T4" fmla="*/ 0 w 25"/>
                <a:gd name="T5" fmla="*/ 0 h 23"/>
                <a:gd name="T6" fmla="*/ 25 w 25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3">
                  <a:moveTo>
                    <a:pt x="25" y="23"/>
                  </a:moveTo>
                  <a:lnTo>
                    <a:pt x="25" y="0"/>
                  </a:lnTo>
                  <a:lnTo>
                    <a:pt x="0" y="0"/>
                  </a:lnTo>
                  <a:lnTo>
                    <a:pt x="25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gray">
            <a:xfrm>
              <a:off x="4373" y="2697"/>
              <a:ext cx="15" cy="26"/>
            </a:xfrm>
            <a:custGeom>
              <a:avLst/>
              <a:gdLst>
                <a:gd name="T0" fmla="*/ 0 w 29"/>
                <a:gd name="T1" fmla="*/ 52 h 52"/>
                <a:gd name="T2" fmla="*/ 29 w 29"/>
                <a:gd name="T3" fmla="*/ 23 h 52"/>
                <a:gd name="T4" fmla="*/ 29 w 29"/>
                <a:gd name="T5" fmla="*/ 0 h 52"/>
                <a:gd name="T6" fmla="*/ 0 w 29"/>
                <a:gd name="T7" fmla="*/ 23 h 52"/>
                <a:gd name="T8" fmla="*/ 0 w 29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2">
                  <a:moveTo>
                    <a:pt x="0" y="52"/>
                  </a:moveTo>
                  <a:lnTo>
                    <a:pt x="29" y="23"/>
                  </a:lnTo>
                  <a:lnTo>
                    <a:pt x="29" y="0"/>
                  </a:lnTo>
                  <a:lnTo>
                    <a:pt x="0" y="23"/>
                  </a:lnTo>
                  <a:lnTo>
                    <a:pt x="0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gray">
            <a:xfrm>
              <a:off x="4139" y="2488"/>
              <a:ext cx="144" cy="194"/>
            </a:xfrm>
            <a:custGeom>
              <a:avLst/>
              <a:gdLst>
                <a:gd name="T0" fmla="*/ 288 w 288"/>
                <a:gd name="T1" fmla="*/ 155 h 388"/>
                <a:gd name="T2" fmla="*/ 261 w 288"/>
                <a:gd name="T3" fmla="*/ 128 h 388"/>
                <a:gd name="T4" fmla="*/ 261 w 288"/>
                <a:gd name="T5" fmla="*/ 104 h 388"/>
                <a:gd name="T6" fmla="*/ 261 w 288"/>
                <a:gd name="T7" fmla="*/ 77 h 388"/>
                <a:gd name="T8" fmla="*/ 261 w 288"/>
                <a:gd name="T9" fmla="*/ 52 h 388"/>
                <a:gd name="T10" fmla="*/ 261 w 288"/>
                <a:gd name="T11" fmla="*/ 0 h 388"/>
                <a:gd name="T12" fmla="*/ 236 w 288"/>
                <a:gd name="T13" fmla="*/ 0 h 388"/>
                <a:gd name="T14" fmla="*/ 209 w 288"/>
                <a:gd name="T15" fmla="*/ 0 h 388"/>
                <a:gd name="T16" fmla="*/ 184 w 288"/>
                <a:gd name="T17" fmla="*/ 25 h 388"/>
                <a:gd name="T18" fmla="*/ 184 w 288"/>
                <a:gd name="T19" fmla="*/ 77 h 388"/>
                <a:gd name="T20" fmla="*/ 156 w 288"/>
                <a:gd name="T21" fmla="*/ 104 h 388"/>
                <a:gd name="T22" fmla="*/ 104 w 288"/>
                <a:gd name="T23" fmla="*/ 128 h 388"/>
                <a:gd name="T24" fmla="*/ 81 w 288"/>
                <a:gd name="T25" fmla="*/ 155 h 388"/>
                <a:gd name="T26" fmla="*/ 81 w 288"/>
                <a:gd name="T27" fmla="*/ 180 h 388"/>
                <a:gd name="T28" fmla="*/ 52 w 288"/>
                <a:gd name="T29" fmla="*/ 180 h 388"/>
                <a:gd name="T30" fmla="*/ 29 w 288"/>
                <a:gd name="T31" fmla="*/ 180 h 388"/>
                <a:gd name="T32" fmla="*/ 29 w 288"/>
                <a:gd name="T33" fmla="*/ 207 h 388"/>
                <a:gd name="T34" fmla="*/ 0 w 288"/>
                <a:gd name="T35" fmla="*/ 232 h 388"/>
                <a:gd name="T36" fmla="*/ 0 w 288"/>
                <a:gd name="T37" fmla="*/ 259 h 388"/>
                <a:gd name="T38" fmla="*/ 0 w 288"/>
                <a:gd name="T39" fmla="*/ 284 h 388"/>
                <a:gd name="T40" fmla="*/ 0 w 288"/>
                <a:gd name="T41" fmla="*/ 313 h 388"/>
                <a:gd name="T42" fmla="*/ 29 w 288"/>
                <a:gd name="T43" fmla="*/ 313 h 388"/>
                <a:gd name="T44" fmla="*/ 29 w 288"/>
                <a:gd name="T45" fmla="*/ 336 h 388"/>
                <a:gd name="T46" fmla="*/ 29 w 288"/>
                <a:gd name="T47" fmla="*/ 365 h 388"/>
                <a:gd name="T48" fmla="*/ 52 w 288"/>
                <a:gd name="T49" fmla="*/ 388 h 388"/>
                <a:gd name="T50" fmla="*/ 81 w 288"/>
                <a:gd name="T51" fmla="*/ 388 h 388"/>
                <a:gd name="T52" fmla="*/ 104 w 288"/>
                <a:gd name="T53" fmla="*/ 365 h 388"/>
                <a:gd name="T54" fmla="*/ 156 w 288"/>
                <a:gd name="T55" fmla="*/ 365 h 388"/>
                <a:gd name="T56" fmla="*/ 184 w 288"/>
                <a:gd name="T57" fmla="*/ 365 h 388"/>
                <a:gd name="T58" fmla="*/ 209 w 288"/>
                <a:gd name="T59" fmla="*/ 336 h 388"/>
                <a:gd name="T60" fmla="*/ 209 w 288"/>
                <a:gd name="T61" fmla="*/ 313 h 388"/>
                <a:gd name="T62" fmla="*/ 209 w 288"/>
                <a:gd name="T63" fmla="*/ 284 h 388"/>
                <a:gd name="T64" fmla="*/ 236 w 288"/>
                <a:gd name="T65" fmla="*/ 259 h 388"/>
                <a:gd name="T66" fmla="*/ 236 w 288"/>
                <a:gd name="T67" fmla="*/ 232 h 388"/>
                <a:gd name="T68" fmla="*/ 261 w 288"/>
                <a:gd name="T69" fmla="*/ 207 h 388"/>
                <a:gd name="T70" fmla="*/ 288 w 288"/>
                <a:gd name="T71" fmla="*/ 180 h 388"/>
                <a:gd name="T72" fmla="*/ 288 w 288"/>
                <a:gd name="T73" fmla="*/ 155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8" h="388">
                  <a:moveTo>
                    <a:pt x="288" y="155"/>
                  </a:moveTo>
                  <a:lnTo>
                    <a:pt x="261" y="128"/>
                  </a:lnTo>
                  <a:lnTo>
                    <a:pt x="261" y="104"/>
                  </a:lnTo>
                  <a:lnTo>
                    <a:pt x="261" y="77"/>
                  </a:lnTo>
                  <a:lnTo>
                    <a:pt x="261" y="52"/>
                  </a:lnTo>
                  <a:lnTo>
                    <a:pt x="261" y="0"/>
                  </a:lnTo>
                  <a:lnTo>
                    <a:pt x="236" y="0"/>
                  </a:lnTo>
                  <a:lnTo>
                    <a:pt x="209" y="0"/>
                  </a:lnTo>
                  <a:lnTo>
                    <a:pt x="184" y="25"/>
                  </a:lnTo>
                  <a:lnTo>
                    <a:pt x="184" y="77"/>
                  </a:lnTo>
                  <a:lnTo>
                    <a:pt x="156" y="104"/>
                  </a:lnTo>
                  <a:lnTo>
                    <a:pt x="104" y="128"/>
                  </a:lnTo>
                  <a:lnTo>
                    <a:pt x="81" y="155"/>
                  </a:lnTo>
                  <a:lnTo>
                    <a:pt x="81" y="180"/>
                  </a:lnTo>
                  <a:lnTo>
                    <a:pt x="52" y="180"/>
                  </a:lnTo>
                  <a:lnTo>
                    <a:pt x="29" y="180"/>
                  </a:lnTo>
                  <a:lnTo>
                    <a:pt x="29" y="207"/>
                  </a:lnTo>
                  <a:lnTo>
                    <a:pt x="0" y="232"/>
                  </a:lnTo>
                  <a:lnTo>
                    <a:pt x="0" y="259"/>
                  </a:lnTo>
                  <a:lnTo>
                    <a:pt x="0" y="284"/>
                  </a:lnTo>
                  <a:lnTo>
                    <a:pt x="0" y="313"/>
                  </a:lnTo>
                  <a:lnTo>
                    <a:pt x="29" y="313"/>
                  </a:lnTo>
                  <a:lnTo>
                    <a:pt x="29" y="336"/>
                  </a:lnTo>
                  <a:lnTo>
                    <a:pt x="29" y="365"/>
                  </a:lnTo>
                  <a:lnTo>
                    <a:pt x="52" y="388"/>
                  </a:lnTo>
                  <a:lnTo>
                    <a:pt x="81" y="388"/>
                  </a:lnTo>
                  <a:lnTo>
                    <a:pt x="104" y="365"/>
                  </a:lnTo>
                  <a:lnTo>
                    <a:pt x="156" y="365"/>
                  </a:lnTo>
                  <a:lnTo>
                    <a:pt x="184" y="365"/>
                  </a:lnTo>
                  <a:lnTo>
                    <a:pt x="209" y="336"/>
                  </a:lnTo>
                  <a:lnTo>
                    <a:pt x="209" y="313"/>
                  </a:lnTo>
                  <a:lnTo>
                    <a:pt x="209" y="284"/>
                  </a:lnTo>
                  <a:lnTo>
                    <a:pt x="236" y="259"/>
                  </a:lnTo>
                  <a:lnTo>
                    <a:pt x="236" y="232"/>
                  </a:lnTo>
                  <a:lnTo>
                    <a:pt x="261" y="207"/>
                  </a:lnTo>
                  <a:lnTo>
                    <a:pt x="288" y="180"/>
                  </a:lnTo>
                  <a:lnTo>
                    <a:pt x="288" y="155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gray">
            <a:xfrm>
              <a:off x="4231" y="2527"/>
              <a:ext cx="13" cy="26"/>
            </a:xfrm>
            <a:custGeom>
              <a:avLst/>
              <a:gdLst>
                <a:gd name="T0" fmla="*/ 0 w 25"/>
                <a:gd name="T1" fmla="*/ 51 h 51"/>
                <a:gd name="T2" fmla="*/ 0 w 25"/>
                <a:gd name="T3" fmla="*/ 27 h 51"/>
                <a:gd name="T4" fmla="*/ 25 w 25"/>
                <a:gd name="T5" fmla="*/ 0 h 51"/>
                <a:gd name="T6" fmla="*/ 0 w 25"/>
                <a:gd name="T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1">
                  <a:moveTo>
                    <a:pt x="0" y="51"/>
                  </a:moveTo>
                  <a:lnTo>
                    <a:pt x="0" y="27"/>
                  </a:lnTo>
                  <a:lnTo>
                    <a:pt x="25" y="0"/>
                  </a:lnTo>
                  <a:lnTo>
                    <a:pt x="0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8" name="Freeform 48"/>
            <p:cNvSpPr>
              <a:spLocks/>
            </p:cNvSpPr>
            <p:nvPr/>
          </p:nvSpPr>
          <p:spPr bwMode="gray">
            <a:xfrm>
              <a:off x="4355" y="2592"/>
              <a:ext cx="6" cy="13"/>
            </a:xfrm>
            <a:custGeom>
              <a:avLst/>
              <a:gdLst>
                <a:gd name="T0" fmla="*/ 11 w 11"/>
                <a:gd name="T1" fmla="*/ 0 h 25"/>
                <a:gd name="T2" fmla="*/ 0 w 11"/>
                <a:gd name="T3" fmla="*/ 21 h 25"/>
                <a:gd name="T4" fmla="*/ 11 w 11"/>
                <a:gd name="T5" fmla="*/ 25 h 25"/>
                <a:gd name="T6" fmla="*/ 11 w 11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0" y="21"/>
                  </a:lnTo>
                  <a:lnTo>
                    <a:pt x="11" y="25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gray">
            <a:xfrm>
              <a:off x="4367" y="2553"/>
              <a:ext cx="6" cy="13"/>
            </a:xfrm>
            <a:custGeom>
              <a:avLst/>
              <a:gdLst>
                <a:gd name="T0" fmla="*/ 11 w 11"/>
                <a:gd name="T1" fmla="*/ 0 h 27"/>
                <a:gd name="T2" fmla="*/ 0 w 11"/>
                <a:gd name="T3" fmla="*/ 27 h 27"/>
                <a:gd name="T4" fmla="*/ 11 w 11"/>
                <a:gd name="T5" fmla="*/ 27 h 27"/>
                <a:gd name="T6" fmla="*/ 11 w 11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7">
                  <a:moveTo>
                    <a:pt x="11" y="0"/>
                  </a:moveTo>
                  <a:lnTo>
                    <a:pt x="0" y="27"/>
                  </a:lnTo>
                  <a:lnTo>
                    <a:pt x="11" y="27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gray">
            <a:xfrm>
              <a:off x="4283" y="2566"/>
              <a:ext cx="84" cy="131"/>
            </a:xfrm>
            <a:custGeom>
              <a:avLst/>
              <a:gdLst>
                <a:gd name="T0" fmla="*/ 77 w 169"/>
                <a:gd name="T1" fmla="*/ 0 h 261"/>
                <a:gd name="T2" fmla="*/ 77 w 169"/>
                <a:gd name="T3" fmla="*/ 25 h 261"/>
                <a:gd name="T4" fmla="*/ 52 w 169"/>
                <a:gd name="T5" fmla="*/ 52 h 261"/>
                <a:gd name="T6" fmla="*/ 25 w 169"/>
                <a:gd name="T7" fmla="*/ 104 h 261"/>
                <a:gd name="T8" fmla="*/ 25 w 169"/>
                <a:gd name="T9" fmla="*/ 129 h 261"/>
                <a:gd name="T10" fmla="*/ 25 w 169"/>
                <a:gd name="T11" fmla="*/ 181 h 261"/>
                <a:gd name="T12" fmla="*/ 0 w 169"/>
                <a:gd name="T13" fmla="*/ 210 h 261"/>
                <a:gd name="T14" fmla="*/ 25 w 169"/>
                <a:gd name="T15" fmla="*/ 261 h 261"/>
                <a:gd name="T16" fmla="*/ 52 w 169"/>
                <a:gd name="T17" fmla="*/ 261 h 261"/>
                <a:gd name="T18" fmla="*/ 52 w 169"/>
                <a:gd name="T19" fmla="*/ 233 h 261"/>
                <a:gd name="T20" fmla="*/ 52 w 169"/>
                <a:gd name="T21" fmla="*/ 181 h 261"/>
                <a:gd name="T22" fmla="*/ 77 w 169"/>
                <a:gd name="T23" fmla="*/ 158 h 261"/>
                <a:gd name="T24" fmla="*/ 104 w 169"/>
                <a:gd name="T25" fmla="*/ 158 h 261"/>
                <a:gd name="T26" fmla="*/ 129 w 169"/>
                <a:gd name="T27" fmla="*/ 158 h 261"/>
                <a:gd name="T28" fmla="*/ 129 w 169"/>
                <a:gd name="T29" fmla="*/ 129 h 261"/>
                <a:gd name="T30" fmla="*/ 129 w 169"/>
                <a:gd name="T31" fmla="*/ 104 h 261"/>
                <a:gd name="T32" fmla="*/ 144 w 169"/>
                <a:gd name="T33" fmla="*/ 73 h 261"/>
                <a:gd name="T34" fmla="*/ 104 w 169"/>
                <a:gd name="T35" fmla="*/ 52 h 261"/>
                <a:gd name="T36" fmla="*/ 155 w 169"/>
                <a:gd name="T37" fmla="*/ 25 h 261"/>
                <a:gd name="T38" fmla="*/ 169 w 169"/>
                <a:gd name="T39" fmla="*/ 0 h 261"/>
                <a:gd name="T40" fmla="*/ 129 w 169"/>
                <a:gd name="T41" fmla="*/ 0 h 261"/>
                <a:gd name="T42" fmla="*/ 77 w 169"/>
                <a:gd name="T43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9" h="261">
                  <a:moveTo>
                    <a:pt x="77" y="0"/>
                  </a:moveTo>
                  <a:lnTo>
                    <a:pt x="77" y="25"/>
                  </a:lnTo>
                  <a:lnTo>
                    <a:pt x="52" y="52"/>
                  </a:lnTo>
                  <a:lnTo>
                    <a:pt x="25" y="104"/>
                  </a:lnTo>
                  <a:lnTo>
                    <a:pt x="25" y="129"/>
                  </a:lnTo>
                  <a:lnTo>
                    <a:pt x="25" y="181"/>
                  </a:lnTo>
                  <a:lnTo>
                    <a:pt x="0" y="210"/>
                  </a:lnTo>
                  <a:lnTo>
                    <a:pt x="25" y="261"/>
                  </a:lnTo>
                  <a:lnTo>
                    <a:pt x="52" y="261"/>
                  </a:lnTo>
                  <a:lnTo>
                    <a:pt x="52" y="233"/>
                  </a:lnTo>
                  <a:lnTo>
                    <a:pt x="52" y="181"/>
                  </a:lnTo>
                  <a:lnTo>
                    <a:pt x="77" y="158"/>
                  </a:lnTo>
                  <a:lnTo>
                    <a:pt x="104" y="158"/>
                  </a:lnTo>
                  <a:lnTo>
                    <a:pt x="129" y="158"/>
                  </a:lnTo>
                  <a:lnTo>
                    <a:pt x="129" y="129"/>
                  </a:lnTo>
                  <a:lnTo>
                    <a:pt x="129" y="104"/>
                  </a:lnTo>
                  <a:lnTo>
                    <a:pt x="144" y="73"/>
                  </a:lnTo>
                  <a:lnTo>
                    <a:pt x="104" y="52"/>
                  </a:lnTo>
                  <a:lnTo>
                    <a:pt x="155" y="25"/>
                  </a:lnTo>
                  <a:lnTo>
                    <a:pt x="169" y="0"/>
                  </a:lnTo>
                  <a:lnTo>
                    <a:pt x="129" y="0"/>
                  </a:lnTo>
                  <a:lnTo>
                    <a:pt x="77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1" name="Freeform 51"/>
            <p:cNvSpPr>
              <a:spLocks/>
            </p:cNvSpPr>
            <p:nvPr/>
          </p:nvSpPr>
          <p:spPr bwMode="gray">
            <a:xfrm>
              <a:off x="4425" y="2527"/>
              <a:ext cx="14" cy="26"/>
            </a:xfrm>
            <a:custGeom>
              <a:avLst/>
              <a:gdLst>
                <a:gd name="T0" fmla="*/ 29 w 29"/>
                <a:gd name="T1" fmla="*/ 27 h 51"/>
                <a:gd name="T2" fmla="*/ 29 w 29"/>
                <a:gd name="T3" fmla="*/ 0 h 51"/>
                <a:gd name="T4" fmla="*/ 0 w 29"/>
                <a:gd name="T5" fmla="*/ 27 h 51"/>
                <a:gd name="T6" fmla="*/ 0 w 29"/>
                <a:gd name="T7" fmla="*/ 51 h 51"/>
                <a:gd name="T8" fmla="*/ 29 w 29"/>
                <a:gd name="T9" fmla="*/ 51 h 51"/>
                <a:gd name="T10" fmla="*/ 29 w 29"/>
                <a:gd name="T11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51">
                  <a:moveTo>
                    <a:pt x="29" y="27"/>
                  </a:moveTo>
                  <a:lnTo>
                    <a:pt x="29" y="0"/>
                  </a:lnTo>
                  <a:lnTo>
                    <a:pt x="0" y="27"/>
                  </a:lnTo>
                  <a:lnTo>
                    <a:pt x="0" y="51"/>
                  </a:lnTo>
                  <a:lnTo>
                    <a:pt x="29" y="51"/>
                  </a:lnTo>
                  <a:lnTo>
                    <a:pt x="29" y="27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2" name="Freeform 52"/>
            <p:cNvSpPr>
              <a:spLocks/>
            </p:cNvSpPr>
            <p:nvPr/>
          </p:nvSpPr>
          <p:spPr bwMode="gray">
            <a:xfrm>
              <a:off x="4347" y="2411"/>
              <a:ext cx="67" cy="63"/>
            </a:xfrm>
            <a:custGeom>
              <a:avLst/>
              <a:gdLst>
                <a:gd name="T0" fmla="*/ 80 w 132"/>
                <a:gd name="T1" fmla="*/ 23 h 127"/>
                <a:gd name="T2" fmla="*/ 26 w 132"/>
                <a:gd name="T3" fmla="*/ 52 h 127"/>
                <a:gd name="T4" fmla="*/ 0 w 132"/>
                <a:gd name="T5" fmla="*/ 52 h 127"/>
                <a:gd name="T6" fmla="*/ 0 w 132"/>
                <a:gd name="T7" fmla="*/ 75 h 127"/>
                <a:gd name="T8" fmla="*/ 26 w 132"/>
                <a:gd name="T9" fmla="*/ 75 h 127"/>
                <a:gd name="T10" fmla="*/ 51 w 132"/>
                <a:gd name="T11" fmla="*/ 104 h 127"/>
                <a:gd name="T12" fmla="*/ 51 w 132"/>
                <a:gd name="T13" fmla="*/ 127 h 127"/>
                <a:gd name="T14" fmla="*/ 103 w 132"/>
                <a:gd name="T15" fmla="*/ 104 h 127"/>
                <a:gd name="T16" fmla="*/ 132 w 132"/>
                <a:gd name="T17" fmla="*/ 52 h 127"/>
                <a:gd name="T18" fmla="*/ 132 w 132"/>
                <a:gd name="T19" fmla="*/ 23 h 127"/>
                <a:gd name="T20" fmla="*/ 132 w 132"/>
                <a:gd name="T21" fmla="*/ 0 h 127"/>
                <a:gd name="T22" fmla="*/ 103 w 132"/>
                <a:gd name="T23" fmla="*/ 0 h 127"/>
                <a:gd name="T24" fmla="*/ 80 w 132"/>
                <a:gd name="T25" fmla="*/ 2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27">
                  <a:moveTo>
                    <a:pt x="80" y="23"/>
                  </a:moveTo>
                  <a:lnTo>
                    <a:pt x="26" y="52"/>
                  </a:lnTo>
                  <a:lnTo>
                    <a:pt x="0" y="52"/>
                  </a:lnTo>
                  <a:lnTo>
                    <a:pt x="0" y="75"/>
                  </a:lnTo>
                  <a:lnTo>
                    <a:pt x="26" y="75"/>
                  </a:lnTo>
                  <a:lnTo>
                    <a:pt x="51" y="104"/>
                  </a:lnTo>
                  <a:lnTo>
                    <a:pt x="51" y="127"/>
                  </a:lnTo>
                  <a:lnTo>
                    <a:pt x="103" y="104"/>
                  </a:lnTo>
                  <a:lnTo>
                    <a:pt x="132" y="52"/>
                  </a:lnTo>
                  <a:lnTo>
                    <a:pt x="132" y="23"/>
                  </a:lnTo>
                  <a:lnTo>
                    <a:pt x="132" y="0"/>
                  </a:lnTo>
                  <a:lnTo>
                    <a:pt x="103" y="0"/>
                  </a:lnTo>
                  <a:lnTo>
                    <a:pt x="80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3" name="Freeform 53"/>
            <p:cNvSpPr>
              <a:spLocks/>
            </p:cNvSpPr>
            <p:nvPr/>
          </p:nvSpPr>
          <p:spPr bwMode="gray">
            <a:xfrm>
              <a:off x="4335" y="2448"/>
              <a:ext cx="12" cy="15"/>
            </a:xfrm>
            <a:custGeom>
              <a:avLst/>
              <a:gdLst>
                <a:gd name="T0" fmla="*/ 25 w 25"/>
                <a:gd name="T1" fmla="*/ 29 h 29"/>
                <a:gd name="T2" fmla="*/ 25 w 25"/>
                <a:gd name="T3" fmla="*/ 0 h 29"/>
                <a:gd name="T4" fmla="*/ 0 w 25"/>
                <a:gd name="T5" fmla="*/ 29 h 29"/>
                <a:gd name="T6" fmla="*/ 25 w 25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9">
                  <a:moveTo>
                    <a:pt x="25" y="29"/>
                  </a:moveTo>
                  <a:lnTo>
                    <a:pt x="25" y="0"/>
                  </a:lnTo>
                  <a:lnTo>
                    <a:pt x="0" y="29"/>
                  </a:lnTo>
                  <a:lnTo>
                    <a:pt x="25" y="29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4" name="Freeform 54"/>
            <p:cNvSpPr>
              <a:spLocks/>
            </p:cNvSpPr>
            <p:nvPr/>
          </p:nvSpPr>
          <p:spPr bwMode="gray">
            <a:xfrm>
              <a:off x="4295" y="2267"/>
              <a:ext cx="40" cy="92"/>
            </a:xfrm>
            <a:custGeom>
              <a:avLst/>
              <a:gdLst>
                <a:gd name="T0" fmla="*/ 27 w 79"/>
                <a:gd name="T1" fmla="*/ 0 h 184"/>
                <a:gd name="T2" fmla="*/ 27 w 79"/>
                <a:gd name="T3" fmla="*/ 26 h 184"/>
                <a:gd name="T4" fmla="*/ 27 w 79"/>
                <a:gd name="T5" fmla="*/ 51 h 184"/>
                <a:gd name="T6" fmla="*/ 27 w 79"/>
                <a:gd name="T7" fmla="*/ 78 h 184"/>
                <a:gd name="T8" fmla="*/ 0 w 79"/>
                <a:gd name="T9" fmla="*/ 132 h 184"/>
                <a:gd name="T10" fmla="*/ 0 w 79"/>
                <a:gd name="T11" fmla="*/ 155 h 184"/>
                <a:gd name="T12" fmla="*/ 27 w 79"/>
                <a:gd name="T13" fmla="*/ 184 h 184"/>
                <a:gd name="T14" fmla="*/ 52 w 79"/>
                <a:gd name="T15" fmla="*/ 155 h 184"/>
                <a:gd name="T16" fmla="*/ 52 w 79"/>
                <a:gd name="T17" fmla="*/ 132 h 184"/>
                <a:gd name="T18" fmla="*/ 52 w 79"/>
                <a:gd name="T19" fmla="*/ 103 h 184"/>
                <a:gd name="T20" fmla="*/ 79 w 79"/>
                <a:gd name="T21" fmla="*/ 78 h 184"/>
                <a:gd name="T22" fmla="*/ 79 w 79"/>
                <a:gd name="T23" fmla="*/ 51 h 184"/>
                <a:gd name="T24" fmla="*/ 79 w 79"/>
                <a:gd name="T25" fmla="*/ 26 h 184"/>
                <a:gd name="T26" fmla="*/ 52 w 79"/>
                <a:gd name="T27" fmla="*/ 0 h 184"/>
                <a:gd name="T28" fmla="*/ 27 w 79"/>
                <a:gd name="T2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84">
                  <a:moveTo>
                    <a:pt x="27" y="0"/>
                  </a:moveTo>
                  <a:lnTo>
                    <a:pt x="27" y="26"/>
                  </a:lnTo>
                  <a:lnTo>
                    <a:pt x="27" y="51"/>
                  </a:lnTo>
                  <a:lnTo>
                    <a:pt x="27" y="78"/>
                  </a:lnTo>
                  <a:lnTo>
                    <a:pt x="0" y="132"/>
                  </a:lnTo>
                  <a:lnTo>
                    <a:pt x="0" y="155"/>
                  </a:lnTo>
                  <a:lnTo>
                    <a:pt x="27" y="184"/>
                  </a:lnTo>
                  <a:lnTo>
                    <a:pt x="52" y="155"/>
                  </a:lnTo>
                  <a:lnTo>
                    <a:pt x="52" y="132"/>
                  </a:lnTo>
                  <a:lnTo>
                    <a:pt x="52" y="103"/>
                  </a:lnTo>
                  <a:lnTo>
                    <a:pt x="79" y="78"/>
                  </a:lnTo>
                  <a:lnTo>
                    <a:pt x="79" y="51"/>
                  </a:lnTo>
                  <a:lnTo>
                    <a:pt x="79" y="26"/>
                  </a:lnTo>
                  <a:lnTo>
                    <a:pt x="52" y="0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gray">
            <a:xfrm>
              <a:off x="2409" y="1421"/>
              <a:ext cx="92" cy="182"/>
            </a:xfrm>
            <a:custGeom>
              <a:avLst/>
              <a:gdLst>
                <a:gd name="T0" fmla="*/ 81 w 185"/>
                <a:gd name="T1" fmla="*/ 207 h 362"/>
                <a:gd name="T2" fmla="*/ 81 w 185"/>
                <a:gd name="T3" fmla="*/ 234 h 362"/>
                <a:gd name="T4" fmla="*/ 52 w 185"/>
                <a:gd name="T5" fmla="*/ 234 h 362"/>
                <a:gd name="T6" fmla="*/ 29 w 185"/>
                <a:gd name="T7" fmla="*/ 288 h 362"/>
                <a:gd name="T8" fmla="*/ 29 w 185"/>
                <a:gd name="T9" fmla="*/ 311 h 362"/>
                <a:gd name="T10" fmla="*/ 29 w 185"/>
                <a:gd name="T11" fmla="*/ 339 h 362"/>
                <a:gd name="T12" fmla="*/ 0 w 185"/>
                <a:gd name="T13" fmla="*/ 339 h 362"/>
                <a:gd name="T14" fmla="*/ 0 w 185"/>
                <a:gd name="T15" fmla="*/ 362 h 362"/>
                <a:gd name="T16" fmla="*/ 29 w 185"/>
                <a:gd name="T17" fmla="*/ 362 h 362"/>
                <a:gd name="T18" fmla="*/ 81 w 185"/>
                <a:gd name="T19" fmla="*/ 339 h 362"/>
                <a:gd name="T20" fmla="*/ 81 w 185"/>
                <a:gd name="T21" fmla="*/ 362 h 362"/>
                <a:gd name="T22" fmla="*/ 133 w 185"/>
                <a:gd name="T23" fmla="*/ 362 h 362"/>
                <a:gd name="T24" fmla="*/ 133 w 185"/>
                <a:gd name="T25" fmla="*/ 339 h 362"/>
                <a:gd name="T26" fmla="*/ 156 w 185"/>
                <a:gd name="T27" fmla="*/ 362 h 362"/>
                <a:gd name="T28" fmla="*/ 156 w 185"/>
                <a:gd name="T29" fmla="*/ 339 h 362"/>
                <a:gd name="T30" fmla="*/ 185 w 185"/>
                <a:gd name="T31" fmla="*/ 339 h 362"/>
                <a:gd name="T32" fmla="*/ 156 w 185"/>
                <a:gd name="T33" fmla="*/ 311 h 362"/>
                <a:gd name="T34" fmla="*/ 185 w 185"/>
                <a:gd name="T35" fmla="*/ 311 h 362"/>
                <a:gd name="T36" fmla="*/ 185 w 185"/>
                <a:gd name="T37" fmla="*/ 288 h 362"/>
                <a:gd name="T38" fmla="*/ 156 w 185"/>
                <a:gd name="T39" fmla="*/ 259 h 362"/>
                <a:gd name="T40" fmla="*/ 156 w 185"/>
                <a:gd name="T41" fmla="*/ 234 h 362"/>
                <a:gd name="T42" fmla="*/ 133 w 185"/>
                <a:gd name="T43" fmla="*/ 207 h 362"/>
                <a:gd name="T44" fmla="*/ 156 w 185"/>
                <a:gd name="T45" fmla="*/ 182 h 362"/>
                <a:gd name="T46" fmla="*/ 133 w 185"/>
                <a:gd name="T47" fmla="*/ 182 h 362"/>
                <a:gd name="T48" fmla="*/ 104 w 185"/>
                <a:gd name="T49" fmla="*/ 182 h 362"/>
                <a:gd name="T50" fmla="*/ 133 w 185"/>
                <a:gd name="T51" fmla="*/ 155 h 362"/>
                <a:gd name="T52" fmla="*/ 104 w 185"/>
                <a:gd name="T53" fmla="*/ 155 h 362"/>
                <a:gd name="T54" fmla="*/ 104 w 185"/>
                <a:gd name="T55" fmla="*/ 130 h 362"/>
                <a:gd name="T56" fmla="*/ 81 w 185"/>
                <a:gd name="T57" fmla="*/ 103 h 362"/>
                <a:gd name="T58" fmla="*/ 104 w 185"/>
                <a:gd name="T59" fmla="*/ 52 h 362"/>
                <a:gd name="T60" fmla="*/ 81 w 185"/>
                <a:gd name="T61" fmla="*/ 52 h 362"/>
                <a:gd name="T62" fmla="*/ 81 w 185"/>
                <a:gd name="T63" fmla="*/ 27 h 362"/>
                <a:gd name="T64" fmla="*/ 52 w 185"/>
                <a:gd name="T65" fmla="*/ 27 h 362"/>
                <a:gd name="T66" fmla="*/ 81 w 185"/>
                <a:gd name="T67" fmla="*/ 0 h 362"/>
                <a:gd name="T68" fmla="*/ 29 w 185"/>
                <a:gd name="T69" fmla="*/ 0 h 362"/>
                <a:gd name="T70" fmla="*/ 29 w 185"/>
                <a:gd name="T71" fmla="*/ 27 h 362"/>
                <a:gd name="T72" fmla="*/ 29 w 185"/>
                <a:gd name="T73" fmla="*/ 52 h 362"/>
                <a:gd name="T74" fmla="*/ 29 w 185"/>
                <a:gd name="T75" fmla="*/ 78 h 362"/>
                <a:gd name="T76" fmla="*/ 0 w 185"/>
                <a:gd name="T77" fmla="*/ 78 h 362"/>
                <a:gd name="T78" fmla="*/ 0 w 185"/>
                <a:gd name="T79" fmla="*/ 103 h 362"/>
                <a:gd name="T80" fmla="*/ 29 w 185"/>
                <a:gd name="T81" fmla="*/ 103 h 362"/>
                <a:gd name="T82" fmla="*/ 29 w 185"/>
                <a:gd name="T83" fmla="*/ 130 h 362"/>
                <a:gd name="T84" fmla="*/ 29 w 185"/>
                <a:gd name="T85" fmla="*/ 155 h 362"/>
                <a:gd name="T86" fmla="*/ 52 w 185"/>
                <a:gd name="T87" fmla="*/ 182 h 362"/>
                <a:gd name="T88" fmla="*/ 81 w 185"/>
                <a:gd name="T89" fmla="*/ 207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362">
                  <a:moveTo>
                    <a:pt x="81" y="207"/>
                  </a:moveTo>
                  <a:lnTo>
                    <a:pt x="81" y="234"/>
                  </a:lnTo>
                  <a:lnTo>
                    <a:pt x="52" y="234"/>
                  </a:lnTo>
                  <a:lnTo>
                    <a:pt x="29" y="288"/>
                  </a:lnTo>
                  <a:lnTo>
                    <a:pt x="29" y="311"/>
                  </a:lnTo>
                  <a:lnTo>
                    <a:pt x="29" y="339"/>
                  </a:lnTo>
                  <a:lnTo>
                    <a:pt x="0" y="339"/>
                  </a:lnTo>
                  <a:lnTo>
                    <a:pt x="0" y="362"/>
                  </a:lnTo>
                  <a:lnTo>
                    <a:pt x="29" y="362"/>
                  </a:lnTo>
                  <a:lnTo>
                    <a:pt x="81" y="339"/>
                  </a:lnTo>
                  <a:lnTo>
                    <a:pt x="81" y="362"/>
                  </a:lnTo>
                  <a:lnTo>
                    <a:pt x="133" y="362"/>
                  </a:lnTo>
                  <a:lnTo>
                    <a:pt x="133" y="339"/>
                  </a:lnTo>
                  <a:lnTo>
                    <a:pt x="156" y="362"/>
                  </a:lnTo>
                  <a:lnTo>
                    <a:pt x="156" y="339"/>
                  </a:lnTo>
                  <a:lnTo>
                    <a:pt x="185" y="339"/>
                  </a:lnTo>
                  <a:lnTo>
                    <a:pt x="156" y="311"/>
                  </a:lnTo>
                  <a:lnTo>
                    <a:pt x="185" y="311"/>
                  </a:lnTo>
                  <a:lnTo>
                    <a:pt x="185" y="288"/>
                  </a:lnTo>
                  <a:lnTo>
                    <a:pt x="156" y="259"/>
                  </a:lnTo>
                  <a:lnTo>
                    <a:pt x="156" y="234"/>
                  </a:lnTo>
                  <a:lnTo>
                    <a:pt x="133" y="207"/>
                  </a:lnTo>
                  <a:lnTo>
                    <a:pt x="156" y="182"/>
                  </a:lnTo>
                  <a:lnTo>
                    <a:pt x="133" y="182"/>
                  </a:lnTo>
                  <a:lnTo>
                    <a:pt x="104" y="182"/>
                  </a:lnTo>
                  <a:lnTo>
                    <a:pt x="133" y="155"/>
                  </a:lnTo>
                  <a:lnTo>
                    <a:pt x="104" y="155"/>
                  </a:lnTo>
                  <a:lnTo>
                    <a:pt x="104" y="130"/>
                  </a:lnTo>
                  <a:lnTo>
                    <a:pt x="81" y="103"/>
                  </a:lnTo>
                  <a:lnTo>
                    <a:pt x="104" y="52"/>
                  </a:lnTo>
                  <a:lnTo>
                    <a:pt x="81" y="52"/>
                  </a:lnTo>
                  <a:lnTo>
                    <a:pt x="81" y="27"/>
                  </a:lnTo>
                  <a:lnTo>
                    <a:pt x="52" y="27"/>
                  </a:lnTo>
                  <a:lnTo>
                    <a:pt x="81" y="0"/>
                  </a:lnTo>
                  <a:lnTo>
                    <a:pt x="29" y="0"/>
                  </a:lnTo>
                  <a:lnTo>
                    <a:pt x="29" y="27"/>
                  </a:lnTo>
                  <a:lnTo>
                    <a:pt x="29" y="52"/>
                  </a:lnTo>
                  <a:lnTo>
                    <a:pt x="29" y="78"/>
                  </a:lnTo>
                  <a:lnTo>
                    <a:pt x="0" y="78"/>
                  </a:lnTo>
                  <a:lnTo>
                    <a:pt x="0" y="103"/>
                  </a:lnTo>
                  <a:lnTo>
                    <a:pt x="29" y="103"/>
                  </a:lnTo>
                  <a:lnTo>
                    <a:pt x="29" y="130"/>
                  </a:lnTo>
                  <a:lnTo>
                    <a:pt x="29" y="155"/>
                  </a:lnTo>
                  <a:lnTo>
                    <a:pt x="52" y="182"/>
                  </a:lnTo>
                  <a:lnTo>
                    <a:pt x="81" y="207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6" name="Freeform 56"/>
            <p:cNvSpPr>
              <a:spLocks/>
            </p:cNvSpPr>
            <p:nvPr/>
          </p:nvSpPr>
          <p:spPr bwMode="gray">
            <a:xfrm>
              <a:off x="2345" y="1487"/>
              <a:ext cx="79" cy="78"/>
            </a:xfrm>
            <a:custGeom>
              <a:avLst/>
              <a:gdLst>
                <a:gd name="T0" fmla="*/ 25 w 157"/>
                <a:gd name="T1" fmla="*/ 158 h 158"/>
                <a:gd name="T2" fmla="*/ 76 w 157"/>
                <a:gd name="T3" fmla="*/ 158 h 158"/>
                <a:gd name="T4" fmla="*/ 105 w 157"/>
                <a:gd name="T5" fmla="*/ 129 h 158"/>
                <a:gd name="T6" fmla="*/ 105 w 157"/>
                <a:gd name="T7" fmla="*/ 158 h 158"/>
                <a:gd name="T8" fmla="*/ 128 w 157"/>
                <a:gd name="T9" fmla="*/ 158 h 158"/>
                <a:gd name="T10" fmla="*/ 128 w 157"/>
                <a:gd name="T11" fmla="*/ 104 h 158"/>
                <a:gd name="T12" fmla="*/ 128 w 157"/>
                <a:gd name="T13" fmla="*/ 77 h 158"/>
                <a:gd name="T14" fmla="*/ 157 w 157"/>
                <a:gd name="T15" fmla="*/ 52 h 158"/>
                <a:gd name="T16" fmla="*/ 157 w 157"/>
                <a:gd name="T17" fmla="*/ 25 h 158"/>
                <a:gd name="T18" fmla="*/ 128 w 157"/>
                <a:gd name="T19" fmla="*/ 25 h 158"/>
                <a:gd name="T20" fmla="*/ 105 w 157"/>
                <a:gd name="T21" fmla="*/ 0 h 158"/>
                <a:gd name="T22" fmla="*/ 105 w 157"/>
                <a:gd name="T23" fmla="*/ 25 h 158"/>
                <a:gd name="T24" fmla="*/ 76 w 157"/>
                <a:gd name="T25" fmla="*/ 25 h 158"/>
                <a:gd name="T26" fmla="*/ 53 w 157"/>
                <a:gd name="T27" fmla="*/ 25 h 158"/>
                <a:gd name="T28" fmla="*/ 25 w 157"/>
                <a:gd name="T29" fmla="*/ 52 h 158"/>
                <a:gd name="T30" fmla="*/ 53 w 157"/>
                <a:gd name="T31" fmla="*/ 77 h 158"/>
                <a:gd name="T32" fmla="*/ 25 w 157"/>
                <a:gd name="T33" fmla="*/ 77 h 158"/>
                <a:gd name="T34" fmla="*/ 53 w 157"/>
                <a:gd name="T35" fmla="*/ 104 h 158"/>
                <a:gd name="T36" fmla="*/ 0 w 157"/>
                <a:gd name="T37" fmla="*/ 129 h 158"/>
                <a:gd name="T38" fmla="*/ 25 w 157"/>
                <a:gd name="T3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7" h="158">
                  <a:moveTo>
                    <a:pt x="25" y="158"/>
                  </a:moveTo>
                  <a:lnTo>
                    <a:pt x="76" y="158"/>
                  </a:lnTo>
                  <a:lnTo>
                    <a:pt x="105" y="129"/>
                  </a:lnTo>
                  <a:lnTo>
                    <a:pt x="105" y="158"/>
                  </a:lnTo>
                  <a:lnTo>
                    <a:pt x="128" y="158"/>
                  </a:lnTo>
                  <a:lnTo>
                    <a:pt x="128" y="104"/>
                  </a:lnTo>
                  <a:lnTo>
                    <a:pt x="128" y="77"/>
                  </a:lnTo>
                  <a:lnTo>
                    <a:pt x="157" y="52"/>
                  </a:lnTo>
                  <a:lnTo>
                    <a:pt x="157" y="25"/>
                  </a:lnTo>
                  <a:lnTo>
                    <a:pt x="128" y="25"/>
                  </a:lnTo>
                  <a:lnTo>
                    <a:pt x="105" y="0"/>
                  </a:lnTo>
                  <a:lnTo>
                    <a:pt x="105" y="25"/>
                  </a:lnTo>
                  <a:lnTo>
                    <a:pt x="76" y="25"/>
                  </a:lnTo>
                  <a:lnTo>
                    <a:pt x="53" y="25"/>
                  </a:lnTo>
                  <a:lnTo>
                    <a:pt x="25" y="52"/>
                  </a:lnTo>
                  <a:lnTo>
                    <a:pt x="53" y="77"/>
                  </a:lnTo>
                  <a:lnTo>
                    <a:pt x="25" y="77"/>
                  </a:lnTo>
                  <a:lnTo>
                    <a:pt x="53" y="104"/>
                  </a:lnTo>
                  <a:lnTo>
                    <a:pt x="0" y="129"/>
                  </a:lnTo>
                  <a:lnTo>
                    <a:pt x="25" y="158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7" name="Freeform 57"/>
            <p:cNvSpPr>
              <a:spLocks/>
            </p:cNvSpPr>
            <p:nvPr/>
          </p:nvSpPr>
          <p:spPr bwMode="gray">
            <a:xfrm>
              <a:off x="4477" y="1487"/>
              <a:ext cx="66" cy="222"/>
            </a:xfrm>
            <a:custGeom>
              <a:avLst/>
              <a:gdLst>
                <a:gd name="T0" fmla="*/ 80 w 132"/>
                <a:gd name="T1" fmla="*/ 417 h 445"/>
                <a:gd name="T2" fmla="*/ 80 w 132"/>
                <a:gd name="T3" fmla="*/ 445 h 445"/>
                <a:gd name="T4" fmla="*/ 109 w 132"/>
                <a:gd name="T5" fmla="*/ 417 h 445"/>
                <a:gd name="T6" fmla="*/ 132 w 132"/>
                <a:gd name="T7" fmla="*/ 445 h 445"/>
                <a:gd name="T8" fmla="*/ 132 w 132"/>
                <a:gd name="T9" fmla="*/ 417 h 445"/>
                <a:gd name="T10" fmla="*/ 109 w 132"/>
                <a:gd name="T11" fmla="*/ 388 h 445"/>
                <a:gd name="T12" fmla="*/ 80 w 132"/>
                <a:gd name="T13" fmla="*/ 261 h 445"/>
                <a:gd name="T14" fmla="*/ 109 w 132"/>
                <a:gd name="T15" fmla="*/ 261 h 445"/>
                <a:gd name="T16" fmla="*/ 109 w 132"/>
                <a:gd name="T17" fmla="*/ 232 h 445"/>
                <a:gd name="T18" fmla="*/ 52 w 132"/>
                <a:gd name="T19" fmla="*/ 181 h 445"/>
                <a:gd name="T20" fmla="*/ 52 w 132"/>
                <a:gd name="T21" fmla="*/ 77 h 445"/>
                <a:gd name="T22" fmla="*/ 29 w 132"/>
                <a:gd name="T23" fmla="*/ 25 h 445"/>
                <a:gd name="T24" fmla="*/ 0 w 132"/>
                <a:gd name="T25" fmla="*/ 0 h 445"/>
                <a:gd name="T26" fmla="*/ 29 w 132"/>
                <a:gd name="T27" fmla="*/ 52 h 445"/>
                <a:gd name="T28" fmla="*/ 29 w 132"/>
                <a:gd name="T29" fmla="*/ 129 h 445"/>
                <a:gd name="T30" fmla="*/ 52 w 132"/>
                <a:gd name="T31" fmla="*/ 313 h 445"/>
                <a:gd name="T32" fmla="*/ 80 w 132"/>
                <a:gd name="T33" fmla="*/ 417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445">
                  <a:moveTo>
                    <a:pt x="80" y="417"/>
                  </a:moveTo>
                  <a:lnTo>
                    <a:pt x="80" y="445"/>
                  </a:lnTo>
                  <a:lnTo>
                    <a:pt x="109" y="417"/>
                  </a:lnTo>
                  <a:lnTo>
                    <a:pt x="132" y="445"/>
                  </a:lnTo>
                  <a:lnTo>
                    <a:pt x="132" y="417"/>
                  </a:lnTo>
                  <a:lnTo>
                    <a:pt x="109" y="388"/>
                  </a:lnTo>
                  <a:lnTo>
                    <a:pt x="80" y="261"/>
                  </a:lnTo>
                  <a:lnTo>
                    <a:pt x="109" y="261"/>
                  </a:lnTo>
                  <a:lnTo>
                    <a:pt x="109" y="232"/>
                  </a:lnTo>
                  <a:lnTo>
                    <a:pt x="52" y="181"/>
                  </a:lnTo>
                  <a:lnTo>
                    <a:pt x="52" y="77"/>
                  </a:lnTo>
                  <a:lnTo>
                    <a:pt x="29" y="25"/>
                  </a:lnTo>
                  <a:lnTo>
                    <a:pt x="0" y="0"/>
                  </a:lnTo>
                  <a:lnTo>
                    <a:pt x="29" y="52"/>
                  </a:lnTo>
                  <a:lnTo>
                    <a:pt x="29" y="129"/>
                  </a:lnTo>
                  <a:lnTo>
                    <a:pt x="52" y="313"/>
                  </a:lnTo>
                  <a:lnTo>
                    <a:pt x="80" y="417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8" name="Freeform 58"/>
            <p:cNvSpPr>
              <a:spLocks/>
            </p:cNvSpPr>
            <p:nvPr/>
          </p:nvSpPr>
          <p:spPr bwMode="gray">
            <a:xfrm>
              <a:off x="4532" y="1721"/>
              <a:ext cx="77" cy="77"/>
            </a:xfrm>
            <a:custGeom>
              <a:avLst/>
              <a:gdLst>
                <a:gd name="T0" fmla="*/ 75 w 156"/>
                <a:gd name="T1" fmla="*/ 51 h 155"/>
                <a:gd name="T2" fmla="*/ 0 w 156"/>
                <a:gd name="T3" fmla="*/ 0 h 155"/>
                <a:gd name="T4" fmla="*/ 0 w 156"/>
                <a:gd name="T5" fmla="*/ 51 h 155"/>
                <a:gd name="T6" fmla="*/ 0 w 156"/>
                <a:gd name="T7" fmla="*/ 155 h 155"/>
                <a:gd name="T8" fmla="*/ 23 w 156"/>
                <a:gd name="T9" fmla="*/ 132 h 155"/>
                <a:gd name="T10" fmla="*/ 75 w 156"/>
                <a:gd name="T11" fmla="*/ 155 h 155"/>
                <a:gd name="T12" fmla="*/ 75 w 156"/>
                <a:gd name="T13" fmla="*/ 132 h 155"/>
                <a:gd name="T14" fmla="*/ 156 w 156"/>
                <a:gd name="T15" fmla="*/ 76 h 155"/>
                <a:gd name="T16" fmla="*/ 127 w 156"/>
                <a:gd name="T17" fmla="*/ 51 h 155"/>
                <a:gd name="T18" fmla="*/ 75 w 156"/>
                <a:gd name="T19" fmla="*/ 5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5">
                  <a:moveTo>
                    <a:pt x="75" y="51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0" y="155"/>
                  </a:lnTo>
                  <a:lnTo>
                    <a:pt x="23" y="132"/>
                  </a:lnTo>
                  <a:lnTo>
                    <a:pt x="75" y="155"/>
                  </a:lnTo>
                  <a:lnTo>
                    <a:pt x="75" y="132"/>
                  </a:lnTo>
                  <a:lnTo>
                    <a:pt x="156" y="76"/>
                  </a:lnTo>
                  <a:lnTo>
                    <a:pt x="127" y="51"/>
                  </a:lnTo>
                  <a:lnTo>
                    <a:pt x="75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9" name="Freeform 59"/>
            <p:cNvSpPr>
              <a:spLocks/>
            </p:cNvSpPr>
            <p:nvPr/>
          </p:nvSpPr>
          <p:spPr bwMode="gray">
            <a:xfrm>
              <a:off x="4425" y="1811"/>
              <a:ext cx="131" cy="170"/>
            </a:xfrm>
            <a:custGeom>
              <a:avLst/>
              <a:gdLst>
                <a:gd name="T0" fmla="*/ 213 w 261"/>
                <a:gd name="T1" fmla="*/ 0 h 340"/>
                <a:gd name="T2" fmla="*/ 184 w 261"/>
                <a:gd name="T3" fmla="*/ 132 h 340"/>
                <a:gd name="T4" fmla="*/ 184 w 261"/>
                <a:gd name="T5" fmla="*/ 155 h 340"/>
                <a:gd name="T6" fmla="*/ 104 w 261"/>
                <a:gd name="T7" fmla="*/ 236 h 340"/>
                <a:gd name="T8" fmla="*/ 104 w 261"/>
                <a:gd name="T9" fmla="*/ 263 h 340"/>
                <a:gd name="T10" fmla="*/ 29 w 261"/>
                <a:gd name="T11" fmla="*/ 288 h 340"/>
                <a:gd name="T12" fmla="*/ 0 w 261"/>
                <a:gd name="T13" fmla="*/ 315 h 340"/>
                <a:gd name="T14" fmla="*/ 29 w 261"/>
                <a:gd name="T15" fmla="*/ 340 h 340"/>
                <a:gd name="T16" fmla="*/ 56 w 261"/>
                <a:gd name="T17" fmla="*/ 315 h 340"/>
                <a:gd name="T18" fmla="*/ 81 w 261"/>
                <a:gd name="T19" fmla="*/ 315 h 340"/>
                <a:gd name="T20" fmla="*/ 104 w 261"/>
                <a:gd name="T21" fmla="*/ 315 h 340"/>
                <a:gd name="T22" fmla="*/ 133 w 261"/>
                <a:gd name="T23" fmla="*/ 340 h 340"/>
                <a:gd name="T24" fmla="*/ 156 w 261"/>
                <a:gd name="T25" fmla="*/ 340 h 340"/>
                <a:gd name="T26" fmla="*/ 156 w 261"/>
                <a:gd name="T27" fmla="*/ 315 h 340"/>
                <a:gd name="T28" fmla="*/ 184 w 261"/>
                <a:gd name="T29" fmla="*/ 315 h 340"/>
                <a:gd name="T30" fmla="*/ 184 w 261"/>
                <a:gd name="T31" fmla="*/ 288 h 340"/>
                <a:gd name="T32" fmla="*/ 236 w 261"/>
                <a:gd name="T33" fmla="*/ 288 h 340"/>
                <a:gd name="T34" fmla="*/ 236 w 261"/>
                <a:gd name="T35" fmla="*/ 263 h 340"/>
                <a:gd name="T36" fmla="*/ 261 w 261"/>
                <a:gd name="T37" fmla="*/ 288 h 340"/>
                <a:gd name="T38" fmla="*/ 261 w 261"/>
                <a:gd name="T39" fmla="*/ 207 h 340"/>
                <a:gd name="T40" fmla="*/ 236 w 261"/>
                <a:gd name="T41" fmla="*/ 155 h 340"/>
                <a:gd name="T42" fmla="*/ 261 w 261"/>
                <a:gd name="T43" fmla="*/ 132 h 340"/>
                <a:gd name="T44" fmla="*/ 261 w 261"/>
                <a:gd name="T45" fmla="*/ 107 h 340"/>
                <a:gd name="T46" fmla="*/ 261 w 261"/>
                <a:gd name="T47" fmla="*/ 79 h 340"/>
                <a:gd name="T48" fmla="*/ 236 w 261"/>
                <a:gd name="T49" fmla="*/ 27 h 340"/>
                <a:gd name="T50" fmla="*/ 213 w 261"/>
                <a:gd name="T51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1" h="340">
                  <a:moveTo>
                    <a:pt x="213" y="0"/>
                  </a:moveTo>
                  <a:lnTo>
                    <a:pt x="184" y="132"/>
                  </a:lnTo>
                  <a:lnTo>
                    <a:pt x="184" y="155"/>
                  </a:lnTo>
                  <a:lnTo>
                    <a:pt x="104" y="236"/>
                  </a:lnTo>
                  <a:lnTo>
                    <a:pt x="104" y="263"/>
                  </a:lnTo>
                  <a:lnTo>
                    <a:pt x="29" y="288"/>
                  </a:lnTo>
                  <a:lnTo>
                    <a:pt x="0" y="315"/>
                  </a:lnTo>
                  <a:lnTo>
                    <a:pt x="29" y="340"/>
                  </a:lnTo>
                  <a:lnTo>
                    <a:pt x="56" y="315"/>
                  </a:lnTo>
                  <a:lnTo>
                    <a:pt x="81" y="315"/>
                  </a:lnTo>
                  <a:lnTo>
                    <a:pt x="104" y="315"/>
                  </a:lnTo>
                  <a:lnTo>
                    <a:pt x="133" y="340"/>
                  </a:lnTo>
                  <a:lnTo>
                    <a:pt x="156" y="340"/>
                  </a:lnTo>
                  <a:lnTo>
                    <a:pt x="156" y="315"/>
                  </a:lnTo>
                  <a:lnTo>
                    <a:pt x="184" y="315"/>
                  </a:lnTo>
                  <a:lnTo>
                    <a:pt x="184" y="288"/>
                  </a:lnTo>
                  <a:lnTo>
                    <a:pt x="236" y="288"/>
                  </a:lnTo>
                  <a:lnTo>
                    <a:pt x="236" y="263"/>
                  </a:lnTo>
                  <a:lnTo>
                    <a:pt x="261" y="288"/>
                  </a:lnTo>
                  <a:lnTo>
                    <a:pt x="261" y="207"/>
                  </a:lnTo>
                  <a:lnTo>
                    <a:pt x="236" y="155"/>
                  </a:lnTo>
                  <a:lnTo>
                    <a:pt x="261" y="132"/>
                  </a:lnTo>
                  <a:lnTo>
                    <a:pt x="261" y="107"/>
                  </a:lnTo>
                  <a:lnTo>
                    <a:pt x="261" y="79"/>
                  </a:lnTo>
                  <a:lnTo>
                    <a:pt x="236" y="27"/>
                  </a:lnTo>
                  <a:lnTo>
                    <a:pt x="213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0" name="Freeform 60"/>
            <p:cNvSpPr>
              <a:spLocks/>
            </p:cNvSpPr>
            <p:nvPr/>
          </p:nvSpPr>
          <p:spPr bwMode="gray">
            <a:xfrm>
              <a:off x="4414" y="1992"/>
              <a:ext cx="25" cy="55"/>
            </a:xfrm>
            <a:custGeom>
              <a:avLst/>
              <a:gdLst>
                <a:gd name="T0" fmla="*/ 52 w 52"/>
                <a:gd name="T1" fmla="*/ 80 h 109"/>
                <a:gd name="T2" fmla="*/ 52 w 52"/>
                <a:gd name="T3" fmla="*/ 57 h 109"/>
                <a:gd name="T4" fmla="*/ 52 w 52"/>
                <a:gd name="T5" fmla="*/ 28 h 109"/>
                <a:gd name="T6" fmla="*/ 23 w 52"/>
                <a:gd name="T7" fmla="*/ 0 h 109"/>
                <a:gd name="T8" fmla="*/ 0 w 52"/>
                <a:gd name="T9" fmla="*/ 28 h 109"/>
                <a:gd name="T10" fmla="*/ 0 w 52"/>
                <a:gd name="T11" fmla="*/ 80 h 109"/>
                <a:gd name="T12" fmla="*/ 23 w 52"/>
                <a:gd name="T13" fmla="*/ 109 h 109"/>
                <a:gd name="T14" fmla="*/ 52 w 52"/>
                <a:gd name="T15" fmla="*/ 8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109">
                  <a:moveTo>
                    <a:pt x="52" y="80"/>
                  </a:moveTo>
                  <a:lnTo>
                    <a:pt x="52" y="57"/>
                  </a:lnTo>
                  <a:lnTo>
                    <a:pt x="52" y="28"/>
                  </a:lnTo>
                  <a:lnTo>
                    <a:pt x="23" y="0"/>
                  </a:lnTo>
                  <a:lnTo>
                    <a:pt x="0" y="28"/>
                  </a:lnTo>
                  <a:lnTo>
                    <a:pt x="0" y="80"/>
                  </a:lnTo>
                  <a:lnTo>
                    <a:pt x="23" y="109"/>
                  </a:lnTo>
                  <a:lnTo>
                    <a:pt x="52" y="8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1" name="Freeform 61"/>
            <p:cNvSpPr>
              <a:spLocks/>
            </p:cNvSpPr>
            <p:nvPr/>
          </p:nvSpPr>
          <p:spPr bwMode="gray">
            <a:xfrm>
              <a:off x="4283" y="2136"/>
              <a:ext cx="26" cy="53"/>
            </a:xfrm>
            <a:custGeom>
              <a:avLst/>
              <a:gdLst>
                <a:gd name="T0" fmla="*/ 0 w 52"/>
                <a:gd name="T1" fmla="*/ 24 h 105"/>
                <a:gd name="T2" fmla="*/ 0 w 52"/>
                <a:gd name="T3" fmla="*/ 51 h 105"/>
                <a:gd name="T4" fmla="*/ 25 w 52"/>
                <a:gd name="T5" fmla="*/ 80 h 105"/>
                <a:gd name="T6" fmla="*/ 25 w 52"/>
                <a:gd name="T7" fmla="*/ 105 h 105"/>
                <a:gd name="T8" fmla="*/ 52 w 52"/>
                <a:gd name="T9" fmla="*/ 80 h 105"/>
                <a:gd name="T10" fmla="*/ 52 w 52"/>
                <a:gd name="T11" fmla="*/ 51 h 105"/>
                <a:gd name="T12" fmla="*/ 25 w 52"/>
                <a:gd name="T13" fmla="*/ 0 h 105"/>
                <a:gd name="T14" fmla="*/ 0 w 52"/>
                <a:gd name="T15" fmla="*/ 2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105">
                  <a:moveTo>
                    <a:pt x="0" y="24"/>
                  </a:moveTo>
                  <a:lnTo>
                    <a:pt x="0" y="51"/>
                  </a:lnTo>
                  <a:lnTo>
                    <a:pt x="25" y="80"/>
                  </a:lnTo>
                  <a:lnTo>
                    <a:pt x="25" y="105"/>
                  </a:lnTo>
                  <a:lnTo>
                    <a:pt x="52" y="80"/>
                  </a:lnTo>
                  <a:lnTo>
                    <a:pt x="52" y="51"/>
                  </a:lnTo>
                  <a:lnTo>
                    <a:pt x="25" y="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2" name="Freeform 62"/>
            <p:cNvSpPr>
              <a:spLocks/>
            </p:cNvSpPr>
            <p:nvPr/>
          </p:nvSpPr>
          <p:spPr bwMode="gray">
            <a:xfrm>
              <a:off x="4102" y="2267"/>
              <a:ext cx="37" cy="26"/>
            </a:xfrm>
            <a:custGeom>
              <a:avLst/>
              <a:gdLst>
                <a:gd name="T0" fmla="*/ 75 w 75"/>
                <a:gd name="T1" fmla="*/ 0 h 51"/>
                <a:gd name="T2" fmla="*/ 23 w 75"/>
                <a:gd name="T3" fmla="*/ 0 h 51"/>
                <a:gd name="T4" fmla="*/ 0 w 75"/>
                <a:gd name="T5" fmla="*/ 26 h 51"/>
                <a:gd name="T6" fmla="*/ 23 w 75"/>
                <a:gd name="T7" fmla="*/ 51 h 51"/>
                <a:gd name="T8" fmla="*/ 75 w 75"/>
                <a:gd name="T9" fmla="*/ 26 h 51"/>
                <a:gd name="T10" fmla="*/ 75 w 75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51">
                  <a:moveTo>
                    <a:pt x="75" y="0"/>
                  </a:moveTo>
                  <a:lnTo>
                    <a:pt x="23" y="0"/>
                  </a:lnTo>
                  <a:lnTo>
                    <a:pt x="0" y="26"/>
                  </a:lnTo>
                  <a:lnTo>
                    <a:pt x="23" y="51"/>
                  </a:lnTo>
                  <a:lnTo>
                    <a:pt x="75" y="26"/>
                  </a:lnTo>
                  <a:lnTo>
                    <a:pt x="75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3" name="Freeform 63"/>
            <p:cNvSpPr>
              <a:spLocks/>
            </p:cNvSpPr>
            <p:nvPr/>
          </p:nvSpPr>
          <p:spPr bwMode="gray">
            <a:xfrm>
              <a:off x="3671" y="2435"/>
              <a:ext cx="40" cy="53"/>
            </a:xfrm>
            <a:custGeom>
              <a:avLst/>
              <a:gdLst>
                <a:gd name="T0" fmla="*/ 27 w 79"/>
                <a:gd name="T1" fmla="*/ 0 h 108"/>
                <a:gd name="T2" fmla="*/ 27 w 79"/>
                <a:gd name="T3" fmla="*/ 27 h 108"/>
                <a:gd name="T4" fmla="*/ 0 w 79"/>
                <a:gd name="T5" fmla="*/ 56 h 108"/>
                <a:gd name="T6" fmla="*/ 0 w 79"/>
                <a:gd name="T7" fmla="*/ 79 h 108"/>
                <a:gd name="T8" fmla="*/ 27 w 79"/>
                <a:gd name="T9" fmla="*/ 108 h 108"/>
                <a:gd name="T10" fmla="*/ 52 w 79"/>
                <a:gd name="T11" fmla="*/ 108 h 108"/>
                <a:gd name="T12" fmla="*/ 79 w 79"/>
                <a:gd name="T13" fmla="*/ 79 h 108"/>
                <a:gd name="T14" fmla="*/ 52 w 79"/>
                <a:gd name="T15" fmla="*/ 56 h 108"/>
                <a:gd name="T16" fmla="*/ 27 w 79"/>
                <a:gd name="T1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108">
                  <a:moveTo>
                    <a:pt x="27" y="0"/>
                  </a:moveTo>
                  <a:lnTo>
                    <a:pt x="27" y="27"/>
                  </a:lnTo>
                  <a:lnTo>
                    <a:pt x="0" y="56"/>
                  </a:lnTo>
                  <a:lnTo>
                    <a:pt x="0" y="79"/>
                  </a:lnTo>
                  <a:lnTo>
                    <a:pt x="27" y="108"/>
                  </a:lnTo>
                  <a:lnTo>
                    <a:pt x="52" y="108"/>
                  </a:lnTo>
                  <a:lnTo>
                    <a:pt x="79" y="79"/>
                  </a:lnTo>
                  <a:lnTo>
                    <a:pt x="52" y="56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4" name="Freeform 64"/>
            <p:cNvSpPr>
              <a:spLocks/>
            </p:cNvSpPr>
            <p:nvPr/>
          </p:nvSpPr>
          <p:spPr bwMode="gray">
            <a:xfrm>
              <a:off x="3073" y="1057"/>
              <a:ext cx="93" cy="92"/>
            </a:xfrm>
            <a:custGeom>
              <a:avLst/>
              <a:gdLst>
                <a:gd name="T0" fmla="*/ 52 w 184"/>
                <a:gd name="T1" fmla="*/ 133 h 185"/>
                <a:gd name="T2" fmla="*/ 104 w 184"/>
                <a:gd name="T3" fmla="*/ 185 h 185"/>
                <a:gd name="T4" fmla="*/ 184 w 184"/>
                <a:gd name="T5" fmla="*/ 185 h 185"/>
                <a:gd name="T6" fmla="*/ 155 w 184"/>
                <a:gd name="T7" fmla="*/ 158 h 185"/>
                <a:gd name="T8" fmla="*/ 75 w 184"/>
                <a:gd name="T9" fmla="*/ 106 h 185"/>
                <a:gd name="T10" fmla="*/ 75 w 184"/>
                <a:gd name="T11" fmla="*/ 52 h 185"/>
                <a:gd name="T12" fmla="*/ 75 w 184"/>
                <a:gd name="T13" fmla="*/ 0 h 185"/>
                <a:gd name="T14" fmla="*/ 52 w 184"/>
                <a:gd name="T15" fmla="*/ 0 h 185"/>
                <a:gd name="T16" fmla="*/ 27 w 184"/>
                <a:gd name="T17" fmla="*/ 0 h 185"/>
                <a:gd name="T18" fmla="*/ 27 w 184"/>
                <a:gd name="T19" fmla="*/ 29 h 185"/>
                <a:gd name="T20" fmla="*/ 0 w 184"/>
                <a:gd name="T21" fmla="*/ 52 h 185"/>
                <a:gd name="T22" fmla="*/ 0 w 184"/>
                <a:gd name="T23" fmla="*/ 81 h 185"/>
                <a:gd name="T24" fmla="*/ 0 w 184"/>
                <a:gd name="T25" fmla="*/ 133 h 185"/>
                <a:gd name="T26" fmla="*/ 27 w 184"/>
                <a:gd name="T27" fmla="*/ 133 h 185"/>
                <a:gd name="T28" fmla="*/ 52 w 184"/>
                <a:gd name="T29" fmla="*/ 13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4" h="185">
                  <a:moveTo>
                    <a:pt x="52" y="133"/>
                  </a:moveTo>
                  <a:lnTo>
                    <a:pt x="104" y="185"/>
                  </a:lnTo>
                  <a:lnTo>
                    <a:pt x="184" y="185"/>
                  </a:lnTo>
                  <a:lnTo>
                    <a:pt x="155" y="158"/>
                  </a:lnTo>
                  <a:lnTo>
                    <a:pt x="75" y="106"/>
                  </a:lnTo>
                  <a:lnTo>
                    <a:pt x="75" y="52"/>
                  </a:lnTo>
                  <a:lnTo>
                    <a:pt x="75" y="0"/>
                  </a:lnTo>
                  <a:lnTo>
                    <a:pt x="52" y="0"/>
                  </a:lnTo>
                  <a:lnTo>
                    <a:pt x="27" y="0"/>
                  </a:lnTo>
                  <a:lnTo>
                    <a:pt x="27" y="29"/>
                  </a:lnTo>
                  <a:lnTo>
                    <a:pt x="0" y="52"/>
                  </a:lnTo>
                  <a:lnTo>
                    <a:pt x="0" y="81"/>
                  </a:lnTo>
                  <a:lnTo>
                    <a:pt x="0" y="133"/>
                  </a:lnTo>
                  <a:lnTo>
                    <a:pt x="27" y="133"/>
                  </a:lnTo>
                  <a:lnTo>
                    <a:pt x="52" y="13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5" name="Freeform 65"/>
            <p:cNvSpPr>
              <a:spLocks/>
            </p:cNvSpPr>
            <p:nvPr/>
          </p:nvSpPr>
          <p:spPr bwMode="gray">
            <a:xfrm>
              <a:off x="3087" y="889"/>
              <a:ext cx="130" cy="156"/>
            </a:xfrm>
            <a:custGeom>
              <a:avLst/>
              <a:gdLst>
                <a:gd name="T0" fmla="*/ 25 w 261"/>
                <a:gd name="T1" fmla="*/ 312 h 312"/>
                <a:gd name="T2" fmla="*/ 48 w 261"/>
                <a:gd name="T3" fmla="*/ 312 h 312"/>
                <a:gd name="T4" fmla="*/ 77 w 261"/>
                <a:gd name="T5" fmla="*/ 232 h 312"/>
                <a:gd name="T6" fmla="*/ 105 w 261"/>
                <a:gd name="T7" fmla="*/ 232 h 312"/>
                <a:gd name="T8" fmla="*/ 128 w 261"/>
                <a:gd name="T9" fmla="*/ 209 h 312"/>
                <a:gd name="T10" fmla="*/ 157 w 261"/>
                <a:gd name="T11" fmla="*/ 157 h 312"/>
                <a:gd name="T12" fmla="*/ 232 w 261"/>
                <a:gd name="T13" fmla="*/ 105 h 312"/>
                <a:gd name="T14" fmla="*/ 261 w 261"/>
                <a:gd name="T15" fmla="*/ 51 h 312"/>
                <a:gd name="T16" fmla="*/ 232 w 261"/>
                <a:gd name="T17" fmla="*/ 24 h 312"/>
                <a:gd name="T18" fmla="*/ 232 w 261"/>
                <a:gd name="T19" fmla="*/ 0 h 312"/>
                <a:gd name="T20" fmla="*/ 209 w 261"/>
                <a:gd name="T21" fmla="*/ 24 h 312"/>
                <a:gd name="T22" fmla="*/ 180 w 261"/>
                <a:gd name="T23" fmla="*/ 24 h 312"/>
                <a:gd name="T24" fmla="*/ 128 w 261"/>
                <a:gd name="T25" fmla="*/ 76 h 312"/>
                <a:gd name="T26" fmla="*/ 77 w 261"/>
                <a:gd name="T27" fmla="*/ 105 h 312"/>
                <a:gd name="T28" fmla="*/ 77 w 261"/>
                <a:gd name="T29" fmla="*/ 157 h 312"/>
                <a:gd name="T30" fmla="*/ 77 w 261"/>
                <a:gd name="T31" fmla="*/ 180 h 312"/>
                <a:gd name="T32" fmla="*/ 48 w 261"/>
                <a:gd name="T33" fmla="*/ 180 h 312"/>
                <a:gd name="T34" fmla="*/ 0 w 261"/>
                <a:gd name="T35" fmla="*/ 180 h 312"/>
                <a:gd name="T36" fmla="*/ 0 w 261"/>
                <a:gd name="T37" fmla="*/ 209 h 312"/>
                <a:gd name="T38" fmla="*/ 25 w 261"/>
                <a:gd name="T39" fmla="*/ 209 h 312"/>
                <a:gd name="T40" fmla="*/ 0 w 261"/>
                <a:gd name="T41" fmla="*/ 261 h 312"/>
                <a:gd name="T42" fmla="*/ 25 w 261"/>
                <a:gd name="T43" fmla="*/ 284 h 312"/>
                <a:gd name="T44" fmla="*/ 0 w 261"/>
                <a:gd name="T45" fmla="*/ 312 h 312"/>
                <a:gd name="T46" fmla="*/ 25 w 261"/>
                <a:gd name="T47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" h="312">
                  <a:moveTo>
                    <a:pt x="25" y="312"/>
                  </a:moveTo>
                  <a:lnTo>
                    <a:pt x="48" y="312"/>
                  </a:lnTo>
                  <a:lnTo>
                    <a:pt x="77" y="232"/>
                  </a:lnTo>
                  <a:lnTo>
                    <a:pt x="105" y="232"/>
                  </a:lnTo>
                  <a:lnTo>
                    <a:pt x="128" y="209"/>
                  </a:lnTo>
                  <a:lnTo>
                    <a:pt x="157" y="157"/>
                  </a:lnTo>
                  <a:lnTo>
                    <a:pt x="232" y="105"/>
                  </a:lnTo>
                  <a:lnTo>
                    <a:pt x="261" y="51"/>
                  </a:lnTo>
                  <a:lnTo>
                    <a:pt x="232" y="24"/>
                  </a:lnTo>
                  <a:lnTo>
                    <a:pt x="232" y="0"/>
                  </a:lnTo>
                  <a:lnTo>
                    <a:pt x="209" y="24"/>
                  </a:lnTo>
                  <a:lnTo>
                    <a:pt x="180" y="24"/>
                  </a:lnTo>
                  <a:lnTo>
                    <a:pt x="128" y="76"/>
                  </a:lnTo>
                  <a:lnTo>
                    <a:pt x="77" y="105"/>
                  </a:lnTo>
                  <a:lnTo>
                    <a:pt x="77" y="157"/>
                  </a:lnTo>
                  <a:lnTo>
                    <a:pt x="77" y="180"/>
                  </a:lnTo>
                  <a:lnTo>
                    <a:pt x="48" y="180"/>
                  </a:lnTo>
                  <a:lnTo>
                    <a:pt x="0" y="180"/>
                  </a:lnTo>
                  <a:lnTo>
                    <a:pt x="0" y="209"/>
                  </a:lnTo>
                  <a:lnTo>
                    <a:pt x="25" y="209"/>
                  </a:lnTo>
                  <a:lnTo>
                    <a:pt x="0" y="261"/>
                  </a:lnTo>
                  <a:lnTo>
                    <a:pt x="25" y="284"/>
                  </a:lnTo>
                  <a:lnTo>
                    <a:pt x="0" y="312"/>
                  </a:lnTo>
                  <a:lnTo>
                    <a:pt x="25" y="31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6" name="Freeform 66"/>
            <p:cNvSpPr>
              <a:spLocks/>
            </p:cNvSpPr>
            <p:nvPr/>
          </p:nvSpPr>
          <p:spPr bwMode="gray">
            <a:xfrm>
              <a:off x="3360" y="641"/>
              <a:ext cx="51" cy="66"/>
            </a:xfrm>
            <a:custGeom>
              <a:avLst/>
              <a:gdLst>
                <a:gd name="T0" fmla="*/ 79 w 104"/>
                <a:gd name="T1" fmla="*/ 133 h 133"/>
                <a:gd name="T2" fmla="*/ 79 w 104"/>
                <a:gd name="T3" fmla="*/ 104 h 133"/>
                <a:gd name="T4" fmla="*/ 79 w 104"/>
                <a:gd name="T5" fmla="*/ 81 h 133"/>
                <a:gd name="T6" fmla="*/ 104 w 104"/>
                <a:gd name="T7" fmla="*/ 81 h 133"/>
                <a:gd name="T8" fmla="*/ 104 w 104"/>
                <a:gd name="T9" fmla="*/ 52 h 133"/>
                <a:gd name="T10" fmla="*/ 52 w 104"/>
                <a:gd name="T11" fmla="*/ 0 h 133"/>
                <a:gd name="T12" fmla="*/ 27 w 104"/>
                <a:gd name="T13" fmla="*/ 29 h 133"/>
                <a:gd name="T14" fmla="*/ 27 w 104"/>
                <a:gd name="T15" fmla="*/ 0 h 133"/>
                <a:gd name="T16" fmla="*/ 0 w 104"/>
                <a:gd name="T17" fmla="*/ 52 h 133"/>
                <a:gd name="T18" fmla="*/ 0 w 104"/>
                <a:gd name="T19" fmla="*/ 81 h 133"/>
                <a:gd name="T20" fmla="*/ 52 w 104"/>
                <a:gd name="T21" fmla="*/ 104 h 133"/>
                <a:gd name="T22" fmla="*/ 79 w 104"/>
                <a:gd name="T2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4" h="133">
                  <a:moveTo>
                    <a:pt x="79" y="133"/>
                  </a:moveTo>
                  <a:lnTo>
                    <a:pt x="79" y="104"/>
                  </a:lnTo>
                  <a:lnTo>
                    <a:pt x="79" y="81"/>
                  </a:lnTo>
                  <a:lnTo>
                    <a:pt x="104" y="81"/>
                  </a:lnTo>
                  <a:lnTo>
                    <a:pt x="104" y="52"/>
                  </a:lnTo>
                  <a:lnTo>
                    <a:pt x="52" y="0"/>
                  </a:lnTo>
                  <a:lnTo>
                    <a:pt x="27" y="29"/>
                  </a:lnTo>
                  <a:lnTo>
                    <a:pt x="27" y="0"/>
                  </a:lnTo>
                  <a:lnTo>
                    <a:pt x="0" y="52"/>
                  </a:lnTo>
                  <a:lnTo>
                    <a:pt x="0" y="81"/>
                  </a:lnTo>
                  <a:lnTo>
                    <a:pt x="52" y="104"/>
                  </a:lnTo>
                  <a:lnTo>
                    <a:pt x="79" y="13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7" name="Freeform 67"/>
            <p:cNvSpPr>
              <a:spLocks/>
            </p:cNvSpPr>
            <p:nvPr/>
          </p:nvSpPr>
          <p:spPr bwMode="gray">
            <a:xfrm>
              <a:off x="3411" y="693"/>
              <a:ext cx="67" cy="66"/>
            </a:xfrm>
            <a:custGeom>
              <a:avLst/>
              <a:gdLst>
                <a:gd name="T0" fmla="*/ 0 w 132"/>
                <a:gd name="T1" fmla="*/ 52 h 132"/>
                <a:gd name="T2" fmla="*/ 27 w 132"/>
                <a:gd name="T3" fmla="*/ 81 h 132"/>
                <a:gd name="T4" fmla="*/ 80 w 132"/>
                <a:gd name="T5" fmla="*/ 104 h 132"/>
                <a:gd name="T6" fmla="*/ 132 w 132"/>
                <a:gd name="T7" fmla="*/ 132 h 132"/>
                <a:gd name="T8" fmla="*/ 132 w 132"/>
                <a:gd name="T9" fmla="*/ 104 h 132"/>
                <a:gd name="T10" fmla="*/ 103 w 132"/>
                <a:gd name="T11" fmla="*/ 81 h 132"/>
                <a:gd name="T12" fmla="*/ 103 w 132"/>
                <a:gd name="T13" fmla="*/ 29 h 132"/>
                <a:gd name="T14" fmla="*/ 103 w 132"/>
                <a:gd name="T15" fmla="*/ 0 h 132"/>
                <a:gd name="T16" fmla="*/ 52 w 132"/>
                <a:gd name="T17" fmla="*/ 0 h 132"/>
                <a:gd name="T18" fmla="*/ 0 w 132"/>
                <a:gd name="T19" fmla="*/ 0 h 132"/>
                <a:gd name="T20" fmla="*/ 0 w 132"/>
                <a:gd name="T21" fmla="*/ 5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" h="132">
                  <a:moveTo>
                    <a:pt x="0" y="52"/>
                  </a:moveTo>
                  <a:lnTo>
                    <a:pt x="27" y="81"/>
                  </a:lnTo>
                  <a:lnTo>
                    <a:pt x="80" y="104"/>
                  </a:lnTo>
                  <a:lnTo>
                    <a:pt x="132" y="132"/>
                  </a:lnTo>
                  <a:lnTo>
                    <a:pt x="132" y="104"/>
                  </a:lnTo>
                  <a:lnTo>
                    <a:pt x="103" y="81"/>
                  </a:lnTo>
                  <a:lnTo>
                    <a:pt x="103" y="29"/>
                  </a:lnTo>
                  <a:lnTo>
                    <a:pt x="103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8" name="Freeform 68"/>
            <p:cNvSpPr>
              <a:spLocks/>
            </p:cNvSpPr>
            <p:nvPr/>
          </p:nvSpPr>
          <p:spPr bwMode="gray">
            <a:xfrm>
              <a:off x="3504" y="707"/>
              <a:ext cx="51" cy="78"/>
            </a:xfrm>
            <a:custGeom>
              <a:avLst/>
              <a:gdLst>
                <a:gd name="T0" fmla="*/ 23 w 104"/>
                <a:gd name="T1" fmla="*/ 103 h 155"/>
                <a:gd name="T2" fmla="*/ 23 w 104"/>
                <a:gd name="T3" fmla="*/ 155 h 155"/>
                <a:gd name="T4" fmla="*/ 52 w 104"/>
                <a:gd name="T5" fmla="*/ 126 h 155"/>
                <a:gd name="T6" fmla="*/ 104 w 104"/>
                <a:gd name="T7" fmla="*/ 126 h 155"/>
                <a:gd name="T8" fmla="*/ 104 w 104"/>
                <a:gd name="T9" fmla="*/ 103 h 155"/>
                <a:gd name="T10" fmla="*/ 104 w 104"/>
                <a:gd name="T11" fmla="*/ 75 h 155"/>
                <a:gd name="T12" fmla="*/ 75 w 104"/>
                <a:gd name="T13" fmla="*/ 52 h 155"/>
                <a:gd name="T14" fmla="*/ 52 w 104"/>
                <a:gd name="T15" fmla="*/ 23 h 155"/>
                <a:gd name="T16" fmla="*/ 52 w 104"/>
                <a:gd name="T17" fmla="*/ 0 h 155"/>
                <a:gd name="T18" fmla="*/ 23 w 104"/>
                <a:gd name="T19" fmla="*/ 23 h 155"/>
                <a:gd name="T20" fmla="*/ 0 w 104"/>
                <a:gd name="T21" fmla="*/ 23 h 155"/>
                <a:gd name="T22" fmla="*/ 0 w 104"/>
                <a:gd name="T23" fmla="*/ 52 h 155"/>
                <a:gd name="T24" fmla="*/ 23 w 104"/>
                <a:gd name="T25" fmla="*/ 75 h 155"/>
                <a:gd name="T26" fmla="*/ 23 w 104"/>
                <a:gd name="T27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155">
                  <a:moveTo>
                    <a:pt x="23" y="103"/>
                  </a:moveTo>
                  <a:lnTo>
                    <a:pt x="23" y="155"/>
                  </a:lnTo>
                  <a:lnTo>
                    <a:pt x="52" y="126"/>
                  </a:lnTo>
                  <a:lnTo>
                    <a:pt x="104" y="126"/>
                  </a:lnTo>
                  <a:lnTo>
                    <a:pt x="104" y="103"/>
                  </a:lnTo>
                  <a:lnTo>
                    <a:pt x="104" y="75"/>
                  </a:lnTo>
                  <a:lnTo>
                    <a:pt x="75" y="52"/>
                  </a:lnTo>
                  <a:lnTo>
                    <a:pt x="52" y="23"/>
                  </a:lnTo>
                  <a:lnTo>
                    <a:pt x="52" y="0"/>
                  </a:lnTo>
                  <a:lnTo>
                    <a:pt x="23" y="23"/>
                  </a:lnTo>
                  <a:lnTo>
                    <a:pt x="0" y="23"/>
                  </a:lnTo>
                  <a:lnTo>
                    <a:pt x="0" y="52"/>
                  </a:lnTo>
                  <a:lnTo>
                    <a:pt x="23" y="75"/>
                  </a:lnTo>
                  <a:lnTo>
                    <a:pt x="23" y="10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9" name="Freeform 69"/>
            <p:cNvSpPr>
              <a:spLocks/>
            </p:cNvSpPr>
            <p:nvPr/>
          </p:nvSpPr>
          <p:spPr bwMode="gray">
            <a:xfrm>
              <a:off x="3360" y="707"/>
              <a:ext cx="39" cy="26"/>
            </a:xfrm>
            <a:custGeom>
              <a:avLst/>
              <a:gdLst>
                <a:gd name="T0" fmla="*/ 79 w 79"/>
                <a:gd name="T1" fmla="*/ 23 h 52"/>
                <a:gd name="T2" fmla="*/ 52 w 79"/>
                <a:gd name="T3" fmla="*/ 0 h 52"/>
                <a:gd name="T4" fmla="*/ 0 w 79"/>
                <a:gd name="T5" fmla="*/ 23 h 52"/>
                <a:gd name="T6" fmla="*/ 52 w 79"/>
                <a:gd name="T7" fmla="*/ 52 h 52"/>
                <a:gd name="T8" fmla="*/ 79 w 79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52">
                  <a:moveTo>
                    <a:pt x="79" y="23"/>
                  </a:moveTo>
                  <a:lnTo>
                    <a:pt x="52" y="0"/>
                  </a:lnTo>
                  <a:lnTo>
                    <a:pt x="0" y="23"/>
                  </a:lnTo>
                  <a:lnTo>
                    <a:pt x="52" y="52"/>
                  </a:lnTo>
                  <a:lnTo>
                    <a:pt x="79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0" name="Freeform 70"/>
            <p:cNvSpPr>
              <a:spLocks/>
            </p:cNvSpPr>
            <p:nvPr/>
          </p:nvSpPr>
          <p:spPr bwMode="gray">
            <a:xfrm>
              <a:off x="3983" y="733"/>
              <a:ext cx="93" cy="65"/>
            </a:xfrm>
            <a:custGeom>
              <a:avLst/>
              <a:gdLst>
                <a:gd name="T0" fmla="*/ 27 w 184"/>
                <a:gd name="T1" fmla="*/ 103 h 128"/>
                <a:gd name="T2" fmla="*/ 52 w 184"/>
                <a:gd name="T3" fmla="*/ 128 h 128"/>
                <a:gd name="T4" fmla="*/ 79 w 184"/>
                <a:gd name="T5" fmla="*/ 128 h 128"/>
                <a:gd name="T6" fmla="*/ 79 w 184"/>
                <a:gd name="T7" fmla="*/ 103 h 128"/>
                <a:gd name="T8" fmla="*/ 131 w 184"/>
                <a:gd name="T9" fmla="*/ 103 h 128"/>
                <a:gd name="T10" fmla="*/ 155 w 184"/>
                <a:gd name="T11" fmla="*/ 74 h 128"/>
                <a:gd name="T12" fmla="*/ 104 w 184"/>
                <a:gd name="T13" fmla="*/ 51 h 128"/>
                <a:gd name="T14" fmla="*/ 104 w 184"/>
                <a:gd name="T15" fmla="*/ 23 h 128"/>
                <a:gd name="T16" fmla="*/ 155 w 184"/>
                <a:gd name="T17" fmla="*/ 74 h 128"/>
                <a:gd name="T18" fmla="*/ 184 w 184"/>
                <a:gd name="T19" fmla="*/ 51 h 128"/>
                <a:gd name="T20" fmla="*/ 184 w 184"/>
                <a:gd name="T21" fmla="*/ 23 h 128"/>
                <a:gd name="T22" fmla="*/ 131 w 184"/>
                <a:gd name="T23" fmla="*/ 0 h 128"/>
                <a:gd name="T24" fmla="*/ 104 w 184"/>
                <a:gd name="T25" fmla="*/ 0 h 128"/>
                <a:gd name="T26" fmla="*/ 79 w 184"/>
                <a:gd name="T27" fmla="*/ 0 h 128"/>
                <a:gd name="T28" fmla="*/ 52 w 184"/>
                <a:gd name="T29" fmla="*/ 23 h 128"/>
                <a:gd name="T30" fmla="*/ 52 w 184"/>
                <a:gd name="T31" fmla="*/ 0 h 128"/>
                <a:gd name="T32" fmla="*/ 27 w 184"/>
                <a:gd name="T33" fmla="*/ 0 h 128"/>
                <a:gd name="T34" fmla="*/ 0 w 184"/>
                <a:gd name="T35" fmla="*/ 51 h 128"/>
                <a:gd name="T36" fmla="*/ 27 w 184"/>
                <a:gd name="T37" fmla="*/ 74 h 128"/>
                <a:gd name="T38" fmla="*/ 27 w 184"/>
                <a:gd name="T39" fmla="*/ 10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4" h="128">
                  <a:moveTo>
                    <a:pt x="27" y="103"/>
                  </a:moveTo>
                  <a:lnTo>
                    <a:pt x="52" y="128"/>
                  </a:lnTo>
                  <a:lnTo>
                    <a:pt x="79" y="128"/>
                  </a:lnTo>
                  <a:lnTo>
                    <a:pt x="79" y="103"/>
                  </a:lnTo>
                  <a:lnTo>
                    <a:pt x="131" y="103"/>
                  </a:lnTo>
                  <a:lnTo>
                    <a:pt x="155" y="74"/>
                  </a:lnTo>
                  <a:lnTo>
                    <a:pt x="104" y="51"/>
                  </a:lnTo>
                  <a:lnTo>
                    <a:pt x="104" y="23"/>
                  </a:lnTo>
                  <a:lnTo>
                    <a:pt x="155" y="74"/>
                  </a:lnTo>
                  <a:lnTo>
                    <a:pt x="184" y="51"/>
                  </a:lnTo>
                  <a:lnTo>
                    <a:pt x="184" y="23"/>
                  </a:lnTo>
                  <a:lnTo>
                    <a:pt x="131" y="0"/>
                  </a:lnTo>
                  <a:lnTo>
                    <a:pt x="104" y="0"/>
                  </a:lnTo>
                  <a:lnTo>
                    <a:pt x="79" y="0"/>
                  </a:lnTo>
                  <a:lnTo>
                    <a:pt x="52" y="23"/>
                  </a:lnTo>
                  <a:lnTo>
                    <a:pt x="52" y="0"/>
                  </a:lnTo>
                  <a:lnTo>
                    <a:pt x="27" y="0"/>
                  </a:lnTo>
                  <a:lnTo>
                    <a:pt x="0" y="51"/>
                  </a:lnTo>
                  <a:lnTo>
                    <a:pt x="27" y="74"/>
                  </a:lnTo>
                  <a:lnTo>
                    <a:pt x="27" y="10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1" name="Freeform 71"/>
            <p:cNvSpPr>
              <a:spLocks/>
            </p:cNvSpPr>
            <p:nvPr/>
          </p:nvSpPr>
          <p:spPr bwMode="gray">
            <a:xfrm>
              <a:off x="4700" y="875"/>
              <a:ext cx="48" cy="10"/>
            </a:xfrm>
            <a:custGeom>
              <a:avLst/>
              <a:gdLst>
                <a:gd name="T0" fmla="*/ 79 w 96"/>
                <a:gd name="T1" fmla="*/ 0 h 19"/>
                <a:gd name="T2" fmla="*/ 0 w 96"/>
                <a:gd name="T3" fmla="*/ 0 h 19"/>
                <a:gd name="T4" fmla="*/ 96 w 96"/>
                <a:gd name="T5" fmla="*/ 19 h 19"/>
                <a:gd name="T6" fmla="*/ 79 w 96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6" h="19">
                  <a:moveTo>
                    <a:pt x="79" y="0"/>
                  </a:moveTo>
                  <a:lnTo>
                    <a:pt x="0" y="0"/>
                  </a:lnTo>
                  <a:lnTo>
                    <a:pt x="96" y="19"/>
                  </a:lnTo>
                  <a:lnTo>
                    <a:pt x="79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gray">
            <a:xfrm>
              <a:off x="3932" y="2540"/>
              <a:ext cx="155" cy="168"/>
            </a:xfrm>
            <a:custGeom>
              <a:avLst/>
              <a:gdLst>
                <a:gd name="T0" fmla="*/ 311 w 311"/>
                <a:gd name="T1" fmla="*/ 312 h 335"/>
                <a:gd name="T2" fmla="*/ 311 w 311"/>
                <a:gd name="T3" fmla="*/ 284 h 335"/>
                <a:gd name="T4" fmla="*/ 288 w 311"/>
                <a:gd name="T5" fmla="*/ 261 h 335"/>
                <a:gd name="T6" fmla="*/ 288 w 311"/>
                <a:gd name="T7" fmla="*/ 232 h 335"/>
                <a:gd name="T8" fmla="*/ 259 w 311"/>
                <a:gd name="T9" fmla="*/ 209 h 335"/>
                <a:gd name="T10" fmla="*/ 235 w 311"/>
                <a:gd name="T11" fmla="*/ 180 h 335"/>
                <a:gd name="T12" fmla="*/ 208 w 311"/>
                <a:gd name="T13" fmla="*/ 155 h 335"/>
                <a:gd name="T14" fmla="*/ 183 w 311"/>
                <a:gd name="T15" fmla="*/ 155 h 335"/>
                <a:gd name="T16" fmla="*/ 183 w 311"/>
                <a:gd name="T17" fmla="*/ 128 h 335"/>
                <a:gd name="T18" fmla="*/ 156 w 311"/>
                <a:gd name="T19" fmla="*/ 103 h 335"/>
                <a:gd name="T20" fmla="*/ 131 w 311"/>
                <a:gd name="T21" fmla="*/ 103 h 335"/>
                <a:gd name="T22" fmla="*/ 131 w 311"/>
                <a:gd name="T23" fmla="*/ 51 h 335"/>
                <a:gd name="T24" fmla="*/ 104 w 311"/>
                <a:gd name="T25" fmla="*/ 51 h 335"/>
                <a:gd name="T26" fmla="*/ 79 w 311"/>
                <a:gd name="T27" fmla="*/ 24 h 335"/>
                <a:gd name="T28" fmla="*/ 52 w 311"/>
                <a:gd name="T29" fmla="*/ 0 h 335"/>
                <a:gd name="T30" fmla="*/ 0 w 311"/>
                <a:gd name="T31" fmla="*/ 24 h 335"/>
                <a:gd name="T32" fmla="*/ 27 w 311"/>
                <a:gd name="T33" fmla="*/ 51 h 335"/>
                <a:gd name="T34" fmla="*/ 52 w 311"/>
                <a:gd name="T35" fmla="*/ 76 h 335"/>
                <a:gd name="T36" fmla="*/ 79 w 311"/>
                <a:gd name="T37" fmla="*/ 128 h 335"/>
                <a:gd name="T38" fmla="*/ 104 w 311"/>
                <a:gd name="T39" fmla="*/ 155 h 335"/>
                <a:gd name="T40" fmla="*/ 104 w 311"/>
                <a:gd name="T41" fmla="*/ 180 h 335"/>
                <a:gd name="T42" fmla="*/ 104 w 311"/>
                <a:gd name="T43" fmla="*/ 232 h 335"/>
                <a:gd name="T44" fmla="*/ 131 w 311"/>
                <a:gd name="T45" fmla="*/ 261 h 335"/>
                <a:gd name="T46" fmla="*/ 156 w 311"/>
                <a:gd name="T47" fmla="*/ 284 h 335"/>
                <a:gd name="T48" fmla="*/ 208 w 311"/>
                <a:gd name="T49" fmla="*/ 312 h 335"/>
                <a:gd name="T50" fmla="*/ 235 w 311"/>
                <a:gd name="T51" fmla="*/ 335 h 335"/>
                <a:gd name="T52" fmla="*/ 259 w 311"/>
                <a:gd name="T53" fmla="*/ 335 h 335"/>
                <a:gd name="T54" fmla="*/ 288 w 311"/>
                <a:gd name="T55" fmla="*/ 335 h 335"/>
                <a:gd name="T56" fmla="*/ 311 w 311"/>
                <a:gd name="T57" fmla="*/ 312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1" h="335">
                  <a:moveTo>
                    <a:pt x="311" y="312"/>
                  </a:moveTo>
                  <a:lnTo>
                    <a:pt x="311" y="284"/>
                  </a:lnTo>
                  <a:lnTo>
                    <a:pt x="288" y="261"/>
                  </a:lnTo>
                  <a:lnTo>
                    <a:pt x="288" y="232"/>
                  </a:lnTo>
                  <a:lnTo>
                    <a:pt x="259" y="209"/>
                  </a:lnTo>
                  <a:lnTo>
                    <a:pt x="235" y="180"/>
                  </a:lnTo>
                  <a:lnTo>
                    <a:pt x="208" y="155"/>
                  </a:lnTo>
                  <a:lnTo>
                    <a:pt x="183" y="155"/>
                  </a:lnTo>
                  <a:lnTo>
                    <a:pt x="183" y="128"/>
                  </a:lnTo>
                  <a:lnTo>
                    <a:pt x="156" y="103"/>
                  </a:lnTo>
                  <a:lnTo>
                    <a:pt x="131" y="103"/>
                  </a:lnTo>
                  <a:lnTo>
                    <a:pt x="131" y="51"/>
                  </a:lnTo>
                  <a:lnTo>
                    <a:pt x="104" y="51"/>
                  </a:lnTo>
                  <a:lnTo>
                    <a:pt x="79" y="24"/>
                  </a:lnTo>
                  <a:lnTo>
                    <a:pt x="52" y="0"/>
                  </a:lnTo>
                  <a:lnTo>
                    <a:pt x="0" y="24"/>
                  </a:lnTo>
                  <a:lnTo>
                    <a:pt x="27" y="51"/>
                  </a:lnTo>
                  <a:lnTo>
                    <a:pt x="52" y="76"/>
                  </a:lnTo>
                  <a:lnTo>
                    <a:pt x="79" y="128"/>
                  </a:lnTo>
                  <a:lnTo>
                    <a:pt x="104" y="155"/>
                  </a:lnTo>
                  <a:lnTo>
                    <a:pt x="104" y="180"/>
                  </a:lnTo>
                  <a:lnTo>
                    <a:pt x="104" y="232"/>
                  </a:lnTo>
                  <a:lnTo>
                    <a:pt x="131" y="261"/>
                  </a:lnTo>
                  <a:lnTo>
                    <a:pt x="156" y="284"/>
                  </a:lnTo>
                  <a:lnTo>
                    <a:pt x="208" y="312"/>
                  </a:lnTo>
                  <a:lnTo>
                    <a:pt x="235" y="335"/>
                  </a:lnTo>
                  <a:lnTo>
                    <a:pt x="259" y="335"/>
                  </a:lnTo>
                  <a:lnTo>
                    <a:pt x="288" y="335"/>
                  </a:lnTo>
                  <a:lnTo>
                    <a:pt x="311" y="31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gray">
            <a:xfrm>
              <a:off x="3919" y="2540"/>
              <a:ext cx="13" cy="13"/>
            </a:xfrm>
            <a:custGeom>
              <a:avLst/>
              <a:gdLst>
                <a:gd name="T0" fmla="*/ 0 w 25"/>
                <a:gd name="T1" fmla="*/ 0 h 24"/>
                <a:gd name="T2" fmla="*/ 25 w 25"/>
                <a:gd name="T3" fmla="*/ 24 h 24"/>
                <a:gd name="T4" fmla="*/ 25 w 25"/>
                <a:gd name="T5" fmla="*/ 0 h 24"/>
                <a:gd name="T6" fmla="*/ 0 w 25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4">
                  <a:moveTo>
                    <a:pt x="0" y="0"/>
                  </a:moveTo>
                  <a:lnTo>
                    <a:pt x="25" y="24"/>
                  </a:lnTo>
                  <a:lnTo>
                    <a:pt x="25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gray">
            <a:xfrm>
              <a:off x="2605" y="1903"/>
              <a:ext cx="52" cy="26"/>
            </a:xfrm>
            <a:custGeom>
              <a:avLst/>
              <a:gdLst>
                <a:gd name="T0" fmla="*/ 52 w 104"/>
                <a:gd name="T1" fmla="*/ 0 h 52"/>
                <a:gd name="T2" fmla="*/ 25 w 104"/>
                <a:gd name="T3" fmla="*/ 0 h 52"/>
                <a:gd name="T4" fmla="*/ 0 w 104"/>
                <a:gd name="T5" fmla="*/ 23 h 52"/>
                <a:gd name="T6" fmla="*/ 0 w 104"/>
                <a:gd name="T7" fmla="*/ 52 h 52"/>
                <a:gd name="T8" fmla="*/ 52 w 104"/>
                <a:gd name="T9" fmla="*/ 52 h 52"/>
                <a:gd name="T10" fmla="*/ 77 w 104"/>
                <a:gd name="T11" fmla="*/ 52 h 52"/>
                <a:gd name="T12" fmla="*/ 77 w 104"/>
                <a:gd name="T13" fmla="*/ 23 h 52"/>
                <a:gd name="T14" fmla="*/ 104 w 104"/>
                <a:gd name="T15" fmla="*/ 0 h 52"/>
                <a:gd name="T16" fmla="*/ 77 w 104"/>
                <a:gd name="T17" fmla="*/ 0 h 52"/>
                <a:gd name="T18" fmla="*/ 52 w 104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52">
                  <a:moveTo>
                    <a:pt x="52" y="0"/>
                  </a:moveTo>
                  <a:lnTo>
                    <a:pt x="25" y="0"/>
                  </a:lnTo>
                  <a:lnTo>
                    <a:pt x="0" y="23"/>
                  </a:lnTo>
                  <a:lnTo>
                    <a:pt x="0" y="52"/>
                  </a:lnTo>
                  <a:lnTo>
                    <a:pt x="52" y="52"/>
                  </a:lnTo>
                  <a:lnTo>
                    <a:pt x="77" y="52"/>
                  </a:lnTo>
                  <a:lnTo>
                    <a:pt x="77" y="23"/>
                  </a:lnTo>
                  <a:lnTo>
                    <a:pt x="104" y="0"/>
                  </a:lnTo>
                  <a:lnTo>
                    <a:pt x="77" y="0"/>
                  </a:lnTo>
                  <a:lnTo>
                    <a:pt x="52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5" name="Freeform 75"/>
            <p:cNvSpPr>
              <a:spLocks/>
            </p:cNvSpPr>
            <p:nvPr/>
          </p:nvSpPr>
          <p:spPr bwMode="gray">
            <a:xfrm>
              <a:off x="2527" y="1850"/>
              <a:ext cx="39" cy="39"/>
            </a:xfrm>
            <a:custGeom>
              <a:avLst/>
              <a:gdLst>
                <a:gd name="T0" fmla="*/ 52 w 77"/>
                <a:gd name="T1" fmla="*/ 0 h 76"/>
                <a:gd name="T2" fmla="*/ 25 w 77"/>
                <a:gd name="T3" fmla="*/ 0 h 76"/>
                <a:gd name="T4" fmla="*/ 0 w 77"/>
                <a:gd name="T5" fmla="*/ 53 h 76"/>
                <a:gd name="T6" fmla="*/ 0 w 77"/>
                <a:gd name="T7" fmla="*/ 76 h 76"/>
                <a:gd name="T8" fmla="*/ 25 w 77"/>
                <a:gd name="T9" fmla="*/ 76 h 76"/>
                <a:gd name="T10" fmla="*/ 52 w 77"/>
                <a:gd name="T11" fmla="*/ 76 h 76"/>
                <a:gd name="T12" fmla="*/ 77 w 77"/>
                <a:gd name="T13" fmla="*/ 53 h 76"/>
                <a:gd name="T14" fmla="*/ 52 w 77"/>
                <a:gd name="T15" fmla="*/ 53 h 76"/>
                <a:gd name="T16" fmla="*/ 77 w 77"/>
                <a:gd name="T17" fmla="*/ 0 h 76"/>
                <a:gd name="T18" fmla="*/ 52 w 77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6">
                  <a:moveTo>
                    <a:pt x="52" y="0"/>
                  </a:moveTo>
                  <a:lnTo>
                    <a:pt x="25" y="0"/>
                  </a:lnTo>
                  <a:lnTo>
                    <a:pt x="0" y="53"/>
                  </a:lnTo>
                  <a:lnTo>
                    <a:pt x="0" y="76"/>
                  </a:lnTo>
                  <a:lnTo>
                    <a:pt x="25" y="76"/>
                  </a:lnTo>
                  <a:lnTo>
                    <a:pt x="52" y="76"/>
                  </a:lnTo>
                  <a:lnTo>
                    <a:pt x="77" y="53"/>
                  </a:lnTo>
                  <a:lnTo>
                    <a:pt x="52" y="53"/>
                  </a:lnTo>
                  <a:lnTo>
                    <a:pt x="77" y="0"/>
                  </a:lnTo>
                  <a:lnTo>
                    <a:pt x="52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gray">
            <a:xfrm>
              <a:off x="2280" y="771"/>
              <a:ext cx="2653" cy="1808"/>
            </a:xfrm>
            <a:custGeom>
              <a:avLst/>
              <a:gdLst>
                <a:gd name="T0" fmla="*/ 4712 w 5307"/>
                <a:gd name="T1" fmla="*/ 158 h 3616"/>
                <a:gd name="T2" fmla="*/ 4216 w 5307"/>
                <a:gd name="T3" fmla="*/ 210 h 3616"/>
                <a:gd name="T4" fmla="*/ 3719 w 5307"/>
                <a:gd name="T5" fmla="*/ 288 h 3616"/>
                <a:gd name="T6" fmla="*/ 3383 w 5307"/>
                <a:gd name="T7" fmla="*/ 237 h 3616"/>
                <a:gd name="T8" fmla="*/ 2888 w 5307"/>
                <a:gd name="T9" fmla="*/ 394 h 3616"/>
                <a:gd name="T10" fmla="*/ 2759 w 5307"/>
                <a:gd name="T11" fmla="*/ 106 h 3616"/>
                <a:gd name="T12" fmla="*/ 2604 w 5307"/>
                <a:gd name="T13" fmla="*/ 158 h 3616"/>
                <a:gd name="T14" fmla="*/ 2264 w 5307"/>
                <a:gd name="T15" fmla="*/ 469 h 3616"/>
                <a:gd name="T16" fmla="*/ 2187 w 5307"/>
                <a:gd name="T17" fmla="*/ 624 h 3616"/>
                <a:gd name="T18" fmla="*/ 2264 w 5307"/>
                <a:gd name="T19" fmla="*/ 808 h 3616"/>
                <a:gd name="T20" fmla="*/ 2056 w 5307"/>
                <a:gd name="T21" fmla="*/ 572 h 3616"/>
                <a:gd name="T22" fmla="*/ 1847 w 5307"/>
                <a:gd name="T23" fmla="*/ 860 h 3616"/>
                <a:gd name="T24" fmla="*/ 1484 w 5307"/>
                <a:gd name="T25" fmla="*/ 912 h 3616"/>
                <a:gd name="T26" fmla="*/ 1252 w 5307"/>
                <a:gd name="T27" fmla="*/ 1121 h 3616"/>
                <a:gd name="T28" fmla="*/ 1144 w 5307"/>
                <a:gd name="T29" fmla="*/ 833 h 3616"/>
                <a:gd name="T30" fmla="*/ 912 w 5307"/>
                <a:gd name="T31" fmla="*/ 782 h 3616"/>
                <a:gd name="T32" fmla="*/ 651 w 5307"/>
                <a:gd name="T33" fmla="*/ 1093 h 3616"/>
                <a:gd name="T34" fmla="*/ 495 w 5307"/>
                <a:gd name="T35" fmla="*/ 1405 h 3616"/>
                <a:gd name="T36" fmla="*/ 728 w 5307"/>
                <a:gd name="T37" fmla="*/ 1561 h 3616"/>
                <a:gd name="T38" fmla="*/ 808 w 5307"/>
                <a:gd name="T39" fmla="*/ 1225 h 3616"/>
                <a:gd name="T40" fmla="*/ 912 w 5307"/>
                <a:gd name="T41" fmla="*/ 1196 h 3616"/>
                <a:gd name="T42" fmla="*/ 1171 w 5307"/>
                <a:gd name="T43" fmla="*/ 1354 h 3616"/>
                <a:gd name="T44" fmla="*/ 912 w 5307"/>
                <a:gd name="T45" fmla="*/ 1509 h 3616"/>
                <a:gd name="T46" fmla="*/ 728 w 5307"/>
                <a:gd name="T47" fmla="*/ 1641 h 3616"/>
                <a:gd name="T48" fmla="*/ 572 w 5307"/>
                <a:gd name="T49" fmla="*/ 1613 h 3616"/>
                <a:gd name="T50" fmla="*/ 311 w 5307"/>
                <a:gd name="T51" fmla="*/ 1797 h 3616"/>
                <a:gd name="T52" fmla="*/ 184 w 5307"/>
                <a:gd name="T53" fmla="*/ 2029 h 3616"/>
                <a:gd name="T54" fmla="*/ 0 w 5307"/>
                <a:gd name="T55" fmla="*/ 2317 h 3616"/>
                <a:gd name="T56" fmla="*/ 392 w 5307"/>
                <a:gd name="T57" fmla="*/ 2081 h 3616"/>
                <a:gd name="T58" fmla="*/ 728 w 5307"/>
                <a:gd name="T59" fmla="*/ 2160 h 3616"/>
                <a:gd name="T60" fmla="*/ 780 w 5307"/>
                <a:gd name="T61" fmla="*/ 2133 h 3616"/>
                <a:gd name="T62" fmla="*/ 755 w 5307"/>
                <a:gd name="T63" fmla="*/ 2029 h 3616"/>
                <a:gd name="T64" fmla="*/ 987 w 5307"/>
                <a:gd name="T65" fmla="*/ 2288 h 3616"/>
                <a:gd name="T66" fmla="*/ 1068 w 5307"/>
                <a:gd name="T67" fmla="*/ 2185 h 3616"/>
                <a:gd name="T68" fmla="*/ 1223 w 5307"/>
                <a:gd name="T69" fmla="*/ 1952 h 3616"/>
                <a:gd name="T70" fmla="*/ 1432 w 5307"/>
                <a:gd name="T71" fmla="*/ 1901 h 3616"/>
                <a:gd name="T72" fmla="*/ 1563 w 5307"/>
                <a:gd name="T73" fmla="*/ 2133 h 3616"/>
                <a:gd name="T74" fmla="*/ 1119 w 5307"/>
                <a:gd name="T75" fmla="*/ 2185 h 3616"/>
                <a:gd name="T76" fmla="*/ 1352 w 5307"/>
                <a:gd name="T77" fmla="*/ 2369 h 3616"/>
                <a:gd name="T78" fmla="*/ 1459 w 5307"/>
                <a:gd name="T79" fmla="*/ 2783 h 3616"/>
                <a:gd name="T80" fmla="*/ 1980 w 5307"/>
                <a:gd name="T81" fmla="*/ 3044 h 3616"/>
                <a:gd name="T82" fmla="*/ 2003 w 5307"/>
                <a:gd name="T83" fmla="*/ 2912 h 3616"/>
                <a:gd name="T84" fmla="*/ 1772 w 5307"/>
                <a:gd name="T85" fmla="*/ 2601 h 3616"/>
                <a:gd name="T86" fmla="*/ 2187 w 5307"/>
                <a:gd name="T87" fmla="*/ 2783 h 3616"/>
                <a:gd name="T88" fmla="*/ 2552 w 5307"/>
                <a:gd name="T89" fmla="*/ 2912 h 3616"/>
                <a:gd name="T90" fmla="*/ 3043 w 5307"/>
                <a:gd name="T91" fmla="*/ 2912 h 3616"/>
                <a:gd name="T92" fmla="*/ 3279 w 5307"/>
                <a:gd name="T93" fmla="*/ 3125 h 3616"/>
                <a:gd name="T94" fmla="*/ 3408 w 5307"/>
                <a:gd name="T95" fmla="*/ 3436 h 3616"/>
                <a:gd name="T96" fmla="*/ 3435 w 5307"/>
                <a:gd name="T97" fmla="*/ 3280 h 3616"/>
                <a:gd name="T98" fmla="*/ 3696 w 5307"/>
                <a:gd name="T99" fmla="*/ 3229 h 3616"/>
                <a:gd name="T100" fmla="*/ 3667 w 5307"/>
                <a:gd name="T101" fmla="*/ 2968 h 3616"/>
                <a:gd name="T102" fmla="*/ 4032 w 5307"/>
                <a:gd name="T103" fmla="*/ 2628 h 3616"/>
                <a:gd name="T104" fmla="*/ 3955 w 5307"/>
                <a:gd name="T105" fmla="*/ 2288 h 3616"/>
                <a:gd name="T106" fmla="*/ 4072 w 5307"/>
                <a:gd name="T107" fmla="*/ 2148 h 3616"/>
                <a:gd name="T108" fmla="*/ 4162 w 5307"/>
                <a:gd name="T109" fmla="*/ 2236 h 3616"/>
                <a:gd name="T110" fmla="*/ 4424 w 5307"/>
                <a:gd name="T111" fmla="*/ 1561 h 3616"/>
                <a:gd name="T112" fmla="*/ 4447 w 5307"/>
                <a:gd name="T113" fmla="*/ 1069 h 3616"/>
                <a:gd name="T114" fmla="*/ 4786 w 5307"/>
                <a:gd name="T115" fmla="*/ 912 h 3616"/>
                <a:gd name="T116" fmla="*/ 4892 w 5307"/>
                <a:gd name="T117" fmla="*/ 1354 h 3616"/>
                <a:gd name="T118" fmla="*/ 5023 w 5307"/>
                <a:gd name="T119" fmla="*/ 730 h 3616"/>
                <a:gd name="T120" fmla="*/ 5023 w 5307"/>
                <a:gd name="T121" fmla="*/ 417 h 3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07" h="3616">
                  <a:moveTo>
                    <a:pt x="5203" y="394"/>
                  </a:moveTo>
                  <a:lnTo>
                    <a:pt x="5232" y="342"/>
                  </a:lnTo>
                  <a:lnTo>
                    <a:pt x="5180" y="288"/>
                  </a:lnTo>
                  <a:lnTo>
                    <a:pt x="5099" y="313"/>
                  </a:lnTo>
                  <a:lnTo>
                    <a:pt x="5023" y="261"/>
                  </a:lnTo>
                  <a:lnTo>
                    <a:pt x="4971" y="237"/>
                  </a:lnTo>
                  <a:lnTo>
                    <a:pt x="4936" y="229"/>
                  </a:lnTo>
                  <a:lnTo>
                    <a:pt x="4944" y="237"/>
                  </a:lnTo>
                  <a:lnTo>
                    <a:pt x="4919" y="237"/>
                  </a:lnTo>
                  <a:lnTo>
                    <a:pt x="4840" y="210"/>
                  </a:lnTo>
                  <a:lnTo>
                    <a:pt x="4712" y="158"/>
                  </a:lnTo>
                  <a:lnTo>
                    <a:pt x="4604" y="158"/>
                  </a:lnTo>
                  <a:lnTo>
                    <a:pt x="4527" y="210"/>
                  </a:lnTo>
                  <a:lnTo>
                    <a:pt x="4579" y="237"/>
                  </a:lnTo>
                  <a:lnTo>
                    <a:pt x="4579" y="288"/>
                  </a:lnTo>
                  <a:lnTo>
                    <a:pt x="4552" y="288"/>
                  </a:lnTo>
                  <a:lnTo>
                    <a:pt x="4504" y="237"/>
                  </a:lnTo>
                  <a:lnTo>
                    <a:pt x="4395" y="261"/>
                  </a:lnTo>
                  <a:lnTo>
                    <a:pt x="4372" y="313"/>
                  </a:lnTo>
                  <a:lnTo>
                    <a:pt x="4320" y="288"/>
                  </a:lnTo>
                  <a:lnTo>
                    <a:pt x="4268" y="288"/>
                  </a:lnTo>
                  <a:lnTo>
                    <a:pt x="4216" y="210"/>
                  </a:lnTo>
                  <a:lnTo>
                    <a:pt x="4084" y="210"/>
                  </a:lnTo>
                  <a:lnTo>
                    <a:pt x="4059" y="261"/>
                  </a:lnTo>
                  <a:lnTo>
                    <a:pt x="4007" y="237"/>
                  </a:lnTo>
                  <a:lnTo>
                    <a:pt x="3928" y="237"/>
                  </a:lnTo>
                  <a:lnTo>
                    <a:pt x="3955" y="185"/>
                  </a:lnTo>
                  <a:lnTo>
                    <a:pt x="3903" y="185"/>
                  </a:lnTo>
                  <a:lnTo>
                    <a:pt x="3800" y="261"/>
                  </a:lnTo>
                  <a:lnTo>
                    <a:pt x="3800" y="210"/>
                  </a:lnTo>
                  <a:lnTo>
                    <a:pt x="3719" y="210"/>
                  </a:lnTo>
                  <a:lnTo>
                    <a:pt x="3667" y="237"/>
                  </a:lnTo>
                  <a:lnTo>
                    <a:pt x="3719" y="288"/>
                  </a:lnTo>
                  <a:lnTo>
                    <a:pt x="3696" y="288"/>
                  </a:lnTo>
                  <a:lnTo>
                    <a:pt x="3696" y="313"/>
                  </a:lnTo>
                  <a:lnTo>
                    <a:pt x="3644" y="313"/>
                  </a:lnTo>
                  <a:lnTo>
                    <a:pt x="3615" y="313"/>
                  </a:lnTo>
                  <a:lnTo>
                    <a:pt x="3563" y="365"/>
                  </a:lnTo>
                  <a:lnTo>
                    <a:pt x="3563" y="394"/>
                  </a:lnTo>
                  <a:lnTo>
                    <a:pt x="3512" y="365"/>
                  </a:lnTo>
                  <a:lnTo>
                    <a:pt x="3487" y="342"/>
                  </a:lnTo>
                  <a:lnTo>
                    <a:pt x="3435" y="342"/>
                  </a:lnTo>
                  <a:lnTo>
                    <a:pt x="3435" y="313"/>
                  </a:lnTo>
                  <a:lnTo>
                    <a:pt x="3383" y="237"/>
                  </a:lnTo>
                  <a:lnTo>
                    <a:pt x="3304" y="237"/>
                  </a:lnTo>
                  <a:lnTo>
                    <a:pt x="3279" y="237"/>
                  </a:lnTo>
                  <a:lnTo>
                    <a:pt x="3279" y="288"/>
                  </a:lnTo>
                  <a:lnTo>
                    <a:pt x="3176" y="313"/>
                  </a:lnTo>
                  <a:lnTo>
                    <a:pt x="3176" y="288"/>
                  </a:lnTo>
                  <a:lnTo>
                    <a:pt x="3147" y="288"/>
                  </a:lnTo>
                  <a:lnTo>
                    <a:pt x="3072" y="313"/>
                  </a:lnTo>
                  <a:lnTo>
                    <a:pt x="2968" y="288"/>
                  </a:lnTo>
                  <a:lnTo>
                    <a:pt x="2968" y="342"/>
                  </a:lnTo>
                  <a:lnTo>
                    <a:pt x="2915" y="365"/>
                  </a:lnTo>
                  <a:lnTo>
                    <a:pt x="2888" y="394"/>
                  </a:lnTo>
                  <a:lnTo>
                    <a:pt x="2863" y="394"/>
                  </a:lnTo>
                  <a:lnTo>
                    <a:pt x="2915" y="288"/>
                  </a:lnTo>
                  <a:lnTo>
                    <a:pt x="2940" y="261"/>
                  </a:lnTo>
                  <a:lnTo>
                    <a:pt x="2940" y="237"/>
                  </a:lnTo>
                  <a:lnTo>
                    <a:pt x="2940" y="185"/>
                  </a:lnTo>
                  <a:lnTo>
                    <a:pt x="2915" y="133"/>
                  </a:lnTo>
                  <a:lnTo>
                    <a:pt x="2915" y="81"/>
                  </a:lnTo>
                  <a:lnTo>
                    <a:pt x="2836" y="54"/>
                  </a:lnTo>
                  <a:lnTo>
                    <a:pt x="2784" y="54"/>
                  </a:lnTo>
                  <a:lnTo>
                    <a:pt x="2759" y="54"/>
                  </a:lnTo>
                  <a:lnTo>
                    <a:pt x="2759" y="106"/>
                  </a:lnTo>
                  <a:lnTo>
                    <a:pt x="2732" y="106"/>
                  </a:lnTo>
                  <a:lnTo>
                    <a:pt x="2707" y="54"/>
                  </a:lnTo>
                  <a:lnTo>
                    <a:pt x="2655" y="29"/>
                  </a:lnTo>
                  <a:lnTo>
                    <a:pt x="2627" y="0"/>
                  </a:lnTo>
                  <a:lnTo>
                    <a:pt x="2604" y="0"/>
                  </a:lnTo>
                  <a:lnTo>
                    <a:pt x="2575" y="54"/>
                  </a:lnTo>
                  <a:lnTo>
                    <a:pt x="2575" y="81"/>
                  </a:lnTo>
                  <a:lnTo>
                    <a:pt x="2627" y="106"/>
                  </a:lnTo>
                  <a:lnTo>
                    <a:pt x="2604" y="133"/>
                  </a:lnTo>
                  <a:lnTo>
                    <a:pt x="2627" y="158"/>
                  </a:lnTo>
                  <a:lnTo>
                    <a:pt x="2604" y="158"/>
                  </a:lnTo>
                  <a:lnTo>
                    <a:pt x="2575" y="210"/>
                  </a:lnTo>
                  <a:lnTo>
                    <a:pt x="2500" y="210"/>
                  </a:lnTo>
                  <a:lnTo>
                    <a:pt x="2471" y="210"/>
                  </a:lnTo>
                  <a:lnTo>
                    <a:pt x="2448" y="210"/>
                  </a:lnTo>
                  <a:lnTo>
                    <a:pt x="2448" y="237"/>
                  </a:lnTo>
                  <a:lnTo>
                    <a:pt x="2367" y="288"/>
                  </a:lnTo>
                  <a:lnTo>
                    <a:pt x="2367" y="365"/>
                  </a:lnTo>
                  <a:lnTo>
                    <a:pt x="2396" y="417"/>
                  </a:lnTo>
                  <a:lnTo>
                    <a:pt x="2367" y="417"/>
                  </a:lnTo>
                  <a:lnTo>
                    <a:pt x="2291" y="446"/>
                  </a:lnTo>
                  <a:lnTo>
                    <a:pt x="2264" y="469"/>
                  </a:lnTo>
                  <a:lnTo>
                    <a:pt x="2291" y="549"/>
                  </a:lnTo>
                  <a:lnTo>
                    <a:pt x="2367" y="549"/>
                  </a:lnTo>
                  <a:lnTo>
                    <a:pt x="2367" y="601"/>
                  </a:lnTo>
                  <a:lnTo>
                    <a:pt x="2419" y="653"/>
                  </a:lnTo>
                  <a:lnTo>
                    <a:pt x="2448" y="730"/>
                  </a:lnTo>
                  <a:lnTo>
                    <a:pt x="2396" y="678"/>
                  </a:lnTo>
                  <a:lnTo>
                    <a:pt x="2367" y="601"/>
                  </a:lnTo>
                  <a:lnTo>
                    <a:pt x="2264" y="549"/>
                  </a:lnTo>
                  <a:lnTo>
                    <a:pt x="2239" y="549"/>
                  </a:lnTo>
                  <a:lnTo>
                    <a:pt x="2239" y="572"/>
                  </a:lnTo>
                  <a:lnTo>
                    <a:pt x="2187" y="624"/>
                  </a:lnTo>
                  <a:lnTo>
                    <a:pt x="2239" y="624"/>
                  </a:lnTo>
                  <a:lnTo>
                    <a:pt x="2264" y="653"/>
                  </a:lnTo>
                  <a:lnTo>
                    <a:pt x="2187" y="653"/>
                  </a:lnTo>
                  <a:lnTo>
                    <a:pt x="2135" y="601"/>
                  </a:lnTo>
                  <a:lnTo>
                    <a:pt x="2135" y="653"/>
                  </a:lnTo>
                  <a:lnTo>
                    <a:pt x="2187" y="730"/>
                  </a:lnTo>
                  <a:lnTo>
                    <a:pt x="2187" y="757"/>
                  </a:lnTo>
                  <a:lnTo>
                    <a:pt x="2212" y="782"/>
                  </a:lnTo>
                  <a:lnTo>
                    <a:pt x="2291" y="782"/>
                  </a:lnTo>
                  <a:lnTo>
                    <a:pt x="2327" y="841"/>
                  </a:lnTo>
                  <a:lnTo>
                    <a:pt x="2264" y="808"/>
                  </a:lnTo>
                  <a:lnTo>
                    <a:pt x="2239" y="808"/>
                  </a:lnTo>
                  <a:lnTo>
                    <a:pt x="2212" y="833"/>
                  </a:lnTo>
                  <a:lnTo>
                    <a:pt x="2239" y="912"/>
                  </a:lnTo>
                  <a:lnTo>
                    <a:pt x="2212" y="989"/>
                  </a:lnTo>
                  <a:lnTo>
                    <a:pt x="2160" y="989"/>
                  </a:lnTo>
                  <a:lnTo>
                    <a:pt x="2108" y="989"/>
                  </a:lnTo>
                  <a:lnTo>
                    <a:pt x="2160" y="966"/>
                  </a:lnTo>
                  <a:lnTo>
                    <a:pt x="2187" y="860"/>
                  </a:lnTo>
                  <a:lnTo>
                    <a:pt x="2187" y="808"/>
                  </a:lnTo>
                  <a:lnTo>
                    <a:pt x="2083" y="653"/>
                  </a:lnTo>
                  <a:lnTo>
                    <a:pt x="2056" y="572"/>
                  </a:lnTo>
                  <a:lnTo>
                    <a:pt x="2003" y="549"/>
                  </a:lnTo>
                  <a:lnTo>
                    <a:pt x="1980" y="678"/>
                  </a:lnTo>
                  <a:lnTo>
                    <a:pt x="2003" y="757"/>
                  </a:lnTo>
                  <a:lnTo>
                    <a:pt x="2056" y="808"/>
                  </a:lnTo>
                  <a:lnTo>
                    <a:pt x="2056" y="833"/>
                  </a:lnTo>
                  <a:lnTo>
                    <a:pt x="2003" y="808"/>
                  </a:lnTo>
                  <a:lnTo>
                    <a:pt x="1951" y="782"/>
                  </a:lnTo>
                  <a:lnTo>
                    <a:pt x="1847" y="782"/>
                  </a:lnTo>
                  <a:lnTo>
                    <a:pt x="1876" y="833"/>
                  </a:lnTo>
                  <a:lnTo>
                    <a:pt x="1876" y="860"/>
                  </a:lnTo>
                  <a:lnTo>
                    <a:pt x="1847" y="860"/>
                  </a:lnTo>
                  <a:lnTo>
                    <a:pt x="1824" y="833"/>
                  </a:lnTo>
                  <a:lnTo>
                    <a:pt x="1743" y="885"/>
                  </a:lnTo>
                  <a:lnTo>
                    <a:pt x="1720" y="885"/>
                  </a:lnTo>
                  <a:lnTo>
                    <a:pt x="1692" y="860"/>
                  </a:lnTo>
                  <a:lnTo>
                    <a:pt x="1615" y="912"/>
                  </a:lnTo>
                  <a:lnTo>
                    <a:pt x="1588" y="937"/>
                  </a:lnTo>
                  <a:lnTo>
                    <a:pt x="1563" y="937"/>
                  </a:lnTo>
                  <a:lnTo>
                    <a:pt x="1536" y="989"/>
                  </a:lnTo>
                  <a:lnTo>
                    <a:pt x="1507" y="966"/>
                  </a:lnTo>
                  <a:lnTo>
                    <a:pt x="1507" y="885"/>
                  </a:lnTo>
                  <a:lnTo>
                    <a:pt x="1484" y="912"/>
                  </a:lnTo>
                  <a:lnTo>
                    <a:pt x="1459" y="937"/>
                  </a:lnTo>
                  <a:lnTo>
                    <a:pt x="1484" y="1018"/>
                  </a:lnTo>
                  <a:lnTo>
                    <a:pt x="1459" y="1041"/>
                  </a:lnTo>
                  <a:lnTo>
                    <a:pt x="1407" y="1041"/>
                  </a:lnTo>
                  <a:lnTo>
                    <a:pt x="1379" y="1093"/>
                  </a:lnTo>
                  <a:lnTo>
                    <a:pt x="1379" y="1121"/>
                  </a:lnTo>
                  <a:lnTo>
                    <a:pt x="1379" y="1144"/>
                  </a:lnTo>
                  <a:lnTo>
                    <a:pt x="1327" y="1093"/>
                  </a:lnTo>
                  <a:lnTo>
                    <a:pt x="1300" y="1144"/>
                  </a:lnTo>
                  <a:lnTo>
                    <a:pt x="1300" y="1173"/>
                  </a:lnTo>
                  <a:lnTo>
                    <a:pt x="1252" y="1121"/>
                  </a:lnTo>
                  <a:lnTo>
                    <a:pt x="1252" y="1041"/>
                  </a:lnTo>
                  <a:lnTo>
                    <a:pt x="1196" y="1018"/>
                  </a:lnTo>
                  <a:lnTo>
                    <a:pt x="1196" y="989"/>
                  </a:lnTo>
                  <a:lnTo>
                    <a:pt x="1252" y="1018"/>
                  </a:lnTo>
                  <a:lnTo>
                    <a:pt x="1300" y="1041"/>
                  </a:lnTo>
                  <a:lnTo>
                    <a:pt x="1352" y="1018"/>
                  </a:lnTo>
                  <a:lnTo>
                    <a:pt x="1379" y="989"/>
                  </a:lnTo>
                  <a:lnTo>
                    <a:pt x="1300" y="885"/>
                  </a:lnTo>
                  <a:lnTo>
                    <a:pt x="1252" y="860"/>
                  </a:lnTo>
                  <a:lnTo>
                    <a:pt x="1196" y="860"/>
                  </a:lnTo>
                  <a:lnTo>
                    <a:pt x="1144" y="833"/>
                  </a:lnTo>
                  <a:lnTo>
                    <a:pt x="1119" y="808"/>
                  </a:lnTo>
                  <a:lnTo>
                    <a:pt x="1091" y="808"/>
                  </a:lnTo>
                  <a:lnTo>
                    <a:pt x="1119" y="782"/>
                  </a:lnTo>
                  <a:lnTo>
                    <a:pt x="1091" y="757"/>
                  </a:lnTo>
                  <a:lnTo>
                    <a:pt x="1039" y="757"/>
                  </a:lnTo>
                  <a:lnTo>
                    <a:pt x="1016" y="782"/>
                  </a:lnTo>
                  <a:lnTo>
                    <a:pt x="987" y="757"/>
                  </a:lnTo>
                  <a:lnTo>
                    <a:pt x="964" y="757"/>
                  </a:lnTo>
                  <a:lnTo>
                    <a:pt x="964" y="782"/>
                  </a:lnTo>
                  <a:lnTo>
                    <a:pt x="935" y="782"/>
                  </a:lnTo>
                  <a:lnTo>
                    <a:pt x="912" y="782"/>
                  </a:lnTo>
                  <a:lnTo>
                    <a:pt x="912" y="833"/>
                  </a:lnTo>
                  <a:lnTo>
                    <a:pt x="860" y="833"/>
                  </a:lnTo>
                  <a:lnTo>
                    <a:pt x="808" y="833"/>
                  </a:lnTo>
                  <a:lnTo>
                    <a:pt x="755" y="912"/>
                  </a:lnTo>
                  <a:lnTo>
                    <a:pt x="780" y="912"/>
                  </a:lnTo>
                  <a:lnTo>
                    <a:pt x="755" y="937"/>
                  </a:lnTo>
                  <a:lnTo>
                    <a:pt x="755" y="966"/>
                  </a:lnTo>
                  <a:lnTo>
                    <a:pt x="728" y="937"/>
                  </a:lnTo>
                  <a:lnTo>
                    <a:pt x="703" y="989"/>
                  </a:lnTo>
                  <a:lnTo>
                    <a:pt x="703" y="1018"/>
                  </a:lnTo>
                  <a:lnTo>
                    <a:pt x="651" y="1093"/>
                  </a:lnTo>
                  <a:lnTo>
                    <a:pt x="599" y="1144"/>
                  </a:lnTo>
                  <a:lnTo>
                    <a:pt x="599" y="1173"/>
                  </a:lnTo>
                  <a:lnTo>
                    <a:pt x="572" y="1173"/>
                  </a:lnTo>
                  <a:lnTo>
                    <a:pt x="572" y="1196"/>
                  </a:lnTo>
                  <a:lnTo>
                    <a:pt x="520" y="1248"/>
                  </a:lnTo>
                  <a:lnTo>
                    <a:pt x="495" y="1277"/>
                  </a:lnTo>
                  <a:lnTo>
                    <a:pt x="495" y="1302"/>
                  </a:lnTo>
                  <a:lnTo>
                    <a:pt x="495" y="1329"/>
                  </a:lnTo>
                  <a:lnTo>
                    <a:pt x="495" y="1354"/>
                  </a:lnTo>
                  <a:lnTo>
                    <a:pt x="495" y="1380"/>
                  </a:lnTo>
                  <a:lnTo>
                    <a:pt x="495" y="1405"/>
                  </a:lnTo>
                  <a:lnTo>
                    <a:pt x="495" y="1432"/>
                  </a:lnTo>
                  <a:lnTo>
                    <a:pt x="520" y="1457"/>
                  </a:lnTo>
                  <a:lnTo>
                    <a:pt x="572" y="1432"/>
                  </a:lnTo>
                  <a:lnTo>
                    <a:pt x="599" y="1405"/>
                  </a:lnTo>
                  <a:lnTo>
                    <a:pt x="651" y="1380"/>
                  </a:lnTo>
                  <a:lnTo>
                    <a:pt x="651" y="1432"/>
                  </a:lnTo>
                  <a:lnTo>
                    <a:pt x="651" y="1457"/>
                  </a:lnTo>
                  <a:lnTo>
                    <a:pt x="676" y="1484"/>
                  </a:lnTo>
                  <a:lnTo>
                    <a:pt x="676" y="1509"/>
                  </a:lnTo>
                  <a:lnTo>
                    <a:pt x="703" y="1561"/>
                  </a:lnTo>
                  <a:lnTo>
                    <a:pt x="728" y="1561"/>
                  </a:lnTo>
                  <a:lnTo>
                    <a:pt x="728" y="1509"/>
                  </a:lnTo>
                  <a:lnTo>
                    <a:pt x="755" y="1509"/>
                  </a:lnTo>
                  <a:lnTo>
                    <a:pt x="780" y="1484"/>
                  </a:lnTo>
                  <a:lnTo>
                    <a:pt x="780" y="1432"/>
                  </a:lnTo>
                  <a:lnTo>
                    <a:pt x="780" y="1405"/>
                  </a:lnTo>
                  <a:lnTo>
                    <a:pt x="780" y="1380"/>
                  </a:lnTo>
                  <a:lnTo>
                    <a:pt x="808" y="1380"/>
                  </a:lnTo>
                  <a:lnTo>
                    <a:pt x="831" y="1380"/>
                  </a:lnTo>
                  <a:lnTo>
                    <a:pt x="831" y="1354"/>
                  </a:lnTo>
                  <a:lnTo>
                    <a:pt x="780" y="1302"/>
                  </a:lnTo>
                  <a:lnTo>
                    <a:pt x="808" y="1225"/>
                  </a:lnTo>
                  <a:lnTo>
                    <a:pt x="860" y="1225"/>
                  </a:lnTo>
                  <a:lnTo>
                    <a:pt x="883" y="1173"/>
                  </a:lnTo>
                  <a:lnTo>
                    <a:pt x="912" y="1144"/>
                  </a:lnTo>
                  <a:lnTo>
                    <a:pt x="912" y="1093"/>
                  </a:lnTo>
                  <a:lnTo>
                    <a:pt x="964" y="1041"/>
                  </a:lnTo>
                  <a:lnTo>
                    <a:pt x="987" y="1069"/>
                  </a:lnTo>
                  <a:lnTo>
                    <a:pt x="1016" y="1093"/>
                  </a:lnTo>
                  <a:lnTo>
                    <a:pt x="987" y="1121"/>
                  </a:lnTo>
                  <a:lnTo>
                    <a:pt x="935" y="1173"/>
                  </a:lnTo>
                  <a:lnTo>
                    <a:pt x="935" y="1196"/>
                  </a:lnTo>
                  <a:lnTo>
                    <a:pt x="912" y="1196"/>
                  </a:lnTo>
                  <a:lnTo>
                    <a:pt x="912" y="1225"/>
                  </a:lnTo>
                  <a:lnTo>
                    <a:pt x="912" y="1248"/>
                  </a:lnTo>
                  <a:lnTo>
                    <a:pt x="935" y="1277"/>
                  </a:lnTo>
                  <a:lnTo>
                    <a:pt x="912" y="1302"/>
                  </a:lnTo>
                  <a:lnTo>
                    <a:pt x="912" y="1329"/>
                  </a:lnTo>
                  <a:lnTo>
                    <a:pt x="935" y="1329"/>
                  </a:lnTo>
                  <a:lnTo>
                    <a:pt x="987" y="1329"/>
                  </a:lnTo>
                  <a:lnTo>
                    <a:pt x="1091" y="1302"/>
                  </a:lnTo>
                  <a:lnTo>
                    <a:pt x="1119" y="1302"/>
                  </a:lnTo>
                  <a:lnTo>
                    <a:pt x="1144" y="1329"/>
                  </a:lnTo>
                  <a:lnTo>
                    <a:pt x="1171" y="1354"/>
                  </a:lnTo>
                  <a:lnTo>
                    <a:pt x="1144" y="1380"/>
                  </a:lnTo>
                  <a:lnTo>
                    <a:pt x="1119" y="1405"/>
                  </a:lnTo>
                  <a:lnTo>
                    <a:pt x="1144" y="1380"/>
                  </a:lnTo>
                  <a:lnTo>
                    <a:pt x="1091" y="1380"/>
                  </a:lnTo>
                  <a:lnTo>
                    <a:pt x="1068" y="1380"/>
                  </a:lnTo>
                  <a:lnTo>
                    <a:pt x="1016" y="1405"/>
                  </a:lnTo>
                  <a:lnTo>
                    <a:pt x="987" y="1405"/>
                  </a:lnTo>
                  <a:lnTo>
                    <a:pt x="987" y="1457"/>
                  </a:lnTo>
                  <a:lnTo>
                    <a:pt x="987" y="1484"/>
                  </a:lnTo>
                  <a:lnTo>
                    <a:pt x="935" y="1484"/>
                  </a:lnTo>
                  <a:lnTo>
                    <a:pt x="912" y="1509"/>
                  </a:lnTo>
                  <a:lnTo>
                    <a:pt x="912" y="1536"/>
                  </a:lnTo>
                  <a:lnTo>
                    <a:pt x="912" y="1561"/>
                  </a:lnTo>
                  <a:lnTo>
                    <a:pt x="912" y="1590"/>
                  </a:lnTo>
                  <a:lnTo>
                    <a:pt x="883" y="1613"/>
                  </a:lnTo>
                  <a:lnTo>
                    <a:pt x="912" y="1613"/>
                  </a:lnTo>
                  <a:lnTo>
                    <a:pt x="964" y="1641"/>
                  </a:lnTo>
                  <a:lnTo>
                    <a:pt x="935" y="1641"/>
                  </a:lnTo>
                  <a:lnTo>
                    <a:pt x="883" y="1613"/>
                  </a:lnTo>
                  <a:lnTo>
                    <a:pt x="860" y="1613"/>
                  </a:lnTo>
                  <a:lnTo>
                    <a:pt x="808" y="1613"/>
                  </a:lnTo>
                  <a:lnTo>
                    <a:pt x="728" y="1641"/>
                  </a:lnTo>
                  <a:lnTo>
                    <a:pt x="676" y="1641"/>
                  </a:lnTo>
                  <a:lnTo>
                    <a:pt x="624" y="1641"/>
                  </a:lnTo>
                  <a:lnTo>
                    <a:pt x="599" y="1613"/>
                  </a:lnTo>
                  <a:lnTo>
                    <a:pt x="599" y="1561"/>
                  </a:lnTo>
                  <a:lnTo>
                    <a:pt x="624" y="1536"/>
                  </a:lnTo>
                  <a:lnTo>
                    <a:pt x="624" y="1509"/>
                  </a:lnTo>
                  <a:lnTo>
                    <a:pt x="599" y="1457"/>
                  </a:lnTo>
                  <a:lnTo>
                    <a:pt x="572" y="1509"/>
                  </a:lnTo>
                  <a:lnTo>
                    <a:pt x="572" y="1536"/>
                  </a:lnTo>
                  <a:lnTo>
                    <a:pt x="572" y="1590"/>
                  </a:lnTo>
                  <a:lnTo>
                    <a:pt x="572" y="1613"/>
                  </a:lnTo>
                  <a:lnTo>
                    <a:pt x="572" y="1641"/>
                  </a:lnTo>
                  <a:lnTo>
                    <a:pt x="547" y="1641"/>
                  </a:lnTo>
                  <a:lnTo>
                    <a:pt x="520" y="1664"/>
                  </a:lnTo>
                  <a:lnTo>
                    <a:pt x="467" y="1664"/>
                  </a:lnTo>
                  <a:lnTo>
                    <a:pt x="467" y="1693"/>
                  </a:lnTo>
                  <a:lnTo>
                    <a:pt x="444" y="1716"/>
                  </a:lnTo>
                  <a:lnTo>
                    <a:pt x="415" y="1716"/>
                  </a:lnTo>
                  <a:lnTo>
                    <a:pt x="415" y="1745"/>
                  </a:lnTo>
                  <a:lnTo>
                    <a:pt x="392" y="1745"/>
                  </a:lnTo>
                  <a:lnTo>
                    <a:pt x="363" y="1768"/>
                  </a:lnTo>
                  <a:lnTo>
                    <a:pt x="311" y="1797"/>
                  </a:lnTo>
                  <a:lnTo>
                    <a:pt x="288" y="1797"/>
                  </a:lnTo>
                  <a:lnTo>
                    <a:pt x="236" y="1820"/>
                  </a:lnTo>
                  <a:lnTo>
                    <a:pt x="207" y="1849"/>
                  </a:lnTo>
                  <a:lnTo>
                    <a:pt x="184" y="1849"/>
                  </a:lnTo>
                  <a:lnTo>
                    <a:pt x="184" y="1872"/>
                  </a:lnTo>
                  <a:lnTo>
                    <a:pt x="207" y="1872"/>
                  </a:lnTo>
                  <a:lnTo>
                    <a:pt x="236" y="1901"/>
                  </a:lnTo>
                  <a:lnTo>
                    <a:pt x="236" y="1925"/>
                  </a:lnTo>
                  <a:lnTo>
                    <a:pt x="236" y="2004"/>
                  </a:lnTo>
                  <a:lnTo>
                    <a:pt x="207" y="2029"/>
                  </a:lnTo>
                  <a:lnTo>
                    <a:pt x="184" y="2029"/>
                  </a:lnTo>
                  <a:lnTo>
                    <a:pt x="156" y="2029"/>
                  </a:lnTo>
                  <a:lnTo>
                    <a:pt x="131" y="2004"/>
                  </a:lnTo>
                  <a:lnTo>
                    <a:pt x="79" y="2029"/>
                  </a:lnTo>
                  <a:lnTo>
                    <a:pt x="52" y="2029"/>
                  </a:lnTo>
                  <a:lnTo>
                    <a:pt x="27" y="2029"/>
                  </a:lnTo>
                  <a:lnTo>
                    <a:pt x="27" y="2081"/>
                  </a:lnTo>
                  <a:lnTo>
                    <a:pt x="27" y="2133"/>
                  </a:lnTo>
                  <a:lnTo>
                    <a:pt x="27" y="2185"/>
                  </a:lnTo>
                  <a:lnTo>
                    <a:pt x="0" y="2213"/>
                  </a:lnTo>
                  <a:lnTo>
                    <a:pt x="27" y="2265"/>
                  </a:lnTo>
                  <a:lnTo>
                    <a:pt x="0" y="2317"/>
                  </a:lnTo>
                  <a:lnTo>
                    <a:pt x="52" y="2317"/>
                  </a:lnTo>
                  <a:lnTo>
                    <a:pt x="79" y="2317"/>
                  </a:lnTo>
                  <a:lnTo>
                    <a:pt x="104" y="2369"/>
                  </a:lnTo>
                  <a:lnTo>
                    <a:pt x="156" y="2340"/>
                  </a:lnTo>
                  <a:lnTo>
                    <a:pt x="207" y="2369"/>
                  </a:lnTo>
                  <a:lnTo>
                    <a:pt x="236" y="2340"/>
                  </a:lnTo>
                  <a:lnTo>
                    <a:pt x="259" y="2317"/>
                  </a:lnTo>
                  <a:lnTo>
                    <a:pt x="288" y="2265"/>
                  </a:lnTo>
                  <a:lnTo>
                    <a:pt x="340" y="2185"/>
                  </a:lnTo>
                  <a:lnTo>
                    <a:pt x="392" y="2133"/>
                  </a:lnTo>
                  <a:lnTo>
                    <a:pt x="392" y="2081"/>
                  </a:lnTo>
                  <a:lnTo>
                    <a:pt x="415" y="2081"/>
                  </a:lnTo>
                  <a:lnTo>
                    <a:pt x="415" y="2056"/>
                  </a:lnTo>
                  <a:lnTo>
                    <a:pt x="467" y="2056"/>
                  </a:lnTo>
                  <a:lnTo>
                    <a:pt x="495" y="2029"/>
                  </a:lnTo>
                  <a:lnTo>
                    <a:pt x="520" y="2029"/>
                  </a:lnTo>
                  <a:lnTo>
                    <a:pt x="572" y="2029"/>
                  </a:lnTo>
                  <a:lnTo>
                    <a:pt x="599" y="2029"/>
                  </a:lnTo>
                  <a:lnTo>
                    <a:pt x="624" y="2056"/>
                  </a:lnTo>
                  <a:lnTo>
                    <a:pt x="624" y="2081"/>
                  </a:lnTo>
                  <a:lnTo>
                    <a:pt x="703" y="2160"/>
                  </a:lnTo>
                  <a:lnTo>
                    <a:pt x="728" y="2160"/>
                  </a:lnTo>
                  <a:lnTo>
                    <a:pt x="755" y="2185"/>
                  </a:lnTo>
                  <a:lnTo>
                    <a:pt x="780" y="2213"/>
                  </a:lnTo>
                  <a:lnTo>
                    <a:pt x="755" y="2236"/>
                  </a:lnTo>
                  <a:lnTo>
                    <a:pt x="755" y="2265"/>
                  </a:lnTo>
                  <a:lnTo>
                    <a:pt x="808" y="2236"/>
                  </a:lnTo>
                  <a:lnTo>
                    <a:pt x="780" y="2185"/>
                  </a:lnTo>
                  <a:lnTo>
                    <a:pt x="780" y="2160"/>
                  </a:lnTo>
                  <a:lnTo>
                    <a:pt x="808" y="2185"/>
                  </a:lnTo>
                  <a:lnTo>
                    <a:pt x="831" y="2213"/>
                  </a:lnTo>
                  <a:lnTo>
                    <a:pt x="831" y="2185"/>
                  </a:lnTo>
                  <a:lnTo>
                    <a:pt x="780" y="2133"/>
                  </a:lnTo>
                  <a:lnTo>
                    <a:pt x="755" y="2108"/>
                  </a:lnTo>
                  <a:lnTo>
                    <a:pt x="728" y="2081"/>
                  </a:lnTo>
                  <a:lnTo>
                    <a:pt x="703" y="2081"/>
                  </a:lnTo>
                  <a:lnTo>
                    <a:pt x="676" y="2029"/>
                  </a:lnTo>
                  <a:lnTo>
                    <a:pt x="651" y="2029"/>
                  </a:lnTo>
                  <a:lnTo>
                    <a:pt x="651" y="2004"/>
                  </a:lnTo>
                  <a:lnTo>
                    <a:pt x="651" y="1977"/>
                  </a:lnTo>
                  <a:lnTo>
                    <a:pt x="676" y="1977"/>
                  </a:lnTo>
                  <a:lnTo>
                    <a:pt x="703" y="2004"/>
                  </a:lnTo>
                  <a:lnTo>
                    <a:pt x="755" y="2004"/>
                  </a:lnTo>
                  <a:lnTo>
                    <a:pt x="755" y="2029"/>
                  </a:lnTo>
                  <a:lnTo>
                    <a:pt x="780" y="2056"/>
                  </a:lnTo>
                  <a:lnTo>
                    <a:pt x="808" y="2081"/>
                  </a:lnTo>
                  <a:lnTo>
                    <a:pt x="860" y="2081"/>
                  </a:lnTo>
                  <a:lnTo>
                    <a:pt x="883" y="2108"/>
                  </a:lnTo>
                  <a:lnTo>
                    <a:pt x="883" y="2133"/>
                  </a:lnTo>
                  <a:lnTo>
                    <a:pt x="883" y="2185"/>
                  </a:lnTo>
                  <a:lnTo>
                    <a:pt x="912" y="2185"/>
                  </a:lnTo>
                  <a:lnTo>
                    <a:pt x="935" y="2185"/>
                  </a:lnTo>
                  <a:lnTo>
                    <a:pt x="935" y="2213"/>
                  </a:lnTo>
                  <a:lnTo>
                    <a:pt x="935" y="2236"/>
                  </a:lnTo>
                  <a:lnTo>
                    <a:pt x="987" y="2288"/>
                  </a:lnTo>
                  <a:lnTo>
                    <a:pt x="1016" y="2288"/>
                  </a:lnTo>
                  <a:lnTo>
                    <a:pt x="987" y="2265"/>
                  </a:lnTo>
                  <a:lnTo>
                    <a:pt x="964" y="2236"/>
                  </a:lnTo>
                  <a:lnTo>
                    <a:pt x="964" y="2213"/>
                  </a:lnTo>
                  <a:lnTo>
                    <a:pt x="1016" y="2213"/>
                  </a:lnTo>
                  <a:lnTo>
                    <a:pt x="964" y="2185"/>
                  </a:lnTo>
                  <a:lnTo>
                    <a:pt x="987" y="2185"/>
                  </a:lnTo>
                  <a:lnTo>
                    <a:pt x="1016" y="2213"/>
                  </a:lnTo>
                  <a:lnTo>
                    <a:pt x="1016" y="2185"/>
                  </a:lnTo>
                  <a:lnTo>
                    <a:pt x="1039" y="2185"/>
                  </a:lnTo>
                  <a:lnTo>
                    <a:pt x="1068" y="2185"/>
                  </a:lnTo>
                  <a:lnTo>
                    <a:pt x="1091" y="2160"/>
                  </a:lnTo>
                  <a:lnTo>
                    <a:pt x="1091" y="2133"/>
                  </a:lnTo>
                  <a:lnTo>
                    <a:pt x="1119" y="2133"/>
                  </a:lnTo>
                  <a:lnTo>
                    <a:pt x="1144" y="2108"/>
                  </a:lnTo>
                  <a:lnTo>
                    <a:pt x="1119" y="2081"/>
                  </a:lnTo>
                  <a:lnTo>
                    <a:pt x="1144" y="2056"/>
                  </a:lnTo>
                  <a:lnTo>
                    <a:pt x="1144" y="2029"/>
                  </a:lnTo>
                  <a:lnTo>
                    <a:pt x="1144" y="2004"/>
                  </a:lnTo>
                  <a:lnTo>
                    <a:pt x="1171" y="2004"/>
                  </a:lnTo>
                  <a:lnTo>
                    <a:pt x="1196" y="2004"/>
                  </a:lnTo>
                  <a:lnTo>
                    <a:pt x="1223" y="1952"/>
                  </a:lnTo>
                  <a:lnTo>
                    <a:pt x="1248" y="1952"/>
                  </a:lnTo>
                  <a:lnTo>
                    <a:pt x="1275" y="1952"/>
                  </a:lnTo>
                  <a:lnTo>
                    <a:pt x="1275" y="1977"/>
                  </a:lnTo>
                  <a:lnTo>
                    <a:pt x="1300" y="2004"/>
                  </a:lnTo>
                  <a:lnTo>
                    <a:pt x="1327" y="2004"/>
                  </a:lnTo>
                  <a:lnTo>
                    <a:pt x="1300" y="1977"/>
                  </a:lnTo>
                  <a:lnTo>
                    <a:pt x="1300" y="1952"/>
                  </a:lnTo>
                  <a:lnTo>
                    <a:pt x="1327" y="1952"/>
                  </a:lnTo>
                  <a:lnTo>
                    <a:pt x="1379" y="1952"/>
                  </a:lnTo>
                  <a:lnTo>
                    <a:pt x="1404" y="1925"/>
                  </a:lnTo>
                  <a:lnTo>
                    <a:pt x="1432" y="1901"/>
                  </a:lnTo>
                  <a:lnTo>
                    <a:pt x="1459" y="1872"/>
                  </a:lnTo>
                  <a:lnTo>
                    <a:pt x="1459" y="1877"/>
                  </a:lnTo>
                  <a:lnTo>
                    <a:pt x="1432" y="1901"/>
                  </a:lnTo>
                  <a:lnTo>
                    <a:pt x="1407" y="1925"/>
                  </a:lnTo>
                  <a:lnTo>
                    <a:pt x="1459" y="1925"/>
                  </a:lnTo>
                  <a:lnTo>
                    <a:pt x="1459" y="1952"/>
                  </a:lnTo>
                  <a:lnTo>
                    <a:pt x="1432" y="2004"/>
                  </a:lnTo>
                  <a:lnTo>
                    <a:pt x="1459" y="2033"/>
                  </a:lnTo>
                  <a:lnTo>
                    <a:pt x="1484" y="2056"/>
                  </a:lnTo>
                  <a:lnTo>
                    <a:pt x="1536" y="2081"/>
                  </a:lnTo>
                  <a:lnTo>
                    <a:pt x="1563" y="2133"/>
                  </a:lnTo>
                  <a:lnTo>
                    <a:pt x="1563" y="2160"/>
                  </a:lnTo>
                  <a:lnTo>
                    <a:pt x="1507" y="2160"/>
                  </a:lnTo>
                  <a:lnTo>
                    <a:pt x="1484" y="2185"/>
                  </a:lnTo>
                  <a:lnTo>
                    <a:pt x="1459" y="2185"/>
                  </a:lnTo>
                  <a:lnTo>
                    <a:pt x="1327" y="2133"/>
                  </a:lnTo>
                  <a:lnTo>
                    <a:pt x="1275" y="2133"/>
                  </a:lnTo>
                  <a:lnTo>
                    <a:pt x="1223" y="2160"/>
                  </a:lnTo>
                  <a:lnTo>
                    <a:pt x="1171" y="2185"/>
                  </a:lnTo>
                  <a:lnTo>
                    <a:pt x="1144" y="2185"/>
                  </a:lnTo>
                  <a:lnTo>
                    <a:pt x="1171" y="2213"/>
                  </a:lnTo>
                  <a:lnTo>
                    <a:pt x="1119" y="2185"/>
                  </a:lnTo>
                  <a:lnTo>
                    <a:pt x="1119" y="2213"/>
                  </a:lnTo>
                  <a:lnTo>
                    <a:pt x="1119" y="2236"/>
                  </a:lnTo>
                  <a:lnTo>
                    <a:pt x="1091" y="2288"/>
                  </a:lnTo>
                  <a:lnTo>
                    <a:pt x="1119" y="2288"/>
                  </a:lnTo>
                  <a:lnTo>
                    <a:pt x="1144" y="2317"/>
                  </a:lnTo>
                  <a:lnTo>
                    <a:pt x="1171" y="2340"/>
                  </a:lnTo>
                  <a:lnTo>
                    <a:pt x="1196" y="2369"/>
                  </a:lnTo>
                  <a:lnTo>
                    <a:pt x="1275" y="2340"/>
                  </a:lnTo>
                  <a:lnTo>
                    <a:pt x="1275" y="2369"/>
                  </a:lnTo>
                  <a:lnTo>
                    <a:pt x="1300" y="2369"/>
                  </a:lnTo>
                  <a:lnTo>
                    <a:pt x="1352" y="2369"/>
                  </a:lnTo>
                  <a:lnTo>
                    <a:pt x="1379" y="2369"/>
                  </a:lnTo>
                  <a:lnTo>
                    <a:pt x="1404" y="2392"/>
                  </a:lnTo>
                  <a:lnTo>
                    <a:pt x="1379" y="2421"/>
                  </a:lnTo>
                  <a:lnTo>
                    <a:pt x="1404" y="2444"/>
                  </a:lnTo>
                  <a:lnTo>
                    <a:pt x="1404" y="2472"/>
                  </a:lnTo>
                  <a:lnTo>
                    <a:pt x="1379" y="2495"/>
                  </a:lnTo>
                  <a:lnTo>
                    <a:pt x="1352" y="2524"/>
                  </a:lnTo>
                  <a:lnTo>
                    <a:pt x="1359" y="2620"/>
                  </a:lnTo>
                  <a:lnTo>
                    <a:pt x="1379" y="2680"/>
                  </a:lnTo>
                  <a:lnTo>
                    <a:pt x="1459" y="2756"/>
                  </a:lnTo>
                  <a:lnTo>
                    <a:pt x="1459" y="2783"/>
                  </a:lnTo>
                  <a:lnTo>
                    <a:pt x="1484" y="2889"/>
                  </a:lnTo>
                  <a:lnTo>
                    <a:pt x="1563" y="2968"/>
                  </a:lnTo>
                  <a:lnTo>
                    <a:pt x="1615" y="3096"/>
                  </a:lnTo>
                  <a:lnTo>
                    <a:pt x="1615" y="3148"/>
                  </a:lnTo>
                  <a:lnTo>
                    <a:pt x="1663" y="3173"/>
                  </a:lnTo>
                  <a:lnTo>
                    <a:pt x="1720" y="3148"/>
                  </a:lnTo>
                  <a:lnTo>
                    <a:pt x="1772" y="3125"/>
                  </a:lnTo>
                  <a:lnTo>
                    <a:pt x="1795" y="3125"/>
                  </a:lnTo>
                  <a:lnTo>
                    <a:pt x="1899" y="3096"/>
                  </a:lnTo>
                  <a:lnTo>
                    <a:pt x="1928" y="3071"/>
                  </a:lnTo>
                  <a:lnTo>
                    <a:pt x="1980" y="3044"/>
                  </a:lnTo>
                  <a:lnTo>
                    <a:pt x="2031" y="3016"/>
                  </a:lnTo>
                  <a:lnTo>
                    <a:pt x="2056" y="2993"/>
                  </a:lnTo>
                  <a:lnTo>
                    <a:pt x="2083" y="2941"/>
                  </a:lnTo>
                  <a:lnTo>
                    <a:pt x="2135" y="2912"/>
                  </a:lnTo>
                  <a:lnTo>
                    <a:pt x="2135" y="2889"/>
                  </a:lnTo>
                  <a:lnTo>
                    <a:pt x="2108" y="2860"/>
                  </a:lnTo>
                  <a:lnTo>
                    <a:pt x="2083" y="2837"/>
                  </a:lnTo>
                  <a:lnTo>
                    <a:pt x="2031" y="2812"/>
                  </a:lnTo>
                  <a:lnTo>
                    <a:pt x="2003" y="2837"/>
                  </a:lnTo>
                  <a:lnTo>
                    <a:pt x="2003" y="2860"/>
                  </a:lnTo>
                  <a:lnTo>
                    <a:pt x="2003" y="2912"/>
                  </a:lnTo>
                  <a:lnTo>
                    <a:pt x="1980" y="2860"/>
                  </a:lnTo>
                  <a:lnTo>
                    <a:pt x="2031" y="2812"/>
                  </a:lnTo>
                  <a:lnTo>
                    <a:pt x="2003" y="2783"/>
                  </a:lnTo>
                  <a:lnTo>
                    <a:pt x="1980" y="2783"/>
                  </a:lnTo>
                  <a:lnTo>
                    <a:pt x="1980" y="2812"/>
                  </a:lnTo>
                  <a:lnTo>
                    <a:pt x="1899" y="2783"/>
                  </a:lnTo>
                  <a:lnTo>
                    <a:pt x="1876" y="2783"/>
                  </a:lnTo>
                  <a:lnTo>
                    <a:pt x="1847" y="2732"/>
                  </a:lnTo>
                  <a:lnTo>
                    <a:pt x="1847" y="2705"/>
                  </a:lnTo>
                  <a:lnTo>
                    <a:pt x="1795" y="2653"/>
                  </a:lnTo>
                  <a:lnTo>
                    <a:pt x="1772" y="2601"/>
                  </a:lnTo>
                  <a:lnTo>
                    <a:pt x="1795" y="2601"/>
                  </a:lnTo>
                  <a:lnTo>
                    <a:pt x="1847" y="2601"/>
                  </a:lnTo>
                  <a:lnTo>
                    <a:pt x="1876" y="2653"/>
                  </a:lnTo>
                  <a:lnTo>
                    <a:pt x="1899" y="2680"/>
                  </a:lnTo>
                  <a:lnTo>
                    <a:pt x="1951" y="2705"/>
                  </a:lnTo>
                  <a:lnTo>
                    <a:pt x="1980" y="2732"/>
                  </a:lnTo>
                  <a:lnTo>
                    <a:pt x="2056" y="2705"/>
                  </a:lnTo>
                  <a:lnTo>
                    <a:pt x="2056" y="2756"/>
                  </a:lnTo>
                  <a:lnTo>
                    <a:pt x="2160" y="2756"/>
                  </a:lnTo>
                  <a:lnTo>
                    <a:pt x="2191" y="2772"/>
                  </a:lnTo>
                  <a:lnTo>
                    <a:pt x="2187" y="2783"/>
                  </a:lnTo>
                  <a:lnTo>
                    <a:pt x="2239" y="2783"/>
                  </a:lnTo>
                  <a:lnTo>
                    <a:pt x="2344" y="2783"/>
                  </a:lnTo>
                  <a:lnTo>
                    <a:pt x="2367" y="2783"/>
                  </a:lnTo>
                  <a:lnTo>
                    <a:pt x="2396" y="2837"/>
                  </a:lnTo>
                  <a:lnTo>
                    <a:pt x="2419" y="2860"/>
                  </a:lnTo>
                  <a:lnTo>
                    <a:pt x="2471" y="2860"/>
                  </a:lnTo>
                  <a:lnTo>
                    <a:pt x="2448" y="2889"/>
                  </a:lnTo>
                  <a:lnTo>
                    <a:pt x="2471" y="2912"/>
                  </a:lnTo>
                  <a:lnTo>
                    <a:pt x="2500" y="2912"/>
                  </a:lnTo>
                  <a:lnTo>
                    <a:pt x="2523" y="2860"/>
                  </a:lnTo>
                  <a:lnTo>
                    <a:pt x="2552" y="2912"/>
                  </a:lnTo>
                  <a:lnTo>
                    <a:pt x="2552" y="3016"/>
                  </a:lnTo>
                  <a:lnTo>
                    <a:pt x="2627" y="3173"/>
                  </a:lnTo>
                  <a:lnTo>
                    <a:pt x="2655" y="3280"/>
                  </a:lnTo>
                  <a:lnTo>
                    <a:pt x="2707" y="3328"/>
                  </a:lnTo>
                  <a:lnTo>
                    <a:pt x="2759" y="3303"/>
                  </a:lnTo>
                  <a:lnTo>
                    <a:pt x="2836" y="3173"/>
                  </a:lnTo>
                  <a:lnTo>
                    <a:pt x="2863" y="3071"/>
                  </a:lnTo>
                  <a:lnTo>
                    <a:pt x="2888" y="3044"/>
                  </a:lnTo>
                  <a:lnTo>
                    <a:pt x="2991" y="2968"/>
                  </a:lnTo>
                  <a:lnTo>
                    <a:pt x="3020" y="2912"/>
                  </a:lnTo>
                  <a:lnTo>
                    <a:pt x="3043" y="2912"/>
                  </a:lnTo>
                  <a:lnTo>
                    <a:pt x="3043" y="2860"/>
                  </a:lnTo>
                  <a:lnTo>
                    <a:pt x="3043" y="2837"/>
                  </a:lnTo>
                  <a:lnTo>
                    <a:pt x="3072" y="2812"/>
                  </a:lnTo>
                  <a:lnTo>
                    <a:pt x="3095" y="2860"/>
                  </a:lnTo>
                  <a:lnTo>
                    <a:pt x="3124" y="2889"/>
                  </a:lnTo>
                  <a:lnTo>
                    <a:pt x="3147" y="2912"/>
                  </a:lnTo>
                  <a:lnTo>
                    <a:pt x="3176" y="2968"/>
                  </a:lnTo>
                  <a:lnTo>
                    <a:pt x="3199" y="2993"/>
                  </a:lnTo>
                  <a:lnTo>
                    <a:pt x="3227" y="3071"/>
                  </a:lnTo>
                  <a:lnTo>
                    <a:pt x="3251" y="3096"/>
                  </a:lnTo>
                  <a:lnTo>
                    <a:pt x="3279" y="3125"/>
                  </a:lnTo>
                  <a:lnTo>
                    <a:pt x="3304" y="3071"/>
                  </a:lnTo>
                  <a:lnTo>
                    <a:pt x="3331" y="3096"/>
                  </a:lnTo>
                  <a:lnTo>
                    <a:pt x="3331" y="3125"/>
                  </a:lnTo>
                  <a:lnTo>
                    <a:pt x="3356" y="3177"/>
                  </a:lnTo>
                  <a:lnTo>
                    <a:pt x="3356" y="3229"/>
                  </a:lnTo>
                  <a:lnTo>
                    <a:pt x="3383" y="3280"/>
                  </a:lnTo>
                  <a:lnTo>
                    <a:pt x="3383" y="3332"/>
                  </a:lnTo>
                  <a:lnTo>
                    <a:pt x="3383" y="3355"/>
                  </a:lnTo>
                  <a:lnTo>
                    <a:pt x="3408" y="3384"/>
                  </a:lnTo>
                  <a:lnTo>
                    <a:pt x="3435" y="3436"/>
                  </a:lnTo>
                  <a:lnTo>
                    <a:pt x="3408" y="3436"/>
                  </a:lnTo>
                  <a:lnTo>
                    <a:pt x="3435" y="3488"/>
                  </a:lnTo>
                  <a:lnTo>
                    <a:pt x="3460" y="3564"/>
                  </a:lnTo>
                  <a:lnTo>
                    <a:pt x="3539" y="3616"/>
                  </a:lnTo>
                  <a:lnTo>
                    <a:pt x="3539" y="3564"/>
                  </a:lnTo>
                  <a:lnTo>
                    <a:pt x="3512" y="3540"/>
                  </a:lnTo>
                  <a:lnTo>
                    <a:pt x="3512" y="3488"/>
                  </a:lnTo>
                  <a:lnTo>
                    <a:pt x="3487" y="3436"/>
                  </a:lnTo>
                  <a:lnTo>
                    <a:pt x="3460" y="3436"/>
                  </a:lnTo>
                  <a:lnTo>
                    <a:pt x="3435" y="3384"/>
                  </a:lnTo>
                  <a:lnTo>
                    <a:pt x="3408" y="3355"/>
                  </a:lnTo>
                  <a:lnTo>
                    <a:pt x="3435" y="3280"/>
                  </a:lnTo>
                  <a:lnTo>
                    <a:pt x="3435" y="3229"/>
                  </a:lnTo>
                  <a:lnTo>
                    <a:pt x="3460" y="3229"/>
                  </a:lnTo>
                  <a:lnTo>
                    <a:pt x="3487" y="3229"/>
                  </a:lnTo>
                  <a:lnTo>
                    <a:pt x="3487" y="3280"/>
                  </a:lnTo>
                  <a:lnTo>
                    <a:pt x="3512" y="3303"/>
                  </a:lnTo>
                  <a:lnTo>
                    <a:pt x="3563" y="3332"/>
                  </a:lnTo>
                  <a:lnTo>
                    <a:pt x="3563" y="3355"/>
                  </a:lnTo>
                  <a:lnTo>
                    <a:pt x="3592" y="3355"/>
                  </a:lnTo>
                  <a:lnTo>
                    <a:pt x="3667" y="3280"/>
                  </a:lnTo>
                  <a:lnTo>
                    <a:pt x="3696" y="3280"/>
                  </a:lnTo>
                  <a:lnTo>
                    <a:pt x="3696" y="3229"/>
                  </a:lnTo>
                  <a:lnTo>
                    <a:pt x="3696" y="3148"/>
                  </a:lnTo>
                  <a:lnTo>
                    <a:pt x="3667" y="3125"/>
                  </a:lnTo>
                  <a:lnTo>
                    <a:pt x="3667" y="3096"/>
                  </a:lnTo>
                  <a:lnTo>
                    <a:pt x="3615" y="3096"/>
                  </a:lnTo>
                  <a:lnTo>
                    <a:pt x="3615" y="3071"/>
                  </a:lnTo>
                  <a:lnTo>
                    <a:pt x="3592" y="3019"/>
                  </a:lnTo>
                  <a:lnTo>
                    <a:pt x="3592" y="2968"/>
                  </a:lnTo>
                  <a:lnTo>
                    <a:pt x="3615" y="2941"/>
                  </a:lnTo>
                  <a:lnTo>
                    <a:pt x="3615" y="2912"/>
                  </a:lnTo>
                  <a:lnTo>
                    <a:pt x="3667" y="2912"/>
                  </a:lnTo>
                  <a:lnTo>
                    <a:pt x="3667" y="2968"/>
                  </a:lnTo>
                  <a:lnTo>
                    <a:pt x="3719" y="2968"/>
                  </a:lnTo>
                  <a:lnTo>
                    <a:pt x="3719" y="2912"/>
                  </a:lnTo>
                  <a:lnTo>
                    <a:pt x="3771" y="2912"/>
                  </a:lnTo>
                  <a:lnTo>
                    <a:pt x="3800" y="2889"/>
                  </a:lnTo>
                  <a:lnTo>
                    <a:pt x="3823" y="2889"/>
                  </a:lnTo>
                  <a:lnTo>
                    <a:pt x="3903" y="2864"/>
                  </a:lnTo>
                  <a:lnTo>
                    <a:pt x="3955" y="2783"/>
                  </a:lnTo>
                  <a:lnTo>
                    <a:pt x="3955" y="2756"/>
                  </a:lnTo>
                  <a:lnTo>
                    <a:pt x="3980" y="2732"/>
                  </a:lnTo>
                  <a:lnTo>
                    <a:pt x="4007" y="2680"/>
                  </a:lnTo>
                  <a:lnTo>
                    <a:pt x="4032" y="2628"/>
                  </a:lnTo>
                  <a:lnTo>
                    <a:pt x="4032" y="2601"/>
                  </a:lnTo>
                  <a:lnTo>
                    <a:pt x="3980" y="2628"/>
                  </a:lnTo>
                  <a:lnTo>
                    <a:pt x="3955" y="2601"/>
                  </a:lnTo>
                  <a:lnTo>
                    <a:pt x="3980" y="2576"/>
                  </a:lnTo>
                  <a:lnTo>
                    <a:pt x="3955" y="2524"/>
                  </a:lnTo>
                  <a:lnTo>
                    <a:pt x="4007" y="2524"/>
                  </a:lnTo>
                  <a:lnTo>
                    <a:pt x="3980" y="2501"/>
                  </a:lnTo>
                  <a:lnTo>
                    <a:pt x="3955" y="2421"/>
                  </a:lnTo>
                  <a:lnTo>
                    <a:pt x="3928" y="2396"/>
                  </a:lnTo>
                  <a:lnTo>
                    <a:pt x="3980" y="2317"/>
                  </a:lnTo>
                  <a:lnTo>
                    <a:pt x="3955" y="2288"/>
                  </a:lnTo>
                  <a:lnTo>
                    <a:pt x="3928" y="2288"/>
                  </a:lnTo>
                  <a:lnTo>
                    <a:pt x="3903" y="2317"/>
                  </a:lnTo>
                  <a:lnTo>
                    <a:pt x="3875" y="2288"/>
                  </a:lnTo>
                  <a:lnTo>
                    <a:pt x="3851" y="2265"/>
                  </a:lnTo>
                  <a:lnTo>
                    <a:pt x="3851" y="2236"/>
                  </a:lnTo>
                  <a:lnTo>
                    <a:pt x="3903" y="2213"/>
                  </a:lnTo>
                  <a:lnTo>
                    <a:pt x="3955" y="2160"/>
                  </a:lnTo>
                  <a:lnTo>
                    <a:pt x="3955" y="2213"/>
                  </a:lnTo>
                  <a:lnTo>
                    <a:pt x="4007" y="2213"/>
                  </a:lnTo>
                  <a:lnTo>
                    <a:pt x="4032" y="2188"/>
                  </a:lnTo>
                  <a:lnTo>
                    <a:pt x="4072" y="2148"/>
                  </a:lnTo>
                  <a:lnTo>
                    <a:pt x="4059" y="2188"/>
                  </a:lnTo>
                  <a:lnTo>
                    <a:pt x="4084" y="2213"/>
                  </a:lnTo>
                  <a:lnTo>
                    <a:pt x="4084" y="2265"/>
                  </a:lnTo>
                  <a:lnTo>
                    <a:pt x="4111" y="2265"/>
                  </a:lnTo>
                  <a:lnTo>
                    <a:pt x="4136" y="2288"/>
                  </a:lnTo>
                  <a:lnTo>
                    <a:pt x="4162" y="2344"/>
                  </a:lnTo>
                  <a:lnTo>
                    <a:pt x="4162" y="2396"/>
                  </a:lnTo>
                  <a:lnTo>
                    <a:pt x="4216" y="2396"/>
                  </a:lnTo>
                  <a:lnTo>
                    <a:pt x="4216" y="2344"/>
                  </a:lnTo>
                  <a:lnTo>
                    <a:pt x="4187" y="2288"/>
                  </a:lnTo>
                  <a:lnTo>
                    <a:pt x="4162" y="2236"/>
                  </a:lnTo>
                  <a:lnTo>
                    <a:pt x="4136" y="2213"/>
                  </a:lnTo>
                  <a:lnTo>
                    <a:pt x="4162" y="2188"/>
                  </a:lnTo>
                  <a:lnTo>
                    <a:pt x="4187" y="2133"/>
                  </a:lnTo>
                  <a:lnTo>
                    <a:pt x="4187" y="2081"/>
                  </a:lnTo>
                  <a:lnTo>
                    <a:pt x="4216" y="2033"/>
                  </a:lnTo>
                  <a:lnTo>
                    <a:pt x="4228" y="2016"/>
                  </a:lnTo>
                  <a:lnTo>
                    <a:pt x="4239" y="2033"/>
                  </a:lnTo>
                  <a:lnTo>
                    <a:pt x="4268" y="2056"/>
                  </a:lnTo>
                  <a:lnTo>
                    <a:pt x="4291" y="2033"/>
                  </a:lnTo>
                  <a:lnTo>
                    <a:pt x="4395" y="1901"/>
                  </a:lnTo>
                  <a:lnTo>
                    <a:pt x="4424" y="1561"/>
                  </a:lnTo>
                  <a:lnTo>
                    <a:pt x="4395" y="1536"/>
                  </a:lnTo>
                  <a:lnTo>
                    <a:pt x="4395" y="1457"/>
                  </a:lnTo>
                  <a:lnTo>
                    <a:pt x="4347" y="1457"/>
                  </a:lnTo>
                  <a:lnTo>
                    <a:pt x="4239" y="1484"/>
                  </a:lnTo>
                  <a:lnTo>
                    <a:pt x="4239" y="1432"/>
                  </a:lnTo>
                  <a:lnTo>
                    <a:pt x="4187" y="1405"/>
                  </a:lnTo>
                  <a:lnTo>
                    <a:pt x="4239" y="1248"/>
                  </a:lnTo>
                  <a:lnTo>
                    <a:pt x="4239" y="1173"/>
                  </a:lnTo>
                  <a:lnTo>
                    <a:pt x="4291" y="1121"/>
                  </a:lnTo>
                  <a:lnTo>
                    <a:pt x="4395" y="1093"/>
                  </a:lnTo>
                  <a:lnTo>
                    <a:pt x="4447" y="1069"/>
                  </a:lnTo>
                  <a:lnTo>
                    <a:pt x="4527" y="1041"/>
                  </a:lnTo>
                  <a:lnTo>
                    <a:pt x="4504" y="1093"/>
                  </a:lnTo>
                  <a:lnTo>
                    <a:pt x="4552" y="1069"/>
                  </a:lnTo>
                  <a:lnTo>
                    <a:pt x="4604" y="1041"/>
                  </a:lnTo>
                  <a:lnTo>
                    <a:pt x="4579" y="1018"/>
                  </a:lnTo>
                  <a:lnTo>
                    <a:pt x="4604" y="885"/>
                  </a:lnTo>
                  <a:lnTo>
                    <a:pt x="4660" y="860"/>
                  </a:lnTo>
                  <a:lnTo>
                    <a:pt x="4683" y="912"/>
                  </a:lnTo>
                  <a:lnTo>
                    <a:pt x="4735" y="808"/>
                  </a:lnTo>
                  <a:lnTo>
                    <a:pt x="4760" y="885"/>
                  </a:lnTo>
                  <a:lnTo>
                    <a:pt x="4786" y="912"/>
                  </a:lnTo>
                  <a:lnTo>
                    <a:pt x="4760" y="966"/>
                  </a:lnTo>
                  <a:lnTo>
                    <a:pt x="4735" y="1093"/>
                  </a:lnTo>
                  <a:lnTo>
                    <a:pt x="4712" y="1144"/>
                  </a:lnTo>
                  <a:lnTo>
                    <a:pt x="4712" y="1248"/>
                  </a:lnTo>
                  <a:lnTo>
                    <a:pt x="4760" y="1432"/>
                  </a:lnTo>
                  <a:lnTo>
                    <a:pt x="4815" y="1457"/>
                  </a:lnTo>
                  <a:lnTo>
                    <a:pt x="4840" y="1561"/>
                  </a:lnTo>
                  <a:lnTo>
                    <a:pt x="4892" y="1457"/>
                  </a:lnTo>
                  <a:lnTo>
                    <a:pt x="4892" y="1405"/>
                  </a:lnTo>
                  <a:lnTo>
                    <a:pt x="4919" y="1405"/>
                  </a:lnTo>
                  <a:lnTo>
                    <a:pt x="4892" y="1354"/>
                  </a:lnTo>
                  <a:lnTo>
                    <a:pt x="4919" y="1302"/>
                  </a:lnTo>
                  <a:lnTo>
                    <a:pt x="4867" y="1248"/>
                  </a:lnTo>
                  <a:lnTo>
                    <a:pt x="4892" y="1196"/>
                  </a:lnTo>
                  <a:lnTo>
                    <a:pt x="4867" y="1093"/>
                  </a:lnTo>
                  <a:lnTo>
                    <a:pt x="4840" y="1121"/>
                  </a:lnTo>
                  <a:lnTo>
                    <a:pt x="4815" y="989"/>
                  </a:lnTo>
                  <a:lnTo>
                    <a:pt x="4815" y="966"/>
                  </a:lnTo>
                  <a:lnTo>
                    <a:pt x="4892" y="912"/>
                  </a:lnTo>
                  <a:lnTo>
                    <a:pt x="4944" y="885"/>
                  </a:lnTo>
                  <a:lnTo>
                    <a:pt x="4996" y="966"/>
                  </a:lnTo>
                  <a:lnTo>
                    <a:pt x="5023" y="730"/>
                  </a:lnTo>
                  <a:lnTo>
                    <a:pt x="5128" y="678"/>
                  </a:lnTo>
                  <a:lnTo>
                    <a:pt x="5074" y="653"/>
                  </a:lnTo>
                  <a:lnTo>
                    <a:pt x="5074" y="624"/>
                  </a:lnTo>
                  <a:lnTo>
                    <a:pt x="5023" y="624"/>
                  </a:lnTo>
                  <a:lnTo>
                    <a:pt x="4971" y="572"/>
                  </a:lnTo>
                  <a:lnTo>
                    <a:pt x="4919" y="521"/>
                  </a:lnTo>
                  <a:lnTo>
                    <a:pt x="4971" y="521"/>
                  </a:lnTo>
                  <a:lnTo>
                    <a:pt x="5048" y="498"/>
                  </a:lnTo>
                  <a:lnTo>
                    <a:pt x="4996" y="469"/>
                  </a:lnTo>
                  <a:lnTo>
                    <a:pt x="4996" y="394"/>
                  </a:lnTo>
                  <a:lnTo>
                    <a:pt x="5023" y="417"/>
                  </a:lnTo>
                  <a:lnTo>
                    <a:pt x="5128" y="446"/>
                  </a:lnTo>
                  <a:lnTo>
                    <a:pt x="5180" y="469"/>
                  </a:lnTo>
                  <a:lnTo>
                    <a:pt x="5255" y="469"/>
                  </a:lnTo>
                  <a:lnTo>
                    <a:pt x="5307" y="417"/>
                  </a:lnTo>
                  <a:lnTo>
                    <a:pt x="5203" y="394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gray">
            <a:xfrm>
              <a:off x="2747" y="1903"/>
              <a:ext cx="40" cy="38"/>
            </a:xfrm>
            <a:custGeom>
              <a:avLst/>
              <a:gdLst>
                <a:gd name="T0" fmla="*/ 0 w 81"/>
                <a:gd name="T1" fmla="*/ 52 h 75"/>
                <a:gd name="T2" fmla="*/ 29 w 81"/>
                <a:gd name="T3" fmla="*/ 75 h 75"/>
                <a:gd name="T4" fmla="*/ 81 w 81"/>
                <a:gd name="T5" fmla="*/ 75 h 75"/>
                <a:gd name="T6" fmla="*/ 81 w 81"/>
                <a:gd name="T7" fmla="*/ 52 h 75"/>
                <a:gd name="T8" fmla="*/ 52 w 81"/>
                <a:gd name="T9" fmla="*/ 23 h 75"/>
                <a:gd name="T10" fmla="*/ 0 w 81"/>
                <a:gd name="T11" fmla="*/ 0 h 75"/>
                <a:gd name="T12" fmla="*/ 0 w 81"/>
                <a:gd name="T13" fmla="*/ 5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75">
                  <a:moveTo>
                    <a:pt x="0" y="52"/>
                  </a:moveTo>
                  <a:lnTo>
                    <a:pt x="29" y="75"/>
                  </a:lnTo>
                  <a:lnTo>
                    <a:pt x="81" y="75"/>
                  </a:lnTo>
                  <a:lnTo>
                    <a:pt x="81" y="52"/>
                  </a:lnTo>
                  <a:lnTo>
                    <a:pt x="52" y="23"/>
                  </a:lnTo>
                  <a:lnTo>
                    <a:pt x="0" y="0"/>
                  </a:lnTo>
                  <a:lnTo>
                    <a:pt x="0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gray">
            <a:xfrm>
              <a:off x="2540" y="1811"/>
              <a:ext cx="26" cy="26"/>
            </a:xfrm>
            <a:custGeom>
              <a:avLst/>
              <a:gdLst>
                <a:gd name="T0" fmla="*/ 27 w 52"/>
                <a:gd name="T1" fmla="*/ 52 h 52"/>
                <a:gd name="T2" fmla="*/ 52 w 52"/>
                <a:gd name="T3" fmla="*/ 52 h 52"/>
                <a:gd name="T4" fmla="*/ 52 w 52"/>
                <a:gd name="T5" fmla="*/ 27 h 52"/>
                <a:gd name="T6" fmla="*/ 52 w 52"/>
                <a:gd name="T7" fmla="*/ 0 h 52"/>
                <a:gd name="T8" fmla="*/ 0 w 52"/>
                <a:gd name="T9" fmla="*/ 27 h 52"/>
                <a:gd name="T10" fmla="*/ 27 w 52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27" y="52"/>
                  </a:moveTo>
                  <a:lnTo>
                    <a:pt x="52" y="52"/>
                  </a:lnTo>
                  <a:lnTo>
                    <a:pt x="52" y="27"/>
                  </a:lnTo>
                  <a:lnTo>
                    <a:pt x="52" y="0"/>
                  </a:lnTo>
                  <a:lnTo>
                    <a:pt x="0" y="27"/>
                  </a:lnTo>
                  <a:lnTo>
                    <a:pt x="27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gray">
            <a:xfrm>
              <a:off x="4908" y="3489"/>
              <a:ext cx="156" cy="130"/>
            </a:xfrm>
            <a:custGeom>
              <a:avLst/>
              <a:gdLst>
                <a:gd name="T0" fmla="*/ 40 w 156"/>
                <a:gd name="T1" fmla="*/ 118 h 130"/>
                <a:gd name="T2" fmla="*/ 26 w 156"/>
                <a:gd name="T3" fmla="*/ 118 h 130"/>
                <a:gd name="T4" fmla="*/ 14 w 156"/>
                <a:gd name="T5" fmla="*/ 104 h 130"/>
                <a:gd name="T6" fmla="*/ 0 w 156"/>
                <a:gd name="T7" fmla="*/ 104 h 130"/>
                <a:gd name="T8" fmla="*/ 0 w 156"/>
                <a:gd name="T9" fmla="*/ 92 h 130"/>
                <a:gd name="T10" fmla="*/ 26 w 156"/>
                <a:gd name="T11" fmla="*/ 78 h 130"/>
                <a:gd name="T12" fmla="*/ 26 w 156"/>
                <a:gd name="T13" fmla="*/ 66 h 130"/>
                <a:gd name="T14" fmla="*/ 52 w 156"/>
                <a:gd name="T15" fmla="*/ 66 h 130"/>
                <a:gd name="T16" fmla="*/ 78 w 156"/>
                <a:gd name="T17" fmla="*/ 52 h 130"/>
                <a:gd name="T18" fmla="*/ 78 w 156"/>
                <a:gd name="T19" fmla="*/ 40 h 130"/>
                <a:gd name="T20" fmla="*/ 92 w 156"/>
                <a:gd name="T21" fmla="*/ 26 h 130"/>
                <a:gd name="T22" fmla="*/ 130 w 156"/>
                <a:gd name="T23" fmla="*/ 14 h 130"/>
                <a:gd name="T24" fmla="*/ 130 w 156"/>
                <a:gd name="T25" fmla="*/ 0 h 130"/>
                <a:gd name="T26" fmla="*/ 144 w 156"/>
                <a:gd name="T27" fmla="*/ 0 h 130"/>
                <a:gd name="T28" fmla="*/ 144 w 156"/>
                <a:gd name="T29" fmla="*/ 26 h 130"/>
                <a:gd name="T30" fmla="*/ 156 w 156"/>
                <a:gd name="T31" fmla="*/ 26 h 130"/>
                <a:gd name="T32" fmla="*/ 144 w 156"/>
                <a:gd name="T33" fmla="*/ 52 h 130"/>
                <a:gd name="T34" fmla="*/ 130 w 156"/>
                <a:gd name="T35" fmla="*/ 52 h 130"/>
                <a:gd name="T36" fmla="*/ 118 w 156"/>
                <a:gd name="T37" fmla="*/ 66 h 130"/>
                <a:gd name="T38" fmla="*/ 104 w 156"/>
                <a:gd name="T39" fmla="*/ 78 h 130"/>
                <a:gd name="T40" fmla="*/ 92 w 156"/>
                <a:gd name="T41" fmla="*/ 66 h 130"/>
                <a:gd name="T42" fmla="*/ 92 w 156"/>
                <a:gd name="T43" fmla="*/ 78 h 130"/>
                <a:gd name="T44" fmla="*/ 78 w 156"/>
                <a:gd name="T45" fmla="*/ 92 h 130"/>
                <a:gd name="T46" fmla="*/ 78 w 156"/>
                <a:gd name="T47" fmla="*/ 104 h 130"/>
                <a:gd name="T48" fmla="*/ 66 w 156"/>
                <a:gd name="T49" fmla="*/ 118 h 130"/>
                <a:gd name="T50" fmla="*/ 52 w 156"/>
                <a:gd name="T51" fmla="*/ 118 h 130"/>
                <a:gd name="T52" fmla="*/ 52 w 156"/>
                <a:gd name="T53" fmla="*/ 130 h 130"/>
                <a:gd name="T54" fmla="*/ 40 w 156"/>
                <a:gd name="T55" fmla="*/ 118 h 130"/>
                <a:gd name="T56" fmla="*/ 40 w 156"/>
                <a:gd name="T57" fmla="*/ 11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56" h="130">
                  <a:moveTo>
                    <a:pt x="40" y="118"/>
                  </a:moveTo>
                  <a:lnTo>
                    <a:pt x="26" y="118"/>
                  </a:lnTo>
                  <a:lnTo>
                    <a:pt x="14" y="104"/>
                  </a:lnTo>
                  <a:lnTo>
                    <a:pt x="0" y="104"/>
                  </a:lnTo>
                  <a:lnTo>
                    <a:pt x="0" y="92"/>
                  </a:lnTo>
                  <a:lnTo>
                    <a:pt x="26" y="78"/>
                  </a:lnTo>
                  <a:lnTo>
                    <a:pt x="26" y="66"/>
                  </a:lnTo>
                  <a:lnTo>
                    <a:pt x="52" y="66"/>
                  </a:lnTo>
                  <a:lnTo>
                    <a:pt x="78" y="52"/>
                  </a:lnTo>
                  <a:lnTo>
                    <a:pt x="78" y="40"/>
                  </a:lnTo>
                  <a:lnTo>
                    <a:pt x="92" y="26"/>
                  </a:lnTo>
                  <a:lnTo>
                    <a:pt x="130" y="14"/>
                  </a:lnTo>
                  <a:lnTo>
                    <a:pt x="130" y="0"/>
                  </a:lnTo>
                  <a:lnTo>
                    <a:pt x="144" y="0"/>
                  </a:lnTo>
                  <a:lnTo>
                    <a:pt x="144" y="26"/>
                  </a:lnTo>
                  <a:lnTo>
                    <a:pt x="156" y="26"/>
                  </a:lnTo>
                  <a:lnTo>
                    <a:pt x="144" y="52"/>
                  </a:lnTo>
                  <a:lnTo>
                    <a:pt x="130" y="52"/>
                  </a:lnTo>
                  <a:lnTo>
                    <a:pt x="118" y="66"/>
                  </a:lnTo>
                  <a:lnTo>
                    <a:pt x="104" y="78"/>
                  </a:lnTo>
                  <a:lnTo>
                    <a:pt x="92" y="66"/>
                  </a:lnTo>
                  <a:lnTo>
                    <a:pt x="92" y="78"/>
                  </a:lnTo>
                  <a:lnTo>
                    <a:pt x="78" y="92"/>
                  </a:lnTo>
                  <a:lnTo>
                    <a:pt x="78" y="104"/>
                  </a:lnTo>
                  <a:lnTo>
                    <a:pt x="66" y="118"/>
                  </a:lnTo>
                  <a:lnTo>
                    <a:pt x="52" y="118"/>
                  </a:lnTo>
                  <a:lnTo>
                    <a:pt x="52" y="130"/>
                  </a:lnTo>
                  <a:lnTo>
                    <a:pt x="40" y="118"/>
                  </a:lnTo>
                  <a:lnTo>
                    <a:pt x="40" y="118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gray">
            <a:xfrm>
              <a:off x="5064" y="3385"/>
              <a:ext cx="66" cy="130"/>
            </a:xfrm>
            <a:custGeom>
              <a:avLst/>
              <a:gdLst>
                <a:gd name="T0" fmla="*/ 0 w 66"/>
                <a:gd name="T1" fmla="*/ 130 h 130"/>
                <a:gd name="T2" fmla="*/ 0 w 66"/>
                <a:gd name="T3" fmla="*/ 118 h 130"/>
                <a:gd name="T4" fmla="*/ 0 w 66"/>
                <a:gd name="T5" fmla="*/ 104 h 130"/>
                <a:gd name="T6" fmla="*/ 14 w 66"/>
                <a:gd name="T7" fmla="*/ 92 h 130"/>
                <a:gd name="T8" fmla="*/ 26 w 66"/>
                <a:gd name="T9" fmla="*/ 78 h 130"/>
                <a:gd name="T10" fmla="*/ 26 w 66"/>
                <a:gd name="T11" fmla="*/ 66 h 130"/>
                <a:gd name="T12" fmla="*/ 26 w 66"/>
                <a:gd name="T13" fmla="*/ 40 h 130"/>
                <a:gd name="T14" fmla="*/ 26 w 66"/>
                <a:gd name="T15" fmla="*/ 26 h 130"/>
                <a:gd name="T16" fmla="*/ 14 w 66"/>
                <a:gd name="T17" fmla="*/ 0 h 130"/>
                <a:gd name="T18" fmla="*/ 26 w 66"/>
                <a:gd name="T19" fmla="*/ 26 h 130"/>
                <a:gd name="T20" fmla="*/ 40 w 66"/>
                <a:gd name="T21" fmla="*/ 52 h 130"/>
                <a:gd name="T22" fmla="*/ 52 w 66"/>
                <a:gd name="T23" fmla="*/ 66 h 130"/>
                <a:gd name="T24" fmla="*/ 66 w 66"/>
                <a:gd name="T25" fmla="*/ 78 h 130"/>
                <a:gd name="T26" fmla="*/ 66 w 66"/>
                <a:gd name="T27" fmla="*/ 66 h 130"/>
                <a:gd name="T28" fmla="*/ 66 w 66"/>
                <a:gd name="T29" fmla="*/ 78 h 130"/>
                <a:gd name="T30" fmla="*/ 66 w 66"/>
                <a:gd name="T31" fmla="*/ 92 h 130"/>
                <a:gd name="T32" fmla="*/ 52 w 66"/>
                <a:gd name="T33" fmla="*/ 104 h 130"/>
                <a:gd name="T34" fmla="*/ 40 w 66"/>
                <a:gd name="T35" fmla="*/ 118 h 130"/>
                <a:gd name="T36" fmla="*/ 26 w 66"/>
                <a:gd name="T37" fmla="*/ 130 h 130"/>
                <a:gd name="T38" fmla="*/ 14 w 66"/>
                <a:gd name="T39" fmla="*/ 130 h 130"/>
                <a:gd name="T40" fmla="*/ 0 w 66"/>
                <a:gd name="T41" fmla="*/ 130 h 130"/>
                <a:gd name="T42" fmla="*/ 0 w 66"/>
                <a:gd name="T4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" h="130">
                  <a:moveTo>
                    <a:pt x="0" y="130"/>
                  </a:moveTo>
                  <a:lnTo>
                    <a:pt x="0" y="118"/>
                  </a:lnTo>
                  <a:lnTo>
                    <a:pt x="0" y="104"/>
                  </a:lnTo>
                  <a:lnTo>
                    <a:pt x="14" y="92"/>
                  </a:lnTo>
                  <a:lnTo>
                    <a:pt x="26" y="78"/>
                  </a:lnTo>
                  <a:lnTo>
                    <a:pt x="26" y="66"/>
                  </a:lnTo>
                  <a:lnTo>
                    <a:pt x="26" y="40"/>
                  </a:lnTo>
                  <a:lnTo>
                    <a:pt x="26" y="26"/>
                  </a:lnTo>
                  <a:lnTo>
                    <a:pt x="14" y="0"/>
                  </a:lnTo>
                  <a:lnTo>
                    <a:pt x="26" y="26"/>
                  </a:lnTo>
                  <a:lnTo>
                    <a:pt x="40" y="52"/>
                  </a:lnTo>
                  <a:lnTo>
                    <a:pt x="52" y="66"/>
                  </a:lnTo>
                  <a:lnTo>
                    <a:pt x="66" y="78"/>
                  </a:lnTo>
                  <a:lnTo>
                    <a:pt x="66" y="66"/>
                  </a:lnTo>
                  <a:lnTo>
                    <a:pt x="66" y="78"/>
                  </a:lnTo>
                  <a:lnTo>
                    <a:pt x="66" y="92"/>
                  </a:lnTo>
                  <a:lnTo>
                    <a:pt x="52" y="104"/>
                  </a:lnTo>
                  <a:lnTo>
                    <a:pt x="40" y="118"/>
                  </a:lnTo>
                  <a:lnTo>
                    <a:pt x="26" y="130"/>
                  </a:lnTo>
                  <a:lnTo>
                    <a:pt x="14" y="130"/>
                  </a:lnTo>
                  <a:lnTo>
                    <a:pt x="0" y="130"/>
                  </a:lnTo>
                  <a:lnTo>
                    <a:pt x="0" y="13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gray">
            <a:xfrm>
              <a:off x="4765" y="2786"/>
              <a:ext cx="79" cy="27"/>
            </a:xfrm>
            <a:custGeom>
              <a:avLst/>
              <a:gdLst>
                <a:gd name="T0" fmla="*/ 128 w 157"/>
                <a:gd name="T1" fmla="*/ 0 h 53"/>
                <a:gd name="T2" fmla="*/ 103 w 157"/>
                <a:gd name="T3" fmla="*/ 0 h 53"/>
                <a:gd name="T4" fmla="*/ 76 w 157"/>
                <a:gd name="T5" fmla="*/ 29 h 53"/>
                <a:gd name="T6" fmla="*/ 51 w 157"/>
                <a:gd name="T7" fmla="*/ 29 h 53"/>
                <a:gd name="T8" fmla="*/ 51 w 157"/>
                <a:gd name="T9" fmla="*/ 0 h 53"/>
                <a:gd name="T10" fmla="*/ 25 w 157"/>
                <a:gd name="T11" fmla="*/ 0 h 53"/>
                <a:gd name="T12" fmla="*/ 0 w 157"/>
                <a:gd name="T13" fmla="*/ 0 h 53"/>
                <a:gd name="T14" fmla="*/ 0 w 157"/>
                <a:gd name="T15" fmla="*/ 29 h 53"/>
                <a:gd name="T16" fmla="*/ 25 w 157"/>
                <a:gd name="T17" fmla="*/ 53 h 53"/>
                <a:gd name="T18" fmla="*/ 51 w 157"/>
                <a:gd name="T19" fmla="*/ 53 h 53"/>
                <a:gd name="T20" fmla="*/ 76 w 157"/>
                <a:gd name="T21" fmla="*/ 53 h 53"/>
                <a:gd name="T22" fmla="*/ 103 w 157"/>
                <a:gd name="T23" fmla="*/ 53 h 53"/>
                <a:gd name="T24" fmla="*/ 128 w 157"/>
                <a:gd name="T25" fmla="*/ 53 h 53"/>
                <a:gd name="T26" fmla="*/ 157 w 157"/>
                <a:gd name="T27" fmla="*/ 29 h 53"/>
                <a:gd name="T28" fmla="*/ 128 w 157"/>
                <a:gd name="T2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7" h="53">
                  <a:moveTo>
                    <a:pt x="128" y="0"/>
                  </a:moveTo>
                  <a:lnTo>
                    <a:pt x="103" y="0"/>
                  </a:lnTo>
                  <a:lnTo>
                    <a:pt x="76" y="29"/>
                  </a:lnTo>
                  <a:lnTo>
                    <a:pt x="51" y="29"/>
                  </a:lnTo>
                  <a:lnTo>
                    <a:pt x="51" y="0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25" y="53"/>
                  </a:lnTo>
                  <a:lnTo>
                    <a:pt x="51" y="53"/>
                  </a:lnTo>
                  <a:lnTo>
                    <a:pt x="76" y="53"/>
                  </a:lnTo>
                  <a:lnTo>
                    <a:pt x="103" y="53"/>
                  </a:lnTo>
                  <a:lnTo>
                    <a:pt x="128" y="53"/>
                  </a:lnTo>
                  <a:lnTo>
                    <a:pt x="157" y="29"/>
                  </a:lnTo>
                  <a:lnTo>
                    <a:pt x="128" y="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2" name="Freeform 82"/>
            <p:cNvSpPr>
              <a:spLocks/>
            </p:cNvSpPr>
            <p:nvPr/>
          </p:nvSpPr>
          <p:spPr bwMode="gray">
            <a:xfrm>
              <a:off x="4804" y="2760"/>
              <a:ext cx="25" cy="26"/>
            </a:xfrm>
            <a:custGeom>
              <a:avLst/>
              <a:gdLst>
                <a:gd name="T0" fmla="*/ 52 w 52"/>
                <a:gd name="T1" fmla="*/ 0 h 52"/>
                <a:gd name="T2" fmla="*/ 0 w 52"/>
                <a:gd name="T3" fmla="*/ 0 h 52"/>
                <a:gd name="T4" fmla="*/ 27 w 52"/>
                <a:gd name="T5" fmla="*/ 29 h 52"/>
                <a:gd name="T6" fmla="*/ 52 w 52"/>
                <a:gd name="T7" fmla="*/ 52 h 52"/>
                <a:gd name="T8" fmla="*/ 52 w 52"/>
                <a:gd name="T9" fmla="*/ 29 h 52"/>
                <a:gd name="T10" fmla="*/ 52 w 52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52" y="0"/>
                  </a:moveTo>
                  <a:lnTo>
                    <a:pt x="0" y="0"/>
                  </a:lnTo>
                  <a:lnTo>
                    <a:pt x="27" y="29"/>
                  </a:lnTo>
                  <a:lnTo>
                    <a:pt x="52" y="52"/>
                  </a:lnTo>
                  <a:lnTo>
                    <a:pt x="52" y="29"/>
                  </a:lnTo>
                  <a:lnTo>
                    <a:pt x="52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gray">
            <a:xfrm>
              <a:off x="4570" y="2800"/>
              <a:ext cx="26" cy="26"/>
            </a:xfrm>
            <a:custGeom>
              <a:avLst/>
              <a:gdLst>
                <a:gd name="T0" fmla="*/ 0 w 52"/>
                <a:gd name="T1" fmla="*/ 0 h 51"/>
                <a:gd name="T2" fmla="*/ 0 w 52"/>
                <a:gd name="T3" fmla="*/ 24 h 51"/>
                <a:gd name="T4" fmla="*/ 25 w 52"/>
                <a:gd name="T5" fmla="*/ 51 h 51"/>
                <a:gd name="T6" fmla="*/ 52 w 52"/>
                <a:gd name="T7" fmla="*/ 24 h 51"/>
                <a:gd name="T8" fmla="*/ 25 w 52"/>
                <a:gd name="T9" fmla="*/ 0 h 51"/>
                <a:gd name="T10" fmla="*/ 0 w 52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1">
                  <a:moveTo>
                    <a:pt x="0" y="0"/>
                  </a:moveTo>
                  <a:lnTo>
                    <a:pt x="0" y="24"/>
                  </a:lnTo>
                  <a:lnTo>
                    <a:pt x="25" y="51"/>
                  </a:lnTo>
                  <a:lnTo>
                    <a:pt x="52" y="24"/>
                  </a:lnTo>
                  <a:lnTo>
                    <a:pt x="25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4" name="Freeform 84"/>
            <p:cNvSpPr>
              <a:spLocks/>
            </p:cNvSpPr>
            <p:nvPr/>
          </p:nvSpPr>
          <p:spPr bwMode="gray">
            <a:xfrm>
              <a:off x="4492" y="2657"/>
              <a:ext cx="299" cy="247"/>
            </a:xfrm>
            <a:custGeom>
              <a:avLst/>
              <a:gdLst>
                <a:gd name="T0" fmla="*/ 571 w 597"/>
                <a:gd name="T1" fmla="*/ 442 h 493"/>
                <a:gd name="T2" fmla="*/ 519 w 597"/>
                <a:gd name="T3" fmla="*/ 390 h 493"/>
                <a:gd name="T4" fmla="*/ 494 w 597"/>
                <a:gd name="T5" fmla="*/ 338 h 493"/>
                <a:gd name="T6" fmla="*/ 519 w 597"/>
                <a:gd name="T7" fmla="*/ 311 h 493"/>
                <a:gd name="T8" fmla="*/ 519 w 597"/>
                <a:gd name="T9" fmla="*/ 287 h 493"/>
                <a:gd name="T10" fmla="*/ 494 w 597"/>
                <a:gd name="T11" fmla="*/ 258 h 493"/>
                <a:gd name="T12" fmla="*/ 467 w 597"/>
                <a:gd name="T13" fmla="*/ 258 h 493"/>
                <a:gd name="T14" fmla="*/ 467 w 597"/>
                <a:gd name="T15" fmla="*/ 235 h 493"/>
                <a:gd name="T16" fmla="*/ 442 w 597"/>
                <a:gd name="T17" fmla="*/ 183 h 493"/>
                <a:gd name="T18" fmla="*/ 391 w 597"/>
                <a:gd name="T19" fmla="*/ 155 h 493"/>
                <a:gd name="T20" fmla="*/ 362 w 597"/>
                <a:gd name="T21" fmla="*/ 132 h 493"/>
                <a:gd name="T22" fmla="*/ 335 w 597"/>
                <a:gd name="T23" fmla="*/ 132 h 493"/>
                <a:gd name="T24" fmla="*/ 287 w 597"/>
                <a:gd name="T25" fmla="*/ 103 h 493"/>
                <a:gd name="T26" fmla="*/ 258 w 597"/>
                <a:gd name="T27" fmla="*/ 80 h 493"/>
                <a:gd name="T28" fmla="*/ 235 w 597"/>
                <a:gd name="T29" fmla="*/ 80 h 493"/>
                <a:gd name="T30" fmla="*/ 180 w 597"/>
                <a:gd name="T31" fmla="*/ 103 h 493"/>
                <a:gd name="T32" fmla="*/ 155 w 597"/>
                <a:gd name="T33" fmla="*/ 103 h 493"/>
                <a:gd name="T34" fmla="*/ 128 w 597"/>
                <a:gd name="T35" fmla="*/ 103 h 493"/>
                <a:gd name="T36" fmla="*/ 103 w 597"/>
                <a:gd name="T37" fmla="*/ 28 h 493"/>
                <a:gd name="T38" fmla="*/ 80 w 597"/>
                <a:gd name="T39" fmla="*/ 0 h 493"/>
                <a:gd name="T40" fmla="*/ 52 w 597"/>
                <a:gd name="T41" fmla="*/ 0 h 493"/>
                <a:gd name="T42" fmla="*/ 0 w 597"/>
                <a:gd name="T43" fmla="*/ 28 h 493"/>
                <a:gd name="T44" fmla="*/ 52 w 597"/>
                <a:gd name="T45" fmla="*/ 51 h 493"/>
                <a:gd name="T46" fmla="*/ 52 w 597"/>
                <a:gd name="T47" fmla="*/ 80 h 493"/>
                <a:gd name="T48" fmla="*/ 80 w 597"/>
                <a:gd name="T49" fmla="*/ 80 h 493"/>
                <a:gd name="T50" fmla="*/ 103 w 597"/>
                <a:gd name="T51" fmla="*/ 80 h 493"/>
                <a:gd name="T52" fmla="*/ 80 w 597"/>
                <a:gd name="T53" fmla="*/ 103 h 493"/>
                <a:gd name="T54" fmla="*/ 52 w 597"/>
                <a:gd name="T55" fmla="*/ 132 h 493"/>
                <a:gd name="T56" fmla="*/ 80 w 597"/>
                <a:gd name="T57" fmla="*/ 132 h 493"/>
                <a:gd name="T58" fmla="*/ 103 w 597"/>
                <a:gd name="T59" fmla="*/ 132 h 493"/>
                <a:gd name="T60" fmla="*/ 128 w 597"/>
                <a:gd name="T61" fmla="*/ 132 h 493"/>
                <a:gd name="T62" fmla="*/ 180 w 597"/>
                <a:gd name="T63" fmla="*/ 155 h 493"/>
                <a:gd name="T64" fmla="*/ 235 w 597"/>
                <a:gd name="T65" fmla="*/ 206 h 493"/>
                <a:gd name="T66" fmla="*/ 235 w 597"/>
                <a:gd name="T67" fmla="*/ 235 h 493"/>
                <a:gd name="T68" fmla="*/ 235 w 597"/>
                <a:gd name="T69" fmla="*/ 258 h 493"/>
                <a:gd name="T70" fmla="*/ 207 w 597"/>
                <a:gd name="T71" fmla="*/ 258 h 493"/>
                <a:gd name="T72" fmla="*/ 207 w 597"/>
                <a:gd name="T73" fmla="*/ 287 h 493"/>
                <a:gd name="T74" fmla="*/ 235 w 597"/>
                <a:gd name="T75" fmla="*/ 287 h 493"/>
                <a:gd name="T76" fmla="*/ 235 w 597"/>
                <a:gd name="T77" fmla="*/ 311 h 493"/>
                <a:gd name="T78" fmla="*/ 235 w 597"/>
                <a:gd name="T79" fmla="*/ 338 h 493"/>
                <a:gd name="T80" fmla="*/ 258 w 597"/>
                <a:gd name="T81" fmla="*/ 338 h 493"/>
                <a:gd name="T82" fmla="*/ 287 w 597"/>
                <a:gd name="T83" fmla="*/ 363 h 493"/>
                <a:gd name="T84" fmla="*/ 310 w 597"/>
                <a:gd name="T85" fmla="*/ 390 h 493"/>
                <a:gd name="T86" fmla="*/ 335 w 597"/>
                <a:gd name="T87" fmla="*/ 363 h 493"/>
                <a:gd name="T88" fmla="*/ 335 w 597"/>
                <a:gd name="T89" fmla="*/ 390 h 493"/>
                <a:gd name="T90" fmla="*/ 362 w 597"/>
                <a:gd name="T91" fmla="*/ 390 h 493"/>
                <a:gd name="T92" fmla="*/ 362 w 597"/>
                <a:gd name="T93" fmla="*/ 363 h 493"/>
                <a:gd name="T94" fmla="*/ 335 w 597"/>
                <a:gd name="T95" fmla="*/ 338 h 493"/>
                <a:gd name="T96" fmla="*/ 362 w 597"/>
                <a:gd name="T97" fmla="*/ 338 h 493"/>
                <a:gd name="T98" fmla="*/ 391 w 597"/>
                <a:gd name="T99" fmla="*/ 338 h 493"/>
                <a:gd name="T100" fmla="*/ 442 w 597"/>
                <a:gd name="T101" fmla="*/ 363 h 493"/>
                <a:gd name="T102" fmla="*/ 467 w 597"/>
                <a:gd name="T103" fmla="*/ 390 h 493"/>
                <a:gd name="T104" fmla="*/ 494 w 597"/>
                <a:gd name="T105" fmla="*/ 415 h 493"/>
                <a:gd name="T106" fmla="*/ 519 w 597"/>
                <a:gd name="T107" fmla="*/ 442 h 493"/>
                <a:gd name="T108" fmla="*/ 519 w 597"/>
                <a:gd name="T109" fmla="*/ 466 h 493"/>
                <a:gd name="T110" fmla="*/ 571 w 597"/>
                <a:gd name="T111" fmla="*/ 493 h 493"/>
                <a:gd name="T112" fmla="*/ 597 w 597"/>
                <a:gd name="T113" fmla="*/ 493 h 493"/>
                <a:gd name="T114" fmla="*/ 571 w 597"/>
                <a:gd name="T115" fmla="*/ 466 h 493"/>
                <a:gd name="T116" fmla="*/ 597 w 597"/>
                <a:gd name="T117" fmla="*/ 466 h 493"/>
                <a:gd name="T118" fmla="*/ 571 w 597"/>
                <a:gd name="T119" fmla="*/ 44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7" h="493">
                  <a:moveTo>
                    <a:pt x="571" y="442"/>
                  </a:moveTo>
                  <a:lnTo>
                    <a:pt x="519" y="390"/>
                  </a:lnTo>
                  <a:lnTo>
                    <a:pt x="494" y="338"/>
                  </a:lnTo>
                  <a:lnTo>
                    <a:pt x="519" y="311"/>
                  </a:lnTo>
                  <a:lnTo>
                    <a:pt x="519" y="287"/>
                  </a:lnTo>
                  <a:lnTo>
                    <a:pt x="494" y="258"/>
                  </a:lnTo>
                  <a:lnTo>
                    <a:pt x="467" y="258"/>
                  </a:lnTo>
                  <a:lnTo>
                    <a:pt x="467" y="235"/>
                  </a:lnTo>
                  <a:lnTo>
                    <a:pt x="442" y="183"/>
                  </a:lnTo>
                  <a:lnTo>
                    <a:pt x="391" y="155"/>
                  </a:lnTo>
                  <a:lnTo>
                    <a:pt x="362" y="132"/>
                  </a:lnTo>
                  <a:lnTo>
                    <a:pt x="335" y="132"/>
                  </a:lnTo>
                  <a:lnTo>
                    <a:pt x="287" y="103"/>
                  </a:lnTo>
                  <a:lnTo>
                    <a:pt x="258" y="80"/>
                  </a:lnTo>
                  <a:lnTo>
                    <a:pt x="235" y="80"/>
                  </a:lnTo>
                  <a:lnTo>
                    <a:pt x="180" y="103"/>
                  </a:lnTo>
                  <a:lnTo>
                    <a:pt x="155" y="103"/>
                  </a:lnTo>
                  <a:lnTo>
                    <a:pt x="128" y="103"/>
                  </a:lnTo>
                  <a:lnTo>
                    <a:pt x="103" y="28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0" y="28"/>
                  </a:lnTo>
                  <a:lnTo>
                    <a:pt x="52" y="51"/>
                  </a:lnTo>
                  <a:lnTo>
                    <a:pt x="52" y="80"/>
                  </a:lnTo>
                  <a:lnTo>
                    <a:pt x="80" y="80"/>
                  </a:lnTo>
                  <a:lnTo>
                    <a:pt x="103" y="80"/>
                  </a:lnTo>
                  <a:lnTo>
                    <a:pt x="80" y="103"/>
                  </a:lnTo>
                  <a:lnTo>
                    <a:pt x="52" y="132"/>
                  </a:lnTo>
                  <a:lnTo>
                    <a:pt x="80" y="132"/>
                  </a:lnTo>
                  <a:lnTo>
                    <a:pt x="103" y="132"/>
                  </a:lnTo>
                  <a:lnTo>
                    <a:pt x="128" y="132"/>
                  </a:lnTo>
                  <a:lnTo>
                    <a:pt x="180" y="155"/>
                  </a:lnTo>
                  <a:lnTo>
                    <a:pt x="235" y="206"/>
                  </a:lnTo>
                  <a:lnTo>
                    <a:pt x="235" y="235"/>
                  </a:lnTo>
                  <a:lnTo>
                    <a:pt x="235" y="258"/>
                  </a:lnTo>
                  <a:lnTo>
                    <a:pt x="207" y="258"/>
                  </a:lnTo>
                  <a:lnTo>
                    <a:pt x="207" y="287"/>
                  </a:lnTo>
                  <a:lnTo>
                    <a:pt x="235" y="287"/>
                  </a:lnTo>
                  <a:lnTo>
                    <a:pt x="235" y="311"/>
                  </a:lnTo>
                  <a:lnTo>
                    <a:pt x="235" y="338"/>
                  </a:lnTo>
                  <a:lnTo>
                    <a:pt x="258" y="338"/>
                  </a:lnTo>
                  <a:lnTo>
                    <a:pt x="287" y="363"/>
                  </a:lnTo>
                  <a:lnTo>
                    <a:pt x="310" y="390"/>
                  </a:lnTo>
                  <a:lnTo>
                    <a:pt x="335" y="363"/>
                  </a:lnTo>
                  <a:lnTo>
                    <a:pt x="335" y="390"/>
                  </a:lnTo>
                  <a:lnTo>
                    <a:pt x="362" y="390"/>
                  </a:lnTo>
                  <a:lnTo>
                    <a:pt x="362" y="363"/>
                  </a:lnTo>
                  <a:lnTo>
                    <a:pt x="335" y="338"/>
                  </a:lnTo>
                  <a:lnTo>
                    <a:pt x="362" y="338"/>
                  </a:lnTo>
                  <a:lnTo>
                    <a:pt x="391" y="338"/>
                  </a:lnTo>
                  <a:lnTo>
                    <a:pt x="442" y="363"/>
                  </a:lnTo>
                  <a:lnTo>
                    <a:pt x="467" y="390"/>
                  </a:lnTo>
                  <a:lnTo>
                    <a:pt x="494" y="415"/>
                  </a:lnTo>
                  <a:lnTo>
                    <a:pt x="519" y="442"/>
                  </a:lnTo>
                  <a:lnTo>
                    <a:pt x="519" y="466"/>
                  </a:lnTo>
                  <a:lnTo>
                    <a:pt x="571" y="493"/>
                  </a:lnTo>
                  <a:lnTo>
                    <a:pt x="597" y="493"/>
                  </a:lnTo>
                  <a:lnTo>
                    <a:pt x="571" y="466"/>
                  </a:lnTo>
                  <a:lnTo>
                    <a:pt x="597" y="466"/>
                  </a:lnTo>
                  <a:lnTo>
                    <a:pt x="571" y="44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5" name="Freeform 86"/>
            <p:cNvSpPr>
              <a:spLocks/>
            </p:cNvSpPr>
            <p:nvPr/>
          </p:nvSpPr>
          <p:spPr bwMode="gray">
            <a:xfrm>
              <a:off x="3126" y="2827"/>
              <a:ext cx="144" cy="260"/>
            </a:xfrm>
            <a:custGeom>
              <a:avLst/>
              <a:gdLst>
                <a:gd name="T0" fmla="*/ 26 w 144"/>
                <a:gd name="T1" fmla="*/ 104 h 260"/>
                <a:gd name="T2" fmla="*/ 26 w 144"/>
                <a:gd name="T3" fmla="*/ 142 h 260"/>
                <a:gd name="T4" fmla="*/ 0 w 144"/>
                <a:gd name="T5" fmla="*/ 194 h 260"/>
                <a:gd name="T6" fmla="*/ 0 w 144"/>
                <a:gd name="T7" fmla="*/ 246 h 260"/>
                <a:gd name="T8" fmla="*/ 26 w 144"/>
                <a:gd name="T9" fmla="*/ 260 h 260"/>
                <a:gd name="T10" fmla="*/ 40 w 144"/>
                <a:gd name="T11" fmla="*/ 246 h 260"/>
                <a:gd name="T12" fmla="*/ 66 w 144"/>
                <a:gd name="T13" fmla="*/ 246 h 260"/>
                <a:gd name="T14" fmla="*/ 78 w 144"/>
                <a:gd name="T15" fmla="*/ 220 h 260"/>
                <a:gd name="T16" fmla="*/ 78 w 144"/>
                <a:gd name="T17" fmla="*/ 208 h 260"/>
                <a:gd name="T18" fmla="*/ 118 w 144"/>
                <a:gd name="T19" fmla="*/ 116 h 260"/>
                <a:gd name="T20" fmla="*/ 118 w 144"/>
                <a:gd name="T21" fmla="*/ 104 h 260"/>
                <a:gd name="T22" fmla="*/ 118 w 144"/>
                <a:gd name="T23" fmla="*/ 64 h 260"/>
                <a:gd name="T24" fmla="*/ 130 w 144"/>
                <a:gd name="T25" fmla="*/ 64 h 260"/>
                <a:gd name="T26" fmla="*/ 130 w 144"/>
                <a:gd name="T27" fmla="*/ 90 h 260"/>
                <a:gd name="T28" fmla="*/ 144 w 144"/>
                <a:gd name="T29" fmla="*/ 52 h 260"/>
                <a:gd name="T30" fmla="*/ 130 w 144"/>
                <a:gd name="T31" fmla="*/ 38 h 260"/>
                <a:gd name="T32" fmla="*/ 118 w 144"/>
                <a:gd name="T33" fmla="*/ 12 h 260"/>
                <a:gd name="T34" fmla="*/ 118 w 144"/>
                <a:gd name="T35" fmla="*/ 0 h 260"/>
                <a:gd name="T36" fmla="*/ 78 w 144"/>
                <a:gd name="T37" fmla="*/ 64 h 260"/>
                <a:gd name="T38" fmla="*/ 66 w 144"/>
                <a:gd name="T39" fmla="*/ 64 h 260"/>
                <a:gd name="T40" fmla="*/ 66 w 144"/>
                <a:gd name="T41" fmla="*/ 78 h 260"/>
                <a:gd name="T42" fmla="*/ 52 w 144"/>
                <a:gd name="T43" fmla="*/ 78 h 260"/>
                <a:gd name="T44" fmla="*/ 26 w 144"/>
                <a:gd name="T45" fmla="*/ 104 h 260"/>
                <a:gd name="T46" fmla="*/ 26 w 144"/>
                <a:gd name="T47" fmla="*/ 104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260">
                  <a:moveTo>
                    <a:pt x="26" y="104"/>
                  </a:moveTo>
                  <a:lnTo>
                    <a:pt x="26" y="142"/>
                  </a:lnTo>
                  <a:lnTo>
                    <a:pt x="0" y="194"/>
                  </a:lnTo>
                  <a:lnTo>
                    <a:pt x="0" y="246"/>
                  </a:lnTo>
                  <a:lnTo>
                    <a:pt x="26" y="260"/>
                  </a:lnTo>
                  <a:lnTo>
                    <a:pt x="40" y="246"/>
                  </a:lnTo>
                  <a:lnTo>
                    <a:pt x="66" y="246"/>
                  </a:lnTo>
                  <a:lnTo>
                    <a:pt x="78" y="220"/>
                  </a:lnTo>
                  <a:lnTo>
                    <a:pt x="78" y="208"/>
                  </a:lnTo>
                  <a:lnTo>
                    <a:pt x="118" y="116"/>
                  </a:lnTo>
                  <a:lnTo>
                    <a:pt x="118" y="104"/>
                  </a:lnTo>
                  <a:lnTo>
                    <a:pt x="118" y="64"/>
                  </a:lnTo>
                  <a:lnTo>
                    <a:pt x="130" y="64"/>
                  </a:lnTo>
                  <a:lnTo>
                    <a:pt x="130" y="90"/>
                  </a:lnTo>
                  <a:lnTo>
                    <a:pt x="144" y="52"/>
                  </a:lnTo>
                  <a:lnTo>
                    <a:pt x="130" y="38"/>
                  </a:lnTo>
                  <a:lnTo>
                    <a:pt x="118" y="12"/>
                  </a:lnTo>
                  <a:lnTo>
                    <a:pt x="118" y="0"/>
                  </a:lnTo>
                  <a:lnTo>
                    <a:pt x="78" y="64"/>
                  </a:lnTo>
                  <a:lnTo>
                    <a:pt x="66" y="64"/>
                  </a:lnTo>
                  <a:lnTo>
                    <a:pt x="66" y="78"/>
                  </a:lnTo>
                  <a:lnTo>
                    <a:pt x="52" y="78"/>
                  </a:lnTo>
                  <a:lnTo>
                    <a:pt x="26" y="104"/>
                  </a:lnTo>
                  <a:lnTo>
                    <a:pt x="26" y="104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6" name="Freeform 87"/>
            <p:cNvSpPr>
              <a:spLocks/>
            </p:cNvSpPr>
            <p:nvPr/>
          </p:nvSpPr>
          <p:spPr bwMode="gray">
            <a:xfrm>
              <a:off x="2086" y="1953"/>
              <a:ext cx="1196" cy="1328"/>
            </a:xfrm>
            <a:custGeom>
              <a:avLst/>
              <a:gdLst>
                <a:gd name="T0" fmla="*/ 852 w 1196"/>
                <a:gd name="T1" fmla="*/ 110 h 1328"/>
                <a:gd name="T2" fmla="*/ 780 w 1196"/>
                <a:gd name="T3" fmla="*/ 118 h 1328"/>
                <a:gd name="T4" fmla="*/ 676 w 1196"/>
                <a:gd name="T5" fmla="*/ 80 h 1328"/>
                <a:gd name="T6" fmla="*/ 636 w 1196"/>
                <a:gd name="T7" fmla="*/ 118 h 1328"/>
                <a:gd name="T8" fmla="*/ 584 w 1196"/>
                <a:gd name="T9" fmla="*/ 106 h 1328"/>
                <a:gd name="T10" fmla="*/ 520 w 1196"/>
                <a:gd name="T11" fmla="*/ 80 h 1328"/>
                <a:gd name="T12" fmla="*/ 518 w 1196"/>
                <a:gd name="T13" fmla="*/ 27 h 1328"/>
                <a:gd name="T14" fmla="*/ 468 w 1196"/>
                <a:gd name="T15" fmla="*/ 2 h 1328"/>
                <a:gd name="T16" fmla="*/ 390 w 1196"/>
                <a:gd name="T17" fmla="*/ 2 h 1328"/>
                <a:gd name="T18" fmla="*/ 298 w 1196"/>
                <a:gd name="T19" fmla="*/ 40 h 1328"/>
                <a:gd name="T20" fmla="*/ 246 w 1196"/>
                <a:gd name="T21" fmla="*/ 54 h 1328"/>
                <a:gd name="T22" fmla="*/ 182 w 1196"/>
                <a:gd name="T23" fmla="*/ 118 h 1328"/>
                <a:gd name="T24" fmla="*/ 104 w 1196"/>
                <a:gd name="T25" fmla="*/ 196 h 1328"/>
                <a:gd name="T26" fmla="*/ 12 w 1196"/>
                <a:gd name="T27" fmla="*/ 288 h 1328"/>
                <a:gd name="T28" fmla="*/ 26 w 1196"/>
                <a:gd name="T29" fmla="*/ 314 h 1328"/>
                <a:gd name="T30" fmla="*/ 26 w 1196"/>
                <a:gd name="T31" fmla="*/ 380 h 1328"/>
                <a:gd name="T32" fmla="*/ 0 w 1196"/>
                <a:gd name="T33" fmla="*/ 418 h 1328"/>
                <a:gd name="T34" fmla="*/ 0 w 1196"/>
                <a:gd name="T35" fmla="*/ 458 h 1328"/>
                <a:gd name="T36" fmla="*/ 26 w 1196"/>
                <a:gd name="T37" fmla="*/ 496 h 1328"/>
                <a:gd name="T38" fmla="*/ 52 w 1196"/>
                <a:gd name="T39" fmla="*/ 522 h 1328"/>
                <a:gd name="T40" fmla="*/ 78 w 1196"/>
                <a:gd name="T41" fmla="*/ 562 h 1328"/>
                <a:gd name="T42" fmla="*/ 208 w 1196"/>
                <a:gd name="T43" fmla="*/ 600 h 1328"/>
                <a:gd name="T44" fmla="*/ 286 w 1196"/>
                <a:gd name="T45" fmla="*/ 588 h 1328"/>
                <a:gd name="T46" fmla="*/ 338 w 1196"/>
                <a:gd name="T47" fmla="*/ 562 h 1328"/>
                <a:gd name="T48" fmla="*/ 390 w 1196"/>
                <a:gd name="T49" fmla="*/ 600 h 1328"/>
                <a:gd name="T50" fmla="*/ 442 w 1196"/>
                <a:gd name="T51" fmla="*/ 588 h 1328"/>
                <a:gd name="T52" fmla="*/ 468 w 1196"/>
                <a:gd name="T53" fmla="*/ 640 h 1328"/>
                <a:gd name="T54" fmla="*/ 454 w 1196"/>
                <a:gd name="T55" fmla="*/ 692 h 1328"/>
                <a:gd name="T56" fmla="*/ 494 w 1196"/>
                <a:gd name="T57" fmla="*/ 744 h 1328"/>
                <a:gd name="T58" fmla="*/ 520 w 1196"/>
                <a:gd name="T59" fmla="*/ 782 h 1328"/>
                <a:gd name="T60" fmla="*/ 520 w 1196"/>
                <a:gd name="T61" fmla="*/ 848 h 1328"/>
                <a:gd name="T62" fmla="*/ 546 w 1196"/>
                <a:gd name="T63" fmla="*/ 874 h 1328"/>
                <a:gd name="T64" fmla="*/ 520 w 1196"/>
                <a:gd name="T65" fmla="*/ 926 h 1328"/>
                <a:gd name="T66" fmla="*/ 506 w 1196"/>
                <a:gd name="T67" fmla="*/ 1004 h 1328"/>
                <a:gd name="T68" fmla="*/ 558 w 1196"/>
                <a:gd name="T69" fmla="*/ 1082 h 1328"/>
                <a:gd name="T70" fmla="*/ 598 w 1196"/>
                <a:gd name="T71" fmla="*/ 1212 h 1328"/>
                <a:gd name="T72" fmla="*/ 624 w 1196"/>
                <a:gd name="T73" fmla="*/ 1264 h 1328"/>
                <a:gd name="T74" fmla="*/ 636 w 1196"/>
                <a:gd name="T75" fmla="*/ 1328 h 1328"/>
                <a:gd name="T76" fmla="*/ 676 w 1196"/>
                <a:gd name="T77" fmla="*/ 1316 h 1328"/>
                <a:gd name="T78" fmla="*/ 754 w 1196"/>
                <a:gd name="T79" fmla="*/ 1290 h 1328"/>
                <a:gd name="T80" fmla="*/ 858 w 1196"/>
                <a:gd name="T81" fmla="*/ 1186 h 1328"/>
                <a:gd name="T82" fmla="*/ 844 w 1196"/>
                <a:gd name="T83" fmla="*/ 1160 h 1328"/>
                <a:gd name="T84" fmla="*/ 870 w 1196"/>
                <a:gd name="T85" fmla="*/ 1134 h 1328"/>
                <a:gd name="T86" fmla="*/ 910 w 1196"/>
                <a:gd name="T87" fmla="*/ 1056 h 1328"/>
                <a:gd name="T88" fmla="*/ 910 w 1196"/>
                <a:gd name="T89" fmla="*/ 1030 h 1328"/>
                <a:gd name="T90" fmla="*/ 936 w 1196"/>
                <a:gd name="T91" fmla="*/ 1004 h 1328"/>
                <a:gd name="T92" fmla="*/ 1014 w 1196"/>
                <a:gd name="T93" fmla="*/ 860 h 1328"/>
                <a:gd name="T94" fmla="*/ 1002 w 1196"/>
                <a:gd name="T95" fmla="*/ 782 h 1328"/>
                <a:gd name="T96" fmla="*/ 988 w 1196"/>
                <a:gd name="T97" fmla="*/ 756 h 1328"/>
                <a:gd name="T98" fmla="*/ 1132 w 1196"/>
                <a:gd name="T99" fmla="*/ 588 h 1328"/>
                <a:gd name="T100" fmla="*/ 1184 w 1196"/>
                <a:gd name="T101" fmla="*/ 444 h 1328"/>
                <a:gd name="T102" fmla="*/ 1132 w 1196"/>
                <a:gd name="T103" fmla="*/ 470 h 1328"/>
                <a:gd name="T104" fmla="*/ 1054 w 1196"/>
                <a:gd name="T105" fmla="*/ 470 h 1328"/>
                <a:gd name="T106" fmla="*/ 1040 w 1196"/>
                <a:gd name="T107" fmla="*/ 432 h 1328"/>
                <a:gd name="T108" fmla="*/ 962 w 1196"/>
                <a:gd name="T109" fmla="*/ 340 h 1328"/>
                <a:gd name="T110" fmla="*/ 936 w 1196"/>
                <a:gd name="T111" fmla="*/ 288 h 1328"/>
                <a:gd name="T112" fmla="*/ 844 w 1196"/>
                <a:gd name="T113" fmla="*/ 158 h 1328"/>
                <a:gd name="T114" fmla="*/ 844 w 1196"/>
                <a:gd name="T115" fmla="*/ 144 h 1328"/>
                <a:gd name="T116" fmla="*/ 864 w 1196"/>
                <a:gd name="T117" fmla="*/ 146 h 1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96" h="1328">
                  <a:moveTo>
                    <a:pt x="864" y="146"/>
                  </a:moveTo>
                  <a:lnTo>
                    <a:pt x="852" y="110"/>
                  </a:lnTo>
                  <a:lnTo>
                    <a:pt x="806" y="92"/>
                  </a:lnTo>
                  <a:lnTo>
                    <a:pt x="780" y="118"/>
                  </a:lnTo>
                  <a:lnTo>
                    <a:pt x="714" y="106"/>
                  </a:lnTo>
                  <a:lnTo>
                    <a:pt x="676" y="80"/>
                  </a:lnTo>
                  <a:lnTo>
                    <a:pt x="650" y="80"/>
                  </a:lnTo>
                  <a:lnTo>
                    <a:pt x="636" y="118"/>
                  </a:lnTo>
                  <a:lnTo>
                    <a:pt x="624" y="132"/>
                  </a:lnTo>
                  <a:lnTo>
                    <a:pt x="584" y="106"/>
                  </a:lnTo>
                  <a:lnTo>
                    <a:pt x="572" y="80"/>
                  </a:lnTo>
                  <a:lnTo>
                    <a:pt x="520" y="80"/>
                  </a:lnTo>
                  <a:lnTo>
                    <a:pt x="490" y="53"/>
                  </a:lnTo>
                  <a:lnTo>
                    <a:pt x="518" y="27"/>
                  </a:lnTo>
                  <a:lnTo>
                    <a:pt x="505" y="0"/>
                  </a:lnTo>
                  <a:lnTo>
                    <a:pt x="468" y="2"/>
                  </a:lnTo>
                  <a:lnTo>
                    <a:pt x="428" y="14"/>
                  </a:lnTo>
                  <a:lnTo>
                    <a:pt x="390" y="2"/>
                  </a:lnTo>
                  <a:lnTo>
                    <a:pt x="324" y="40"/>
                  </a:lnTo>
                  <a:lnTo>
                    <a:pt x="298" y="40"/>
                  </a:lnTo>
                  <a:lnTo>
                    <a:pt x="260" y="28"/>
                  </a:lnTo>
                  <a:lnTo>
                    <a:pt x="246" y="54"/>
                  </a:lnTo>
                  <a:lnTo>
                    <a:pt x="208" y="80"/>
                  </a:lnTo>
                  <a:lnTo>
                    <a:pt x="182" y="118"/>
                  </a:lnTo>
                  <a:lnTo>
                    <a:pt x="182" y="144"/>
                  </a:lnTo>
                  <a:lnTo>
                    <a:pt x="104" y="196"/>
                  </a:lnTo>
                  <a:lnTo>
                    <a:pt x="78" y="210"/>
                  </a:lnTo>
                  <a:lnTo>
                    <a:pt x="12" y="288"/>
                  </a:lnTo>
                  <a:lnTo>
                    <a:pt x="26" y="302"/>
                  </a:lnTo>
                  <a:lnTo>
                    <a:pt x="26" y="314"/>
                  </a:lnTo>
                  <a:lnTo>
                    <a:pt x="26" y="326"/>
                  </a:lnTo>
                  <a:lnTo>
                    <a:pt x="26" y="380"/>
                  </a:lnTo>
                  <a:lnTo>
                    <a:pt x="12" y="392"/>
                  </a:lnTo>
                  <a:lnTo>
                    <a:pt x="0" y="418"/>
                  </a:lnTo>
                  <a:lnTo>
                    <a:pt x="0" y="432"/>
                  </a:lnTo>
                  <a:lnTo>
                    <a:pt x="0" y="458"/>
                  </a:lnTo>
                  <a:lnTo>
                    <a:pt x="0" y="470"/>
                  </a:lnTo>
                  <a:lnTo>
                    <a:pt x="26" y="496"/>
                  </a:lnTo>
                  <a:lnTo>
                    <a:pt x="52" y="510"/>
                  </a:lnTo>
                  <a:lnTo>
                    <a:pt x="52" y="522"/>
                  </a:lnTo>
                  <a:lnTo>
                    <a:pt x="64" y="548"/>
                  </a:lnTo>
                  <a:lnTo>
                    <a:pt x="78" y="562"/>
                  </a:lnTo>
                  <a:lnTo>
                    <a:pt x="156" y="600"/>
                  </a:lnTo>
                  <a:lnTo>
                    <a:pt x="208" y="600"/>
                  </a:lnTo>
                  <a:lnTo>
                    <a:pt x="246" y="600"/>
                  </a:lnTo>
                  <a:lnTo>
                    <a:pt x="286" y="588"/>
                  </a:lnTo>
                  <a:lnTo>
                    <a:pt x="312" y="574"/>
                  </a:lnTo>
                  <a:lnTo>
                    <a:pt x="338" y="562"/>
                  </a:lnTo>
                  <a:lnTo>
                    <a:pt x="376" y="574"/>
                  </a:lnTo>
                  <a:lnTo>
                    <a:pt x="390" y="600"/>
                  </a:lnTo>
                  <a:lnTo>
                    <a:pt x="416" y="614"/>
                  </a:lnTo>
                  <a:lnTo>
                    <a:pt x="442" y="588"/>
                  </a:lnTo>
                  <a:lnTo>
                    <a:pt x="468" y="600"/>
                  </a:lnTo>
                  <a:lnTo>
                    <a:pt x="468" y="640"/>
                  </a:lnTo>
                  <a:lnTo>
                    <a:pt x="454" y="652"/>
                  </a:lnTo>
                  <a:lnTo>
                    <a:pt x="454" y="692"/>
                  </a:lnTo>
                  <a:lnTo>
                    <a:pt x="468" y="718"/>
                  </a:lnTo>
                  <a:lnTo>
                    <a:pt x="494" y="744"/>
                  </a:lnTo>
                  <a:lnTo>
                    <a:pt x="506" y="770"/>
                  </a:lnTo>
                  <a:lnTo>
                    <a:pt x="520" y="782"/>
                  </a:lnTo>
                  <a:lnTo>
                    <a:pt x="532" y="822"/>
                  </a:lnTo>
                  <a:lnTo>
                    <a:pt x="520" y="848"/>
                  </a:lnTo>
                  <a:lnTo>
                    <a:pt x="532" y="860"/>
                  </a:lnTo>
                  <a:lnTo>
                    <a:pt x="546" y="874"/>
                  </a:lnTo>
                  <a:lnTo>
                    <a:pt x="532" y="900"/>
                  </a:lnTo>
                  <a:lnTo>
                    <a:pt x="520" y="926"/>
                  </a:lnTo>
                  <a:lnTo>
                    <a:pt x="506" y="964"/>
                  </a:lnTo>
                  <a:lnTo>
                    <a:pt x="506" y="1004"/>
                  </a:lnTo>
                  <a:lnTo>
                    <a:pt x="532" y="1068"/>
                  </a:lnTo>
                  <a:lnTo>
                    <a:pt x="558" y="1082"/>
                  </a:lnTo>
                  <a:lnTo>
                    <a:pt x="572" y="1172"/>
                  </a:lnTo>
                  <a:lnTo>
                    <a:pt x="598" y="1212"/>
                  </a:lnTo>
                  <a:lnTo>
                    <a:pt x="600" y="1206"/>
                  </a:lnTo>
                  <a:lnTo>
                    <a:pt x="624" y="1264"/>
                  </a:lnTo>
                  <a:lnTo>
                    <a:pt x="624" y="1290"/>
                  </a:lnTo>
                  <a:lnTo>
                    <a:pt x="636" y="1328"/>
                  </a:lnTo>
                  <a:lnTo>
                    <a:pt x="650" y="1328"/>
                  </a:lnTo>
                  <a:lnTo>
                    <a:pt x="676" y="1316"/>
                  </a:lnTo>
                  <a:lnTo>
                    <a:pt x="714" y="1316"/>
                  </a:lnTo>
                  <a:lnTo>
                    <a:pt x="754" y="1290"/>
                  </a:lnTo>
                  <a:lnTo>
                    <a:pt x="806" y="1264"/>
                  </a:lnTo>
                  <a:lnTo>
                    <a:pt x="858" y="1186"/>
                  </a:lnTo>
                  <a:lnTo>
                    <a:pt x="858" y="1172"/>
                  </a:lnTo>
                  <a:lnTo>
                    <a:pt x="844" y="1160"/>
                  </a:lnTo>
                  <a:lnTo>
                    <a:pt x="870" y="1172"/>
                  </a:lnTo>
                  <a:lnTo>
                    <a:pt x="870" y="1134"/>
                  </a:lnTo>
                  <a:lnTo>
                    <a:pt x="910" y="1108"/>
                  </a:lnTo>
                  <a:lnTo>
                    <a:pt x="910" y="1056"/>
                  </a:lnTo>
                  <a:lnTo>
                    <a:pt x="896" y="1042"/>
                  </a:lnTo>
                  <a:lnTo>
                    <a:pt x="910" y="1030"/>
                  </a:lnTo>
                  <a:lnTo>
                    <a:pt x="924" y="1016"/>
                  </a:lnTo>
                  <a:lnTo>
                    <a:pt x="936" y="1004"/>
                  </a:lnTo>
                  <a:lnTo>
                    <a:pt x="1002" y="952"/>
                  </a:lnTo>
                  <a:lnTo>
                    <a:pt x="1014" y="860"/>
                  </a:lnTo>
                  <a:lnTo>
                    <a:pt x="1002" y="848"/>
                  </a:lnTo>
                  <a:lnTo>
                    <a:pt x="1002" y="782"/>
                  </a:lnTo>
                  <a:lnTo>
                    <a:pt x="988" y="782"/>
                  </a:lnTo>
                  <a:lnTo>
                    <a:pt x="988" y="756"/>
                  </a:lnTo>
                  <a:lnTo>
                    <a:pt x="1026" y="692"/>
                  </a:lnTo>
                  <a:lnTo>
                    <a:pt x="1132" y="588"/>
                  </a:lnTo>
                  <a:lnTo>
                    <a:pt x="1196" y="470"/>
                  </a:lnTo>
                  <a:lnTo>
                    <a:pt x="1184" y="444"/>
                  </a:lnTo>
                  <a:lnTo>
                    <a:pt x="1158" y="458"/>
                  </a:lnTo>
                  <a:lnTo>
                    <a:pt x="1132" y="470"/>
                  </a:lnTo>
                  <a:lnTo>
                    <a:pt x="1092" y="470"/>
                  </a:lnTo>
                  <a:lnTo>
                    <a:pt x="1054" y="470"/>
                  </a:lnTo>
                  <a:lnTo>
                    <a:pt x="1054" y="458"/>
                  </a:lnTo>
                  <a:lnTo>
                    <a:pt x="1040" y="432"/>
                  </a:lnTo>
                  <a:lnTo>
                    <a:pt x="976" y="392"/>
                  </a:lnTo>
                  <a:lnTo>
                    <a:pt x="962" y="340"/>
                  </a:lnTo>
                  <a:lnTo>
                    <a:pt x="936" y="326"/>
                  </a:lnTo>
                  <a:lnTo>
                    <a:pt x="936" y="288"/>
                  </a:lnTo>
                  <a:lnTo>
                    <a:pt x="910" y="262"/>
                  </a:lnTo>
                  <a:lnTo>
                    <a:pt x="844" y="158"/>
                  </a:lnTo>
                  <a:lnTo>
                    <a:pt x="832" y="132"/>
                  </a:lnTo>
                  <a:lnTo>
                    <a:pt x="844" y="144"/>
                  </a:lnTo>
                  <a:lnTo>
                    <a:pt x="870" y="170"/>
                  </a:lnTo>
                  <a:lnTo>
                    <a:pt x="864" y="146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7" name="Freeform 88"/>
            <p:cNvSpPr>
              <a:spLocks/>
            </p:cNvSpPr>
            <p:nvPr/>
          </p:nvSpPr>
          <p:spPr bwMode="gray">
            <a:xfrm>
              <a:off x="2956" y="2033"/>
              <a:ext cx="10" cy="18"/>
            </a:xfrm>
            <a:custGeom>
              <a:avLst/>
              <a:gdLst>
                <a:gd name="T0" fmla="*/ 0 w 10"/>
                <a:gd name="T1" fmla="*/ 0 h 18"/>
                <a:gd name="T2" fmla="*/ 0 w 10"/>
                <a:gd name="T3" fmla="*/ 6 h 18"/>
                <a:gd name="T4" fmla="*/ 0 w 10"/>
                <a:gd name="T5" fmla="*/ 6 h 18"/>
                <a:gd name="T6" fmla="*/ 10 w 10"/>
                <a:gd name="T7" fmla="*/ 18 h 18"/>
                <a:gd name="T8" fmla="*/ 0 w 1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8">
                  <a:moveTo>
                    <a:pt x="0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10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8" name="Freeform 89"/>
            <p:cNvSpPr>
              <a:spLocks/>
            </p:cNvSpPr>
            <p:nvPr/>
          </p:nvSpPr>
          <p:spPr bwMode="gray">
            <a:xfrm>
              <a:off x="2956" y="2043"/>
              <a:ext cx="14" cy="42"/>
            </a:xfrm>
            <a:custGeom>
              <a:avLst/>
              <a:gdLst>
                <a:gd name="T0" fmla="*/ 6 w 14"/>
                <a:gd name="T1" fmla="*/ 0 h 42"/>
                <a:gd name="T2" fmla="*/ 14 w 14"/>
                <a:gd name="T3" fmla="*/ 16 h 42"/>
                <a:gd name="T4" fmla="*/ 0 w 14"/>
                <a:gd name="T5" fmla="*/ 28 h 42"/>
                <a:gd name="T6" fmla="*/ 0 w 14"/>
                <a:gd name="T7" fmla="*/ 42 h 42"/>
                <a:gd name="T8" fmla="*/ 6 w 14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2">
                  <a:moveTo>
                    <a:pt x="6" y="0"/>
                  </a:moveTo>
                  <a:lnTo>
                    <a:pt x="14" y="16"/>
                  </a:lnTo>
                  <a:lnTo>
                    <a:pt x="0" y="28"/>
                  </a:lnTo>
                  <a:lnTo>
                    <a:pt x="0" y="4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 cmpd="sng">
              <a:noFill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9" name="Freeform 90"/>
            <p:cNvSpPr>
              <a:spLocks/>
            </p:cNvSpPr>
            <p:nvPr/>
          </p:nvSpPr>
          <p:spPr bwMode="gray">
            <a:xfrm>
              <a:off x="2956" y="2043"/>
              <a:ext cx="14" cy="42"/>
            </a:xfrm>
            <a:custGeom>
              <a:avLst/>
              <a:gdLst>
                <a:gd name="T0" fmla="*/ 6 w 14"/>
                <a:gd name="T1" fmla="*/ 0 h 42"/>
                <a:gd name="T2" fmla="*/ 14 w 14"/>
                <a:gd name="T3" fmla="*/ 16 h 42"/>
                <a:gd name="T4" fmla="*/ 0 w 14"/>
                <a:gd name="T5" fmla="*/ 28 h 42"/>
                <a:gd name="T6" fmla="*/ 0 w 14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2">
                  <a:moveTo>
                    <a:pt x="6" y="0"/>
                  </a:moveTo>
                  <a:lnTo>
                    <a:pt x="14" y="16"/>
                  </a:lnTo>
                  <a:lnTo>
                    <a:pt x="0" y="28"/>
                  </a:lnTo>
                  <a:lnTo>
                    <a:pt x="0" y="4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90" name="Line 99"/>
            <p:cNvSpPr>
              <a:spLocks noChangeShapeType="1"/>
            </p:cNvSpPr>
            <p:nvPr/>
          </p:nvSpPr>
          <p:spPr bwMode="gray">
            <a:xfrm>
              <a:off x="2016" y="3040"/>
              <a:ext cx="0" cy="0"/>
            </a:xfrm>
            <a:prstGeom prst="line">
              <a:avLst/>
            </a:prstGeom>
            <a:grpFill/>
            <a:ln w="9525">
              <a:noFill/>
              <a:round/>
              <a:headE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837" dirty="0"/>
            </a:p>
          </p:txBody>
        </p:sp>
        <p:grpSp>
          <p:nvGrpSpPr>
            <p:cNvPr id="91" name="Group 125"/>
            <p:cNvGrpSpPr>
              <a:grpSpLocks/>
            </p:cNvGrpSpPr>
            <p:nvPr/>
          </p:nvGrpSpPr>
          <p:grpSpPr bwMode="auto">
            <a:xfrm rot="602090">
              <a:off x="4134" y="2833"/>
              <a:ext cx="651" cy="619"/>
              <a:chOff x="1474" y="921"/>
              <a:chExt cx="2866" cy="2415"/>
            </a:xfrm>
            <a:grpFill/>
          </p:grpSpPr>
          <p:sp>
            <p:nvSpPr>
              <p:cNvPr id="92" name="Freeform 126"/>
              <p:cNvSpPr>
                <a:spLocks/>
              </p:cNvSpPr>
              <p:nvPr/>
            </p:nvSpPr>
            <p:spPr bwMode="gray">
              <a:xfrm>
                <a:off x="1474" y="921"/>
                <a:ext cx="2866" cy="2079"/>
              </a:xfrm>
              <a:custGeom>
                <a:avLst/>
                <a:gdLst>
                  <a:gd name="T0" fmla="*/ 96 w 2866"/>
                  <a:gd name="T1" fmla="*/ 1364 h 2079"/>
                  <a:gd name="T2" fmla="*/ 28 w 2866"/>
                  <a:gd name="T3" fmla="*/ 1172 h 2079"/>
                  <a:gd name="T4" fmla="*/ 57 w 2866"/>
                  <a:gd name="T5" fmla="*/ 1105 h 2079"/>
                  <a:gd name="T6" fmla="*/ 4 w 2866"/>
                  <a:gd name="T7" fmla="*/ 1013 h 2079"/>
                  <a:gd name="T8" fmla="*/ 137 w 2866"/>
                  <a:gd name="T9" fmla="*/ 818 h 2079"/>
                  <a:gd name="T10" fmla="*/ 297 w 2866"/>
                  <a:gd name="T11" fmla="*/ 745 h 2079"/>
                  <a:gd name="T12" fmla="*/ 403 w 2866"/>
                  <a:gd name="T13" fmla="*/ 711 h 2079"/>
                  <a:gd name="T14" fmla="*/ 600 w 2866"/>
                  <a:gd name="T15" fmla="*/ 625 h 2079"/>
                  <a:gd name="T16" fmla="*/ 686 w 2866"/>
                  <a:gd name="T17" fmla="*/ 471 h 2079"/>
                  <a:gd name="T18" fmla="*/ 768 w 2866"/>
                  <a:gd name="T19" fmla="*/ 490 h 2079"/>
                  <a:gd name="T20" fmla="*/ 820 w 2866"/>
                  <a:gd name="T21" fmla="*/ 370 h 2079"/>
                  <a:gd name="T22" fmla="*/ 883 w 2866"/>
                  <a:gd name="T23" fmla="*/ 313 h 2079"/>
                  <a:gd name="T24" fmla="*/ 1021 w 2866"/>
                  <a:gd name="T25" fmla="*/ 255 h 2079"/>
                  <a:gd name="T26" fmla="*/ 1185 w 2866"/>
                  <a:gd name="T27" fmla="*/ 274 h 2079"/>
                  <a:gd name="T28" fmla="*/ 1252 w 2866"/>
                  <a:gd name="T29" fmla="*/ 183 h 2079"/>
                  <a:gd name="T30" fmla="*/ 1416 w 2866"/>
                  <a:gd name="T31" fmla="*/ 125 h 2079"/>
                  <a:gd name="T32" fmla="*/ 1449 w 2866"/>
                  <a:gd name="T33" fmla="*/ 68 h 2079"/>
                  <a:gd name="T34" fmla="*/ 1641 w 2866"/>
                  <a:gd name="T35" fmla="*/ 111 h 2079"/>
                  <a:gd name="T36" fmla="*/ 1680 w 2866"/>
                  <a:gd name="T37" fmla="*/ 217 h 2079"/>
                  <a:gd name="T38" fmla="*/ 1665 w 2866"/>
                  <a:gd name="T39" fmla="*/ 260 h 2079"/>
                  <a:gd name="T40" fmla="*/ 1680 w 2866"/>
                  <a:gd name="T41" fmla="*/ 380 h 2079"/>
                  <a:gd name="T42" fmla="*/ 1886 w 2866"/>
                  <a:gd name="T43" fmla="*/ 503 h 2079"/>
                  <a:gd name="T44" fmla="*/ 2036 w 2866"/>
                  <a:gd name="T45" fmla="*/ 428 h 2079"/>
                  <a:gd name="T46" fmla="*/ 2078 w 2866"/>
                  <a:gd name="T47" fmla="*/ 178 h 2079"/>
                  <a:gd name="T48" fmla="*/ 2169 w 2866"/>
                  <a:gd name="T49" fmla="*/ 68 h 2079"/>
                  <a:gd name="T50" fmla="*/ 2280 w 2866"/>
                  <a:gd name="T51" fmla="*/ 279 h 2079"/>
                  <a:gd name="T52" fmla="*/ 2344 w 2866"/>
                  <a:gd name="T53" fmla="*/ 458 h 2079"/>
                  <a:gd name="T54" fmla="*/ 2395 w 2866"/>
                  <a:gd name="T55" fmla="*/ 629 h 2079"/>
                  <a:gd name="T56" fmla="*/ 2558 w 2866"/>
                  <a:gd name="T57" fmla="*/ 725 h 2079"/>
                  <a:gd name="T58" fmla="*/ 2683 w 2866"/>
                  <a:gd name="T59" fmla="*/ 893 h 2079"/>
                  <a:gd name="T60" fmla="*/ 2863 w 2866"/>
                  <a:gd name="T61" fmla="*/ 1055 h 2079"/>
                  <a:gd name="T62" fmla="*/ 2812 w 2866"/>
                  <a:gd name="T63" fmla="*/ 1455 h 2079"/>
                  <a:gd name="T64" fmla="*/ 2673 w 2866"/>
                  <a:gd name="T65" fmla="*/ 1666 h 2079"/>
                  <a:gd name="T66" fmla="*/ 2568 w 2866"/>
                  <a:gd name="T67" fmla="*/ 1825 h 2079"/>
                  <a:gd name="T68" fmla="*/ 2371 w 2866"/>
                  <a:gd name="T69" fmla="*/ 2009 h 2079"/>
                  <a:gd name="T70" fmla="*/ 2169 w 2866"/>
                  <a:gd name="T71" fmla="*/ 2017 h 2079"/>
                  <a:gd name="T72" fmla="*/ 2001 w 2866"/>
                  <a:gd name="T73" fmla="*/ 2045 h 2079"/>
                  <a:gd name="T74" fmla="*/ 1824 w 2866"/>
                  <a:gd name="T75" fmla="*/ 1925 h 2079"/>
                  <a:gd name="T76" fmla="*/ 1742 w 2866"/>
                  <a:gd name="T77" fmla="*/ 1801 h 2079"/>
                  <a:gd name="T78" fmla="*/ 1680 w 2866"/>
                  <a:gd name="T79" fmla="*/ 1781 h 2079"/>
                  <a:gd name="T80" fmla="*/ 1681 w 2866"/>
                  <a:gd name="T81" fmla="*/ 1733 h 2079"/>
                  <a:gd name="T82" fmla="*/ 1675 w 2866"/>
                  <a:gd name="T83" fmla="*/ 1671 h 2079"/>
                  <a:gd name="T84" fmla="*/ 1521 w 2866"/>
                  <a:gd name="T85" fmla="*/ 1762 h 2079"/>
                  <a:gd name="T86" fmla="*/ 1355 w 2866"/>
                  <a:gd name="T87" fmla="*/ 1575 h 2079"/>
                  <a:gd name="T88" fmla="*/ 1056 w 2866"/>
                  <a:gd name="T89" fmla="*/ 1570 h 2079"/>
                  <a:gd name="T90" fmla="*/ 751 w 2866"/>
                  <a:gd name="T91" fmla="*/ 1650 h 2079"/>
                  <a:gd name="T92" fmla="*/ 369 w 2866"/>
                  <a:gd name="T93" fmla="*/ 1753 h 2079"/>
                  <a:gd name="T94" fmla="*/ 105 w 2866"/>
                  <a:gd name="T95" fmla="*/ 1743 h 2079"/>
                  <a:gd name="T96" fmla="*/ 148 w 2866"/>
                  <a:gd name="T97" fmla="*/ 1623 h 20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866" h="2079">
                    <a:moveTo>
                      <a:pt x="153" y="1551"/>
                    </a:moveTo>
                    <a:cubicBezTo>
                      <a:pt x="146" y="1532"/>
                      <a:pt x="139" y="1522"/>
                      <a:pt x="124" y="1508"/>
                    </a:cubicBezTo>
                    <a:cubicBezTo>
                      <a:pt x="121" y="1498"/>
                      <a:pt x="113" y="1489"/>
                      <a:pt x="110" y="1479"/>
                    </a:cubicBezTo>
                    <a:cubicBezTo>
                      <a:pt x="101" y="1441"/>
                      <a:pt x="108" y="1401"/>
                      <a:pt x="96" y="1364"/>
                    </a:cubicBezTo>
                    <a:cubicBezTo>
                      <a:pt x="89" y="1341"/>
                      <a:pt x="70" y="1328"/>
                      <a:pt x="62" y="1306"/>
                    </a:cubicBezTo>
                    <a:cubicBezTo>
                      <a:pt x="55" y="1285"/>
                      <a:pt x="51" y="1267"/>
                      <a:pt x="38" y="1249"/>
                    </a:cubicBezTo>
                    <a:cubicBezTo>
                      <a:pt x="28" y="1219"/>
                      <a:pt x="16" y="1189"/>
                      <a:pt x="0" y="1162"/>
                    </a:cubicBezTo>
                    <a:cubicBezTo>
                      <a:pt x="1" y="1166"/>
                      <a:pt x="7" y="1208"/>
                      <a:pt x="28" y="1172"/>
                    </a:cubicBezTo>
                    <a:cubicBezTo>
                      <a:pt x="33" y="1164"/>
                      <a:pt x="25" y="1153"/>
                      <a:pt x="24" y="1143"/>
                    </a:cubicBezTo>
                    <a:cubicBezTo>
                      <a:pt x="34" y="1108"/>
                      <a:pt x="37" y="1154"/>
                      <a:pt x="43" y="1162"/>
                    </a:cubicBezTo>
                    <a:cubicBezTo>
                      <a:pt x="46" y="1166"/>
                      <a:pt x="52" y="1165"/>
                      <a:pt x="57" y="1167"/>
                    </a:cubicBezTo>
                    <a:cubicBezTo>
                      <a:pt x="89" y="1156"/>
                      <a:pt x="72" y="1126"/>
                      <a:pt x="57" y="1105"/>
                    </a:cubicBezTo>
                    <a:cubicBezTo>
                      <a:pt x="50" y="1085"/>
                      <a:pt x="41" y="1087"/>
                      <a:pt x="24" y="1076"/>
                    </a:cubicBezTo>
                    <a:cubicBezTo>
                      <a:pt x="22" y="1071"/>
                      <a:pt x="20" y="1066"/>
                      <a:pt x="19" y="1061"/>
                    </a:cubicBezTo>
                    <a:cubicBezTo>
                      <a:pt x="17" y="1055"/>
                      <a:pt x="16" y="1048"/>
                      <a:pt x="14" y="1042"/>
                    </a:cubicBezTo>
                    <a:cubicBezTo>
                      <a:pt x="11" y="1032"/>
                      <a:pt x="4" y="1013"/>
                      <a:pt x="4" y="1013"/>
                    </a:cubicBezTo>
                    <a:cubicBezTo>
                      <a:pt x="8" y="982"/>
                      <a:pt x="18" y="971"/>
                      <a:pt x="34" y="947"/>
                    </a:cubicBezTo>
                    <a:cubicBezTo>
                      <a:pt x="43" y="915"/>
                      <a:pt x="27" y="843"/>
                      <a:pt x="62" y="831"/>
                    </a:cubicBezTo>
                    <a:cubicBezTo>
                      <a:pt x="54" y="856"/>
                      <a:pt x="38" y="878"/>
                      <a:pt x="72" y="889"/>
                    </a:cubicBezTo>
                    <a:cubicBezTo>
                      <a:pt x="91" y="857"/>
                      <a:pt x="104" y="840"/>
                      <a:pt x="137" y="818"/>
                    </a:cubicBezTo>
                    <a:cubicBezTo>
                      <a:pt x="153" y="802"/>
                      <a:pt x="158" y="800"/>
                      <a:pt x="168" y="793"/>
                    </a:cubicBezTo>
                    <a:cubicBezTo>
                      <a:pt x="178" y="787"/>
                      <a:pt x="196" y="773"/>
                      <a:pt x="196" y="773"/>
                    </a:cubicBezTo>
                    <a:cubicBezTo>
                      <a:pt x="203" y="754"/>
                      <a:pt x="217" y="757"/>
                      <a:pt x="236" y="752"/>
                    </a:cubicBezTo>
                    <a:cubicBezTo>
                      <a:pt x="258" y="736"/>
                      <a:pt x="272" y="736"/>
                      <a:pt x="297" y="745"/>
                    </a:cubicBezTo>
                    <a:cubicBezTo>
                      <a:pt x="308" y="743"/>
                      <a:pt x="320" y="743"/>
                      <a:pt x="331" y="740"/>
                    </a:cubicBezTo>
                    <a:cubicBezTo>
                      <a:pt x="336" y="738"/>
                      <a:pt x="341" y="734"/>
                      <a:pt x="345" y="730"/>
                    </a:cubicBezTo>
                    <a:cubicBezTo>
                      <a:pt x="349" y="726"/>
                      <a:pt x="350" y="718"/>
                      <a:pt x="355" y="716"/>
                    </a:cubicBezTo>
                    <a:cubicBezTo>
                      <a:pt x="370" y="711"/>
                      <a:pt x="387" y="713"/>
                      <a:pt x="403" y="711"/>
                    </a:cubicBezTo>
                    <a:cubicBezTo>
                      <a:pt x="419" y="707"/>
                      <a:pt x="432" y="701"/>
                      <a:pt x="452" y="698"/>
                    </a:cubicBezTo>
                    <a:cubicBezTo>
                      <a:pt x="472" y="695"/>
                      <a:pt x="503" y="698"/>
                      <a:pt x="523" y="692"/>
                    </a:cubicBezTo>
                    <a:cubicBezTo>
                      <a:pt x="551" y="684"/>
                      <a:pt x="558" y="674"/>
                      <a:pt x="571" y="663"/>
                    </a:cubicBezTo>
                    <a:cubicBezTo>
                      <a:pt x="587" y="652"/>
                      <a:pt x="593" y="643"/>
                      <a:pt x="600" y="625"/>
                    </a:cubicBezTo>
                    <a:cubicBezTo>
                      <a:pt x="611" y="614"/>
                      <a:pt x="613" y="592"/>
                      <a:pt x="623" y="582"/>
                    </a:cubicBezTo>
                    <a:cubicBezTo>
                      <a:pt x="633" y="572"/>
                      <a:pt x="658" y="580"/>
                      <a:pt x="662" y="567"/>
                    </a:cubicBezTo>
                    <a:cubicBezTo>
                      <a:pt x="667" y="556"/>
                      <a:pt x="645" y="517"/>
                      <a:pt x="649" y="501"/>
                    </a:cubicBezTo>
                    <a:cubicBezTo>
                      <a:pt x="653" y="485"/>
                      <a:pt x="674" y="475"/>
                      <a:pt x="686" y="471"/>
                    </a:cubicBezTo>
                    <a:cubicBezTo>
                      <a:pt x="697" y="429"/>
                      <a:pt x="710" y="440"/>
                      <a:pt x="722" y="474"/>
                    </a:cubicBezTo>
                    <a:cubicBezTo>
                      <a:pt x="727" y="488"/>
                      <a:pt x="741" y="510"/>
                      <a:pt x="746" y="524"/>
                    </a:cubicBezTo>
                    <a:cubicBezTo>
                      <a:pt x="754" y="531"/>
                      <a:pt x="754" y="518"/>
                      <a:pt x="758" y="512"/>
                    </a:cubicBezTo>
                    <a:cubicBezTo>
                      <a:pt x="762" y="506"/>
                      <a:pt x="770" y="500"/>
                      <a:pt x="768" y="490"/>
                    </a:cubicBezTo>
                    <a:cubicBezTo>
                      <a:pt x="784" y="465"/>
                      <a:pt x="769" y="465"/>
                      <a:pt x="748" y="452"/>
                    </a:cubicBezTo>
                    <a:cubicBezTo>
                      <a:pt x="759" y="409"/>
                      <a:pt x="743" y="448"/>
                      <a:pt x="811" y="428"/>
                    </a:cubicBezTo>
                    <a:cubicBezTo>
                      <a:pt x="826" y="424"/>
                      <a:pt x="830" y="385"/>
                      <a:pt x="830" y="385"/>
                    </a:cubicBezTo>
                    <a:cubicBezTo>
                      <a:pt x="827" y="380"/>
                      <a:pt x="817" y="375"/>
                      <a:pt x="820" y="370"/>
                    </a:cubicBezTo>
                    <a:cubicBezTo>
                      <a:pt x="825" y="363"/>
                      <a:pt x="836" y="368"/>
                      <a:pt x="844" y="365"/>
                    </a:cubicBezTo>
                    <a:cubicBezTo>
                      <a:pt x="849" y="363"/>
                      <a:pt x="854" y="359"/>
                      <a:pt x="859" y="356"/>
                    </a:cubicBezTo>
                    <a:cubicBezTo>
                      <a:pt x="863" y="354"/>
                      <a:pt x="868" y="353"/>
                      <a:pt x="873" y="351"/>
                    </a:cubicBezTo>
                    <a:cubicBezTo>
                      <a:pt x="877" y="339"/>
                      <a:pt x="876" y="324"/>
                      <a:pt x="883" y="313"/>
                    </a:cubicBezTo>
                    <a:cubicBezTo>
                      <a:pt x="889" y="304"/>
                      <a:pt x="903" y="304"/>
                      <a:pt x="912" y="298"/>
                    </a:cubicBezTo>
                    <a:cubicBezTo>
                      <a:pt x="919" y="273"/>
                      <a:pt x="938" y="272"/>
                      <a:pt x="960" y="265"/>
                    </a:cubicBezTo>
                    <a:cubicBezTo>
                      <a:pt x="969" y="262"/>
                      <a:pt x="988" y="255"/>
                      <a:pt x="988" y="255"/>
                    </a:cubicBezTo>
                    <a:cubicBezTo>
                      <a:pt x="1003" y="234"/>
                      <a:pt x="999" y="247"/>
                      <a:pt x="1021" y="255"/>
                    </a:cubicBezTo>
                    <a:cubicBezTo>
                      <a:pt x="1045" y="289"/>
                      <a:pt x="1083" y="309"/>
                      <a:pt x="1123" y="322"/>
                    </a:cubicBezTo>
                    <a:cubicBezTo>
                      <a:pt x="1147" y="333"/>
                      <a:pt x="1174" y="331"/>
                      <a:pt x="1184" y="323"/>
                    </a:cubicBezTo>
                    <a:cubicBezTo>
                      <a:pt x="1193" y="318"/>
                      <a:pt x="1177" y="299"/>
                      <a:pt x="1177" y="291"/>
                    </a:cubicBezTo>
                    <a:cubicBezTo>
                      <a:pt x="1177" y="283"/>
                      <a:pt x="1181" y="279"/>
                      <a:pt x="1185" y="274"/>
                    </a:cubicBezTo>
                    <a:cubicBezTo>
                      <a:pt x="1189" y="264"/>
                      <a:pt x="1189" y="269"/>
                      <a:pt x="1199" y="260"/>
                    </a:cubicBezTo>
                    <a:cubicBezTo>
                      <a:pt x="1204" y="252"/>
                      <a:pt x="1206" y="234"/>
                      <a:pt x="1213" y="228"/>
                    </a:cubicBezTo>
                    <a:cubicBezTo>
                      <a:pt x="1220" y="222"/>
                      <a:pt x="1237" y="228"/>
                      <a:pt x="1243" y="221"/>
                    </a:cubicBezTo>
                    <a:cubicBezTo>
                      <a:pt x="1234" y="186"/>
                      <a:pt x="1211" y="192"/>
                      <a:pt x="1252" y="183"/>
                    </a:cubicBezTo>
                    <a:cubicBezTo>
                      <a:pt x="1262" y="168"/>
                      <a:pt x="1281" y="145"/>
                      <a:pt x="1296" y="140"/>
                    </a:cubicBezTo>
                    <a:cubicBezTo>
                      <a:pt x="1303" y="129"/>
                      <a:pt x="1302" y="123"/>
                      <a:pt x="1318" y="125"/>
                    </a:cubicBezTo>
                    <a:cubicBezTo>
                      <a:pt x="1329" y="126"/>
                      <a:pt x="1342" y="137"/>
                      <a:pt x="1342" y="137"/>
                    </a:cubicBezTo>
                    <a:cubicBezTo>
                      <a:pt x="1363" y="135"/>
                      <a:pt x="1398" y="135"/>
                      <a:pt x="1416" y="125"/>
                    </a:cubicBezTo>
                    <a:cubicBezTo>
                      <a:pt x="1424" y="120"/>
                      <a:pt x="1418" y="104"/>
                      <a:pt x="1411" y="97"/>
                    </a:cubicBezTo>
                    <a:cubicBezTo>
                      <a:pt x="1404" y="90"/>
                      <a:pt x="1392" y="94"/>
                      <a:pt x="1382" y="92"/>
                    </a:cubicBezTo>
                    <a:cubicBezTo>
                      <a:pt x="1335" y="59"/>
                      <a:pt x="1368" y="64"/>
                      <a:pt x="1406" y="58"/>
                    </a:cubicBezTo>
                    <a:cubicBezTo>
                      <a:pt x="1421" y="61"/>
                      <a:pt x="1439" y="58"/>
                      <a:pt x="1449" y="68"/>
                    </a:cubicBezTo>
                    <a:cubicBezTo>
                      <a:pt x="1475" y="94"/>
                      <a:pt x="1427" y="71"/>
                      <a:pt x="1468" y="92"/>
                    </a:cubicBezTo>
                    <a:cubicBezTo>
                      <a:pt x="1484" y="98"/>
                      <a:pt x="1508" y="119"/>
                      <a:pt x="1537" y="122"/>
                    </a:cubicBezTo>
                    <a:cubicBezTo>
                      <a:pt x="1560" y="128"/>
                      <a:pt x="1587" y="133"/>
                      <a:pt x="1604" y="131"/>
                    </a:cubicBezTo>
                    <a:cubicBezTo>
                      <a:pt x="1621" y="129"/>
                      <a:pt x="1630" y="113"/>
                      <a:pt x="1641" y="111"/>
                    </a:cubicBezTo>
                    <a:cubicBezTo>
                      <a:pt x="1652" y="107"/>
                      <a:pt x="1657" y="118"/>
                      <a:pt x="1669" y="119"/>
                    </a:cubicBezTo>
                    <a:cubicBezTo>
                      <a:pt x="1681" y="120"/>
                      <a:pt x="1707" y="109"/>
                      <a:pt x="1713" y="116"/>
                    </a:cubicBezTo>
                    <a:cubicBezTo>
                      <a:pt x="1725" y="124"/>
                      <a:pt x="1710" y="145"/>
                      <a:pt x="1708" y="159"/>
                    </a:cubicBezTo>
                    <a:cubicBezTo>
                      <a:pt x="1704" y="183"/>
                      <a:pt x="1699" y="203"/>
                      <a:pt x="1680" y="217"/>
                    </a:cubicBezTo>
                    <a:cubicBezTo>
                      <a:pt x="1687" y="259"/>
                      <a:pt x="1689" y="228"/>
                      <a:pt x="1708" y="260"/>
                    </a:cubicBezTo>
                    <a:cubicBezTo>
                      <a:pt x="1707" y="270"/>
                      <a:pt x="1711" y="282"/>
                      <a:pt x="1704" y="289"/>
                    </a:cubicBezTo>
                    <a:cubicBezTo>
                      <a:pt x="1684" y="309"/>
                      <a:pt x="1682" y="271"/>
                      <a:pt x="1680" y="269"/>
                    </a:cubicBezTo>
                    <a:cubicBezTo>
                      <a:pt x="1676" y="264"/>
                      <a:pt x="1670" y="263"/>
                      <a:pt x="1665" y="260"/>
                    </a:cubicBezTo>
                    <a:cubicBezTo>
                      <a:pt x="1651" y="274"/>
                      <a:pt x="1637" y="279"/>
                      <a:pt x="1632" y="298"/>
                    </a:cubicBezTo>
                    <a:cubicBezTo>
                      <a:pt x="1627" y="308"/>
                      <a:pt x="1615" y="316"/>
                      <a:pt x="1616" y="324"/>
                    </a:cubicBezTo>
                    <a:cubicBezTo>
                      <a:pt x="1617" y="332"/>
                      <a:pt x="1625" y="337"/>
                      <a:pt x="1636" y="346"/>
                    </a:cubicBezTo>
                    <a:cubicBezTo>
                      <a:pt x="1641" y="364"/>
                      <a:pt x="1680" y="380"/>
                      <a:pt x="1680" y="380"/>
                    </a:cubicBezTo>
                    <a:cubicBezTo>
                      <a:pt x="1697" y="393"/>
                      <a:pt x="1710" y="401"/>
                      <a:pt x="1742" y="414"/>
                    </a:cubicBezTo>
                    <a:cubicBezTo>
                      <a:pt x="1765" y="428"/>
                      <a:pt x="1796" y="452"/>
                      <a:pt x="1819" y="462"/>
                    </a:cubicBezTo>
                    <a:cubicBezTo>
                      <a:pt x="1842" y="472"/>
                      <a:pt x="1870" y="469"/>
                      <a:pt x="1881" y="476"/>
                    </a:cubicBezTo>
                    <a:cubicBezTo>
                      <a:pt x="1885" y="479"/>
                      <a:pt x="1882" y="499"/>
                      <a:pt x="1886" y="503"/>
                    </a:cubicBezTo>
                    <a:cubicBezTo>
                      <a:pt x="1893" y="510"/>
                      <a:pt x="1900" y="500"/>
                      <a:pt x="1905" y="509"/>
                    </a:cubicBezTo>
                    <a:cubicBezTo>
                      <a:pt x="1914" y="526"/>
                      <a:pt x="1914" y="523"/>
                      <a:pt x="1929" y="533"/>
                    </a:cubicBezTo>
                    <a:cubicBezTo>
                      <a:pt x="1963" y="531"/>
                      <a:pt x="1995" y="542"/>
                      <a:pt x="2006" y="509"/>
                    </a:cubicBezTo>
                    <a:cubicBezTo>
                      <a:pt x="2010" y="481"/>
                      <a:pt x="2019" y="451"/>
                      <a:pt x="2036" y="428"/>
                    </a:cubicBezTo>
                    <a:cubicBezTo>
                      <a:pt x="2046" y="387"/>
                      <a:pt x="2048" y="413"/>
                      <a:pt x="2056" y="344"/>
                    </a:cubicBezTo>
                    <a:cubicBezTo>
                      <a:pt x="2058" y="326"/>
                      <a:pt x="2054" y="308"/>
                      <a:pt x="2054" y="308"/>
                    </a:cubicBezTo>
                    <a:cubicBezTo>
                      <a:pt x="2061" y="214"/>
                      <a:pt x="2051" y="262"/>
                      <a:pt x="2064" y="221"/>
                    </a:cubicBezTo>
                    <a:cubicBezTo>
                      <a:pt x="2068" y="207"/>
                      <a:pt x="2078" y="178"/>
                      <a:pt x="2078" y="178"/>
                    </a:cubicBezTo>
                    <a:cubicBezTo>
                      <a:pt x="2080" y="156"/>
                      <a:pt x="2079" y="133"/>
                      <a:pt x="2083" y="111"/>
                    </a:cubicBezTo>
                    <a:cubicBezTo>
                      <a:pt x="2086" y="96"/>
                      <a:pt x="2102" y="68"/>
                      <a:pt x="2102" y="68"/>
                    </a:cubicBezTo>
                    <a:cubicBezTo>
                      <a:pt x="2096" y="12"/>
                      <a:pt x="2088" y="0"/>
                      <a:pt x="2140" y="34"/>
                    </a:cubicBezTo>
                    <a:cubicBezTo>
                      <a:pt x="2151" y="51"/>
                      <a:pt x="2150" y="61"/>
                      <a:pt x="2169" y="68"/>
                    </a:cubicBezTo>
                    <a:cubicBezTo>
                      <a:pt x="2175" y="126"/>
                      <a:pt x="2169" y="101"/>
                      <a:pt x="2184" y="145"/>
                    </a:cubicBezTo>
                    <a:cubicBezTo>
                      <a:pt x="2189" y="159"/>
                      <a:pt x="2198" y="188"/>
                      <a:pt x="2198" y="188"/>
                    </a:cubicBezTo>
                    <a:cubicBezTo>
                      <a:pt x="2203" y="221"/>
                      <a:pt x="2199" y="281"/>
                      <a:pt x="2236" y="294"/>
                    </a:cubicBezTo>
                    <a:cubicBezTo>
                      <a:pt x="2270" y="282"/>
                      <a:pt x="2255" y="271"/>
                      <a:pt x="2280" y="279"/>
                    </a:cubicBezTo>
                    <a:cubicBezTo>
                      <a:pt x="2291" y="297"/>
                      <a:pt x="2302" y="295"/>
                      <a:pt x="2313" y="313"/>
                    </a:cubicBezTo>
                    <a:cubicBezTo>
                      <a:pt x="2315" y="330"/>
                      <a:pt x="2315" y="348"/>
                      <a:pt x="2318" y="365"/>
                    </a:cubicBezTo>
                    <a:cubicBezTo>
                      <a:pt x="2320" y="375"/>
                      <a:pt x="2328" y="394"/>
                      <a:pt x="2328" y="394"/>
                    </a:cubicBezTo>
                    <a:cubicBezTo>
                      <a:pt x="2330" y="411"/>
                      <a:pt x="2338" y="441"/>
                      <a:pt x="2344" y="458"/>
                    </a:cubicBezTo>
                    <a:cubicBezTo>
                      <a:pt x="2350" y="475"/>
                      <a:pt x="2361" y="488"/>
                      <a:pt x="2366" y="500"/>
                    </a:cubicBezTo>
                    <a:cubicBezTo>
                      <a:pt x="2369" y="510"/>
                      <a:pt x="2376" y="519"/>
                      <a:pt x="2376" y="529"/>
                    </a:cubicBezTo>
                    <a:cubicBezTo>
                      <a:pt x="2377" y="559"/>
                      <a:pt x="2374" y="590"/>
                      <a:pt x="2380" y="620"/>
                    </a:cubicBezTo>
                    <a:cubicBezTo>
                      <a:pt x="2381" y="626"/>
                      <a:pt x="2390" y="626"/>
                      <a:pt x="2395" y="629"/>
                    </a:cubicBezTo>
                    <a:cubicBezTo>
                      <a:pt x="2418" y="644"/>
                      <a:pt x="2442" y="650"/>
                      <a:pt x="2467" y="658"/>
                    </a:cubicBezTo>
                    <a:cubicBezTo>
                      <a:pt x="2476" y="665"/>
                      <a:pt x="2488" y="669"/>
                      <a:pt x="2496" y="677"/>
                    </a:cubicBezTo>
                    <a:cubicBezTo>
                      <a:pt x="2519" y="700"/>
                      <a:pt x="2489" y="687"/>
                      <a:pt x="2520" y="697"/>
                    </a:cubicBezTo>
                    <a:cubicBezTo>
                      <a:pt x="2531" y="714"/>
                      <a:pt x="2539" y="720"/>
                      <a:pt x="2558" y="725"/>
                    </a:cubicBezTo>
                    <a:cubicBezTo>
                      <a:pt x="2579" y="740"/>
                      <a:pt x="2571" y="745"/>
                      <a:pt x="2558" y="764"/>
                    </a:cubicBezTo>
                    <a:cubicBezTo>
                      <a:pt x="2572" y="778"/>
                      <a:pt x="2580" y="792"/>
                      <a:pt x="2596" y="802"/>
                    </a:cubicBezTo>
                    <a:cubicBezTo>
                      <a:pt x="2599" y="834"/>
                      <a:pt x="2589" y="868"/>
                      <a:pt x="2620" y="879"/>
                    </a:cubicBezTo>
                    <a:cubicBezTo>
                      <a:pt x="2647" y="870"/>
                      <a:pt x="2658" y="886"/>
                      <a:pt x="2683" y="893"/>
                    </a:cubicBezTo>
                    <a:cubicBezTo>
                      <a:pt x="2698" y="901"/>
                      <a:pt x="2680" y="931"/>
                      <a:pt x="2701" y="960"/>
                    </a:cubicBezTo>
                    <a:cubicBezTo>
                      <a:pt x="2722" y="989"/>
                      <a:pt x="2788" y="1044"/>
                      <a:pt x="2808" y="1066"/>
                    </a:cubicBezTo>
                    <a:cubicBezTo>
                      <a:pt x="2827" y="1087"/>
                      <a:pt x="2811" y="1063"/>
                      <a:pt x="2819" y="1092"/>
                    </a:cubicBezTo>
                    <a:cubicBezTo>
                      <a:pt x="2828" y="1090"/>
                      <a:pt x="2860" y="1050"/>
                      <a:pt x="2863" y="1055"/>
                    </a:cubicBezTo>
                    <a:cubicBezTo>
                      <a:pt x="2866" y="1060"/>
                      <a:pt x="2841" y="1093"/>
                      <a:pt x="2836" y="1122"/>
                    </a:cubicBezTo>
                    <a:cubicBezTo>
                      <a:pt x="2831" y="1151"/>
                      <a:pt x="2830" y="1194"/>
                      <a:pt x="2833" y="1227"/>
                    </a:cubicBezTo>
                    <a:cubicBezTo>
                      <a:pt x="2836" y="1260"/>
                      <a:pt x="2854" y="1284"/>
                      <a:pt x="2851" y="1322"/>
                    </a:cubicBezTo>
                    <a:cubicBezTo>
                      <a:pt x="2847" y="1360"/>
                      <a:pt x="2816" y="1418"/>
                      <a:pt x="2812" y="1455"/>
                    </a:cubicBezTo>
                    <a:cubicBezTo>
                      <a:pt x="2799" y="1494"/>
                      <a:pt x="2785" y="1535"/>
                      <a:pt x="2774" y="1556"/>
                    </a:cubicBezTo>
                    <a:cubicBezTo>
                      <a:pt x="2766" y="1566"/>
                      <a:pt x="2754" y="1571"/>
                      <a:pt x="2745" y="1580"/>
                    </a:cubicBezTo>
                    <a:cubicBezTo>
                      <a:pt x="2738" y="1599"/>
                      <a:pt x="2744" y="1615"/>
                      <a:pt x="2726" y="1622"/>
                    </a:cubicBezTo>
                    <a:cubicBezTo>
                      <a:pt x="2713" y="1641"/>
                      <a:pt x="2686" y="1647"/>
                      <a:pt x="2673" y="1666"/>
                    </a:cubicBezTo>
                    <a:cubicBezTo>
                      <a:pt x="2666" y="1688"/>
                      <a:pt x="2661" y="1688"/>
                      <a:pt x="2641" y="1695"/>
                    </a:cubicBezTo>
                    <a:cubicBezTo>
                      <a:pt x="2632" y="1705"/>
                      <a:pt x="2634" y="1720"/>
                      <a:pt x="2627" y="1734"/>
                    </a:cubicBezTo>
                    <a:cubicBezTo>
                      <a:pt x="2620" y="1748"/>
                      <a:pt x="2611" y="1762"/>
                      <a:pt x="2601" y="1777"/>
                    </a:cubicBezTo>
                    <a:cubicBezTo>
                      <a:pt x="2594" y="1798"/>
                      <a:pt x="2591" y="1817"/>
                      <a:pt x="2568" y="1825"/>
                    </a:cubicBezTo>
                    <a:cubicBezTo>
                      <a:pt x="2559" y="1837"/>
                      <a:pt x="2552" y="1824"/>
                      <a:pt x="2544" y="1849"/>
                    </a:cubicBezTo>
                    <a:cubicBezTo>
                      <a:pt x="2538" y="1872"/>
                      <a:pt x="2536" y="1953"/>
                      <a:pt x="2520" y="1978"/>
                    </a:cubicBezTo>
                    <a:cubicBezTo>
                      <a:pt x="2514" y="2001"/>
                      <a:pt x="2459" y="2000"/>
                      <a:pt x="2448" y="2002"/>
                    </a:cubicBezTo>
                    <a:cubicBezTo>
                      <a:pt x="2425" y="2009"/>
                      <a:pt x="2394" y="2001"/>
                      <a:pt x="2371" y="2009"/>
                    </a:cubicBezTo>
                    <a:cubicBezTo>
                      <a:pt x="2348" y="2017"/>
                      <a:pt x="2327" y="2039"/>
                      <a:pt x="2308" y="2050"/>
                    </a:cubicBezTo>
                    <a:cubicBezTo>
                      <a:pt x="2285" y="2066"/>
                      <a:pt x="2288" y="2068"/>
                      <a:pt x="2258" y="2078"/>
                    </a:cubicBezTo>
                    <a:cubicBezTo>
                      <a:pt x="2242" y="2079"/>
                      <a:pt x="2227" y="2065"/>
                      <a:pt x="2212" y="2055"/>
                    </a:cubicBezTo>
                    <a:cubicBezTo>
                      <a:pt x="2180" y="2022"/>
                      <a:pt x="2196" y="2033"/>
                      <a:pt x="2169" y="2017"/>
                    </a:cubicBezTo>
                    <a:cubicBezTo>
                      <a:pt x="2132" y="2028"/>
                      <a:pt x="2180" y="2012"/>
                      <a:pt x="2140" y="2031"/>
                    </a:cubicBezTo>
                    <a:cubicBezTo>
                      <a:pt x="2120" y="2040"/>
                      <a:pt x="2072" y="2067"/>
                      <a:pt x="2049" y="2069"/>
                    </a:cubicBezTo>
                    <a:cubicBezTo>
                      <a:pt x="2019" y="2063"/>
                      <a:pt x="2035" y="2069"/>
                      <a:pt x="2001" y="2045"/>
                    </a:cubicBezTo>
                    <a:lnTo>
                      <a:pt x="2001" y="2045"/>
                    </a:lnTo>
                    <a:cubicBezTo>
                      <a:pt x="1970" y="2036"/>
                      <a:pt x="1992" y="2041"/>
                      <a:pt x="1934" y="2036"/>
                    </a:cubicBezTo>
                    <a:cubicBezTo>
                      <a:pt x="1916" y="2023"/>
                      <a:pt x="1897" y="2019"/>
                      <a:pt x="1876" y="2012"/>
                    </a:cubicBezTo>
                    <a:cubicBezTo>
                      <a:pt x="1856" y="1998"/>
                      <a:pt x="1851" y="1975"/>
                      <a:pt x="1828" y="1969"/>
                    </a:cubicBezTo>
                    <a:cubicBezTo>
                      <a:pt x="1810" y="1940"/>
                      <a:pt x="1824" y="1970"/>
                      <a:pt x="1824" y="1925"/>
                    </a:cubicBezTo>
                    <a:cubicBezTo>
                      <a:pt x="1824" y="1892"/>
                      <a:pt x="1796" y="1855"/>
                      <a:pt x="1766" y="1844"/>
                    </a:cubicBezTo>
                    <a:cubicBezTo>
                      <a:pt x="1763" y="1839"/>
                      <a:pt x="1762" y="1831"/>
                      <a:pt x="1756" y="1829"/>
                    </a:cubicBezTo>
                    <a:cubicBezTo>
                      <a:pt x="1744" y="1824"/>
                      <a:pt x="1729" y="1846"/>
                      <a:pt x="1718" y="1839"/>
                    </a:cubicBezTo>
                    <a:cubicBezTo>
                      <a:pt x="1710" y="1834"/>
                      <a:pt x="1731" y="1808"/>
                      <a:pt x="1742" y="1801"/>
                    </a:cubicBezTo>
                    <a:cubicBezTo>
                      <a:pt x="1738" y="1777"/>
                      <a:pt x="1731" y="1765"/>
                      <a:pt x="1723" y="1743"/>
                    </a:cubicBezTo>
                    <a:cubicBezTo>
                      <a:pt x="1720" y="1748"/>
                      <a:pt x="1717" y="1753"/>
                      <a:pt x="1713" y="1757"/>
                    </a:cubicBezTo>
                    <a:cubicBezTo>
                      <a:pt x="1709" y="1760"/>
                      <a:pt x="1702" y="1758"/>
                      <a:pt x="1699" y="1762"/>
                    </a:cubicBezTo>
                    <a:cubicBezTo>
                      <a:pt x="1676" y="1786"/>
                      <a:pt x="1714" y="1771"/>
                      <a:pt x="1680" y="1781"/>
                    </a:cubicBezTo>
                    <a:cubicBezTo>
                      <a:pt x="1678" y="1789"/>
                      <a:pt x="1682" y="1802"/>
                      <a:pt x="1675" y="1805"/>
                    </a:cubicBezTo>
                    <a:cubicBezTo>
                      <a:pt x="1637" y="1822"/>
                      <a:pt x="1637" y="1805"/>
                      <a:pt x="1632" y="1786"/>
                    </a:cubicBezTo>
                    <a:cubicBezTo>
                      <a:pt x="1646" y="1781"/>
                      <a:pt x="1667" y="1790"/>
                      <a:pt x="1675" y="1777"/>
                    </a:cubicBezTo>
                    <a:cubicBezTo>
                      <a:pt x="1685" y="1768"/>
                      <a:pt x="1673" y="1755"/>
                      <a:pt x="1681" y="1733"/>
                    </a:cubicBezTo>
                    <a:cubicBezTo>
                      <a:pt x="1686" y="1718"/>
                      <a:pt x="1701" y="1702"/>
                      <a:pt x="1708" y="1688"/>
                    </a:cubicBezTo>
                    <a:cubicBezTo>
                      <a:pt x="1715" y="1674"/>
                      <a:pt x="1724" y="1656"/>
                      <a:pt x="1723" y="1647"/>
                    </a:cubicBezTo>
                    <a:cubicBezTo>
                      <a:pt x="1711" y="1612"/>
                      <a:pt x="1720" y="1611"/>
                      <a:pt x="1699" y="1633"/>
                    </a:cubicBezTo>
                    <a:cubicBezTo>
                      <a:pt x="1687" y="1666"/>
                      <a:pt x="1697" y="1655"/>
                      <a:pt x="1675" y="1671"/>
                    </a:cubicBezTo>
                    <a:cubicBezTo>
                      <a:pt x="1667" y="1692"/>
                      <a:pt x="1659" y="1690"/>
                      <a:pt x="1641" y="1700"/>
                    </a:cubicBezTo>
                    <a:cubicBezTo>
                      <a:pt x="1631" y="1706"/>
                      <a:pt x="1612" y="1719"/>
                      <a:pt x="1612" y="1719"/>
                    </a:cubicBezTo>
                    <a:cubicBezTo>
                      <a:pt x="1591" y="1750"/>
                      <a:pt x="1596" y="1748"/>
                      <a:pt x="1564" y="1757"/>
                    </a:cubicBezTo>
                    <a:cubicBezTo>
                      <a:pt x="1550" y="1781"/>
                      <a:pt x="1541" y="1782"/>
                      <a:pt x="1521" y="1762"/>
                    </a:cubicBezTo>
                    <a:cubicBezTo>
                      <a:pt x="1512" y="1721"/>
                      <a:pt x="1512" y="1676"/>
                      <a:pt x="1468" y="1661"/>
                    </a:cubicBezTo>
                    <a:cubicBezTo>
                      <a:pt x="1452" y="1645"/>
                      <a:pt x="1442" y="1640"/>
                      <a:pt x="1449" y="1618"/>
                    </a:cubicBezTo>
                    <a:cubicBezTo>
                      <a:pt x="1438" y="1588"/>
                      <a:pt x="1450" y="1607"/>
                      <a:pt x="1396" y="1599"/>
                    </a:cubicBezTo>
                    <a:cubicBezTo>
                      <a:pt x="1380" y="1594"/>
                      <a:pt x="1371" y="1579"/>
                      <a:pt x="1355" y="1575"/>
                    </a:cubicBezTo>
                    <a:cubicBezTo>
                      <a:pt x="1339" y="1571"/>
                      <a:pt x="1315" y="1581"/>
                      <a:pt x="1300" y="1575"/>
                    </a:cubicBezTo>
                    <a:cubicBezTo>
                      <a:pt x="1291" y="1561"/>
                      <a:pt x="1262" y="1541"/>
                      <a:pt x="1262" y="1541"/>
                    </a:cubicBezTo>
                    <a:cubicBezTo>
                      <a:pt x="1203" y="1543"/>
                      <a:pt x="1139" y="1528"/>
                      <a:pt x="1084" y="1551"/>
                    </a:cubicBezTo>
                    <a:cubicBezTo>
                      <a:pt x="1074" y="1555"/>
                      <a:pt x="1067" y="1566"/>
                      <a:pt x="1056" y="1570"/>
                    </a:cubicBezTo>
                    <a:cubicBezTo>
                      <a:pt x="1046" y="1573"/>
                      <a:pt x="1037" y="1577"/>
                      <a:pt x="1027" y="1580"/>
                    </a:cubicBezTo>
                    <a:cubicBezTo>
                      <a:pt x="986" y="1594"/>
                      <a:pt x="897" y="1599"/>
                      <a:pt x="897" y="1599"/>
                    </a:cubicBezTo>
                    <a:cubicBezTo>
                      <a:pt x="873" y="1607"/>
                      <a:pt x="844" y="1613"/>
                      <a:pt x="824" y="1629"/>
                    </a:cubicBezTo>
                    <a:cubicBezTo>
                      <a:pt x="799" y="1641"/>
                      <a:pt x="770" y="1636"/>
                      <a:pt x="751" y="1650"/>
                    </a:cubicBezTo>
                    <a:cubicBezTo>
                      <a:pt x="747" y="1656"/>
                      <a:pt x="721" y="1708"/>
                      <a:pt x="710" y="1714"/>
                    </a:cubicBezTo>
                    <a:cubicBezTo>
                      <a:pt x="662" y="1725"/>
                      <a:pt x="517" y="1708"/>
                      <a:pt x="460" y="1714"/>
                    </a:cubicBezTo>
                    <a:cubicBezTo>
                      <a:pt x="409" y="1716"/>
                      <a:pt x="419" y="1746"/>
                      <a:pt x="404" y="1752"/>
                    </a:cubicBezTo>
                    <a:cubicBezTo>
                      <a:pt x="389" y="1758"/>
                      <a:pt x="385" y="1746"/>
                      <a:pt x="369" y="1753"/>
                    </a:cubicBezTo>
                    <a:cubicBezTo>
                      <a:pt x="352" y="1756"/>
                      <a:pt x="336" y="1789"/>
                      <a:pt x="307" y="1796"/>
                    </a:cubicBezTo>
                    <a:cubicBezTo>
                      <a:pt x="278" y="1803"/>
                      <a:pt x="222" y="1800"/>
                      <a:pt x="196" y="1796"/>
                    </a:cubicBezTo>
                    <a:cubicBezTo>
                      <a:pt x="164" y="1774"/>
                      <a:pt x="179" y="1781"/>
                      <a:pt x="153" y="1772"/>
                    </a:cubicBezTo>
                    <a:cubicBezTo>
                      <a:pt x="140" y="1750"/>
                      <a:pt x="131" y="1748"/>
                      <a:pt x="105" y="1743"/>
                    </a:cubicBezTo>
                    <a:cubicBezTo>
                      <a:pt x="102" y="1734"/>
                      <a:pt x="88" y="1709"/>
                      <a:pt x="100" y="1700"/>
                    </a:cubicBezTo>
                    <a:cubicBezTo>
                      <a:pt x="113" y="1691"/>
                      <a:pt x="130" y="1689"/>
                      <a:pt x="144" y="1681"/>
                    </a:cubicBezTo>
                    <a:cubicBezTo>
                      <a:pt x="146" y="1677"/>
                      <a:pt x="159" y="1659"/>
                      <a:pt x="158" y="1652"/>
                    </a:cubicBezTo>
                    <a:cubicBezTo>
                      <a:pt x="157" y="1642"/>
                      <a:pt x="148" y="1623"/>
                      <a:pt x="148" y="1623"/>
                    </a:cubicBezTo>
                    <a:cubicBezTo>
                      <a:pt x="157" y="1599"/>
                      <a:pt x="162" y="1575"/>
                      <a:pt x="153" y="155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1"/>
                <a:endParaRPr lang="en-US" sz="1837" dirty="0"/>
              </a:p>
            </p:txBody>
          </p:sp>
          <p:sp>
            <p:nvSpPr>
              <p:cNvPr id="93" name="Freeform 127"/>
              <p:cNvSpPr>
                <a:spLocks/>
              </p:cNvSpPr>
              <p:nvPr/>
            </p:nvSpPr>
            <p:spPr bwMode="gray">
              <a:xfrm>
                <a:off x="3591" y="3118"/>
                <a:ext cx="259" cy="218"/>
              </a:xfrm>
              <a:custGeom>
                <a:avLst/>
                <a:gdLst>
                  <a:gd name="T0" fmla="*/ 18 w 259"/>
                  <a:gd name="T1" fmla="*/ 2 h 218"/>
                  <a:gd name="T2" fmla="*/ 68 w 259"/>
                  <a:gd name="T3" fmla="*/ 26 h 218"/>
                  <a:gd name="T4" fmla="*/ 95 w 259"/>
                  <a:gd name="T5" fmla="*/ 32 h 218"/>
                  <a:gd name="T6" fmla="*/ 129 w 259"/>
                  <a:gd name="T7" fmla="*/ 38 h 218"/>
                  <a:gd name="T8" fmla="*/ 182 w 259"/>
                  <a:gd name="T9" fmla="*/ 40 h 218"/>
                  <a:gd name="T10" fmla="*/ 197 w 259"/>
                  <a:gd name="T11" fmla="*/ 34 h 218"/>
                  <a:gd name="T12" fmla="*/ 221 w 259"/>
                  <a:gd name="T13" fmla="*/ 22 h 218"/>
                  <a:gd name="T14" fmla="*/ 254 w 259"/>
                  <a:gd name="T15" fmla="*/ 20 h 218"/>
                  <a:gd name="T16" fmla="*/ 252 w 259"/>
                  <a:gd name="T17" fmla="*/ 62 h 218"/>
                  <a:gd name="T18" fmla="*/ 246 w 259"/>
                  <a:gd name="T19" fmla="*/ 94 h 218"/>
                  <a:gd name="T20" fmla="*/ 234 w 259"/>
                  <a:gd name="T21" fmla="*/ 113 h 218"/>
                  <a:gd name="T22" fmla="*/ 225 w 259"/>
                  <a:gd name="T23" fmla="*/ 134 h 218"/>
                  <a:gd name="T24" fmla="*/ 219 w 259"/>
                  <a:gd name="T25" fmla="*/ 148 h 218"/>
                  <a:gd name="T26" fmla="*/ 210 w 259"/>
                  <a:gd name="T27" fmla="*/ 170 h 218"/>
                  <a:gd name="T28" fmla="*/ 180 w 259"/>
                  <a:gd name="T29" fmla="*/ 175 h 218"/>
                  <a:gd name="T30" fmla="*/ 164 w 259"/>
                  <a:gd name="T31" fmla="*/ 187 h 218"/>
                  <a:gd name="T32" fmla="*/ 156 w 259"/>
                  <a:gd name="T33" fmla="*/ 193 h 218"/>
                  <a:gd name="T34" fmla="*/ 143 w 259"/>
                  <a:gd name="T35" fmla="*/ 209 h 218"/>
                  <a:gd name="T36" fmla="*/ 132 w 259"/>
                  <a:gd name="T37" fmla="*/ 218 h 218"/>
                  <a:gd name="T38" fmla="*/ 84 w 259"/>
                  <a:gd name="T39" fmla="*/ 206 h 218"/>
                  <a:gd name="T40" fmla="*/ 69 w 259"/>
                  <a:gd name="T41" fmla="*/ 191 h 218"/>
                  <a:gd name="T42" fmla="*/ 54 w 259"/>
                  <a:gd name="T43" fmla="*/ 178 h 218"/>
                  <a:gd name="T44" fmla="*/ 33 w 259"/>
                  <a:gd name="T45" fmla="*/ 149 h 218"/>
                  <a:gd name="T46" fmla="*/ 41 w 259"/>
                  <a:gd name="T47" fmla="*/ 124 h 218"/>
                  <a:gd name="T48" fmla="*/ 42 w 259"/>
                  <a:gd name="T49" fmla="*/ 112 h 218"/>
                  <a:gd name="T50" fmla="*/ 32 w 259"/>
                  <a:gd name="T51" fmla="*/ 94 h 218"/>
                  <a:gd name="T52" fmla="*/ 21 w 259"/>
                  <a:gd name="T53" fmla="*/ 76 h 218"/>
                  <a:gd name="T54" fmla="*/ 12 w 259"/>
                  <a:gd name="T55" fmla="*/ 65 h 218"/>
                  <a:gd name="T56" fmla="*/ 5 w 259"/>
                  <a:gd name="T57" fmla="*/ 52 h 218"/>
                  <a:gd name="T58" fmla="*/ 0 w 259"/>
                  <a:gd name="T59" fmla="*/ 31 h 218"/>
                  <a:gd name="T60" fmla="*/ 8 w 259"/>
                  <a:gd name="T61" fmla="*/ 7 h 218"/>
                  <a:gd name="T62" fmla="*/ 18 w 259"/>
                  <a:gd name="T63" fmla="*/ 2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9" h="218">
                    <a:moveTo>
                      <a:pt x="18" y="2"/>
                    </a:moveTo>
                    <a:cubicBezTo>
                      <a:pt x="34" y="9"/>
                      <a:pt x="51" y="23"/>
                      <a:pt x="68" y="26"/>
                    </a:cubicBezTo>
                    <a:cubicBezTo>
                      <a:pt x="76" y="30"/>
                      <a:pt x="95" y="32"/>
                      <a:pt x="95" y="32"/>
                    </a:cubicBezTo>
                    <a:cubicBezTo>
                      <a:pt x="105" y="37"/>
                      <a:pt x="118" y="36"/>
                      <a:pt x="129" y="38"/>
                    </a:cubicBezTo>
                    <a:cubicBezTo>
                      <a:pt x="146" y="45"/>
                      <a:pt x="162" y="40"/>
                      <a:pt x="182" y="40"/>
                    </a:cubicBezTo>
                    <a:cubicBezTo>
                      <a:pt x="187" y="37"/>
                      <a:pt x="191" y="35"/>
                      <a:pt x="197" y="34"/>
                    </a:cubicBezTo>
                    <a:cubicBezTo>
                      <a:pt x="203" y="29"/>
                      <a:pt x="213" y="24"/>
                      <a:pt x="221" y="22"/>
                    </a:cubicBezTo>
                    <a:cubicBezTo>
                      <a:pt x="231" y="17"/>
                      <a:pt x="243" y="19"/>
                      <a:pt x="254" y="20"/>
                    </a:cubicBezTo>
                    <a:cubicBezTo>
                      <a:pt x="257" y="34"/>
                      <a:pt x="259" y="48"/>
                      <a:pt x="252" y="62"/>
                    </a:cubicBezTo>
                    <a:cubicBezTo>
                      <a:pt x="250" y="73"/>
                      <a:pt x="250" y="84"/>
                      <a:pt x="246" y="94"/>
                    </a:cubicBezTo>
                    <a:cubicBezTo>
                      <a:pt x="245" y="102"/>
                      <a:pt x="240" y="108"/>
                      <a:pt x="234" y="113"/>
                    </a:cubicBezTo>
                    <a:cubicBezTo>
                      <a:pt x="230" y="120"/>
                      <a:pt x="229" y="127"/>
                      <a:pt x="225" y="134"/>
                    </a:cubicBezTo>
                    <a:cubicBezTo>
                      <a:pt x="224" y="140"/>
                      <a:pt x="221" y="143"/>
                      <a:pt x="219" y="148"/>
                    </a:cubicBezTo>
                    <a:cubicBezTo>
                      <a:pt x="217" y="157"/>
                      <a:pt x="221" y="168"/>
                      <a:pt x="210" y="170"/>
                    </a:cubicBezTo>
                    <a:cubicBezTo>
                      <a:pt x="198" y="179"/>
                      <a:pt x="212" y="170"/>
                      <a:pt x="180" y="175"/>
                    </a:cubicBezTo>
                    <a:cubicBezTo>
                      <a:pt x="176" y="176"/>
                      <a:pt x="169" y="185"/>
                      <a:pt x="164" y="187"/>
                    </a:cubicBezTo>
                    <a:cubicBezTo>
                      <a:pt x="156" y="197"/>
                      <a:pt x="166" y="185"/>
                      <a:pt x="156" y="193"/>
                    </a:cubicBezTo>
                    <a:cubicBezTo>
                      <a:pt x="151" y="197"/>
                      <a:pt x="149" y="205"/>
                      <a:pt x="143" y="209"/>
                    </a:cubicBezTo>
                    <a:cubicBezTo>
                      <a:pt x="140" y="215"/>
                      <a:pt x="139" y="217"/>
                      <a:pt x="132" y="218"/>
                    </a:cubicBezTo>
                    <a:cubicBezTo>
                      <a:pt x="99" y="217"/>
                      <a:pt x="104" y="218"/>
                      <a:pt x="84" y="206"/>
                    </a:cubicBezTo>
                    <a:cubicBezTo>
                      <a:pt x="79" y="199"/>
                      <a:pt x="76" y="195"/>
                      <a:pt x="69" y="191"/>
                    </a:cubicBezTo>
                    <a:cubicBezTo>
                      <a:pt x="64" y="184"/>
                      <a:pt x="63" y="180"/>
                      <a:pt x="54" y="178"/>
                    </a:cubicBezTo>
                    <a:cubicBezTo>
                      <a:pt x="46" y="172"/>
                      <a:pt x="37" y="159"/>
                      <a:pt x="33" y="149"/>
                    </a:cubicBezTo>
                    <a:cubicBezTo>
                      <a:pt x="32" y="139"/>
                      <a:pt x="29" y="126"/>
                      <a:pt x="41" y="124"/>
                    </a:cubicBezTo>
                    <a:cubicBezTo>
                      <a:pt x="47" y="121"/>
                      <a:pt x="45" y="118"/>
                      <a:pt x="42" y="112"/>
                    </a:cubicBezTo>
                    <a:cubicBezTo>
                      <a:pt x="41" y="105"/>
                      <a:pt x="37" y="99"/>
                      <a:pt x="32" y="94"/>
                    </a:cubicBezTo>
                    <a:cubicBezTo>
                      <a:pt x="29" y="87"/>
                      <a:pt x="25" y="82"/>
                      <a:pt x="21" y="76"/>
                    </a:cubicBezTo>
                    <a:cubicBezTo>
                      <a:pt x="20" y="69"/>
                      <a:pt x="18" y="68"/>
                      <a:pt x="12" y="65"/>
                    </a:cubicBezTo>
                    <a:cubicBezTo>
                      <a:pt x="11" y="58"/>
                      <a:pt x="10" y="56"/>
                      <a:pt x="5" y="52"/>
                    </a:cubicBezTo>
                    <a:cubicBezTo>
                      <a:pt x="2" y="45"/>
                      <a:pt x="1" y="38"/>
                      <a:pt x="0" y="31"/>
                    </a:cubicBezTo>
                    <a:cubicBezTo>
                      <a:pt x="2" y="20"/>
                      <a:pt x="0" y="13"/>
                      <a:pt x="8" y="7"/>
                    </a:cubicBezTo>
                    <a:cubicBezTo>
                      <a:pt x="12" y="0"/>
                      <a:pt x="9" y="2"/>
                      <a:pt x="18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1"/>
                <a:endParaRPr lang="en-US" sz="1837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664205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Agenda layout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2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" y="1878"/>
            <a:ext cx="12191567" cy="6850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29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" t="10688" r="8889" b="11051"/>
          <a:stretch/>
        </p:blipFill>
        <p:spPr bwMode="auto">
          <a:xfrm>
            <a:off x="9573258" y="203853"/>
            <a:ext cx="2447953" cy="691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 userDrawn="1">
            <p:ph type="title"/>
          </p:nvPr>
        </p:nvSpPr>
        <p:spPr>
          <a:xfrm>
            <a:off x="836919" y="1299555"/>
            <a:ext cx="7943115" cy="502445"/>
          </a:xfrm>
        </p:spPr>
        <p:txBody>
          <a:bodyPr/>
          <a:lstStyle>
            <a:lvl1pPr>
              <a:defRPr sz="3265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22515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slide">
    <p:bg bwMode="auto"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1062990"/>
            <a:ext cx="7335127" cy="257175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9791" y="3375653"/>
            <a:ext cx="15229857" cy="4159038"/>
          </a:xfrm>
          <a:prstGeom prst="rect">
            <a:avLst/>
          </a:prstGeom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548" y="220027"/>
            <a:ext cx="2571751" cy="1002983"/>
          </a:xfrm>
          <a:prstGeom prst="rect">
            <a:avLst/>
          </a:prstGeom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301599" y="2694670"/>
            <a:ext cx="7010668" cy="502445"/>
          </a:xfrm>
          <a:solidFill>
            <a:schemeClr val="tx2"/>
          </a:solidFill>
        </p:spPr>
        <p:txBody>
          <a:bodyPr wrap="square" anchor="ctr">
            <a:spAutoFit/>
          </a:bodyPr>
          <a:lstStyle>
            <a:lvl1pPr>
              <a:defRPr sz="3265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39602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C541FD1-51B1-46C3-B767-FFBA4C9DE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1" i="0" baseline="0" dirty="0" err="1">
              <a:solidFill>
                <a:schemeClr val="tx1"/>
              </a:solidFill>
              <a:latin typeface="Century Gothic" panose="020B0502020202020204" pitchFamily="34" charset="0"/>
              <a:ea typeface="Arial Unicode MS"/>
              <a:sym typeface="Century Gothic" panose="020B0502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15147" y="367551"/>
            <a:ext cx="11788660" cy="314060"/>
          </a:xfrm>
        </p:spPr>
        <p:txBody>
          <a:bodyPr/>
          <a:lstStyle/>
          <a:p>
            <a:r>
              <a:rPr kumimoji="0" lang="en-US"/>
              <a:t>Click to edit Master title style</a:t>
            </a:r>
            <a:endParaRPr kumimoji="0"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215146" y="1474789"/>
            <a:ext cx="11788660" cy="1255793"/>
          </a:xfrm>
        </p:spPr>
        <p:txBody>
          <a:bodyPr/>
          <a:lstStyle/>
          <a:p>
            <a:pPr lvl="0" eaLnBrk="1" latinLnBrk="0" hangingPunct="1"/>
            <a:r>
              <a:rPr lang="en-US"/>
              <a:t>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82163" y="6510842"/>
            <a:ext cx="1016000" cy="184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A704AD-0E37-40CA-A7B5-19DE5AA2FEE3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6696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8613" y="3587251"/>
            <a:ext cx="6714780" cy="497262"/>
            <a:chOff x="1663" y="3104"/>
            <a:chExt cx="3109" cy="30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noProof="0" dirty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3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noProof="0" dirty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6" name="Rectangle 5"/>
          <p:cNvSpPr/>
          <p:nvPr userDrawn="1"/>
        </p:nvSpPr>
        <p:spPr>
          <a:xfrm>
            <a:off x="0" y="1062990"/>
            <a:ext cx="7346557" cy="192962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200400"/>
            <a:ext cx="7346557" cy="800100"/>
          </a:xfrm>
          <a:prstGeom prst="rect">
            <a:avLst/>
          </a:prstGeom>
          <a:solidFill>
            <a:srgbClr val="95D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8057" y="3377021"/>
            <a:ext cx="15229857" cy="4159038"/>
          </a:xfrm>
          <a:prstGeom prst="rect">
            <a:avLst/>
          </a:prstGeom>
          <a:noFill/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8613" y="1806103"/>
            <a:ext cx="7006514" cy="471042"/>
          </a:xfrm>
          <a:prstGeom prst="rect">
            <a:avLst/>
          </a:prstGeom>
          <a:solidFill>
            <a:schemeClr val="tx2"/>
          </a:solidFill>
        </p:spPr>
        <p:txBody>
          <a:bodyPr wrap="square" anchor="b">
            <a:spAutoFit/>
          </a:bodyPr>
          <a:lstStyle>
            <a:lvl1pPr>
              <a:defRPr sz="3061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28613" y="3487853"/>
            <a:ext cx="7006514" cy="251222"/>
          </a:xfrm>
          <a:solidFill>
            <a:srgbClr val="95D600"/>
          </a:solidFill>
        </p:spPr>
        <p:txBody>
          <a:bodyPr wrap="square">
            <a:spAutoFit/>
          </a:bodyPr>
          <a:lstStyle>
            <a:lvl1pPr>
              <a:defRPr sz="1632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548" y="220027"/>
            <a:ext cx="2571751" cy="1002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320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44" name="Object 4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33261" y="240242"/>
            <a:ext cx="10058751" cy="314028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6359FBD-6490-49D1-BAB0-819A0316BE44}"/>
              </a:ext>
            </a:extLst>
          </p:cNvPr>
          <p:cNvCxnSpPr>
            <a:cxnSpLocks/>
          </p:cNvCxnSpPr>
          <p:nvPr userDrawn="1"/>
        </p:nvCxnSpPr>
        <p:spPr>
          <a:xfrm>
            <a:off x="90" y="850791"/>
            <a:ext cx="1218685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99377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auto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44" name="Object 4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33261" y="240242"/>
            <a:ext cx="10058751" cy="314028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5" name="Group 138"/>
          <p:cNvGrpSpPr>
            <a:grpSpLocks/>
          </p:cNvGrpSpPr>
          <p:nvPr userDrawn="1"/>
        </p:nvGrpSpPr>
        <p:grpSpPr bwMode="auto">
          <a:xfrm>
            <a:off x="826123" y="789655"/>
            <a:ext cx="9742189" cy="6602870"/>
            <a:chOff x="538" y="563"/>
            <a:chExt cx="4592" cy="3233"/>
          </a:xfrm>
          <a:solidFill>
            <a:schemeClr val="bg2">
              <a:alpha val="36000"/>
            </a:schemeClr>
          </a:solidFill>
        </p:grpSpPr>
        <p:sp>
          <p:nvSpPr>
            <p:cNvPr id="6" name="Freeform 5"/>
            <p:cNvSpPr>
              <a:spLocks/>
            </p:cNvSpPr>
            <p:nvPr/>
          </p:nvSpPr>
          <p:spPr bwMode="gray">
            <a:xfrm>
              <a:off x="1378" y="3692"/>
              <a:ext cx="40" cy="26"/>
            </a:xfrm>
            <a:custGeom>
              <a:avLst/>
              <a:gdLst>
                <a:gd name="T0" fmla="*/ 29 w 81"/>
                <a:gd name="T1" fmla="*/ 0 h 52"/>
                <a:gd name="T2" fmla="*/ 0 w 81"/>
                <a:gd name="T3" fmla="*/ 29 h 52"/>
                <a:gd name="T4" fmla="*/ 29 w 81"/>
                <a:gd name="T5" fmla="*/ 52 h 52"/>
                <a:gd name="T6" fmla="*/ 52 w 81"/>
                <a:gd name="T7" fmla="*/ 52 h 52"/>
                <a:gd name="T8" fmla="*/ 52 w 81"/>
                <a:gd name="T9" fmla="*/ 29 h 52"/>
                <a:gd name="T10" fmla="*/ 81 w 81"/>
                <a:gd name="T11" fmla="*/ 29 h 52"/>
                <a:gd name="T12" fmla="*/ 52 w 81"/>
                <a:gd name="T13" fmla="*/ 0 h 52"/>
                <a:gd name="T14" fmla="*/ 29 w 81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52">
                  <a:moveTo>
                    <a:pt x="29" y="0"/>
                  </a:moveTo>
                  <a:lnTo>
                    <a:pt x="0" y="29"/>
                  </a:lnTo>
                  <a:lnTo>
                    <a:pt x="29" y="52"/>
                  </a:lnTo>
                  <a:lnTo>
                    <a:pt x="52" y="52"/>
                  </a:lnTo>
                  <a:lnTo>
                    <a:pt x="52" y="29"/>
                  </a:lnTo>
                  <a:lnTo>
                    <a:pt x="81" y="29"/>
                  </a:lnTo>
                  <a:lnTo>
                    <a:pt x="52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gray">
            <a:xfrm>
              <a:off x="1274" y="3744"/>
              <a:ext cx="78" cy="52"/>
            </a:xfrm>
            <a:custGeom>
              <a:avLst/>
              <a:gdLst>
                <a:gd name="T0" fmla="*/ 104 w 156"/>
                <a:gd name="T1" fmla="*/ 51 h 103"/>
                <a:gd name="T2" fmla="*/ 79 w 156"/>
                <a:gd name="T3" fmla="*/ 0 h 103"/>
                <a:gd name="T4" fmla="*/ 52 w 156"/>
                <a:gd name="T5" fmla="*/ 0 h 103"/>
                <a:gd name="T6" fmla="*/ 23 w 156"/>
                <a:gd name="T7" fmla="*/ 28 h 103"/>
                <a:gd name="T8" fmla="*/ 23 w 156"/>
                <a:gd name="T9" fmla="*/ 51 h 103"/>
                <a:gd name="T10" fmla="*/ 0 w 156"/>
                <a:gd name="T11" fmla="*/ 51 h 103"/>
                <a:gd name="T12" fmla="*/ 0 w 156"/>
                <a:gd name="T13" fmla="*/ 80 h 103"/>
                <a:gd name="T14" fmla="*/ 23 w 156"/>
                <a:gd name="T15" fmla="*/ 80 h 103"/>
                <a:gd name="T16" fmla="*/ 52 w 156"/>
                <a:gd name="T17" fmla="*/ 103 h 103"/>
                <a:gd name="T18" fmla="*/ 79 w 156"/>
                <a:gd name="T19" fmla="*/ 103 h 103"/>
                <a:gd name="T20" fmla="*/ 104 w 156"/>
                <a:gd name="T21" fmla="*/ 103 h 103"/>
                <a:gd name="T22" fmla="*/ 156 w 156"/>
                <a:gd name="T23" fmla="*/ 103 h 103"/>
                <a:gd name="T24" fmla="*/ 127 w 156"/>
                <a:gd name="T25" fmla="*/ 80 h 103"/>
                <a:gd name="T26" fmla="*/ 104 w 156"/>
                <a:gd name="T27" fmla="*/ 5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103">
                  <a:moveTo>
                    <a:pt x="104" y="51"/>
                  </a:moveTo>
                  <a:lnTo>
                    <a:pt x="79" y="0"/>
                  </a:lnTo>
                  <a:lnTo>
                    <a:pt x="52" y="0"/>
                  </a:lnTo>
                  <a:lnTo>
                    <a:pt x="23" y="28"/>
                  </a:lnTo>
                  <a:lnTo>
                    <a:pt x="23" y="51"/>
                  </a:lnTo>
                  <a:lnTo>
                    <a:pt x="0" y="51"/>
                  </a:lnTo>
                  <a:lnTo>
                    <a:pt x="0" y="80"/>
                  </a:lnTo>
                  <a:lnTo>
                    <a:pt x="23" y="80"/>
                  </a:lnTo>
                  <a:lnTo>
                    <a:pt x="52" y="103"/>
                  </a:lnTo>
                  <a:lnTo>
                    <a:pt x="79" y="103"/>
                  </a:lnTo>
                  <a:lnTo>
                    <a:pt x="104" y="103"/>
                  </a:lnTo>
                  <a:lnTo>
                    <a:pt x="156" y="103"/>
                  </a:lnTo>
                  <a:lnTo>
                    <a:pt x="127" y="80"/>
                  </a:lnTo>
                  <a:lnTo>
                    <a:pt x="104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gray">
            <a:xfrm>
              <a:off x="1118" y="2563"/>
              <a:ext cx="845" cy="1181"/>
            </a:xfrm>
            <a:custGeom>
              <a:avLst/>
              <a:gdLst>
                <a:gd name="T0" fmla="*/ 806 w 845"/>
                <a:gd name="T1" fmla="*/ 390 h 1181"/>
                <a:gd name="T2" fmla="*/ 741 w 845"/>
                <a:gd name="T3" fmla="*/ 350 h 1181"/>
                <a:gd name="T4" fmla="*/ 689 w 845"/>
                <a:gd name="T5" fmla="*/ 324 h 1181"/>
                <a:gd name="T6" fmla="*/ 664 w 845"/>
                <a:gd name="T7" fmla="*/ 297 h 1181"/>
                <a:gd name="T8" fmla="*/ 586 w 845"/>
                <a:gd name="T9" fmla="*/ 297 h 1181"/>
                <a:gd name="T10" fmla="*/ 597 w 845"/>
                <a:gd name="T11" fmla="*/ 286 h 1181"/>
                <a:gd name="T12" fmla="*/ 572 w 845"/>
                <a:gd name="T13" fmla="*/ 272 h 1181"/>
                <a:gd name="T14" fmla="*/ 572 w 845"/>
                <a:gd name="T15" fmla="*/ 272 h 1181"/>
                <a:gd name="T16" fmla="*/ 572 w 845"/>
                <a:gd name="T17" fmla="*/ 208 h 1181"/>
                <a:gd name="T18" fmla="*/ 533 w 845"/>
                <a:gd name="T19" fmla="*/ 182 h 1181"/>
                <a:gd name="T20" fmla="*/ 481 w 845"/>
                <a:gd name="T21" fmla="*/ 156 h 1181"/>
                <a:gd name="T22" fmla="*/ 389 w 845"/>
                <a:gd name="T23" fmla="*/ 90 h 1181"/>
                <a:gd name="T24" fmla="*/ 260 w 845"/>
                <a:gd name="T25" fmla="*/ 38 h 1181"/>
                <a:gd name="T26" fmla="*/ 208 w 845"/>
                <a:gd name="T27" fmla="*/ 26 h 1181"/>
                <a:gd name="T28" fmla="*/ 196 w 845"/>
                <a:gd name="T29" fmla="*/ 64 h 1181"/>
                <a:gd name="T30" fmla="*/ 196 w 845"/>
                <a:gd name="T31" fmla="*/ 0 h 1181"/>
                <a:gd name="T32" fmla="*/ 118 w 845"/>
                <a:gd name="T33" fmla="*/ 38 h 1181"/>
                <a:gd name="T34" fmla="*/ 78 w 845"/>
                <a:gd name="T35" fmla="*/ 90 h 1181"/>
                <a:gd name="T36" fmla="*/ 78 w 845"/>
                <a:gd name="T37" fmla="*/ 156 h 1181"/>
                <a:gd name="T38" fmla="*/ 13 w 845"/>
                <a:gd name="T39" fmla="*/ 234 h 1181"/>
                <a:gd name="T40" fmla="*/ 26 w 845"/>
                <a:gd name="T41" fmla="*/ 272 h 1181"/>
                <a:gd name="T42" fmla="*/ 26 w 845"/>
                <a:gd name="T43" fmla="*/ 338 h 1181"/>
                <a:gd name="T44" fmla="*/ 38 w 845"/>
                <a:gd name="T45" fmla="*/ 402 h 1181"/>
                <a:gd name="T46" fmla="*/ 105 w 845"/>
                <a:gd name="T47" fmla="*/ 506 h 1181"/>
                <a:gd name="T48" fmla="*/ 168 w 845"/>
                <a:gd name="T49" fmla="*/ 557 h 1181"/>
                <a:gd name="T50" fmla="*/ 182 w 845"/>
                <a:gd name="T51" fmla="*/ 701 h 1181"/>
                <a:gd name="T52" fmla="*/ 156 w 845"/>
                <a:gd name="T53" fmla="*/ 792 h 1181"/>
                <a:gd name="T54" fmla="*/ 130 w 845"/>
                <a:gd name="T55" fmla="*/ 921 h 1181"/>
                <a:gd name="T56" fmla="*/ 142 w 845"/>
                <a:gd name="T57" fmla="*/ 987 h 1181"/>
                <a:gd name="T58" fmla="*/ 130 w 845"/>
                <a:gd name="T59" fmla="*/ 1039 h 1181"/>
                <a:gd name="T60" fmla="*/ 118 w 845"/>
                <a:gd name="T61" fmla="*/ 1077 h 1181"/>
                <a:gd name="T62" fmla="*/ 118 w 845"/>
                <a:gd name="T63" fmla="*/ 1118 h 1181"/>
                <a:gd name="T64" fmla="*/ 130 w 845"/>
                <a:gd name="T65" fmla="*/ 1170 h 1181"/>
                <a:gd name="T66" fmla="*/ 142 w 845"/>
                <a:gd name="T67" fmla="*/ 1181 h 1181"/>
                <a:gd name="T68" fmla="*/ 182 w 845"/>
                <a:gd name="T69" fmla="*/ 1170 h 1181"/>
                <a:gd name="T70" fmla="*/ 220 w 845"/>
                <a:gd name="T71" fmla="*/ 1103 h 1181"/>
                <a:gd name="T72" fmla="*/ 208 w 845"/>
                <a:gd name="T73" fmla="*/ 1052 h 1181"/>
                <a:gd name="T74" fmla="*/ 260 w 845"/>
                <a:gd name="T75" fmla="*/ 1013 h 1181"/>
                <a:gd name="T76" fmla="*/ 260 w 845"/>
                <a:gd name="T77" fmla="*/ 987 h 1181"/>
                <a:gd name="T78" fmla="*/ 286 w 845"/>
                <a:gd name="T79" fmla="*/ 948 h 1181"/>
                <a:gd name="T80" fmla="*/ 378 w 845"/>
                <a:gd name="T81" fmla="*/ 895 h 1181"/>
                <a:gd name="T82" fmla="*/ 416 w 845"/>
                <a:gd name="T83" fmla="*/ 884 h 1181"/>
                <a:gd name="T84" fmla="*/ 468 w 845"/>
                <a:gd name="T85" fmla="*/ 832 h 1181"/>
                <a:gd name="T86" fmla="*/ 546 w 845"/>
                <a:gd name="T87" fmla="*/ 727 h 1181"/>
                <a:gd name="T88" fmla="*/ 638 w 845"/>
                <a:gd name="T89" fmla="*/ 688 h 1181"/>
                <a:gd name="T90" fmla="*/ 728 w 845"/>
                <a:gd name="T91" fmla="*/ 609 h 1181"/>
                <a:gd name="T92" fmla="*/ 754 w 845"/>
                <a:gd name="T93" fmla="*/ 520 h 1181"/>
                <a:gd name="T94" fmla="*/ 831 w 845"/>
                <a:gd name="T95" fmla="*/ 468 h 1181"/>
                <a:gd name="T96" fmla="*/ 831 w 845"/>
                <a:gd name="T97" fmla="*/ 390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45" h="1181">
                  <a:moveTo>
                    <a:pt x="831" y="390"/>
                  </a:moveTo>
                  <a:lnTo>
                    <a:pt x="819" y="390"/>
                  </a:lnTo>
                  <a:lnTo>
                    <a:pt x="806" y="390"/>
                  </a:lnTo>
                  <a:lnTo>
                    <a:pt x="767" y="350"/>
                  </a:lnTo>
                  <a:lnTo>
                    <a:pt x="754" y="338"/>
                  </a:lnTo>
                  <a:lnTo>
                    <a:pt x="741" y="350"/>
                  </a:lnTo>
                  <a:lnTo>
                    <a:pt x="715" y="338"/>
                  </a:lnTo>
                  <a:lnTo>
                    <a:pt x="675" y="338"/>
                  </a:lnTo>
                  <a:lnTo>
                    <a:pt x="689" y="324"/>
                  </a:lnTo>
                  <a:lnTo>
                    <a:pt x="675" y="324"/>
                  </a:lnTo>
                  <a:lnTo>
                    <a:pt x="675" y="312"/>
                  </a:lnTo>
                  <a:lnTo>
                    <a:pt x="664" y="297"/>
                  </a:lnTo>
                  <a:lnTo>
                    <a:pt x="623" y="297"/>
                  </a:lnTo>
                  <a:lnTo>
                    <a:pt x="597" y="312"/>
                  </a:lnTo>
                  <a:lnTo>
                    <a:pt x="586" y="297"/>
                  </a:lnTo>
                  <a:lnTo>
                    <a:pt x="597" y="297"/>
                  </a:lnTo>
                  <a:lnTo>
                    <a:pt x="612" y="286"/>
                  </a:lnTo>
                  <a:lnTo>
                    <a:pt x="597" y="286"/>
                  </a:lnTo>
                  <a:lnTo>
                    <a:pt x="572" y="297"/>
                  </a:lnTo>
                  <a:lnTo>
                    <a:pt x="546" y="297"/>
                  </a:lnTo>
                  <a:lnTo>
                    <a:pt x="572" y="272"/>
                  </a:lnTo>
                  <a:lnTo>
                    <a:pt x="586" y="286"/>
                  </a:lnTo>
                  <a:lnTo>
                    <a:pt x="586" y="272"/>
                  </a:lnTo>
                  <a:lnTo>
                    <a:pt x="572" y="272"/>
                  </a:lnTo>
                  <a:lnTo>
                    <a:pt x="597" y="246"/>
                  </a:lnTo>
                  <a:lnTo>
                    <a:pt x="586" y="234"/>
                  </a:lnTo>
                  <a:lnTo>
                    <a:pt x="572" y="208"/>
                  </a:lnTo>
                  <a:lnTo>
                    <a:pt x="560" y="194"/>
                  </a:lnTo>
                  <a:lnTo>
                    <a:pt x="546" y="182"/>
                  </a:lnTo>
                  <a:lnTo>
                    <a:pt x="533" y="182"/>
                  </a:lnTo>
                  <a:lnTo>
                    <a:pt x="520" y="168"/>
                  </a:lnTo>
                  <a:lnTo>
                    <a:pt x="494" y="156"/>
                  </a:lnTo>
                  <a:lnTo>
                    <a:pt x="481" y="156"/>
                  </a:lnTo>
                  <a:lnTo>
                    <a:pt x="456" y="156"/>
                  </a:lnTo>
                  <a:lnTo>
                    <a:pt x="430" y="116"/>
                  </a:lnTo>
                  <a:lnTo>
                    <a:pt x="389" y="90"/>
                  </a:lnTo>
                  <a:lnTo>
                    <a:pt x="389" y="78"/>
                  </a:lnTo>
                  <a:lnTo>
                    <a:pt x="363" y="52"/>
                  </a:lnTo>
                  <a:lnTo>
                    <a:pt x="260" y="38"/>
                  </a:lnTo>
                  <a:lnTo>
                    <a:pt x="248" y="26"/>
                  </a:lnTo>
                  <a:lnTo>
                    <a:pt x="220" y="13"/>
                  </a:lnTo>
                  <a:lnTo>
                    <a:pt x="208" y="26"/>
                  </a:lnTo>
                  <a:lnTo>
                    <a:pt x="196" y="38"/>
                  </a:lnTo>
                  <a:lnTo>
                    <a:pt x="208" y="52"/>
                  </a:lnTo>
                  <a:lnTo>
                    <a:pt x="196" y="64"/>
                  </a:lnTo>
                  <a:lnTo>
                    <a:pt x="196" y="52"/>
                  </a:lnTo>
                  <a:lnTo>
                    <a:pt x="182" y="26"/>
                  </a:lnTo>
                  <a:lnTo>
                    <a:pt x="196" y="0"/>
                  </a:lnTo>
                  <a:lnTo>
                    <a:pt x="182" y="0"/>
                  </a:lnTo>
                  <a:lnTo>
                    <a:pt x="118" y="26"/>
                  </a:lnTo>
                  <a:lnTo>
                    <a:pt x="118" y="38"/>
                  </a:lnTo>
                  <a:lnTo>
                    <a:pt x="105" y="64"/>
                  </a:lnTo>
                  <a:lnTo>
                    <a:pt x="90" y="64"/>
                  </a:lnTo>
                  <a:lnTo>
                    <a:pt x="78" y="90"/>
                  </a:lnTo>
                  <a:lnTo>
                    <a:pt x="90" y="130"/>
                  </a:lnTo>
                  <a:lnTo>
                    <a:pt x="78" y="130"/>
                  </a:lnTo>
                  <a:lnTo>
                    <a:pt x="78" y="156"/>
                  </a:lnTo>
                  <a:lnTo>
                    <a:pt x="38" y="182"/>
                  </a:lnTo>
                  <a:lnTo>
                    <a:pt x="26" y="194"/>
                  </a:lnTo>
                  <a:lnTo>
                    <a:pt x="13" y="234"/>
                  </a:lnTo>
                  <a:lnTo>
                    <a:pt x="13" y="260"/>
                  </a:lnTo>
                  <a:lnTo>
                    <a:pt x="26" y="246"/>
                  </a:lnTo>
                  <a:lnTo>
                    <a:pt x="26" y="272"/>
                  </a:lnTo>
                  <a:lnTo>
                    <a:pt x="0" y="286"/>
                  </a:lnTo>
                  <a:lnTo>
                    <a:pt x="0" y="324"/>
                  </a:lnTo>
                  <a:lnTo>
                    <a:pt x="26" y="338"/>
                  </a:lnTo>
                  <a:lnTo>
                    <a:pt x="26" y="364"/>
                  </a:lnTo>
                  <a:lnTo>
                    <a:pt x="38" y="364"/>
                  </a:lnTo>
                  <a:lnTo>
                    <a:pt x="38" y="402"/>
                  </a:lnTo>
                  <a:lnTo>
                    <a:pt x="78" y="441"/>
                  </a:lnTo>
                  <a:lnTo>
                    <a:pt x="78" y="468"/>
                  </a:lnTo>
                  <a:lnTo>
                    <a:pt x="105" y="506"/>
                  </a:lnTo>
                  <a:lnTo>
                    <a:pt x="156" y="532"/>
                  </a:lnTo>
                  <a:lnTo>
                    <a:pt x="168" y="557"/>
                  </a:lnTo>
                  <a:lnTo>
                    <a:pt x="168" y="557"/>
                  </a:lnTo>
                  <a:lnTo>
                    <a:pt x="182" y="572"/>
                  </a:lnTo>
                  <a:lnTo>
                    <a:pt x="168" y="688"/>
                  </a:lnTo>
                  <a:lnTo>
                    <a:pt x="182" y="701"/>
                  </a:lnTo>
                  <a:lnTo>
                    <a:pt x="156" y="714"/>
                  </a:lnTo>
                  <a:lnTo>
                    <a:pt x="142" y="766"/>
                  </a:lnTo>
                  <a:lnTo>
                    <a:pt x="156" y="792"/>
                  </a:lnTo>
                  <a:lnTo>
                    <a:pt x="142" y="869"/>
                  </a:lnTo>
                  <a:lnTo>
                    <a:pt x="118" y="895"/>
                  </a:lnTo>
                  <a:lnTo>
                    <a:pt x="130" y="921"/>
                  </a:lnTo>
                  <a:lnTo>
                    <a:pt x="130" y="961"/>
                  </a:lnTo>
                  <a:lnTo>
                    <a:pt x="142" y="974"/>
                  </a:lnTo>
                  <a:lnTo>
                    <a:pt x="142" y="987"/>
                  </a:lnTo>
                  <a:lnTo>
                    <a:pt x="130" y="1000"/>
                  </a:lnTo>
                  <a:lnTo>
                    <a:pt x="142" y="1026"/>
                  </a:lnTo>
                  <a:lnTo>
                    <a:pt x="130" y="1039"/>
                  </a:lnTo>
                  <a:lnTo>
                    <a:pt x="105" y="1052"/>
                  </a:lnTo>
                  <a:lnTo>
                    <a:pt x="118" y="1065"/>
                  </a:lnTo>
                  <a:lnTo>
                    <a:pt x="118" y="1077"/>
                  </a:lnTo>
                  <a:lnTo>
                    <a:pt x="130" y="1077"/>
                  </a:lnTo>
                  <a:lnTo>
                    <a:pt x="118" y="1092"/>
                  </a:lnTo>
                  <a:lnTo>
                    <a:pt x="118" y="1118"/>
                  </a:lnTo>
                  <a:lnTo>
                    <a:pt x="118" y="1144"/>
                  </a:lnTo>
                  <a:lnTo>
                    <a:pt x="130" y="1155"/>
                  </a:lnTo>
                  <a:lnTo>
                    <a:pt x="130" y="1170"/>
                  </a:lnTo>
                  <a:lnTo>
                    <a:pt x="142" y="1170"/>
                  </a:lnTo>
                  <a:lnTo>
                    <a:pt x="156" y="1170"/>
                  </a:lnTo>
                  <a:lnTo>
                    <a:pt x="142" y="1181"/>
                  </a:lnTo>
                  <a:lnTo>
                    <a:pt x="156" y="1181"/>
                  </a:lnTo>
                  <a:lnTo>
                    <a:pt x="168" y="1170"/>
                  </a:lnTo>
                  <a:lnTo>
                    <a:pt x="182" y="1170"/>
                  </a:lnTo>
                  <a:lnTo>
                    <a:pt x="182" y="1155"/>
                  </a:lnTo>
                  <a:lnTo>
                    <a:pt x="182" y="1144"/>
                  </a:lnTo>
                  <a:lnTo>
                    <a:pt x="220" y="1103"/>
                  </a:lnTo>
                  <a:lnTo>
                    <a:pt x="220" y="1077"/>
                  </a:lnTo>
                  <a:lnTo>
                    <a:pt x="208" y="1077"/>
                  </a:lnTo>
                  <a:lnTo>
                    <a:pt x="208" y="1052"/>
                  </a:lnTo>
                  <a:lnTo>
                    <a:pt x="234" y="1052"/>
                  </a:lnTo>
                  <a:lnTo>
                    <a:pt x="248" y="1013"/>
                  </a:lnTo>
                  <a:lnTo>
                    <a:pt x="260" y="1013"/>
                  </a:lnTo>
                  <a:lnTo>
                    <a:pt x="260" y="1000"/>
                  </a:lnTo>
                  <a:lnTo>
                    <a:pt x="248" y="1000"/>
                  </a:lnTo>
                  <a:lnTo>
                    <a:pt x="260" y="987"/>
                  </a:lnTo>
                  <a:lnTo>
                    <a:pt x="286" y="974"/>
                  </a:lnTo>
                  <a:lnTo>
                    <a:pt x="300" y="961"/>
                  </a:lnTo>
                  <a:lnTo>
                    <a:pt x="286" y="948"/>
                  </a:lnTo>
                  <a:lnTo>
                    <a:pt x="338" y="948"/>
                  </a:lnTo>
                  <a:lnTo>
                    <a:pt x="363" y="935"/>
                  </a:lnTo>
                  <a:lnTo>
                    <a:pt x="378" y="895"/>
                  </a:lnTo>
                  <a:lnTo>
                    <a:pt x="352" y="858"/>
                  </a:lnTo>
                  <a:lnTo>
                    <a:pt x="378" y="869"/>
                  </a:lnTo>
                  <a:lnTo>
                    <a:pt x="416" y="884"/>
                  </a:lnTo>
                  <a:lnTo>
                    <a:pt x="442" y="858"/>
                  </a:lnTo>
                  <a:lnTo>
                    <a:pt x="474" y="816"/>
                  </a:lnTo>
                  <a:lnTo>
                    <a:pt x="468" y="832"/>
                  </a:lnTo>
                  <a:lnTo>
                    <a:pt x="481" y="832"/>
                  </a:lnTo>
                  <a:lnTo>
                    <a:pt x="533" y="780"/>
                  </a:lnTo>
                  <a:lnTo>
                    <a:pt x="546" y="727"/>
                  </a:lnTo>
                  <a:lnTo>
                    <a:pt x="597" y="701"/>
                  </a:lnTo>
                  <a:lnTo>
                    <a:pt x="612" y="701"/>
                  </a:lnTo>
                  <a:lnTo>
                    <a:pt x="638" y="688"/>
                  </a:lnTo>
                  <a:lnTo>
                    <a:pt x="664" y="688"/>
                  </a:lnTo>
                  <a:lnTo>
                    <a:pt x="675" y="688"/>
                  </a:lnTo>
                  <a:lnTo>
                    <a:pt x="728" y="609"/>
                  </a:lnTo>
                  <a:lnTo>
                    <a:pt x="741" y="583"/>
                  </a:lnTo>
                  <a:lnTo>
                    <a:pt x="754" y="557"/>
                  </a:lnTo>
                  <a:lnTo>
                    <a:pt x="754" y="520"/>
                  </a:lnTo>
                  <a:lnTo>
                    <a:pt x="767" y="520"/>
                  </a:lnTo>
                  <a:lnTo>
                    <a:pt x="819" y="468"/>
                  </a:lnTo>
                  <a:lnTo>
                    <a:pt x="831" y="468"/>
                  </a:lnTo>
                  <a:lnTo>
                    <a:pt x="845" y="441"/>
                  </a:lnTo>
                  <a:lnTo>
                    <a:pt x="845" y="402"/>
                  </a:lnTo>
                  <a:lnTo>
                    <a:pt x="831" y="39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gray">
            <a:xfrm>
              <a:off x="2060" y="1227"/>
              <a:ext cx="142" cy="90"/>
            </a:xfrm>
            <a:custGeom>
              <a:avLst/>
              <a:gdLst>
                <a:gd name="T0" fmla="*/ 52 w 142"/>
                <a:gd name="T1" fmla="*/ 12 h 90"/>
                <a:gd name="T2" fmla="*/ 52 w 142"/>
                <a:gd name="T3" fmla="*/ 26 h 90"/>
                <a:gd name="T4" fmla="*/ 38 w 142"/>
                <a:gd name="T5" fmla="*/ 26 h 90"/>
                <a:gd name="T6" fmla="*/ 38 w 142"/>
                <a:gd name="T7" fmla="*/ 12 h 90"/>
                <a:gd name="T8" fmla="*/ 26 w 142"/>
                <a:gd name="T9" fmla="*/ 0 h 90"/>
                <a:gd name="T10" fmla="*/ 12 w 142"/>
                <a:gd name="T11" fmla="*/ 0 h 90"/>
                <a:gd name="T12" fmla="*/ 12 w 142"/>
                <a:gd name="T13" fmla="*/ 12 h 90"/>
                <a:gd name="T14" fmla="*/ 26 w 142"/>
                <a:gd name="T15" fmla="*/ 12 h 90"/>
                <a:gd name="T16" fmla="*/ 12 w 142"/>
                <a:gd name="T17" fmla="*/ 12 h 90"/>
                <a:gd name="T18" fmla="*/ 0 w 142"/>
                <a:gd name="T19" fmla="*/ 12 h 90"/>
                <a:gd name="T20" fmla="*/ 0 w 142"/>
                <a:gd name="T21" fmla="*/ 26 h 90"/>
                <a:gd name="T22" fmla="*/ 12 w 142"/>
                <a:gd name="T23" fmla="*/ 26 h 90"/>
                <a:gd name="T24" fmla="*/ 26 w 142"/>
                <a:gd name="T25" fmla="*/ 38 h 90"/>
                <a:gd name="T26" fmla="*/ 38 w 142"/>
                <a:gd name="T27" fmla="*/ 38 h 90"/>
                <a:gd name="T28" fmla="*/ 38 w 142"/>
                <a:gd name="T29" fmla="*/ 52 h 90"/>
                <a:gd name="T30" fmla="*/ 26 w 142"/>
                <a:gd name="T31" fmla="*/ 52 h 90"/>
                <a:gd name="T32" fmla="*/ 12 w 142"/>
                <a:gd name="T33" fmla="*/ 52 h 90"/>
                <a:gd name="T34" fmla="*/ 26 w 142"/>
                <a:gd name="T35" fmla="*/ 64 h 90"/>
                <a:gd name="T36" fmla="*/ 38 w 142"/>
                <a:gd name="T37" fmla="*/ 64 h 90"/>
                <a:gd name="T38" fmla="*/ 26 w 142"/>
                <a:gd name="T39" fmla="*/ 64 h 90"/>
                <a:gd name="T40" fmla="*/ 26 w 142"/>
                <a:gd name="T41" fmla="*/ 78 h 90"/>
                <a:gd name="T42" fmla="*/ 38 w 142"/>
                <a:gd name="T43" fmla="*/ 90 h 90"/>
                <a:gd name="T44" fmla="*/ 52 w 142"/>
                <a:gd name="T45" fmla="*/ 90 h 90"/>
                <a:gd name="T46" fmla="*/ 64 w 142"/>
                <a:gd name="T47" fmla="*/ 90 h 90"/>
                <a:gd name="T48" fmla="*/ 78 w 142"/>
                <a:gd name="T49" fmla="*/ 78 h 90"/>
                <a:gd name="T50" fmla="*/ 104 w 142"/>
                <a:gd name="T51" fmla="*/ 90 h 90"/>
                <a:gd name="T52" fmla="*/ 116 w 142"/>
                <a:gd name="T53" fmla="*/ 78 h 90"/>
                <a:gd name="T54" fmla="*/ 116 w 142"/>
                <a:gd name="T55" fmla="*/ 64 h 90"/>
                <a:gd name="T56" fmla="*/ 130 w 142"/>
                <a:gd name="T57" fmla="*/ 64 h 90"/>
                <a:gd name="T58" fmla="*/ 142 w 142"/>
                <a:gd name="T59" fmla="*/ 52 h 90"/>
                <a:gd name="T60" fmla="*/ 142 w 142"/>
                <a:gd name="T61" fmla="*/ 38 h 90"/>
                <a:gd name="T62" fmla="*/ 142 w 142"/>
                <a:gd name="T63" fmla="*/ 26 h 90"/>
                <a:gd name="T64" fmla="*/ 130 w 142"/>
                <a:gd name="T65" fmla="*/ 26 h 90"/>
                <a:gd name="T66" fmla="*/ 130 w 142"/>
                <a:gd name="T67" fmla="*/ 12 h 90"/>
                <a:gd name="T68" fmla="*/ 116 w 142"/>
                <a:gd name="T69" fmla="*/ 12 h 90"/>
                <a:gd name="T70" fmla="*/ 104 w 142"/>
                <a:gd name="T71" fmla="*/ 12 h 90"/>
                <a:gd name="T72" fmla="*/ 90 w 142"/>
                <a:gd name="T73" fmla="*/ 12 h 90"/>
                <a:gd name="T74" fmla="*/ 78 w 142"/>
                <a:gd name="T75" fmla="*/ 26 h 90"/>
                <a:gd name="T76" fmla="*/ 78 w 142"/>
                <a:gd name="T77" fmla="*/ 12 h 90"/>
                <a:gd name="T78" fmla="*/ 64 w 142"/>
                <a:gd name="T79" fmla="*/ 12 h 90"/>
                <a:gd name="T80" fmla="*/ 52 w 142"/>
                <a:gd name="T81" fmla="*/ 12 h 90"/>
                <a:gd name="T82" fmla="*/ 52 w 142"/>
                <a:gd name="T8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2" h="90">
                  <a:moveTo>
                    <a:pt x="52" y="12"/>
                  </a:moveTo>
                  <a:lnTo>
                    <a:pt x="52" y="26"/>
                  </a:lnTo>
                  <a:lnTo>
                    <a:pt x="38" y="26"/>
                  </a:lnTo>
                  <a:lnTo>
                    <a:pt x="38" y="12"/>
                  </a:lnTo>
                  <a:lnTo>
                    <a:pt x="2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26" y="12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26"/>
                  </a:lnTo>
                  <a:lnTo>
                    <a:pt x="12" y="26"/>
                  </a:lnTo>
                  <a:lnTo>
                    <a:pt x="26" y="38"/>
                  </a:lnTo>
                  <a:lnTo>
                    <a:pt x="38" y="38"/>
                  </a:lnTo>
                  <a:lnTo>
                    <a:pt x="38" y="52"/>
                  </a:lnTo>
                  <a:lnTo>
                    <a:pt x="26" y="52"/>
                  </a:lnTo>
                  <a:lnTo>
                    <a:pt x="12" y="52"/>
                  </a:lnTo>
                  <a:lnTo>
                    <a:pt x="26" y="64"/>
                  </a:lnTo>
                  <a:lnTo>
                    <a:pt x="38" y="64"/>
                  </a:lnTo>
                  <a:lnTo>
                    <a:pt x="26" y="64"/>
                  </a:lnTo>
                  <a:lnTo>
                    <a:pt x="26" y="78"/>
                  </a:lnTo>
                  <a:lnTo>
                    <a:pt x="38" y="90"/>
                  </a:lnTo>
                  <a:lnTo>
                    <a:pt x="52" y="90"/>
                  </a:lnTo>
                  <a:lnTo>
                    <a:pt x="64" y="90"/>
                  </a:lnTo>
                  <a:lnTo>
                    <a:pt x="78" y="78"/>
                  </a:lnTo>
                  <a:lnTo>
                    <a:pt x="104" y="90"/>
                  </a:lnTo>
                  <a:lnTo>
                    <a:pt x="116" y="78"/>
                  </a:lnTo>
                  <a:lnTo>
                    <a:pt x="116" y="64"/>
                  </a:lnTo>
                  <a:lnTo>
                    <a:pt x="130" y="64"/>
                  </a:lnTo>
                  <a:lnTo>
                    <a:pt x="142" y="52"/>
                  </a:lnTo>
                  <a:lnTo>
                    <a:pt x="142" y="38"/>
                  </a:lnTo>
                  <a:lnTo>
                    <a:pt x="142" y="26"/>
                  </a:lnTo>
                  <a:lnTo>
                    <a:pt x="130" y="26"/>
                  </a:lnTo>
                  <a:lnTo>
                    <a:pt x="130" y="12"/>
                  </a:lnTo>
                  <a:lnTo>
                    <a:pt x="116" y="12"/>
                  </a:lnTo>
                  <a:lnTo>
                    <a:pt x="104" y="12"/>
                  </a:lnTo>
                  <a:lnTo>
                    <a:pt x="90" y="12"/>
                  </a:lnTo>
                  <a:lnTo>
                    <a:pt x="78" y="26"/>
                  </a:lnTo>
                  <a:lnTo>
                    <a:pt x="78" y="12"/>
                  </a:lnTo>
                  <a:lnTo>
                    <a:pt x="64" y="12"/>
                  </a:lnTo>
                  <a:lnTo>
                    <a:pt x="52" y="12"/>
                  </a:lnTo>
                  <a:lnTo>
                    <a:pt x="52" y="12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gray">
            <a:xfrm>
              <a:off x="1708" y="615"/>
              <a:ext cx="442" cy="702"/>
            </a:xfrm>
            <a:custGeom>
              <a:avLst/>
              <a:gdLst>
                <a:gd name="T0" fmla="*/ 156 w 442"/>
                <a:gd name="T1" fmla="*/ 66 h 702"/>
                <a:gd name="T2" fmla="*/ 118 w 442"/>
                <a:gd name="T3" fmla="*/ 92 h 702"/>
                <a:gd name="T4" fmla="*/ 92 w 442"/>
                <a:gd name="T5" fmla="*/ 118 h 702"/>
                <a:gd name="T6" fmla="*/ 66 w 442"/>
                <a:gd name="T7" fmla="*/ 144 h 702"/>
                <a:gd name="T8" fmla="*/ 66 w 442"/>
                <a:gd name="T9" fmla="*/ 196 h 702"/>
                <a:gd name="T10" fmla="*/ 0 w 442"/>
                <a:gd name="T11" fmla="*/ 234 h 702"/>
                <a:gd name="T12" fmla="*/ 40 w 442"/>
                <a:gd name="T13" fmla="*/ 274 h 702"/>
                <a:gd name="T14" fmla="*/ 14 w 442"/>
                <a:gd name="T15" fmla="*/ 300 h 702"/>
                <a:gd name="T16" fmla="*/ 66 w 442"/>
                <a:gd name="T17" fmla="*/ 312 h 702"/>
                <a:gd name="T18" fmla="*/ 104 w 442"/>
                <a:gd name="T19" fmla="*/ 326 h 702"/>
                <a:gd name="T20" fmla="*/ 130 w 442"/>
                <a:gd name="T21" fmla="*/ 378 h 702"/>
                <a:gd name="T22" fmla="*/ 144 w 442"/>
                <a:gd name="T23" fmla="*/ 416 h 702"/>
                <a:gd name="T24" fmla="*/ 156 w 442"/>
                <a:gd name="T25" fmla="*/ 456 h 702"/>
                <a:gd name="T26" fmla="*/ 130 w 442"/>
                <a:gd name="T27" fmla="*/ 482 h 702"/>
                <a:gd name="T28" fmla="*/ 130 w 442"/>
                <a:gd name="T29" fmla="*/ 520 h 702"/>
                <a:gd name="T30" fmla="*/ 130 w 442"/>
                <a:gd name="T31" fmla="*/ 546 h 702"/>
                <a:gd name="T32" fmla="*/ 130 w 442"/>
                <a:gd name="T33" fmla="*/ 586 h 702"/>
                <a:gd name="T34" fmla="*/ 144 w 442"/>
                <a:gd name="T35" fmla="*/ 638 h 702"/>
                <a:gd name="T36" fmla="*/ 144 w 442"/>
                <a:gd name="T37" fmla="*/ 676 h 702"/>
                <a:gd name="T38" fmla="*/ 182 w 442"/>
                <a:gd name="T39" fmla="*/ 690 h 702"/>
                <a:gd name="T40" fmla="*/ 196 w 442"/>
                <a:gd name="T41" fmla="*/ 702 h 702"/>
                <a:gd name="T42" fmla="*/ 234 w 442"/>
                <a:gd name="T43" fmla="*/ 664 h 702"/>
                <a:gd name="T44" fmla="*/ 248 w 442"/>
                <a:gd name="T45" fmla="*/ 598 h 702"/>
                <a:gd name="T46" fmla="*/ 274 w 442"/>
                <a:gd name="T47" fmla="*/ 546 h 702"/>
                <a:gd name="T48" fmla="*/ 326 w 442"/>
                <a:gd name="T49" fmla="*/ 520 h 702"/>
                <a:gd name="T50" fmla="*/ 338 w 442"/>
                <a:gd name="T51" fmla="*/ 482 h 702"/>
                <a:gd name="T52" fmla="*/ 390 w 442"/>
                <a:gd name="T53" fmla="*/ 442 h 702"/>
                <a:gd name="T54" fmla="*/ 430 w 442"/>
                <a:gd name="T55" fmla="*/ 416 h 702"/>
                <a:gd name="T56" fmla="*/ 390 w 442"/>
                <a:gd name="T57" fmla="*/ 404 h 702"/>
                <a:gd name="T58" fmla="*/ 390 w 442"/>
                <a:gd name="T59" fmla="*/ 378 h 702"/>
                <a:gd name="T60" fmla="*/ 416 w 442"/>
                <a:gd name="T61" fmla="*/ 378 h 702"/>
                <a:gd name="T62" fmla="*/ 442 w 442"/>
                <a:gd name="T63" fmla="*/ 378 h 702"/>
                <a:gd name="T64" fmla="*/ 404 w 442"/>
                <a:gd name="T65" fmla="*/ 352 h 702"/>
                <a:gd name="T66" fmla="*/ 390 w 442"/>
                <a:gd name="T67" fmla="*/ 326 h 702"/>
                <a:gd name="T68" fmla="*/ 404 w 442"/>
                <a:gd name="T69" fmla="*/ 300 h 702"/>
                <a:gd name="T70" fmla="*/ 416 w 442"/>
                <a:gd name="T71" fmla="*/ 274 h 702"/>
                <a:gd name="T72" fmla="*/ 404 w 442"/>
                <a:gd name="T73" fmla="*/ 222 h 702"/>
                <a:gd name="T74" fmla="*/ 390 w 442"/>
                <a:gd name="T75" fmla="*/ 182 h 702"/>
                <a:gd name="T76" fmla="*/ 378 w 442"/>
                <a:gd name="T77" fmla="*/ 170 h 702"/>
                <a:gd name="T78" fmla="*/ 404 w 442"/>
                <a:gd name="T79" fmla="*/ 130 h 702"/>
                <a:gd name="T80" fmla="*/ 404 w 442"/>
                <a:gd name="T81" fmla="*/ 118 h 702"/>
                <a:gd name="T82" fmla="*/ 390 w 442"/>
                <a:gd name="T83" fmla="*/ 92 h 702"/>
                <a:gd name="T84" fmla="*/ 338 w 442"/>
                <a:gd name="T85" fmla="*/ 118 h 702"/>
                <a:gd name="T86" fmla="*/ 326 w 442"/>
                <a:gd name="T87" fmla="*/ 104 h 702"/>
                <a:gd name="T88" fmla="*/ 352 w 442"/>
                <a:gd name="T89" fmla="*/ 92 h 702"/>
                <a:gd name="T90" fmla="*/ 326 w 442"/>
                <a:gd name="T91" fmla="*/ 92 h 702"/>
                <a:gd name="T92" fmla="*/ 312 w 442"/>
                <a:gd name="T93" fmla="*/ 78 h 702"/>
                <a:gd name="T94" fmla="*/ 300 w 442"/>
                <a:gd name="T95" fmla="*/ 66 h 702"/>
                <a:gd name="T96" fmla="*/ 352 w 442"/>
                <a:gd name="T97" fmla="*/ 52 h 702"/>
                <a:gd name="T98" fmla="*/ 378 w 442"/>
                <a:gd name="T99" fmla="*/ 26 h 702"/>
                <a:gd name="T100" fmla="*/ 326 w 442"/>
                <a:gd name="T101" fmla="*/ 0 h 702"/>
                <a:gd name="T102" fmla="*/ 274 w 442"/>
                <a:gd name="T103" fmla="*/ 0 h 702"/>
                <a:gd name="T104" fmla="*/ 260 w 442"/>
                <a:gd name="T105" fmla="*/ 26 h 702"/>
                <a:gd name="T106" fmla="*/ 222 w 442"/>
                <a:gd name="T107" fmla="*/ 26 h 702"/>
                <a:gd name="T108" fmla="*/ 208 w 442"/>
                <a:gd name="T109" fmla="*/ 52 h 702"/>
                <a:gd name="T110" fmla="*/ 196 w 442"/>
                <a:gd name="T111" fmla="*/ 52 h 702"/>
                <a:gd name="T112" fmla="*/ 196 w 442"/>
                <a:gd name="T113" fmla="*/ 78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2" h="702">
                  <a:moveTo>
                    <a:pt x="196" y="78"/>
                  </a:moveTo>
                  <a:lnTo>
                    <a:pt x="156" y="66"/>
                  </a:lnTo>
                  <a:lnTo>
                    <a:pt x="130" y="78"/>
                  </a:lnTo>
                  <a:lnTo>
                    <a:pt x="118" y="92"/>
                  </a:lnTo>
                  <a:lnTo>
                    <a:pt x="104" y="104"/>
                  </a:lnTo>
                  <a:lnTo>
                    <a:pt x="92" y="118"/>
                  </a:lnTo>
                  <a:lnTo>
                    <a:pt x="92" y="144"/>
                  </a:lnTo>
                  <a:lnTo>
                    <a:pt x="66" y="144"/>
                  </a:lnTo>
                  <a:lnTo>
                    <a:pt x="52" y="170"/>
                  </a:lnTo>
                  <a:lnTo>
                    <a:pt x="66" y="196"/>
                  </a:lnTo>
                  <a:lnTo>
                    <a:pt x="40" y="222"/>
                  </a:lnTo>
                  <a:lnTo>
                    <a:pt x="0" y="234"/>
                  </a:lnTo>
                  <a:lnTo>
                    <a:pt x="0" y="248"/>
                  </a:lnTo>
                  <a:lnTo>
                    <a:pt x="40" y="274"/>
                  </a:lnTo>
                  <a:lnTo>
                    <a:pt x="14" y="286"/>
                  </a:lnTo>
                  <a:lnTo>
                    <a:pt x="14" y="300"/>
                  </a:lnTo>
                  <a:lnTo>
                    <a:pt x="26" y="326"/>
                  </a:lnTo>
                  <a:lnTo>
                    <a:pt x="66" y="312"/>
                  </a:lnTo>
                  <a:lnTo>
                    <a:pt x="78" y="312"/>
                  </a:lnTo>
                  <a:lnTo>
                    <a:pt x="104" y="326"/>
                  </a:lnTo>
                  <a:lnTo>
                    <a:pt x="104" y="338"/>
                  </a:lnTo>
                  <a:lnTo>
                    <a:pt x="130" y="378"/>
                  </a:lnTo>
                  <a:lnTo>
                    <a:pt x="144" y="390"/>
                  </a:lnTo>
                  <a:lnTo>
                    <a:pt x="144" y="416"/>
                  </a:lnTo>
                  <a:lnTo>
                    <a:pt x="144" y="442"/>
                  </a:lnTo>
                  <a:lnTo>
                    <a:pt x="156" y="456"/>
                  </a:lnTo>
                  <a:lnTo>
                    <a:pt x="156" y="468"/>
                  </a:lnTo>
                  <a:lnTo>
                    <a:pt x="130" y="482"/>
                  </a:lnTo>
                  <a:lnTo>
                    <a:pt x="130" y="494"/>
                  </a:lnTo>
                  <a:lnTo>
                    <a:pt x="130" y="520"/>
                  </a:lnTo>
                  <a:lnTo>
                    <a:pt x="118" y="534"/>
                  </a:lnTo>
                  <a:lnTo>
                    <a:pt x="130" y="546"/>
                  </a:lnTo>
                  <a:lnTo>
                    <a:pt x="130" y="560"/>
                  </a:lnTo>
                  <a:lnTo>
                    <a:pt x="130" y="586"/>
                  </a:lnTo>
                  <a:lnTo>
                    <a:pt x="130" y="612"/>
                  </a:lnTo>
                  <a:lnTo>
                    <a:pt x="144" y="638"/>
                  </a:lnTo>
                  <a:lnTo>
                    <a:pt x="156" y="650"/>
                  </a:lnTo>
                  <a:lnTo>
                    <a:pt x="144" y="676"/>
                  </a:lnTo>
                  <a:lnTo>
                    <a:pt x="156" y="690"/>
                  </a:lnTo>
                  <a:lnTo>
                    <a:pt x="182" y="690"/>
                  </a:lnTo>
                  <a:lnTo>
                    <a:pt x="182" y="702"/>
                  </a:lnTo>
                  <a:lnTo>
                    <a:pt x="196" y="702"/>
                  </a:lnTo>
                  <a:lnTo>
                    <a:pt x="222" y="690"/>
                  </a:lnTo>
                  <a:lnTo>
                    <a:pt x="234" y="664"/>
                  </a:lnTo>
                  <a:lnTo>
                    <a:pt x="234" y="624"/>
                  </a:lnTo>
                  <a:lnTo>
                    <a:pt x="248" y="598"/>
                  </a:lnTo>
                  <a:lnTo>
                    <a:pt x="260" y="560"/>
                  </a:lnTo>
                  <a:lnTo>
                    <a:pt x="274" y="546"/>
                  </a:lnTo>
                  <a:lnTo>
                    <a:pt x="300" y="534"/>
                  </a:lnTo>
                  <a:lnTo>
                    <a:pt x="326" y="520"/>
                  </a:lnTo>
                  <a:lnTo>
                    <a:pt x="338" y="508"/>
                  </a:lnTo>
                  <a:lnTo>
                    <a:pt x="338" y="482"/>
                  </a:lnTo>
                  <a:lnTo>
                    <a:pt x="364" y="468"/>
                  </a:lnTo>
                  <a:lnTo>
                    <a:pt x="390" y="442"/>
                  </a:lnTo>
                  <a:lnTo>
                    <a:pt x="404" y="442"/>
                  </a:lnTo>
                  <a:lnTo>
                    <a:pt x="430" y="416"/>
                  </a:lnTo>
                  <a:lnTo>
                    <a:pt x="416" y="404"/>
                  </a:lnTo>
                  <a:lnTo>
                    <a:pt x="390" y="404"/>
                  </a:lnTo>
                  <a:lnTo>
                    <a:pt x="390" y="390"/>
                  </a:lnTo>
                  <a:lnTo>
                    <a:pt x="390" y="378"/>
                  </a:lnTo>
                  <a:lnTo>
                    <a:pt x="390" y="364"/>
                  </a:lnTo>
                  <a:lnTo>
                    <a:pt x="416" y="378"/>
                  </a:lnTo>
                  <a:lnTo>
                    <a:pt x="430" y="378"/>
                  </a:lnTo>
                  <a:lnTo>
                    <a:pt x="442" y="378"/>
                  </a:lnTo>
                  <a:lnTo>
                    <a:pt x="430" y="352"/>
                  </a:lnTo>
                  <a:lnTo>
                    <a:pt x="404" y="352"/>
                  </a:lnTo>
                  <a:lnTo>
                    <a:pt x="390" y="338"/>
                  </a:lnTo>
                  <a:lnTo>
                    <a:pt x="390" y="326"/>
                  </a:lnTo>
                  <a:lnTo>
                    <a:pt x="416" y="312"/>
                  </a:lnTo>
                  <a:lnTo>
                    <a:pt x="404" y="300"/>
                  </a:lnTo>
                  <a:lnTo>
                    <a:pt x="416" y="286"/>
                  </a:lnTo>
                  <a:lnTo>
                    <a:pt x="416" y="274"/>
                  </a:lnTo>
                  <a:lnTo>
                    <a:pt x="416" y="248"/>
                  </a:lnTo>
                  <a:lnTo>
                    <a:pt x="404" y="222"/>
                  </a:lnTo>
                  <a:lnTo>
                    <a:pt x="378" y="208"/>
                  </a:lnTo>
                  <a:lnTo>
                    <a:pt x="390" y="182"/>
                  </a:lnTo>
                  <a:lnTo>
                    <a:pt x="390" y="170"/>
                  </a:lnTo>
                  <a:lnTo>
                    <a:pt x="378" y="170"/>
                  </a:lnTo>
                  <a:lnTo>
                    <a:pt x="390" y="144"/>
                  </a:lnTo>
                  <a:lnTo>
                    <a:pt x="404" y="130"/>
                  </a:lnTo>
                  <a:lnTo>
                    <a:pt x="416" y="118"/>
                  </a:lnTo>
                  <a:lnTo>
                    <a:pt x="404" y="118"/>
                  </a:lnTo>
                  <a:lnTo>
                    <a:pt x="404" y="92"/>
                  </a:lnTo>
                  <a:lnTo>
                    <a:pt x="390" y="92"/>
                  </a:lnTo>
                  <a:lnTo>
                    <a:pt x="378" y="104"/>
                  </a:lnTo>
                  <a:lnTo>
                    <a:pt x="338" y="118"/>
                  </a:lnTo>
                  <a:lnTo>
                    <a:pt x="326" y="118"/>
                  </a:lnTo>
                  <a:lnTo>
                    <a:pt x="326" y="104"/>
                  </a:lnTo>
                  <a:lnTo>
                    <a:pt x="338" y="92"/>
                  </a:lnTo>
                  <a:lnTo>
                    <a:pt x="352" y="92"/>
                  </a:lnTo>
                  <a:lnTo>
                    <a:pt x="338" y="78"/>
                  </a:lnTo>
                  <a:lnTo>
                    <a:pt x="326" y="92"/>
                  </a:lnTo>
                  <a:lnTo>
                    <a:pt x="312" y="92"/>
                  </a:lnTo>
                  <a:lnTo>
                    <a:pt x="312" y="78"/>
                  </a:lnTo>
                  <a:lnTo>
                    <a:pt x="312" y="66"/>
                  </a:lnTo>
                  <a:lnTo>
                    <a:pt x="300" y="66"/>
                  </a:lnTo>
                  <a:lnTo>
                    <a:pt x="326" y="52"/>
                  </a:lnTo>
                  <a:lnTo>
                    <a:pt x="352" y="52"/>
                  </a:lnTo>
                  <a:lnTo>
                    <a:pt x="378" y="40"/>
                  </a:lnTo>
                  <a:lnTo>
                    <a:pt x="378" y="26"/>
                  </a:lnTo>
                  <a:lnTo>
                    <a:pt x="352" y="26"/>
                  </a:lnTo>
                  <a:lnTo>
                    <a:pt x="326" y="0"/>
                  </a:lnTo>
                  <a:lnTo>
                    <a:pt x="300" y="0"/>
                  </a:lnTo>
                  <a:lnTo>
                    <a:pt x="274" y="0"/>
                  </a:lnTo>
                  <a:lnTo>
                    <a:pt x="260" y="0"/>
                  </a:lnTo>
                  <a:lnTo>
                    <a:pt x="260" y="26"/>
                  </a:lnTo>
                  <a:lnTo>
                    <a:pt x="234" y="26"/>
                  </a:lnTo>
                  <a:lnTo>
                    <a:pt x="222" y="26"/>
                  </a:lnTo>
                  <a:lnTo>
                    <a:pt x="222" y="40"/>
                  </a:lnTo>
                  <a:lnTo>
                    <a:pt x="208" y="52"/>
                  </a:lnTo>
                  <a:lnTo>
                    <a:pt x="208" y="66"/>
                  </a:lnTo>
                  <a:lnTo>
                    <a:pt x="196" y="52"/>
                  </a:lnTo>
                  <a:lnTo>
                    <a:pt x="196" y="66"/>
                  </a:lnTo>
                  <a:lnTo>
                    <a:pt x="196" y="78"/>
                  </a:lnTo>
                  <a:lnTo>
                    <a:pt x="196" y="78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gray">
            <a:xfrm>
              <a:off x="538" y="719"/>
              <a:ext cx="1195" cy="1859"/>
            </a:xfrm>
            <a:custGeom>
              <a:avLst/>
              <a:gdLst>
                <a:gd name="T0" fmla="*/ 2130 w 2391"/>
                <a:gd name="T1" fmla="*/ 1767 h 3718"/>
                <a:gd name="T2" fmla="*/ 2130 w 2391"/>
                <a:gd name="T3" fmla="*/ 1690 h 3718"/>
                <a:gd name="T4" fmla="*/ 2391 w 2391"/>
                <a:gd name="T5" fmla="*/ 1560 h 3718"/>
                <a:gd name="T6" fmla="*/ 2159 w 2391"/>
                <a:gd name="T7" fmla="*/ 1403 h 3718"/>
                <a:gd name="T8" fmla="*/ 2004 w 2391"/>
                <a:gd name="T9" fmla="*/ 1328 h 3718"/>
                <a:gd name="T10" fmla="*/ 1871 w 2391"/>
                <a:gd name="T11" fmla="*/ 1144 h 3718"/>
                <a:gd name="T12" fmla="*/ 1739 w 2391"/>
                <a:gd name="T13" fmla="*/ 1299 h 3718"/>
                <a:gd name="T14" fmla="*/ 1687 w 2391"/>
                <a:gd name="T15" fmla="*/ 1535 h 3718"/>
                <a:gd name="T16" fmla="*/ 1664 w 2391"/>
                <a:gd name="T17" fmla="*/ 1535 h 3718"/>
                <a:gd name="T18" fmla="*/ 1376 w 2391"/>
                <a:gd name="T19" fmla="*/ 1328 h 3718"/>
                <a:gd name="T20" fmla="*/ 1455 w 2391"/>
                <a:gd name="T21" fmla="*/ 1040 h 3718"/>
                <a:gd name="T22" fmla="*/ 1532 w 2391"/>
                <a:gd name="T23" fmla="*/ 963 h 3718"/>
                <a:gd name="T24" fmla="*/ 1687 w 2391"/>
                <a:gd name="T25" fmla="*/ 808 h 3718"/>
                <a:gd name="T26" fmla="*/ 1583 w 2391"/>
                <a:gd name="T27" fmla="*/ 833 h 3718"/>
                <a:gd name="T28" fmla="*/ 1480 w 2391"/>
                <a:gd name="T29" fmla="*/ 675 h 3718"/>
                <a:gd name="T30" fmla="*/ 1428 w 2391"/>
                <a:gd name="T31" fmla="*/ 833 h 3718"/>
                <a:gd name="T32" fmla="*/ 1351 w 2391"/>
                <a:gd name="T33" fmla="*/ 808 h 3718"/>
                <a:gd name="T34" fmla="*/ 1196 w 2391"/>
                <a:gd name="T35" fmla="*/ 727 h 3718"/>
                <a:gd name="T36" fmla="*/ 1012 w 2391"/>
                <a:gd name="T37" fmla="*/ 520 h 3718"/>
                <a:gd name="T38" fmla="*/ 831 w 2391"/>
                <a:gd name="T39" fmla="*/ 416 h 3718"/>
                <a:gd name="T40" fmla="*/ 728 w 2391"/>
                <a:gd name="T41" fmla="*/ 184 h 3718"/>
                <a:gd name="T42" fmla="*/ 491 w 2391"/>
                <a:gd name="T43" fmla="*/ 81 h 3718"/>
                <a:gd name="T44" fmla="*/ 417 w 2391"/>
                <a:gd name="T45" fmla="*/ 29 h 3718"/>
                <a:gd name="T46" fmla="*/ 259 w 2391"/>
                <a:gd name="T47" fmla="*/ 104 h 3718"/>
                <a:gd name="T48" fmla="*/ 129 w 2391"/>
                <a:gd name="T49" fmla="*/ 261 h 3718"/>
                <a:gd name="T50" fmla="*/ 284 w 2391"/>
                <a:gd name="T51" fmla="*/ 416 h 3718"/>
                <a:gd name="T52" fmla="*/ 365 w 2391"/>
                <a:gd name="T53" fmla="*/ 468 h 3718"/>
                <a:gd name="T54" fmla="*/ 417 w 2391"/>
                <a:gd name="T55" fmla="*/ 675 h 3718"/>
                <a:gd name="T56" fmla="*/ 417 w 2391"/>
                <a:gd name="T57" fmla="*/ 963 h 3718"/>
                <a:gd name="T58" fmla="*/ 388 w 2391"/>
                <a:gd name="T59" fmla="*/ 1247 h 3718"/>
                <a:gd name="T60" fmla="*/ 336 w 2391"/>
                <a:gd name="T61" fmla="*/ 1276 h 3718"/>
                <a:gd name="T62" fmla="*/ 129 w 2391"/>
                <a:gd name="T63" fmla="*/ 1560 h 3718"/>
                <a:gd name="T64" fmla="*/ 181 w 2391"/>
                <a:gd name="T65" fmla="*/ 2026 h 3718"/>
                <a:gd name="T66" fmla="*/ 181 w 2391"/>
                <a:gd name="T67" fmla="*/ 2368 h 3718"/>
                <a:gd name="T68" fmla="*/ 232 w 2391"/>
                <a:gd name="T69" fmla="*/ 2494 h 3718"/>
                <a:gd name="T70" fmla="*/ 232 w 2391"/>
                <a:gd name="T71" fmla="*/ 2132 h 3718"/>
                <a:gd name="T72" fmla="*/ 336 w 2391"/>
                <a:gd name="T73" fmla="*/ 2442 h 3718"/>
                <a:gd name="T74" fmla="*/ 417 w 2391"/>
                <a:gd name="T75" fmla="*/ 2914 h 3718"/>
                <a:gd name="T76" fmla="*/ 856 w 2391"/>
                <a:gd name="T77" fmla="*/ 3173 h 3718"/>
                <a:gd name="T78" fmla="*/ 1115 w 2391"/>
                <a:gd name="T79" fmla="*/ 3354 h 3718"/>
                <a:gd name="T80" fmla="*/ 1299 w 2391"/>
                <a:gd name="T81" fmla="*/ 3615 h 3718"/>
                <a:gd name="T82" fmla="*/ 1455 w 2391"/>
                <a:gd name="T83" fmla="*/ 3615 h 3718"/>
                <a:gd name="T84" fmla="*/ 1560 w 2391"/>
                <a:gd name="T85" fmla="*/ 3641 h 3718"/>
                <a:gd name="T86" fmla="*/ 1272 w 2391"/>
                <a:gd name="T87" fmla="*/ 3486 h 3718"/>
                <a:gd name="T88" fmla="*/ 1299 w 2391"/>
                <a:gd name="T89" fmla="*/ 3273 h 3718"/>
                <a:gd name="T90" fmla="*/ 1144 w 2391"/>
                <a:gd name="T91" fmla="*/ 3146 h 3718"/>
                <a:gd name="T92" fmla="*/ 1196 w 2391"/>
                <a:gd name="T93" fmla="*/ 2962 h 3718"/>
                <a:gd name="T94" fmla="*/ 937 w 2391"/>
                <a:gd name="T95" fmla="*/ 3043 h 3718"/>
                <a:gd name="T96" fmla="*/ 728 w 2391"/>
                <a:gd name="T97" fmla="*/ 2807 h 3718"/>
                <a:gd name="T98" fmla="*/ 856 w 2391"/>
                <a:gd name="T99" fmla="*/ 2546 h 3718"/>
                <a:gd name="T100" fmla="*/ 1115 w 2391"/>
                <a:gd name="T101" fmla="*/ 2598 h 3718"/>
                <a:gd name="T102" fmla="*/ 1219 w 2391"/>
                <a:gd name="T103" fmla="*/ 2627 h 3718"/>
                <a:gd name="T104" fmla="*/ 1351 w 2391"/>
                <a:gd name="T105" fmla="*/ 2627 h 3718"/>
                <a:gd name="T106" fmla="*/ 1507 w 2391"/>
                <a:gd name="T107" fmla="*/ 2834 h 3718"/>
                <a:gd name="T108" fmla="*/ 1560 w 2391"/>
                <a:gd name="T109" fmla="*/ 2575 h 3718"/>
                <a:gd name="T110" fmla="*/ 1791 w 2391"/>
                <a:gd name="T111" fmla="*/ 2287 h 3718"/>
                <a:gd name="T112" fmla="*/ 1900 w 2391"/>
                <a:gd name="T113" fmla="*/ 2158 h 3718"/>
                <a:gd name="T114" fmla="*/ 2078 w 2391"/>
                <a:gd name="T115" fmla="*/ 2003 h 3718"/>
                <a:gd name="T116" fmla="*/ 2107 w 2391"/>
                <a:gd name="T117" fmla="*/ 1974 h 3718"/>
                <a:gd name="T118" fmla="*/ 2236 w 2391"/>
                <a:gd name="T119" fmla="*/ 1951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1" h="3718">
                  <a:moveTo>
                    <a:pt x="2184" y="1848"/>
                  </a:moveTo>
                  <a:lnTo>
                    <a:pt x="2159" y="1848"/>
                  </a:lnTo>
                  <a:lnTo>
                    <a:pt x="2184" y="1819"/>
                  </a:lnTo>
                  <a:lnTo>
                    <a:pt x="2159" y="1796"/>
                  </a:lnTo>
                  <a:lnTo>
                    <a:pt x="2130" y="1767"/>
                  </a:lnTo>
                  <a:lnTo>
                    <a:pt x="2027" y="1848"/>
                  </a:lnTo>
                  <a:lnTo>
                    <a:pt x="1975" y="1848"/>
                  </a:lnTo>
                  <a:lnTo>
                    <a:pt x="2004" y="1819"/>
                  </a:lnTo>
                  <a:lnTo>
                    <a:pt x="2055" y="1767"/>
                  </a:lnTo>
                  <a:lnTo>
                    <a:pt x="2130" y="1690"/>
                  </a:lnTo>
                  <a:lnTo>
                    <a:pt x="2236" y="1690"/>
                  </a:lnTo>
                  <a:lnTo>
                    <a:pt x="2314" y="1663"/>
                  </a:lnTo>
                  <a:lnTo>
                    <a:pt x="2366" y="1612"/>
                  </a:lnTo>
                  <a:lnTo>
                    <a:pt x="2391" y="1587"/>
                  </a:lnTo>
                  <a:lnTo>
                    <a:pt x="2391" y="1560"/>
                  </a:lnTo>
                  <a:lnTo>
                    <a:pt x="2339" y="1535"/>
                  </a:lnTo>
                  <a:lnTo>
                    <a:pt x="2339" y="1483"/>
                  </a:lnTo>
                  <a:lnTo>
                    <a:pt x="2314" y="1456"/>
                  </a:lnTo>
                  <a:lnTo>
                    <a:pt x="2211" y="1456"/>
                  </a:lnTo>
                  <a:lnTo>
                    <a:pt x="2159" y="1403"/>
                  </a:lnTo>
                  <a:lnTo>
                    <a:pt x="2184" y="1351"/>
                  </a:lnTo>
                  <a:lnTo>
                    <a:pt x="2130" y="1328"/>
                  </a:lnTo>
                  <a:lnTo>
                    <a:pt x="2078" y="1247"/>
                  </a:lnTo>
                  <a:lnTo>
                    <a:pt x="2027" y="1328"/>
                  </a:lnTo>
                  <a:lnTo>
                    <a:pt x="2004" y="1328"/>
                  </a:lnTo>
                  <a:lnTo>
                    <a:pt x="1975" y="1299"/>
                  </a:lnTo>
                  <a:lnTo>
                    <a:pt x="1975" y="1224"/>
                  </a:lnTo>
                  <a:lnTo>
                    <a:pt x="1923" y="1195"/>
                  </a:lnTo>
                  <a:lnTo>
                    <a:pt x="1900" y="1172"/>
                  </a:lnTo>
                  <a:lnTo>
                    <a:pt x="1871" y="1144"/>
                  </a:lnTo>
                  <a:lnTo>
                    <a:pt x="1819" y="1144"/>
                  </a:lnTo>
                  <a:lnTo>
                    <a:pt x="1739" y="1144"/>
                  </a:lnTo>
                  <a:lnTo>
                    <a:pt x="1739" y="1224"/>
                  </a:lnTo>
                  <a:lnTo>
                    <a:pt x="1768" y="1247"/>
                  </a:lnTo>
                  <a:lnTo>
                    <a:pt x="1739" y="1299"/>
                  </a:lnTo>
                  <a:lnTo>
                    <a:pt x="1716" y="1328"/>
                  </a:lnTo>
                  <a:lnTo>
                    <a:pt x="1739" y="1328"/>
                  </a:lnTo>
                  <a:lnTo>
                    <a:pt x="1768" y="1431"/>
                  </a:lnTo>
                  <a:lnTo>
                    <a:pt x="1716" y="1483"/>
                  </a:lnTo>
                  <a:lnTo>
                    <a:pt x="1687" y="1535"/>
                  </a:lnTo>
                  <a:lnTo>
                    <a:pt x="1739" y="1560"/>
                  </a:lnTo>
                  <a:lnTo>
                    <a:pt x="1739" y="1639"/>
                  </a:lnTo>
                  <a:lnTo>
                    <a:pt x="1687" y="1639"/>
                  </a:lnTo>
                  <a:lnTo>
                    <a:pt x="1635" y="1560"/>
                  </a:lnTo>
                  <a:lnTo>
                    <a:pt x="1664" y="1535"/>
                  </a:lnTo>
                  <a:lnTo>
                    <a:pt x="1635" y="1508"/>
                  </a:lnTo>
                  <a:lnTo>
                    <a:pt x="1635" y="1456"/>
                  </a:lnTo>
                  <a:lnTo>
                    <a:pt x="1560" y="1456"/>
                  </a:lnTo>
                  <a:lnTo>
                    <a:pt x="1480" y="1380"/>
                  </a:lnTo>
                  <a:lnTo>
                    <a:pt x="1376" y="1328"/>
                  </a:lnTo>
                  <a:lnTo>
                    <a:pt x="1376" y="1276"/>
                  </a:lnTo>
                  <a:lnTo>
                    <a:pt x="1324" y="1224"/>
                  </a:lnTo>
                  <a:lnTo>
                    <a:pt x="1376" y="1144"/>
                  </a:lnTo>
                  <a:lnTo>
                    <a:pt x="1480" y="1067"/>
                  </a:lnTo>
                  <a:lnTo>
                    <a:pt x="1455" y="1040"/>
                  </a:lnTo>
                  <a:lnTo>
                    <a:pt x="1507" y="1040"/>
                  </a:lnTo>
                  <a:lnTo>
                    <a:pt x="1507" y="1015"/>
                  </a:lnTo>
                  <a:lnTo>
                    <a:pt x="1532" y="1040"/>
                  </a:lnTo>
                  <a:lnTo>
                    <a:pt x="1560" y="988"/>
                  </a:lnTo>
                  <a:lnTo>
                    <a:pt x="1532" y="963"/>
                  </a:lnTo>
                  <a:lnTo>
                    <a:pt x="1583" y="963"/>
                  </a:lnTo>
                  <a:lnTo>
                    <a:pt x="1612" y="936"/>
                  </a:lnTo>
                  <a:lnTo>
                    <a:pt x="1664" y="936"/>
                  </a:lnTo>
                  <a:lnTo>
                    <a:pt x="1687" y="885"/>
                  </a:lnTo>
                  <a:lnTo>
                    <a:pt x="1687" y="808"/>
                  </a:lnTo>
                  <a:lnTo>
                    <a:pt x="1635" y="779"/>
                  </a:lnTo>
                  <a:lnTo>
                    <a:pt x="1635" y="833"/>
                  </a:lnTo>
                  <a:lnTo>
                    <a:pt x="1583" y="885"/>
                  </a:lnTo>
                  <a:lnTo>
                    <a:pt x="1560" y="833"/>
                  </a:lnTo>
                  <a:lnTo>
                    <a:pt x="1583" y="833"/>
                  </a:lnTo>
                  <a:lnTo>
                    <a:pt x="1560" y="808"/>
                  </a:lnTo>
                  <a:lnTo>
                    <a:pt x="1507" y="808"/>
                  </a:lnTo>
                  <a:lnTo>
                    <a:pt x="1507" y="756"/>
                  </a:lnTo>
                  <a:lnTo>
                    <a:pt x="1507" y="727"/>
                  </a:lnTo>
                  <a:lnTo>
                    <a:pt x="1480" y="675"/>
                  </a:lnTo>
                  <a:lnTo>
                    <a:pt x="1455" y="704"/>
                  </a:lnTo>
                  <a:lnTo>
                    <a:pt x="1480" y="779"/>
                  </a:lnTo>
                  <a:lnTo>
                    <a:pt x="1455" y="808"/>
                  </a:lnTo>
                  <a:lnTo>
                    <a:pt x="1455" y="833"/>
                  </a:lnTo>
                  <a:lnTo>
                    <a:pt x="1428" y="833"/>
                  </a:lnTo>
                  <a:lnTo>
                    <a:pt x="1403" y="833"/>
                  </a:lnTo>
                  <a:lnTo>
                    <a:pt x="1428" y="756"/>
                  </a:lnTo>
                  <a:lnTo>
                    <a:pt x="1376" y="756"/>
                  </a:lnTo>
                  <a:lnTo>
                    <a:pt x="1376" y="779"/>
                  </a:lnTo>
                  <a:lnTo>
                    <a:pt x="1351" y="808"/>
                  </a:lnTo>
                  <a:lnTo>
                    <a:pt x="1299" y="756"/>
                  </a:lnTo>
                  <a:lnTo>
                    <a:pt x="1248" y="727"/>
                  </a:lnTo>
                  <a:lnTo>
                    <a:pt x="1248" y="756"/>
                  </a:lnTo>
                  <a:lnTo>
                    <a:pt x="1196" y="756"/>
                  </a:lnTo>
                  <a:lnTo>
                    <a:pt x="1196" y="727"/>
                  </a:lnTo>
                  <a:lnTo>
                    <a:pt x="1115" y="675"/>
                  </a:lnTo>
                  <a:lnTo>
                    <a:pt x="1115" y="652"/>
                  </a:lnTo>
                  <a:lnTo>
                    <a:pt x="1063" y="624"/>
                  </a:lnTo>
                  <a:lnTo>
                    <a:pt x="1063" y="572"/>
                  </a:lnTo>
                  <a:lnTo>
                    <a:pt x="1012" y="520"/>
                  </a:lnTo>
                  <a:lnTo>
                    <a:pt x="988" y="497"/>
                  </a:lnTo>
                  <a:lnTo>
                    <a:pt x="988" y="468"/>
                  </a:lnTo>
                  <a:lnTo>
                    <a:pt x="937" y="468"/>
                  </a:lnTo>
                  <a:lnTo>
                    <a:pt x="937" y="443"/>
                  </a:lnTo>
                  <a:lnTo>
                    <a:pt x="831" y="416"/>
                  </a:lnTo>
                  <a:lnTo>
                    <a:pt x="804" y="340"/>
                  </a:lnTo>
                  <a:lnTo>
                    <a:pt x="804" y="313"/>
                  </a:lnTo>
                  <a:lnTo>
                    <a:pt x="779" y="261"/>
                  </a:lnTo>
                  <a:lnTo>
                    <a:pt x="779" y="236"/>
                  </a:lnTo>
                  <a:lnTo>
                    <a:pt x="728" y="184"/>
                  </a:lnTo>
                  <a:lnTo>
                    <a:pt x="752" y="133"/>
                  </a:lnTo>
                  <a:lnTo>
                    <a:pt x="701" y="81"/>
                  </a:lnTo>
                  <a:lnTo>
                    <a:pt x="624" y="52"/>
                  </a:lnTo>
                  <a:lnTo>
                    <a:pt x="543" y="0"/>
                  </a:lnTo>
                  <a:lnTo>
                    <a:pt x="491" y="81"/>
                  </a:lnTo>
                  <a:lnTo>
                    <a:pt x="491" y="104"/>
                  </a:lnTo>
                  <a:lnTo>
                    <a:pt x="468" y="133"/>
                  </a:lnTo>
                  <a:lnTo>
                    <a:pt x="440" y="104"/>
                  </a:lnTo>
                  <a:lnTo>
                    <a:pt x="440" y="81"/>
                  </a:lnTo>
                  <a:lnTo>
                    <a:pt x="417" y="29"/>
                  </a:lnTo>
                  <a:lnTo>
                    <a:pt x="365" y="29"/>
                  </a:lnTo>
                  <a:lnTo>
                    <a:pt x="365" y="104"/>
                  </a:lnTo>
                  <a:lnTo>
                    <a:pt x="365" y="156"/>
                  </a:lnTo>
                  <a:lnTo>
                    <a:pt x="336" y="156"/>
                  </a:lnTo>
                  <a:lnTo>
                    <a:pt x="259" y="104"/>
                  </a:lnTo>
                  <a:lnTo>
                    <a:pt x="129" y="156"/>
                  </a:lnTo>
                  <a:lnTo>
                    <a:pt x="129" y="209"/>
                  </a:lnTo>
                  <a:lnTo>
                    <a:pt x="156" y="209"/>
                  </a:lnTo>
                  <a:lnTo>
                    <a:pt x="104" y="261"/>
                  </a:lnTo>
                  <a:lnTo>
                    <a:pt x="129" y="261"/>
                  </a:lnTo>
                  <a:lnTo>
                    <a:pt x="129" y="288"/>
                  </a:lnTo>
                  <a:lnTo>
                    <a:pt x="156" y="340"/>
                  </a:lnTo>
                  <a:lnTo>
                    <a:pt x="0" y="340"/>
                  </a:lnTo>
                  <a:lnTo>
                    <a:pt x="181" y="392"/>
                  </a:lnTo>
                  <a:lnTo>
                    <a:pt x="284" y="416"/>
                  </a:lnTo>
                  <a:lnTo>
                    <a:pt x="232" y="443"/>
                  </a:lnTo>
                  <a:lnTo>
                    <a:pt x="259" y="468"/>
                  </a:lnTo>
                  <a:lnTo>
                    <a:pt x="336" y="468"/>
                  </a:lnTo>
                  <a:lnTo>
                    <a:pt x="336" y="443"/>
                  </a:lnTo>
                  <a:lnTo>
                    <a:pt x="365" y="468"/>
                  </a:lnTo>
                  <a:lnTo>
                    <a:pt x="365" y="497"/>
                  </a:lnTo>
                  <a:lnTo>
                    <a:pt x="365" y="549"/>
                  </a:lnTo>
                  <a:lnTo>
                    <a:pt x="417" y="572"/>
                  </a:lnTo>
                  <a:lnTo>
                    <a:pt x="417" y="624"/>
                  </a:lnTo>
                  <a:lnTo>
                    <a:pt x="417" y="675"/>
                  </a:lnTo>
                  <a:lnTo>
                    <a:pt x="417" y="727"/>
                  </a:lnTo>
                  <a:lnTo>
                    <a:pt x="440" y="756"/>
                  </a:lnTo>
                  <a:lnTo>
                    <a:pt x="468" y="756"/>
                  </a:lnTo>
                  <a:lnTo>
                    <a:pt x="417" y="860"/>
                  </a:lnTo>
                  <a:lnTo>
                    <a:pt x="417" y="963"/>
                  </a:lnTo>
                  <a:lnTo>
                    <a:pt x="388" y="1015"/>
                  </a:lnTo>
                  <a:lnTo>
                    <a:pt x="417" y="1040"/>
                  </a:lnTo>
                  <a:lnTo>
                    <a:pt x="388" y="1172"/>
                  </a:lnTo>
                  <a:lnTo>
                    <a:pt x="388" y="1224"/>
                  </a:lnTo>
                  <a:lnTo>
                    <a:pt x="388" y="1247"/>
                  </a:lnTo>
                  <a:lnTo>
                    <a:pt x="388" y="1299"/>
                  </a:lnTo>
                  <a:lnTo>
                    <a:pt x="388" y="1328"/>
                  </a:lnTo>
                  <a:lnTo>
                    <a:pt x="417" y="1328"/>
                  </a:lnTo>
                  <a:lnTo>
                    <a:pt x="365" y="1299"/>
                  </a:lnTo>
                  <a:lnTo>
                    <a:pt x="336" y="1276"/>
                  </a:lnTo>
                  <a:lnTo>
                    <a:pt x="313" y="1351"/>
                  </a:lnTo>
                  <a:lnTo>
                    <a:pt x="259" y="1456"/>
                  </a:lnTo>
                  <a:lnTo>
                    <a:pt x="207" y="1483"/>
                  </a:lnTo>
                  <a:lnTo>
                    <a:pt x="181" y="1535"/>
                  </a:lnTo>
                  <a:lnTo>
                    <a:pt x="129" y="1560"/>
                  </a:lnTo>
                  <a:lnTo>
                    <a:pt x="104" y="1715"/>
                  </a:lnTo>
                  <a:lnTo>
                    <a:pt x="104" y="1871"/>
                  </a:lnTo>
                  <a:lnTo>
                    <a:pt x="156" y="1974"/>
                  </a:lnTo>
                  <a:lnTo>
                    <a:pt x="181" y="2003"/>
                  </a:lnTo>
                  <a:lnTo>
                    <a:pt x="181" y="2026"/>
                  </a:lnTo>
                  <a:lnTo>
                    <a:pt x="156" y="2080"/>
                  </a:lnTo>
                  <a:lnTo>
                    <a:pt x="207" y="2262"/>
                  </a:lnTo>
                  <a:lnTo>
                    <a:pt x="181" y="2287"/>
                  </a:lnTo>
                  <a:lnTo>
                    <a:pt x="156" y="2262"/>
                  </a:lnTo>
                  <a:lnTo>
                    <a:pt x="181" y="2368"/>
                  </a:lnTo>
                  <a:lnTo>
                    <a:pt x="207" y="2391"/>
                  </a:lnTo>
                  <a:lnTo>
                    <a:pt x="181" y="2471"/>
                  </a:lnTo>
                  <a:lnTo>
                    <a:pt x="259" y="2575"/>
                  </a:lnTo>
                  <a:lnTo>
                    <a:pt x="259" y="2523"/>
                  </a:lnTo>
                  <a:lnTo>
                    <a:pt x="232" y="2494"/>
                  </a:lnTo>
                  <a:lnTo>
                    <a:pt x="232" y="2442"/>
                  </a:lnTo>
                  <a:lnTo>
                    <a:pt x="232" y="2314"/>
                  </a:lnTo>
                  <a:lnTo>
                    <a:pt x="232" y="2287"/>
                  </a:lnTo>
                  <a:lnTo>
                    <a:pt x="207" y="2210"/>
                  </a:lnTo>
                  <a:lnTo>
                    <a:pt x="232" y="2132"/>
                  </a:lnTo>
                  <a:lnTo>
                    <a:pt x="284" y="2183"/>
                  </a:lnTo>
                  <a:lnTo>
                    <a:pt x="313" y="2339"/>
                  </a:lnTo>
                  <a:lnTo>
                    <a:pt x="313" y="2391"/>
                  </a:lnTo>
                  <a:lnTo>
                    <a:pt x="313" y="2442"/>
                  </a:lnTo>
                  <a:lnTo>
                    <a:pt x="336" y="2442"/>
                  </a:lnTo>
                  <a:lnTo>
                    <a:pt x="313" y="2471"/>
                  </a:lnTo>
                  <a:lnTo>
                    <a:pt x="365" y="2523"/>
                  </a:lnTo>
                  <a:lnTo>
                    <a:pt x="417" y="2703"/>
                  </a:lnTo>
                  <a:lnTo>
                    <a:pt x="365" y="2782"/>
                  </a:lnTo>
                  <a:lnTo>
                    <a:pt x="417" y="2914"/>
                  </a:lnTo>
                  <a:lnTo>
                    <a:pt x="491" y="2937"/>
                  </a:lnTo>
                  <a:lnTo>
                    <a:pt x="543" y="3014"/>
                  </a:lnTo>
                  <a:lnTo>
                    <a:pt x="728" y="3118"/>
                  </a:lnTo>
                  <a:lnTo>
                    <a:pt x="804" y="3118"/>
                  </a:lnTo>
                  <a:lnTo>
                    <a:pt x="856" y="3173"/>
                  </a:lnTo>
                  <a:lnTo>
                    <a:pt x="883" y="3225"/>
                  </a:lnTo>
                  <a:lnTo>
                    <a:pt x="937" y="3273"/>
                  </a:lnTo>
                  <a:lnTo>
                    <a:pt x="1012" y="3302"/>
                  </a:lnTo>
                  <a:lnTo>
                    <a:pt x="1040" y="3331"/>
                  </a:lnTo>
                  <a:lnTo>
                    <a:pt x="1115" y="3354"/>
                  </a:lnTo>
                  <a:lnTo>
                    <a:pt x="1167" y="3457"/>
                  </a:lnTo>
                  <a:lnTo>
                    <a:pt x="1167" y="3486"/>
                  </a:lnTo>
                  <a:lnTo>
                    <a:pt x="1167" y="3509"/>
                  </a:lnTo>
                  <a:lnTo>
                    <a:pt x="1272" y="3615"/>
                  </a:lnTo>
                  <a:lnTo>
                    <a:pt x="1299" y="3615"/>
                  </a:lnTo>
                  <a:lnTo>
                    <a:pt x="1403" y="3693"/>
                  </a:lnTo>
                  <a:lnTo>
                    <a:pt x="1428" y="3666"/>
                  </a:lnTo>
                  <a:lnTo>
                    <a:pt x="1376" y="3641"/>
                  </a:lnTo>
                  <a:lnTo>
                    <a:pt x="1428" y="3641"/>
                  </a:lnTo>
                  <a:lnTo>
                    <a:pt x="1455" y="3615"/>
                  </a:lnTo>
                  <a:lnTo>
                    <a:pt x="1507" y="3666"/>
                  </a:lnTo>
                  <a:lnTo>
                    <a:pt x="1480" y="3693"/>
                  </a:lnTo>
                  <a:lnTo>
                    <a:pt x="1532" y="3718"/>
                  </a:lnTo>
                  <a:lnTo>
                    <a:pt x="1560" y="3718"/>
                  </a:lnTo>
                  <a:lnTo>
                    <a:pt x="1560" y="3641"/>
                  </a:lnTo>
                  <a:lnTo>
                    <a:pt x="1455" y="3590"/>
                  </a:lnTo>
                  <a:lnTo>
                    <a:pt x="1351" y="3615"/>
                  </a:lnTo>
                  <a:lnTo>
                    <a:pt x="1299" y="3561"/>
                  </a:lnTo>
                  <a:lnTo>
                    <a:pt x="1248" y="3538"/>
                  </a:lnTo>
                  <a:lnTo>
                    <a:pt x="1272" y="3486"/>
                  </a:lnTo>
                  <a:lnTo>
                    <a:pt x="1272" y="3430"/>
                  </a:lnTo>
                  <a:lnTo>
                    <a:pt x="1351" y="3354"/>
                  </a:lnTo>
                  <a:lnTo>
                    <a:pt x="1351" y="3331"/>
                  </a:lnTo>
                  <a:lnTo>
                    <a:pt x="1299" y="3302"/>
                  </a:lnTo>
                  <a:lnTo>
                    <a:pt x="1299" y="3273"/>
                  </a:lnTo>
                  <a:lnTo>
                    <a:pt x="1272" y="3273"/>
                  </a:lnTo>
                  <a:lnTo>
                    <a:pt x="1115" y="3250"/>
                  </a:lnTo>
                  <a:lnTo>
                    <a:pt x="1092" y="3225"/>
                  </a:lnTo>
                  <a:lnTo>
                    <a:pt x="1115" y="3198"/>
                  </a:lnTo>
                  <a:lnTo>
                    <a:pt x="1144" y="3146"/>
                  </a:lnTo>
                  <a:lnTo>
                    <a:pt x="1144" y="3118"/>
                  </a:lnTo>
                  <a:lnTo>
                    <a:pt x="1167" y="3095"/>
                  </a:lnTo>
                  <a:lnTo>
                    <a:pt x="1167" y="3043"/>
                  </a:lnTo>
                  <a:lnTo>
                    <a:pt x="1196" y="3014"/>
                  </a:lnTo>
                  <a:lnTo>
                    <a:pt x="1196" y="2962"/>
                  </a:lnTo>
                  <a:lnTo>
                    <a:pt x="1167" y="2962"/>
                  </a:lnTo>
                  <a:lnTo>
                    <a:pt x="1063" y="2962"/>
                  </a:lnTo>
                  <a:lnTo>
                    <a:pt x="1040" y="3043"/>
                  </a:lnTo>
                  <a:lnTo>
                    <a:pt x="1012" y="3070"/>
                  </a:lnTo>
                  <a:lnTo>
                    <a:pt x="937" y="3043"/>
                  </a:lnTo>
                  <a:lnTo>
                    <a:pt x="883" y="3043"/>
                  </a:lnTo>
                  <a:lnTo>
                    <a:pt x="779" y="2991"/>
                  </a:lnTo>
                  <a:lnTo>
                    <a:pt x="752" y="2962"/>
                  </a:lnTo>
                  <a:lnTo>
                    <a:pt x="779" y="2886"/>
                  </a:lnTo>
                  <a:lnTo>
                    <a:pt x="728" y="2807"/>
                  </a:lnTo>
                  <a:lnTo>
                    <a:pt x="752" y="2755"/>
                  </a:lnTo>
                  <a:lnTo>
                    <a:pt x="804" y="2703"/>
                  </a:lnTo>
                  <a:lnTo>
                    <a:pt x="804" y="2678"/>
                  </a:lnTo>
                  <a:lnTo>
                    <a:pt x="831" y="2575"/>
                  </a:lnTo>
                  <a:lnTo>
                    <a:pt x="856" y="2546"/>
                  </a:lnTo>
                  <a:lnTo>
                    <a:pt x="1012" y="2546"/>
                  </a:lnTo>
                  <a:lnTo>
                    <a:pt x="1040" y="2546"/>
                  </a:lnTo>
                  <a:lnTo>
                    <a:pt x="1063" y="2575"/>
                  </a:lnTo>
                  <a:lnTo>
                    <a:pt x="1092" y="2575"/>
                  </a:lnTo>
                  <a:lnTo>
                    <a:pt x="1115" y="2598"/>
                  </a:lnTo>
                  <a:lnTo>
                    <a:pt x="1144" y="2598"/>
                  </a:lnTo>
                  <a:lnTo>
                    <a:pt x="1144" y="2627"/>
                  </a:lnTo>
                  <a:lnTo>
                    <a:pt x="1167" y="2598"/>
                  </a:lnTo>
                  <a:lnTo>
                    <a:pt x="1196" y="2627"/>
                  </a:lnTo>
                  <a:lnTo>
                    <a:pt x="1219" y="2627"/>
                  </a:lnTo>
                  <a:lnTo>
                    <a:pt x="1196" y="2575"/>
                  </a:lnTo>
                  <a:lnTo>
                    <a:pt x="1272" y="2598"/>
                  </a:lnTo>
                  <a:lnTo>
                    <a:pt x="1299" y="2575"/>
                  </a:lnTo>
                  <a:lnTo>
                    <a:pt x="1351" y="2598"/>
                  </a:lnTo>
                  <a:lnTo>
                    <a:pt x="1351" y="2627"/>
                  </a:lnTo>
                  <a:lnTo>
                    <a:pt x="1455" y="2650"/>
                  </a:lnTo>
                  <a:lnTo>
                    <a:pt x="1480" y="2678"/>
                  </a:lnTo>
                  <a:lnTo>
                    <a:pt x="1455" y="2782"/>
                  </a:lnTo>
                  <a:lnTo>
                    <a:pt x="1480" y="2782"/>
                  </a:lnTo>
                  <a:lnTo>
                    <a:pt x="1507" y="2834"/>
                  </a:lnTo>
                  <a:lnTo>
                    <a:pt x="1507" y="2886"/>
                  </a:lnTo>
                  <a:lnTo>
                    <a:pt x="1560" y="2859"/>
                  </a:lnTo>
                  <a:lnTo>
                    <a:pt x="1587" y="2807"/>
                  </a:lnTo>
                  <a:lnTo>
                    <a:pt x="1560" y="2627"/>
                  </a:lnTo>
                  <a:lnTo>
                    <a:pt x="1560" y="2575"/>
                  </a:lnTo>
                  <a:lnTo>
                    <a:pt x="1743" y="2442"/>
                  </a:lnTo>
                  <a:lnTo>
                    <a:pt x="1768" y="2391"/>
                  </a:lnTo>
                  <a:lnTo>
                    <a:pt x="1819" y="2391"/>
                  </a:lnTo>
                  <a:lnTo>
                    <a:pt x="1768" y="2314"/>
                  </a:lnTo>
                  <a:lnTo>
                    <a:pt x="1791" y="2287"/>
                  </a:lnTo>
                  <a:lnTo>
                    <a:pt x="1791" y="2314"/>
                  </a:lnTo>
                  <a:lnTo>
                    <a:pt x="1819" y="2287"/>
                  </a:lnTo>
                  <a:lnTo>
                    <a:pt x="1819" y="2262"/>
                  </a:lnTo>
                  <a:lnTo>
                    <a:pt x="1871" y="2210"/>
                  </a:lnTo>
                  <a:lnTo>
                    <a:pt x="1900" y="2158"/>
                  </a:lnTo>
                  <a:lnTo>
                    <a:pt x="1975" y="2132"/>
                  </a:lnTo>
                  <a:lnTo>
                    <a:pt x="2027" y="2080"/>
                  </a:lnTo>
                  <a:lnTo>
                    <a:pt x="2004" y="2107"/>
                  </a:lnTo>
                  <a:lnTo>
                    <a:pt x="2004" y="2080"/>
                  </a:lnTo>
                  <a:lnTo>
                    <a:pt x="2078" y="2003"/>
                  </a:lnTo>
                  <a:lnTo>
                    <a:pt x="2107" y="2003"/>
                  </a:lnTo>
                  <a:lnTo>
                    <a:pt x="2130" y="1974"/>
                  </a:lnTo>
                  <a:lnTo>
                    <a:pt x="2107" y="1974"/>
                  </a:lnTo>
                  <a:lnTo>
                    <a:pt x="2078" y="1922"/>
                  </a:lnTo>
                  <a:lnTo>
                    <a:pt x="2107" y="1974"/>
                  </a:lnTo>
                  <a:lnTo>
                    <a:pt x="2130" y="1974"/>
                  </a:lnTo>
                  <a:lnTo>
                    <a:pt x="2184" y="1951"/>
                  </a:lnTo>
                  <a:lnTo>
                    <a:pt x="2159" y="2003"/>
                  </a:lnTo>
                  <a:lnTo>
                    <a:pt x="2184" y="2026"/>
                  </a:lnTo>
                  <a:lnTo>
                    <a:pt x="2236" y="1951"/>
                  </a:lnTo>
                  <a:lnTo>
                    <a:pt x="2288" y="1922"/>
                  </a:lnTo>
                  <a:lnTo>
                    <a:pt x="2184" y="1871"/>
                  </a:lnTo>
                  <a:lnTo>
                    <a:pt x="2184" y="1848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gray">
            <a:xfrm>
              <a:off x="1500" y="563"/>
              <a:ext cx="364" cy="312"/>
            </a:xfrm>
            <a:custGeom>
              <a:avLst/>
              <a:gdLst>
                <a:gd name="T0" fmla="*/ 26 w 364"/>
                <a:gd name="T1" fmla="*/ 286 h 312"/>
                <a:gd name="T2" fmla="*/ 52 w 364"/>
                <a:gd name="T3" fmla="*/ 286 h 312"/>
                <a:gd name="T4" fmla="*/ 78 w 364"/>
                <a:gd name="T5" fmla="*/ 312 h 312"/>
                <a:gd name="T6" fmla="*/ 118 w 364"/>
                <a:gd name="T7" fmla="*/ 312 h 312"/>
                <a:gd name="T8" fmla="*/ 144 w 364"/>
                <a:gd name="T9" fmla="*/ 300 h 312"/>
                <a:gd name="T10" fmla="*/ 118 w 364"/>
                <a:gd name="T11" fmla="*/ 260 h 312"/>
                <a:gd name="T12" fmla="*/ 156 w 364"/>
                <a:gd name="T13" fmla="*/ 274 h 312"/>
                <a:gd name="T14" fmla="*/ 208 w 364"/>
                <a:gd name="T15" fmla="*/ 248 h 312"/>
                <a:gd name="T16" fmla="*/ 208 w 364"/>
                <a:gd name="T17" fmla="*/ 208 h 312"/>
                <a:gd name="T18" fmla="*/ 222 w 364"/>
                <a:gd name="T19" fmla="*/ 182 h 312"/>
                <a:gd name="T20" fmla="*/ 222 w 364"/>
                <a:gd name="T21" fmla="*/ 170 h 312"/>
                <a:gd name="T22" fmla="*/ 286 w 364"/>
                <a:gd name="T23" fmla="*/ 144 h 312"/>
                <a:gd name="T24" fmla="*/ 338 w 364"/>
                <a:gd name="T25" fmla="*/ 92 h 312"/>
                <a:gd name="T26" fmla="*/ 338 w 364"/>
                <a:gd name="T27" fmla="*/ 78 h 312"/>
                <a:gd name="T28" fmla="*/ 352 w 364"/>
                <a:gd name="T29" fmla="*/ 66 h 312"/>
                <a:gd name="T30" fmla="*/ 352 w 364"/>
                <a:gd name="T31" fmla="*/ 40 h 312"/>
                <a:gd name="T32" fmla="*/ 300 w 364"/>
                <a:gd name="T33" fmla="*/ 14 h 312"/>
                <a:gd name="T34" fmla="*/ 274 w 364"/>
                <a:gd name="T35" fmla="*/ 0 h 312"/>
                <a:gd name="T36" fmla="*/ 234 w 364"/>
                <a:gd name="T37" fmla="*/ 0 h 312"/>
                <a:gd name="T38" fmla="*/ 208 w 364"/>
                <a:gd name="T39" fmla="*/ 26 h 312"/>
                <a:gd name="T40" fmla="*/ 170 w 364"/>
                <a:gd name="T41" fmla="*/ 14 h 312"/>
                <a:gd name="T42" fmla="*/ 170 w 364"/>
                <a:gd name="T43" fmla="*/ 40 h 312"/>
                <a:gd name="T44" fmla="*/ 144 w 364"/>
                <a:gd name="T45" fmla="*/ 66 h 312"/>
                <a:gd name="T46" fmla="*/ 156 w 364"/>
                <a:gd name="T47" fmla="*/ 92 h 312"/>
                <a:gd name="T48" fmla="*/ 182 w 364"/>
                <a:gd name="T49" fmla="*/ 104 h 312"/>
                <a:gd name="T50" fmla="*/ 196 w 364"/>
                <a:gd name="T51" fmla="*/ 118 h 312"/>
                <a:gd name="T52" fmla="*/ 156 w 364"/>
                <a:gd name="T53" fmla="*/ 118 h 312"/>
                <a:gd name="T54" fmla="*/ 144 w 364"/>
                <a:gd name="T55" fmla="*/ 156 h 312"/>
                <a:gd name="T56" fmla="*/ 130 w 364"/>
                <a:gd name="T57" fmla="*/ 144 h 312"/>
                <a:gd name="T58" fmla="*/ 118 w 364"/>
                <a:gd name="T59" fmla="*/ 144 h 312"/>
                <a:gd name="T60" fmla="*/ 104 w 364"/>
                <a:gd name="T61" fmla="*/ 170 h 312"/>
                <a:gd name="T62" fmla="*/ 104 w 364"/>
                <a:gd name="T63" fmla="*/ 196 h 312"/>
                <a:gd name="T64" fmla="*/ 104 w 364"/>
                <a:gd name="T65" fmla="*/ 208 h 312"/>
                <a:gd name="T66" fmla="*/ 66 w 364"/>
                <a:gd name="T67" fmla="*/ 222 h 312"/>
                <a:gd name="T68" fmla="*/ 52 w 364"/>
                <a:gd name="T69" fmla="*/ 234 h 312"/>
                <a:gd name="T70" fmla="*/ 52 w 364"/>
                <a:gd name="T71" fmla="*/ 234 h 312"/>
                <a:gd name="T72" fmla="*/ 26 w 364"/>
                <a:gd name="T73" fmla="*/ 248 h 312"/>
                <a:gd name="T74" fmla="*/ 14 w 364"/>
                <a:gd name="T75" fmla="*/ 234 h 312"/>
                <a:gd name="T76" fmla="*/ 0 w 364"/>
                <a:gd name="T77" fmla="*/ 260 h 312"/>
                <a:gd name="T78" fmla="*/ 14 w 364"/>
                <a:gd name="T79" fmla="*/ 27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4" h="312">
                  <a:moveTo>
                    <a:pt x="14" y="274"/>
                  </a:moveTo>
                  <a:lnTo>
                    <a:pt x="26" y="286"/>
                  </a:lnTo>
                  <a:lnTo>
                    <a:pt x="40" y="286"/>
                  </a:lnTo>
                  <a:lnTo>
                    <a:pt x="52" y="286"/>
                  </a:lnTo>
                  <a:lnTo>
                    <a:pt x="52" y="312"/>
                  </a:lnTo>
                  <a:lnTo>
                    <a:pt x="78" y="312"/>
                  </a:lnTo>
                  <a:lnTo>
                    <a:pt x="92" y="312"/>
                  </a:lnTo>
                  <a:lnTo>
                    <a:pt x="118" y="312"/>
                  </a:lnTo>
                  <a:lnTo>
                    <a:pt x="130" y="312"/>
                  </a:lnTo>
                  <a:lnTo>
                    <a:pt x="144" y="300"/>
                  </a:lnTo>
                  <a:lnTo>
                    <a:pt x="118" y="274"/>
                  </a:lnTo>
                  <a:lnTo>
                    <a:pt x="118" y="260"/>
                  </a:lnTo>
                  <a:lnTo>
                    <a:pt x="156" y="286"/>
                  </a:lnTo>
                  <a:lnTo>
                    <a:pt x="156" y="274"/>
                  </a:lnTo>
                  <a:lnTo>
                    <a:pt x="182" y="248"/>
                  </a:lnTo>
                  <a:lnTo>
                    <a:pt x="208" y="248"/>
                  </a:lnTo>
                  <a:lnTo>
                    <a:pt x="222" y="234"/>
                  </a:lnTo>
                  <a:lnTo>
                    <a:pt x="208" y="208"/>
                  </a:lnTo>
                  <a:lnTo>
                    <a:pt x="208" y="196"/>
                  </a:lnTo>
                  <a:lnTo>
                    <a:pt x="222" y="182"/>
                  </a:lnTo>
                  <a:lnTo>
                    <a:pt x="208" y="170"/>
                  </a:lnTo>
                  <a:lnTo>
                    <a:pt x="222" y="170"/>
                  </a:lnTo>
                  <a:lnTo>
                    <a:pt x="248" y="156"/>
                  </a:lnTo>
                  <a:lnTo>
                    <a:pt x="286" y="144"/>
                  </a:lnTo>
                  <a:lnTo>
                    <a:pt x="312" y="118"/>
                  </a:lnTo>
                  <a:lnTo>
                    <a:pt x="338" y="92"/>
                  </a:lnTo>
                  <a:lnTo>
                    <a:pt x="352" y="92"/>
                  </a:lnTo>
                  <a:lnTo>
                    <a:pt x="338" y="78"/>
                  </a:lnTo>
                  <a:lnTo>
                    <a:pt x="338" y="66"/>
                  </a:lnTo>
                  <a:lnTo>
                    <a:pt x="352" y="66"/>
                  </a:lnTo>
                  <a:lnTo>
                    <a:pt x="364" y="52"/>
                  </a:lnTo>
                  <a:lnTo>
                    <a:pt x="352" y="40"/>
                  </a:lnTo>
                  <a:lnTo>
                    <a:pt x="326" y="26"/>
                  </a:lnTo>
                  <a:lnTo>
                    <a:pt x="300" y="14"/>
                  </a:lnTo>
                  <a:lnTo>
                    <a:pt x="300" y="26"/>
                  </a:lnTo>
                  <a:lnTo>
                    <a:pt x="274" y="0"/>
                  </a:lnTo>
                  <a:lnTo>
                    <a:pt x="260" y="0"/>
                  </a:lnTo>
                  <a:lnTo>
                    <a:pt x="234" y="0"/>
                  </a:lnTo>
                  <a:lnTo>
                    <a:pt x="222" y="14"/>
                  </a:lnTo>
                  <a:lnTo>
                    <a:pt x="208" y="26"/>
                  </a:lnTo>
                  <a:lnTo>
                    <a:pt x="196" y="14"/>
                  </a:lnTo>
                  <a:lnTo>
                    <a:pt x="170" y="14"/>
                  </a:lnTo>
                  <a:lnTo>
                    <a:pt x="170" y="26"/>
                  </a:lnTo>
                  <a:lnTo>
                    <a:pt x="170" y="40"/>
                  </a:lnTo>
                  <a:lnTo>
                    <a:pt x="156" y="40"/>
                  </a:lnTo>
                  <a:lnTo>
                    <a:pt x="144" y="66"/>
                  </a:lnTo>
                  <a:lnTo>
                    <a:pt x="144" y="78"/>
                  </a:lnTo>
                  <a:lnTo>
                    <a:pt x="156" y="92"/>
                  </a:lnTo>
                  <a:lnTo>
                    <a:pt x="182" y="92"/>
                  </a:lnTo>
                  <a:lnTo>
                    <a:pt x="182" y="104"/>
                  </a:lnTo>
                  <a:lnTo>
                    <a:pt x="208" y="104"/>
                  </a:lnTo>
                  <a:lnTo>
                    <a:pt x="196" y="118"/>
                  </a:lnTo>
                  <a:lnTo>
                    <a:pt x="170" y="118"/>
                  </a:lnTo>
                  <a:lnTo>
                    <a:pt x="156" y="118"/>
                  </a:lnTo>
                  <a:lnTo>
                    <a:pt x="144" y="130"/>
                  </a:lnTo>
                  <a:lnTo>
                    <a:pt x="144" y="156"/>
                  </a:lnTo>
                  <a:lnTo>
                    <a:pt x="156" y="156"/>
                  </a:lnTo>
                  <a:lnTo>
                    <a:pt x="130" y="144"/>
                  </a:lnTo>
                  <a:lnTo>
                    <a:pt x="118" y="130"/>
                  </a:lnTo>
                  <a:lnTo>
                    <a:pt x="118" y="144"/>
                  </a:lnTo>
                  <a:lnTo>
                    <a:pt x="104" y="156"/>
                  </a:lnTo>
                  <a:lnTo>
                    <a:pt x="104" y="170"/>
                  </a:lnTo>
                  <a:lnTo>
                    <a:pt x="118" y="182"/>
                  </a:lnTo>
                  <a:lnTo>
                    <a:pt x="104" y="196"/>
                  </a:lnTo>
                  <a:lnTo>
                    <a:pt x="118" y="208"/>
                  </a:lnTo>
                  <a:lnTo>
                    <a:pt x="104" y="208"/>
                  </a:lnTo>
                  <a:lnTo>
                    <a:pt x="92" y="208"/>
                  </a:lnTo>
                  <a:lnTo>
                    <a:pt x="66" y="222"/>
                  </a:lnTo>
                  <a:lnTo>
                    <a:pt x="52" y="222"/>
                  </a:lnTo>
                  <a:lnTo>
                    <a:pt x="52" y="234"/>
                  </a:lnTo>
                  <a:lnTo>
                    <a:pt x="66" y="234"/>
                  </a:lnTo>
                  <a:lnTo>
                    <a:pt x="52" y="234"/>
                  </a:lnTo>
                  <a:lnTo>
                    <a:pt x="40" y="234"/>
                  </a:lnTo>
                  <a:lnTo>
                    <a:pt x="26" y="248"/>
                  </a:lnTo>
                  <a:lnTo>
                    <a:pt x="26" y="222"/>
                  </a:lnTo>
                  <a:lnTo>
                    <a:pt x="14" y="234"/>
                  </a:lnTo>
                  <a:lnTo>
                    <a:pt x="14" y="248"/>
                  </a:lnTo>
                  <a:lnTo>
                    <a:pt x="0" y="260"/>
                  </a:lnTo>
                  <a:lnTo>
                    <a:pt x="14" y="274"/>
                  </a:lnTo>
                  <a:lnTo>
                    <a:pt x="14" y="274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gray">
            <a:xfrm>
              <a:off x="1500" y="629"/>
              <a:ext cx="92" cy="130"/>
            </a:xfrm>
            <a:custGeom>
              <a:avLst/>
              <a:gdLst>
                <a:gd name="T0" fmla="*/ 26 w 92"/>
                <a:gd name="T1" fmla="*/ 130 h 130"/>
                <a:gd name="T2" fmla="*/ 52 w 92"/>
                <a:gd name="T3" fmla="*/ 116 h 130"/>
                <a:gd name="T4" fmla="*/ 66 w 92"/>
                <a:gd name="T5" fmla="*/ 116 h 130"/>
                <a:gd name="T6" fmla="*/ 66 w 92"/>
                <a:gd name="T7" fmla="*/ 104 h 130"/>
                <a:gd name="T8" fmla="*/ 78 w 92"/>
                <a:gd name="T9" fmla="*/ 90 h 130"/>
                <a:gd name="T10" fmla="*/ 78 w 92"/>
                <a:gd name="T11" fmla="*/ 78 h 130"/>
                <a:gd name="T12" fmla="*/ 78 w 92"/>
                <a:gd name="T13" fmla="*/ 52 h 130"/>
                <a:gd name="T14" fmla="*/ 92 w 92"/>
                <a:gd name="T15" fmla="*/ 52 h 130"/>
                <a:gd name="T16" fmla="*/ 92 w 92"/>
                <a:gd name="T17" fmla="*/ 38 h 130"/>
                <a:gd name="T18" fmla="*/ 78 w 92"/>
                <a:gd name="T19" fmla="*/ 52 h 130"/>
                <a:gd name="T20" fmla="*/ 78 w 92"/>
                <a:gd name="T21" fmla="*/ 26 h 130"/>
                <a:gd name="T22" fmla="*/ 78 w 92"/>
                <a:gd name="T23" fmla="*/ 0 h 130"/>
                <a:gd name="T24" fmla="*/ 66 w 92"/>
                <a:gd name="T25" fmla="*/ 0 h 130"/>
                <a:gd name="T26" fmla="*/ 66 w 92"/>
                <a:gd name="T27" fmla="*/ 12 h 130"/>
                <a:gd name="T28" fmla="*/ 40 w 92"/>
                <a:gd name="T29" fmla="*/ 12 h 130"/>
                <a:gd name="T30" fmla="*/ 26 w 92"/>
                <a:gd name="T31" fmla="*/ 38 h 130"/>
                <a:gd name="T32" fmla="*/ 26 w 92"/>
                <a:gd name="T33" fmla="*/ 52 h 130"/>
                <a:gd name="T34" fmla="*/ 26 w 92"/>
                <a:gd name="T35" fmla="*/ 64 h 130"/>
                <a:gd name="T36" fmla="*/ 14 w 92"/>
                <a:gd name="T37" fmla="*/ 64 h 130"/>
                <a:gd name="T38" fmla="*/ 40 w 92"/>
                <a:gd name="T39" fmla="*/ 78 h 130"/>
                <a:gd name="T40" fmla="*/ 40 w 92"/>
                <a:gd name="T41" fmla="*/ 90 h 130"/>
                <a:gd name="T42" fmla="*/ 14 w 92"/>
                <a:gd name="T43" fmla="*/ 90 h 130"/>
                <a:gd name="T44" fmla="*/ 0 w 92"/>
                <a:gd name="T45" fmla="*/ 104 h 130"/>
                <a:gd name="T46" fmla="*/ 0 w 92"/>
                <a:gd name="T47" fmla="*/ 116 h 130"/>
                <a:gd name="T48" fmla="*/ 0 w 92"/>
                <a:gd name="T49" fmla="*/ 130 h 130"/>
                <a:gd name="T50" fmla="*/ 14 w 92"/>
                <a:gd name="T51" fmla="*/ 130 h 130"/>
                <a:gd name="T52" fmla="*/ 26 w 92"/>
                <a:gd name="T53" fmla="*/ 130 h 130"/>
                <a:gd name="T54" fmla="*/ 26 w 92"/>
                <a:gd name="T55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130">
                  <a:moveTo>
                    <a:pt x="26" y="130"/>
                  </a:moveTo>
                  <a:lnTo>
                    <a:pt x="52" y="116"/>
                  </a:lnTo>
                  <a:lnTo>
                    <a:pt x="66" y="116"/>
                  </a:lnTo>
                  <a:lnTo>
                    <a:pt x="66" y="104"/>
                  </a:lnTo>
                  <a:lnTo>
                    <a:pt x="78" y="90"/>
                  </a:lnTo>
                  <a:lnTo>
                    <a:pt x="78" y="78"/>
                  </a:lnTo>
                  <a:lnTo>
                    <a:pt x="78" y="52"/>
                  </a:lnTo>
                  <a:lnTo>
                    <a:pt x="92" y="52"/>
                  </a:lnTo>
                  <a:lnTo>
                    <a:pt x="92" y="38"/>
                  </a:lnTo>
                  <a:lnTo>
                    <a:pt x="78" y="52"/>
                  </a:lnTo>
                  <a:lnTo>
                    <a:pt x="78" y="26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66" y="12"/>
                  </a:lnTo>
                  <a:lnTo>
                    <a:pt x="40" y="12"/>
                  </a:lnTo>
                  <a:lnTo>
                    <a:pt x="26" y="38"/>
                  </a:lnTo>
                  <a:lnTo>
                    <a:pt x="26" y="52"/>
                  </a:lnTo>
                  <a:lnTo>
                    <a:pt x="26" y="64"/>
                  </a:lnTo>
                  <a:lnTo>
                    <a:pt x="14" y="64"/>
                  </a:lnTo>
                  <a:lnTo>
                    <a:pt x="40" y="78"/>
                  </a:lnTo>
                  <a:lnTo>
                    <a:pt x="40" y="90"/>
                  </a:lnTo>
                  <a:lnTo>
                    <a:pt x="14" y="90"/>
                  </a:lnTo>
                  <a:lnTo>
                    <a:pt x="0" y="104"/>
                  </a:lnTo>
                  <a:lnTo>
                    <a:pt x="0" y="116"/>
                  </a:lnTo>
                  <a:lnTo>
                    <a:pt x="0" y="130"/>
                  </a:lnTo>
                  <a:lnTo>
                    <a:pt x="14" y="130"/>
                  </a:lnTo>
                  <a:lnTo>
                    <a:pt x="26" y="130"/>
                  </a:lnTo>
                  <a:lnTo>
                    <a:pt x="26" y="13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gray">
            <a:xfrm>
              <a:off x="1488" y="641"/>
              <a:ext cx="12" cy="26"/>
            </a:xfrm>
            <a:custGeom>
              <a:avLst/>
              <a:gdLst>
                <a:gd name="T0" fmla="*/ 12 w 12"/>
                <a:gd name="T1" fmla="*/ 14 h 26"/>
                <a:gd name="T2" fmla="*/ 0 w 12"/>
                <a:gd name="T3" fmla="*/ 0 h 26"/>
                <a:gd name="T4" fmla="*/ 0 w 12"/>
                <a:gd name="T5" fmla="*/ 26 h 26"/>
                <a:gd name="T6" fmla="*/ 12 w 12"/>
                <a:gd name="T7" fmla="*/ 26 h 26"/>
                <a:gd name="T8" fmla="*/ 12 w 12"/>
                <a:gd name="T9" fmla="*/ 14 h 26"/>
                <a:gd name="T10" fmla="*/ 12 w 12"/>
                <a:gd name="T1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6">
                  <a:moveTo>
                    <a:pt x="12" y="14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gray">
            <a:xfrm>
              <a:off x="1396" y="797"/>
              <a:ext cx="104" cy="170"/>
            </a:xfrm>
            <a:custGeom>
              <a:avLst/>
              <a:gdLst>
                <a:gd name="T0" fmla="*/ 78 w 104"/>
                <a:gd name="T1" fmla="*/ 170 h 170"/>
                <a:gd name="T2" fmla="*/ 92 w 104"/>
                <a:gd name="T3" fmla="*/ 156 h 170"/>
                <a:gd name="T4" fmla="*/ 92 w 104"/>
                <a:gd name="T5" fmla="*/ 144 h 170"/>
                <a:gd name="T6" fmla="*/ 104 w 104"/>
                <a:gd name="T7" fmla="*/ 130 h 170"/>
                <a:gd name="T8" fmla="*/ 104 w 104"/>
                <a:gd name="T9" fmla="*/ 118 h 170"/>
                <a:gd name="T10" fmla="*/ 92 w 104"/>
                <a:gd name="T11" fmla="*/ 104 h 170"/>
                <a:gd name="T12" fmla="*/ 66 w 104"/>
                <a:gd name="T13" fmla="*/ 104 h 170"/>
                <a:gd name="T14" fmla="*/ 52 w 104"/>
                <a:gd name="T15" fmla="*/ 92 h 170"/>
                <a:gd name="T16" fmla="*/ 38 w 104"/>
                <a:gd name="T17" fmla="*/ 78 h 170"/>
                <a:gd name="T18" fmla="*/ 38 w 104"/>
                <a:gd name="T19" fmla="*/ 66 h 170"/>
                <a:gd name="T20" fmla="*/ 52 w 104"/>
                <a:gd name="T21" fmla="*/ 66 h 170"/>
                <a:gd name="T22" fmla="*/ 66 w 104"/>
                <a:gd name="T23" fmla="*/ 66 h 170"/>
                <a:gd name="T24" fmla="*/ 52 w 104"/>
                <a:gd name="T25" fmla="*/ 52 h 170"/>
                <a:gd name="T26" fmla="*/ 66 w 104"/>
                <a:gd name="T27" fmla="*/ 52 h 170"/>
                <a:gd name="T28" fmla="*/ 66 w 104"/>
                <a:gd name="T29" fmla="*/ 26 h 170"/>
                <a:gd name="T30" fmla="*/ 52 w 104"/>
                <a:gd name="T31" fmla="*/ 26 h 170"/>
                <a:gd name="T32" fmla="*/ 38 w 104"/>
                <a:gd name="T33" fmla="*/ 26 h 170"/>
                <a:gd name="T34" fmla="*/ 26 w 104"/>
                <a:gd name="T35" fmla="*/ 26 h 170"/>
                <a:gd name="T36" fmla="*/ 26 w 104"/>
                <a:gd name="T37" fmla="*/ 14 h 170"/>
                <a:gd name="T38" fmla="*/ 0 w 104"/>
                <a:gd name="T39" fmla="*/ 0 h 170"/>
                <a:gd name="T40" fmla="*/ 0 w 104"/>
                <a:gd name="T41" fmla="*/ 14 h 170"/>
                <a:gd name="T42" fmla="*/ 0 w 104"/>
                <a:gd name="T43" fmla="*/ 40 h 170"/>
                <a:gd name="T44" fmla="*/ 12 w 104"/>
                <a:gd name="T45" fmla="*/ 40 h 170"/>
                <a:gd name="T46" fmla="*/ 12 w 104"/>
                <a:gd name="T47" fmla="*/ 52 h 170"/>
                <a:gd name="T48" fmla="*/ 12 w 104"/>
                <a:gd name="T49" fmla="*/ 66 h 170"/>
                <a:gd name="T50" fmla="*/ 12 w 104"/>
                <a:gd name="T51" fmla="*/ 92 h 170"/>
                <a:gd name="T52" fmla="*/ 12 w 104"/>
                <a:gd name="T53" fmla="*/ 104 h 170"/>
                <a:gd name="T54" fmla="*/ 26 w 104"/>
                <a:gd name="T55" fmla="*/ 118 h 170"/>
                <a:gd name="T56" fmla="*/ 26 w 104"/>
                <a:gd name="T57" fmla="*/ 130 h 170"/>
                <a:gd name="T58" fmla="*/ 26 w 104"/>
                <a:gd name="T59" fmla="*/ 144 h 170"/>
                <a:gd name="T60" fmla="*/ 38 w 104"/>
                <a:gd name="T61" fmla="*/ 170 h 170"/>
                <a:gd name="T62" fmla="*/ 52 w 104"/>
                <a:gd name="T63" fmla="*/ 170 h 170"/>
                <a:gd name="T64" fmla="*/ 78 w 104"/>
                <a:gd name="T65" fmla="*/ 170 h 170"/>
                <a:gd name="T66" fmla="*/ 78 w 104"/>
                <a:gd name="T6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170">
                  <a:moveTo>
                    <a:pt x="78" y="170"/>
                  </a:moveTo>
                  <a:lnTo>
                    <a:pt x="92" y="156"/>
                  </a:lnTo>
                  <a:lnTo>
                    <a:pt x="92" y="144"/>
                  </a:lnTo>
                  <a:lnTo>
                    <a:pt x="104" y="130"/>
                  </a:lnTo>
                  <a:lnTo>
                    <a:pt x="104" y="118"/>
                  </a:lnTo>
                  <a:lnTo>
                    <a:pt x="92" y="104"/>
                  </a:lnTo>
                  <a:lnTo>
                    <a:pt x="66" y="104"/>
                  </a:lnTo>
                  <a:lnTo>
                    <a:pt x="52" y="92"/>
                  </a:lnTo>
                  <a:lnTo>
                    <a:pt x="38" y="78"/>
                  </a:lnTo>
                  <a:lnTo>
                    <a:pt x="38" y="66"/>
                  </a:lnTo>
                  <a:lnTo>
                    <a:pt x="52" y="66"/>
                  </a:lnTo>
                  <a:lnTo>
                    <a:pt x="66" y="66"/>
                  </a:lnTo>
                  <a:lnTo>
                    <a:pt x="52" y="52"/>
                  </a:lnTo>
                  <a:lnTo>
                    <a:pt x="66" y="52"/>
                  </a:lnTo>
                  <a:lnTo>
                    <a:pt x="66" y="26"/>
                  </a:lnTo>
                  <a:lnTo>
                    <a:pt x="52" y="26"/>
                  </a:lnTo>
                  <a:lnTo>
                    <a:pt x="38" y="26"/>
                  </a:lnTo>
                  <a:lnTo>
                    <a:pt x="26" y="26"/>
                  </a:lnTo>
                  <a:lnTo>
                    <a:pt x="26" y="14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40"/>
                  </a:lnTo>
                  <a:lnTo>
                    <a:pt x="12" y="40"/>
                  </a:lnTo>
                  <a:lnTo>
                    <a:pt x="12" y="52"/>
                  </a:lnTo>
                  <a:lnTo>
                    <a:pt x="12" y="66"/>
                  </a:lnTo>
                  <a:lnTo>
                    <a:pt x="12" y="92"/>
                  </a:lnTo>
                  <a:lnTo>
                    <a:pt x="12" y="104"/>
                  </a:lnTo>
                  <a:lnTo>
                    <a:pt x="26" y="118"/>
                  </a:lnTo>
                  <a:lnTo>
                    <a:pt x="26" y="130"/>
                  </a:lnTo>
                  <a:lnTo>
                    <a:pt x="26" y="144"/>
                  </a:lnTo>
                  <a:lnTo>
                    <a:pt x="38" y="170"/>
                  </a:lnTo>
                  <a:lnTo>
                    <a:pt x="52" y="170"/>
                  </a:lnTo>
                  <a:lnTo>
                    <a:pt x="78" y="170"/>
                  </a:lnTo>
                  <a:lnTo>
                    <a:pt x="78" y="17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gray">
            <a:xfrm>
              <a:off x="1462" y="771"/>
              <a:ext cx="26" cy="26"/>
            </a:xfrm>
            <a:custGeom>
              <a:avLst/>
              <a:gdLst>
                <a:gd name="T0" fmla="*/ 12 w 26"/>
                <a:gd name="T1" fmla="*/ 14 h 26"/>
                <a:gd name="T2" fmla="*/ 0 w 26"/>
                <a:gd name="T3" fmla="*/ 14 h 26"/>
                <a:gd name="T4" fmla="*/ 0 w 26"/>
                <a:gd name="T5" fmla="*/ 26 h 26"/>
                <a:gd name="T6" fmla="*/ 12 w 26"/>
                <a:gd name="T7" fmla="*/ 26 h 26"/>
                <a:gd name="T8" fmla="*/ 26 w 26"/>
                <a:gd name="T9" fmla="*/ 0 h 26"/>
                <a:gd name="T10" fmla="*/ 12 w 26"/>
                <a:gd name="T11" fmla="*/ 14 h 26"/>
                <a:gd name="T12" fmla="*/ 12 w 26"/>
                <a:gd name="T1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12" y="14"/>
                  </a:moveTo>
                  <a:lnTo>
                    <a:pt x="0" y="14"/>
                  </a:lnTo>
                  <a:lnTo>
                    <a:pt x="0" y="26"/>
                  </a:lnTo>
                  <a:lnTo>
                    <a:pt x="12" y="26"/>
                  </a:lnTo>
                  <a:lnTo>
                    <a:pt x="26" y="0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gray">
            <a:xfrm>
              <a:off x="1370" y="681"/>
              <a:ext cx="38" cy="52"/>
            </a:xfrm>
            <a:custGeom>
              <a:avLst/>
              <a:gdLst>
                <a:gd name="T0" fmla="*/ 0 w 38"/>
                <a:gd name="T1" fmla="*/ 12 h 52"/>
                <a:gd name="T2" fmla="*/ 0 w 38"/>
                <a:gd name="T3" fmla="*/ 38 h 52"/>
                <a:gd name="T4" fmla="*/ 12 w 38"/>
                <a:gd name="T5" fmla="*/ 52 h 52"/>
                <a:gd name="T6" fmla="*/ 26 w 38"/>
                <a:gd name="T7" fmla="*/ 38 h 52"/>
                <a:gd name="T8" fmla="*/ 38 w 38"/>
                <a:gd name="T9" fmla="*/ 26 h 52"/>
                <a:gd name="T10" fmla="*/ 26 w 38"/>
                <a:gd name="T11" fmla="*/ 0 h 52"/>
                <a:gd name="T12" fmla="*/ 0 w 38"/>
                <a:gd name="T13" fmla="*/ 12 h 52"/>
                <a:gd name="T14" fmla="*/ 0 w 38"/>
                <a:gd name="T15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52">
                  <a:moveTo>
                    <a:pt x="0" y="12"/>
                  </a:moveTo>
                  <a:lnTo>
                    <a:pt x="0" y="38"/>
                  </a:lnTo>
                  <a:lnTo>
                    <a:pt x="12" y="52"/>
                  </a:lnTo>
                  <a:lnTo>
                    <a:pt x="26" y="38"/>
                  </a:lnTo>
                  <a:lnTo>
                    <a:pt x="38" y="26"/>
                  </a:lnTo>
                  <a:lnTo>
                    <a:pt x="26" y="0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gray">
            <a:xfrm>
              <a:off x="1318" y="655"/>
              <a:ext cx="38" cy="52"/>
            </a:xfrm>
            <a:custGeom>
              <a:avLst/>
              <a:gdLst>
                <a:gd name="T0" fmla="*/ 26 w 38"/>
                <a:gd name="T1" fmla="*/ 0 h 52"/>
                <a:gd name="T2" fmla="*/ 12 w 38"/>
                <a:gd name="T3" fmla="*/ 12 h 52"/>
                <a:gd name="T4" fmla="*/ 0 w 38"/>
                <a:gd name="T5" fmla="*/ 12 h 52"/>
                <a:gd name="T6" fmla="*/ 0 w 38"/>
                <a:gd name="T7" fmla="*/ 26 h 52"/>
                <a:gd name="T8" fmla="*/ 12 w 38"/>
                <a:gd name="T9" fmla="*/ 38 h 52"/>
                <a:gd name="T10" fmla="*/ 0 w 38"/>
                <a:gd name="T11" fmla="*/ 52 h 52"/>
                <a:gd name="T12" fmla="*/ 12 w 38"/>
                <a:gd name="T13" fmla="*/ 52 h 52"/>
                <a:gd name="T14" fmla="*/ 12 w 38"/>
                <a:gd name="T15" fmla="*/ 38 h 52"/>
                <a:gd name="T16" fmla="*/ 38 w 38"/>
                <a:gd name="T17" fmla="*/ 26 h 52"/>
                <a:gd name="T18" fmla="*/ 38 w 38"/>
                <a:gd name="T19" fmla="*/ 12 h 52"/>
                <a:gd name="T20" fmla="*/ 26 w 38"/>
                <a:gd name="T21" fmla="*/ 0 h 52"/>
                <a:gd name="T22" fmla="*/ 26 w 38"/>
                <a:gd name="T23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52">
                  <a:moveTo>
                    <a:pt x="26" y="0"/>
                  </a:moveTo>
                  <a:lnTo>
                    <a:pt x="12" y="12"/>
                  </a:lnTo>
                  <a:lnTo>
                    <a:pt x="0" y="12"/>
                  </a:lnTo>
                  <a:lnTo>
                    <a:pt x="0" y="26"/>
                  </a:lnTo>
                  <a:lnTo>
                    <a:pt x="12" y="38"/>
                  </a:lnTo>
                  <a:lnTo>
                    <a:pt x="0" y="52"/>
                  </a:lnTo>
                  <a:lnTo>
                    <a:pt x="12" y="52"/>
                  </a:lnTo>
                  <a:lnTo>
                    <a:pt x="12" y="38"/>
                  </a:lnTo>
                  <a:lnTo>
                    <a:pt x="38" y="26"/>
                  </a:lnTo>
                  <a:lnTo>
                    <a:pt x="38" y="12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gray">
            <a:xfrm>
              <a:off x="1200" y="2176"/>
              <a:ext cx="247" cy="101"/>
            </a:xfrm>
            <a:custGeom>
              <a:avLst/>
              <a:gdLst>
                <a:gd name="T0" fmla="*/ 131 w 495"/>
                <a:gd name="T1" fmla="*/ 48 h 204"/>
                <a:gd name="T2" fmla="*/ 236 w 495"/>
                <a:gd name="T3" fmla="*/ 100 h 204"/>
                <a:gd name="T4" fmla="*/ 263 w 495"/>
                <a:gd name="T5" fmla="*/ 100 h 204"/>
                <a:gd name="T6" fmla="*/ 311 w 495"/>
                <a:gd name="T7" fmla="*/ 156 h 204"/>
                <a:gd name="T8" fmla="*/ 311 w 495"/>
                <a:gd name="T9" fmla="*/ 181 h 204"/>
                <a:gd name="T10" fmla="*/ 467 w 495"/>
                <a:gd name="T11" fmla="*/ 204 h 204"/>
                <a:gd name="T12" fmla="*/ 495 w 495"/>
                <a:gd name="T13" fmla="*/ 181 h 204"/>
                <a:gd name="T14" fmla="*/ 444 w 495"/>
                <a:gd name="T15" fmla="*/ 156 h 204"/>
                <a:gd name="T16" fmla="*/ 444 w 495"/>
                <a:gd name="T17" fmla="*/ 129 h 204"/>
                <a:gd name="T18" fmla="*/ 340 w 495"/>
                <a:gd name="T19" fmla="*/ 100 h 204"/>
                <a:gd name="T20" fmla="*/ 288 w 495"/>
                <a:gd name="T21" fmla="*/ 48 h 204"/>
                <a:gd name="T22" fmla="*/ 131 w 495"/>
                <a:gd name="T23" fmla="*/ 0 h 204"/>
                <a:gd name="T24" fmla="*/ 27 w 495"/>
                <a:gd name="T25" fmla="*/ 23 h 204"/>
                <a:gd name="T26" fmla="*/ 0 w 495"/>
                <a:gd name="T27" fmla="*/ 48 h 204"/>
                <a:gd name="T28" fmla="*/ 52 w 495"/>
                <a:gd name="T29" fmla="*/ 48 h 204"/>
                <a:gd name="T30" fmla="*/ 104 w 495"/>
                <a:gd name="T31" fmla="*/ 23 h 204"/>
                <a:gd name="T32" fmla="*/ 131 w 495"/>
                <a:gd name="T33" fmla="*/ 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5" h="204">
                  <a:moveTo>
                    <a:pt x="131" y="48"/>
                  </a:moveTo>
                  <a:lnTo>
                    <a:pt x="236" y="100"/>
                  </a:lnTo>
                  <a:lnTo>
                    <a:pt x="263" y="100"/>
                  </a:lnTo>
                  <a:lnTo>
                    <a:pt x="311" y="156"/>
                  </a:lnTo>
                  <a:lnTo>
                    <a:pt x="311" y="181"/>
                  </a:lnTo>
                  <a:lnTo>
                    <a:pt x="467" y="204"/>
                  </a:lnTo>
                  <a:lnTo>
                    <a:pt x="495" y="181"/>
                  </a:lnTo>
                  <a:lnTo>
                    <a:pt x="444" y="156"/>
                  </a:lnTo>
                  <a:lnTo>
                    <a:pt x="444" y="129"/>
                  </a:lnTo>
                  <a:lnTo>
                    <a:pt x="340" y="100"/>
                  </a:lnTo>
                  <a:lnTo>
                    <a:pt x="288" y="48"/>
                  </a:lnTo>
                  <a:lnTo>
                    <a:pt x="131" y="0"/>
                  </a:lnTo>
                  <a:lnTo>
                    <a:pt x="27" y="23"/>
                  </a:lnTo>
                  <a:lnTo>
                    <a:pt x="0" y="48"/>
                  </a:lnTo>
                  <a:lnTo>
                    <a:pt x="52" y="48"/>
                  </a:lnTo>
                  <a:lnTo>
                    <a:pt x="104" y="23"/>
                  </a:lnTo>
                  <a:lnTo>
                    <a:pt x="131" y="48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gray">
            <a:xfrm>
              <a:off x="1331" y="2292"/>
              <a:ext cx="50" cy="26"/>
            </a:xfrm>
            <a:custGeom>
              <a:avLst/>
              <a:gdLst>
                <a:gd name="T0" fmla="*/ 48 w 100"/>
                <a:gd name="T1" fmla="*/ 27 h 52"/>
                <a:gd name="T2" fmla="*/ 25 w 100"/>
                <a:gd name="T3" fmla="*/ 0 h 52"/>
                <a:gd name="T4" fmla="*/ 0 w 100"/>
                <a:gd name="T5" fmla="*/ 0 h 52"/>
                <a:gd name="T6" fmla="*/ 48 w 100"/>
                <a:gd name="T7" fmla="*/ 52 h 52"/>
                <a:gd name="T8" fmla="*/ 77 w 100"/>
                <a:gd name="T9" fmla="*/ 52 h 52"/>
                <a:gd name="T10" fmla="*/ 100 w 100"/>
                <a:gd name="T11" fmla="*/ 52 h 52"/>
                <a:gd name="T12" fmla="*/ 77 w 100"/>
                <a:gd name="T13" fmla="*/ 27 h 52"/>
                <a:gd name="T14" fmla="*/ 48 w 100"/>
                <a:gd name="T15" fmla="*/ 2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52">
                  <a:moveTo>
                    <a:pt x="48" y="27"/>
                  </a:moveTo>
                  <a:lnTo>
                    <a:pt x="25" y="0"/>
                  </a:lnTo>
                  <a:lnTo>
                    <a:pt x="0" y="0"/>
                  </a:lnTo>
                  <a:lnTo>
                    <a:pt x="48" y="52"/>
                  </a:lnTo>
                  <a:lnTo>
                    <a:pt x="77" y="52"/>
                  </a:lnTo>
                  <a:lnTo>
                    <a:pt x="100" y="52"/>
                  </a:lnTo>
                  <a:lnTo>
                    <a:pt x="77" y="27"/>
                  </a:lnTo>
                  <a:lnTo>
                    <a:pt x="48" y="27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gray">
            <a:xfrm>
              <a:off x="1226" y="2200"/>
              <a:ext cx="25" cy="14"/>
            </a:xfrm>
            <a:custGeom>
              <a:avLst/>
              <a:gdLst>
                <a:gd name="T0" fmla="*/ 52 w 52"/>
                <a:gd name="T1" fmla="*/ 29 h 29"/>
                <a:gd name="T2" fmla="*/ 27 w 52"/>
                <a:gd name="T3" fmla="*/ 0 h 29"/>
                <a:gd name="T4" fmla="*/ 0 w 52"/>
                <a:gd name="T5" fmla="*/ 29 h 29"/>
                <a:gd name="T6" fmla="*/ 52 w 52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29">
                  <a:moveTo>
                    <a:pt x="52" y="29"/>
                  </a:moveTo>
                  <a:lnTo>
                    <a:pt x="27" y="0"/>
                  </a:lnTo>
                  <a:lnTo>
                    <a:pt x="0" y="29"/>
                  </a:lnTo>
                  <a:lnTo>
                    <a:pt x="52" y="29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gray">
            <a:xfrm>
              <a:off x="1695" y="1512"/>
              <a:ext cx="116" cy="116"/>
            </a:xfrm>
            <a:custGeom>
              <a:avLst/>
              <a:gdLst>
                <a:gd name="T0" fmla="*/ 233 w 233"/>
                <a:gd name="T1" fmla="*/ 128 h 232"/>
                <a:gd name="T2" fmla="*/ 210 w 233"/>
                <a:gd name="T3" fmla="*/ 103 h 232"/>
                <a:gd name="T4" fmla="*/ 210 w 233"/>
                <a:gd name="T5" fmla="*/ 76 h 232"/>
                <a:gd name="T6" fmla="*/ 129 w 233"/>
                <a:gd name="T7" fmla="*/ 76 h 232"/>
                <a:gd name="T8" fmla="*/ 104 w 233"/>
                <a:gd name="T9" fmla="*/ 103 h 232"/>
                <a:gd name="T10" fmla="*/ 129 w 233"/>
                <a:gd name="T11" fmla="*/ 25 h 232"/>
                <a:gd name="T12" fmla="*/ 104 w 233"/>
                <a:gd name="T13" fmla="*/ 0 h 232"/>
                <a:gd name="T14" fmla="*/ 52 w 233"/>
                <a:gd name="T15" fmla="*/ 128 h 232"/>
                <a:gd name="T16" fmla="*/ 0 w 233"/>
                <a:gd name="T17" fmla="*/ 157 h 232"/>
                <a:gd name="T18" fmla="*/ 52 w 233"/>
                <a:gd name="T19" fmla="*/ 157 h 232"/>
                <a:gd name="T20" fmla="*/ 52 w 233"/>
                <a:gd name="T21" fmla="*/ 209 h 232"/>
                <a:gd name="T22" fmla="*/ 77 w 233"/>
                <a:gd name="T23" fmla="*/ 232 h 232"/>
                <a:gd name="T24" fmla="*/ 129 w 233"/>
                <a:gd name="T25" fmla="*/ 209 h 232"/>
                <a:gd name="T26" fmla="*/ 158 w 233"/>
                <a:gd name="T27" fmla="*/ 209 h 232"/>
                <a:gd name="T28" fmla="*/ 181 w 233"/>
                <a:gd name="T29" fmla="*/ 232 h 232"/>
                <a:gd name="T30" fmla="*/ 210 w 233"/>
                <a:gd name="T31" fmla="*/ 209 h 232"/>
                <a:gd name="T32" fmla="*/ 233 w 233"/>
                <a:gd name="T33" fmla="*/ 232 h 232"/>
                <a:gd name="T34" fmla="*/ 233 w 233"/>
                <a:gd name="T35" fmla="*/ 157 h 232"/>
                <a:gd name="T36" fmla="*/ 210 w 233"/>
                <a:gd name="T37" fmla="*/ 157 h 232"/>
                <a:gd name="T38" fmla="*/ 233 w 233"/>
                <a:gd name="T39" fmla="*/ 12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3" h="232">
                  <a:moveTo>
                    <a:pt x="233" y="128"/>
                  </a:moveTo>
                  <a:lnTo>
                    <a:pt x="210" y="103"/>
                  </a:lnTo>
                  <a:lnTo>
                    <a:pt x="210" y="76"/>
                  </a:lnTo>
                  <a:lnTo>
                    <a:pt x="129" y="76"/>
                  </a:lnTo>
                  <a:lnTo>
                    <a:pt x="104" y="103"/>
                  </a:lnTo>
                  <a:lnTo>
                    <a:pt x="129" y="25"/>
                  </a:lnTo>
                  <a:lnTo>
                    <a:pt x="104" y="0"/>
                  </a:lnTo>
                  <a:lnTo>
                    <a:pt x="52" y="128"/>
                  </a:lnTo>
                  <a:lnTo>
                    <a:pt x="0" y="157"/>
                  </a:lnTo>
                  <a:lnTo>
                    <a:pt x="52" y="157"/>
                  </a:lnTo>
                  <a:lnTo>
                    <a:pt x="52" y="209"/>
                  </a:lnTo>
                  <a:lnTo>
                    <a:pt x="77" y="232"/>
                  </a:lnTo>
                  <a:lnTo>
                    <a:pt x="129" y="209"/>
                  </a:lnTo>
                  <a:lnTo>
                    <a:pt x="158" y="209"/>
                  </a:lnTo>
                  <a:lnTo>
                    <a:pt x="181" y="232"/>
                  </a:lnTo>
                  <a:lnTo>
                    <a:pt x="210" y="209"/>
                  </a:lnTo>
                  <a:lnTo>
                    <a:pt x="233" y="232"/>
                  </a:lnTo>
                  <a:lnTo>
                    <a:pt x="233" y="157"/>
                  </a:lnTo>
                  <a:lnTo>
                    <a:pt x="210" y="157"/>
                  </a:lnTo>
                  <a:lnTo>
                    <a:pt x="233" y="128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gray">
            <a:xfrm>
              <a:off x="1329" y="1213"/>
              <a:ext cx="66" cy="51"/>
            </a:xfrm>
            <a:custGeom>
              <a:avLst/>
              <a:gdLst>
                <a:gd name="T0" fmla="*/ 52 w 133"/>
                <a:gd name="T1" fmla="*/ 52 h 104"/>
                <a:gd name="T2" fmla="*/ 81 w 133"/>
                <a:gd name="T3" fmla="*/ 79 h 104"/>
                <a:gd name="T4" fmla="*/ 104 w 133"/>
                <a:gd name="T5" fmla="*/ 104 h 104"/>
                <a:gd name="T6" fmla="*/ 133 w 133"/>
                <a:gd name="T7" fmla="*/ 79 h 104"/>
                <a:gd name="T8" fmla="*/ 133 w 133"/>
                <a:gd name="T9" fmla="*/ 52 h 104"/>
                <a:gd name="T10" fmla="*/ 104 w 133"/>
                <a:gd name="T11" fmla="*/ 52 h 104"/>
                <a:gd name="T12" fmla="*/ 81 w 133"/>
                <a:gd name="T13" fmla="*/ 27 h 104"/>
                <a:gd name="T14" fmla="*/ 52 w 133"/>
                <a:gd name="T15" fmla="*/ 0 h 104"/>
                <a:gd name="T16" fmla="*/ 29 w 133"/>
                <a:gd name="T17" fmla="*/ 0 h 104"/>
                <a:gd name="T18" fmla="*/ 0 w 133"/>
                <a:gd name="T19" fmla="*/ 52 h 104"/>
                <a:gd name="T20" fmla="*/ 29 w 133"/>
                <a:gd name="T21" fmla="*/ 104 h 104"/>
                <a:gd name="T22" fmla="*/ 52 w 133"/>
                <a:gd name="T23" fmla="*/ 79 h 104"/>
                <a:gd name="T24" fmla="*/ 52 w 133"/>
                <a:gd name="T25" fmla="*/ 5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3" h="104">
                  <a:moveTo>
                    <a:pt x="52" y="52"/>
                  </a:moveTo>
                  <a:lnTo>
                    <a:pt x="81" y="79"/>
                  </a:lnTo>
                  <a:lnTo>
                    <a:pt x="104" y="104"/>
                  </a:lnTo>
                  <a:lnTo>
                    <a:pt x="133" y="79"/>
                  </a:lnTo>
                  <a:lnTo>
                    <a:pt x="133" y="52"/>
                  </a:lnTo>
                  <a:lnTo>
                    <a:pt x="104" y="52"/>
                  </a:lnTo>
                  <a:lnTo>
                    <a:pt x="81" y="27"/>
                  </a:lnTo>
                  <a:lnTo>
                    <a:pt x="52" y="0"/>
                  </a:lnTo>
                  <a:lnTo>
                    <a:pt x="29" y="0"/>
                  </a:lnTo>
                  <a:lnTo>
                    <a:pt x="0" y="52"/>
                  </a:lnTo>
                  <a:lnTo>
                    <a:pt x="29" y="104"/>
                  </a:lnTo>
                  <a:lnTo>
                    <a:pt x="52" y="79"/>
                  </a:lnTo>
                  <a:lnTo>
                    <a:pt x="52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gray">
            <a:xfrm>
              <a:off x="1069" y="901"/>
              <a:ext cx="78" cy="66"/>
            </a:xfrm>
            <a:custGeom>
              <a:avLst/>
              <a:gdLst>
                <a:gd name="T0" fmla="*/ 81 w 156"/>
                <a:gd name="T1" fmla="*/ 103 h 132"/>
                <a:gd name="T2" fmla="*/ 156 w 156"/>
                <a:gd name="T3" fmla="*/ 103 h 132"/>
                <a:gd name="T4" fmla="*/ 133 w 156"/>
                <a:gd name="T5" fmla="*/ 0 h 132"/>
                <a:gd name="T6" fmla="*/ 104 w 156"/>
                <a:gd name="T7" fmla="*/ 0 h 132"/>
                <a:gd name="T8" fmla="*/ 52 w 156"/>
                <a:gd name="T9" fmla="*/ 51 h 132"/>
                <a:gd name="T10" fmla="*/ 0 w 156"/>
                <a:gd name="T11" fmla="*/ 78 h 132"/>
                <a:gd name="T12" fmla="*/ 0 w 156"/>
                <a:gd name="T13" fmla="*/ 132 h 132"/>
                <a:gd name="T14" fmla="*/ 52 w 156"/>
                <a:gd name="T15" fmla="*/ 132 h 132"/>
                <a:gd name="T16" fmla="*/ 81 w 156"/>
                <a:gd name="T17" fmla="*/ 10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132">
                  <a:moveTo>
                    <a:pt x="81" y="103"/>
                  </a:moveTo>
                  <a:lnTo>
                    <a:pt x="156" y="103"/>
                  </a:lnTo>
                  <a:lnTo>
                    <a:pt x="133" y="0"/>
                  </a:lnTo>
                  <a:lnTo>
                    <a:pt x="104" y="0"/>
                  </a:lnTo>
                  <a:lnTo>
                    <a:pt x="52" y="51"/>
                  </a:lnTo>
                  <a:lnTo>
                    <a:pt x="0" y="78"/>
                  </a:lnTo>
                  <a:lnTo>
                    <a:pt x="0" y="132"/>
                  </a:lnTo>
                  <a:lnTo>
                    <a:pt x="52" y="132"/>
                  </a:lnTo>
                  <a:lnTo>
                    <a:pt x="81" y="10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gray">
            <a:xfrm>
              <a:off x="1095" y="967"/>
              <a:ext cx="118" cy="115"/>
            </a:xfrm>
            <a:custGeom>
              <a:avLst/>
              <a:gdLst>
                <a:gd name="T0" fmla="*/ 209 w 236"/>
                <a:gd name="T1" fmla="*/ 23 h 230"/>
                <a:gd name="T2" fmla="*/ 184 w 236"/>
                <a:gd name="T3" fmla="*/ 75 h 230"/>
                <a:gd name="T4" fmla="*/ 184 w 236"/>
                <a:gd name="T5" fmla="*/ 23 h 230"/>
                <a:gd name="T6" fmla="*/ 133 w 236"/>
                <a:gd name="T7" fmla="*/ 23 h 230"/>
                <a:gd name="T8" fmla="*/ 104 w 236"/>
                <a:gd name="T9" fmla="*/ 0 h 230"/>
                <a:gd name="T10" fmla="*/ 52 w 236"/>
                <a:gd name="T11" fmla="*/ 0 h 230"/>
                <a:gd name="T12" fmla="*/ 29 w 236"/>
                <a:gd name="T13" fmla="*/ 23 h 230"/>
                <a:gd name="T14" fmla="*/ 29 w 236"/>
                <a:gd name="T15" fmla="*/ 75 h 230"/>
                <a:gd name="T16" fmla="*/ 52 w 236"/>
                <a:gd name="T17" fmla="*/ 104 h 230"/>
                <a:gd name="T18" fmla="*/ 0 w 236"/>
                <a:gd name="T19" fmla="*/ 104 h 230"/>
                <a:gd name="T20" fmla="*/ 52 w 236"/>
                <a:gd name="T21" fmla="*/ 127 h 230"/>
                <a:gd name="T22" fmla="*/ 52 w 236"/>
                <a:gd name="T23" fmla="*/ 178 h 230"/>
                <a:gd name="T24" fmla="*/ 133 w 236"/>
                <a:gd name="T25" fmla="*/ 207 h 230"/>
                <a:gd name="T26" fmla="*/ 184 w 236"/>
                <a:gd name="T27" fmla="*/ 230 h 230"/>
                <a:gd name="T28" fmla="*/ 236 w 236"/>
                <a:gd name="T29" fmla="*/ 230 h 230"/>
                <a:gd name="T30" fmla="*/ 209 w 236"/>
                <a:gd name="T31" fmla="*/ 207 h 230"/>
                <a:gd name="T32" fmla="*/ 236 w 236"/>
                <a:gd name="T33" fmla="*/ 207 h 230"/>
                <a:gd name="T34" fmla="*/ 209 w 236"/>
                <a:gd name="T35" fmla="*/ 127 h 230"/>
                <a:gd name="T36" fmla="*/ 236 w 236"/>
                <a:gd name="T37" fmla="*/ 52 h 230"/>
                <a:gd name="T38" fmla="*/ 209 w 236"/>
                <a:gd name="T39" fmla="*/ 2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6" h="230">
                  <a:moveTo>
                    <a:pt x="209" y="23"/>
                  </a:moveTo>
                  <a:lnTo>
                    <a:pt x="184" y="75"/>
                  </a:lnTo>
                  <a:lnTo>
                    <a:pt x="184" y="23"/>
                  </a:lnTo>
                  <a:lnTo>
                    <a:pt x="133" y="23"/>
                  </a:lnTo>
                  <a:lnTo>
                    <a:pt x="104" y="0"/>
                  </a:lnTo>
                  <a:lnTo>
                    <a:pt x="52" y="0"/>
                  </a:lnTo>
                  <a:lnTo>
                    <a:pt x="29" y="23"/>
                  </a:lnTo>
                  <a:lnTo>
                    <a:pt x="29" y="75"/>
                  </a:lnTo>
                  <a:lnTo>
                    <a:pt x="52" y="104"/>
                  </a:lnTo>
                  <a:lnTo>
                    <a:pt x="0" y="104"/>
                  </a:lnTo>
                  <a:lnTo>
                    <a:pt x="52" y="127"/>
                  </a:lnTo>
                  <a:lnTo>
                    <a:pt x="52" y="178"/>
                  </a:lnTo>
                  <a:lnTo>
                    <a:pt x="133" y="207"/>
                  </a:lnTo>
                  <a:lnTo>
                    <a:pt x="184" y="230"/>
                  </a:lnTo>
                  <a:lnTo>
                    <a:pt x="236" y="230"/>
                  </a:lnTo>
                  <a:lnTo>
                    <a:pt x="209" y="207"/>
                  </a:lnTo>
                  <a:lnTo>
                    <a:pt x="236" y="207"/>
                  </a:lnTo>
                  <a:lnTo>
                    <a:pt x="209" y="127"/>
                  </a:lnTo>
                  <a:lnTo>
                    <a:pt x="236" y="52"/>
                  </a:lnTo>
                  <a:lnTo>
                    <a:pt x="209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gray">
            <a:xfrm>
              <a:off x="1303" y="1019"/>
              <a:ext cx="274" cy="286"/>
            </a:xfrm>
            <a:custGeom>
              <a:avLst/>
              <a:gdLst>
                <a:gd name="T0" fmla="*/ 207 w 546"/>
                <a:gd name="T1" fmla="*/ 51 h 571"/>
                <a:gd name="T2" fmla="*/ 155 w 546"/>
                <a:gd name="T3" fmla="*/ 23 h 571"/>
                <a:gd name="T4" fmla="*/ 103 w 546"/>
                <a:gd name="T5" fmla="*/ 23 h 571"/>
                <a:gd name="T6" fmla="*/ 103 w 546"/>
                <a:gd name="T7" fmla="*/ 74 h 571"/>
                <a:gd name="T8" fmla="*/ 80 w 546"/>
                <a:gd name="T9" fmla="*/ 51 h 571"/>
                <a:gd name="T10" fmla="*/ 80 w 546"/>
                <a:gd name="T11" fmla="*/ 23 h 571"/>
                <a:gd name="T12" fmla="*/ 80 w 546"/>
                <a:gd name="T13" fmla="*/ 0 h 571"/>
                <a:gd name="T14" fmla="*/ 51 w 546"/>
                <a:gd name="T15" fmla="*/ 23 h 571"/>
                <a:gd name="T16" fmla="*/ 28 w 546"/>
                <a:gd name="T17" fmla="*/ 23 h 571"/>
                <a:gd name="T18" fmla="*/ 0 w 546"/>
                <a:gd name="T19" fmla="*/ 51 h 571"/>
                <a:gd name="T20" fmla="*/ 51 w 546"/>
                <a:gd name="T21" fmla="*/ 103 h 571"/>
                <a:gd name="T22" fmla="*/ 28 w 546"/>
                <a:gd name="T23" fmla="*/ 103 h 571"/>
                <a:gd name="T24" fmla="*/ 51 w 546"/>
                <a:gd name="T25" fmla="*/ 155 h 571"/>
                <a:gd name="T26" fmla="*/ 103 w 546"/>
                <a:gd name="T27" fmla="*/ 155 h 571"/>
                <a:gd name="T28" fmla="*/ 184 w 546"/>
                <a:gd name="T29" fmla="*/ 207 h 571"/>
                <a:gd name="T30" fmla="*/ 184 w 546"/>
                <a:gd name="T31" fmla="*/ 178 h 571"/>
                <a:gd name="T32" fmla="*/ 184 w 546"/>
                <a:gd name="T33" fmla="*/ 126 h 571"/>
                <a:gd name="T34" fmla="*/ 207 w 546"/>
                <a:gd name="T35" fmla="*/ 155 h 571"/>
                <a:gd name="T36" fmla="*/ 207 w 546"/>
                <a:gd name="T37" fmla="*/ 178 h 571"/>
                <a:gd name="T38" fmla="*/ 287 w 546"/>
                <a:gd name="T39" fmla="*/ 207 h 571"/>
                <a:gd name="T40" fmla="*/ 259 w 546"/>
                <a:gd name="T41" fmla="*/ 232 h 571"/>
                <a:gd name="T42" fmla="*/ 316 w 546"/>
                <a:gd name="T43" fmla="*/ 284 h 571"/>
                <a:gd name="T44" fmla="*/ 316 w 546"/>
                <a:gd name="T45" fmla="*/ 310 h 571"/>
                <a:gd name="T46" fmla="*/ 287 w 546"/>
                <a:gd name="T47" fmla="*/ 310 h 571"/>
                <a:gd name="T48" fmla="*/ 316 w 546"/>
                <a:gd name="T49" fmla="*/ 387 h 571"/>
                <a:gd name="T50" fmla="*/ 287 w 546"/>
                <a:gd name="T51" fmla="*/ 387 h 571"/>
                <a:gd name="T52" fmla="*/ 236 w 546"/>
                <a:gd name="T53" fmla="*/ 387 h 571"/>
                <a:gd name="T54" fmla="*/ 236 w 546"/>
                <a:gd name="T55" fmla="*/ 466 h 571"/>
                <a:gd name="T56" fmla="*/ 287 w 546"/>
                <a:gd name="T57" fmla="*/ 466 h 571"/>
                <a:gd name="T58" fmla="*/ 316 w 546"/>
                <a:gd name="T59" fmla="*/ 439 h 571"/>
                <a:gd name="T60" fmla="*/ 368 w 546"/>
                <a:gd name="T61" fmla="*/ 520 h 571"/>
                <a:gd name="T62" fmla="*/ 391 w 546"/>
                <a:gd name="T63" fmla="*/ 520 h 571"/>
                <a:gd name="T64" fmla="*/ 420 w 546"/>
                <a:gd name="T65" fmla="*/ 543 h 571"/>
                <a:gd name="T66" fmla="*/ 523 w 546"/>
                <a:gd name="T67" fmla="*/ 571 h 571"/>
                <a:gd name="T68" fmla="*/ 523 w 546"/>
                <a:gd name="T69" fmla="*/ 543 h 571"/>
                <a:gd name="T70" fmla="*/ 483 w 546"/>
                <a:gd name="T71" fmla="*/ 506 h 571"/>
                <a:gd name="T72" fmla="*/ 523 w 546"/>
                <a:gd name="T73" fmla="*/ 520 h 571"/>
                <a:gd name="T74" fmla="*/ 523 w 546"/>
                <a:gd name="T75" fmla="*/ 491 h 571"/>
                <a:gd name="T76" fmla="*/ 495 w 546"/>
                <a:gd name="T77" fmla="*/ 466 h 571"/>
                <a:gd name="T78" fmla="*/ 495 w 546"/>
                <a:gd name="T79" fmla="*/ 439 h 571"/>
                <a:gd name="T80" fmla="*/ 443 w 546"/>
                <a:gd name="T81" fmla="*/ 414 h 571"/>
                <a:gd name="T82" fmla="*/ 472 w 546"/>
                <a:gd name="T83" fmla="*/ 387 h 571"/>
                <a:gd name="T84" fmla="*/ 443 w 546"/>
                <a:gd name="T85" fmla="*/ 362 h 571"/>
                <a:gd name="T86" fmla="*/ 523 w 546"/>
                <a:gd name="T87" fmla="*/ 387 h 571"/>
                <a:gd name="T88" fmla="*/ 523 w 546"/>
                <a:gd name="T89" fmla="*/ 362 h 571"/>
                <a:gd name="T90" fmla="*/ 546 w 546"/>
                <a:gd name="T91" fmla="*/ 362 h 571"/>
                <a:gd name="T92" fmla="*/ 546 w 546"/>
                <a:gd name="T93" fmla="*/ 310 h 571"/>
                <a:gd name="T94" fmla="*/ 495 w 546"/>
                <a:gd name="T95" fmla="*/ 310 h 571"/>
                <a:gd name="T96" fmla="*/ 472 w 546"/>
                <a:gd name="T97" fmla="*/ 284 h 571"/>
                <a:gd name="T98" fmla="*/ 420 w 546"/>
                <a:gd name="T99" fmla="*/ 259 h 571"/>
                <a:gd name="T100" fmla="*/ 391 w 546"/>
                <a:gd name="T101" fmla="*/ 232 h 571"/>
                <a:gd name="T102" fmla="*/ 420 w 546"/>
                <a:gd name="T103" fmla="*/ 207 h 571"/>
                <a:gd name="T104" fmla="*/ 391 w 546"/>
                <a:gd name="T105" fmla="*/ 155 h 571"/>
                <a:gd name="T106" fmla="*/ 339 w 546"/>
                <a:gd name="T107" fmla="*/ 155 h 571"/>
                <a:gd name="T108" fmla="*/ 287 w 546"/>
                <a:gd name="T109" fmla="*/ 126 h 571"/>
                <a:gd name="T110" fmla="*/ 287 w 546"/>
                <a:gd name="T111" fmla="*/ 74 h 571"/>
                <a:gd name="T112" fmla="*/ 236 w 546"/>
                <a:gd name="T113" fmla="*/ 103 h 571"/>
                <a:gd name="T114" fmla="*/ 236 w 546"/>
                <a:gd name="T115" fmla="*/ 74 h 571"/>
                <a:gd name="T116" fmla="*/ 184 w 546"/>
                <a:gd name="T117" fmla="*/ 74 h 571"/>
                <a:gd name="T118" fmla="*/ 184 w 546"/>
                <a:gd name="T119" fmla="*/ 51 h 571"/>
                <a:gd name="T120" fmla="*/ 207 w 546"/>
                <a:gd name="T121" fmla="*/ 5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6" h="571">
                  <a:moveTo>
                    <a:pt x="207" y="51"/>
                  </a:moveTo>
                  <a:lnTo>
                    <a:pt x="155" y="23"/>
                  </a:lnTo>
                  <a:lnTo>
                    <a:pt x="103" y="23"/>
                  </a:lnTo>
                  <a:lnTo>
                    <a:pt x="103" y="74"/>
                  </a:lnTo>
                  <a:lnTo>
                    <a:pt x="80" y="51"/>
                  </a:lnTo>
                  <a:lnTo>
                    <a:pt x="80" y="23"/>
                  </a:lnTo>
                  <a:lnTo>
                    <a:pt x="80" y="0"/>
                  </a:lnTo>
                  <a:lnTo>
                    <a:pt x="51" y="23"/>
                  </a:lnTo>
                  <a:lnTo>
                    <a:pt x="28" y="23"/>
                  </a:lnTo>
                  <a:lnTo>
                    <a:pt x="0" y="51"/>
                  </a:lnTo>
                  <a:lnTo>
                    <a:pt x="51" y="103"/>
                  </a:lnTo>
                  <a:lnTo>
                    <a:pt x="28" y="103"/>
                  </a:lnTo>
                  <a:lnTo>
                    <a:pt x="51" y="155"/>
                  </a:lnTo>
                  <a:lnTo>
                    <a:pt x="103" y="155"/>
                  </a:lnTo>
                  <a:lnTo>
                    <a:pt x="184" y="207"/>
                  </a:lnTo>
                  <a:lnTo>
                    <a:pt x="184" y="178"/>
                  </a:lnTo>
                  <a:lnTo>
                    <a:pt x="184" y="126"/>
                  </a:lnTo>
                  <a:lnTo>
                    <a:pt x="207" y="155"/>
                  </a:lnTo>
                  <a:lnTo>
                    <a:pt x="207" y="178"/>
                  </a:lnTo>
                  <a:lnTo>
                    <a:pt x="287" y="207"/>
                  </a:lnTo>
                  <a:lnTo>
                    <a:pt x="259" y="232"/>
                  </a:lnTo>
                  <a:lnTo>
                    <a:pt x="316" y="284"/>
                  </a:lnTo>
                  <a:lnTo>
                    <a:pt x="316" y="310"/>
                  </a:lnTo>
                  <a:lnTo>
                    <a:pt x="287" y="310"/>
                  </a:lnTo>
                  <a:lnTo>
                    <a:pt x="316" y="387"/>
                  </a:lnTo>
                  <a:lnTo>
                    <a:pt x="287" y="387"/>
                  </a:lnTo>
                  <a:lnTo>
                    <a:pt x="236" y="387"/>
                  </a:lnTo>
                  <a:lnTo>
                    <a:pt x="236" y="466"/>
                  </a:lnTo>
                  <a:lnTo>
                    <a:pt x="287" y="466"/>
                  </a:lnTo>
                  <a:lnTo>
                    <a:pt x="316" y="439"/>
                  </a:lnTo>
                  <a:lnTo>
                    <a:pt x="368" y="520"/>
                  </a:lnTo>
                  <a:lnTo>
                    <a:pt x="391" y="520"/>
                  </a:lnTo>
                  <a:lnTo>
                    <a:pt x="420" y="543"/>
                  </a:lnTo>
                  <a:lnTo>
                    <a:pt x="523" y="571"/>
                  </a:lnTo>
                  <a:lnTo>
                    <a:pt x="523" y="543"/>
                  </a:lnTo>
                  <a:lnTo>
                    <a:pt x="483" y="506"/>
                  </a:lnTo>
                  <a:lnTo>
                    <a:pt x="523" y="520"/>
                  </a:lnTo>
                  <a:lnTo>
                    <a:pt x="523" y="491"/>
                  </a:lnTo>
                  <a:lnTo>
                    <a:pt x="495" y="466"/>
                  </a:lnTo>
                  <a:lnTo>
                    <a:pt x="495" y="439"/>
                  </a:lnTo>
                  <a:lnTo>
                    <a:pt x="443" y="414"/>
                  </a:lnTo>
                  <a:lnTo>
                    <a:pt x="472" y="387"/>
                  </a:lnTo>
                  <a:lnTo>
                    <a:pt x="443" y="362"/>
                  </a:lnTo>
                  <a:lnTo>
                    <a:pt x="523" y="387"/>
                  </a:lnTo>
                  <a:lnTo>
                    <a:pt x="523" y="362"/>
                  </a:lnTo>
                  <a:lnTo>
                    <a:pt x="546" y="362"/>
                  </a:lnTo>
                  <a:lnTo>
                    <a:pt x="546" y="310"/>
                  </a:lnTo>
                  <a:lnTo>
                    <a:pt x="495" y="310"/>
                  </a:lnTo>
                  <a:lnTo>
                    <a:pt x="472" y="284"/>
                  </a:lnTo>
                  <a:lnTo>
                    <a:pt x="420" y="259"/>
                  </a:lnTo>
                  <a:lnTo>
                    <a:pt x="391" y="232"/>
                  </a:lnTo>
                  <a:lnTo>
                    <a:pt x="420" y="207"/>
                  </a:lnTo>
                  <a:lnTo>
                    <a:pt x="391" y="155"/>
                  </a:lnTo>
                  <a:lnTo>
                    <a:pt x="339" y="155"/>
                  </a:lnTo>
                  <a:lnTo>
                    <a:pt x="287" y="126"/>
                  </a:lnTo>
                  <a:lnTo>
                    <a:pt x="287" y="74"/>
                  </a:lnTo>
                  <a:lnTo>
                    <a:pt x="236" y="103"/>
                  </a:lnTo>
                  <a:lnTo>
                    <a:pt x="236" y="74"/>
                  </a:lnTo>
                  <a:lnTo>
                    <a:pt x="184" y="74"/>
                  </a:lnTo>
                  <a:lnTo>
                    <a:pt x="184" y="51"/>
                  </a:lnTo>
                  <a:lnTo>
                    <a:pt x="207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gray">
            <a:xfrm>
              <a:off x="1421" y="1148"/>
              <a:ext cx="12" cy="26"/>
            </a:xfrm>
            <a:custGeom>
              <a:avLst/>
              <a:gdLst>
                <a:gd name="T0" fmla="*/ 0 w 23"/>
                <a:gd name="T1" fmla="*/ 0 h 51"/>
                <a:gd name="T2" fmla="*/ 0 w 23"/>
                <a:gd name="T3" fmla="*/ 25 h 51"/>
                <a:gd name="T4" fmla="*/ 0 w 23"/>
                <a:gd name="T5" fmla="*/ 51 h 51"/>
                <a:gd name="T6" fmla="*/ 23 w 23"/>
                <a:gd name="T7" fmla="*/ 51 h 51"/>
                <a:gd name="T8" fmla="*/ 23 w 23"/>
                <a:gd name="T9" fmla="*/ 25 h 51"/>
                <a:gd name="T10" fmla="*/ 0 w 23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51">
                  <a:moveTo>
                    <a:pt x="0" y="0"/>
                  </a:moveTo>
                  <a:lnTo>
                    <a:pt x="0" y="25"/>
                  </a:lnTo>
                  <a:lnTo>
                    <a:pt x="0" y="51"/>
                  </a:lnTo>
                  <a:lnTo>
                    <a:pt x="23" y="51"/>
                  </a:lnTo>
                  <a:lnTo>
                    <a:pt x="23" y="25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8" name="Freeform 29"/>
            <p:cNvSpPr>
              <a:spLocks/>
            </p:cNvSpPr>
            <p:nvPr/>
          </p:nvSpPr>
          <p:spPr bwMode="gray">
            <a:xfrm>
              <a:off x="1421" y="2277"/>
              <a:ext cx="156" cy="54"/>
            </a:xfrm>
            <a:custGeom>
              <a:avLst/>
              <a:gdLst>
                <a:gd name="T0" fmla="*/ 236 w 310"/>
                <a:gd name="T1" fmla="*/ 55 h 107"/>
                <a:gd name="T2" fmla="*/ 236 w 310"/>
                <a:gd name="T3" fmla="*/ 0 h 107"/>
                <a:gd name="T4" fmla="*/ 155 w 310"/>
                <a:gd name="T5" fmla="*/ 0 h 107"/>
                <a:gd name="T6" fmla="*/ 132 w 310"/>
                <a:gd name="T7" fmla="*/ 0 h 107"/>
                <a:gd name="T8" fmla="*/ 103 w 310"/>
                <a:gd name="T9" fmla="*/ 0 h 107"/>
                <a:gd name="T10" fmla="*/ 51 w 310"/>
                <a:gd name="T11" fmla="*/ 0 h 107"/>
                <a:gd name="T12" fmla="*/ 103 w 310"/>
                <a:gd name="T13" fmla="*/ 28 h 107"/>
                <a:gd name="T14" fmla="*/ 80 w 310"/>
                <a:gd name="T15" fmla="*/ 55 h 107"/>
                <a:gd name="T16" fmla="*/ 51 w 310"/>
                <a:gd name="T17" fmla="*/ 55 h 107"/>
                <a:gd name="T18" fmla="*/ 0 w 310"/>
                <a:gd name="T19" fmla="*/ 80 h 107"/>
                <a:gd name="T20" fmla="*/ 51 w 310"/>
                <a:gd name="T21" fmla="*/ 107 h 107"/>
                <a:gd name="T22" fmla="*/ 80 w 310"/>
                <a:gd name="T23" fmla="*/ 80 h 107"/>
                <a:gd name="T24" fmla="*/ 132 w 310"/>
                <a:gd name="T25" fmla="*/ 107 h 107"/>
                <a:gd name="T26" fmla="*/ 155 w 310"/>
                <a:gd name="T27" fmla="*/ 107 h 107"/>
                <a:gd name="T28" fmla="*/ 184 w 310"/>
                <a:gd name="T29" fmla="*/ 107 h 107"/>
                <a:gd name="T30" fmla="*/ 207 w 310"/>
                <a:gd name="T31" fmla="*/ 107 h 107"/>
                <a:gd name="T32" fmla="*/ 236 w 310"/>
                <a:gd name="T33" fmla="*/ 80 h 107"/>
                <a:gd name="T34" fmla="*/ 287 w 310"/>
                <a:gd name="T35" fmla="*/ 107 h 107"/>
                <a:gd name="T36" fmla="*/ 310 w 310"/>
                <a:gd name="T37" fmla="*/ 107 h 107"/>
                <a:gd name="T38" fmla="*/ 287 w 310"/>
                <a:gd name="T39" fmla="*/ 55 h 107"/>
                <a:gd name="T40" fmla="*/ 236 w 310"/>
                <a:gd name="T41" fmla="*/ 5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107">
                  <a:moveTo>
                    <a:pt x="236" y="55"/>
                  </a:moveTo>
                  <a:lnTo>
                    <a:pt x="236" y="0"/>
                  </a:lnTo>
                  <a:lnTo>
                    <a:pt x="155" y="0"/>
                  </a:lnTo>
                  <a:lnTo>
                    <a:pt x="132" y="0"/>
                  </a:lnTo>
                  <a:lnTo>
                    <a:pt x="103" y="0"/>
                  </a:lnTo>
                  <a:lnTo>
                    <a:pt x="51" y="0"/>
                  </a:lnTo>
                  <a:lnTo>
                    <a:pt x="103" y="28"/>
                  </a:lnTo>
                  <a:lnTo>
                    <a:pt x="80" y="55"/>
                  </a:lnTo>
                  <a:lnTo>
                    <a:pt x="51" y="55"/>
                  </a:lnTo>
                  <a:lnTo>
                    <a:pt x="0" y="80"/>
                  </a:lnTo>
                  <a:lnTo>
                    <a:pt x="51" y="107"/>
                  </a:lnTo>
                  <a:lnTo>
                    <a:pt x="80" y="80"/>
                  </a:lnTo>
                  <a:lnTo>
                    <a:pt x="132" y="107"/>
                  </a:lnTo>
                  <a:lnTo>
                    <a:pt x="155" y="107"/>
                  </a:lnTo>
                  <a:lnTo>
                    <a:pt x="184" y="107"/>
                  </a:lnTo>
                  <a:lnTo>
                    <a:pt x="207" y="107"/>
                  </a:lnTo>
                  <a:lnTo>
                    <a:pt x="236" y="80"/>
                  </a:lnTo>
                  <a:lnTo>
                    <a:pt x="287" y="107"/>
                  </a:lnTo>
                  <a:lnTo>
                    <a:pt x="310" y="107"/>
                  </a:lnTo>
                  <a:lnTo>
                    <a:pt x="287" y="55"/>
                  </a:lnTo>
                  <a:lnTo>
                    <a:pt x="236" y="55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29" name="Freeform 30"/>
            <p:cNvSpPr>
              <a:spLocks/>
            </p:cNvSpPr>
            <p:nvPr/>
          </p:nvSpPr>
          <p:spPr bwMode="gray">
            <a:xfrm>
              <a:off x="1226" y="993"/>
              <a:ext cx="39" cy="52"/>
            </a:xfrm>
            <a:custGeom>
              <a:avLst/>
              <a:gdLst>
                <a:gd name="T0" fmla="*/ 52 w 79"/>
                <a:gd name="T1" fmla="*/ 103 h 103"/>
                <a:gd name="T2" fmla="*/ 79 w 79"/>
                <a:gd name="T3" fmla="*/ 75 h 103"/>
                <a:gd name="T4" fmla="*/ 79 w 79"/>
                <a:gd name="T5" fmla="*/ 0 h 103"/>
                <a:gd name="T6" fmla="*/ 52 w 79"/>
                <a:gd name="T7" fmla="*/ 0 h 103"/>
                <a:gd name="T8" fmla="*/ 27 w 79"/>
                <a:gd name="T9" fmla="*/ 23 h 103"/>
                <a:gd name="T10" fmla="*/ 0 w 79"/>
                <a:gd name="T11" fmla="*/ 23 h 103"/>
                <a:gd name="T12" fmla="*/ 27 w 79"/>
                <a:gd name="T13" fmla="*/ 75 h 103"/>
                <a:gd name="T14" fmla="*/ 27 w 79"/>
                <a:gd name="T15" fmla="*/ 103 h 103"/>
                <a:gd name="T16" fmla="*/ 52 w 79"/>
                <a:gd name="T17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103">
                  <a:moveTo>
                    <a:pt x="52" y="103"/>
                  </a:moveTo>
                  <a:lnTo>
                    <a:pt x="79" y="75"/>
                  </a:lnTo>
                  <a:lnTo>
                    <a:pt x="79" y="0"/>
                  </a:lnTo>
                  <a:lnTo>
                    <a:pt x="52" y="0"/>
                  </a:lnTo>
                  <a:lnTo>
                    <a:pt x="27" y="23"/>
                  </a:lnTo>
                  <a:lnTo>
                    <a:pt x="0" y="23"/>
                  </a:lnTo>
                  <a:lnTo>
                    <a:pt x="27" y="75"/>
                  </a:lnTo>
                  <a:lnTo>
                    <a:pt x="27" y="103"/>
                  </a:lnTo>
                  <a:lnTo>
                    <a:pt x="52" y="10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0" name="Freeform 31"/>
            <p:cNvSpPr>
              <a:spLocks/>
            </p:cNvSpPr>
            <p:nvPr/>
          </p:nvSpPr>
          <p:spPr bwMode="gray">
            <a:xfrm>
              <a:off x="1277" y="993"/>
              <a:ext cx="41" cy="37"/>
            </a:xfrm>
            <a:custGeom>
              <a:avLst/>
              <a:gdLst>
                <a:gd name="T0" fmla="*/ 0 w 80"/>
                <a:gd name="T1" fmla="*/ 23 h 75"/>
                <a:gd name="T2" fmla="*/ 0 w 80"/>
                <a:gd name="T3" fmla="*/ 75 h 75"/>
                <a:gd name="T4" fmla="*/ 27 w 80"/>
                <a:gd name="T5" fmla="*/ 75 h 75"/>
                <a:gd name="T6" fmla="*/ 80 w 80"/>
                <a:gd name="T7" fmla="*/ 23 h 75"/>
                <a:gd name="T8" fmla="*/ 52 w 80"/>
                <a:gd name="T9" fmla="*/ 0 h 75"/>
                <a:gd name="T10" fmla="*/ 27 w 80"/>
                <a:gd name="T11" fmla="*/ 0 h 75"/>
                <a:gd name="T12" fmla="*/ 0 w 80"/>
                <a:gd name="T13" fmla="*/ 2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75">
                  <a:moveTo>
                    <a:pt x="0" y="23"/>
                  </a:moveTo>
                  <a:lnTo>
                    <a:pt x="0" y="75"/>
                  </a:lnTo>
                  <a:lnTo>
                    <a:pt x="27" y="75"/>
                  </a:lnTo>
                  <a:lnTo>
                    <a:pt x="80" y="23"/>
                  </a:lnTo>
                  <a:lnTo>
                    <a:pt x="52" y="0"/>
                  </a:lnTo>
                  <a:lnTo>
                    <a:pt x="27" y="0"/>
                  </a:lnTo>
                  <a:lnTo>
                    <a:pt x="0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1" name="Freeform 32"/>
            <p:cNvSpPr>
              <a:spLocks/>
            </p:cNvSpPr>
            <p:nvPr/>
          </p:nvSpPr>
          <p:spPr bwMode="gray">
            <a:xfrm>
              <a:off x="1135" y="862"/>
              <a:ext cx="65" cy="26"/>
            </a:xfrm>
            <a:custGeom>
              <a:avLst/>
              <a:gdLst>
                <a:gd name="T0" fmla="*/ 103 w 128"/>
                <a:gd name="T1" fmla="*/ 52 h 52"/>
                <a:gd name="T2" fmla="*/ 128 w 128"/>
                <a:gd name="T3" fmla="*/ 25 h 52"/>
                <a:gd name="T4" fmla="*/ 103 w 128"/>
                <a:gd name="T5" fmla="*/ 0 h 52"/>
                <a:gd name="T6" fmla="*/ 76 w 128"/>
                <a:gd name="T7" fmla="*/ 0 h 52"/>
                <a:gd name="T8" fmla="*/ 0 w 128"/>
                <a:gd name="T9" fmla="*/ 25 h 52"/>
                <a:gd name="T10" fmla="*/ 52 w 128"/>
                <a:gd name="T11" fmla="*/ 52 h 52"/>
                <a:gd name="T12" fmla="*/ 103 w 12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52">
                  <a:moveTo>
                    <a:pt x="103" y="52"/>
                  </a:moveTo>
                  <a:lnTo>
                    <a:pt x="128" y="25"/>
                  </a:lnTo>
                  <a:lnTo>
                    <a:pt x="103" y="0"/>
                  </a:lnTo>
                  <a:lnTo>
                    <a:pt x="76" y="0"/>
                  </a:lnTo>
                  <a:lnTo>
                    <a:pt x="0" y="25"/>
                  </a:lnTo>
                  <a:lnTo>
                    <a:pt x="52" y="52"/>
                  </a:lnTo>
                  <a:lnTo>
                    <a:pt x="103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2" name="Freeform 33"/>
            <p:cNvSpPr>
              <a:spLocks/>
            </p:cNvSpPr>
            <p:nvPr/>
          </p:nvSpPr>
          <p:spPr bwMode="gray">
            <a:xfrm>
              <a:off x="1291" y="940"/>
              <a:ext cx="104" cy="53"/>
            </a:xfrm>
            <a:custGeom>
              <a:avLst/>
              <a:gdLst>
                <a:gd name="T0" fmla="*/ 25 w 209"/>
                <a:gd name="T1" fmla="*/ 0 h 106"/>
                <a:gd name="T2" fmla="*/ 0 w 209"/>
                <a:gd name="T3" fmla="*/ 0 h 106"/>
                <a:gd name="T4" fmla="*/ 25 w 209"/>
                <a:gd name="T5" fmla="*/ 25 h 106"/>
                <a:gd name="T6" fmla="*/ 25 w 209"/>
                <a:gd name="T7" fmla="*/ 106 h 106"/>
                <a:gd name="T8" fmla="*/ 209 w 209"/>
                <a:gd name="T9" fmla="*/ 106 h 106"/>
                <a:gd name="T10" fmla="*/ 209 w 209"/>
                <a:gd name="T11" fmla="*/ 77 h 106"/>
                <a:gd name="T12" fmla="*/ 105 w 209"/>
                <a:gd name="T13" fmla="*/ 54 h 106"/>
                <a:gd name="T14" fmla="*/ 25 w 209"/>
                <a:gd name="T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9" h="106">
                  <a:moveTo>
                    <a:pt x="25" y="0"/>
                  </a:moveTo>
                  <a:lnTo>
                    <a:pt x="0" y="0"/>
                  </a:lnTo>
                  <a:lnTo>
                    <a:pt x="25" y="25"/>
                  </a:lnTo>
                  <a:lnTo>
                    <a:pt x="25" y="106"/>
                  </a:lnTo>
                  <a:lnTo>
                    <a:pt x="209" y="106"/>
                  </a:lnTo>
                  <a:lnTo>
                    <a:pt x="209" y="77"/>
                  </a:lnTo>
                  <a:lnTo>
                    <a:pt x="105" y="54"/>
                  </a:lnTo>
                  <a:lnTo>
                    <a:pt x="25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3" name="Freeform 34"/>
            <p:cNvSpPr>
              <a:spLocks/>
            </p:cNvSpPr>
            <p:nvPr/>
          </p:nvSpPr>
          <p:spPr bwMode="gray">
            <a:xfrm>
              <a:off x="1174" y="901"/>
              <a:ext cx="65" cy="52"/>
            </a:xfrm>
            <a:custGeom>
              <a:avLst/>
              <a:gdLst>
                <a:gd name="T0" fmla="*/ 131 w 131"/>
                <a:gd name="T1" fmla="*/ 51 h 103"/>
                <a:gd name="T2" fmla="*/ 104 w 131"/>
                <a:gd name="T3" fmla="*/ 27 h 103"/>
                <a:gd name="T4" fmla="*/ 27 w 131"/>
                <a:gd name="T5" fmla="*/ 0 h 103"/>
                <a:gd name="T6" fmla="*/ 0 w 131"/>
                <a:gd name="T7" fmla="*/ 27 h 103"/>
                <a:gd name="T8" fmla="*/ 0 w 131"/>
                <a:gd name="T9" fmla="*/ 51 h 103"/>
                <a:gd name="T10" fmla="*/ 27 w 131"/>
                <a:gd name="T11" fmla="*/ 78 h 103"/>
                <a:gd name="T12" fmla="*/ 52 w 131"/>
                <a:gd name="T13" fmla="*/ 78 h 103"/>
                <a:gd name="T14" fmla="*/ 104 w 131"/>
                <a:gd name="T15" fmla="*/ 103 h 103"/>
                <a:gd name="T16" fmla="*/ 131 w 131"/>
                <a:gd name="T17" fmla="*/ 5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103">
                  <a:moveTo>
                    <a:pt x="131" y="51"/>
                  </a:moveTo>
                  <a:lnTo>
                    <a:pt x="104" y="27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0" y="51"/>
                  </a:lnTo>
                  <a:lnTo>
                    <a:pt x="27" y="78"/>
                  </a:lnTo>
                  <a:lnTo>
                    <a:pt x="52" y="78"/>
                  </a:lnTo>
                  <a:lnTo>
                    <a:pt x="104" y="103"/>
                  </a:lnTo>
                  <a:lnTo>
                    <a:pt x="131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4" name="Freeform 35"/>
            <p:cNvSpPr>
              <a:spLocks/>
            </p:cNvSpPr>
            <p:nvPr/>
          </p:nvSpPr>
          <p:spPr bwMode="gray">
            <a:xfrm>
              <a:off x="1239" y="927"/>
              <a:ext cx="38" cy="40"/>
            </a:xfrm>
            <a:custGeom>
              <a:avLst/>
              <a:gdLst>
                <a:gd name="T0" fmla="*/ 77 w 77"/>
                <a:gd name="T1" fmla="*/ 81 h 81"/>
                <a:gd name="T2" fmla="*/ 52 w 77"/>
                <a:gd name="T3" fmla="*/ 52 h 81"/>
                <a:gd name="T4" fmla="*/ 77 w 77"/>
                <a:gd name="T5" fmla="*/ 52 h 81"/>
                <a:gd name="T6" fmla="*/ 52 w 77"/>
                <a:gd name="T7" fmla="*/ 0 h 81"/>
                <a:gd name="T8" fmla="*/ 25 w 77"/>
                <a:gd name="T9" fmla="*/ 27 h 81"/>
                <a:gd name="T10" fmla="*/ 0 w 77"/>
                <a:gd name="T11" fmla="*/ 52 h 81"/>
                <a:gd name="T12" fmla="*/ 25 w 77"/>
                <a:gd name="T13" fmla="*/ 52 h 81"/>
                <a:gd name="T14" fmla="*/ 25 w 77"/>
                <a:gd name="T15" fmla="*/ 81 h 81"/>
                <a:gd name="T16" fmla="*/ 52 w 77"/>
                <a:gd name="T17" fmla="*/ 81 h 81"/>
                <a:gd name="T18" fmla="*/ 77 w 77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81">
                  <a:moveTo>
                    <a:pt x="77" y="81"/>
                  </a:moveTo>
                  <a:lnTo>
                    <a:pt x="52" y="52"/>
                  </a:lnTo>
                  <a:lnTo>
                    <a:pt x="77" y="52"/>
                  </a:lnTo>
                  <a:lnTo>
                    <a:pt x="52" y="0"/>
                  </a:lnTo>
                  <a:lnTo>
                    <a:pt x="25" y="27"/>
                  </a:lnTo>
                  <a:lnTo>
                    <a:pt x="0" y="52"/>
                  </a:lnTo>
                  <a:lnTo>
                    <a:pt x="25" y="52"/>
                  </a:lnTo>
                  <a:lnTo>
                    <a:pt x="25" y="81"/>
                  </a:lnTo>
                  <a:lnTo>
                    <a:pt x="52" y="81"/>
                  </a:lnTo>
                  <a:lnTo>
                    <a:pt x="77" y="8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5" name="Freeform 36"/>
            <p:cNvSpPr>
              <a:spLocks/>
            </p:cNvSpPr>
            <p:nvPr/>
          </p:nvSpPr>
          <p:spPr bwMode="gray">
            <a:xfrm>
              <a:off x="1187" y="744"/>
              <a:ext cx="104" cy="79"/>
            </a:xfrm>
            <a:custGeom>
              <a:avLst/>
              <a:gdLst>
                <a:gd name="T0" fmla="*/ 104 w 208"/>
                <a:gd name="T1" fmla="*/ 104 h 157"/>
                <a:gd name="T2" fmla="*/ 129 w 208"/>
                <a:gd name="T3" fmla="*/ 81 h 157"/>
                <a:gd name="T4" fmla="*/ 129 w 208"/>
                <a:gd name="T5" fmla="*/ 104 h 157"/>
                <a:gd name="T6" fmla="*/ 156 w 208"/>
                <a:gd name="T7" fmla="*/ 81 h 157"/>
                <a:gd name="T8" fmla="*/ 181 w 208"/>
                <a:gd name="T9" fmla="*/ 52 h 157"/>
                <a:gd name="T10" fmla="*/ 208 w 208"/>
                <a:gd name="T11" fmla="*/ 29 h 157"/>
                <a:gd name="T12" fmla="*/ 156 w 208"/>
                <a:gd name="T13" fmla="*/ 0 h 157"/>
                <a:gd name="T14" fmla="*/ 129 w 208"/>
                <a:gd name="T15" fmla="*/ 29 h 157"/>
                <a:gd name="T16" fmla="*/ 104 w 208"/>
                <a:gd name="T17" fmla="*/ 52 h 157"/>
                <a:gd name="T18" fmla="*/ 77 w 208"/>
                <a:gd name="T19" fmla="*/ 29 h 157"/>
                <a:gd name="T20" fmla="*/ 52 w 208"/>
                <a:gd name="T21" fmla="*/ 81 h 157"/>
                <a:gd name="T22" fmla="*/ 25 w 208"/>
                <a:gd name="T23" fmla="*/ 104 h 157"/>
                <a:gd name="T24" fmla="*/ 0 w 208"/>
                <a:gd name="T25" fmla="*/ 132 h 157"/>
                <a:gd name="T26" fmla="*/ 0 w 208"/>
                <a:gd name="T27" fmla="*/ 157 h 157"/>
                <a:gd name="T28" fmla="*/ 52 w 208"/>
                <a:gd name="T29" fmla="*/ 132 h 157"/>
                <a:gd name="T30" fmla="*/ 104 w 208"/>
                <a:gd name="T31" fmla="*/ 10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157">
                  <a:moveTo>
                    <a:pt x="104" y="104"/>
                  </a:moveTo>
                  <a:lnTo>
                    <a:pt x="129" y="81"/>
                  </a:lnTo>
                  <a:lnTo>
                    <a:pt x="129" y="104"/>
                  </a:lnTo>
                  <a:lnTo>
                    <a:pt x="156" y="81"/>
                  </a:lnTo>
                  <a:lnTo>
                    <a:pt x="181" y="52"/>
                  </a:lnTo>
                  <a:lnTo>
                    <a:pt x="208" y="29"/>
                  </a:lnTo>
                  <a:lnTo>
                    <a:pt x="156" y="0"/>
                  </a:lnTo>
                  <a:lnTo>
                    <a:pt x="129" y="29"/>
                  </a:lnTo>
                  <a:lnTo>
                    <a:pt x="104" y="52"/>
                  </a:lnTo>
                  <a:lnTo>
                    <a:pt x="77" y="29"/>
                  </a:lnTo>
                  <a:lnTo>
                    <a:pt x="52" y="81"/>
                  </a:lnTo>
                  <a:lnTo>
                    <a:pt x="25" y="104"/>
                  </a:lnTo>
                  <a:lnTo>
                    <a:pt x="0" y="132"/>
                  </a:lnTo>
                  <a:lnTo>
                    <a:pt x="0" y="157"/>
                  </a:lnTo>
                  <a:lnTo>
                    <a:pt x="52" y="132"/>
                  </a:lnTo>
                  <a:lnTo>
                    <a:pt x="104" y="104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6" name="Freeform 37"/>
            <p:cNvSpPr>
              <a:spLocks/>
            </p:cNvSpPr>
            <p:nvPr/>
          </p:nvSpPr>
          <p:spPr bwMode="gray">
            <a:xfrm>
              <a:off x="1239" y="837"/>
              <a:ext cx="105" cy="77"/>
            </a:xfrm>
            <a:custGeom>
              <a:avLst/>
              <a:gdLst>
                <a:gd name="T0" fmla="*/ 77 w 209"/>
                <a:gd name="T1" fmla="*/ 52 h 156"/>
                <a:gd name="T2" fmla="*/ 77 w 209"/>
                <a:gd name="T3" fmla="*/ 0 h 156"/>
                <a:gd name="T4" fmla="*/ 52 w 209"/>
                <a:gd name="T5" fmla="*/ 0 h 156"/>
                <a:gd name="T6" fmla="*/ 25 w 209"/>
                <a:gd name="T7" fmla="*/ 25 h 156"/>
                <a:gd name="T8" fmla="*/ 25 w 209"/>
                <a:gd name="T9" fmla="*/ 52 h 156"/>
                <a:gd name="T10" fmla="*/ 0 w 209"/>
                <a:gd name="T11" fmla="*/ 52 h 156"/>
                <a:gd name="T12" fmla="*/ 0 w 209"/>
                <a:gd name="T13" fmla="*/ 77 h 156"/>
                <a:gd name="T14" fmla="*/ 25 w 209"/>
                <a:gd name="T15" fmla="*/ 104 h 156"/>
                <a:gd name="T16" fmla="*/ 0 w 209"/>
                <a:gd name="T17" fmla="*/ 129 h 156"/>
                <a:gd name="T18" fmla="*/ 0 w 209"/>
                <a:gd name="T19" fmla="*/ 156 h 156"/>
                <a:gd name="T20" fmla="*/ 52 w 209"/>
                <a:gd name="T21" fmla="*/ 156 h 156"/>
                <a:gd name="T22" fmla="*/ 104 w 209"/>
                <a:gd name="T23" fmla="*/ 129 h 156"/>
                <a:gd name="T24" fmla="*/ 129 w 209"/>
                <a:gd name="T25" fmla="*/ 129 h 156"/>
                <a:gd name="T26" fmla="*/ 157 w 209"/>
                <a:gd name="T27" fmla="*/ 129 h 156"/>
                <a:gd name="T28" fmla="*/ 180 w 209"/>
                <a:gd name="T29" fmla="*/ 104 h 156"/>
                <a:gd name="T30" fmla="*/ 157 w 209"/>
                <a:gd name="T31" fmla="*/ 77 h 156"/>
                <a:gd name="T32" fmla="*/ 180 w 209"/>
                <a:gd name="T33" fmla="*/ 52 h 156"/>
                <a:gd name="T34" fmla="*/ 209 w 209"/>
                <a:gd name="T35" fmla="*/ 25 h 156"/>
                <a:gd name="T36" fmla="*/ 180 w 209"/>
                <a:gd name="T37" fmla="*/ 0 h 156"/>
                <a:gd name="T38" fmla="*/ 157 w 209"/>
                <a:gd name="T39" fmla="*/ 0 h 156"/>
                <a:gd name="T40" fmla="*/ 157 w 209"/>
                <a:gd name="T41" fmla="*/ 52 h 156"/>
                <a:gd name="T42" fmla="*/ 129 w 209"/>
                <a:gd name="T43" fmla="*/ 52 h 156"/>
                <a:gd name="T44" fmla="*/ 104 w 209"/>
                <a:gd name="T45" fmla="*/ 52 h 156"/>
                <a:gd name="T46" fmla="*/ 77 w 209"/>
                <a:gd name="T47" fmla="*/ 5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9" h="156">
                  <a:moveTo>
                    <a:pt x="77" y="52"/>
                  </a:moveTo>
                  <a:lnTo>
                    <a:pt x="77" y="0"/>
                  </a:lnTo>
                  <a:lnTo>
                    <a:pt x="52" y="0"/>
                  </a:lnTo>
                  <a:lnTo>
                    <a:pt x="25" y="25"/>
                  </a:lnTo>
                  <a:lnTo>
                    <a:pt x="25" y="52"/>
                  </a:lnTo>
                  <a:lnTo>
                    <a:pt x="0" y="52"/>
                  </a:lnTo>
                  <a:lnTo>
                    <a:pt x="0" y="77"/>
                  </a:lnTo>
                  <a:lnTo>
                    <a:pt x="25" y="104"/>
                  </a:lnTo>
                  <a:lnTo>
                    <a:pt x="0" y="129"/>
                  </a:lnTo>
                  <a:lnTo>
                    <a:pt x="0" y="156"/>
                  </a:lnTo>
                  <a:lnTo>
                    <a:pt x="52" y="156"/>
                  </a:lnTo>
                  <a:lnTo>
                    <a:pt x="104" y="129"/>
                  </a:lnTo>
                  <a:lnTo>
                    <a:pt x="129" y="129"/>
                  </a:lnTo>
                  <a:lnTo>
                    <a:pt x="157" y="129"/>
                  </a:lnTo>
                  <a:lnTo>
                    <a:pt x="180" y="104"/>
                  </a:lnTo>
                  <a:lnTo>
                    <a:pt x="157" y="77"/>
                  </a:lnTo>
                  <a:lnTo>
                    <a:pt x="180" y="52"/>
                  </a:lnTo>
                  <a:lnTo>
                    <a:pt x="209" y="25"/>
                  </a:lnTo>
                  <a:lnTo>
                    <a:pt x="180" y="0"/>
                  </a:lnTo>
                  <a:lnTo>
                    <a:pt x="157" y="0"/>
                  </a:lnTo>
                  <a:lnTo>
                    <a:pt x="157" y="52"/>
                  </a:lnTo>
                  <a:lnTo>
                    <a:pt x="129" y="52"/>
                  </a:lnTo>
                  <a:lnTo>
                    <a:pt x="104" y="52"/>
                  </a:lnTo>
                  <a:lnTo>
                    <a:pt x="77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7" name="Freeform 38"/>
            <p:cNvSpPr>
              <a:spLocks/>
            </p:cNvSpPr>
            <p:nvPr/>
          </p:nvSpPr>
          <p:spPr bwMode="gray">
            <a:xfrm>
              <a:off x="2592" y="771"/>
              <a:ext cx="103" cy="144"/>
            </a:xfrm>
            <a:custGeom>
              <a:avLst/>
              <a:gdLst>
                <a:gd name="T0" fmla="*/ 27 w 207"/>
                <a:gd name="T1" fmla="*/ 106 h 288"/>
                <a:gd name="T2" fmla="*/ 27 w 207"/>
                <a:gd name="T3" fmla="*/ 133 h 288"/>
                <a:gd name="T4" fmla="*/ 52 w 207"/>
                <a:gd name="T5" fmla="*/ 158 h 288"/>
                <a:gd name="T6" fmla="*/ 79 w 207"/>
                <a:gd name="T7" fmla="*/ 158 h 288"/>
                <a:gd name="T8" fmla="*/ 104 w 207"/>
                <a:gd name="T9" fmla="*/ 133 h 288"/>
                <a:gd name="T10" fmla="*/ 131 w 207"/>
                <a:gd name="T11" fmla="*/ 133 h 288"/>
                <a:gd name="T12" fmla="*/ 131 w 207"/>
                <a:gd name="T13" fmla="*/ 158 h 288"/>
                <a:gd name="T14" fmla="*/ 104 w 207"/>
                <a:gd name="T15" fmla="*/ 158 h 288"/>
                <a:gd name="T16" fmla="*/ 104 w 207"/>
                <a:gd name="T17" fmla="*/ 185 h 288"/>
                <a:gd name="T18" fmla="*/ 131 w 207"/>
                <a:gd name="T19" fmla="*/ 185 h 288"/>
                <a:gd name="T20" fmla="*/ 131 w 207"/>
                <a:gd name="T21" fmla="*/ 210 h 288"/>
                <a:gd name="T22" fmla="*/ 104 w 207"/>
                <a:gd name="T23" fmla="*/ 237 h 288"/>
                <a:gd name="T24" fmla="*/ 104 w 207"/>
                <a:gd name="T25" fmla="*/ 261 h 288"/>
                <a:gd name="T26" fmla="*/ 156 w 207"/>
                <a:gd name="T27" fmla="*/ 288 h 288"/>
                <a:gd name="T28" fmla="*/ 156 w 207"/>
                <a:gd name="T29" fmla="*/ 261 h 288"/>
                <a:gd name="T30" fmla="*/ 156 w 207"/>
                <a:gd name="T31" fmla="*/ 237 h 288"/>
                <a:gd name="T32" fmla="*/ 184 w 207"/>
                <a:gd name="T33" fmla="*/ 185 h 288"/>
                <a:gd name="T34" fmla="*/ 184 w 207"/>
                <a:gd name="T35" fmla="*/ 158 h 288"/>
                <a:gd name="T36" fmla="*/ 184 w 207"/>
                <a:gd name="T37" fmla="*/ 106 h 288"/>
                <a:gd name="T38" fmla="*/ 207 w 207"/>
                <a:gd name="T39" fmla="*/ 106 h 288"/>
                <a:gd name="T40" fmla="*/ 184 w 207"/>
                <a:gd name="T41" fmla="*/ 81 h 288"/>
                <a:gd name="T42" fmla="*/ 156 w 207"/>
                <a:gd name="T43" fmla="*/ 81 h 288"/>
                <a:gd name="T44" fmla="*/ 131 w 207"/>
                <a:gd name="T45" fmla="*/ 29 h 288"/>
                <a:gd name="T46" fmla="*/ 131 w 207"/>
                <a:gd name="T47" fmla="*/ 54 h 288"/>
                <a:gd name="T48" fmla="*/ 104 w 207"/>
                <a:gd name="T49" fmla="*/ 54 h 288"/>
                <a:gd name="T50" fmla="*/ 104 w 207"/>
                <a:gd name="T51" fmla="*/ 81 h 288"/>
                <a:gd name="T52" fmla="*/ 79 w 207"/>
                <a:gd name="T53" fmla="*/ 54 h 288"/>
                <a:gd name="T54" fmla="*/ 79 w 207"/>
                <a:gd name="T55" fmla="*/ 29 h 288"/>
                <a:gd name="T56" fmla="*/ 52 w 207"/>
                <a:gd name="T57" fmla="*/ 0 h 288"/>
                <a:gd name="T58" fmla="*/ 52 w 207"/>
                <a:gd name="T59" fmla="*/ 29 h 288"/>
                <a:gd name="T60" fmla="*/ 27 w 207"/>
                <a:gd name="T61" fmla="*/ 29 h 288"/>
                <a:gd name="T62" fmla="*/ 0 w 207"/>
                <a:gd name="T63" fmla="*/ 29 h 288"/>
                <a:gd name="T64" fmla="*/ 27 w 207"/>
                <a:gd name="T65" fmla="*/ 81 h 288"/>
                <a:gd name="T66" fmla="*/ 27 w 207"/>
                <a:gd name="T67" fmla="*/ 10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7" h="288">
                  <a:moveTo>
                    <a:pt x="27" y="106"/>
                  </a:moveTo>
                  <a:lnTo>
                    <a:pt x="27" y="133"/>
                  </a:lnTo>
                  <a:lnTo>
                    <a:pt x="52" y="158"/>
                  </a:lnTo>
                  <a:lnTo>
                    <a:pt x="79" y="158"/>
                  </a:lnTo>
                  <a:lnTo>
                    <a:pt x="104" y="133"/>
                  </a:lnTo>
                  <a:lnTo>
                    <a:pt x="131" y="133"/>
                  </a:lnTo>
                  <a:lnTo>
                    <a:pt x="131" y="158"/>
                  </a:lnTo>
                  <a:lnTo>
                    <a:pt x="104" y="158"/>
                  </a:lnTo>
                  <a:lnTo>
                    <a:pt x="104" y="185"/>
                  </a:lnTo>
                  <a:lnTo>
                    <a:pt x="131" y="185"/>
                  </a:lnTo>
                  <a:lnTo>
                    <a:pt x="131" y="210"/>
                  </a:lnTo>
                  <a:lnTo>
                    <a:pt x="104" y="237"/>
                  </a:lnTo>
                  <a:lnTo>
                    <a:pt x="104" y="261"/>
                  </a:lnTo>
                  <a:lnTo>
                    <a:pt x="156" y="288"/>
                  </a:lnTo>
                  <a:lnTo>
                    <a:pt x="156" y="261"/>
                  </a:lnTo>
                  <a:lnTo>
                    <a:pt x="156" y="237"/>
                  </a:lnTo>
                  <a:lnTo>
                    <a:pt x="184" y="185"/>
                  </a:lnTo>
                  <a:lnTo>
                    <a:pt x="184" y="158"/>
                  </a:lnTo>
                  <a:lnTo>
                    <a:pt x="184" y="106"/>
                  </a:lnTo>
                  <a:lnTo>
                    <a:pt x="207" y="106"/>
                  </a:lnTo>
                  <a:lnTo>
                    <a:pt x="184" y="81"/>
                  </a:lnTo>
                  <a:lnTo>
                    <a:pt x="156" y="81"/>
                  </a:lnTo>
                  <a:lnTo>
                    <a:pt x="131" y="29"/>
                  </a:lnTo>
                  <a:lnTo>
                    <a:pt x="131" y="54"/>
                  </a:lnTo>
                  <a:lnTo>
                    <a:pt x="104" y="54"/>
                  </a:lnTo>
                  <a:lnTo>
                    <a:pt x="104" y="81"/>
                  </a:lnTo>
                  <a:lnTo>
                    <a:pt x="79" y="54"/>
                  </a:lnTo>
                  <a:lnTo>
                    <a:pt x="79" y="29"/>
                  </a:lnTo>
                  <a:lnTo>
                    <a:pt x="52" y="0"/>
                  </a:lnTo>
                  <a:lnTo>
                    <a:pt x="52" y="29"/>
                  </a:lnTo>
                  <a:lnTo>
                    <a:pt x="27" y="29"/>
                  </a:lnTo>
                  <a:lnTo>
                    <a:pt x="0" y="29"/>
                  </a:lnTo>
                  <a:lnTo>
                    <a:pt x="27" y="81"/>
                  </a:lnTo>
                  <a:lnTo>
                    <a:pt x="27" y="106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8" name="Freeform 39"/>
            <p:cNvSpPr>
              <a:spLocks/>
            </p:cNvSpPr>
            <p:nvPr/>
          </p:nvSpPr>
          <p:spPr bwMode="gray">
            <a:xfrm>
              <a:off x="2695" y="771"/>
              <a:ext cx="52" cy="53"/>
            </a:xfrm>
            <a:custGeom>
              <a:avLst/>
              <a:gdLst>
                <a:gd name="T0" fmla="*/ 52 w 104"/>
                <a:gd name="T1" fmla="*/ 106 h 106"/>
                <a:gd name="T2" fmla="*/ 52 w 104"/>
                <a:gd name="T3" fmla="*/ 81 h 106"/>
                <a:gd name="T4" fmla="*/ 81 w 104"/>
                <a:gd name="T5" fmla="*/ 54 h 106"/>
                <a:gd name="T6" fmla="*/ 104 w 104"/>
                <a:gd name="T7" fmla="*/ 54 h 106"/>
                <a:gd name="T8" fmla="*/ 104 w 104"/>
                <a:gd name="T9" fmla="*/ 29 h 106"/>
                <a:gd name="T10" fmla="*/ 104 w 104"/>
                <a:gd name="T11" fmla="*/ 0 h 106"/>
                <a:gd name="T12" fmla="*/ 81 w 104"/>
                <a:gd name="T13" fmla="*/ 0 h 106"/>
                <a:gd name="T14" fmla="*/ 29 w 104"/>
                <a:gd name="T15" fmla="*/ 29 h 106"/>
                <a:gd name="T16" fmla="*/ 29 w 104"/>
                <a:gd name="T17" fmla="*/ 0 h 106"/>
                <a:gd name="T18" fmla="*/ 0 w 104"/>
                <a:gd name="T19" fmla="*/ 29 h 106"/>
                <a:gd name="T20" fmla="*/ 0 w 104"/>
                <a:gd name="T21" fmla="*/ 54 h 106"/>
                <a:gd name="T22" fmla="*/ 0 w 104"/>
                <a:gd name="T23" fmla="*/ 81 h 106"/>
                <a:gd name="T24" fmla="*/ 29 w 104"/>
                <a:gd name="T25" fmla="*/ 106 h 106"/>
                <a:gd name="T26" fmla="*/ 52 w 104"/>
                <a:gd name="T2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106">
                  <a:moveTo>
                    <a:pt x="52" y="106"/>
                  </a:moveTo>
                  <a:lnTo>
                    <a:pt x="52" y="81"/>
                  </a:lnTo>
                  <a:lnTo>
                    <a:pt x="81" y="54"/>
                  </a:lnTo>
                  <a:lnTo>
                    <a:pt x="104" y="54"/>
                  </a:lnTo>
                  <a:lnTo>
                    <a:pt x="104" y="29"/>
                  </a:lnTo>
                  <a:lnTo>
                    <a:pt x="104" y="0"/>
                  </a:lnTo>
                  <a:lnTo>
                    <a:pt x="81" y="0"/>
                  </a:lnTo>
                  <a:lnTo>
                    <a:pt x="29" y="29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0" y="54"/>
                  </a:lnTo>
                  <a:lnTo>
                    <a:pt x="0" y="81"/>
                  </a:lnTo>
                  <a:lnTo>
                    <a:pt x="29" y="106"/>
                  </a:lnTo>
                  <a:lnTo>
                    <a:pt x="52" y="106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39" name="Freeform 40"/>
            <p:cNvSpPr>
              <a:spLocks/>
            </p:cNvSpPr>
            <p:nvPr/>
          </p:nvSpPr>
          <p:spPr bwMode="gray">
            <a:xfrm>
              <a:off x="2695" y="849"/>
              <a:ext cx="41" cy="52"/>
            </a:xfrm>
            <a:custGeom>
              <a:avLst/>
              <a:gdLst>
                <a:gd name="T0" fmla="*/ 0 w 81"/>
                <a:gd name="T1" fmla="*/ 0 h 103"/>
                <a:gd name="T2" fmla="*/ 0 w 81"/>
                <a:gd name="T3" fmla="*/ 52 h 103"/>
                <a:gd name="T4" fmla="*/ 29 w 81"/>
                <a:gd name="T5" fmla="*/ 79 h 103"/>
                <a:gd name="T6" fmla="*/ 52 w 81"/>
                <a:gd name="T7" fmla="*/ 103 h 103"/>
                <a:gd name="T8" fmla="*/ 81 w 81"/>
                <a:gd name="T9" fmla="*/ 79 h 103"/>
                <a:gd name="T10" fmla="*/ 81 w 81"/>
                <a:gd name="T11" fmla="*/ 52 h 103"/>
                <a:gd name="T12" fmla="*/ 52 w 81"/>
                <a:gd name="T13" fmla="*/ 52 h 103"/>
                <a:gd name="T14" fmla="*/ 29 w 81"/>
                <a:gd name="T15" fmla="*/ 52 h 103"/>
                <a:gd name="T16" fmla="*/ 29 w 81"/>
                <a:gd name="T17" fmla="*/ 27 h 103"/>
                <a:gd name="T18" fmla="*/ 0 w 81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3">
                  <a:moveTo>
                    <a:pt x="0" y="0"/>
                  </a:moveTo>
                  <a:lnTo>
                    <a:pt x="0" y="52"/>
                  </a:lnTo>
                  <a:lnTo>
                    <a:pt x="29" y="79"/>
                  </a:lnTo>
                  <a:lnTo>
                    <a:pt x="52" y="103"/>
                  </a:lnTo>
                  <a:lnTo>
                    <a:pt x="81" y="79"/>
                  </a:lnTo>
                  <a:lnTo>
                    <a:pt x="81" y="52"/>
                  </a:lnTo>
                  <a:lnTo>
                    <a:pt x="52" y="52"/>
                  </a:lnTo>
                  <a:lnTo>
                    <a:pt x="29" y="52"/>
                  </a:lnTo>
                  <a:lnTo>
                    <a:pt x="29" y="27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0" name="Freeform 41"/>
            <p:cNvSpPr>
              <a:spLocks/>
            </p:cNvSpPr>
            <p:nvPr/>
          </p:nvSpPr>
          <p:spPr bwMode="gray">
            <a:xfrm>
              <a:off x="4076" y="2723"/>
              <a:ext cx="51" cy="25"/>
            </a:xfrm>
            <a:custGeom>
              <a:avLst/>
              <a:gdLst>
                <a:gd name="T0" fmla="*/ 52 w 104"/>
                <a:gd name="T1" fmla="*/ 0 h 52"/>
                <a:gd name="T2" fmla="*/ 23 w 104"/>
                <a:gd name="T3" fmla="*/ 0 h 52"/>
                <a:gd name="T4" fmla="*/ 0 w 104"/>
                <a:gd name="T5" fmla="*/ 23 h 52"/>
                <a:gd name="T6" fmla="*/ 23 w 104"/>
                <a:gd name="T7" fmla="*/ 23 h 52"/>
                <a:gd name="T8" fmla="*/ 52 w 104"/>
                <a:gd name="T9" fmla="*/ 52 h 52"/>
                <a:gd name="T10" fmla="*/ 75 w 104"/>
                <a:gd name="T11" fmla="*/ 23 h 52"/>
                <a:gd name="T12" fmla="*/ 104 w 104"/>
                <a:gd name="T13" fmla="*/ 23 h 52"/>
                <a:gd name="T14" fmla="*/ 75 w 104"/>
                <a:gd name="T15" fmla="*/ 0 h 52"/>
                <a:gd name="T16" fmla="*/ 52 w 104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52">
                  <a:moveTo>
                    <a:pt x="52" y="0"/>
                  </a:moveTo>
                  <a:lnTo>
                    <a:pt x="23" y="0"/>
                  </a:lnTo>
                  <a:lnTo>
                    <a:pt x="0" y="23"/>
                  </a:lnTo>
                  <a:lnTo>
                    <a:pt x="23" y="23"/>
                  </a:lnTo>
                  <a:lnTo>
                    <a:pt x="52" y="52"/>
                  </a:lnTo>
                  <a:lnTo>
                    <a:pt x="75" y="23"/>
                  </a:lnTo>
                  <a:lnTo>
                    <a:pt x="104" y="23"/>
                  </a:lnTo>
                  <a:lnTo>
                    <a:pt x="75" y="0"/>
                  </a:lnTo>
                  <a:lnTo>
                    <a:pt x="52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1" name="Freeform 42"/>
            <p:cNvSpPr>
              <a:spLocks/>
            </p:cNvSpPr>
            <p:nvPr/>
          </p:nvSpPr>
          <p:spPr bwMode="gray">
            <a:xfrm>
              <a:off x="4127" y="2723"/>
              <a:ext cx="90" cy="25"/>
            </a:xfrm>
            <a:custGeom>
              <a:avLst/>
              <a:gdLst>
                <a:gd name="T0" fmla="*/ 127 w 179"/>
                <a:gd name="T1" fmla="*/ 23 h 52"/>
                <a:gd name="T2" fmla="*/ 127 w 179"/>
                <a:gd name="T3" fmla="*/ 0 h 52"/>
                <a:gd name="T4" fmla="*/ 104 w 179"/>
                <a:gd name="T5" fmla="*/ 0 h 52"/>
                <a:gd name="T6" fmla="*/ 52 w 179"/>
                <a:gd name="T7" fmla="*/ 0 h 52"/>
                <a:gd name="T8" fmla="*/ 0 w 179"/>
                <a:gd name="T9" fmla="*/ 0 h 52"/>
                <a:gd name="T10" fmla="*/ 0 w 179"/>
                <a:gd name="T11" fmla="*/ 23 h 52"/>
                <a:gd name="T12" fmla="*/ 23 w 179"/>
                <a:gd name="T13" fmla="*/ 23 h 52"/>
                <a:gd name="T14" fmla="*/ 52 w 179"/>
                <a:gd name="T15" fmla="*/ 52 h 52"/>
                <a:gd name="T16" fmla="*/ 75 w 179"/>
                <a:gd name="T17" fmla="*/ 52 h 52"/>
                <a:gd name="T18" fmla="*/ 104 w 179"/>
                <a:gd name="T19" fmla="*/ 52 h 52"/>
                <a:gd name="T20" fmla="*/ 179 w 179"/>
                <a:gd name="T21" fmla="*/ 52 h 52"/>
                <a:gd name="T22" fmla="*/ 179 w 179"/>
                <a:gd name="T23" fmla="*/ 23 h 52"/>
                <a:gd name="T24" fmla="*/ 155 w 179"/>
                <a:gd name="T25" fmla="*/ 23 h 52"/>
                <a:gd name="T26" fmla="*/ 127 w 179"/>
                <a:gd name="T27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9" h="52">
                  <a:moveTo>
                    <a:pt x="127" y="23"/>
                  </a:moveTo>
                  <a:lnTo>
                    <a:pt x="127" y="0"/>
                  </a:lnTo>
                  <a:lnTo>
                    <a:pt x="104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23" y="23"/>
                  </a:lnTo>
                  <a:lnTo>
                    <a:pt x="52" y="52"/>
                  </a:lnTo>
                  <a:lnTo>
                    <a:pt x="75" y="52"/>
                  </a:lnTo>
                  <a:lnTo>
                    <a:pt x="104" y="52"/>
                  </a:lnTo>
                  <a:lnTo>
                    <a:pt x="179" y="52"/>
                  </a:lnTo>
                  <a:lnTo>
                    <a:pt x="179" y="23"/>
                  </a:lnTo>
                  <a:lnTo>
                    <a:pt x="155" y="23"/>
                  </a:lnTo>
                  <a:lnTo>
                    <a:pt x="127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2" name="Freeform 43"/>
            <p:cNvSpPr>
              <a:spLocks/>
            </p:cNvSpPr>
            <p:nvPr/>
          </p:nvSpPr>
          <p:spPr bwMode="gray">
            <a:xfrm>
              <a:off x="4283" y="2723"/>
              <a:ext cx="38" cy="11"/>
            </a:xfrm>
            <a:custGeom>
              <a:avLst/>
              <a:gdLst>
                <a:gd name="T0" fmla="*/ 25 w 77"/>
                <a:gd name="T1" fmla="*/ 0 h 23"/>
                <a:gd name="T2" fmla="*/ 0 w 77"/>
                <a:gd name="T3" fmla="*/ 0 h 23"/>
                <a:gd name="T4" fmla="*/ 25 w 77"/>
                <a:gd name="T5" fmla="*/ 23 h 23"/>
                <a:gd name="T6" fmla="*/ 52 w 77"/>
                <a:gd name="T7" fmla="*/ 23 h 23"/>
                <a:gd name="T8" fmla="*/ 77 w 77"/>
                <a:gd name="T9" fmla="*/ 23 h 23"/>
                <a:gd name="T10" fmla="*/ 77 w 77"/>
                <a:gd name="T11" fmla="*/ 0 h 23"/>
                <a:gd name="T12" fmla="*/ 52 w 77"/>
                <a:gd name="T13" fmla="*/ 0 h 23"/>
                <a:gd name="T14" fmla="*/ 25 w 77"/>
                <a:gd name="T1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23">
                  <a:moveTo>
                    <a:pt x="25" y="0"/>
                  </a:moveTo>
                  <a:lnTo>
                    <a:pt x="0" y="0"/>
                  </a:lnTo>
                  <a:lnTo>
                    <a:pt x="25" y="23"/>
                  </a:lnTo>
                  <a:lnTo>
                    <a:pt x="52" y="23"/>
                  </a:lnTo>
                  <a:lnTo>
                    <a:pt x="77" y="23"/>
                  </a:lnTo>
                  <a:lnTo>
                    <a:pt x="77" y="0"/>
                  </a:lnTo>
                  <a:lnTo>
                    <a:pt x="52" y="0"/>
                  </a:lnTo>
                  <a:lnTo>
                    <a:pt x="25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3" name="Freeform 44"/>
            <p:cNvSpPr>
              <a:spLocks/>
            </p:cNvSpPr>
            <p:nvPr/>
          </p:nvSpPr>
          <p:spPr bwMode="gray">
            <a:xfrm>
              <a:off x="4283" y="2748"/>
              <a:ext cx="12" cy="12"/>
            </a:xfrm>
            <a:custGeom>
              <a:avLst/>
              <a:gdLst>
                <a:gd name="T0" fmla="*/ 25 w 25"/>
                <a:gd name="T1" fmla="*/ 23 h 23"/>
                <a:gd name="T2" fmla="*/ 25 w 25"/>
                <a:gd name="T3" fmla="*/ 0 h 23"/>
                <a:gd name="T4" fmla="*/ 0 w 25"/>
                <a:gd name="T5" fmla="*/ 0 h 23"/>
                <a:gd name="T6" fmla="*/ 25 w 25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3">
                  <a:moveTo>
                    <a:pt x="25" y="23"/>
                  </a:moveTo>
                  <a:lnTo>
                    <a:pt x="25" y="0"/>
                  </a:lnTo>
                  <a:lnTo>
                    <a:pt x="0" y="0"/>
                  </a:lnTo>
                  <a:lnTo>
                    <a:pt x="25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gray">
            <a:xfrm>
              <a:off x="4373" y="2697"/>
              <a:ext cx="15" cy="26"/>
            </a:xfrm>
            <a:custGeom>
              <a:avLst/>
              <a:gdLst>
                <a:gd name="T0" fmla="*/ 0 w 29"/>
                <a:gd name="T1" fmla="*/ 52 h 52"/>
                <a:gd name="T2" fmla="*/ 29 w 29"/>
                <a:gd name="T3" fmla="*/ 23 h 52"/>
                <a:gd name="T4" fmla="*/ 29 w 29"/>
                <a:gd name="T5" fmla="*/ 0 h 52"/>
                <a:gd name="T6" fmla="*/ 0 w 29"/>
                <a:gd name="T7" fmla="*/ 23 h 52"/>
                <a:gd name="T8" fmla="*/ 0 w 29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2">
                  <a:moveTo>
                    <a:pt x="0" y="52"/>
                  </a:moveTo>
                  <a:lnTo>
                    <a:pt x="29" y="23"/>
                  </a:lnTo>
                  <a:lnTo>
                    <a:pt x="29" y="0"/>
                  </a:lnTo>
                  <a:lnTo>
                    <a:pt x="0" y="23"/>
                  </a:lnTo>
                  <a:lnTo>
                    <a:pt x="0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gray">
            <a:xfrm>
              <a:off x="4139" y="2488"/>
              <a:ext cx="144" cy="194"/>
            </a:xfrm>
            <a:custGeom>
              <a:avLst/>
              <a:gdLst>
                <a:gd name="T0" fmla="*/ 288 w 288"/>
                <a:gd name="T1" fmla="*/ 155 h 388"/>
                <a:gd name="T2" fmla="*/ 261 w 288"/>
                <a:gd name="T3" fmla="*/ 128 h 388"/>
                <a:gd name="T4" fmla="*/ 261 w 288"/>
                <a:gd name="T5" fmla="*/ 104 h 388"/>
                <a:gd name="T6" fmla="*/ 261 w 288"/>
                <a:gd name="T7" fmla="*/ 77 h 388"/>
                <a:gd name="T8" fmla="*/ 261 w 288"/>
                <a:gd name="T9" fmla="*/ 52 h 388"/>
                <a:gd name="T10" fmla="*/ 261 w 288"/>
                <a:gd name="T11" fmla="*/ 0 h 388"/>
                <a:gd name="T12" fmla="*/ 236 w 288"/>
                <a:gd name="T13" fmla="*/ 0 h 388"/>
                <a:gd name="T14" fmla="*/ 209 w 288"/>
                <a:gd name="T15" fmla="*/ 0 h 388"/>
                <a:gd name="T16" fmla="*/ 184 w 288"/>
                <a:gd name="T17" fmla="*/ 25 h 388"/>
                <a:gd name="T18" fmla="*/ 184 w 288"/>
                <a:gd name="T19" fmla="*/ 77 h 388"/>
                <a:gd name="T20" fmla="*/ 156 w 288"/>
                <a:gd name="T21" fmla="*/ 104 h 388"/>
                <a:gd name="T22" fmla="*/ 104 w 288"/>
                <a:gd name="T23" fmla="*/ 128 h 388"/>
                <a:gd name="T24" fmla="*/ 81 w 288"/>
                <a:gd name="T25" fmla="*/ 155 h 388"/>
                <a:gd name="T26" fmla="*/ 81 w 288"/>
                <a:gd name="T27" fmla="*/ 180 h 388"/>
                <a:gd name="T28" fmla="*/ 52 w 288"/>
                <a:gd name="T29" fmla="*/ 180 h 388"/>
                <a:gd name="T30" fmla="*/ 29 w 288"/>
                <a:gd name="T31" fmla="*/ 180 h 388"/>
                <a:gd name="T32" fmla="*/ 29 w 288"/>
                <a:gd name="T33" fmla="*/ 207 h 388"/>
                <a:gd name="T34" fmla="*/ 0 w 288"/>
                <a:gd name="T35" fmla="*/ 232 h 388"/>
                <a:gd name="T36" fmla="*/ 0 w 288"/>
                <a:gd name="T37" fmla="*/ 259 h 388"/>
                <a:gd name="T38" fmla="*/ 0 w 288"/>
                <a:gd name="T39" fmla="*/ 284 h 388"/>
                <a:gd name="T40" fmla="*/ 0 w 288"/>
                <a:gd name="T41" fmla="*/ 313 h 388"/>
                <a:gd name="T42" fmla="*/ 29 w 288"/>
                <a:gd name="T43" fmla="*/ 313 h 388"/>
                <a:gd name="T44" fmla="*/ 29 w 288"/>
                <a:gd name="T45" fmla="*/ 336 h 388"/>
                <a:gd name="T46" fmla="*/ 29 w 288"/>
                <a:gd name="T47" fmla="*/ 365 h 388"/>
                <a:gd name="T48" fmla="*/ 52 w 288"/>
                <a:gd name="T49" fmla="*/ 388 h 388"/>
                <a:gd name="T50" fmla="*/ 81 w 288"/>
                <a:gd name="T51" fmla="*/ 388 h 388"/>
                <a:gd name="T52" fmla="*/ 104 w 288"/>
                <a:gd name="T53" fmla="*/ 365 h 388"/>
                <a:gd name="T54" fmla="*/ 156 w 288"/>
                <a:gd name="T55" fmla="*/ 365 h 388"/>
                <a:gd name="T56" fmla="*/ 184 w 288"/>
                <a:gd name="T57" fmla="*/ 365 h 388"/>
                <a:gd name="T58" fmla="*/ 209 w 288"/>
                <a:gd name="T59" fmla="*/ 336 h 388"/>
                <a:gd name="T60" fmla="*/ 209 w 288"/>
                <a:gd name="T61" fmla="*/ 313 h 388"/>
                <a:gd name="T62" fmla="*/ 209 w 288"/>
                <a:gd name="T63" fmla="*/ 284 h 388"/>
                <a:gd name="T64" fmla="*/ 236 w 288"/>
                <a:gd name="T65" fmla="*/ 259 h 388"/>
                <a:gd name="T66" fmla="*/ 236 w 288"/>
                <a:gd name="T67" fmla="*/ 232 h 388"/>
                <a:gd name="T68" fmla="*/ 261 w 288"/>
                <a:gd name="T69" fmla="*/ 207 h 388"/>
                <a:gd name="T70" fmla="*/ 288 w 288"/>
                <a:gd name="T71" fmla="*/ 180 h 388"/>
                <a:gd name="T72" fmla="*/ 288 w 288"/>
                <a:gd name="T73" fmla="*/ 155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8" h="388">
                  <a:moveTo>
                    <a:pt x="288" y="155"/>
                  </a:moveTo>
                  <a:lnTo>
                    <a:pt x="261" y="128"/>
                  </a:lnTo>
                  <a:lnTo>
                    <a:pt x="261" y="104"/>
                  </a:lnTo>
                  <a:lnTo>
                    <a:pt x="261" y="77"/>
                  </a:lnTo>
                  <a:lnTo>
                    <a:pt x="261" y="52"/>
                  </a:lnTo>
                  <a:lnTo>
                    <a:pt x="261" y="0"/>
                  </a:lnTo>
                  <a:lnTo>
                    <a:pt x="236" y="0"/>
                  </a:lnTo>
                  <a:lnTo>
                    <a:pt x="209" y="0"/>
                  </a:lnTo>
                  <a:lnTo>
                    <a:pt x="184" y="25"/>
                  </a:lnTo>
                  <a:lnTo>
                    <a:pt x="184" y="77"/>
                  </a:lnTo>
                  <a:lnTo>
                    <a:pt x="156" y="104"/>
                  </a:lnTo>
                  <a:lnTo>
                    <a:pt x="104" y="128"/>
                  </a:lnTo>
                  <a:lnTo>
                    <a:pt x="81" y="155"/>
                  </a:lnTo>
                  <a:lnTo>
                    <a:pt x="81" y="180"/>
                  </a:lnTo>
                  <a:lnTo>
                    <a:pt x="52" y="180"/>
                  </a:lnTo>
                  <a:lnTo>
                    <a:pt x="29" y="180"/>
                  </a:lnTo>
                  <a:lnTo>
                    <a:pt x="29" y="207"/>
                  </a:lnTo>
                  <a:lnTo>
                    <a:pt x="0" y="232"/>
                  </a:lnTo>
                  <a:lnTo>
                    <a:pt x="0" y="259"/>
                  </a:lnTo>
                  <a:lnTo>
                    <a:pt x="0" y="284"/>
                  </a:lnTo>
                  <a:lnTo>
                    <a:pt x="0" y="313"/>
                  </a:lnTo>
                  <a:lnTo>
                    <a:pt x="29" y="313"/>
                  </a:lnTo>
                  <a:lnTo>
                    <a:pt x="29" y="336"/>
                  </a:lnTo>
                  <a:lnTo>
                    <a:pt x="29" y="365"/>
                  </a:lnTo>
                  <a:lnTo>
                    <a:pt x="52" y="388"/>
                  </a:lnTo>
                  <a:lnTo>
                    <a:pt x="81" y="388"/>
                  </a:lnTo>
                  <a:lnTo>
                    <a:pt x="104" y="365"/>
                  </a:lnTo>
                  <a:lnTo>
                    <a:pt x="156" y="365"/>
                  </a:lnTo>
                  <a:lnTo>
                    <a:pt x="184" y="365"/>
                  </a:lnTo>
                  <a:lnTo>
                    <a:pt x="209" y="336"/>
                  </a:lnTo>
                  <a:lnTo>
                    <a:pt x="209" y="313"/>
                  </a:lnTo>
                  <a:lnTo>
                    <a:pt x="209" y="284"/>
                  </a:lnTo>
                  <a:lnTo>
                    <a:pt x="236" y="259"/>
                  </a:lnTo>
                  <a:lnTo>
                    <a:pt x="236" y="232"/>
                  </a:lnTo>
                  <a:lnTo>
                    <a:pt x="261" y="207"/>
                  </a:lnTo>
                  <a:lnTo>
                    <a:pt x="288" y="180"/>
                  </a:lnTo>
                  <a:lnTo>
                    <a:pt x="288" y="155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gray">
            <a:xfrm>
              <a:off x="4231" y="2527"/>
              <a:ext cx="13" cy="26"/>
            </a:xfrm>
            <a:custGeom>
              <a:avLst/>
              <a:gdLst>
                <a:gd name="T0" fmla="*/ 0 w 25"/>
                <a:gd name="T1" fmla="*/ 51 h 51"/>
                <a:gd name="T2" fmla="*/ 0 w 25"/>
                <a:gd name="T3" fmla="*/ 27 h 51"/>
                <a:gd name="T4" fmla="*/ 25 w 25"/>
                <a:gd name="T5" fmla="*/ 0 h 51"/>
                <a:gd name="T6" fmla="*/ 0 w 25"/>
                <a:gd name="T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1">
                  <a:moveTo>
                    <a:pt x="0" y="51"/>
                  </a:moveTo>
                  <a:lnTo>
                    <a:pt x="0" y="27"/>
                  </a:lnTo>
                  <a:lnTo>
                    <a:pt x="25" y="0"/>
                  </a:lnTo>
                  <a:lnTo>
                    <a:pt x="0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8" name="Freeform 48"/>
            <p:cNvSpPr>
              <a:spLocks/>
            </p:cNvSpPr>
            <p:nvPr/>
          </p:nvSpPr>
          <p:spPr bwMode="gray">
            <a:xfrm>
              <a:off x="4355" y="2592"/>
              <a:ext cx="6" cy="13"/>
            </a:xfrm>
            <a:custGeom>
              <a:avLst/>
              <a:gdLst>
                <a:gd name="T0" fmla="*/ 11 w 11"/>
                <a:gd name="T1" fmla="*/ 0 h 25"/>
                <a:gd name="T2" fmla="*/ 0 w 11"/>
                <a:gd name="T3" fmla="*/ 21 h 25"/>
                <a:gd name="T4" fmla="*/ 11 w 11"/>
                <a:gd name="T5" fmla="*/ 25 h 25"/>
                <a:gd name="T6" fmla="*/ 11 w 11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0" y="21"/>
                  </a:lnTo>
                  <a:lnTo>
                    <a:pt x="11" y="25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gray">
            <a:xfrm>
              <a:off x="4367" y="2553"/>
              <a:ext cx="6" cy="13"/>
            </a:xfrm>
            <a:custGeom>
              <a:avLst/>
              <a:gdLst>
                <a:gd name="T0" fmla="*/ 11 w 11"/>
                <a:gd name="T1" fmla="*/ 0 h 27"/>
                <a:gd name="T2" fmla="*/ 0 w 11"/>
                <a:gd name="T3" fmla="*/ 27 h 27"/>
                <a:gd name="T4" fmla="*/ 11 w 11"/>
                <a:gd name="T5" fmla="*/ 27 h 27"/>
                <a:gd name="T6" fmla="*/ 11 w 11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7">
                  <a:moveTo>
                    <a:pt x="11" y="0"/>
                  </a:moveTo>
                  <a:lnTo>
                    <a:pt x="0" y="27"/>
                  </a:lnTo>
                  <a:lnTo>
                    <a:pt x="11" y="27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gray">
            <a:xfrm>
              <a:off x="4283" y="2566"/>
              <a:ext cx="84" cy="131"/>
            </a:xfrm>
            <a:custGeom>
              <a:avLst/>
              <a:gdLst>
                <a:gd name="T0" fmla="*/ 77 w 169"/>
                <a:gd name="T1" fmla="*/ 0 h 261"/>
                <a:gd name="T2" fmla="*/ 77 w 169"/>
                <a:gd name="T3" fmla="*/ 25 h 261"/>
                <a:gd name="T4" fmla="*/ 52 w 169"/>
                <a:gd name="T5" fmla="*/ 52 h 261"/>
                <a:gd name="T6" fmla="*/ 25 w 169"/>
                <a:gd name="T7" fmla="*/ 104 h 261"/>
                <a:gd name="T8" fmla="*/ 25 w 169"/>
                <a:gd name="T9" fmla="*/ 129 h 261"/>
                <a:gd name="T10" fmla="*/ 25 w 169"/>
                <a:gd name="T11" fmla="*/ 181 h 261"/>
                <a:gd name="T12" fmla="*/ 0 w 169"/>
                <a:gd name="T13" fmla="*/ 210 h 261"/>
                <a:gd name="T14" fmla="*/ 25 w 169"/>
                <a:gd name="T15" fmla="*/ 261 h 261"/>
                <a:gd name="T16" fmla="*/ 52 w 169"/>
                <a:gd name="T17" fmla="*/ 261 h 261"/>
                <a:gd name="T18" fmla="*/ 52 w 169"/>
                <a:gd name="T19" fmla="*/ 233 h 261"/>
                <a:gd name="T20" fmla="*/ 52 w 169"/>
                <a:gd name="T21" fmla="*/ 181 h 261"/>
                <a:gd name="T22" fmla="*/ 77 w 169"/>
                <a:gd name="T23" fmla="*/ 158 h 261"/>
                <a:gd name="T24" fmla="*/ 104 w 169"/>
                <a:gd name="T25" fmla="*/ 158 h 261"/>
                <a:gd name="T26" fmla="*/ 129 w 169"/>
                <a:gd name="T27" fmla="*/ 158 h 261"/>
                <a:gd name="T28" fmla="*/ 129 w 169"/>
                <a:gd name="T29" fmla="*/ 129 h 261"/>
                <a:gd name="T30" fmla="*/ 129 w 169"/>
                <a:gd name="T31" fmla="*/ 104 h 261"/>
                <a:gd name="T32" fmla="*/ 144 w 169"/>
                <a:gd name="T33" fmla="*/ 73 h 261"/>
                <a:gd name="T34" fmla="*/ 104 w 169"/>
                <a:gd name="T35" fmla="*/ 52 h 261"/>
                <a:gd name="T36" fmla="*/ 155 w 169"/>
                <a:gd name="T37" fmla="*/ 25 h 261"/>
                <a:gd name="T38" fmla="*/ 169 w 169"/>
                <a:gd name="T39" fmla="*/ 0 h 261"/>
                <a:gd name="T40" fmla="*/ 129 w 169"/>
                <a:gd name="T41" fmla="*/ 0 h 261"/>
                <a:gd name="T42" fmla="*/ 77 w 169"/>
                <a:gd name="T43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9" h="261">
                  <a:moveTo>
                    <a:pt x="77" y="0"/>
                  </a:moveTo>
                  <a:lnTo>
                    <a:pt x="77" y="25"/>
                  </a:lnTo>
                  <a:lnTo>
                    <a:pt x="52" y="52"/>
                  </a:lnTo>
                  <a:lnTo>
                    <a:pt x="25" y="104"/>
                  </a:lnTo>
                  <a:lnTo>
                    <a:pt x="25" y="129"/>
                  </a:lnTo>
                  <a:lnTo>
                    <a:pt x="25" y="181"/>
                  </a:lnTo>
                  <a:lnTo>
                    <a:pt x="0" y="210"/>
                  </a:lnTo>
                  <a:lnTo>
                    <a:pt x="25" y="261"/>
                  </a:lnTo>
                  <a:lnTo>
                    <a:pt x="52" y="261"/>
                  </a:lnTo>
                  <a:lnTo>
                    <a:pt x="52" y="233"/>
                  </a:lnTo>
                  <a:lnTo>
                    <a:pt x="52" y="181"/>
                  </a:lnTo>
                  <a:lnTo>
                    <a:pt x="77" y="158"/>
                  </a:lnTo>
                  <a:lnTo>
                    <a:pt x="104" y="158"/>
                  </a:lnTo>
                  <a:lnTo>
                    <a:pt x="129" y="158"/>
                  </a:lnTo>
                  <a:lnTo>
                    <a:pt x="129" y="129"/>
                  </a:lnTo>
                  <a:lnTo>
                    <a:pt x="129" y="104"/>
                  </a:lnTo>
                  <a:lnTo>
                    <a:pt x="144" y="73"/>
                  </a:lnTo>
                  <a:lnTo>
                    <a:pt x="104" y="52"/>
                  </a:lnTo>
                  <a:lnTo>
                    <a:pt x="155" y="25"/>
                  </a:lnTo>
                  <a:lnTo>
                    <a:pt x="169" y="0"/>
                  </a:lnTo>
                  <a:lnTo>
                    <a:pt x="129" y="0"/>
                  </a:lnTo>
                  <a:lnTo>
                    <a:pt x="77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1" name="Freeform 51"/>
            <p:cNvSpPr>
              <a:spLocks/>
            </p:cNvSpPr>
            <p:nvPr/>
          </p:nvSpPr>
          <p:spPr bwMode="gray">
            <a:xfrm>
              <a:off x="4425" y="2527"/>
              <a:ext cx="14" cy="26"/>
            </a:xfrm>
            <a:custGeom>
              <a:avLst/>
              <a:gdLst>
                <a:gd name="T0" fmla="*/ 29 w 29"/>
                <a:gd name="T1" fmla="*/ 27 h 51"/>
                <a:gd name="T2" fmla="*/ 29 w 29"/>
                <a:gd name="T3" fmla="*/ 0 h 51"/>
                <a:gd name="T4" fmla="*/ 0 w 29"/>
                <a:gd name="T5" fmla="*/ 27 h 51"/>
                <a:gd name="T6" fmla="*/ 0 w 29"/>
                <a:gd name="T7" fmla="*/ 51 h 51"/>
                <a:gd name="T8" fmla="*/ 29 w 29"/>
                <a:gd name="T9" fmla="*/ 51 h 51"/>
                <a:gd name="T10" fmla="*/ 29 w 29"/>
                <a:gd name="T11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51">
                  <a:moveTo>
                    <a:pt x="29" y="27"/>
                  </a:moveTo>
                  <a:lnTo>
                    <a:pt x="29" y="0"/>
                  </a:lnTo>
                  <a:lnTo>
                    <a:pt x="0" y="27"/>
                  </a:lnTo>
                  <a:lnTo>
                    <a:pt x="0" y="51"/>
                  </a:lnTo>
                  <a:lnTo>
                    <a:pt x="29" y="51"/>
                  </a:lnTo>
                  <a:lnTo>
                    <a:pt x="29" y="27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2" name="Freeform 52"/>
            <p:cNvSpPr>
              <a:spLocks/>
            </p:cNvSpPr>
            <p:nvPr/>
          </p:nvSpPr>
          <p:spPr bwMode="gray">
            <a:xfrm>
              <a:off x="4347" y="2411"/>
              <a:ext cx="67" cy="63"/>
            </a:xfrm>
            <a:custGeom>
              <a:avLst/>
              <a:gdLst>
                <a:gd name="T0" fmla="*/ 80 w 132"/>
                <a:gd name="T1" fmla="*/ 23 h 127"/>
                <a:gd name="T2" fmla="*/ 26 w 132"/>
                <a:gd name="T3" fmla="*/ 52 h 127"/>
                <a:gd name="T4" fmla="*/ 0 w 132"/>
                <a:gd name="T5" fmla="*/ 52 h 127"/>
                <a:gd name="T6" fmla="*/ 0 w 132"/>
                <a:gd name="T7" fmla="*/ 75 h 127"/>
                <a:gd name="T8" fmla="*/ 26 w 132"/>
                <a:gd name="T9" fmla="*/ 75 h 127"/>
                <a:gd name="T10" fmla="*/ 51 w 132"/>
                <a:gd name="T11" fmla="*/ 104 h 127"/>
                <a:gd name="T12" fmla="*/ 51 w 132"/>
                <a:gd name="T13" fmla="*/ 127 h 127"/>
                <a:gd name="T14" fmla="*/ 103 w 132"/>
                <a:gd name="T15" fmla="*/ 104 h 127"/>
                <a:gd name="T16" fmla="*/ 132 w 132"/>
                <a:gd name="T17" fmla="*/ 52 h 127"/>
                <a:gd name="T18" fmla="*/ 132 w 132"/>
                <a:gd name="T19" fmla="*/ 23 h 127"/>
                <a:gd name="T20" fmla="*/ 132 w 132"/>
                <a:gd name="T21" fmla="*/ 0 h 127"/>
                <a:gd name="T22" fmla="*/ 103 w 132"/>
                <a:gd name="T23" fmla="*/ 0 h 127"/>
                <a:gd name="T24" fmla="*/ 80 w 132"/>
                <a:gd name="T25" fmla="*/ 2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27">
                  <a:moveTo>
                    <a:pt x="80" y="23"/>
                  </a:moveTo>
                  <a:lnTo>
                    <a:pt x="26" y="52"/>
                  </a:lnTo>
                  <a:lnTo>
                    <a:pt x="0" y="52"/>
                  </a:lnTo>
                  <a:lnTo>
                    <a:pt x="0" y="75"/>
                  </a:lnTo>
                  <a:lnTo>
                    <a:pt x="26" y="75"/>
                  </a:lnTo>
                  <a:lnTo>
                    <a:pt x="51" y="104"/>
                  </a:lnTo>
                  <a:lnTo>
                    <a:pt x="51" y="127"/>
                  </a:lnTo>
                  <a:lnTo>
                    <a:pt x="103" y="104"/>
                  </a:lnTo>
                  <a:lnTo>
                    <a:pt x="132" y="52"/>
                  </a:lnTo>
                  <a:lnTo>
                    <a:pt x="132" y="23"/>
                  </a:lnTo>
                  <a:lnTo>
                    <a:pt x="132" y="0"/>
                  </a:lnTo>
                  <a:lnTo>
                    <a:pt x="103" y="0"/>
                  </a:lnTo>
                  <a:lnTo>
                    <a:pt x="80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3" name="Freeform 53"/>
            <p:cNvSpPr>
              <a:spLocks/>
            </p:cNvSpPr>
            <p:nvPr/>
          </p:nvSpPr>
          <p:spPr bwMode="gray">
            <a:xfrm>
              <a:off x="4335" y="2448"/>
              <a:ext cx="12" cy="15"/>
            </a:xfrm>
            <a:custGeom>
              <a:avLst/>
              <a:gdLst>
                <a:gd name="T0" fmla="*/ 25 w 25"/>
                <a:gd name="T1" fmla="*/ 29 h 29"/>
                <a:gd name="T2" fmla="*/ 25 w 25"/>
                <a:gd name="T3" fmla="*/ 0 h 29"/>
                <a:gd name="T4" fmla="*/ 0 w 25"/>
                <a:gd name="T5" fmla="*/ 29 h 29"/>
                <a:gd name="T6" fmla="*/ 25 w 25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9">
                  <a:moveTo>
                    <a:pt x="25" y="29"/>
                  </a:moveTo>
                  <a:lnTo>
                    <a:pt x="25" y="0"/>
                  </a:lnTo>
                  <a:lnTo>
                    <a:pt x="0" y="29"/>
                  </a:lnTo>
                  <a:lnTo>
                    <a:pt x="25" y="29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4" name="Freeform 54"/>
            <p:cNvSpPr>
              <a:spLocks/>
            </p:cNvSpPr>
            <p:nvPr/>
          </p:nvSpPr>
          <p:spPr bwMode="gray">
            <a:xfrm>
              <a:off x="4295" y="2267"/>
              <a:ext cx="40" cy="92"/>
            </a:xfrm>
            <a:custGeom>
              <a:avLst/>
              <a:gdLst>
                <a:gd name="T0" fmla="*/ 27 w 79"/>
                <a:gd name="T1" fmla="*/ 0 h 184"/>
                <a:gd name="T2" fmla="*/ 27 w 79"/>
                <a:gd name="T3" fmla="*/ 26 h 184"/>
                <a:gd name="T4" fmla="*/ 27 w 79"/>
                <a:gd name="T5" fmla="*/ 51 h 184"/>
                <a:gd name="T6" fmla="*/ 27 w 79"/>
                <a:gd name="T7" fmla="*/ 78 h 184"/>
                <a:gd name="T8" fmla="*/ 0 w 79"/>
                <a:gd name="T9" fmla="*/ 132 h 184"/>
                <a:gd name="T10" fmla="*/ 0 w 79"/>
                <a:gd name="T11" fmla="*/ 155 h 184"/>
                <a:gd name="T12" fmla="*/ 27 w 79"/>
                <a:gd name="T13" fmla="*/ 184 h 184"/>
                <a:gd name="T14" fmla="*/ 52 w 79"/>
                <a:gd name="T15" fmla="*/ 155 h 184"/>
                <a:gd name="T16" fmla="*/ 52 w 79"/>
                <a:gd name="T17" fmla="*/ 132 h 184"/>
                <a:gd name="T18" fmla="*/ 52 w 79"/>
                <a:gd name="T19" fmla="*/ 103 h 184"/>
                <a:gd name="T20" fmla="*/ 79 w 79"/>
                <a:gd name="T21" fmla="*/ 78 h 184"/>
                <a:gd name="T22" fmla="*/ 79 w 79"/>
                <a:gd name="T23" fmla="*/ 51 h 184"/>
                <a:gd name="T24" fmla="*/ 79 w 79"/>
                <a:gd name="T25" fmla="*/ 26 h 184"/>
                <a:gd name="T26" fmla="*/ 52 w 79"/>
                <a:gd name="T27" fmla="*/ 0 h 184"/>
                <a:gd name="T28" fmla="*/ 27 w 79"/>
                <a:gd name="T2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84">
                  <a:moveTo>
                    <a:pt x="27" y="0"/>
                  </a:moveTo>
                  <a:lnTo>
                    <a:pt x="27" y="26"/>
                  </a:lnTo>
                  <a:lnTo>
                    <a:pt x="27" y="51"/>
                  </a:lnTo>
                  <a:lnTo>
                    <a:pt x="27" y="78"/>
                  </a:lnTo>
                  <a:lnTo>
                    <a:pt x="0" y="132"/>
                  </a:lnTo>
                  <a:lnTo>
                    <a:pt x="0" y="155"/>
                  </a:lnTo>
                  <a:lnTo>
                    <a:pt x="27" y="184"/>
                  </a:lnTo>
                  <a:lnTo>
                    <a:pt x="52" y="155"/>
                  </a:lnTo>
                  <a:lnTo>
                    <a:pt x="52" y="132"/>
                  </a:lnTo>
                  <a:lnTo>
                    <a:pt x="52" y="103"/>
                  </a:lnTo>
                  <a:lnTo>
                    <a:pt x="79" y="78"/>
                  </a:lnTo>
                  <a:lnTo>
                    <a:pt x="79" y="51"/>
                  </a:lnTo>
                  <a:lnTo>
                    <a:pt x="79" y="26"/>
                  </a:lnTo>
                  <a:lnTo>
                    <a:pt x="52" y="0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gray">
            <a:xfrm>
              <a:off x="2409" y="1421"/>
              <a:ext cx="92" cy="182"/>
            </a:xfrm>
            <a:custGeom>
              <a:avLst/>
              <a:gdLst>
                <a:gd name="T0" fmla="*/ 81 w 185"/>
                <a:gd name="T1" fmla="*/ 207 h 362"/>
                <a:gd name="T2" fmla="*/ 81 w 185"/>
                <a:gd name="T3" fmla="*/ 234 h 362"/>
                <a:gd name="T4" fmla="*/ 52 w 185"/>
                <a:gd name="T5" fmla="*/ 234 h 362"/>
                <a:gd name="T6" fmla="*/ 29 w 185"/>
                <a:gd name="T7" fmla="*/ 288 h 362"/>
                <a:gd name="T8" fmla="*/ 29 w 185"/>
                <a:gd name="T9" fmla="*/ 311 h 362"/>
                <a:gd name="T10" fmla="*/ 29 w 185"/>
                <a:gd name="T11" fmla="*/ 339 h 362"/>
                <a:gd name="T12" fmla="*/ 0 w 185"/>
                <a:gd name="T13" fmla="*/ 339 h 362"/>
                <a:gd name="T14" fmla="*/ 0 w 185"/>
                <a:gd name="T15" fmla="*/ 362 h 362"/>
                <a:gd name="T16" fmla="*/ 29 w 185"/>
                <a:gd name="T17" fmla="*/ 362 h 362"/>
                <a:gd name="T18" fmla="*/ 81 w 185"/>
                <a:gd name="T19" fmla="*/ 339 h 362"/>
                <a:gd name="T20" fmla="*/ 81 w 185"/>
                <a:gd name="T21" fmla="*/ 362 h 362"/>
                <a:gd name="T22" fmla="*/ 133 w 185"/>
                <a:gd name="T23" fmla="*/ 362 h 362"/>
                <a:gd name="T24" fmla="*/ 133 w 185"/>
                <a:gd name="T25" fmla="*/ 339 h 362"/>
                <a:gd name="T26" fmla="*/ 156 w 185"/>
                <a:gd name="T27" fmla="*/ 362 h 362"/>
                <a:gd name="T28" fmla="*/ 156 w 185"/>
                <a:gd name="T29" fmla="*/ 339 h 362"/>
                <a:gd name="T30" fmla="*/ 185 w 185"/>
                <a:gd name="T31" fmla="*/ 339 h 362"/>
                <a:gd name="T32" fmla="*/ 156 w 185"/>
                <a:gd name="T33" fmla="*/ 311 h 362"/>
                <a:gd name="T34" fmla="*/ 185 w 185"/>
                <a:gd name="T35" fmla="*/ 311 h 362"/>
                <a:gd name="T36" fmla="*/ 185 w 185"/>
                <a:gd name="T37" fmla="*/ 288 h 362"/>
                <a:gd name="T38" fmla="*/ 156 w 185"/>
                <a:gd name="T39" fmla="*/ 259 h 362"/>
                <a:gd name="T40" fmla="*/ 156 w 185"/>
                <a:gd name="T41" fmla="*/ 234 h 362"/>
                <a:gd name="T42" fmla="*/ 133 w 185"/>
                <a:gd name="T43" fmla="*/ 207 h 362"/>
                <a:gd name="T44" fmla="*/ 156 w 185"/>
                <a:gd name="T45" fmla="*/ 182 h 362"/>
                <a:gd name="T46" fmla="*/ 133 w 185"/>
                <a:gd name="T47" fmla="*/ 182 h 362"/>
                <a:gd name="T48" fmla="*/ 104 w 185"/>
                <a:gd name="T49" fmla="*/ 182 h 362"/>
                <a:gd name="T50" fmla="*/ 133 w 185"/>
                <a:gd name="T51" fmla="*/ 155 h 362"/>
                <a:gd name="T52" fmla="*/ 104 w 185"/>
                <a:gd name="T53" fmla="*/ 155 h 362"/>
                <a:gd name="T54" fmla="*/ 104 w 185"/>
                <a:gd name="T55" fmla="*/ 130 h 362"/>
                <a:gd name="T56" fmla="*/ 81 w 185"/>
                <a:gd name="T57" fmla="*/ 103 h 362"/>
                <a:gd name="T58" fmla="*/ 104 w 185"/>
                <a:gd name="T59" fmla="*/ 52 h 362"/>
                <a:gd name="T60" fmla="*/ 81 w 185"/>
                <a:gd name="T61" fmla="*/ 52 h 362"/>
                <a:gd name="T62" fmla="*/ 81 w 185"/>
                <a:gd name="T63" fmla="*/ 27 h 362"/>
                <a:gd name="T64" fmla="*/ 52 w 185"/>
                <a:gd name="T65" fmla="*/ 27 h 362"/>
                <a:gd name="T66" fmla="*/ 81 w 185"/>
                <a:gd name="T67" fmla="*/ 0 h 362"/>
                <a:gd name="T68" fmla="*/ 29 w 185"/>
                <a:gd name="T69" fmla="*/ 0 h 362"/>
                <a:gd name="T70" fmla="*/ 29 w 185"/>
                <a:gd name="T71" fmla="*/ 27 h 362"/>
                <a:gd name="T72" fmla="*/ 29 w 185"/>
                <a:gd name="T73" fmla="*/ 52 h 362"/>
                <a:gd name="T74" fmla="*/ 29 w 185"/>
                <a:gd name="T75" fmla="*/ 78 h 362"/>
                <a:gd name="T76" fmla="*/ 0 w 185"/>
                <a:gd name="T77" fmla="*/ 78 h 362"/>
                <a:gd name="T78" fmla="*/ 0 w 185"/>
                <a:gd name="T79" fmla="*/ 103 h 362"/>
                <a:gd name="T80" fmla="*/ 29 w 185"/>
                <a:gd name="T81" fmla="*/ 103 h 362"/>
                <a:gd name="T82" fmla="*/ 29 w 185"/>
                <a:gd name="T83" fmla="*/ 130 h 362"/>
                <a:gd name="T84" fmla="*/ 29 w 185"/>
                <a:gd name="T85" fmla="*/ 155 h 362"/>
                <a:gd name="T86" fmla="*/ 52 w 185"/>
                <a:gd name="T87" fmla="*/ 182 h 362"/>
                <a:gd name="T88" fmla="*/ 81 w 185"/>
                <a:gd name="T89" fmla="*/ 207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362">
                  <a:moveTo>
                    <a:pt x="81" y="207"/>
                  </a:moveTo>
                  <a:lnTo>
                    <a:pt x="81" y="234"/>
                  </a:lnTo>
                  <a:lnTo>
                    <a:pt x="52" y="234"/>
                  </a:lnTo>
                  <a:lnTo>
                    <a:pt x="29" y="288"/>
                  </a:lnTo>
                  <a:lnTo>
                    <a:pt x="29" y="311"/>
                  </a:lnTo>
                  <a:lnTo>
                    <a:pt x="29" y="339"/>
                  </a:lnTo>
                  <a:lnTo>
                    <a:pt x="0" y="339"/>
                  </a:lnTo>
                  <a:lnTo>
                    <a:pt x="0" y="362"/>
                  </a:lnTo>
                  <a:lnTo>
                    <a:pt x="29" y="362"/>
                  </a:lnTo>
                  <a:lnTo>
                    <a:pt x="81" y="339"/>
                  </a:lnTo>
                  <a:lnTo>
                    <a:pt x="81" y="362"/>
                  </a:lnTo>
                  <a:lnTo>
                    <a:pt x="133" y="362"/>
                  </a:lnTo>
                  <a:lnTo>
                    <a:pt x="133" y="339"/>
                  </a:lnTo>
                  <a:lnTo>
                    <a:pt x="156" y="362"/>
                  </a:lnTo>
                  <a:lnTo>
                    <a:pt x="156" y="339"/>
                  </a:lnTo>
                  <a:lnTo>
                    <a:pt x="185" y="339"/>
                  </a:lnTo>
                  <a:lnTo>
                    <a:pt x="156" y="311"/>
                  </a:lnTo>
                  <a:lnTo>
                    <a:pt x="185" y="311"/>
                  </a:lnTo>
                  <a:lnTo>
                    <a:pt x="185" y="288"/>
                  </a:lnTo>
                  <a:lnTo>
                    <a:pt x="156" y="259"/>
                  </a:lnTo>
                  <a:lnTo>
                    <a:pt x="156" y="234"/>
                  </a:lnTo>
                  <a:lnTo>
                    <a:pt x="133" y="207"/>
                  </a:lnTo>
                  <a:lnTo>
                    <a:pt x="156" y="182"/>
                  </a:lnTo>
                  <a:lnTo>
                    <a:pt x="133" y="182"/>
                  </a:lnTo>
                  <a:lnTo>
                    <a:pt x="104" y="182"/>
                  </a:lnTo>
                  <a:lnTo>
                    <a:pt x="133" y="155"/>
                  </a:lnTo>
                  <a:lnTo>
                    <a:pt x="104" y="155"/>
                  </a:lnTo>
                  <a:lnTo>
                    <a:pt x="104" y="130"/>
                  </a:lnTo>
                  <a:lnTo>
                    <a:pt x="81" y="103"/>
                  </a:lnTo>
                  <a:lnTo>
                    <a:pt x="104" y="52"/>
                  </a:lnTo>
                  <a:lnTo>
                    <a:pt x="81" y="52"/>
                  </a:lnTo>
                  <a:lnTo>
                    <a:pt x="81" y="27"/>
                  </a:lnTo>
                  <a:lnTo>
                    <a:pt x="52" y="27"/>
                  </a:lnTo>
                  <a:lnTo>
                    <a:pt x="81" y="0"/>
                  </a:lnTo>
                  <a:lnTo>
                    <a:pt x="29" y="0"/>
                  </a:lnTo>
                  <a:lnTo>
                    <a:pt x="29" y="27"/>
                  </a:lnTo>
                  <a:lnTo>
                    <a:pt x="29" y="52"/>
                  </a:lnTo>
                  <a:lnTo>
                    <a:pt x="29" y="78"/>
                  </a:lnTo>
                  <a:lnTo>
                    <a:pt x="0" y="78"/>
                  </a:lnTo>
                  <a:lnTo>
                    <a:pt x="0" y="103"/>
                  </a:lnTo>
                  <a:lnTo>
                    <a:pt x="29" y="103"/>
                  </a:lnTo>
                  <a:lnTo>
                    <a:pt x="29" y="130"/>
                  </a:lnTo>
                  <a:lnTo>
                    <a:pt x="29" y="155"/>
                  </a:lnTo>
                  <a:lnTo>
                    <a:pt x="52" y="182"/>
                  </a:lnTo>
                  <a:lnTo>
                    <a:pt x="81" y="207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6" name="Freeform 56"/>
            <p:cNvSpPr>
              <a:spLocks/>
            </p:cNvSpPr>
            <p:nvPr/>
          </p:nvSpPr>
          <p:spPr bwMode="gray">
            <a:xfrm>
              <a:off x="2345" y="1487"/>
              <a:ext cx="79" cy="78"/>
            </a:xfrm>
            <a:custGeom>
              <a:avLst/>
              <a:gdLst>
                <a:gd name="T0" fmla="*/ 25 w 157"/>
                <a:gd name="T1" fmla="*/ 158 h 158"/>
                <a:gd name="T2" fmla="*/ 76 w 157"/>
                <a:gd name="T3" fmla="*/ 158 h 158"/>
                <a:gd name="T4" fmla="*/ 105 w 157"/>
                <a:gd name="T5" fmla="*/ 129 h 158"/>
                <a:gd name="T6" fmla="*/ 105 w 157"/>
                <a:gd name="T7" fmla="*/ 158 h 158"/>
                <a:gd name="T8" fmla="*/ 128 w 157"/>
                <a:gd name="T9" fmla="*/ 158 h 158"/>
                <a:gd name="T10" fmla="*/ 128 w 157"/>
                <a:gd name="T11" fmla="*/ 104 h 158"/>
                <a:gd name="T12" fmla="*/ 128 w 157"/>
                <a:gd name="T13" fmla="*/ 77 h 158"/>
                <a:gd name="T14" fmla="*/ 157 w 157"/>
                <a:gd name="T15" fmla="*/ 52 h 158"/>
                <a:gd name="T16" fmla="*/ 157 w 157"/>
                <a:gd name="T17" fmla="*/ 25 h 158"/>
                <a:gd name="T18" fmla="*/ 128 w 157"/>
                <a:gd name="T19" fmla="*/ 25 h 158"/>
                <a:gd name="T20" fmla="*/ 105 w 157"/>
                <a:gd name="T21" fmla="*/ 0 h 158"/>
                <a:gd name="T22" fmla="*/ 105 w 157"/>
                <a:gd name="T23" fmla="*/ 25 h 158"/>
                <a:gd name="T24" fmla="*/ 76 w 157"/>
                <a:gd name="T25" fmla="*/ 25 h 158"/>
                <a:gd name="T26" fmla="*/ 53 w 157"/>
                <a:gd name="T27" fmla="*/ 25 h 158"/>
                <a:gd name="T28" fmla="*/ 25 w 157"/>
                <a:gd name="T29" fmla="*/ 52 h 158"/>
                <a:gd name="T30" fmla="*/ 53 w 157"/>
                <a:gd name="T31" fmla="*/ 77 h 158"/>
                <a:gd name="T32" fmla="*/ 25 w 157"/>
                <a:gd name="T33" fmla="*/ 77 h 158"/>
                <a:gd name="T34" fmla="*/ 53 w 157"/>
                <a:gd name="T35" fmla="*/ 104 h 158"/>
                <a:gd name="T36" fmla="*/ 0 w 157"/>
                <a:gd name="T37" fmla="*/ 129 h 158"/>
                <a:gd name="T38" fmla="*/ 25 w 157"/>
                <a:gd name="T3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7" h="158">
                  <a:moveTo>
                    <a:pt x="25" y="158"/>
                  </a:moveTo>
                  <a:lnTo>
                    <a:pt x="76" y="158"/>
                  </a:lnTo>
                  <a:lnTo>
                    <a:pt x="105" y="129"/>
                  </a:lnTo>
                  <a:lnTo>
                    <a:pt x="105" y="158"/>
                  </a:lnTo>
                  <a:lnTo>
                    <a:pt x="128" y="158"/>
                  </a:lnTo>
                  <a:lnTo>
                    <a:pt x="128" y="104"/>
                  </a:lnTo>
                  <a:lnTo>
                    <a:pt x="128" y="77"/>
                  </a:lnTo>
                  <a:lnTo>
                    <a:pt x="157" y="52"/>
                  </a:lnTo>
                  <a:lnTo>
                    <a:pt x="157" y="25"/>
                  </a:lnTo>
                  <a:lnTo>
                    <a:pt x="128" y="25"/>
                  </a:lnTo>
                  <a:lnTo>
                    <a:pt x="105" y="0"/>
                  </a:lnTo>
                  <a:lnTo>
                    <a:pt x="105" y="25"/>
                  </a:lnTo>
                  <a:lnTo>
                    <a:pt x="76" y="25"/>
                  </a:lnTo>
                  <a:lnTo>
                    <a:pt x="53" y="25"/>
                  </a:lnTo>
                  <a:lnTo>
                    <a:pt x="25" y="52"/>
                  </a:lnTo>
                  <a:lnTo>
                    <a:pt x="53" y="77"/>
                  </a:lnTo>
                  <a:lnTo>
                    <a:pt x="25" y="77"/>
                  </a:lnTo>
                  <a:lnTo>
                    <a:pt x="53" y="104"/>
                  </a:lnTo>
                  <a:lnTo>
                    <a:pt x="0" y="129"/>
                  </a:lnTo>
                  <a:lnTo>
                    <a:pt x="25" y="158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7" name="Freeform 57"/>
            <p:cNvSpPr>
              <a:spLocks/>
            </p:cNvSpPr>
            <p:nvPr/>
          </p:nvSpPr>
          <p:spPr bwMode="gray">
            <a:xfrm>
              <a:off x="4477" y="1487"/>
              <a:ext cx="66" cy="222"/>
            </a:xfrm>
            <a:custGeom>
              <a:avLst/>
              <a:gdLst>
                <a:gd name="T0" fmla="*/ 80 w 132"/>
                <a:gd name="T1" fmla="*/ 417 h 445"/>
                <a:gd name="T2" fmla="*/ 80 w 132"/>
                <a:gd name="T3" fmla="*/ 445 h 445"/>
                <a:gd name="T4" fmla="*/ 109 w 132"/>
                <a:gd name="T5" fmla="*/ 417 h 445"/>
                <a:gd name="T6" fmla="*/ 132 w 132"/>
                <a:gd name="T7" fmla="*/ 445 h 445"/>
                <a:gd name="T8" fmla="*/ 132 w 132"/>
                <a:gd name="T9" fmla="*/ 417 h 445"/>
                <a:gd name="T10" fmla="*/ 109 w 132"/>
                <a:gd name="T11" fmla="*/ 388 h 445"/>
                <a:gd name="T12" fmla="*/ 80 w 132"/>
                <a:gd name="T13" fmla="*/ 261 h 445"/>
                <a:gd name="T14" fmla="*/ 109 w 132"/>
                <a:gd name="T15" fmla="*/ 261 h 445"/>
                <a:gd name="T16" fmla="*/ 109 w 132"/>
                <a:gd name="T17" fmla="*/ 232 h 445"/>
                <a:gd name="T18" fmla="*/ 52 w 132"/>
                <a:gd name="T19" fmla="*/ 181 h 445"/>
                <a:gd name="T20" fmla="*/ 52 w 132"/>
                <a:gd name="T21" fmla="*/ 77 h 445"/>
                <a:gd name="T22" fmla="*/ 29 w 132"/>
                <a:gd name="T23" fmla="*/ 25 h 445"/>
                <a:gd name="T24" fmla="*/ 0 w 132"/>
                <a:gd name="T25" fmla="*/ 0 h 445"/>
                <a:gd name="T26" fmla="*/ 29 w 132"/>
                <a:gd name="T27" fmla="*/ 52 h 445"/>
                <a:gd name="T28" fmla="*/ 29 w 132"/>
                <a:gd name="T29" fmla="*/ 129 h 445"/>
                <a:gd name="T30" fmla="*/ 52 w 132"/>
                <a:gd name="T31" fmla="*/ 313 h 445"/>
                <a:gd name="T32" fmla="*/ 80 w 132"/>
                <a:gd name="T33" fmla="*/ 417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445">
                  <a:moveTo>
                    <a:pt x="80" y="417"/>
                  </a:moveTo>
                  <a:lnTo>
                    <a:pt x="80" y="445"/>
                  </a:lnTo>
                  <a:lnTo>
                    <a:pt x="109" y="417"/>
                  </a:lnTo>
                  <a:lnTo>
                    <a:pt x="132" y="445"/>
                  </a:lnTo>
                  <a:lnTo>
                    <a:pt x="132" y="417"/>
                  </a:lnTo>
                  <a:lnTo>
                    <a:pt x="109" y="388"/>
                  </a:lnTo>
                  <a:lnTo>
                    <a:pt x="80" y="261"/>
                  </a:lnTo>
                  <a:lnTo>
                    <a:pt x="109" y="261"/>
                  </a:lnTo>
                  <a:lnTo>
                    <a:pt x="109" y="232"/>
                  </a:lnTo>
                  <a:lnTo>
                    <a:pt x="52" y="181"/>
                  </a:lnTo>
                  <a:lnTo>
                    <a:pt x="52" y="77"/>
                  </a:lnTo>
                  <a:lnTo>
                    <a:pt x="29" y="25"/>
                  </a:lnTo>
                  <a:lnTo>
                    <a:pt x="0" y="0"/>
                  </a:lnTo>
                  <a:lnTo>
                    <a:pt x="29" y="52"/>
                  </a:lnTo>
                  <a:lnTo>
                    <a:pt x="29" y="129"/>
                  </a:lnTo>
                  <a:lnTo>
                    <a:pt x="52" y="313"/>
                  </a:lnTo>
                  <a:lnTo>
                    <a:pt x="80" y="417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8" name="Freeform 58"/>
            <p:cNvSpPr>
              <a:spLocks/>
            </p:cNvSpPr>
            <p:nvPr/>
          </p:nvSpPr>
          <p:spPr bwMode="gray">
            <a:xfrm>
              <a:off x="4532" y="1721"/>
              <a:ext cx="77" cy="77"/>
            </a:xfrm>
            <a:custGeom>
              <a:avLst/>
              <a:gdLst>
                <a:gd name="T0" fmla="*/ 75 w 156"/>
                <a:gd name="T1" fmla="*/ 51 h 155"/>
                <a:gd name="T2" fmla="*/ 0 w 156"/>
                <a:gd name="T3" fmla="*/ 0 h 155"/>
                <a:gd name="T4" fmla="*/ 0 w 156"/>
                <a:gd name="T5" fmla="*/ 51 h 155"/>
                <a:gd name="T6" fmla="*/ 0 w 156"/>
                <a:gd name="T7" fmla="*/ 155 h 155"/>
                <a:gd name="T8" fmla="*/ 23 w 156"/>
                <a:gd name="T9" fmla="*/ 132 h 155"/>
                <a:gd name="T10" fmla="*/ 75 w 156"/>
                <a:gd name="T11" fmla="*/ 155 h 155"/>
                <a:gd name="T12" fmla="*/ 75 w 156"/>
                <a:gd name="T13" fmla="*/ 132 h 155"/>
                <a:gd name="T14" fmla="*/ 156 w 156"/>
                <a:gd name="T15" fmla="*/ 76 h 155"/>
                <a:gd name="T16" fmla="*/ 127 w 156"/>
                <a:gd name="T17" fmla="*/ 51 h 155"/>
                <a:gd name="T18" fmla="*/ 75 w 156"/>
                <a:gd name="T19" fmla="*/ 5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5">
                  <a:moveTo>
                    <a:pt x="75" y="51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0" y="155"/>
                  </a:lnTo>
                  <a:lnTo>
                    <a:pt x="23" y="132"/>
                  </a:lnTo>
                  <a:lnTo>
                    <a:pt x="75" y="155"/>
                  </a:lnTo>
                  <a:lnTo>
                    <a:pt x="75" y="132"/>
                  </a:lnTo>
                  <a:lnTo>
                    <a:pt x="156" y="76"/>
                  </a:lnTo>
                  <a:lnTo>
                    <a:pt x="127" y="51"/>
                  </a:lnTo>
                  <a:lnTo>
                    <a:pt x="75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59" name="Freeform 59"/>
            <p:cNvSpPr>
              <a:spLocks/>
            </p:cNvSpPr>
            <p:nvPr/>
          </p:nvSpPr>
          <p:spPr bwMode="gray">
            <a:xfrm>
              <a:off x="4425" y="1811"/>
              <a:ext cx="131" cy="170"/>
            </a:xfrm>
            <a:custGeom>
              <a:avLst/>
              <a:gdLst>
                <a:gd name="T0" fmla="*/ 213 w 261"/>
                <a:gd name="T1" fmla="*/ 0 h 340"/>
                <a:gd name="T2" fmla="*/ 184 w 261"/>
                <a:gd name="T3" fmla="*/ 132 h 340"/>
                <a:gd name="T4" fmla="*/ 184 w 261"/>
                <a:gd name="T5" fmla="*/ 155 h 340"/>
                <a:gd name="T6" fmla="*/ 104 w 261"/>
                <a:gd name="T7" fmla="*/ 236 h 340"/>
                <a:gd name="T8" fmla="*/ 104 w 261"/>
                <a:gd name="T9" fmla="*/ 263 h 340"/>
                <a:gd name="T10" fmla="*/ 29 w 261"/>
                <a:gd name="T11" fmla="*/ 288 h 340"/>
                <a:gd name="T12" fmla="*/ 0 w 261"/>
                <a:gd name="T13" fmla="*/ 315 h 340"/>
                <a:gd name="T14" fmla="*/ 29 w 261"/>
                <a:gd name="T15" fmla="*/ 340 h 340"/>
                <a:gd name="T16" fmla="*/ 56 w 261"/>
                <a:gd name="T17" fmla="*/ 315 h 340"/>
                <a:gd name="T18" fmla="*/ 81 w 261"/>
                <a:gd name="T19" fmla="*/ 315 h 340"/>
                <a:gd name="T20" fmla="*/ 104 w 261"/>
                <a:gd name="T21" fmla="*/ 315 h 340"/>
                <a:gd name="T22" fmla="*/ 133 w 261"/>
                <a:gd name="T23" fmla="*/ 340 h 340"/>
                <a:gd name="T24" fmla="*/ 156 w 261"/>
                <a:gd name="T25" fmla="*/ 340 h 340"/>
                <a:gd name="T26" fmla="*/ 156 w 261"/>
                <a:gd name="T27" fmla="*/ 315 h 340"/>
                <a:gd name="T28" fmla="*/ 184 w 261"/>
                <a:gd name="T29" fmla="*/ 315 h 340"/>
                <a:gd name="T30" fmla="*/ 184 w 261"/>
                <a:gd name="T31" fmla="*/ 288 h 340"/>
                <a:gd name="T32" fmla="*/ 236 w 261"/>
                <a:gd name="T33" fmla="*/ 288 h 340"/>
                <a:gd name="T34" fmla="*/ 236 w 261"/>
                <a:gd name="T35" fmla="*/ 263 h 340"/>
                <a:gd name="T36" fmla="*/ 261 w 261"/>
                <a:gd name="T37" fmla="*/ 288 h 340"/>
                <a:gd name="T38" fmla="*/ 261 w 261"/>
                <a:gd name="T39" fmla="*/ 207 h 340"/>
                <a:gd name="T40" fmla="*/ 236 w 261"/>
                <a:gd name="T41" fmla="*/ 155 h 340"/>
                <a:gd name="T42" fmla="*/ 261 w 261"/>
                <a:gd name="T43" fmla="*/ 132 h 340"/>
                <a:gd name="T44" fmla="*/ 261 w 261"/>
                <a:gd name="T45" fmla="*/ 107 h 340"/>
                <a:gd name="T46" fmla="*/ 261 w 261"/>
                <a:gd name="T47" fmla="*/ 79 h 340"/>
                <a:gd name="T48" fmla="*/ 236 w 261"/>
                <a:gd name="T49" fmla="*/ 27 h 340"/>
                <a:gd name="T50" fmla="*/ 213 w 261"/>
                <a:gd name="T51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1" h="340">
                  <a:moveTo>
                    <a:pt x="213" y="0"/>
                  </a:moveTo>
                  <a:lnTo>
                    <a:pt x="184" y="132"/>
                  </a:lnTo>
                  <a:lnTo>
                    <a:pt x="184" y="155"/>
                  </a:lnTo>
                  <a:lnTo>
                    <a:pt x="104" y="236"/>
                  </a:lnTo>
                  <a:lnTo>
                    <a:pt x="104" y="263"/>
                  </a:lnTo>
                  <a:lnTo>
                    <a:pt x="29" y="288"/>
                  </a:lnTo>
                  <a:lnTo>
                    <a:pt x="0" y="315"/>
                  </a:lnTo>
                  <a:lnTo>
                    <a:pt x="29" y="340"/>
                  </a:lnTo>
                  <a:lnTo>
                    <a:pt x="56" y="315"/>
                  </a:lnTo>
                  <a:lnTo>
                    <a:pt x="81" y="315"/>
                  </a:lnTo>
                  <a:lnTo>
                    <a:pt x="104" y="315"/>
                  </a:lnTo>
                  <a:lnTo>
                    <a:pt x="133" y="340"/>
                  </a:lnTo>
                  <a:lnTo>
                    <a:pt x="156" y="340"/>
                  </a:lnTo>
                  <a:lnTo>
                    <a:pt x="156" y="315"/>
                  </a:lnTo>
                  <a:lnTo>
                    <a:pt x="184" y="315"/>
                  </a:lnTo>
                  <a:lnTo>
                    <a:pt x="184" y="288"/>
                  </a:lnTo>
                  <a:lnTo>
                    <a:pt x="236" y="288"/>
                  </a:lnTo>
                  <a:lnTo>
                    <a:pt x="236" y="263"/>
                  </a:lnTo>
                  <a:lnTo>
                    <a:pt x="261" y="288"/>
                  </a:lnTo>
                  <a:lnTo>
                    <a:pt x="261" y="207"/>
                  </a:lnTo>
                  <a:lnTo>
                    <a:pt x="236" y="155"/>
                  </a:lnTo>
                  <a:lnTo>
                    <a:pt x="261" y="132"/>
                  </a:lnTo>
                  <a:lnTo>
                    <a:pt x="261" y="107"/>
                  </a:lnTo>
                  <a:lnTo>
                    <a:pt x="261" y="79"/>
                  </a:lnTo>
                  <a:lnTo>
                    <a:pt x="236" y="27"/>
                  </a:lnTo>
                  <a:lnTo>
                    <a:pt x="213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0" name="Freeform 60"/>
            <p:cNvSpPr>
              <a:spLocks/>
            </p:cNvSpPr>
            <p:nvPr/>
          </p:nvSpPr>
          <p:spPr bwMode="gray">
            <a:xfrm>
              <a:off x="4414" y="1992"/>
              <a:ext cx="25" cy="55"/>
            </a:xfrm>
            <a:custGeom>
              <a:avLst/>
              <a:gdLst>
                <a:gd name="T0" fmla="*/ 52 w 52"/>
                <a:gd name="T1" fmla="*/ 80 h 109"/>
                <a:gd name="T2" fmla="*/ 52 w 52"/>
                <a:gd name="T3" fmla="*/ 57 h 109"/>
                <a:gd name="T4" fmla="*/ 52 w 52"/>
                <a:gd name="T5" fmla="*/ 28 h 109"/>
                <a:gd name="T6" fmla="*/ 23 w 52"/>
                <a:gd name="T7" fmla="*/ 0 h 109"/>
                <a:gd name="T8" fmla="*/ 0 w 52"/>
                <a:gd name="T9" fmla="*/ 28 h 109"/>
                <a:gd name="T10" fmla="*/ 0 w 52"/>
                <a:gd name="T11" fmla="*/ 80 h 109"/>
                <a:gd name="T12" fmla="*/ 23 w 52"/>
                <a:gd name="T13" fmla="*/ 109 h 109"/>
                <a:gd name="T14" fmla="*/ 52 w 52"/>
                <a:gd name="T15" fmla="*/ 8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109">
                  <a:moveTo>
                    <a:pt x="52" y="80"/>
                  </a:moveTo>
                  <a:lnTo>
                    <a:pt x="52" y="57"/>
                  </a:lnTo>
                  <a:lnTo>
                    <a:pt x="52" y="28"/>
                  </a:lnTo>
                  <a:lnTo>
                    <a:pt x="23" y="0"/>
                  </a:lnTo>
                  <a:lnTo>
                    <a:pt x="0" y="28"/>
                  </a:lnTo>
                  <a:lnTo>
                    <a:pt x="0" y="80"/>
                  </a:lnTo>
                  <a:lnTo>
                    <a:pt x="23" y="109"/>
                  </a:lnTo>
                  <a:lnTo>
                    <a:pt x="52" y="8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1" name="Freeform 61"/>
            <p:cNvSpPr>
              <a:spLocks/>
            </p:cNvSpPr>
            <p:nvPr/>
          </p:nvSpPr>
          <p:spPr bwMode="gray">
            <a:xfrm>
              <a:off x="4283" y="2136"/>
              <a:ext cx="26" cy="53"/>
            </a:xfrm>
            <a:custGeom>
              <a:avLst/>
              <a:gdLst>
                <a:gd name="T0" fmla="*/ 0 w 52"/>
                <a:gd name="T1" fmla="*/ 24 h 105"/>
                <a:gd name="T2" fmla="*/ 0 w 52"/>
                <a:gd name="T3" fmla="*/ 51 h 105"/>
                <a:gd name="T4" fmla="*/ 25 w 52"/>
                <a:gd name="T5" fmla="*/ 80 h 105"/>
                <a:gd name="T6" fmla="*/ 25 w 52"/>
                <a:gd name="T7" fmla="*/ 105 h 105"/>
                <a:gd name="T8" fmla="*/ 52 w 52"/>
                <a:gd name="T9" fmla="*/ 80 h 105"/>
                <a:gd name="T10" fmla="*/ 52 w 52"/>
                <a:gd name="T11" fmla="*/ 51 h 105"/>
                <a:gd name="T12" fmla="*/ 25 w 52"/>
                <a:gd name="T13" fmla="*/ 0 h 105"/>
                <a:gd name="T14" fmla="*/ 0 w 52"/>
                <a:gd name="T15" fmla="*/ 2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105">
                  <a:moveTo>
                    <a:pt x="0" y="24"/>
                  </a:moveTo>
                  <a:lnTo>
                    <a:pt x="0" y="51"/>
                  </a:lnTo>
                  <a:lnTo>
                    <a:pt x="25" y="80"/>
                  </a:lnTo>
                  <a:lnTo>
                    <a:pt x="25" y="105"/>
                  </a:lnTo>
                  <a:lnTo>
                    <a:pt x="52" y="80"/>
                  </a:lnTo>
                  <a:lnTo>
                    <a:pt x="52" y="51"/>
                  </a:lnTo>
                  <a:lnTo>
                    <a:pt x="25" y="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2" name="Freeform 62"/>
            <p:cNvSpPr>
              <a:spLocks/>
            </p:cNvSpPr>
            <p:nvPr/>
          </p:nvSpPr>
          <p:spPr bwMode="gray">
            <a:xfrm>
              <a:off x="4102" y="2267"/>
              <a:ext cx="37" cy="26"/>
            </a:xfrm>
            <a:custGeom>
              <a:avLst/>
              <a:gdLst>
                <a:gd name="T0" fmla="*/ 75 w 75"/>
                <a:gd name="T1" fmla="*/ 0 h 51"/>
                <a:gd name="T2" fmla="*/ 23 w 75"/>
                <a:gd name="T3" fmla="*/ 0 h 51"/>
                <a:gd name="T4" fmla="*/ 0 w 75"/>
                <a:gd name="T5" fmla="*/ 26 h 51"/>
                <a:gd name="T6" fmla="*/ 23 w 75"/>
                <a:gd name="T7" fmla="*/ 51 h 51"/>
                <a:gd name="T8" fmla="*/ 75 w 75"/>
                <a:gd name="T9" fmla="*/ 26 h 51"/>
                <a:gd name="T10" fmla="*/ 75 w 75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51">
                  <a:moveTo>
                    <a:pt x="75" y="0"/>
                  </a:moveTo>
                  <a:lnTo>
                    <a:pt x="23" y="0"/>
                  </a:lnTo>
                  <a:lnTo>
                    <a:pt x="0" y="26"/>
                  </a:lnTo>
                  <a:lnTo>
                    <a:pt x="23" y="51"/>
                  </a:lnTo>
                  <a:lnTo>
                    <a:pt x="75" y="26"/>
                  </a:lnTo>
                  <a:lnTo>
                    <a:pt x="75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3" name="Freeform 63"/>
            <p:cNvSpPr>
              <a:spLocks/>
            </p:cNvSpPr>
            <p:nvPr/>
          </p:nvSpPr>
          <p:spPr bwMode="gray">
            <a:xfrm>
              <a:off x="3671" y="2435"/>
              <a:ext cx="40" cy="53"/>
            </a:xfrm>
            <a:custGeom>
              <a:avLst/>
              <a:gdLst>
                <a:gd name="T0" fmla="*/ 27 w 79"/>
                <a:gd name="T1" fmla="*/ 0 h 108"/>
                <a:gd name="T2" fmla="*/ 27 w 79"/>
                <a:gd name="T3" fmla="*/ 27 h 108"/>
                <a:gd name="T4" fmla="*/ 0 w 79"/>
                <a:gd name="T5" fmla="*/ 56 h 108"/>
                <a:gd name="T6" fmla="*/ 0 w 79"/>
                <a:gd name="T7" fmla="*/ 79 h 108"/>
                <a:gd name="T8" fmla="*/ 27 w 79"/>
                <a:gd name="T9" fmla="*/ 108 h 108"/>
                <a:gd name="T10" fmla="*/ 52 w 79"/>
                <a:gd name="T11" fmla="*/ 108 h 108"/>
                <a:gd name="T12" fmla="*/ 79 w 79"/>
                <a:gd name="T13" fmla="*/ 79 h 108"/>
                <a:gd name="T14" fmla="*/ 52 w 79"/>
                <a:gd name="T15" fmla="*/ 56 h 108"/>
                <a:gd name="T16" fmla="*/ 27 w 79"/>
                <a:gd name="T1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108">
                  <a:moveTo>
                    <a:pt x="27" y="0"/>
                  </a:moveTo>
                  <a:lnTo>
                    <a:pt x="27" y="27"/>
                  </a:lnTo>
                  <a:lnTo>
                    <a:pt x="0" y="56"/>
                  </a:lnTo>
                  <a:lnTo>
                    <a:pt x="0" y="79"/>
                  </a:lnTo>
                  <a:lnTo>
                    <a:pt x="27" y="108"/>
                  </a:lnTo>
                  <a:lnTo>
                    <a:pt x="52" y="108"/>
                  </a:lnTo>
                  <a:lnTo>
                    <a:pt x="79" y="79"/>
                  </a:lnTo>
                  <a:lnTo>
                    <a:pt x="52" y="56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4" name="Freeform 64"/>
            <p:cNvSpPr>
              <a:spLocks/>
            </p:cNvSpPr>
            <p:nvPr/>
          </p:nvSpPr>
          <p:spPr bwMode="gray">
            <a:xfrm>
              <a:off x="3073" y="1057"/>
              <a:ext cx="93" cy="92"/>
            </a:xfrm>
            <a:custGeom>
              <a:avLst/>
              <a:gdLst>
                <a:gd name="T0" fmla="*/ 52 w 184"/>
                <a:gd name="T1" fmla="*/ 133 h 185"/>
                <a:gd name="T2" fmla="*/ 104 w 184"/>
                <a:gd name="T3" fmla="*/ 185 h 185"/>
                <a:gd name="T4" fmla="*/ 184 w 184"/>
                <a:gd name="T5" fmla="*/ 185 h 185"/>
                <a:gd name="T6" fmla="*/ 155 w 184"/>
                <a:gd name="T7" fmla="*/ 158 h 185"/>
                <a:gd name="T8" fmla="*/ 75 w 184"/>
                <a:gd name="T9" fmla="*/ 106 h 185"/>
                <a:gd name="T10" fmla="*/ 75 w 184"/>
                <a:gd name="T11" fmla="*/ 52 h 185"/>
                <a:gd name="T12" fmla="*/ 75 w 184"/>
                <a:gd name="T13" fmla="*/ 0 h 185"/>
                <a:gd name="T14" fmla="*/ 52 w 184"/>
                <a:gd name="T15" fmla="*/ 0 h 185"/>
                <a:gd name="T16" fmla="*/ 27 w 184"/>
                <a:gd name="T17" fmla="*/ 0 h 185"/>
                <a:gd name="T18" fmla="*/ 27 w 184"/>
                <a:gd name="T19" fmla="*/ 29 h 185"/>
                <a:gd name="T20" fmla="*/ 0 w 184"/>
                <a:gd name="T21" fmla="*/ 52 h 185"/>
                <a:gd name="T22" fmla="*/ 0 w 184"/>
                <a:gd name="T23" fmla="*/ 81 h 185"/>
                <a:gd name="T24" fmla="*/ 0 w 184"/>
                <a:gd name="T25" fmla="*/ 133 h 185"/>
                <a:gd name="T26" fmla="*/ 27 w 184"/>
                <a:gd name="T27" fmla="*/ 133 h 185"/>
                <a:gd name="T28" fmla="*/ 52 w 184"/>
                <a:gd name="T29" fmla="*/ 13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4" h="185">
                  <a:moveTo>
                    <a:pt x="52" y="133"/>
                  </a:moveTo>
                  <a:lnTo>
                    <a:pt x="104" y="185"/>
                  </a:lnTo>
                  <a:lnTo>
                    <a:pt x="184" y="185"/>
                  </a:lnTo>
                  <a:lnTo>
                    <a:pt x="155" y="158"/>
                  </a:lnTo>
                  <a:lnTo>
                    <a:pt x="75" y="106"/>
                  </a:lnTo>
                  <a:lnTo>
                    <a:pt x="75" y="52"/>
                  </a:lnTo>
                  <a:lnTo>
                    <a:pt x="75" y="0"/>
                  </a:lnTo>
                  <a:lnTo>
                    <a:pt x="52" y="0"/>
                  </a:lnTo>
                  <a:lnTo>
                    <a:pt x="27" y="0"/>
                  </a:lnTo>
                  <a:lnTo>
                    <a:pt x="27" y="29"/>
                  </a:lnTo>
                  <a:lnTo>
                    <a:pt x="0" y="52"/>
                  </a:lnTo>
                  <a:lnTo>
                    <a:pt x="0" y="81"/>
                  </a:lnTo>
                  <a:lnTo>
                    <a:pt x="0" y="133"/>
                  </a:lnTo>
                  <a:lnTo>
                    <a:pt x="27" y="133"/>
                  </a:lnTo>
                  <a:lnTo>
                    <a:pt x="52" y="13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5" name="Freeform 65"/>
            <p:cNvSpPr>
              <a:spLocks/>
            </p:cNvSpPr>
            <p:nvPr/>
          </p:nvSpPr>
          <p:spPr bwMode="gray">
            <a:xfrm>
              <a:off x="3087" y="889"/>
              <a:ext cx="130" cy="156"/>
            </a:xfrm>
            <a:custGeom>
              <a:avLst/>
              <a:gdLst>
                <a:gd name="T0" fmla="*/ 25 w 261"/>
                <a:gd name="T1" fmla="*/ 312 h 312"/>
                <a:gd name="T2" fmla="*/ 48 w 261"/>
                <a:gd name="T3" fmla="*/ 312 h 312"/>
                <a:gd name="T4" fmla="*/ 77 w 261"/>
                <a:gd name="T5" fmla="*/ 232 h 312"/>
                <a:gd name="T6" fmla="*/ 105 w 261"/>
                <a:gd name="T7" fmla="*/ 232 h 312"/>
                <a:gd name="T8" fmla="*/ 128 w 261"/>
                <a:gd name="T9" fmla="*/ 209 h 312"/>
                <a:gd name="T10" fmla="*/ 157 w 261"/>
                <a:gd name="T11" fmla="*/ 157 h 312"/>
                <a:gd name="T12" fmla="*/ 232 w 261"/>
                <a:gd name="T13" fmla="*/ 105 h 312"/>
                <a:gd name="T14" fmla="*/ 261 w 261"/>
                <a:gd name="T15" fmla="*/ 51 h 312"/>
                <a:gd name="T16" fmla="*/ 232 w 261"/>
                <a:gd name="T17" fmla="*/ 24 h 312"/>
                <a:gd name="T18" fmla="*/ 232 w 261"/>
                <a:gd name="T19" fmla="*/ 0 h 312"/>
                <a:gd name="T20" fmla="*/ 209 w 261"/>
                <a:gd name="T21" fmla="*/ 24 h 312"/>
                <a:gd name="T22" fmla="*/ 180 w 261"/>
                <a:gd name="T23" fmla="*/ 24 h 312"/>
                <a:gd name="T24" fmla="*/ 128 w 261"/>
                <a:gd name="T25" fmla="*/ 76 h 312"/>
                <a:gd name="T26" fmla="*/ 77 w 261"/>
                <a:gd name="T27" fmla="*/ 105 h 312"/>
                <a:gd name="T28" fmla="*/ 77 w 261"/>
                <a:gd name="T29" fmla="*/ 157 h 312"/>
                <a:gd name="T30" fmla="*/ 77 w 261"/>
                <a:gd name="T31" fmla="*/ 180 h 312"/>
                <a:gd name="T32" fmla="*/ 48 w 261"/>
                <a:gd name="T33" fmla="*/ 180 h 312"/>
                <a:gd name="T34" fmla="*/ 0 w 261"/>
                <a:gd name="T35" fmla="*/ 180 h 312"/>
                <a:gd name="T36" fmla="*/ 0 w 261"/>
                <a:gd name="T37" fmla="*/ 209 h 312"/>
                <a:gd name="T38" fmla="*/ 25 w 261"/>
                <a:gd name="T39" fmla="*/ 209 h 312"/>
                <a:gd name="T40" fmla="*/ 0 w 261"/>
                <a:gd name="T41" fmla="*/ 261 h 312"/>
                <a:gd name="T42" fmla="*/ 25 w 261"/>
                <a:gd name="T43" fmla="*/ 284 h 312"/>
                <a:gd name="T44" fmla="*/ 0 w 261"/>
                <a:gd name="T45" fmla="*/ 312 h 312"/>
                <a:gd name="T46" fmla="*/ 25 w 261"/>
                <a:gd name="T47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" h="312">
                  <a:moveTo>
                    <a:pt x="25" y="312"/>
                  </a:moveTo>
                  <a:lnTo>
                    <a:pt x="48" y="312"/>
                  </a:lnTo>
                  <a:lnTo>
                    <a:pt x="77" y="232"/>
                  </a:lnTo>
                  <a:lnTo>
                    <a:pt x="105" y="232"/>
                  </a:lnTo>
                  <a:lnTo>
                    <a:pt x="128" y="209"/>
                  </a:lnTo>
                  <a:lnTo>
                    <a:pt x="157" y="157"/>
                  </a:lnTo>
                  <a:lnTo>
                    <a:pt x="232" y="105"/>
                  </a:lnTo>
                  <a:lnTo>
                    <a:pt x="261" y="51"/>
                  </a:lnTo>
                  <a:lnTo>
                    <a:pt x="232" y="24"/>
                  </a:lnTo>
                  <a:lnTo>
                    <a:pt x="232" y="0"/>
                  </a:lnTo>
                  <a:lnTo>
                    <a:pt x="209" y="24"/>
                  </a:lnTo>
                  <a:lnTo>
                    <a:pt x="180" y="24"/>
                  </a:lnTo>
                  <a:lnTo>
                    <a:pt x="128" y="76"/>
                  </a:lnTo>
                  <a:lnTo>
                    <a:pt x="77" y="105"/>
                  </a:lnTo>
                  <a:lnTo>
                    <a:pt x="77" y="157"/>
                  </a:lnTo>
                  <a:lnTo>
                    <a:pt x="77" y="180"/>
                  </a:lnTo>
                  <a:lnTo>
                    <a:pt x="48" y="180"/>
                  </a:lnTo>
                  <a:lnTo>
                    <a:pt x="0" y="180"/>
                  </a:lnTo>
                  <a:lnTo>
                    <a:pt x="0" y="209"/>
                  </a:lnTo>
                  <a:lnTo>
                    <a:pt x="25" y="209"/>
                  </a:lnTo>
                  <a:lnTo>
                    <a:pt x="0" y="261"/>
                  </a:lnTo>
                  <a:lnTo>
                    <a:pt x="25" y="284"/>
                  </a:lnTo>
                  <a:lnTo>
                    <a:pt x="0" y="312"/>
                  </a:lnTo>
                  <a:lnTo>
                    <a:pt x="25" y="31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6" name="Freeform 66"/>
            <p:cNvSpPr>
              <a:spLocks/>
            </p:cNvSpPr>
            <p:nvPr/>
          </p:nvSpPr>
          <p:spPr bwMode="gray">
            <a:xfrm>
              <a:off x="3360" y="641"/>
              <a:ext cx="51" cy="66"/>
            </a:xfrm>
            <a:custGeom>
              <a:avLst/>
              <a:gdLst>
                <a:gd name="T0" fmla="*/ 79 w 104"/>
                <a:gd name="T1" fmla="*/ 133 h 133"/>
                <a:gd name="T2" fmla="*/ 79 w 104"/>
                <a:gd name="T3" fmla="*/ 104 h 133"/>
                <a:gd name="T4" fmla="*/ 79 w 104"/>
                <a:gd name="T5" fmla="*/ 81 h 133"/>
                <a:gd name="T6" fmla="*/ 104 w 104"/>
                <a:gd name="T7" fmla="*/ 81 h 133"/>
                <a:gd name="T8" fmla="*/ 104 w 104"/>
                <a:gd name="T9" fmla="*/ 52 h 133"/>
                <a:gd name="T10" fmla="*/ 52 w 104"/>
                <a:gd name="T11" fmla="*/ 0 h 133"/>
                <a:gd name="T12" fmla="*/ 27 w 104"/>
                <a:gd name="T13" fmla="*/ 29 h 133"/>
                <a:gd name="T14" fmla="*/ 27 w 104"/>
                <a:gd name="T15" fmla="*/ 0 h 133"/>
                <a:gd name="T16" fmla="*/ 0 w 104"/>
                <a:gd name="T17" fmla="*/ 52 h 133"/>
                <a:gd name="T18" fmla="*/ 0 w 104"/>
                <a:gd name="T19" fmla="*/ 81 h 133"/>
                <a:gd name="T20" fmla="*/ 52 w 104"/>
                <a:gd name="T21" fmla="*/ 104 h 133"/>
                <a:gd name="T22" fmla="*/ 79 w 104"/>
                <a:gd name="T2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4" h="133">
                  <a:moveTo>
                    <a:pt x="79" y="133"/>
                  </a:moveTo>
                  <a:lnTo>
                    <a:pt x="79" y="104"/>
                  </a:lnTo>
                  <a:lnTo>
                    <a:pt x="79" y="81"/>
                  </a:lnTo>
                  <a:lnTo>
                    <a:pt x="104" y="81"/>
                  </a:lnTo>
                  <a:lnTo>
                    <a:pt x="104" y="52"/>
                  </a:lnTo>
                  <a:lnTo>
                    <a:pt x="52" y="0"/>
                  </a:lnTo>
                  <a:lnTo>
                    <a:pt x="27" y="29"/>
                  </a:lnTo>
                  <a:lnTo>
                    <a:pt x="27" y="0"/>
                  </a:lnTo>
                  <a:lnTo>
                    <a:pt x="0" y="52"/>
                  </a:lnTo>
                  <a:lnTo>
                    <a:pt x="0" y="81"/>
                  </a:lnTo>
                  <a:lnTo>
                    <a:pt x="52" y="104"/>
                  </a:lnTo>
                  <a:lnTo>
                    <a:pt x="79" y="13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7" name="Freeform 67"/>
            <p:cNvSpPr>
              <a:spLocks/>
            </p:cNvSpPr>
            <p:nvPr/>
          </p:nvSpPr>
          <p:spPr bwMode="gray">
            <a:xfrm>
              <a:off x="3411" y="693"/>
              <a:ext cx="67" cy="66"/>
            </a:xfrm>
            <a:custGeom>
              <a:avLst/>
              <a:gdLst>
                <a:gd name="T0" fmla="*/ 0 w 132"/>
                <a:gd name="T1" fmla="*/ 52 h 132"/>
                <a:gd name="T2" fmla="*/ 27 w 132"/>
                <a:gd name="T3" fmla="*/ 81 h 132"/>
                <a:gd name="T4" fmla="*/ 80 w 132"/>
                <a:gd name="T5" fmla="*/ 104 h 132"/>
                <a:gd name="T6" fmla="*/ 132 w 132"/>
                <a:gd name="T7" fmla="*/ 132 h 132"/>
                <a:gd name="T8" fmla="*/ 132 w 132"/>
                <a:gd name="T9" fmla="*/ 104 h 132"/>
                <a:gd name="T10" fmla="*/ 103 w 132"/>
                <a:gd name="T11" fmla="*/ 81 h 132"/>
                <a:gd name="T12" fmla="*/ 103 w 132"/>
                <a:gd name="T13" fmla="*/ 29 h 132"/>
                <a:gd name="T14" fmla="*/ 103 w 132"/>
                <a:gd name="T15" fmla="*/ 0 h 132"/>
                <a:gd name="T16" fmla="*/ 52 w 132"/>
                <a:gd name="T17" fmla="*/ 0 h 132"/>
                <a:gd name="T18" fmla="*/ 0 w 132"/>
                <a:gd name="T19" fmla="*/ 0 h 132"/>
                <a:gd name="T20" fmla="*/ 0 w 132"/>
                <a:gd name="T21" fmla="*/ 5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" h="132">
                  <a:moveTo>
                    <a:pt x="0" y="52"/>
                  </a:moveTo>
                  <a:lnTo>
                    <a:pt x="27" y="81"/>
                  </a:lnTo>
                  <a:lnTo>
                    <a:pt x="80" y="104"/>
                  </a:lnTo>
                  <a:lnTo>
                    <a:pt x="132" y="132"/>
                  </a:lnTo>
                  <a:lnTo>
                    <a:pt x="132" y="104"/>
                  </a:lnTo>
                  <a:lnTo>
                    <a:pt x="103" y="81"/>
                  </a:lnTo>
                  <a:lnTo>
                    <a:pt x="103" y="29"/>
                  </a:lnTo>
                  <a:lnTo>
                    <a:pt x="103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8" name="Freeform 68"/>
            <p:cNvSpPr>
              <a:spLocks/>
            </p:cNvSpPr>
            <p:nvPr/>
          </p:nvSpPr>
          <p:spPr bwMode="gray">
            <a:xfrm>
              <a:off x="3504" y="707"/>
              <a:ext cx="51" cy="78"/>
            </a:xfrm>
            <a:custGeom>
              <a:avLst/>
              <a:gdLst>
                <a:gd name="T0" fmla="*/ 23 w 104"/>
                <a:gd name="T1" fmla="*/ 103 h 155"/>
                <a:gd name="T2" fmla="*/ 23 w 104"/>
                <a:gd name="T3" fmla="*/ 155 h 155"/>
                <a:gd name="T4" fmla="*/ 52 w 104"/>
                <a:gd name="T5" fmla="*/ 126 h 155"/>
                <a:gd name="T6" fmla="*/ 104 w 104"/>
                <a:gd name="T7" fmla="*/ 126 h 155"/>
                <a:gd name="T8" fmla="*/ 104 w 104"/>
                <a:gd name="T9" fmla="*/ 103 h 155"/>
                <a:gd name="T10" fmla="*/ 104 w 104"/>
                <a:gd name="T11" fmla="*/ 75 h 155"/>
                <a:gd name="T12" fmla="*/ 75 w 104"/>
                <a:gd name="T13" fmla="*/ 52 h 155"/>
                <a:gd name="T14" fmla="*/ 52 w 104"/>
                <a:gd name="T15" fmla="*/ 23 h 155"/>
                <a:gd name="T16" fmla="*/ 52 w 104"/>
                <a:gd name="T17" fmla="*/ 0 h 155"/>
                <a:gd name="T18" fmla="*/ 23 w 104"/>
                <a:gd name="T19" fmla="*/ 23 h 155"/>
                <a:gd name="T20" fmla="*/ 0 w 104"/>
                <a:gd name="T21" fmla="*/ 23 h 155"/>
                <a:gd name="T22" fmla="*/ 0 w 104"/>
                <a:gd name="T23" fmla="*/ 52 h 155"/>
                <a:gd name="T24" fmla="*/ 23 w 104"/>
                <a:gd name="T25" fmla="*/ 75 h 155"/>
                <a:gd name="T26" fmla="*/ 23 w 104"/>
                <a:gd name="T27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155">
                  <a:moveTo>
                    <a:pt x="23" y="103"/>
                  </a:moveTo>
                  <a:lnTo>
                    <a:pt x="23" y="155"/>
                  </a:lnTo>
                  <a:lnTo>
                    <a:pt x="52" y="126"/>
                  </a:lnTo>
                  <a:lnTo>
                    <a:pt x="104" y="126"/>
                  </a:lnTo>
                  <a:lnTo>
                    <a:pt x="104" y="103"/>
                  </a:lnTo>
                  <a:lnTo>
                    <a:pt x="104" y="75"/>
                  </a:lnTo>
                  <a:lnTo>
                    <a:pt x="75" y="52"/>
                  </a:lnTo>
                  <a:lnTo>
                    <a:pt x="52" y="23"/>
                  </a:lnTo>
                  <a:lnTo>
                    <a:pt x="52" y="0"/>
                  </a:lnTo>
                  <a:lnTo>
                    <a:pt x="23" y="23"/>
                  </a:lnTo>
                  <a:lnTo>
                    <a:pt x="0" y="23"/>
                  </a:lnTo>
                  <a:lnTo>
                    <a:pt x="0" y="52"/>
                  </a:lnTo>
                  <a:lnTo>
                    <a:pt x="23" y="75"/>
                  </a:lnTo>
                  <a:lnTo>
                    <a:pt x="23" y="10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69" name="Freeform 69"/>
            <p:cNvSpPr>
              <a:spLocks/>
            </p:cNvSpPr>
            <p:nvPr/>
          </p:nvSpPr>
          <p:spPr bwMode="gray">
            <a:xfrm>
              <a:off x="3360" y="707"/>
              <a:ext cx="39" cy="26"/>
            </a:xfrm>
            <a:custGeom>
              <a:avLst/>
              <a:gdLst>
                <a:gd name="T0" fmla="*/ 79 w 79"/>
                <a:gd name="T1" fmla="*/ 23 h 52"/>
                <a:gd name="T2" fmla="*/ 52 w 79"/>
                <a:gd name="T3" fmla="*/ 0 h 52"/>
                <a:gd name="T4" fmla="*/ 0 w 79"/>
                <a:gd name="T5" fmla="*/ 23 h 52"/>
                <a:gd name="T6" fmla="*/ 52 w 79"/>
                <a:gd name="T7" fmla="*/ 52 h 52"/>
                <a:gd name="T8" fmla="*/ 79 w 79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52">
                  <a:moveTo>
                    <a:pt x="79" y="23"/>
                  </a:moveTo>
                  <a:lnTo>
                    <a:pt x="52" y="0"/>
                  </a:lnTo>
                  <a:lnTo>
                    <a:pt x="0" y="23"/>
                  </a:lnTo>
                  <a:lnTo>
                    <a:pt x="52" y="52"/>
                  </a:lnTo>
                  <a:lnTo>
                    <a:pt x="79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0" name="Freeform 70"/>
            <p:cNvSpPr>
              <a:spLocks/>
            </p:cNvSpPr>
            <p:nvPr/>
          </p:nvSpPr>
          <p:spPr bwMode="gray">
            <a:xfrm>
              <a:off x="3983" y="733"/>
              <a:ext cx="93" cy="65"/>
            </a:xfrm>
            <a:custGeom>
              <a:avLst/>
              <a:gdLst>
                <a:gd name="T0" fmla="*/ 27 w 184"/>
                <a:gd name="T1" fmla="*/ 103 h 128"/>
                <a:gd name="T2" fmla="*/ 52 w 184"/>
                <a:gd name="T3" fmla="*/ 128 h 128"/>
                <a:gd name="T4" fmla="*/ 79 w 184"/>
                <a:gd name="T5" fmla="*/ 128 h 128"/>
                <a:gd name="T6" fmla="*/ 79 w 184"/>
                <a:gd name="T7" fmla="*/ 103 h 128"/>
                <a:gd name="T8" fmla="*/ 131 w 184"/>
                <a:gd name="T9" fmla="*/ 103 h 128"/>
                <a:gd name="T10" fmla="*/ 155 w 184"/>
                <a:gd name="T11" fmla="*/ 74 h 128"/>
                <a:gd name="T12" fmla="*/ 104 w 184"/>
                <a:gd name="T13" fmla="*/ 51 h 128"/>
                <a:gd name="T14" fmla="*/ 104 w 184"/>
                <a:gd name="T15" fmla="*/ 23 h 128"/>
                <a:gd name="T16" fmla="*/ 155 w 184"/>
                <a:gd name="T17" fmla="*/ 74 h 128"/>
                <a:gd name="T18" fmla="*/ 184 w 184"/>
                <a:gd name="T19" fmla="*/ 51 h 128"/>
                <a:gd name="T20" fmla="*/ 184 w 184"/>
                <a:gd name="T21" fmla="*/ 23 h 128"/>
                <a:gd name="T22" fmla="*/ 131 w 184"/>
                <a:gd name="T23" fmla="*/ 0 h 128"/>
                <a:gd name="T24" fmla="*/ 104 w 184"/>
                <a:gd name="T25" fmla="*/ 0 h 128"/>
                <a:gd name="T26" fmla="*/ 79 w 184"/>
                <a:gd name="T27" fmla="*/ 0 h 128"/>
                <a:gd name="T28" fmla="*/ 52 w 184"/>
                <a:gd name="T29" fmla="*/ 23 h 128"/>
                <a:gd name="T30" fmla="*/ 52 w 184"/>
                <a:gd name="T31" fmla="*/ 0 h 128"/>
                <a:gd name="T32" fmla="*/ 27 w 184"/>
                <a:gd name="T33" fmla="*/ 0 h 128"/>
                <a:gd name="T34" fmla="*/ 0 w 184"/>
                <a:gd name="T35" fmla="*/ 51 h 128"/>
                <a:gd name="T36" fmla="*/ 27 w 184"/>
                <a:gd name="T37" fmla="*/ 74 h 128"/>
                <a:gd name="T38" fmla="*/ 27 w 184"/>
                <a:gd name="T39" fmla="*/ 10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4" h="128">
                  <a:moveTo>
                    <a:pt x="27" y="103"/>
                  </a:moveTo>
                  <a:lnTo>
                    <a:pt x="52" y="128"/>
                  </a:lnTo>
                  <a:lnTo>
                    <a:pt x="79" y="128"/>
                  </a:lnTo>
                  <a:lnTo>
                    <a:pt x="79" y="103"/>
                  </a:lnTo>
                  <a:lnTo>
                    <a:pt x="131" y="103"/>
                  </a:lnTo>
                  <a:lnTo>
                    <a:pt x="155" y="74"/>
                  </a:lnTo>
                  <a:lnTo>
                    <a:pt x="104" y="51"/>
                  </a:lnTo>
                  <a:lnTo>
                    <a:pt x="104" y="23"/>
                  </a:lnTo>
                  <a:lnTo>
                    <a:pt x="155" y="74"/>
                  </a:lnTo>
                  <a:lnTo>
                    <a:pt x="184" y="51"/>
                  </a:lnTo>
                  <a:lnTo>
                    <a:pt x="184" y="23"/>
                  </a:lnTo>
                  <a:lnTo>
                    <a:pt x="131" y="0"/>
                  </a:lnTo>
                  <a:lnTo>
                    <a:pt x="104" y="0"/>
                  </a:lnTo>
                  <a:lnTo>
                    <a:pt x="79" y="0"/>
                  </a:lnTo>
                  <a:lnTo>
                    <a:pt x="52" y="23"/>
                  </a:lnTo>
                  <a:lnTo>
                    <a:pt x="52" y="0"/>
                  </a:lnTo>
                  <a:lnTo>
                    <a:pt x="27" y="0"/>
                  </a:lnTo>
                  <a:lnTo>
                    <a:pt x="0" y="51"/>
                  </a:lnTo>
                  <a:lnTo>
                    <a:pt x="27" y="74"/>
                  </a:lnTo>
                  <a:lnTo>
                    <a:pt x="27" y="10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1" name="Freeform 71"/>
            <p:cNvSpPr>
              <a:spLocks/>
            </p:cNvSpPr>
            <p:nvPr/>
          </p:nvSpPr>
          <p:spPr bwMode="gray">
            <a:xfrm>
              <a:off x="4700" y="875"/>
              <a:ext cx="48" cy="10"/>
            </a:xfrm>
            <a:custGeom>
              <a:avLst/>
              <a:gdLst>
                <a:gd name="T0" fmla="*/ 79 w 96"/>
                <a:gd name="T1" fmla="*/ 0 h 19"/>
                <a:gd name="T2" fmla="*/ 0 w 96"/>
                <a:gd name="T3" fmla="*/ 0 h 19"/>
                <a:gd name="T4" fmla="*/ 96 w 96"/>
                <a:gd name="T5" fmla="*/ 19 h 19"/>
                <a:gd name="T6" fmla="*/ 79 w 96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6" h="19">
                  <a:moveTo>
                    <a:pt x="79" y="0"/>
                  </a:moveTo>
                  <a:lnTo>
                    <a:pt x="0" y="0"/>
                  </a:lnTo>
                  <a:lnTo>
                    <a:pt x="96" y="19"/>
                  </a:lnTo>
                  <a:lnTo>
                    <a:pt x="79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gray">
            <a:xfrm>
              <a:off x="3932" y="2540"/>
              <a:ext cx="155" cy="168"/>
            </a:xfrm>
            <a:custGeom>
              <a:avLst/>
              <a:gdLst>
                <a:gd name="T0" fmla="*/ 311 w 311"/>
                <a:gd name="T1" fmla="*/ 312 h 335"/>
                <a:gd name="T2" fmla="*/ 311 w 311"/>
                <a:gd name="T3" fmla="*/ 284 h 335"/>
                <a:gd name="T4" fmla="*/ 288 w 311"/>
                <a:gd name="T5" fmla="*/ 261 h 335"/>
                <a:gd name="T6" fmla="*/ 288 w 311"/>
                <a:gd name="T7" fmla="*/ 232 h 335"/>
                <a:gd name="T8" fmla="*/ 259 w 311"/>
                <a:gd name="T9" fmla="*/ 209 h 335"/>
                <a:gd name="T10" fmla="*/ 235 w 311"/>
                <a:gd name="T11" fmla="*/ 180 h 335"/>
                <a:gd name="T12" fmla="*/ 208 w 311"/>
                <a:gd name="T13" fmla="*/ 155 h 335"/>
                <a:gd name="T14" fmla="*/ 183 w 311"/>
                <a:gd name="T15" fmla="*/ 155 h 335"/>
                <a:gd name="T16" fmla="*/ 183 w 311"/>
                <a:gd name="T17" fmla="*/ 128 h 335"/>
                <a:gd name="T18" fmla="*/ 156 w 311"/>
                <a:gd name="T19" fmla="*/ 103 h 335"/>
                <a:gd name="T20" fmla="*/ 131 w 311"/>
                <a:gd name="T21" fmla="*/ 103 h 335"/>
                <a:gd name="T22" fmla="*/ 131 w 311"/>
                <a:gd name="T23" fmla="*/ 51 h 335"/>
                <a:gd name="T24" fmla="*/ 104 w 311"/>
                <a:gd name="T25" fmla="*/ 51 h 335"/>
                <a:gd name="T26" fmla="*/ 79 w 311"/>
                <a:gd name="T27" fmla="*/ 24 h 335"/>
                <a:gd name="T28" fmla="*/ 52 w 311"/>
                <a:gd name="T29" fmla="*/ 0 h 335"/>
                <a:gd name="T30" fmla="*/ 0 w 311"/>
                <a:gd name="T31" fmla="*/ 24 h 335"/>
                <a:gd name="T32" fmla="*/ 27 w 311"/>
                <a:gd name="T33" fmla="*/ 51 h 335"/>
                <a:gd name="T34" fmla="*/ 52 w 311"/>
                <a:gd name="T35" fmla="*/ 76 h 335"/>
                <a:gd name="T36" fmla="*/ 79 w 311"/>
                <a:gd name="T37" fmla="*/ 128 h 335"/>
                <a:gd name="T38" fmla="*/ 104 w 311"/>
                <a:gd name="T39" fmla="*/ 155 h 335"/>
                <a:gd name="T40" fmla="*/ 104 w 311"/>
                <a:gd name="T41" fmla="*/ 180 h 335"/>
                <a:gd name="T42" fmla="*/ 104 w 311"/>
                <a:gd name="T43" fmla="*/ 232 h 335"/>
                <a:gd name="T44" fmla="*/ 131 w 311"/>
                <a:gd name="T45" fmla="*/ 261 h 335"/>
                <a:gd name="T46" fmla="*/ 156 w 311"/>
                <a:gd name="T47" fmla="*/ 284 h 335"/>
                <a:gd name="T48" fmla="*/ 208 w 311"/>
                <a:gd name="T49" fmla="*/ 312 h 335"/>
                <a:gd name="T50" fmla="*/ 235 w 311"/>
                <a:gd name="T51" fmla="*/ 335 h 335"/>
                <a:gd name="T52" fmla="*/ 259 w 311"/>
                <a:gd name="T53" fmla="*/ 335 h 335"/>
                <a:gd name="T54" fmla="*/ 288 w 311"/>
                <a:gd name="T55" fmla="*/ 335 h 335"/>
                <a:gd name="T56" fmla="*/ 311 w 311"/>
                <a:gd name="T57" fmla="*/ 312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1" h="335">
                  <a:moveTo>
                    <a:pt x="311" y="312"/>
                  </a:moveTo>
                  <a:lnTo>
                    <a:pt x="311" y="284"/>
                  </a:lnTo>
                  <a:lnTo>
                    <a:pt x="288" y="261"/>
                  </a:lnTo>
                  <a:lnTo>
                    <a:pt x="288" y="232"/>
                  </a:lnTo>
                  <a:lnTo>
                    <a:pt x="259" y="209"/>
                  </a:lnTo>
                  <a:lnTo>
                    <a:pt x="235" y="180"/>
                  </a:lnTo>
                  <a:lnTo>
                    <a:pt x="208" y="155"/>
                  </a:lnTo>
                  <a:lnTo>
                    <a:pt x="183" y="155"/>
                  </a:lnTo>
                  <a:lnTo>
                    <a:pt x="183" y="128"/>
                  </a:lnTo>
                  <a:lnTo>
                    <a:pt x="156" y="103"/>
                  </a:lnTo>
                  <a:lnTo>
                    <a:pt x="131" y="103"/>
                  </a:lnTo>
                  <a:lnTo>
                    <a:pt x="131" y="51"/>
                  </a:lnTo>
                  <a:lnTo>
                    <a:pt x="104" y="51"/>
                  </a:lnTo>
                  <a:lnTo>
                    <a:pt x="79" y="24"/>
                  </a:lnTo>
                  <a:lnTo>
                    <a:pt x="52" y="0"/>
                  </a:lnTo>
                  <a:lnTo>
                    <a:pt x="0" y="24"/>
                  </a:lnTo>
                  <a:lnTo>
                    <a:pt x="27" y="51"/>
                  </a:lnTo>
                  <a:lnTo>
                    <a:pt x="52" y="76"/>
                  </a:lnTo>
                  <a:lnTo>
                    <a:pt x="79" y="128"/>
                  </a:lnTo>
                  <a:lnTo>
                    <a:pt x="104" y="155"/>
                  </a:lnTo>
                  <a:lnTo>
                    <a:pt x="104" y="180"/>
                  </a:lnTo>
                  <a:lnTo>
                    <a:pt x="104" y="232"/>
                  </a:lnTo>
                  <a:lnTo>
                    <a:pt x="131" y="261"/>
                  </a:lnTo>
                  <a:lnTo>
                    <a:pt x="156" y="284"/>
                  </a:lnTo>
                  <a:lnTo>
                    <a:pt x="208" y="312"/>
                  </a:lnTo>
                  <a:lnTo>
                    <a:pt x="235" y="335"/>
                  </a:lnTo>
                  <a:lnTo>
                    <a:pt x="259" y="335"/>
                  </a:lnTo>
                  <a:lnTo>
                    <a:pt x="288" y="335"/>
                  </a:lnTo>
                  <a:lnTo>
                    <a:pt x="311" y="31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gray">
            <a:xfrm>
              <a:off x="3919" y="2540"/>
              <a:ext cx="13" cy="13"/>
            </a:xfrm>
            <a:custGeom>
              <a:avLst/>
              <a:gdLst>
                <a:gd name="T0" fmla="*/ 0 w 25"/>
                <a:gd name="T1" fmla="*/ 0 h 24"/>
                <a:gd name="T2" fmla="*/ 25 w 25"/>
                <a:gd name="T3" fmla="*/ 24 h 24"/>
                <a:gd name="T4" fmla="*/ 25 w 25"/>
                <a:gd name="T5" fmla="*/ 0 h 24"/>
                <a:gd name="T6" fmla="*/ 0 w 25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4">
                  <a:moveTo>
                    <a:pt x="0" y="0"/>
                  </a:moveTo>
                  <a:lnTo>
                    <a:pt x="25" y="24"/>
                  </a:lnTo>
                  <a:lnTo>
                    <a:pt x="25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gray">
            <a:xfrm>
              <a:off x="2605" y="1903"/>
              <a:ext cx="52" cy="26"/>
            </a:xfrm>
            <a:custGeom>
              <a:avLst/>
              <a:gdLst>
                <a:gd name="T0" fmla="*/ 52 w 104"/>
                <a:gd name="T1" fmla="*/ 0 h 52"/>
                <a:gd name="T2" fmla="*/ 25 w 104"/>
                <a:gd name="T3" fmla="*/ 0 h 52"/>
                <a:gd name="T4" fmla="*/ 0 w 104"/>
                <a:gd name="T5" fmla="*/ 23 h 52"/>
                <a:gd name="T6" fmla="*/ 0 w 104"/>
                <a:gd name="T7" fmla="*/ 52 h 52"/>
                <a:gd name="T8" fmla="*/ 52 w 104"/>
                <a:gd name="T9" fmla="*/ 52 h 52"/>
                <a:gd name="T10" fmla="*/ 77 w 104"/>
                <a:gd name="T11" fmla="*/ 52 h 52"/>
                <a:gd name="T12" fmla="*/ 77 w 104"/>
                <a:gd name="T13" fmla="*/ 23 h 52"/>
                <a:gd name="T14" fmla="*/ 104 w 104"/>
                <a:gd name="T15" fmla="*/ 0 h 52"/>
                <a:gd name="T16" fmla="*/ 77 w 104"/>
                <a:gd name="T17" fmla="*/ 0 h 52"/>
                <a:gd name="T18" fmla="*/ 52 w 104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52">
                  <a:moveTo>
                    <a:pt x="52" y="0"/>
                  </a:moveTo>
                  <a:lnTo>
                    <a:pt x="25" y="0"/>
                  </a:lnTo>
                  <a:lnTo>
                    <a:pt x="0" y="23"/>
                  </a:lnTo>
                  <a:lnTo>
                    <a:pt x="0" y="52"/>
                  </a:lnTo>
                  <a:lnTo>
                    <a:pt x="52" y="52"/>
                  </a:lnTo>
                  <a:lnTo>
                    <a:pt x="77" y="52"/>
                  </a:lnTo>
                  <a:lnTo>
                    <a:pt x="77" y="23"/>
                  </a:lnTo>
                  <a:lnTo>
                    <a:pt x="104" y="0"/>
                  </a:lnTo>
                  <a:lnTo>
                    <a:pt x="77" y="0"/>
                  </a:lnTo>
                  <a:lnTo>
                    <a:pt x="52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5" name="Freeform 75"/>
            <p:cNvSpPr>
              <a:spLocks/>
            </p:cNvSpPr>
            <p:nvPr/>
          </p:nvSpPr>
          <p:spPr bwMode="gray">
            <a:xfrm>
              <a:off x="2527" y="1850"/>
              <a:ext cx="39" cy="39"/>
            </a:xfrm>
            <a:custGeom>
              <a:avLst/>
              <a:gdLst>
                <a:gd name="T0" fmla="*/ 52 w 77"/>
                <a:gd name="T1" fmla="*/ 0 h 76"/>
                <a:gd name="T2" fmla="*/ 25 w 77"/>
                <a:gd name="T3" fmla="*/ 0 h 76"/>
                <a:gd name="T4" fmla="*/ 0 w 77"/>
                <a:gd name="T5" fmla="*/ 53 h 76"/>
                <a:gd name="T6" fmla="*/ 0 w 77"/>
                <a:gd name="T7" fmla="*/ 76 h 76"/>
                <a:gd name="T8" fmla="*/ 25 w 77"/>
                <a:gd name="T9" fmla="*/ 76 h 76"/>
                <a:gd name="T10" fmla="*/ 52 w 77"/>
                <a:gd name="T11" fmla="*/ 76 h 76"/>
                <a:gd name="T12" fmla="*/ 77 w 77"/>
                <a:gd name="T13" fmla="*/ 53 h 76"/>
                <a:gd name="T14" fmla="*/ 52 w 77"/>
                <a:gd name="T15" fmla="*/ 53 h 76"/>
                <a:gd name="T16" fmla="*/ 77 w 77"/>
                <a:gd name="T17" fmla="*/ 0 h 76"/>
                <a:gd name="T18" fmla="*/ 52 w 77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6">
                  <a:moveTo>
                    <a:pt x="52" y="0"/>
                  </a:moveTo>
                  <a:lnTo>
                    <a:pt x="25" y="0"/>
                  </a:lnTo>
                  <a:lnTo>
                    <a:pt x="0" y="53"/>
                  </a:lnTo>
                  <a:lnTo>
                    <a:pt x="0" y="76"/>
                  </a:lnTo>
                  <a:lnTo>
                    <a:pt x="25" y="76"/>
                  </a:lnTo>
                  <a:lnTo>
                    <a:pt x="52" y="76"/>
                  </a:lnTo>
                  <a:lnTo>
                    <a:pt x="77" y="53"/>
                  </a:lnTo>
                  <a:lnTo>
                    <a:pt x="52" y="53"/>
                  </a:lnTo>
                  <a:lnTo>
                    <a:pt x="77" y="0"/>
                  </a:lnTo>
                  <a:lnTo>
                    <a:pt x="52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gray">
            <a:xfrm>
              <a:off x="2280" y="771"/>
              <a:ext cx="2653" cy="1808"/>
            </a:xfrm>
            <a:custGeom>
              <a:avLst/>
              <a:gdLst>
                <a:gd name="T0" fmla="*/ 4712 w 5307"/>
                <a:gd name="T1" fmla="*/ 158 h 3616"/>
                <a:gd name="T2" fmla="*/ 4216 w 5307"/>
                <a:gd name="T3" fmla="*/ 210 h 3616"/>
                <a:gd name="T4" fmla="*/ 3719 w 5307"/>
                <a:gd name="T5" fmla="*/ 288 h 3616"/>
                <a:gd name="T6" fmla="*/ 3383 w 5307"/>
                <a:gd name="T7" fmla="*/ 237 h 3616"/>
                <a:gd name="T8" fmla="*/ 2888 w 5307"/>
                <a:gd name="T9" fmla="*/ 394 h 3616"/>
                <a:gd name="T10" fmla="*/ 2759 w 5307"/>
                <a:gd name="T11" fmla="*/ 106 h 3616"/>
                <a:gd name="T12" fmla="*/ 2604 w 5307"/>
                <a:gd name="T13" fmla="*/ 158 h 3616"/>
                <a:gd name="T14" fmla="*/ 2264 w 5307"/>
                <a:gd name="T15" fmla="*/ 469 h 3616"/>
                <a:gd name="T16" fmla="*/ 2187 w 5307"/>
                <a:gd name="T17" fmla="*/ 624 h 3616"/>
                <a:gd name="T18" fmla="*/ 2264 w 5307"/>
                <a:gd name="T19" fmla="*/ 808 h 3616"/>
                <a:gd name="T20" fmla="*/ 2056 w 5307"/>
                <a:gd name="T21" fmla="*/ 572 h 3616"/>
                <a:gd name="T22" fmla="*/ 1847 w 5307"/>
                <a:gd name="T23" fmla="*/ 860 h 3616"/>
                <a:gd name="T24" fmla="*/ 1484 w 5307"/>
                <a:gd name="T25" fmla="*/ 912 h 3616"/>
                <a:gd name="T26" fmla="*/ 1252 w 5307"/>
                <a:gd name="T27" fmla="*/ 1121 h 3616"/>
                <a:gd name="T28" fmla="*/ 1144 w 5307"/>
                <a:gd name="T29" fmla="*/ 833 h 3616"/>
                <a:gd name="T30" fmla="*/ 912 w 5307"/>
                <a:gd name="T31" fmla="*/ 782 h 3616"/>
                <a:gd name="T32" fmla="*/ 651 w 5307"/>
                <a:gd name="T33" fmla="*/ 1093 h 3616"/>
                <a:gd name="T34" fmla="*/ 495 w 5307"/>
                <a:gd name="T35" fmla="*/ 1405 h 3616"/>
                <a:gd name="T36" fmla="*/ 728 w 5307"/>
                <a:gd name="T37" fmla="*/ 1561 h 3616"/>
                <a:gd name="T38" fmla="*/ 808 w 5307"/>
                <a:gd name="T39" fmla="*/ 1225 h 3616"/>
                <a:gd name="T40" fmla="*/ 912 w 5307"/>
                <a:gd name="T41" fmla="*/ 1196 h 3616"/>
                <a:gd name="T42" fmla="*/ 1171 w 5307"/>
                <a:gd name="T43" fmla="*/ 1354 h 3616"/>
                <a:gd name="T44" fmla="*/ 912 w 5307"/>
                <a:gd name="T45" fmla="*/ 1509 h 3616"/>
                <a:gd name="T46" fmla="*/ 728 w 5307"/>
                <a:gd name="T47" fmla="*/ 1641 h 3616"/>
                <a:gd name="T48" fmla="*/ 572 w 5307"/>
                <a:gd name="T49" fmla="*/ 1613 h 3616"/>
                <a:gd name="T50" fmla="*/ 311 w 5307"/>
                <a:gd name="T51" fmla="*/ 1797 h 3616"/>
                <a:gd name="T52" fmla="*/ 184 w 5307"/>
                <a:gd name="T53" fmla="*/ 2029 h 3616"/>
                <a:gd name="T54" fmla="*/ 0 w 5307"/>
                <a:gd name="T55" fmla="*/ 2317 h 3616"/>
                <a:gd name="T56" fmla="*/ 392 w 5307"/>
                <a:gd name="T57" fmla="*/ 2081 h 3616"/>
                <a:gd name="T58" fmla="*/ 728 w 5307"/>
                <a:gd name="T59" fmla="*/ 2160 h 3616"/>
                <a:gd name="T60" fmla="*/ 780 w 5307"/>
                <a:gd name="T61" fmla="*/ 2133 h 3616"/>
                <a:gd name="T62" fmla="*/ 755 w 5307"/>
                <a:gd name="T63" fmla="*/ 2029 h 3616"/>
                <a:gd name="T64" fmla="*/ 987 w 5307"/>
                <a:gd name="T65" fmla="*/ 2288 h 3616"/>
                <a:gd name="T66" fmla="*/ 1068 w 5307"/>
                <a:gd name="T67" fmla="*/ 2185 h 3616"/>
                <a:gd name="T68" fmla="*/ 1223 w 5307"/>
                <a:gd name="T69" fmla="*/ 1952 h 3616"/>
                <a:gd name="T70" fmla="*/ 1432 w 5307"/>
                <a:gd name="T71" fmla="*/ 1901 h 3616"/>
                <a:gd name="T72" fmla="*/ 1563 w 5307"/>
                <a:gd name="T73" fmla="*/ 2133 h 3616"/>
                <a:gd name="T74" fmla="*/ 1119 w 5307"/>
                <a:gd name="T75" fmla="*/ 2185 h 3616"/>
                <a:gd name="T76" fmla="*/ 1352 w 5307"/>
                <a:gd name="T77" fmla="*/ 2369 h 3616"/>
                <a:gd name="T78" fmla="*/ 1459 w 5307"/>
                <a:gd name="T79" fmla="*/ 2783 h 3616"/>
                <a:gd name="T80" fmla="*/ 1980 w 5307"/>
                <a:gd name="T81" fmla="*/ 3044 h 3616"/>
                <a:gd name="T82" fmla="*/ 2003 w 5307"/>
                <a:gd name="T83" fmla="*/ 2912 h 3616"/>
                <a:gd name="T84" fmla="*/ 1772 w 5307"/>
                <a:gd name="T85" fmla="*/ 2601 h 3616"/>
                <a:gd name="T86" fmla="*/ 2187 w 5307"/>
                <a:gd name="T87" fmla="*/ 2783 h 3616"/>
                <a:gd name="T88" fmla="*/ 2552 w 5307"/>
                <a:gd name="T89" fmla="*/ 2912 h 3616"/>
                <a:gd name="T90" fmla="*/ 3043 w 5307"/>
                <a:gd name="T91" fmla="*/ 2912 h 3616"/>
                <a:gd name="T92" fmla="*/ 3279 w 5307"/>
                <a:gd name="T93" fmla="*/ 3125 h 3616"/>
                <a:gd name="T94" fmla="*/ 3408 w 5307"/>
                <a:gd name="T95" fmla="*/ 3436 h 3616"/>
                <a:gd name="T96" fmla="*/ 3435 w 5307"/>
                <a:gd name="T97" fmla="*/ 3280 h 3616"/>
                <a:gd name="T98" fmla="*/ 3696 w 5307"/>
                <a:gd name="T99" fmla="*/ 3229 h 3616"/>
                <a:gd name="T100" fmla="*/ 3667 w 5307"/>
                <a:gd name="T101" fmla="*/ 2968 h 3616"/>
                <a:gd name="T102" fmla="*/ 4032 w 5307"/>
                <a:gd name="T103" fmla="*/ 2628 h 3616"/>
                <a:gd name="T104" fmla="*/ 3955 w 5307"/>
                <a:gd name="T105" fmla="*/ 2288 h 3616"/>
                <a:gd name="T106" fmla="*/ 4072 w 5307"/>
                <a:gd name="T107" fmla="*/ 2148 h 3616"/>
                <a:gd name="T108" fmla="*/ 4162 w 5307"/>
                <a:gd name="T109" fmla="*/ 2236 h 3616"/>
                <a:gd name="T110" fmla="*/ 4424 w 5307"/>
                <a:gd name="T111" fmla="*/ 1561 h 3616"/>
                <a:gd name="T112" fmla="*/ 4447 w 5307"/>
                <a:gd name="T113" fmla="*/ 1069 h 3616"/>
                <a:gd name="T114" fmla="*/ 4786 w 5307"/>
                <a:gd name="T115" fmla="*/ 912 h 3616"/>
                <a:gd name="T116" fmla="*/ 4892 w 5307"/>
                <a:gd name="T117" fmla="*/ 1354 h 3616"/>
                <a:gd name="T118" fmla="*/ 5023 w 5307"/>
                <a:gd name="T119" fmla="*/ 730 h 3616"/>
                <a:gd name="T120" fmla="*/ 5023 w 5307"/>
                <a:gd name="T121" fmla="*/ 417 h 3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07" h="3616">
                  <a:moveTo>
                    <a:pt x="5203" y="394"/>
                  </a:moveTo>
                  <a:lnTo>
                    <a:pt x="5232" y="342"/>
                  </a:lnTo>
                  <a:lnTo>
                    <a:pt x="5180" y="288"/>
                  </a:lnTo>
                  <a:lnTo>
                    <a:pt x="5099" y="313"/>
                  </a:lnTo>
                  <a:lnTo>
                    <a:pt x="5023" y="261"/>
                  </a:lnTo>
                  <a:lnTo>
                    <a:pt x="4971" y="237"/>
                  </a:lnTo>
                  <a:lnTo>
                    <a:pt x="4936" y="229"/>
                  </a:lnTo>
                  <a:lnTo>
                    <a:pt x="4944" y="237"/>
                  </a:lnTo>
                  <a:lnTo>
                    <a:pt x="4919" y="237"/>
                  </a:lnTo>
                  <a:lnTo>
                    <a:pt x="4840" y="210"/>
                  </a:lnTo>
                  <a:lnTo>
                    <a:pt x="4712" y="158"/>
                  </a:lnTo>
                  <a:lnTo>
                    <a:pt x="4604" y="158"/>
                  </a:lnTo>
                  <a:lnTo>
                    <a:pt x="4527" y="210"/>
                  </a:lnTo>
                  <a:lnTo>
                    <a:pt x="4579" y="237"/>
                  </a:lnTo>
                  <a:lnTo>
                    <a:pt x="4579" y="288"/>
                  </a:lnTo>
                  <a:lnTo>
                    <a:pt x="4552" y="288"/>
                  </a:lnTo>
                  <a:lnTo>
                    <a:pt x="4504" y="237"/>
                  </a:lnTo>
                  <a:lnTo>
                    <a:pt x="4395" y="261"/>
                  </a:lnTo>
                  <a:lnTo>
                    <a:pt x="4372" y="313"/>
                  </a:lnTo>
                  <a:lnTo>
                    <a:pt x="4320" y="288"/>
                  </a:lnTo>
                  <a:lnTo>
                    <a:pt x="4268" y="288"/>
                  </a:lnTo>
                  <a:lnTo>
                    <a:pt x="4216" y="210"/>
                  </a:lnTo>
                  <a:lnTo>
                    <a:pt x="4084" y="210"/>
                  </a:lnTo>
                  <a:lnTo>
                    <a:pt x="4059" y="261"/>
                  </a:lnTo>
                  <a:lnTo>
                    <a:pt x="4007" y="237"/>
                  </a:lnTo>
                  <a:lnTo>
                    <a:pt x="3928" y="237"/>
                  </a:lnTo>
                  <a:lnTo>
                    <a:pt x="3955" y="185"/>
                  </a:lnTo>
                  <a:lnTo>
                    <a:pt x="3903" y="185"/>
                  </a:lnTo>
                  <a:lnTo>
                    <a:pt x="3800" y="261"/>
                  </a:lnTo>
                  <a:lnTo>
                    <a:pt x="3800" y="210"/>
                  </a:lnTo>
                  <a:lnTo>
                    <a:pt x="3719" y="210"/>
                  </a:lnTo>
                  <a:lnTo>
                    <a:pt x="3667" y="237"/>
                  </a:lnTo>
                  <a:lnTo>
                    <a:pt x="3719" y="288"/>
                  </a:lnTo>
                  <a:lnTo>
                    <a:pt x="3696" y="288"/>
                  </a:lnTo>
                  <a:lnTo>
                    <a:pt x="3696" y="313"/>
                  </a:lnTo>
                  <a:lnTo>
                    <a:pt x="3644" y="313"/>
                  </a:lnTo>
                  <a:lnTo>
                    <a:pt x="3615" y="313"/>
                  </a:lnTo>
                  <a:lnTo>
                    <a:pt x="3563" y="365"/>
                  </a:lnTo>
                  <a:lnTo>
                    <a:pt x="3563" y="394"/>
                  </a:lnTo>
                  <a:lnTo>
                    <a:pt x="3512" y="365"/>
                  </a:lnTo>
                  <a:lnTo>
                    <a:pt x="3487" y="342"/>
                  </a:lnTo>
                  <a:lnTo>
                    <a:pt x="3435" y="342"/>
                  </a:lnTo>
                  <a:lnTo>
                    <a:pt x="3435" y="313"/>
                  </a:lnTo>
                  <a:lnTo>
                    <a:pt x="3383" y="237"/>
                  </a:lnTo>
                  <a:lnTo>
                    <a:pt x="3304" y="237"/>
                  </a:lnTo>
                  <a:lnTo>
                    <a:pt x="3279" y="237"/>
                  </a:lnTo>
                  <a:lnTo>
                    <a:pt x="3279" y="288"/>
                  </a:lnTo>
                  <a:lnTo>
                    <a:pt x="3176" y="313"/>
                  </a:lnTo>
                  <a:lnTo>
                    <a:pt x="3176" y="288"/>
                  </a:lnTo>
                  <a:lnTo>
                    <a:pt x="3147" y="288"/>
                  </a:lnTo>
                  <a:lnTo>
                    <a:pt x="3072" y="313"/>
                  </a:lnTo>
                  <a:lnTo>
                    <a:pt x="2968" y="288"/>
                  </a:lnTo>
                  <a:lnTo>
                    <a:pt x="2968" y="342"/>
                  </a:lnTo>
                  <a:lnTo>
                    <a:pt x="2915" y="365"/>
                  </a:lnTo>
                  <a:lnTo>
                    <a:pt x="2888" y="394"/>
                  </a:lnTo>
                  <a:lnTo>
                    <a:pt x="2863" y="394"/>
                  </a:lnTo>
                  <a:lnTo>
                    <a:pt x="2915" y="288"/>
                  </a:lnTo>
                  <a:lnTo>
                    <a:pt x="2940" y="261"/>
                  </a:lnTo>
                  <a:lnTo>
                    <a:pt x="2940" y="237"/>
                  </a:lnTo>
                  <a:lnTo>
                    <a:pt x="2940" y="185"/>
                  </a:lnTo>
                  <a:lnTo>
                    <a:pt x="2915" y="133"/>
                  </a:lnTo>
                  <a:lnTo>
                    <a:pt x="2915" y="81"/>
                  </a:lnTo>
                  <a:lnTo>
                    <a:pt x="2836" y="54"/>
                  </a:lnTo>
                  <a:lnTo>
                    <a:pt x="2784" y="54"/>
                  </a:lnTo>
                  <a:lnTo>
                    <a:pt x="2759" y="54"/>
                  </a:lnTo>
                  <a:lnTo>
                    <a:pt x="2759" y="106"/>
                  </a:lnTo>
                  <a:lnTo>
                    <a:pt x="2732" y="106"/>
                  </a:lnTo>
                  <a:lnTo>
                    <a:pt x="2707" y="54"/>
                  </a:lnTo>
                  <a:lnTo>
                    <a:pt x="2655" y="29"/>
                  </a:lnTo>
                  <a:lnTo>
                    <a:pt x="2627" y="0"/>
                  </a:lnTo>
                  <a:lnTo>
                    <a:pt x="2604" y="0"/>
                  </a:lnTo>
                  <a:lnTo>
                    <a:pt x="2575" y="54"/>
                  </a:lnTo>
                  <a:lnTo>
                    <a:pt x="2575" y="81"/>
                  </a:lnTo>
                  <a:lnTo>
                    <a:pt x="2627" y="106"/>
                  </a:lnTo>
                  <a:lnTo>
                    <a:pt x="2604" y="133"/>
                  </a:lnTo>
                  <a:lnTo>
                    <a:pt x="2627" y="158"/>
                  </a:lnTo>
                  <a:lnTo>
                    <a:pt x="2604" y="158"/>
                  </a:lnTo>
                  <a:lnTo>
                    <a:pt x="2575" y="210"/>
                  </a:lnTo>
                  <a:lnTo>
                    <a:pt x="2500" y="210"/>
                  </a:lnTo>
                  <a:lnTo>
                    <a:pt x="2471" y="210"/>
                  </a:lnTo>
                  <a:lnTo>
                    <a:pt x="2448" y="210"/>
                  </a:lnTo>
                  <a:lnTo>
                    <a:pt x="2448" y="237"/>
                  </a:lnTo>
                  <a:lnTo>
                    <a:pt x="2367" y="288"/>
                  </a:lnTo>
                  <a:lnTo>
                    <a:pt x="2367" y="365"/>
                  </a:lnTo>
                  <a:lnTo>
                    <a:pt x="2396" y="417"/>
                  </a:lnTo>
                  <a:lnTo>
                    <a:pt x="2367" y="417"/>
                  </a:lnTo>
                  <a:lnTo>
                    <a:pt x="2291" y="446"/>
                  </a:lnTo>
                  <a:lnTo>
                    <a:pt x="2264" y="469"/>
                  </a:lnTo>
                  <a:lnTo>
                    <a:pt x="2291" y="549"/>
                  </a:lnTo>
                  <a:lnTo>
                    <a:pt x="2367" y="549"/>
                  </a:lnTo>
                  <a:lnTo>
                    <a:pt x="2367" y="601"/>
                  </a:lnTo>
                  <a:lnTo>
                    <a:pt x="2419" y="653"/>
                  </a:lnTo>
                  <a:lnTo>
                    <a:pt x="2448" y="730"/>
                  </a:lnTo>
                  <a:lnTo>
                    <a:pt x="2396" y="678"/>
                  </a:lnTo>
                  <a:lnTo>
                    <a:pt x="2367" y="601"/>
                  </a:lnTo>
                  <a:lnTo>
                    <a:pt x="2264" y="549"/>
                  </a:lnTo>
                  <a:lnTo>
                    <a:pt x="2239" y="549"/>
                  </a:lnTo>
                  <a:lnTo>
                    <a:pt x="2239" y="572"/>
                  </a:lnTo>
                  <a:lnTo>
                    <a:pt x="2187" y="624"/>
                  </a:lnTo>
                  <a:lnTo>
                    <a:pt x="2239" y="624"/>
                  </a:lnTo>
                  <a:lnTo>
                    <a:pt x="2264" y="653"/>
                  </a:lnTo>
                  <a:lnTo>
                    <a:pt x="2187" y="653"/>
                  </a:lnTo>
                  <a:lnTo>
                    <a:pt x="2135" y="601"/>
                  </a:lnTo>
                  <a:lnTo>
                    <a:pt x="2135" y="653"/>
                  </a:lnTo>
                  <a:lnTo>
                    <a:pt x="2187" y="730"/>
                  </a:lnTo>
                  <a:lnTo>
                    <a:pt x="2187" y="757"/>
                  </a:lnTo>
                  <a:lnTo>
                    <a:pt x="2212" y="782"/>
                  </a:lnTo>
                  <a:lnTo>
                    <a:pt x="2291" y="782"/>
                  </a:lnTo>
                  <a:lnTo>
                    <a:pt x="2327" y="841"/>
                  </a:lnTo>
                  <a:lnTo>
                    <a:pt x="2264" y="808"/>
                  </a:lnTo>
                  <a:lnTo>
                    <a:pt x="2239" y="808"/>
                  </a:lnTo>
                  <a:lnTo>
                    <a:pt x="2212" y="833"/>
                  </a:lnTo>
                  <a:lnTo>
                    <a:pt x="2239" y="912"/>
                  </a:lnTo>
                  <a:lnTo>
                    <a:pt x="2212" y="989"/>
                  </a:lnTo>
                  <a:lnTo>
                    <a:pt x="2160" y="989"/>
                  </a:lnTo>
                  <a:lnTo>
                    <a:pt x="2108" y="989"/>
                  </a:lnTo>
                  <a:lnTo>
                    <a:pt x="2160" y="966"/>
                  </a:lnTo>
                  <a:lnTo>
                    <a:pt x="2187" y="860"/>
                  </a:lnTo>
                  <a:lnTo>
                    <a:pt x="2187" y="808"/>
                  </a:lnTo>
                  <a:lnTo>
                    <a:pt x="2083" y="653"/>
                  </a:lnTo>
                  <a:lnTo>
                    <a:pt x="2056" y="572"/>
                  </a:lnTo>
                  <a:lnTo>
                    <a:pt x="2003" y="549"/>
                  </a:lnTo>
                  <a:lnTo>
                    <a:pt x="1980" y="678"/>
                  </a:lnTo>
                  <a:lnTo>
                    <a:pt x="2003" y="757"/>
                  </a:lnTo>
                  <a:lnTo>
                    <a:pt x="2056" y="808"/>
                  </a:lnTo>
                  <a:lnTo>
                    <a:pt x="2056" y="833"/>
                  </a:lnTo>
                  <a:lnTo>
                    <a:pt x="2003" y="808"/>
                  </a:lnTo>
                  <a:lnTo>
                    <a:pt x="1951" y="782"/>
                  </a:lnTo>
                  <a:lnTo>
                    <a:pt x="1847" y="782"/>
                  </a:lnTo>
                  <a:lnTo>
                    <a:pt x="1876" y="833"/>
                  </a:lnTo>
                  <a:lnTo>
                    <a:pt x="1876" y="860"/>
                  </a:lnTo>
                  <a:lnTo>
                    <a:pt x="1847" y="860"/>
                  </a:lnTo>
                  <a:lnTo>
                    <a:pt x="1824" y="833"/>
                  </a:lnTo>
                  <a:lnTo>
                    <a:pt x="1743" y="885"/>
                  </a:lnTo>
                  <a:lnTo>
                    <a:pt x="1720" y="885"/>
                  </a:lnTo>
                  <a:lnTo>
                    <a:pt x="1692" y="860"/>
                  </a:lnTo>
                  <a:lnTo>
                    <a:pt x="1615" y="912"/>
                  </a:lnTo>
                  <a:lnTo>
                    <a:pt x="1588" y="937"/>
                  </a:lnTo>
                  <a:lnTo>
                    <a:pt x="1563" y="937"/>
                  </a:lnTo>
                  <a:lnTo>
                    <a:pt x="1536" y="989"/>
                  </a:lnTo>
                  <a:lnTo>
                    <a:pt x="1507" y="966"/>
                  </a:lnTo>
                  <a:lnTo>
                    <a:pt x="1507" y="885"/>
                  </a:lnTo>
                  <a:lnTo>
                    <a:pt x="1484" y="912"/>
                  </a:lnTo>
                  <a:lnTo>
                    <a:pt x="1459" y="937"/>
                  </a:lnTo>
                  <a:lnTo>
                    <a:pt x="1484" y="1018"/>
                  </a:lnTo>
                  <a:lnTo>
                    <a:pt x="1459" y="1041"/>
                  </a:lnTo>
                  <a:lnTo>
                    <a:pt x="1407" y="1041"/>
                  </a:lnTo>
                  <a:lnTo>
                    <a:pt x="1379" y="1093"/>
                  </a:lnTo>
                  <a:lnTo>
                    <a:pt x="1379" y="1121"/>
                  </a:lnTo>
                  <a:lnTo>
                    <a:pt x="1379" y="1144"/>
                  </a:lnTo>
                  <a:lnTo>
                    <a:pt x="1327" y="1093"/>
                  </a:lnTo>
                  <a:lnTo>
                    <a:pt x="1300" y="1144"/>
                  </a:lnTo>
                  <a:lnTo>
                    <a:pt x="1300" y="1173"/>
                  </a:lnTo>
                  <a:lnTo>
                    <a:pt x="1252" y="1121"/>
                  </a:lnTo>
                  <a:lnTo>
                    <a:pt x="1252" y="1041"/>
                  </a:lnTo>
                  <a:lnTo>
                    <a:pt x="1196" y="1018"/>
                  </a:lnTo>
                  <a:lnTo>
                    <a:pt x="1196" y="989"/>
                  </a:lnTo>
                  <a:lnTo>
                    <a:pt x="1252" y="1018"/>
                  </a:lnTo>
                  <a:lnTo>
                    <a:pt x="1300" y="1041"/>
                  </a:lnTo>
                  <a:lnTo>
                    <a:pt x="1352" y="1018"/>
                  </a:lnTo>
                  <a:lnTo>
                    <a:pt x="1379" y="989"/>
                  </a:lnTo>
                  <a:lnTo>
                    <a:pt x="1300" y="885"/>
                  </a:lnTo>
                  <a:lnTo>
                    <a:pt x="1252" y="860"/>
                  </a:lnTo>
                  <a:lnTo>
                    <a:pt x="1196" y="860"/>
                  </a:lnTo>
                  <a:lnTo>
                    <a:pt x="1144" y="833"/>
                  </a:lnTo>
                  <a:lnTo>
                    <a:pt x="1119" y="808"/>
                  </a:lnTo>
                  <a:lnTo>
                    <a:pt x="1091" y="808"/>
                  </a:lnTo>
                  <a:lnTo>
                    <a:pt x="1119" y="782"/>
                  </a:lnTo>
                  <a:lnTo>
                    <a:pt x="1091" y="757"/>
                  </a:lnTo>
                  <a:lnTo>
                    <a:pt x="1039" y="757"/>
                  </a:lnTo>
                  <a:lnTo>
                    <a:pt x="1016" y="782"/>
                  </a:lnTo>
                  <a:lnTo>
                    <a:pt x="987" y="757"/>
                  </a:lnTo>
                  <a:lnTo>
                    <a:pt x="964" y="757"/>
                  </a:lnTo>
                  <a:lnTo>
                    <a:pt x="964" y="782"/>
                  </a:lnTo>
                  <a:lnTo>
                    <a:pt x="935" y="782"/>
                  </a:lnTo>
                  <a:lnTo>
                    <a:pt x="912" y="782"/>
                  </a:lnTo>
                  <a:lnTo>
                    <a:pt x="912" y="833"/>
                  </a:lnTo>
                  <a:lnTo>
                    <a:pt x="860" y="833"/>
                  </a:lnTo>
                  <a:lnTo>
                    <a:pt x="808" y="833"/>
                  </a:lnTo>
                  <a:lnTo>
                    <a:pt x="755" y="912"/>
                  </a:lnTo>
                  <a:lnTo>
                    <a:pt x="780" y="912"/>
                  </a:lnTo>
                  <a:lnTo>
                    <a:pt x="755" y="937"/>
                  </a:lnTo>
                  <a:lnTo>
                    <a:pt x="755" y="966"/>
                  </a:lnTo>
                  <a:lnTo>
                    <a:pt x="728" y="937"/>
                  </a:lnTo>
                  <a:lnTo>
                    <a:pt x="703" y="989"/>
                  </a:lnTo>
                  <a:lnTo>
                    <a:pt x="703" y="1018"/>
                  </a:lnTo>
                  <a:lnTo>
                    <a:pt x="651" y="1093"/>
                  </a:lnTo>
                  <a:lnTo>
                    <a:pt x="599" y="1144"/>
                  </a:lnTo>
                  <a:lnTo>
                    <a:pt x="599" y="1173"/>
                  </a:lnTo>
                  <a:lnTo>
                    <a:pt x="572" y="1173"/>
                  </a:lnTo>
                  <a:lnTo>
                    <a:pt x="572" y="1196"/>
                  </a:lnTo>
                  <a:lnTo>
                    <a:pt x="520" y="1248"/>
                  </a:lnTo>
                  <a:lnTo>
                    <a:pt x="495" y="1277"/>
                  </a:lnTo>
                  <a:lnTo>
                    <a:pt x="495" y="1302"/>
                  </a:lnTo>
                  <a:lnTo>
                    <a:pt x="495" y="1329"/>
                  </a:lnTo>
                  <a:lnTo>
                    <a:pt x="495" y="1354"/>
                  </a:lnTo>
                  <a:lnTo>
                    <a:pt x="495" y="1380"/>
                  </a:lnTo>
                  <a:lnTo>
                    <a:pt x="495" y="1405"/>
                  </a:lnTo>
                  <a:lnTo>
                    <a:pt x="495" y="1432"/>
                  </a:lnTo>
                  <a:lnTo>
                    <a:pt x="520" y="1457"/>
                  </a:lnTo>
                  <a:lnTo>
                    <a:pt x="572" y="1432"/>
                  </a:lnTo>
                  <a:lnTo>
                    <a:pt x="599" y="1405"/>
                  </a:lnTo>
                  <a:lnTo>
                    <a:pt x="651" y="1380"/>
                  </a:lnTo>
                  <a:lnTo>
                    <a:pt x="651" y="1432"/>
                  </a:lnTo>
                  <a:lnTo>
                    <a:pt x="651" y="1457"/>
                  </a:lnTo>
                  <a:lnTo>
                    <a:pt x="676" y="1484"/>
                  </a:lnTo>
                  <a:lnTo>
                    <a:pt x="676" y="1509"/>
                  </a:lnTo>
                  <a:lnTo>
                    <a:pt x="703" y="1561"/>
                  </a:lnTo>
                  <a:lnTo>
                    <a:pt x="728" y="1561"/>
                  </a:lnTo>
                  <a:lnTo>
                    <a:pt x="728" y="1509"/>
                  </a:lnTo>
                  <a:lnTo>
                    <a:pt x="755" y="1509"/>
                  </a:lnTo>
                  <a:lnTo>
                    <a:pt x="780" y="1484"/>
                  </a:lnTo>
                  <a:lnTo>
                    <a:pt x="780" y="1432"/>
                  </a:lnTo>
                  <a:lnTo>
                    <a:pt x="780" y="1405"/>
                  </a:lnTo>
                  <a:lnTo>
                    <a:pt x="780" y="1380"/>
                  </a:lnTo>
                  <a:lnTo>
                    <a:pt x="808" y="1380"/>
                  </a:lnTo>
                  <a:lnTo>
                    <a:pt x="831" y="1380"/>
                  </a:lnTo>
                  <a:lnTo>
                    <a:pt x="831" y="1354"/>
                  </a:lnTo>
                  <a:lnTo>
                    <a:pt x="780" y="1302"/>
                  </a:lnTo>
                  <a:lnTo>
                    <a:pt x="808" y="1225"/>
                  </a:lnTo>
                  <a:lnTo>
                    <a:pt x="860" y="1225"/>
                  </a:lnTo>
                  <a:lnTo>
                    <a:pt x="883" y="1173"/>
                  </a:lnTo>
                  <a:lnTo>
                    <a:pt x="912" y="1144"/>
                  </a:lnTo>
                  <a:lnTo>
                    <a:pt x="912" y="1093"/>
                  </a:lnTo>
                  <a:lnTo>
                    <a:pt x="964" y="1041"/>
                  </a:lnTo>
                  <a:lnTo>
                    <a:pt x="987" y="1069"/>
                  </a:lnTo>
                  <a:lnTo>
                    <a:pt x="1016" y="1093"/>
                  </a:lnTo>
                  <a:lnTo>
                    <a:pt x="987" y="1121"/>
                  </a:lnTo>
                  <a:lnTo>
                    <a:pt x="935" y="1173"/>
                  </a:lnTo>
                  <a:lnTo>
                    <a:pt x="935" y="1196"/>
                  </a:lnTo>
                  <a:lnTo>
                    <a:pt x="912" y="1196"/>
                  </a:lnTo>
                  <a:lnTo>
                    <a:pt x="912" y="1225"/>
                  </a:lnTo>
                  <a:lnTo>
                    <a:pt x="912" y="1248"/>
                  </a:lnTo>
                  <a:lnTo>
                    <a:pt x="935" y="1277"/>
                  </a:lnTo>
                  <a:lnTo>
                    <a:pt x="912" y="1302"/>
                  </a:lnTo>
                  <a:lnTo>
                    <a:pt x="912" y="1329"/>
                  </a:lnTo>
                  <a:lnTo>
                    <a:pt x="935" y="1329"/>
                  </a:lnTo>
                  <a:lnTo>
                    <a:pt x="987" y="1329"/>
                  </a:lnTo>
                  <a:lnTo>
                    <a:pt x="1091" y="1302"/>
                  </a:lnTo>
                  <a:lnTo>
                    <a:pt x="1119" y="1302"/>
                  </a:lnTo>
                  <a:lnTo>
                    <a:pt x="1144" y="1329"/>
                  </a:lnTo>
                  <a:lnTo>
                    <a:pt x="1171" y="1354"/>
                  </a:lnTo>
                  <a:lnTo>
                    <a:pt x="1144" y="1380"/>
                  </a:lnTo>
                  <a:lnTo>
                    <a:pt x="1119" y="1405"/>
                  </a:lnTo>
                  <a:lnTo>
                    <a:pt x="1144" y="1380"/>
                  </a:lnTo>
                  <a:lnTo>
                    <a:pt x="1091" y="1380"/>
                  </a:lnTo>
                  <a:lnTo>
                    <a:pt x="1068" y="1380"/>
                  </a:lnTo>
                  <a:lnTo>
                    <a:pt x="1016" y="1405"/>
                  </a:lnTo>
                  <a:lnTo>
                    <a:pt x="987" y="1405"/>
                  </a:lnTo>
                  <a:lnTo>
                    <a:pt x="987" y="1457"/>
                  </a:lnTo>
                  <a:lnTo>
                    <a:pt x="987" y="1484"/>
                  </a:lnTo>
                  <a:lnTo>
                    <a:pt x="935" y="1484"/>
                  </a:lnTo>
                  <a:lnTo>
                    <a:pt x="912" y="1509"/>
                  </a:lnTo>
                  <a:lnTo>
                    <a:pt x="912" y="1536"/>
                  </a:lnTo>
                  <a:lnTo>
                    <a:pt x="912" y="1561"/>
                  </a:lnTo>
                  <a:lnTo>
                    <a:pt x="912" y="1590"/>
                  </a:lnTo>
                  <a:lnTo>
                    <a:pt x="883" y="1613"/>
                  </a:lnTo>
                  <a:lnTo>
                    <a:pt x="912" y="1613"/>
                  </a:lnTo>
                  <a:lnTo>
                    <a:pt x="964" y="1641"/>
                  </a:lnTo>
                  <a:lnTo>
                    <a:pt x="935" y="1641"/>
                  </a:lnTo>
                  <a:lnTo>
                    <a:pt x="883" y="1613"/>
                  </a:lnTo>
                  <a:lnTo>
                    <a:pt x="860" y="1613"/>
                  </a:lnTo>
                  <a:lnTo>
                    <a:pt x="808" y="1613"/>
                  </a:lnTo>
                  <a:lnTo>
                    <a:pt x="728" y="1641"/>
                  </a:lnTo>
                  <a:lnTo>
                    <a:pt x="676" y="1641"/>
                  </a:lnTo>
                  <a:lnTo>
                    <a:pt x="624" y="1641"/>
                  </a:lnTo>
                  <a:lnTo>
                    <a:pt x="599" y="1613"/>
                  </a:lnTo>
                  <a:lnTo>
                    <a:pt x="599" y="1561"/>
                  </a:lnTo>
                  <a:lnTo>
                    <a:pt x="624" y="1536"/>
                  </a:lnTo>
                  <a:lnTo>
                    <a:pt x="624" y="1509"/>
                  </a:lnTo>
                  <a:lnTo>
                    <a:pt x="599" y="1457"/>
                  </a:lnTo>
                  <a:lnTo>
                    <a:pt x="572" y="1509"/>
                  </a:lnTo>
                  <a:lnTo>
                    <a:pt x="572" y="1536"/>
                  </a:lnTo>
                  <a:lnTo>
                    <a:pt x="572" y="1590"/>
                  </a:lnTo>
                  <a:lnTo>
                    <a:pt x="572" y="1613"/>
                  </a:lnTo>
                  <a:lnTo>
                    <a:pt x="572" y="1641"/>
                  </a:lnTo>
                  <a:lnTo>
                    <a:pt x="547" y="1641"/>
                  </a:lnTo>
                  <a:lnTo>
                    <a:pt x="520" y="1664"/>
                  </a:lnTo>
                  <a:lnTo>
                    <a:pt x="467" y="1664"/>
                  </a:lnTo>
                  <a:lnTo>
                    <a:pt x="467" y="1693"/>
                  </a:lnTo>
                  <a:lnTo>
                    <a:pt x="444" y="1716"/>
                  </a:lnTo>
                  <a:lnTo>
                    <a:pt x="415" y="1716"/>
                  </a:lnTo>
                  <a:lnTo>
                    <a:pt x="415" y="1745"/>
                  </a:lnTo>
                  <a:lnTo>
                    <a:pt x="392" y="1745"/>
                  </a:lnTo>
                  <a:lnTo>
                    <a:pt x="363" y="1768"/>
                  </a:lnTo>
                  <a:lnTo>
                    <a:pt x="311" y="1797"/>
                  </a:lnTo>
                  <a:lnTo>
                    <a:pt x="288" y="1797"/>
                  </a:lnTo>
                  <a:lnTo>
                    <a:pt x="236" y="1820"/>
                  </a:lnTo>
                  <a:lnTo>
                    <a:pt x="207" y="1849"/>
                  </a:lnTo>
                  <a:lnTo>
                    <a:pt x="184" y="1849"/>
                  </a:lnTo>
                  <a:lnTo>
                    <a:pt x="184" y="1872"/>
                  </a:lnTo>
                  <a:lnTo>
                    <a:pt x="207" y="1872"/>
                  </a:lnTo>
                  <a:lnTo>
                    <a:pt x="236" y="1901"/>
                  </a:lnTo>
                  <a:lnTo>
                    <a:pt x="236" y="1925"/>
                  </a:lnTo>
                  <a:lnTo>
                    <a:pt x="236" y="2004"/>
                  </a:lnTo>
                  <a:lnTo>
                    <a:pt x="207" y="2029"/>
                  </a:lnTo>
                  <a:lnTo>
                    <a:pt x="184" y="2029"/>
                  </a:lnTo>
                  <a:lnTo>
                    <a:pt x="156" y="2029"/>
                  </a:lnTo>
                  <a:lnTo>
                    <a:pt x="131" y="2004"/>
                  </a:lnTo>
                  <a:lnTo>
                    <a:pt x="79" y="2029"/>
                  </a:lnTo>
                  <a:lnTo>
                    <a:pt x="52" y="2029"/>
                  </a:lnTo>
                  <a:lnTo>
                    <a:pt x="27" y="2029"/>
                  </a:lnTo>
                  <a:lnTo>
                    <a:pt x="27" y="2081"/>
                  </a:lnTo>
                  <a:lnTo>
                    <a:pt x="27" y="2133"/>
                  </a:lnTo>
                  <a:lnTo>
                    <a:pt x="27" y="2185"/>
                  </a:lnTo>
                  <a:lnTo>
                    <a:pt x="0" y="2213"/>
                  </a:lnTo>
                  <a:lnTo>
                    <a:pt x="27" y="2265"/>
                  </a:lnTo>
                  <a:lnTo>
                    <a:pt x="0" y="2317"/>
                  </a:lnTo>
                  <a:lnTo>
                    <a:pt x="52" y="2317"/>
                  </a:lnTo>
                  <a:lnTo>
                    <a:pt x="79" y="2317"/>
                  </a:lnTo>
                  <a:lnTo>
                    <a:pt x="104" y="2369"/>
                  </a:lnTo>
                  <a:lnTo>
                    <a:pt x="156" y="2340"/>
                  </a:lnTo>
                  <a:lnTo>
                    <a:pt x="207" y="2369"/>
                  </a:lnTo>
                  <a:lnTo>
                    <a:pt x="236" y="2340"/>
                  </a:lnTo>
                  <a:lnTo>
                    <a:pt x="259" y="2317"/>
                  </a:lnTo>
                  <a:lnTo>
                    <a:pt x="288" y="2265"/>
                  </a:lnTo>
                  <a:lnTo>
                    <a:pt x="340" y="2185"/>
                  </a:lnTo>
                  <a:lnTo>
                    <a:pt x="392" y="2133"/>
                  </a:lnTo>
                  <a:lnTo>
                    <a:pt x="392" y="2081"/>
                  </a:lnTo>
                  <a:lnTo>
                    <a:pt x="415" y="2081"/>
                  </a:lnTo>
                  <a:lnTo>
                    <a:pt x="415" y="2056"/>
                  </a:lnTo>
                  <a:lnTo>
                    <a:pt x="467" y="2056"/>
                  </a:lnTo>
                  <a:lnTo>
                    <a:pt x="495" y="2029"/>
                  </a:lnTo>
                  <a:lnTo>
                    <a:pt x="520" y="2029"/>
                  </a:lnTo>
                  <a:lnTo>
                    <a:pt x="572" y="2029"/>
                  </a:lnTo>
                  <a:lnTo>
                    <a:pt x="599" y="2029"/>
                  </a:lnTo>
                  <a:lnTo>
                    <a:pt x="624" y="2056"/>
                  </a:lnTo>
                  <a:lnTo>
                    <a:pt x="624" y="2081"/>
                  </a:lnTo>
                  <a:lnTo>
                    <a:pt x="703" y="2160"/>
                  </a:lnTo>
                  <a:lnTo>
                    <a:pt x="728" y="2160"/>
                  </a:lnTo>
                  <a:lnTo>
                    <a:pt x="755" y="2185"/>
                  </a:lnTo>
                  <a:lnTo>
                    <a:pt x="780" y="2213"/>
                  </a:lnTo>
                  <a:lnTo>
                    <a:pt x="755" y="2236"/>
                  </a:lnTo>
                  <a:lnTo>
                    <a:pt x="755" y="2265"/>
                  </a:lnTo>
                  <a:lnTo>
                    <a:pt x="808" y="2236"/>
                  </a:lnTo>
                  <a:lnTo>
                    <a:pt x="780" y="2185"/>
                  </a:lnTo>
                  <a:lnTo>
                    <a:pt x="780" y="2160"/>
                  </a:lnTo>
                  <a:lnTo>
                    <a:pt x="808" y="2185"/>
                  </a:lnTo>
                  <a:lnTo>
                    <a:pt x="831" y="2213"/>
                  </a:lnTo>
                  <a:lnTo>
                    <a:pt x="831" y="2185"/>
                  </a:lnTo>
                  <a:lnTo>
                    <a:pt x="780" y="2133"/>
                  </a:lnTo>
                  <a:lnTo>
                    <a:pt x="755" y="2108"/>
                  </a:lnTo>
                  <a:lnTo>
                    <a:pt x="728" y="2081"/>
                  </a:lnTo>
                  <a:lnTo>
                    <a:pt x="703" y="2081"/>
                  </a:lnTo>
                  <a:lnTo>
                    <a:pt x="676" y="2029"/>
                  </a:lnTo>
                  <a:lnTo>
                    <a:pt x="651" y="2029"/>
                  </a:lnTo>
                  <a:lnTo>
                    <a:pt x="651" y="2004"/>
                  </a:lnTo>
                  <a:lnTo>
                    <a:pt x="651" y="1977"/>
                  </a:lnTo>
                  <a:lnTo>
                    <a:pt x="676" y="1977"/>
                  </a:lnTo>
                  <a:lnTo>
                    <a:pt x="703" y="2004"/>
                  </a:lnTo>
                  <a:lnTo>
                    <a:pt x="755" y="2004"/>
                  </a:lnTo>
                  <a:lnTo>
                    <a:pt x="755" y="2029"/>
                  </a:lnTo>
                  <a:lnTo>
                    <a:pt x="780" y="2056"/>
                  </a:lnTo>
                  <a:lnTo>
                    <a:pt x="808" y="2081"/>
                  </a:lnTo>
                  <a:lnTo>
                    <a:pt x="860" y="2081"/>
                  </a:lnTo>
                  <a:lnTo>
                    <a:pt x="883" y="2108"/>
                  </a:lnTo>
                  <a:lnTo>
                    <a:pt x="883" y="2133"/>
                  </a:lnTo>
                  <a:lnTo>
                    <a:pt x="883" y="2185"/>
                  </a:lnTo>
                  <a:lnTo>
                    <a:pt x="912" y="2185"/>
                  </a:lnTo>
                  <a:lnTo>
                    <a:pt x="935" y="2185"/>
                  </a:lnTo>
                  <a:lnTo>
                    <a:pt x="935" y="2213"/>
                  </a:lnTo>
                  <a:lnTo>
                    <a:pt x="935" y="2236"/>
                  </a:lnTo>
                  <a:lnTo>
                    <a:pt x="987" y="2288"/>
                  </a:lnTo>
                  <a:lnTo>
                    <a:pt x="1016" y="2288"/>
                  </a:lnTo>
                  <a:lnTo>
                    <a:pt x="987" y="2265"/>
                  </a:lnTo>
                  <a:lnTo>
                    <a:pt x="964" y="2236"/>
                  </a:lnTo>
                  <a:lnTo>
                    <a:pt x="964" y="2213"/>
                  </a:lnTo>
                  <a:lnTo>
                    <a:pt x="1016" y="2213"/>
                  </a:lnTo>
                  <a:lnTo>
                    <a:pt x="964" y="2185"/>
                  </a:lnTo>
                  <a:lnTo>
                    <a:pt x="987" y="2185"/>
                  </a:lnTo>
                  <a:lnTo>
                    <a:pt x="1016" y="2213"/>
                  </a:lnTo>
                  <a:lnTo>
                    <a:pt x="1016" y="2185"/>
                  </a:lnTo>
                  <a:lnTo>
                    <a:pt x="1039" y="2185"/>
                  </a:lnTo>
                  <a:lnTo>
                    <a:pt x="1068" y="2185"/>
                  </a:lnTo>
                  <a:lnTo>
                    <a:pt x="1091" y="2160"/>
                  </a:lnTo>
                  <a:lnTo>
                    <a:pt x="1091" y="2133"/>
                  </a:lnTo>
                  <a:lnTo>
                    <a:pt x="1119" y="2133"/>
                  </a:lnTo>
                  <a:lnTo>
                    <a:pt x="1144" y="2108"/>
                  </a:lnTo>
                  <a:lnTo>
                    <a:pt x="1119" y="2081"/>
                  </a:lnTo>
                  <a:lnTo>
                    <a:pt x="1144" y="2056"/>
                  </a:lnTo>
                  <a:lnTo>
                    <a:pt x="1144" y="2029"/>
                  </a:lnTo>
                  <a:lnTo>
                    <a:pt x="1144" y="2004"/>
                  </a:lnTo>
                  <a:lnTo>
                    <a:pt x="1171" y="2004"/>
                  </a:lnTo>
                  <a:lnTo>
                    <a:pt x="1196" y="2004"/>
                  </a:lnTo>
                  <a:lnTo>
                    <a:pt x="1223" y="1952"/>
                  </a:lnTo>
                  <a:lnTo>
                    <a:pt x="1248" y="1952"/>
                  </a:lnTo>
                  <a:lnTo>
                    <a:pt x="1275" y="1952"/>
                  </a:lnTo>
                  <a:lnTo>
                    <a:pt x="1275" y="1977"/>
                  </a:lnTo>
                  <a:lnTo>
                    <a:pt x="1300" y="2004"/>
                  </a:lnTo>
                  <a:lnTo>
                    <a:pt x="1327" y="2004"/>
                  </a:lnTo>
                  <a:lnTo>
                    <a:pt x="1300" y="1977"/>
                  </a:lnTo>
                  <a:lnTo>
                    <a:pt x="1300" y="1952"/>
                  </a:lnTo>
                  <a:lnTo>
                    <a:pt x="1327" y="1952"/>
                  </a:lnTo>
                  <a:lnTo>
                    <a:pt x="1379" y="1952"/>
                  </a:lnTo>
                  <a:lnTo>
                    <a:pt x="1404" y="1925"/>
                  </a:lnTo>
                  <a:lnTo>
                    <a:pt x="1432" y="1901"/>
                  </a:lnTo>
                  <a:lnTo>
                    <a:pt x="1459" y="1872"/>
                  </a:lnTo>
                  <a:lnTo>
                    <a:pt x="1459" y="1877"/>
                  </a:lnTo>
                  <a:lnTo>
                    <a:pt x="1432" y="1901"/>
                  </a:lnTo>
                  <a:lnTo>
                    <a:pt x="1407" y="1925"/>
                  </a:lnTo>
                  <a:lnTo>
                    <a:pt x="1459" y="1925"/>
                  </a:lnTo>
                  <a:lnTo>
                    <a:pt x="1459" y="1952"/>
                  </a:lnTo>
                  <a:lnTo>
                    <a:pt x="1432" y="2004"/>
                  </a:lnTo>
                  <a:lnTo>
                    <a:pt x="1459" y="2033"/>
                  </a:lnTo>
                  <a:lnTo>
                    <a:pt x="1484" y="2056"/>
                  </a:lnTo>
                  <a:lnTo>
                    <a:pt x="1536" y="2081"/>
                  </a:lnTo>
                  <a:lnTo>
                    <a:pt x="1563" y="2133"/>
                  </a:lnTo>
                  <a:lnTo>
                    <a:pt x="1563" y="2160"/>
                  </a:lnTo>
                  <a:lnTo>
                    <a:pt x="1507" y="2160"/>
                  </a:lnTo>
                  <a:lnTo>
                    <a:pt x="1484" y="2185"/>
                  </a:lnTo>
                  <a:lnTo>
                    <a:pt x="1459" y="2185"/>
                  </a:lnTo>
                  <a:lnTo>
                    <a:pt x="1327" y="2133"/>
                  </a:lnTo>
                  <a:lnTo>
                    <a:pt x="1275" y="2133"/>
                  </a:lnTo>
                  <a:lnTo>
                    <a:pt x="1223" y="2160"/>
                  </a:lnTo>
                  <a:lnTo>
                    <a:pt x="1171" y="2185"/>
                  </a:lnTo>
                  <a:lnTo>
                    <a:pt x="1144" y="2185"/>
                  </a:lnTo>
                  <a:lnTo>
                    <a:pt x="1171" y="2213"/>
                  </a:lnTo>
                  <a:lnTo>
                    <a:pt x="1119" y="2185"/>
                  </a:lnTo>
                  <a:lnTo>
                    <a:pt x="1119" y="2213"/>
                  </a:lnTo>
                  <a:lnTo>
                    <a:pt x="1119" y="2236"/>
                  </a:lnTo>
                  <a:lnTo>
                    <a:pt x="1091" y="2288"/>
                  </a:lnTo>
                  <a:lnTo>
                    <a:pt x="1119" y="2288"/>
                  </a:lnTo>
                  <a:lnTo>
                    <a:pt x="1144" y="2317"/>
                  </a:lnTo>
                  <a:lnTo>
                    <a:pt x="1171" y="2340"/>
                  </a:lnTo>
                  <a:lnTo>
                    <a:pt x="1196" y="2369"/>
                  </a:lnTo>
                  <a:lnTo>
                    <a:pt x="1275" y="2340"/>
                  </a:lnTo>
                  <a:lnTo>
                    <a:pt x="1275" y="2369"/>
                  </a:lnTo>
                  <a:lnTo>
                    <a:pt x="1300" y="2369"/>
                  </a:lnTo>
                  <a:lnTo>
                    <a:pt x="1352" y="2369"/>
                  </a:lnTo>
                  <a:lnTo>
                    <a:pt x="1379" y="2369"/>
                  </a:lnTo>
                  <a:lnTo>
                    <a:pt x="1404" y="2392"/>
                  </a:lnTo>
                  <a:lnTo>
                    <a:pt x="1379" y="2421"/>
                  </a:lnTo>
                  <a:lnTo>
                    <a:pt x="1404" y="2444"/>
                  </a:lnTo>
                  <a:lnTo>
                    <a:pt x="1404" y="2472"/>
                  </a:lnTo>
                  <a:lnTo>
                    <a:pt x="1379" y="2495"/>
                  </a:lnTo>
                  <a:lnTo>
                    <a:pt x="1352" y="2524"/>
                  </a:lnTo>
                  <a:lnTo>
                    <a:pt x="1359" y="2620"/>
                  </a:lnTo>
                  <a:lnTo>
                    <a:pt x="1379" y="2680"/>
                  </a:lnTo>
                  <a:lnTo>
                    <a:pt x="1459" y="2756"/>
                  </a:lnTo>
                  <a:lnTo>
                    <a:pt x="1459" y="2783"/>
                  </a:lnTo>
                  <a:lnTo>
                    <a:pt x="1484" y="2889"/>
                  </a:lnTo>
                  <a:lnTo>
                    <a:pt x="1563" y="2968"/>
                  </a:lnTo>
                  <a:lnTo>
                    <a:pt x="1615" y="3096"/>
                  </a:lnTo>
                  <a:lnTo>
                    <a:pt x="1615" y="3148"/>
                  </a:lnTo>
                  <a:lnTo>
                    <a:pt x="1663" y="3173"/>
                  </a:lnTo>
                  <a:lnTo>
                    <a:pt x="1720" y="3148"/>
                  </a:lnTo>
                  <a:lnTo>
                    <a:pt x="1772" y="3125"/>
                  </a:lnTo>
                  <a:lnTo>
                    <a:pt x="1795" y="3125"/>
                  </a:lnTo>
                  <a:lnTo>
                    <a:pt x="1899" y="3096"/>
                  </a:lnTo>
                  <a:lnTo>
                    <a:pt x="1928" y="3071"/>
                  </a:lnTo>
                  <a:lnTo>
                    <a:pt x="1980" y="3044"/>
                  </a:lnTo>
                  <a:lnTo>
                    <a:pt x="2031" y="3016"/>
                  </a:lnTo>
                  <a:lnTo>
                    <a:pt x="2056" y="2993"/>
                  </a:lnTo>
                  <a:lnTo>
                    <a:pt x="2083" y="2941"/>
                  </a:lnTo>
                  <a:lnTo>
                    <a:pt x="2135" y="2912"/>
                  </a:lnTo>
                  <a:lnTo>
                    <a:pt x="2135" y="2889"/>
                  </a:lnTo>
                  <a:lnTo>
                    <a:pt x="2108" y="2860"/>
                  </a:lnTo>
                  <a:lnTo>
                    <a:pt x="2083" y="2837"/>
                  </a:lnTo>
                  <a:lnTo>
                    <a:pt x="2031" y="2812"/>
                  </a:lnTo>
                  <a:lnTo>
                    <a:pt x="2003" y="2837"/>
                  </a:lnTo>
                  <a:lnTo>
                    <a:pt x="2003" y="2860"/>
                  </a:lnTo>
                  <a:lnTo>
                    <a:pt x="2003" y="2912"/>
                  </a:lnTo>
                  <a:lnTo>
                    <a:pt x="1980" y="2860"/>
                  </a:lnTo>
                  <a:lnTo>
                    <a:pt x="2031" y="2812"/>
                  </a:lnTo>
                  <a:lnTo>
                    <a:pt x="2003" y="2783"/>
                  </a:lnTo>
                  <a:lnTo>
                    <a:pt x="1980" y="2783"/>
                  </a:lnTo>
                  <a:lnTo>
                    <a:pt x="1980" y="2812"/>
                  </a:lnTo>
                  <a:lnTo>
                    <a:pt x="1899" y="2783"/>
                  </a:lnTo>
                  <a:lnTo>
                    <a:pt x="1876" y="2783"/>
                  </a:lnTo>
                  <a:lnTo>
                    <a:pt x="1847" y="2732"/>
                  </a:lnTo>
                  <a:lnTo>
                    <a:pt x="1847" y="2705"/>
                  </a:lnTo>
                  <a:lnTo>
                    <a:pt x="1795" y="2653"/>
                  </a:lnTo>
                  <a:lnTo>
                    <a:pt x="1772" y="2601"/>
                  </a:lnTo>
                  <a:lnTo>
                    <a:pt x="1795" y="2601"/>
                  </a:lnTo>
                  <a:lnTo>
                    <a:pt x="1847" y="2601"/>
                  </a:lnTo>
                  <a:lnTo>
                    <a:pt x="1876" y="2653"/>
                  </a:lnTo>
                  <a:lnTo>
                    <a:pt x="1899" y="2680"/>
                  </a:lnTo>
                  <a:lnTo>
                    <a:pt x="1951" y="2705"/>
                  </a:lnTo>
                  <a:lnTo>
                    <a:pt x="1980" y="2732"/>
                  </a:lnTo>
                  <a:lnTo>
                    <a:pt x="2056" y="2705"/>
                  </a:lnTo>
                  <a:lnTo>
                    <a:pt x="2056" y="2756"/>
                  </a:lnTo>
                  <a:lnTo>
                    <a:pt x="2160" y="2756"/>
                  </a:lnTo>
                  <a:lnTo>
                    <a:pt x="2191" y="2772"/>
                  </a:lnTo>
                  <a:lnTo>
                    <a:pt x="2187" y="2783"/>
                  </a:lnTo>
                  <a:lnTo>
                    <a:pt x="2239" y="2783"/>
                  </a:lnTo>
                  <a:lnTo>
                    <a:pt x="2344" y="2783"/>
                  </a:lnTo>
                  <a:lnTo>
                    <a:pt x="2367" y="2783"/>
                  </a:lnTo>
                  <a:lnTo>
                    <a:pt x="2396" y="2837"/>
                  </a:lnTo>
                  <a:lnTo>
                    <a:pt x="2419" y="2860"/>
                  </a:lnTo>
                  <a:lnTo>
                    <a:pt x="2471" y="2860"/>
                  </a:lnTo>
                  <a:lnTo>
                    <a:pt x="2448" y="2889"/>
                  </a:lnTo>
                  <a:lnTo>
                    <a:pt x="2471" y="2912"/>
                  </a:lnTo>
                  <a:lnTo>
                    <a:pt x="2500" y="2912"/>
                  </a:lnTo>
                  <a:lnTo>
                    <a:pt x="2523" y="2860"/>
                  </a:lnTo>
                  <a:lnTo>
                    <a:pt x="2552" y="2912"/>
                  </a:lnTo>
                  <a:lnTo>
                    <a:pt x="2552" y="3016"/>
                  </a:lnTo>
                  <a:lnTo>
                    <a:pt x="2627" y="3173"/>
                  </a:lnTo>
                  <a:lnTo>
                    <a:pt x="2655" y="3280"/>
                  </a:lnTo>
                  <a:lnTo>
                    <a:pt x="2707" y="3328"/>
                  </a:lnTo>
                  <a:lnTo>
                    <a:pt x="2759" y="3303"/>
                  </a:lnTo>
                  <a:lnTo>
                    <a:pt x="2836" y="3173"/>
                  </a:lnTo>
                  <a:lnTo>
                    <a:pt x="2863" y="3071"/>
                  </a:lnTo>
                  <a:lnTo>
                    <a:pt x="2888" y="3044"/>
                  </a:lnTo>
                  <a:lnTo>
                    <a:pt x="2991" y="2968"/>
                  </a:lnTo>
                  <a:lnTo>
                    <a:pt x="3020" y="2912"/>
                  </a:lnTo>
                  <a:lnTo>
                    <a:pt x="3043" y="2912"/>
                  </a:lnTo>
                  <a:lnTo>
                    <a:pt x="3043" y="2860"/>
                  </a:lnTo>
                  <a:lnTo>
                    <a:pt x="3043" y="2837"/>
                  </a:lnTo>
                  <a:lnTo>
                    <a:pt x="3072" y="2812"/>
                  </a:lnTo>
                  <a:lnTo>
                    <a:pt x="3095" y="2860"/>
                  </a:lnTo>
                  <a:lnTo>
                    <a:pt x="3124" y="2889"/>
                  </a:lnTo>
                  <a:lnTo>
                    <a:pt x="3147" y="2912"/>
                  </a:lnTo>
                  <a:lnTo>
                    <a:pt x="3176" y="2968"/>
                  </a:lnTo>
                  <a:lnTo>
                    <a:pt x="3199" y="2993"/>
                  </a:lnTo>
                  <a:lnTo>
                    <a:pt x="3227" y="3071"/>
                  </a:lnTo>
                  <a:lnTo>
                    <a:pt x="3251" y="3096"/>
                  </a:lnTo>
                  <a:lnTo>
                    <a:pt x="3279" y="3125"/>
                  </a:lnTo>
                  <a:lnTo>
                    <a:pt x="3304" y="3071"/>
                  </a:lnTo>
                  <a:lnTo>
                    <a:pt x="3331" y="3096"/>
                  </a:lnTo>
                  <a:lnTo>
                    <a:pt x="3331" y="3125"/>
                  </a:lnTo>
                  <a:lnTo>
                    <a:pt x="3356" y="3177"/>
                  </a:lnTo>
                  <a:lnTo>
                    <a:pt x="3356" y="3229"/>
                  </a:lnTo>
                  <a:lnTo>
                    <a:pt x="3383" y="3280"/>
                  </a:lnTo>
                  <a:lnTo>
                    <a:pt x="3383" y="3332"/>
                  </a:lnTo>
                  <a:lnTo>
                    <a:pt x="3383" y="3355"/>
                  </a:lnTo>
                  <a:lnTo>
                    <a:pt x="3408" y="3384"/>
                  </a:lnTo>
                  <a:lnTo>
                    <a:pt x="3435" y="3436"/>
                  </a:lnTo>
                  <a:lnTo>
                    <a:pt x="3408" y="3436"/>
                  </a:lnTo>
                  <a:lnTo>
                    <a:pt x="3435" y="3488"/>
                  </a:lnTo>
                  <a:lnTo>
                    <a:pt x="3460" y="3564"/>
                  </a:lnTo>
                  <a:lnTo>
                    <a:pt x="3539" y="3616"/>
                  </a:lnTo>
                  <a:lnTo>
                    <a:pt x="3539" y="3564"/>
                  </a:lnTo>
                  <a:lnTo>
                    <a:pt x="3512" y="3540"/>
                  </a:lnTo>
                  <a:lnTo>
                    <a:pt x="3512" y="3488"/>
                  </a:lnTo>
                  <a:lnTo>
                    <a:pt x="3487" y="3436"/>
                  </a:lnTo>
                  <a:lnTo>
                    <a:pt x="3460" y="3436"/>
                  </a:lnTo>
                  <a:lnTo>
                    <a:pt x="3435" y="3384"/>
                  </a:lnTo>
                  <a:lnTo>
                    <a:pt x="3408" y="3355"/>
                  </a:lnTo>
                  <a:lnTo>
                    <a:pt x="3435" y="3280"/>
                  </a:lnTo>
                  <a:lnTo>
                    <a:pt x="3435" y="3229"/>
                  </a:lnTo>
                  <a:lnTo>
                    <a:pt x="3460" y="3229"/>
                  </a:lnTo>
                  <a:lnTo>
                    <a:pt x="3487" y="3229"/>
                  </a:lnTo>
                  <a:lnTo>
                    <a:pt x="3487" y="3280"/>
                  </a:lnTo>
                  <a:lnTo>
                    <a:pt x="3512" y="3303"/>
                  </a:lnTo>
                  <a:lnTo>
                    <a:pt x="3563" y="3332"/>
                  </a:lnTo>
                  <a:lnTo>
                    <a:pt x="3563" y="3355"/>
                  </a:lnTo>
                  <a:lnTo>
                    <a:pt x="3592" y="3355"/>
                  </a:lnTo>
                  <a:lnTo>
                    <a:pt x="3667" y="3280"/>
                  </a:lnTo>
                  <a:lnTo>
                    <a:pt x="3696" y="3280"/>
                  </a:lnTo>
                  <a:lnTo>
                    <a:pt x="3696" y="3229"/>
                  </a:lnTo>
                  <a:lnTo>
                    <a:pt x="3696" y="3148"/>
                  </a:lnTo>
                  <a:lnTo>
                    <a:pt x="3667" y="3125"/>
                  </a:lnTo>
                  <a:lnTo>
                    <a:pt x="3667" y="3096"/>
                  </a:lnTo>
                  <a:lnTo>
                    <a:pt x="3615" y="3096"/>
                  </a:lnTo>
                  <a:lnTo>
                    <a:pt x="3615" y="3071"/>
                  </a:lnTo>
                  <a:lnTo>
                    <a:pt x="3592" y="3019"/>
                  </a:lnTo>
                  <a:lnTo>
                    <a:pt x="3592" y="2968"/>
                  </a:lnTo>
                  <a:lnTo>
                    <a:pt x="3615" y="2941"/>
                  </a:lnTo>
                  <a:lnTo>
                    <a:pt x="3615" y="2912"/>
                  </a:lnTo>
                  <a:lnTo>
                    <a:pt x="3667" y="2912"/>
                  </a:lnTo>
                  <a:lnTo>
                    <a:pt x="3667" y="2968"/>
                  </a:lnTo>
                  <a:lnTo>
                    <a:pt x="3719" y="2968"/>
                  </a:lnTo>
                  <a:lnTo>
                    <a:pt x="3719" y="2912"/>
                  </a:lnTo>
                  <a:lnTo>
                    <a:pt x="3771" y="2912"/>
                  </a:lnTo>
                  <a:lnTo>
                    <a:pt x="3800" y="2889"/>
                  </a:lnTo>
                  <a:lnTo>
                    <a:pt x="3823" y="2889"/>
                  </a:lnTo>
                  <a:lnTo>
                    <a:pt x="3903" y="2864"/>
                  </a:lnTo>
                  <a:lnTo>
                    <a:pt x="3955" y="2783"/>
                  </a:lnTo>
                  <a:lnTo>
                    <a:pt x="3955" y="2756"/>
                  </a:lnTo>
                  <a:lnTo>
                    <a:pt x="3980" y="2732"/>
                  </a:lnTo>
                  <a:lnTo>
                    <a:pt x="4007" y="2680"/>
                  </a:lnTo>
                  <a:lnTo>
                    <a:pt x="4032" y="2628"/>
                  </a:lnTo>
                  <a:lnTo>
                    <a:pt x="4032" y="2601"/>
                  </a:lnTo>
                  <a:lnTo>
                    <a:pt x="3980" y="2628"/>
                  </a:lnTo>
                  <a:lnTo>
                    <a:pt x="3955" y="2601"/>
                  </a:lnTo>
                  <a:lnTo>
                    <a:pt x="3980" y="2576"/>
                  </a:lnTo>
                  <a:lnTo>
                    <a:pt x="3955" y="2524"/>
                  </a:lnTo>
                  <a:lnTo>
                    <a:pt x="4007" y="2524"/>
                  </a:lnTo>
                  <a:lnTo>
                    <a:pt x="3980" y="2501"/>
                  </a:lnTo>
                  <a:lnTo>
                    <a:pt x="3955" y="2421"/>
                  </a:lnTo>
                  <a:lnTo>
                    <a:pt x="3928" y="2396"/>
                  </a:lnTo>
                  <a:lnTo>
                    <a:pt x="3980" y="2317"/>
                  </a:lnTo>
                  <a:lnTo>
                    <a:pt x="3955" y="2288"/>
                  </a:lnTo>
                  <a:lnTo>
                    <a:pt x="3928" y="2288"/>
                  </a:lnTo>
                  <a:lnTo>
                    <a:pt x="3903" y="2317"/>
                  </a:lnTo>
                  <a:lnTo>
                    <a:pt x="3875" y="2288"/>
                  </a:lnTo>
                  <a:lnTo>
                    <a:pt x="3851" y="2265"/>
                  </a:lnTo>
                  <a:lnTo>
                    <a:pt x="3851" y="2236"/>
                  </a:lnTo>
                  <a:lnTo>
                    <a:pt x="3903" y="2213"/>
                  </a:lnTo>
                  <a:lnTo>
                    <a:pt x="3955" y="2160"/>
                  </a:lnTo>
                  <a:lnTo>
                    <a:pt x="3955" y="2213"/>
                  </a:lnTo>
                  <a:lnTo>
                    <a:pt x="4007" y="2213"/>
                  </a:lnTo>
                  <a:lnTo>
                    <a:pt x="4032" y="2188"/>
                  </a:lnTo>
                  <a:lnTo>
                    <a:pt x="4072" y="2148"/>
                  </a:lnTo>
                  <a:lnTo>
                    <a:pt x="4059" y="2188"/>
                  </a:lnTo>
                  <a:lnTo>
                    <a:pt x="4084" y="2213"/>
                  </a:lnTo>
                  <a:lnTo>
                    <a:pt x="4084" y="2265"/>
                  </a:lnTo>
                  <a:lnTo>
                    <a:pt x="4111" y="2265"/>
                  </a:lnTo>
                  <a:lnTo>
                    <a:pt x="4136" y="2288"/>
                  </a:lnTo>
                  <a:lnTo>
                    <a:pt x="4162" y="2344"/>
                  </a:lnTo>
                  <a:lnTo>
                    <a:pt x="4162" y="2396"/>
                  </a:lnTo>
                  <a:lnTo>
                    <a:pt x="4216" y="2396"/>
                  </a:lnTo>
                  <a:lnTo>
                    <a:pt x="4216" y="2344"/>
                  </a:lnTo>
                  <a:lnTo>
                    <a:pt x="4187" y="2288"/>
                  </a:lnTo>
                  <a:lnTo>
                    <a:pt x="4162" y="2236"/>
                  </a:lnTo>
                  <a:lnTo>
                    <a:pt x="4136" y="2213"/>
                  </a:lnTo>
                  <a:lnTo>
                    <a:pt x="4162" y="2188"/>
                  </a:lnTo>
                  <a:lnTo>
                    <a:pt x="4187" y="2133"/>
                  </a:lnTo>
                  <a:lnTo>
                    <a:pt x="4187" y="2081"/>
                  </a:lnTo>
                  <a:lnTo>
                    <a:pt x="4216" y="2033"/>
                  </a:lnTo>
                  <a:lnTo>
                    <a:pt x="4228" y="2016"/>
                  </a:lnTo>
                  <a:lnTo>
                    <a:pt x="4239" y="2033"/>
                  </a:lnTo>
                  <a:lnTo>
                    <a:pt x="4268" y="2056"/>
                  </a:lnTo>
                  <a:lnTo>
                    <a:pt x="4291" y="2033"/>
                  </a:lnTo>
                  <a:lnTo>
                    <a:pt x="4395" y="1901"/>
                  </a:lnTo>
                  <a:lnTo>
                    <a:pt x="4424" y="1561"/>
                  </a:lnTo>
                  <a:lnTo>
                    <a:pt x="4395" y="1536"/>
                  </a:lnTo>
                  <a:lnTo>
                    <a:pt x="4395" y="1457"/>
                  </a:lnTo>
                  <a:lnTo>
                    <a:pt x="4347" y="1457"/>
                  </a:lnTo>
                  <a:lnTo>
                    <a:pt x="4239" y="1484"/>
                  </a:lnTo>
                  <a:lnTo>
                    <a:pt x="4239" y="1432"/>
                  </a:lnTo>
                  <a:lnTo>
                    <a:pt x="4187" y="1405"/>
                  </a:lnTo>
                  <a:lnTo>
                    <a:pt x="4239" y="1248"/>
                  </a:lnTo>
                  <a:lnTo>
                    <a:pt x="4239" y="1173"/>
                  </a:lnTo>
                  <a:lnTo>
                    <a:pt x="4291" y="1121"/>
                  </a:lnTo>
                  <a:lnTo>
                    <a:pt x="4395" y="1093"/>
                  </a:lnTo>
                  <a:lnTo>
                    <a:pt x="4447" y="1069"/>
                  </a:lnTo>
                  <a:lnTo>
                    <a:pt x="4527" y="1041"/>
                  </a:lnTo>
                  <a:lnTo>
                    <a:pt x="4504" y="1093"/>
                  </a:lnTo>
                  <a:lnTo>
                    <a:pt x="4552" y="1069"/>
                  </a:lnTo>
                  <a:lnTo>
                    <a:pt x="4604" y="1041"/>
                  </a:lnTo>
                  <a:lnTo>
                    <a:pt x="4579" y="1018"/>
                  </a:lnTo>
                  <a:lnTo>
                    <a:pt x="4604" y="885"/>
                  </a:lnTo>
                  <a:lnTo>
                    <a:pt x="4660" y="860"/>
                  </a:lnTo>
                  <a:lnTo>
                    <a:pt x="4683" y="912"/>
                  </a:lnTo>
                  <a:lnTo>
                    <a:pt x="4735" y="808"/>
                  </a:lnTo>
                  <a:lnTo>
                    <a:pt x="4760" y="885"/>
                  </a:lnTo>
                  <a:lnTo>
                    <a:pt x="4786" y="912"/>
                  </a:lnTo>
                  <a:lnTo>
                    <a:pt x="4760" y="966"/>
                  </a:lnTo>
                  <a:lnTo>
                    <a:pt x="4735" y="1093"/>
                  </a:lnTo>
                  <a:lnTo>
                    <a:pt x="4712" y="1144"/>
                  </a:lnTo>
                  <a:lnTo>
                    <a:pt x="4712" y="1248"/>
                  </a:lnTo>
                  <a:lnTo>
                    <a:pt x="4760" y="1432"/>
                  </a:lnTo>
                  <a:lnTo>
                    <a:pt x="4815" y="1457"/>
                  </a:lnTo>
                  <a:lnTo>
                    <a:pt x="4840" y="1561"/>
                  </a:lnTo>
                  <a:lnTo>
                    <a:pt x="4892" y="1457"/>
                  </a:lnTo>
                  <a:lnTo>
                    <a:pt x="4892" y="1405"/>
                  </a:lnTo>
                  <a:lnTo>
                    <a:pt x="4919" y="1405"/>
                  </a:lnTo>
                  <a:lnTo>
                    <a:pt x="4892" y="1354"/>
                  </a:lnTo>
                  <a:lnTo>
                    <a:pt x="4919" y="1302"/>
                  </a:lnTo>
                  <a:lnTo>
                    <a:pt x="4867" y="1248"/>
                  </a:lnTo>
                  <a:lnTo>
                    <a:pt x="4892" y="1196"/>
                  </a:lnTo>
                  <a:lnTo>
                    <a:pt x="4867" y="1093"/>
                  </a:lnTo>
                  <a:lnTo>
                    <a:pt x="4840" y="1121"/>
                  </a:lnTo>
                  <a:lnTo>
                    <a:pt x="4815" y="989"/>
                  </a:lnTo>
                  <a:lnTo>
                    <a:pt x="4815" y="966"/>
                  </a:lnTo>
                  <a:lnTo>
                    <a:pt x="4892" y="912"/>
                  </a:lnTo>
                  <a:lnTo>
                    <a:pt x="4944" y="885"/>
                  </a:lnTo>
                  <a:lnTo>
                    <a:pt x="4996" y="966"/>
                  </a:lnTo>
                  <a:lnTo>
                    <a:pt x="5023" y="730"/>
                  </a:lnTo>
                  <a:lnTo>
                    <a:pt x="5128" y="678"/>
                  </a:lnTo>
                  <a:lnTo>
                    <a:pt x="5074" y="653"/>
                  </a:lnTo>
                  <a:lnTo>
                    <a:pt x="5074" y="624"/>
                  </a:lnTo>
                  <a:lnTo>
                    <a:pt x="5023" y="624"/>
                  </a:lnTo>
                  <a:lnTo>
                    <a:pt x="4971" y="572"/>
                  </a:lnTo>
                  <a:lnTo>
                    <a:pt x="4919" y="521"/>
                  </a:lnTo>
                  <a:lnTo>
                    <a:pt x="4971" y="521"/>
                  </a:lnTo>
                  <a:lnTo>
                    <a:pt x="5048" y="498"/>
                  </a:lnTo>
                  <a:lnTo>
                    <a:pt x="4996" y="469"/>
                  </a:lnTo>
                  <a:lnTo>
                    <a:pt x="4996" y="394"/>
                  </a:lnTo>
                  <a:lnTo>
                    <a:pt x="5023" y="417"/>
                  </a:lnTo>
                  <a:lnTo>
                    <a:pt x="5128" y="446"/>
                  </a:lnTo>
                  <a:lnTo>
                    <a:pt x="5180" y="469"/>
                  </a:lnTo>
                  <a:lnTo>
                    <a:pt x="5255" y="469"/>
                  </a:lnTo>
                  <a:lnTo>
                    <a:pt x="5307" y="417"/>
                  </a:lnTo>
                  <a:lnTo>
                    <a:pt x="5203" y="394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gray">
            <a:xfrm>
              <a:off x="2747" y="1903"/>
              <a:ext cx="40" cy="38"/>
            </a:xfrm>
            <a:custGeom>
              <a:avLst/>
              <a:gdLst>
                <a:gd name="T0" fmla="*/ 0 w 81"/>
                <a:gd name="T1" fmla="*/ 52 h 75"/>
                <a:gd name="T2" fmla="*/ 29 w 81"/>
                <a:gd name="T3" fmla="*/ 75 h 75"/>
                <a:gd name="T4" fmla="*/ 81 w 81"/>
                <a:gd name="T5" fmla="*/ 75 h 75"/>
                <a:gd name="T6" fmla="*/ 81 w 81"/>
                <a:gd name="T7" fmla="*/ 52 h 75"/>
                <a:gd name="T8" fmla="*/ 52 w 81"/>
                <a:gd name="T9" fmla="*/ 23 h 75"/>
                <a:gd name="T10" fmla="*/ 0 w 81"/>
                <a:gd name="T11" fmla="*/ 0 h 75"/>
                <a:gd name="T12" fmla="*/ 0 w 81"/>
                <a:gd name="T13" fmla="*/ 5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75">
                  <a:moveTo>
                    <a:pt x="0" y="52"/>
                  </a:moveTo>
                  <a:lnTo>
                    <a:pt x="29" y="75"/>
                  </a:lnTo>
                  <a:lnTo>
                    <a:pt x="81" y="75"/>
                  </a:lnTo>
                  <a:lnTo>
                    <a:pt x="81" y="52"/>
                  </a:lnTo>
                  <a:lnTo>
                    <a:pt x="52" y="23"/>
                  </a:lnTo>
                  <a:lnTo>
                    <a:pt x="0" y="0"/>
                  </a:lnTo>
                  <a:lnTo>
                    <a:pt x="0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gray">
            <a:xfrm>
              <a:off x="2540" y="1811"/>
              <a:ext cx="26" cy="26"/>
            </a:xfrm>
            <a:custGeom>
              <a:avLst/>
              <a:gdLst>
                <a:gd name="T0" fmla="*/ 27 w 52"/>
                <a:gd name="T1" fmla="*/ 52 h 52"/>
                <a:gd name="T2" fmla="*/ 52 w 52"/>
                <a:gd name="T3" fmla="*/ 52 h 52"/>
                <a:gd name="T4" fmla="*/ 52 w 52"/>
                <a:gd name="T5" fmla="*/ 27 h 52"/>
                <a:gd name="T6" fmla="*/ 52 w 52"/>
                <a:gd name="T7" fmla="*/ 0 h 52"/>
                <a:gd name="T8" fmla="*/ 0 w 52"/>
                <a:gd name="T9" fmla="*/ 27 h 52"/>
                <a:gd name="T10" fmla="*/ 27 w 52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27" y="52"/>
                  </a:moveTo>
                  <a:lnTo>
                    <a:pt x="52" y="52"/>
                  </a:lnTo>
                  <a:lnTo>
                    <a:pt x="52" y="27"/>
                  </a:lnTo>
                  <a:lnTo>
                    <a:pt x="52" y="0"/>
                  </a:lnTo>
                  <a:lnTo>
                    <a:pt x="0" y="27"/>
                  </a:lnTo>
                  <a:lnTo>
                    <a:pt x="27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gray">
            <a:xfrm>
              <a:off x="4908" y="3489"/>
              <a:ext cx="156" cy="130"/>
            </a:xfrm>
            <a:custGeom>
              <a:avLst/>
              <a:gdLst>
                <a:gd name="T0" fmla="*/ 40 w 156"/>
                <a:gd name="T1" fmla="*/ 118 h 130"/>
                <a:gd name="T2" fmla="*/ 26 w 156"/>
                <a:gd name="T3" fmla="*/ 118 h 130"/>
                <a:gd name="T4" fmla="*/ 14 w 156"/>
                <a:gd name="T5" fmla="*/ 104 h 130"/>
                <a:gd name="T6" fmla="*/ 0 w 156"/>
                <a:gd name="T7" fmla="*/ 104 h 130"/>
                <a:gd name="T8" fmla="*/ 0 w 156"/>
                <a:gd name="T9" fmla="*/ 92 h 130"/>
                <a:gd name="T10" fmla="*/ 26 w 156"/>
                <a:gd name="T11" fmla="*/ 78 h 130"/>
                <a:gd name="T12" fmla="*/ 26 w 156"/>
                <a:gd name="T13" fmla="*/ 66 h 130"/>
                <a:gd name="T14" fmla="*/ 52 w 156"/>
                <a:gd name="T15" fmla="*/ 66 h 130"/>
                <a:gd name="T16" fmla="*/ 78 w 156"/>
                <a:gd name="T17" fmla="*/ 52 h 130"/>
                <a:gd name="T18" fmla="*/ 78 w 156"/>
                <a:gd name="T19" fmla="*/ 40 h 130"/>
                <a:gd name="T20" fmla="*/ 92 w 156"/>
                <a:gd name="T21" fmla="*/ 26 h 130"/>
                <a:gd name="T22" fmla="*/ 130 w 156"/>
                <a:gd name="T23" fmla="*/ 14 h 130"/>
                <a:gd name="T24" fmla="*/ 130 w 156"/>
                <a:gd name="T25" fmla="*/ 0 h 130"/>
                <a:gd name="T26" fmla="*/ 144 w 156"/>
                <a:gd name="T27" fmla="*/ 0 h 130"/>
                <a:gd name="T28" fmla="*/ 144 w 156"/>
                <a:gd name="T29" fmla="*/ 26 h 130"/>
                <a:gd name="T30" fmla="*/ 156 w 156"/>
                <a:gd name="T31" fmla="*/ 26 h 130"/>
                <a:gd name="T32" fmla="*/ 144 w 156"/>
                <a:gd name="T33" fmla="*/ 52 h 130"/>
                <a:gd name="T34" fmla="*/ 130 w 156"/>
                <a:gd name="T35" fmla="*/ 52 h 130"/>
                <a:gd name="T36" fmla="*/ 118 w 156"/>
                <a:gd name="T37" fmla="*/ 66 h 130"/>
                <a:gd name="T38" fmla="*/ 104 w 156"/>
                <a:gd name="T39" fmla="*/ 78 h 130"/>
                <a:gd name="T40" fmla="*/ 92 w 156"/>
                <a:gd name="T41" fmla="*/ 66 h 130"/>
                <a:gd name="T42" fmla="*/ 92 w 156"/>
                <a:gd name="T43" fmla="*/ 78 h 130"/>
                <a:gd name="T44" fmla="*/ 78 w 156"/>
                <a:gd name="T45" fmla="*/ 92 h 130"/>
                <a:gd name="T46" fmla="*/ 78 w 156"/>
                <a:gd name="T47" fmla="*/ 104 h 130"/>
                <a:gd name="T48" fmla="*/ 66 w 156"/>
                <a:gd name="T49" fmla="*/ 118 h 130"/>
                <a:gd name="T50" fmla="*/ 52 w 156"/>
                <a:gd name="T51" fmla="*/ 118 h 130"/>
                <a:gd name="T52" fmla="*/ 52 w 156"/>
                <a:gd name="T53" fmla="*/ 130 h 130"/>
                <a:gd name="T54" fmla="*/ 40 w 156"/>
                <a:gd name="T55" fmla="*/ 118 h 130"/>
                <a:gd name="T56" fmla="*/ 40 w 156"/>
                <a:gd name="T57" fmla="*/ 11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56" h="130">
                  <a:moveTo>
                    <a:pt x="40" y="118"/>
                  </a:moveTo>
                  <a:lnTo>
                    <a:pt x="26" y="118"/>
                  </a:lnTo>
                  <a:lnTo>
                    <a:pt x="14" y="104"/>
                  </a:lnTo>
                  <a:lnTo>
                    <a:pt x="0" y="104"/>
                  </a:lnTo>
                  <a:lnTo>
                    <a:pt x="0" y="92"/>
                  </a:lnTo>
                  <a:lnTo>
                    <a:pt x="26" y="78"/>
                  </a:lnTo>
                  <a:lnTo>
                    <a:pt x="26" y="66"/>
                  </a:lnTo>
                  <a:lnTo>
                    <a:pt x="52" y="66"/>
                  </a:lnTo>
                  <a:lnTo>
                    <a:pt x="78" y="52"/>
                  </a:lnTo>
                  <a:lnTo>
                    <a:pt x="78" y="40"/>
                  </a:lnTo>
                  <a:lnTo>
                    <a:pt x="92" y="26"/>
                  </a:lnTo>
                  <a:lnTo>
                    <a:pt x="130" y="14"/>
                  </a:lnTo>
                  <a:lnTo>
                    <a:pt x="130" y="0"/>
                  </a:lnTo>
                  <a:lnTo>
                    <a:pt x="144" y="0"/>
                  </a:lnTo>
                  <a:lnTo>
                    <a:pt x="144" y="26"/>
                  </a:lnTo>
                  <a:lnTo>
                    <a:pt x="156" y="26"/>
                  </a:lnTo>
                  <a:lnTo>
                    <a:pt x="144" y="52"/>
                  </a:lnTo>
                  <a:lnTo>
                    <a:pt x="130" y="52"/>
                  </a:lnTo>
                  <a:lnTo>
                    <a:pt x="118" y="66"/>
                  </a:lnTo>
                  <a:lnTo>
                    <a:pt x="104" y="78"/>
                  </a:lnTo>
                  <a:lnTo>
                    <a:pt x="92" y="66"/>
                  </a:lnTo>
                  <a:lnTo>
                    <a:pt x="92" y="78"/>
                  </a:lnTo>
                  <a:lnTo>
                    <a:pt x="78" y="92"/>
                  </a:lnTo>
                  <a:lnTo>
                    <a:pt x="78" y="104"/>
                  </a:lnTo>
                  <a:lnTo>
                    <a:pt x="66" y="118"/>
                  </a:lnTo>
                  <a:lnTo>
                    <a:pt x="52" y="118"/>
                  </a:lnTo>
                  <a:lnTo>
                    <a:pt x="52" y="130"/>
                  </a:lnTo>
                  <a:lnTo>
                    <a:pt x="40" y="118"/>
                  </a:lnTo>
                  <a:lnTo>
                    <a:pt x="40" y="118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gray">
            <a:xfrm>
              <a:off x="5064" y="3385"/>
              <a:ext cx="66" cy="130"/>
            </a:xfrm>
            <a:custGeom>
              <a:avLst/>
              <a:gdLst>
                <a:gd name="T0" fmla="*/ 0 w 66"/>
                <a:gd name="T1" fmla="*/ 130 h 130"/>
                <a:gd name="T2" fmla="*/ 0 w 66"/>
                <a:gd name="T3" fmla="*/ 118 h 130"/>
                <a:gd name="T4" fmla="*/ 0 w 66"/>
                <a:gd name="T5" fmla="*/ 104 h 130"/>
                <a:gd name="T6" fmla="*/ 14 w 66"/>
                <a:gd name="T7" fmla="*/ 92 h 130"/>
                <a:gd name="T8" fmla="*/ 26 w 66"/>
                <a:gd name="T9" fmla="*/ 78 h 130"/>
                <a:gd name="T10" fmla="*/ 26 w 66"/>
                <a:gd name="T11" fmla="*/ 66 h 130"/>
                <a:gd name="T12" fmla="*/ 26 w 66"/>
                <a:gd name="T13" fmla="*/ 40 h 130"/>
                <a:gd name="T14" fmla="*/ 26 w 66"/>
                <a:gd name="T15" fmla="*/ 26 h 130"/>
                <a:gd name="T16" fmla="*/ 14 w 66"/>
                <a:gd name="T17" fmla="*/ 0 h 130"/>
                <a:gd name="T18" fmla="*/ 26 w 66"/>
                <a:gd name="T19" fmla="*/ 26 h 130"/>
                <a:gd name="T20" fmla="*/ 40 w 66"/>
                <a:gd name="T21" fmla="*/ 52 h 130"/>
                <a:gd name="T22" fmla="*/ 52 w 66"/>
                <a:gd name="T23" fmla="*/ 66 h 130"/>
                <a:gd name="T24" fmla="*/ 66 w 66"/>
                <a:gd name="T25" fmla="*/ 78 h 130"/>
                <a:gd name="T26" fmla="*/ 66 w 66"/>
                <a:gd name="T27" fmla="*/ 66 h 130"/>
                <a:gd name="T28" fmla="*/ 66 w 66"/>
                <a:gd name="T29" fmla="*/ 78 h 130"/>
                <a:gd name="T30" fmla="*/ 66 w 66"/>
                <a:gd name="T31" fmla="*/ 92 h 130"/>
                <a:gd name="T32" fmla="*/ 52 w 66"/>
                <a:gd name="T33" fmla="*/ 104 h 130"/>
                <a:gd name="T34" fmla="*/ 40 w 66"/>
                <a:gd name="T35" fmla="*/ 118 h 130"/>
                <a:gd name="T36" fmla="*/ 26 w 66"/>
                <a:gd name="T37" fmla="*/ 130 h 130"/>
                <a:gd name="T38" fmla="*/ 14 w 66"/>
                <a:gd name="T39" fmla="*/ 130 h 130"/>
                <a:gd name="T40" fmla="*/ 0 w 66"/>
                <a:gd name="T41" fmla="*/ 130 h 130"/>
                <a:gd name="T42" fmla="*/ 0 w 66"/>
                <a:gd name="T4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" h="130">
                  <a:moveTo>
                    <a:pt x="0" y="130"/>
                  </a:moveTo>
                  <a:lnTo>
                    <a:pt x="0" y="118"/>
                  </a:lnTo>
                  <a:lnTo>
                    <a:pt x="0" y="104"/>
                  </a:lnTo>
                  <a:lnTo>
                    <a:pt x="14" y="92"/>
                  </a:lnTo>
                  <a:lnTo>
                    <a:pt x="26" y="78"/>
                  </a:lnTo>
                  <a:lnTo>
                    <a:pt x="26" y="66"/>
                  </a:lnTo>
                  <a:lnTo>
                    <a:pt x="26" y="40"/>
                  </a:lnTo>
                  <a:lnTo>
                    <a:pt x="26" y="26"/>
                  </a:lnTo>
                  <a:lnTo>
                    <a:pt x="14" y="0"/>
                  </a:lnTo>
                  <a:lnTo>
                    <a:pt x="26" y="26"/>
                  </a:lnTo>
                  <a:lnTo>
                    <a:pt x="40" y="52"/>
                  </a:lnTo>
                  <a:lnTo>
                    <a:pt x="52" y="66"/>
                  </a:lnTo>
                  <a:lnTo>
                    <a:pt x="66" y="78"/>
                  </a:lnTo>
                  <a:lnTo>
                    <a:pt x="66" y="66"/>
                  </a:lnTo>
                  <a:lnTo>
                    <a:pt x="66" y="78"/>
                  </a:lnTo>
                  <a:lnTo>
                    <a:pt x="66" y="92"/>
                  </a:lnTo>
                  <a:lnTo>
                    <a:pt x="52" y="104"/>
                  </a:lnTo>
                  <a:lnTo>
                    <a:pt x="40" y="118"/>
                  </a:lnTo>
                  <a:lnTo>
                    <a:pt x="26" y="130"/>
                  </a:lnTo>
                  <a:lnTo>
                    <a:pt x="14" y="130"/>
                  </a:lnTo>
                  <a:lnTo>
                    <a:pt x="0" y="130"/>
                  </a:lnTo>
                  <a:lnTo>
                    <a:pt x="0" y="13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gray">
            <a:xfrm>
              <a:off x="4765" y="2786"/>
              <a:ext cx="79" cy="27"/>
            </a:xfrm>
            <a:custGeom>
              <a:avLst/>
              <a:gdLst>
                <a:gd name="T0" fmla="*/ 128 w 157"/>
                <a:gd name="T1" fmla="*/ 0 h 53"/>
                <a:gd name="T2" fmla="*/ 103 w 157"/>
                <a:gd name="T3" fmla="*/ 0 h 53"/>
                <a:gd name="T4" fmla="*/ 76 w 157"/>
                <a:gd name="T5" fmla="*/ 29 h 53"/>
                <a:gd name="T6" fmla="*/ 51 w 157"/>
                <a:gd name="T7" fmla="*/ 29 h 53"/>
                <a:gd name="T8" fmla="*/ 51 w 157"/>
                <a:gd name="T9" fmla="*/ 0 h 53"/>
                <a:gd name="T10" fmla="*/ 25 w 157"/>
                <a:gd name="T11" fmla="*/ 0 h 53"/>
                <a:gd name="T12" fmla="*/ 0 w 157"/>
                <a:gd name="T13" fmla="*/ 0 h 53"/>
                <a:gd name="T14" fmla="*/ 0 w 157"/>
                <a:gd name="T15" fmla="*/ 29 h 53"/>
                <a:gd name="T16" fmla="*/ 25 w 157"/>
                <a:gd name="T17" fmla="*/ 53 h 53"/>
                <a:gd name="T18" fmla="*/ 51 w 157"/>
                <a:gd name="T19" fmla="*/ 53 h 53"/>
                <a:gd name="T20" fmla="*/ 76 w 157"/>
                <a:gd name="T21" fmla="*/ 53 h 53"/>
                <a:gd name="T22" fmla="*/ 103 w 157"/>
                <a:gd name="T23" fmla="*/ 53 h 53"/>
                <a:gd name="T24" fmla="*/ 128 w 157"/>
                <a:gd name="T25" fmla="*/ 53 h 53"/>
                <a:gd name="T26" fmla="*/ 157 w 157"/>
                <a:gd name="T27" fmla="*/ 29 h 53"/>
                <a:gd name="T28" fmla="*/ 128 w 157"/>
                <a:gd name="T2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7" h="53">
                  <a:moveTo>
                    <a:pt x="128" y="0"/>
                  </a:moveTo>
                  <a:lnTo>
                    <a:pt x="103" y="0"/>
                  </a:lnTo>
                  <a:lnTo>
                    <a:pt x="76" y="29"/>
                  </a:lnTo>
                  <a:lnTo>
                    <a:pt x="51" y="29"/>
                  </a:lnTo>
                  <a:lnTo>
                    <a:pt x="51" y="0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25" y="53"/>
                  </a:lnTo>
                  <a:lnTo>
                    <a:pt x="51" y="53"/>
                  </a:lnTo>
                  <a:lnTo>
                    <a:pt x="76" y="53"/>
                  </a:lnTo>
                  <a:lnTo>
                    <a:pt x="103" y="53"/>
                  </a:lnTo>
                  <a:lnTo>
                    <a:pt x="128" y="53"/>
                  </a:lnTo>
                  <a:lnTo>
                    <a:pt x="157" y="29"/>
                  </a:lnTo>
                  <a:lnTo>
                    <a:pt x="128" y="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2" name="Freeform 82"/>
            <p:cNvSpPr>
              <a:spLocks/>
            </p:cNvSpPr>
            <p:nvPr/>
          </p:nvSpPr>
          <p:spPr bwMode="gray">
            <a:xfrm>
              <a:off x="4804" y="2760"/>
              <a:ext cx="25" cy="26"/>
            </a:xfrm>
            <a:custGeom>
              <a:avLst/>
              <a:gdLst>
                <a:gd name="T0" fmla="*/ 52 w 52"/>
                <a:gd name="T1" fmla="*/ 0 h 52"/>
                <a:gd name="T2" fmla="*/ 0 w 52"/>
                <a:gd name="T3" fmla="*/ 0 h 52"/>
                <a:gd name="T4" fmla="*/ 27 w 52"/>
                <a:gd name="T5" fmla="*/ 29 h 52"/>
                <a:gd name="T6" fmla="*/ 52 w 52"/>
                <a:gd name="T7" fmla="*/ 52 h 52"/>
                <a:gd name="T8" fmla="*/ 52 w 52"/>
                <a:gd name="T9" fmla="*/ 29 h 52"/>
                <a:gd name="T10" fmla="*/ 52 w 52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52" y="0"/>
                  </a:moveTo>
                  <a:lnTo>
                    <a:pt x="0" y="0"/>
                  </a:lnTo>
                  <a:lnTo>
                    <a:pt x="27" y="29"/>
                  </a:lnTo>
                  <a:lnTo>
                    <a:pt x="52" y="52"/>
                  </a:lnTo>
                  <a:lnTo>
                    <a:pt x="52" y="29"/>
                  </a:lnTo>
                  <a:lnTo>
                    <a:pt x="52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gray">
            <a:xfrm>
              <a:off x="4570" y="2800"/>
              <a:ext cx="26" cy="26"/>
            </a:xfrm>
            <a:custGeom>
              <a:avLst/>
              <a:gdLst>
                <a:gd name="T0" fmla="*/ 0 w 52"/>
                <a:gd name="T1" fmla="*/ 0 h 51"/>
                <a:gd name="T2" fmla="*/ 0 w 52"/>
                <a:gd name="T3" fmla="*/ 24 h 51"/>
                <a:gd name="T4" fmla="*/ 25 w 52"/>
                <a:gd name="T5" fmla="*/ 51 h 51"/>
                <a:gd name="T6" fmla="*/ 52 w 52"/>
                <a:gd name="T7" fmla="*/ 24 h 51"/>
                <a:gd name="T8" fmla="*/ 25 w 52"/>
                <a:gd name="T9" fmla="*/ 0 h 51"/>
                <a:gd name="T10" fmla="*/ 0 w 52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1">
                  <a:moveTo>
                    <a:pt x="0" y="0"/>
                  </a:moveTo>
                  <a:lnTo>
                    <a:pt x="0" y="24"/>
                  </a:lnTo>
                  <a:lnTo>
                    <a:pt x="25" y="51"/>
                  </a:lnTo>
                  <a:lnTo>
                    <a:pt x="52" y="24"/>
                  </a:lnTo>
                  <a:lnTo>
                    <a:pt x="25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4" name="Freeform 84"/>
            <p:cNvSpPr>
              <a:spLocks/>
            </p:cNvSpPr>
            <p:nvPr/>
          </p:nvSpPr>
          <p:spPr bwMode="gray">
            <a:xfrm>
              <a:off x="4492" y="2657"/>
              <a:ext cx="299" cy="247"/>
            </a:xfrm>
            <a:custGeom>
              <a:avLst/>
              <a:gdLst>
                <a:gd name="T0" fmla="*/ 571 w 597"/>
                <a:gd name="T1" fmla="*/ 442 h 493"/>
                <a:gd name="T2" fmla="*/ 519 w 597"/>
                <a:gd name="T3" fmla="*/ 390 h 493"/>
                <a:gd name="T4" fmla="*/ 494 w 597"/>
                <a:gd name="T5" fmla="*/ 338 h 493"/>
                <a:gd name="T6" fmla="*/ 519 w 597"/>
                <a:gd name="T7" fmla="*/ 311 h 493"/>
                <a:gd name="T8" fmla="*/ 519 w 597"/>
                <a:gd name="T9" fmla="*/ 287 h 493"/>
                <a:gd name="T10" fmla="*/ 494 w 597"/>
                <a:gd name="T11" fmla="*/ 258 h 493"/>
                <a:gd name="T12" fmla="*/ 467 w 597"/>
                <a:gd name="T13" fmla="*/ 258 h 493"/>
                <a:gd name="T14" fmla="*/ 467 w 597"/>
                <a:gd name="T15" fmla="*/ 235 h 493"/>
                <a:gd name="T16" fmla="*/ 442 w 597"/>
                <a:gd name="T17" fmla="*/ 183 h 493"/>
                <a:gd name="T18" fmla="*/ 391 w 597"/>
                <a:gd name="T19" fmla="*/ 155 h 493"/>
                <a:gd name="T20" fmla="*/ 362 w 597"/>
                <a:gd name="T21" fmla="*/ 132 h 493"/>
                <a:gd name="T22" fmla="*/ 335 w 597"/>
                <a:gd name="T23" fmla="*/ 132 h 493"/>
                <a:gd name="T24" fmla="*/ 287 w 597"/>
                <a:gd name="T25" fmla="*/ 103 h 493"/>
                <a:gd name="T26" fmla="*/ 258 w 597"/>
                <a:gd name="T27" fmla="*/ 80 h 493"/>
                <a:gd name="T28" fmla="*/ 235 w 597"/>
                <a:gd name="T29" fmla="*/ 80 h 493"/>
                <a:gd name="T30" fmla="*/ 180 w 597"/>
                <a:gd name="T31" fmla="*/ 103 h 493"/>
                <a:gd name="T32" fmla="*/ 155 w 597"/>
                <a:gd name="T33" fmla="*/ 103 h 493"/>
                <a:gd name="T34" fmla="*/ 128 w 597"/>
                <a:gd name="T35" fmla="*/ 103 h 493"/>
                <a:gd name="T36" fmla="*/ 103 w 597"/>
                <a:gd name="T37" fmla="*/ 28 h 493"/>
                <a:gd name="T38" fmla="*/ 80 w 597"/>
                <a:gd name="T39" fmla="*/ 0 h 493"/>
                <a:gd name="T40" fmla="*/ 52 w 597"/>
                <a:gd name="T41" fmla="*/ 0 h 493"/>
                <a:gd name="T42" fmla="*/ 0 w 597"/>
                <a:gd name="T43" fmla="*/ 28 h 493"/>
                <a:gd name="T44" fmla="*/ 52 w 597"/>
                <a:gd name="T45" fmla="*/ 51 h 493"/>
                <a:gd name="T46" fmla="*/ 52 w 597"/>
                <a:gd name="T47" fmla="*/ 80 h 493"/>
                <a:gd name="T48" fmla="*/ 80 w 597"/>
                <a:gd name="T49" fmla="*/ 80 h 493"/>
                <a:gd name="T50" fmla="*/ 103 w 597"/>
                <a:gd name="T51" fmla="*/ 80 h 493"/>
                <a:gd name="T52" fmla="*/ 80 w 597"/>
                <a:gd name="T53" fmla="*/ 103 h 493"/>
                <a:gd name="T54" fmla="*/ 52 w 597"/>
                <a:gd name="T55" fmla="*/ 132 h 493"/>
                <a:gd name="T56" fmla="*/ 80 w 597"/>
                <a:gd name="T57" fmla="*/ 132 h 493"/>
                <a:gd name="T58" fmla="*/ 103 w 597"/>
                <a:gd name="T59" fmla="*/ 132 h 493"/>
                <a:gd name="T60" fmla="*/ 128 w 597"/>
                <a:gd name="T61" fmla="*/ 132 h 493"/>
                <a:gd name="T62" fmla="*/ 180 w 597"/>
                <a:gd name="T63" fmla="*/ 155 h 493"/>
                <a:gd name="T64" fmla="*/ 235 w 597"/>
                <a:gd name="T65" fmla="*/ 206 h 493"/>
                <a:gd name="T66" fmla="*/ 235 w 597"/>
                <a:gd name="T67" fmla="*/ 235 h 493"/>
                <a:gd name="T68" fmla="*/ 235 w 597"/>
                <a:gd name="T69" fmla="*/ 258 h 493"/>
                <a:gd name="T70" fmla="*/ 207 w 597"/>
                <a:gd name="T71" fmla="*/ 258 h 493"/>
                <a:gd name="T72" fmla="*/ 207 w 597"/>
                <a:gd name="T73" fmla="*/ 287 h 493"/>
                <a:gd name="T74" fmla="*/ 235 w 597"/>
                <a:gd name="T75" fmla="*/ 287 h 493"/>
                <a:gd name="T76" fmla="*/ 235 w 597"/>
                <a:gd name="T77" fmla="*/ 311 h 493"/>
                <a:gd name="T78" fmla="*/ 235 w 597"/>
                <a:gd name="T79" fmla="*/ 338 h 493"/>
                <a:gd name="T80" fmla="*/ 258 w 597"/>
                <a:gd name="T81" fmla="*/ 338 h 493"/>
                <a:gd name="T82" fmla="*/ 287 w 597"/>
                <a:gd name="T83" fmla="*/ 363 h 493"/>
                <a:gd name="T84" fmla="*/ 310 w 597"/>
                <a:gd name="T85" fmla="*/ 390 h 493"/>
                <a:gd name="T86" fmla="*/ 335 w 597"/>
                <a:gd name="T87" fmla="*/ 363 h 493"/>
                <a:gd name="T88" fmla="*/ 335 w 597"/>
                <a:gd name="T89" fmla="*/ 390 h 493"/>
                <a:gd name="T90" fmla="*/ 362 w 597"/>
                <a:gd name="T91" fmla="*/ 390 h 493"/>
                <a:gd name="T92" fmla="*/ 362 w 597"/>
                <a:gd name="T93" fmla="*/ 363 h 493"/>
                <a:gd name="T94" fmla="*/ 335 w 597"/>
                <a:gd name="T95" fmla="*/ 338 h 493"/>
                <a:gd name="T96" fmla="*/ 362 w 597"/>
                <a:gd name="T97" fmla="*/ 338 h 493"/>
                <a:gd name="T98" fmla="*/ 391 w 597"/>
                <a:gd name="T99" fmla="*/ 338 h 493"/>
                <a:gd name="T100" fmla="*/ 442 w 597"/>
                <a:gd name="T101" fmla="*/ 363 h 493"/>
                <a:gd name="T102" fmla="*/ 467 w 597"/>
                <a:gd name="T103" fmla="*/ 390 h 493"/>
                <a:gd name="T104" fmla="*/ 494 w 597"/>
                <a:gd name="T105" fmla="*/ 415 h 493"/>
                <a:gd name="T106" fmla="*/ 519 w 597"/>
                <a:gd name="T107" fmla="*/ 442 h 493"/>
                <a:gd name="T108" fmla="*/ 519 w 597"/>
                <a:gd name="T109" fmla="*/ 466 h 493"/>
                <a:gd name="T110" fmla="*/ 571 w 597"/>
                <a:gd name="T111" fmla="*/ 493 h 493"/>
                <a:gd name="T112" fmla="*/ 597 w 597"/>
                <a:gd name="T113" fmla="*/ 493 h 493"/>
                <a:gd name="T114" fmla="*/ 571 w 597"/>
                <a:gd name="T115" fmla="*/ 466 h 493"/>
                <a:gd name="T116" fmla="*/ 597 w 597"/>
                <a:gd name="T117" fmla="*/ 466 h 493"/>
                <a:gd name="T118" fmla="*/ 571 w 597"/>
                <a:gd name="T119" fmla="*/ 44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7" h="493">
                  <a:moveTo>
                    <a:pt x="571" y="442"/>
                  </a:moveTo>
                  <a:lnTo>
                    <a:pt x="519" y="390"/>
                  </a:lnTo>
                  <a:lnTo>
                    <a:pt x="494" y="338"/>
                  </a:lnTo>
                  <a:lnTo>
                    <a:pt x="519" y="311"/>
                  </a:lnTo>
                  <a:lnTo>
                    <a:pt x="519" y="287"/>
                  </a:lnTo>
                  <a:lnTo>
                    <a:pt x="494" y="258"/>
                  </a:lnTo>
                  <a:lnTo>
                    <a:pt x="467" y="258"/>
                  </a:lnTo>
                  <a:lnTo>
                    <a:pt x="467" y="235"/>
                  </a:lnTo>
                  <a:lnTo>
                    <a:pt x="442" y="183"/>
                  </a:lnTo>
                  <a:lnTo>
                    <a:pt x="391" y="155"/>
                  </a:lnTo>
                  <a:lnTo>
                    <a:pt x="362" y="132"/>
                  </a:lnTo>
                  <a:lnTo>
                    <a:pt x="335" y="132"/>
                  </a:lnTo>
                  <a:lnTo>
                    <a:pt x="287" y="103"/>
                  </a:lnTo>
                  <a:lnTo>
                    <a:pt x="258" y="80"/>
                  </a:lnTo>
                  <a:lnTo>
                    <a:pt x="235" y="80"/>
                  </a:lnTo>
                  <a:lnTo>
                    <a:pt x="180" y="103"/>
                  </a:lnTo>
                  <a:lnTo>
                    <a:pt x="155" y="103"/>
                  </a:lnTo>
                  <a:lnTo>
                    <a:pt x="128" y="103"/>
                  </a:lnTo>
                  <a:lnTo>
                    <a:pt x="103" y="28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0" y="28"/>
                  </a:lnTo>
                  <a:lnTo>
                    <a:pt x="52" y="51"/>
                  </a:lnTo>
                  <a:lnTo>
                    <a:pt x="52" y="80"/>
                  </a:lnTo>
                  <a:lnTo>
                    <a:pt x="80" y="80"/>
                  </a:lnTo>
                  <a:lnTo>
                    <a:pt x="103" y="80"/>
                  </a:lnTo>
                  <a:lnTo>
                    <a:pt x="80" y="103"/>
                  </a:lnTo>
                  <a:lnTo>
                    <a:pt x="52" y="132"/>
                  </a:lnTo>
                  <a:lnTo>
                    <a:pt x="80" y="132"/>
                  </a:lnTo>
                  <a:lnTo>
                    <a:pt x="103" y="132"/>
                  </a:lnTo>
                  <a:lnTo>
                    <a:pt x="128" y="132"/>
                  </a:lnTo>
                  <a:lnTo>
                    <a:pt x="180" y="155"/>
                  </a:lnTo>
                  <a:lnTo>
                    <a:pt x="235" y="206"/>
                  </a:lnTo>
                  <a:lnTo>
                    <a:pt x="235" y="235"/>
                  </a:lnTo>
                  <a:lnTo>
                    <a:pt x="235" y="258"/>
                  </a:lnTo>
                  <a:lnTo>
                    <a:pt x="207" y="258"/>
                  </a:lnTo>
                  <a:lnTo>
                    <a:pt x="207" y="287"/>
                  </a:lnTo>
                  <a:lnTo>
                    <a:pt x="235" y="287"/>
                  </a:lnTo>
                  <a:lnTo>
                    <a:pt x="235" y="311"/>
                  </a:lnTo>
                  <a:lnTo>
                    <a:pt x="235" y="338"/>
                  </a:lnTo>
                  <a:lnTo>
                    <a:pt x="258" y="338"/>
                  </a:lnTo>
                  <a:lnTo>
                    <a:pt x="287" y="363"/>
                  </a:lnTo>
                  <a:lnTo>
                    <a:pt x="310" y="390"/>
                  </a:lnTo>
                  <a:lnTo>
                    <a:pt x="335" y="363"/>
                  </a:lnTo>
                  <a:lnTo>
                    <a:pt x="335" y="390"/>
                  </a:lnTo>
                  <a:lnTo>
                    <a:pt x="362" y="390"/>
                  </a:lnTo>
                  <a:lnTo>
                    <a:pt x="362" y="363"/>
                  </a:lnTo>
                  <a:lnTo>
                    <a:pt x="335" y="338"/>
                  </a:lnTo>
                  <a:lnTo>
                    <a:pt x="362" y="338"/>
                  </a:lnTo>
                  <a:lnTo>
                    <a:pt x="391" y="338"/>
                  </a:lnTo>
                  <a:lnTo>
                    <a:pt x="442" y="363"/>
                  </a:lnTo>
                  <a:lnTo>
                    <a:pt x="467" y="390"/>
                  </a:lnTo>
                  <a:lnTo>
                    <a:pt x="494" y="415"/>
                  </a:lnTo>
                  <a:lnTo>
                    <a:pt x="519" y="442"/>
                  </a:lnTo>
                  <a:lnTo>
                    <a:pt x="519" y="466"/>
                  </a:lnTo>
                  <a:lnTo>
                    <a:pt x="571" y="493"/>
                  </a:lnTo>
                  <a:lnTo>
                    <a:pt x="597" y="493"/>
                  </a:lnTo>
                  <a:lnTo>
                    <a:pt x="571" y="466"/>
                  </a:lnTo>
                  <a:lnTo>
                    <a:pt x="597" y="466"/>
                  </a:lnTo>
                  <a:lnTo>
                    <a:pt x="571" y="44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5" name="Freeform 86"/>
            <p:cNvSpPr>
              <a:spLocks/>
            </p:cNvSpPr>
            <p:nvPr/>
          </p:nvSpPr>
          <p:spPr bwMode="gray">
            <a:xfrm>
              <a:off x="3126" y="2827"/>
              <a:ext cx="144" cy="260"/>
            </a:xfrm>
            <a:custGeom>
              <a:avLst/>
              <a:gdLst>
                <a:gd name="T0" fmla="*/ 26 w 144"/>
                <a:gd name="T1" fmla="*/ 104 h 260"/>
                <a:gd name="T2" fmla="*/ 26 w 144"/>
                <a:gd name="T3" fmla="*/ 142 h 260"/>
                <a:gd name="T4" fmla="*/ 0 w 144"/>
                <a:gd name="T5" fmla="*/ 194 h 260"/>
                <a:gd name="T6" fmla="*/ 0 w 144"/>
                <a:gd name="T7" fmla="*/ 246 h 260"/>
                <a:gd name="T8" fmla="*/ 26 w 144"/>
                <a:gd name="T9" fmla="*/ 260 h 260"/>
                <a:gd name="T10" fmla="*/ 40 w 144"/>
                <a:gd name="T11" fmla="*/ 246 h 260"/>
                <a:gd name="T12" fmla="*/ 66 w 144"/>
                <a:gd name="T13" fmla="*/ 246 h 260"/>
                <a:gd name="T14" fmla="*/ 78 w 144"/>
                <a:gd name="T15" fmla="*/ 220 h 260"/>
                <a:gd name="T16" fmla="*/ 78 w 144"/>
                <a:gd name="T17" fmla="*/ 208 h 260"/>
                <a:gd name="T18" fmla="*/ 118 w 144"/>
                <a:gd name="T19" fmla="*/ 116 h 260"/>
                <a:gd name="T20" fmla="*/ 118 w 144"/>
                <a:gd name="T21" fmla="*/ 104 h 260"/>
                <a:gd name="T22" fmla="*/ 118 w 144"/>
                <a:gd name="T23" fmla="*/ 64 h 260"/>
                <a:gd name="T24" fmla="*/ 130 w 144"/>
                <a:gd name="T25" fmla="*/ 64 h 260"/>
                <a:gd name="T26" fmla="*/ 130 w 144"/>
                <a:gd name="T27" fmla="*/ 90 h 260"/>
                <a:gd name="T28" fmla="*/ 144 w 144"/>
                <a:gd name="T29" fmla="*/ 52 h 260"/>
                <a:gd name="T30" fmla="*/ 130 w 144"/>
                <a:gd name="T31" fmla="*/ 38 h 260"/>
                <a:gd name="T32" fmla="*/ 118 w 144"/>
                <a:gd name="T33" fmla="*/ 12 h 260"/>
                <a:gd name="T34" fmla="*/ 118 w 144"/>
                <a:gd name="T35" fmla="*/ 0 h 260"/>
                <a:gd name="T36" fmla="*/ 78 w 144"/>
                <a:gd name="T37" fmla="*/ 64 h 260"/>
                <a:gd name="T38" fmla="*/ 66 w 144"/>
                <a:gd name="T39" fmla="*/ 64 h 260"/>
                <a:gd name="T40" fmla="*/ 66 w 144"/>
                <a:gd name="T41" fmla="*/ 78 h 260"/>
                <a:gd name="T42" fmla="*/ 52 w 144"/>
                <a:gd name="T43" fmla="*/ 78 h 260"/>
                <a:gd name="T44" fmla="*/ 26 w 144"/>
                <a:gd name="T45" fmla="*/ 104 h 260"/>
                <a:gd name="T46" fmla="*/ 26 w 144"/>
                <a:gd name="T47" fmla="*/ 104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260">
                  <a:moveTo>
                    <a:pt x="26" y="104"/>
                  </a:moveTo>
                  <a:lnTo>
                    <a:pt x="26" y="142"/>
                  </a:lnTo>
                  <a:lnTo>
                    <a:pt x="0" y="194"/>
                  </a:lnTo>
                  <a:lnTo>
                    <a:pt x="0" y="246"/>
                  </a:lnTo>
                  <a:lnTo>
                    <a:pt x="26" y="260"/>
                  </a:lnTo>
                  <a:lnTo>
                    <a:pt x="40" y="246"/>
                  </a:lnTo>
                  <a:lnTo>
                    <a:pt x="66" y="246"/>
                  </a:lnTo>
                  <a:lnTo>
                    <a:pt x="78" y="220"/>
                  </a:lnTo>
                  <a:lnTo>
                    <a:pt x="78" y="208"/>
                  </a:lnTo>
                  <a:lnTo>
                    <a:pt x="118" y="116"/>
                  </a:lnTo>
                  <a:lnTo>
                    <a:pt x="118" y="104"/>
                  </a:lnTo>
                  <a:lnTo>
                    <a:pt x="118" y="64"/>
                  </a:lnTo>
                  <a:lnTo>
                    <a:pt x="130" y="64"/>
                  </a:lnTo>
                  <a:lnTo>
                    <a:pt x="130" y="90"/>
                  </a:lnTo>
                  <a:lnTo>
                    <a:pt x="144" y="52"/>
                  </a:lnTo>
                  <a:lnTo>
                    <a:pt x="130" y="38"/>
                  </a:lnTo>
                  <a:lnTo>
                    <a:pt x="118" y="12"/>
                  </a:lnTo>
                  <a:lnTo>
                    <a:pt x="118" y="0"/>
                  </a:lnTo>
                  <a:lnTo>
                    <a:pt x="78" y="64"/>
                  </a:lnTo>
                  <a:lnTo>
                    <a:pt x="66" y="64"/>
                  </a:lnTo>
                  <a:lnTo>
                    <a:pt x="66" y="78"/>
                  </a:lnTo>
                  <a:lnTo>
                    <a:pt x="52" y="78"/>
                  </a:lnTo>
                  <a:lnTo>
                    <a:pt x="26" y="104"/>
                  </a:lnTo>
                  <a:lnTo>
                    <a:pt x="26" y="104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6" name="Freeform 87"/>
            <p:cNvSpPr>
              <a:spLocks/>
            </p:cNvSpPr>
            <p:nvPr/>
          </p:nvSpPr>
          <p:spPr bwMode="gray">
            <a:xfrm>
              <a:off x="2086" y="1953"/>
              <a:ext cx="1196" cy="1328"/>
            </a:xfrm>
            <a:custGeom>
              <a:avLst/>
              <a:gdLst>
                <a:gd name="T0" fmla="*/ 852 w 1196"/>
                <a:gd name="T1" fmla="*/ 110 h 1328"/>
                <a:gd name="T2" fmla="*/ 780 w 1196"/>
                <a:gd name="T3" fmla="*/ 118 h 1328"/>
                <a:gd name="T4" fmla="*/ 676 w 1196"/>
                <a:gd name="T5" fmla="*/ 80 h 1328"/>
                <a:gd name="T6" fmla="*/ 636 w 1196"/>
                <a:gd name="T7" fmla="*/ 118 h 1328"/>
                <a:gd name="T8" fmla="*/ 584 w 1196"/>
                <a:gd name="T9" fmla="*/ 106 h 1328"/>
                <a:gd name="T10" fmla="*/ 520 w 1196"/>
                <a:gd name="T11" fmla="*/ 80 h 1328"/>
                <a:gd name="T12" fmla="*/ 518 w 1196"/>
                <a:gd name="T13" fmla="*/ 27 h 1328"/>
                <a:gd name="T14" fmla="*/ 468 w 1196"/>
                <a:gd name="T15" fmla="*/ 2 h 1328"/>
                <a:gd name="T16" fmla="*/ 390 w 1196"/>
                <a:gd name="T17" fmla="*/ 2 h 1328"/>
                <a:gd name="T18" fmla="*/ 298 w 1196"/>
                <a:gd name="T19" fmla="*/ 40 h 1328"/>
                <a:gd name="T20" fmla="*/ 246 w 1196"/>
                <a:gd name="T21" fmla="*/ 54 h 1328"/>
                <a:gd name="T22" fmla="*/ 182 w 1196"/>
                <a:gd name="T23" fmla="*/ 118 h 1328"/>
                <a:gd name="T24" fmla="*/ 104 w 1196"/>
                <a:gd name="T25" fmla="*/ 196 h 1328"/>
                <a:gd name="T26" fmla="*/ 12 w 1196"/>
                <a:gd name="T27" fmla="*/ 288 h 1328"/>
                <a:gd name="T28" fmla="*/ 26 w 1196"/>
                <a:gd name="T29" fmla="*/ 314 h 1328"/>
                <a:gd name="T30" fmla="*/ 26 w 1196"/>
                <a:gd name="T31" fmla="*/ 380 h 1328"/>
                <a:gd name="T32" fmla="*/ 0 w 1196"/>
                <a:gd name="T33" fmla="*/ 418 h 1328"/>
                <a:gd name="T34" fmla="*/ 0 w 1196"/>
                <a:gd name="T35" fmla="*/ 458 h 1328"/>
                <a:gd name="T36" fmla="*/ 26 w 1196"/>
                <a:gd name="T37" fmla="*/ 496 h 1328"/>
                <a:gd name="T38" fmla="*/ 52 w 1196"/>
                <a:gd name="T39" fmla="*/ 522 h 1328"/>
                <a:gd name="T40" fmla="*/ 78 w 1196"/>
                <a:gd name="T41" fmla="*/ 562 h 1328"/>
                <a:gd name="T42" fmla="*/ 208 w 1196"/>
                <a:gd name="T43" fmla="*/ 600 h 1328"/>
                <a:gd name="T44" fmla="*/ 286 w 1196"/>
                <a:gd name="T45" fmla="*/ 588 h 1328"/>
                <a:gd name="T46" fmla="*/ 338 w 1196"/>
                <a:gd name="T47" fmla="*/ 562 h 1328"/>
                <a:gd name="T48" fmla="*/ 390 w 1196"/>
                <a:gd name="T49" fmla="*/ 600 h 1328"/>
                <a:gd name="T50" fmla="*/ 442 w 1196"/>
                <a:gd name="T51" fmla="*/ 588 h 1328"/>
                <a:gd name="T52" fmla="*/ 468 w 1196"/>
                <a:gd name="T53" fmla="*/ 640 h 1328"/>
                <a:gd name="T54" fmla="*/ 454 w 1196"/>
                <a:gd name="T55" fmla="*/ 692 h 1328"/>
                <a:gd name="T56" fmla="*/ 494 w 1196"/>
                <a:gd name="T57" fmla="*/ 744 h 1328"/>
                <a:gd name="T58" fmla="*/ 520 w 1196"/>
                <a:gd name="T59" fmla="*/ 782 h 1328"/>
                <a:gd name="T60" fmla="*/ 520 w 1196"/>
                <a:gd name="T61" fmla="*/ 848 h 1328"/>
                <a:gd name="T62" fmla="*/ 546 w 1196"/>
                <a:gd name="T63" fmla="*/ 874 h 1328"/>
                <a:gd name="T64" fmla="*/ 520 w 1196"/>
                <a:gd name="T65" fmla="*/ 926 h 1328"/>
                <a:gd name="T66" fmla="*/ 506 w 1196"/>
                <a:gd name="T67" fmla="*/ 1004 h 1328"/>
                <a:gd name="T68" fmla="*/ 558 w 1196"/>
                <a:gd name="T69" fmla="*/ 1082 h 1328"/>
                <a:gd name="T70" fmla="*/ 598 w 1196"/>
                <a:gd name="T71" fmla="*/ 1212 h 1328"/>
                <a:gd name="T72" fmla="*/ 624 w 1196"/>
                <a:gd name="T73" fmla="*/ 1264 h 1328"/>
                <a:gd name="T74" fmla="*/ 636 w 1196"/>
                <a:gd name="T75" fmla="*/ 1328 h 1328"/>
                <a:gd name="T76" fmla="*/ 676 w 1196"/>
                <a:gd name="T77" fmla="*/ 1316 h 1328"/>
                <a:gd name="T78" fmla="*/ 754 w 1196"/>
                <a:gd name="T79" fmla="*/ 1290 h 1328"/>
                <a:gd name="T80" fmla="*/ 858 w 1196"/>
                <a:gd name="T81" fmla="*/ 1186 h 1328"/>
                <a:gd name="T82" fmla="*/ 844 w 1196"/>
                <a:gd name="T83" fmla="*/ 1160 h 1328"/>
                <a:gd name="T84" fmla="*/ 870 w 1196"/>
                <a:gd name="T85" fmla="*/ 1134 h 1328"/>
                <a:gd name="T86" fmla="*/ 910 w 1196"/>
                <a:gd name="T87" fmla="*/ 1056 h 1328"/>
                <a:gd name="T88" fmla="*/ 910 w 1196"/>
                <a:gd name="T89" fmla="*/ 1030 h 1328"/>
                <a:gd name="T90" fmla="*/ 936 w 1196"/>
                <a:gd name="T91" fmla="*/ 1004 h 1328"/>
                <a:gd name="T92" fmla="*/ 1014 w 1196"/>
                <a:gd name="T93" fmla="*/ 860 h 1328"/>
                <a:gd name="T94" fmla="*/ 1002 w 1196"/>
                <a:gd name="T95" fmla="*/ 782 h 1328"/>
                <a:gd name="T96" fmla="*/ 988 w 1196"/>
                <a:gd name="T97" fmla="*/ 756 h 1328"/>
                <a:gd name="T98" fmla="*/ 1132 w 1196"/>
                <a:gd name="T99" fmla="*/ 588 h 1328"/>
                <a:gd name="T100" fmla="*/ 1184 w 1196"/>
                <a:gd name="T101" fmla="*/ 444 h 1328"/>
                <a:gd name="T102" fmla="*/ 1132 w 1196"/>
                <a:gd name="T103" fmla="*/ 470 h 1328"/>
                <a:gd name="T104" fmla="*/ 1054 w 1196"/>
                <a:gd name="T105" fmla="*/ 470 h 1328"/>
                <a:gd name="T106" fmla="*/ 1040 w 1196"/>
                <a:gd name="T107" fmla="*/ 432 h 1328"/>
                <a:gd name="T108" fmla="*/ 962 w 1196"/>
                <a:gd name="T109" fmla="*/ 340 h 1328"/>
                <a:gd name="T110" fmla="*/ 936 w 1196"/>
                <a:gd name="T111" fmla="*/ 288 h 1328"/>
                <a:gd name="T112" fmla="*/ 844 w 1196"/>
                <a:gd name="T113" fmla="*/ 158 h 1328"/>
                <a:gd name="T114" fmla="*/ 844 w 1196"/>
                <a:gd name="T115" fmla="*/ 144 h 1328"/>
                <a:gd name="T116" fmla="*/ 864 w 1196"/>
                <a:gd name="T117" fmla="*/ 146 h 1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96" h="1328">
                  <a:moveTo>
                    <a:pt x="864" y="146"/>
                  </a:moveTo>
                  <a:lnTo>
                    <a:pt x="852" y="110"/>
                  </a:lnTo>
                  <a:lnTo>
                    <a:pt x="806" y="92"/>
                  </a:lnTo>
                  <a:lnTo>
                    <a:pt x="780" y="118"/>
                  </a:lnTo>
                  <a:lnTo>
                    <a:pt x="714" y="106"/>
                  </a:lnTo>
                  <a:lnTo>
                    <a:pt x="676" y="80"/>
                  </a:lnTo>
                  <a:lnTo>
                    <a:pt x="650" y="80"/>
                  </a:lnTo>
                  <a:lnTo>
                    <a:pt x="636" y="118"/>
                  </a:lnTo>
                  <a:lnTo>
                    <a:pt x="624" y="132"/>
                  </a:lnTo>
                  <a:lnTo>
                    <a:pt x="584" y="106"/>
                  </a:lnTo>
                  <a:lnTo>
                    <a:pt x="572" y="80"/>
                  </a:lnTo>
                  <a:lnTo>
                    <a:pt x="520" y="80"/>
                  </a:lnTo>
                  <a:lnTo>
                    <a:pt x="490" y="53"/>
                  </a:lnTo>
                  <a:lnTo>
                    <a:pt x="518" y="27"/>
                  </a:lnTo>
                  <a:lnTo>
                    <a:pt x="505" y="0"/>
                  </a:lnTo>
                  <a:lnTo>
                    <a:pt x="468" y="2"/>
                  </a:lnTo>
                  <a:lnTo>
                    <a:pt x="428" y="14"/>
                  </a:lnTo>
                  <a:lnTo>
                    <a:pt x="390" y="2"/>
                  </a:lnTo>
                  <a:lnTo>
                    <a:pt x="324" y="40"/>
                  </a:lnTo>
                  <a:lnTo>
                    <a:pt x="298" y="40"/>
                  </a:lnTo>
                  <a:lnTo>
                    <a:pt x="260" y="28"/>
                  </a:lnTo>
                  <a:lnTo>
                    <a:pt x="246" y="54"/>
                  </a:lnTo>
                  <a:lnTo>
                    <a:pt x="208" y="80"/>
                  </a:lnTo>
                  <a:lnTo>
                    <a:pt x="182" y="118"/>
                  </a:lnTo>
                  <a:lnTo>
                    <a:pt x="182" y="144"/>
                  </a:lnTo>
                  <a:lnTo>
                    <a:pt x="104" y="196"/>
                  </a:lnTo>
                  <a:lnTo>
                    <a:pt x="78" y="210"/>
                  </a:lnTo>
                  <a:lnTo>
                    <a:pt x="12" y="288"/>
                  </a:lnTo>
                  <a:lnTo>
                    <a:pt x="26" y="302"/>
                  </a:lnTo>
                  <a:lnTo>
                    <a:pt x="26" y="314"/>
                  </a:lnTo>
                  <a:lnTo>
                    <a:pt x="26" y="326"/>
                  </a:lnTo>
                  <a:lnTo>
                    <a:pt x="26" y="380"/>
                  </a:lnTo>
                  <a:lnTo>
                    <a:pt x="12" y="392"/>
                  </a:lnTo>
                  <a:lnTo>
                    <a:pt x="0" y="418"/>
                  </a:lnTo>
                  <a:lnTo>
                    <a:pt x="0" y="432"/>
                  </a:lnTo>
                  <a:lnTo>
                    <a:pt x="0" y="458"/>
                  </a:lnTo>
                  <a:lnTo>
                    <a:pt x="0" y="470"/>
                  </a:lnTo>
                  <a:lnTo>
                    <a:pt x="26" y="496"/>
                  </a:lnTo>
                  <a:lnTo>
                    <a:pt x="52" y="510"/>
                  </a:lnTo>
                  <a:lnTo>
                    <a:pt x="52" y="522"/>
                  </a:lnTo>
                  <a:lnTo>
                    <a:pt x="64" y="548"/>
                  </a:lnTo>
                  <a:lnTo>
                    <a:pt x="78" y="562"/>
                  </a:lnTo>
                  <a:lnTo>
                    <a:pt x="156" y="600"/>
                  </a:lnTo>
                  <a:lnTo>
                    <a:pt x="208" y="600"/>
                  </a:lnTo>
                  <a:lnTo>
                    <a:pt x="246" y="600"/>
                  </a:lnTo>
                  <a:lnTo>
                    <a:pt x="286" y="588"/>
                  </a:lnTo>
                  <a:lnTo>
                    <a:pt x="312" y="574"/>
                  </a:lnTo>
                  <a:lnTo>
                    <a:pt x="338" y="562"/>
                  </a:lnTo>
                  <a:lnTo>
                    <a:pt x="376" y="574"/>
                  </a:lnTo>
                  <a:lnTo>
                    <a:pt x="390" y="600"/>
                  </a:lnTo>
                  <a:lnTo>
                    <a:pt x="416" y="614"/>
                  </a:lnTo>
                  <a:lnTo>
                    <a:pt x="442" y="588"/>
                  </a:lnTo>
                  <a:lnTo>
                    <a:pt x="468" y="600"/>
                  </a:lnTo>
                  <a:lnTo>
                    <a:pt x="468" y="640"/>
                  </a:lnTo>
                  <a:lnTo>
                    <a:pt x="454" y="652"/>
                  </a:lnTo>
                  <a:lnTo>
                    <a:pt x="454" y="692"/>
                  </a:lnTo>
                  <a:lnTo>
                    <a:pt x="468" y="718"/>
                  </a:lnTo>
                  <a:lnTo>
                    <a:pt x="494" y="744"/>
                  </a:lnTo>
                  <a:lnTo>
                    <a:pt x="506" y="770"/>
                  </a:lnTo>
                  <a:lnTo>
                    <a:pt x="520" y="782"/>
                  </a:lnTo>
                  <a:lnTo>
                    <a:pt x="532" y="822"/>
                  </a:lnTo>
                  <a:lnTo>
                    <a:pt x="520" y="848"/>
                  </a:lnTo>
                  <a:lnTo>
                    <a:pt x="532" y="860"/>
                  </a:lnTo>
                  <a:lnTo>
                    <a:pt x="546" y="874"/>
                  </a:lnTo>
                  <a:lnTo>
                    <a:pt x="532" y="900"/>
                  </a:lnTo>
                  <a:lnTo>
                    <a:pt x="520" y="926"/>
                  </a:lnTo>
                  <a:lnTo>
                    <a:pt x="506" y="964"/>
                  </a:lnTo>
                  <a:lnTo>
                    <a:pt x="506" y="1004"/>
                  </a:lnTo>
                  <a:lnTo>
                    <a:pt x="532" y="1068"/>
                  </a:lnTo>
                  <a:lnTo>
                    <a:pt x="558" y="1082"/>
                  </a:lnTo>
                  <a:lnTo>
                    <a:pt x="572" y="1172"/>
                  </a:lnTo>
                  <a:lnTo>
                    <a:pt x="598" y="1212"/>
                  </a:lnTo>
                  <a:lnTo>
                    <a:pt x="600" y="1206"/>
                  </a:lnTo>
                  <a:lnTo>
                    <a:pt x="624" y="1264"/>
                  </a:lnTo>
                  <a:lnTo>
                    <a:pt x="624" y="1290"/>
                  </a:lnTo>
                  <a:lnTo>
                    <a:pt x="636" y="1328"/>
                  </a:lnTo>
                  <a:lnTo>
                    <a:pt x="650" y="1328"/>
                  </a:lnTo>
                  <a:lnTo>
                    <a:pt x="676" y="1316"/>
                  </a:lnTo>
                  <a:lnTo>
                    <a:pt x="714" y="1316"/>
                  </a:lnTo>
                  <a:lnTo>
                    <a:pt x="754" y="1290"/>
                  </a:lnTo>
                  <a:lnTo>
                    <a:pt x="806" y="1264"/>
                  </a:lnTo>
                  <a:lnTo>
                    <a:pt x="858" y="1186"/>
                  </a:lnTo>
                  <a:lnTo>
                    <a:pt x="858" y="1172"/>
                  </a:lnTo>
                  <a:lnTo>
                    <a:pt x="844" y="1160"/>
                  </a:lnTo>
                  <a:lnTo>
                    <a:pt x="870" y="1172"/>
                  </a:lnTo>
                  <a:lnTo>
                    <a:pt x="870" y="1134"/>
                  </a:lnTo>
                  <a:lnTo>
                    <a:pt x="910" y="1108"/>
                  </a:lnTo>
                  <a:lnTo>
                    <a:pt x="910" y="1056"/>
                  </a:lnTo>
                  <a:lnTo>
                    <a:pt x="896" y="1042"/>
                  </a:lnTo>
                  <a:lnTo>
                    <a:pt x="910" y="1030"/>
                  </a:lnTo>
                  <a:lnTo>
                    <a:pt x="924" y="1016"/>
                  </a:lnTo>
                  <a:lnTo>
                    <a:pt x="936" y="1004"/>
                  </a:lnTo>
                  <a:lnTo>
                    <a:pt x="1002" y="952"/>
                  </a:lnTo>
                  <a:lnTo>
                    <a:pt x="1014" y="860"/>
                  </a:lnTo>
                  <a:lnTo>
                    <a:pt x="1002" y="848"/>
                  </a:lnTo>
                  <a:lnTo>
                    <a:pt x="1002" y="782"/>
                  </a:lnTo>
                  <a:lnTo>
                    <a:pt x="988" y="782"/>
                  </a:lnTo>
                  <a:lnTo>
                    <a:pt x="988" y="756"/>
                  </a:lnTo>
                  <a:lnTo>
                    <a:pt x="1026" y="692"/>
                  </a:lnTo>
                  <a:lnTo>
                    <a:pt x="1132" y="588"/>
                  </a:lnTo>
                  <a:lnTo>
                    <a:pt x="1196" y="470"/>
                  </a:lnTo>
                  <a:lnTo>
                    <a:pt x="1184" y="444"/>
                  </a:lnTo>
                  <a:lnTo>
                    <a:pt x="1158" y="458"/>
                  </a:lnTo>
                  <a:lnTo>
                    <a:pt x="1132" y="470"/>
                  </a:lnTo>
                  <a:lnTo>
                    <a:pt x="1092" y="470"/>
                  </a:lnTo>
                  <a:lnTo>
                    <a:pt x="1054" y="470"/>
                  </a:lnTo>
                  <a:lnTo>
                    <a:pt x="1054" y="458"/>
                  </a:lnTo>
                  <a:lnTo>
                    <a:pt x="1040" y="432"/>
                  </a:lnTo>
                  <a:lnTo>
                    <a:pt x="976" y="392"/>
                  </a:lnTo>
                  <a:lnTo>
                    <a:pt x="962" y="340"/>
                  </a:lnTo>
                  <a:lnTo>
                    <a:pt x="936" y="326"/>
                  </a:lnTo>
                  <a:lnTo>
                    <a:pt x="936" y="288"/>
                  </a:lnTo>
                  <a:lnTo>
                    <a:pt x="910" y="262"/>
                  </a:lnTo>
                  <a:lnTo>
                    <a:pt x="844" y="158"/>
                  </a:lnTo>
                  <a:lnTo>
                    <a:pt x="832" y="132"/>
                  </a:lnTo>
                  <a:lnTo>
                    <a:pt x="844" y="144"/>
                  </a:lnTo>
                  <a:lnTo>
                    <a:pt x="870" y="170"/>
                  </a:lnTo>
                  <a:lnTo>
                    <a:pt x="864" y="146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7" name="Freeform 88"/>
            <p:cNvSpPr>
              <a:spLocks/>
            </p:cNvSpPr>
            <p:nvPr/>
          </p:nvSpPr>
          <p:spPr bwMode="gray">
            <a:xfrm>
              <a:off x="2956" y="2033"/>
              <a:ext cx="10" cy="18"/>
            </a:xfrm>
            <a:custGeom>
              <a:avLst/>
              <a:gdLst>
                <a:gd name="T0" fmla="*/ 0 w 10"/>
                <a:gd name="T1" fmla="*/ 0 h 18"/>
                <a:gd name="T2" fmla="*/ 0 w 10"/>
                <a:gd name="T3" fmla="*/ 6 h 18"/>
                <a:gd name="T4" fmla="*/ 0 w 10"/>
                <a:gd name="T5" fmla="*/ 6 h 18"/>
                <a:gd name="T6" fmla="*/ 10 w 10"/>
                <a:gd name="T7" fmla="*/ 18 h 18"/>
                <a:gd name="T8" fmla="*/ 0 w 1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8">
                  <a:moveTo>
                    <a:pt x="0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10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8" name="Freeform 89"/>
            <p:cNvSpPr>
              <a:spLocks/>
            </p:cNvSpPr>
            <p:nvPr/>
          </p:nvSpPr>
          <p:spPr bwMode="gray">
            <a:xfrm>
              <a:off x="2956" y="2043"/>
              <a:ext cx="14" cy="42"/>
            </a:xfrm>
            <a:custGeom>
              <a:avLst/>
              <a:gdLst>
                <a:gd name="T0" fmla="*/ 6 w 14"/>
                <a:gd name="T1" fmla="*/ 0 h 42"/>
                <a:gd name="T2" fmla="*/ 14 w 14"/>
                <a:gd name="T3" fmla="*/ 16 h 42"/>
                <a:gd name="T4" fmla="*/ 0 w 14"/>
                <a:gd name="T5" fmla="*/ 28 h 42"/>
                <a:gd name="T6" fmla="*/ 0 w 14"/>
                <a:gd name="T7" fmla="*/ 42 h 42"/>
                <a:gd name="T8" fmla="*/ 6 w 14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2">
                  <a:moveTo>
                    <a:pt x="6" y="0"/>
                  </a:moveTo>
                  <a:lnTo>
                    <a:pt x="14" y="16"/>
                  </a:lnTo>
                  <a:lnTo>
                    <a:pt x="0" y="28"/>
                  </a:lnTo>
                  <a:lnTo>
                    <a:pt x="0" y="4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 cmpd="sng">
              <a:noFill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89" name="Freeform 90"/>
            <p:cNvSpPr>
              <a:spLocks/>
            </p:cNvSpPr>
            <p:nvPr/>
          </p:nvSpPr>
          <p:spPr bwMode="gray">
            <a:xfrm>
              <a:off x="2956" y="2043"/>
              <a:ext cx="14" cy="42"/>
            </a:xfrm>
            <a:custGeom>
              <a:avLst/>
              <a:gdLst>
                <a:gd name="T0" fmla="*/ 6 w 14"/>
                <a:gd name="T1" fmla="*/ 0 h 42"/>
                <a:gd name="T2" fmla="*/ 14 w 14"/>
                <a:gd name="T3" fmla="*/ 16 h 42"/>
                <a:gd name="T4" fmla="*/ 0 w 14"/>
                <a:gd name="T5" fmla="*/ 28 h 42"/>
                <a:gd name="T6" fmla="*/ 0 w 14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2">
                  <a:moveTo>
                    <a:pt x="6" y="0"/>
                  </a:moveTo>
                  <a:lnTo>
                    <a:pt x="14" y="16"/>
                  </a:lnTo>
                  <a:lnTo>
                    <a:pt x="0" y="28"/>
                  </a:lnTo>
                  <a:lnTo>
                    <a:pt x="0" y="4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/>
              <a:endParaRPr lang="en-US" sz="1837" dirty="0"/>
            </a:p>
          </p:txBody>
        </p:sp>
        <p:sp>
          <p:nvSpPr>
            <p:cNvPr id="90" name="Line 99"/>
            <p:cNvSpPr>
              <a:spLocks noChangeShapeType="1"/>
            </p:cNvSpPr>
            <p:nvPr/>
          </p:nvSpPr>
          <p:spPr bwMode="gray">
            <a:xfrm>
              <a:off x="2016" y="3040"/>
              <a:ext cx="0" cy="0"/>
            </a:xfrm>
            <a:prstGeom prst="line">
              <a:avLst/>
            </a:prstGeom>
            <a:grpFill/>
            <a:ln w="9525">
              <a:noFill/>
              <a:round/>
              <a:headE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837" dirty="0"/>
            </a:p>
          </p:txBody>
        </p:sp>
        <p:grpSp>
          <p:nvGrpSpPr>
            <p:cNvPr id="91" name="Group 125"/>
            <p:cNvGrpSpPr>
              <a:grpSpLocks/>
            </p:cNvGrpSpPr>
            <p:nvPr/>
          </p:nvGrpSpPr>
          <p:grpSpPr bwMode="auto">
            <a:xfrm rot="602090">
              <a:off x="4134" y="2833"/>
              <a:ext cx="651" cy="619"/>
              <a:chOff x="1474" y="921"/>
              <a:chExt cx="2866" cy="2415"/>
            </a:xfrm>
            <a:grpFill/>
          </p:grpSpPr>
          <p:sp>
            <p:nvSpPr>
              <p:cNvPr id="92" name="Freeform 126"/>
              <p:cNvSpPr>
                <a:spLocks/>
              </p:cNvSpPr>
              <p:nvPr/>
            </p:nvSpPr>
            <p:spPr bwMode="gray">
              <a:xfrm>
                <a:off x="1474" y="921"/>
                <a:ext cx="2866" cy="2079"/>
              </a:xfrm>
              <a:custGeom>
                <a:avLst/>
                <a:gdLst>
                  <a:gd name="T0" fmla="*/ 96 w 2866"/>
                  <a:gd name="T1" fmla="*/ 1364 h 2079"/>
                  <a:gd name="T2" fmla="*/ 28 w 2866"/>
                  <a:gd name="T3" fmla="*/ 1172 h 2079"/>
                  <a:gd name="T4" fmla="*/ 57 w 2866"/>
                  <a:gd name="T5" fmla="*/ 1105 h 2079"/>
                  <a:gd name="T6" fmla="*/ 4 w 2866"/>
                  <a:gd name="T7" fmla="*/ 1013 h 2079"/>
                  <a:gd name="T8" fmla="*/ 137 w 2866"/>
                  <a:gd name="T9" fmla="*/ 818 h 2079"/>
                  <a:gd name="T10" fmla="*/ 297 w 2866"/>
                  <a:gd name="T11" fmla="*/ 745 h 2079"/>
                  <a:gd name="T12" fmla="*/ 403 w 2866"/>
                  <a:gd name="T13" fmla="*/ 711 h 2079"/>
                  <a:gd name="T14" fmla="*/ 600 w 2866"/>
                  <a:gd name="T15" fmla="*/ 625 h 2079"/>
                  <a:gd name="T16" fmla="*/ 686 w 2866"/>
                  <a:gd name="T17" fmla="*/ 471 h 2079"/>
                  <a:gd name="T18" fmla="*/ 768 w 2866"/>
                  <a:gd name="T19" fmla="*/ 490 h 2079"/>
                  <a:gd name="T20" fmla="*/ 820 w 2866"/>
                  <a:gd name="T21" fmla="*/ 370 h 2079"/>
                  <a:gd name="T22" fmla="*/ 883 w 2866"/>
                  <a:gd name="T23" fmla="*/ 313 h 2079"/>
                  <a:gd name="T24" fmla="*/ 1021 w 2866"/>
                  <a:gd name="T25" fmla="*/ 255 h 2079"/>
                  <a:gd name="T26" fmla="*/ 1185 w 2866"/>
                  <a:gd name="T27" fmla="*/ 274 h 2079"/>
                  <a:gd name="T28" fmla="*/ 1252 w 2866"/>
                  <a:gd name="T29" fmla="*/ 183 h 2079"/>
                  <a:gd name="T30" fmla="*/ 1416 w 2866"/>
                  <a:gd name="T31" fmla="*/ 125 h 2079"/>
                  <a:gd name="T32" fmla="*/ 1449 w 2866"/>
                  <a:gd name="T33" fmla="*/ 68 h 2079"/>
                  <a:gd name="T34" fmla="*/ 1641 w 2866"/>
                  <a:gd name="T35" fmla="*/ 111 h 2079"/>
                  <a:gd name="T36" fmla="*/ 1680 w 2866"/>
                  <a:gd name="T37" fmla="*/ 217 h 2079"/>
                  <a:gd name="T38" fmla="*/ 1665 w 2866"/>
                  <a:gd name="T39" fmla="*/ 260 h 2079"/>
                  <a:gd name="T40" fmla="*/ 1680 w 2866"/>
                  <a:gd name="T41" fmla="*/ 380 h 2079"/>
                  <a:gd name="T42" fmla="*/ 1886 w 2866"/>
                  <a:gd name="T43" fmla="*/ 503 h 2079"/>
                  <a:gd name="T44" fmla="*/ 2036 w 2866"/>
                  <a:gd name="T45" fmla="*/ 428 h 2079"/>
                  <a:gd name="T46" fmla="*/ 2078 w 2866"/>
                  <a:gd name="T47" fmla="*/ 178 h 2079"/>
                  <a:gd name="T48" fmla="*/ 2169 w 2866"/>
                  <a:gd name="T49" fmla="*/ 68 h 2079"/>
                  <a:gd name="T50" fmla="*/ 2280 w 2866"/>
                  <a:gd name="T51" fmla="*/ 279 h 2079"/>
                  <a:gd name="T52" fmla="*/ 2344 w 2866"/>
                  <a:gd name="T53" fmla="*/ 458 h 2079"/>
                  <a:gd name="T54" fmla="*/ 2395 w 2866"/>
                  <a:gd name="T55" fmla="*/ 629 h 2079"/>
                  <a:gd name="T56" fmla="*/ 2558 w 2866"/>
                  <a:gd name="T57" fmla="*/ 725 h 2079"/>
                  <a:gd name="T58" fmla="*/ 2683 w 2866"/>
                  <a:gd name="T59" fmla="*/ 893 h 2079"/>
                  <a:gd name="T60" fmla="*/ 2863 w 2866"/>
                  <a:gd name="T61" fmla="*/ 1055 h 2079"/>
                  <a:gd name="T62" fmla="*/ 2812 w 2866"/>
                  <a:gd name="T63" fmla="*/ 1455 h 2079"/>
                  <a:gd name="T64" fmla="*/ 2673 w 2866"/>
                  <a:gd name="T65" fmla="*/ 1666 h 2079"/>
                  <a:gd name="T66" fmla="*/ 2568 w 2866"/>
                  <a:gd name="T67" fmla="*/ 1825 h 2079"/>
                  <a:gd name="T68" fmla="*/ 2371 w 2866"/>
                  <a:gd name="T69" fmla="*/ 2009 h 2079"/>
                  <a:gd name="T70" fmla="*/ 2169 w 2866"/>
                  <a:gd name="T71" fmla="*/ 2017 h 2079"/>
                  <a:gd name="T72" fmla="*/ 2001 w 2866"/>
                  <a:gd name="T73" fmla="*/ 2045 h 2079"/>
                  <a:gd name="T74" fmla="*/ 1824 w 2866"/>
                  <a:gd name="T75" fmla="*/ 1925 h 2079"/>
                  <a:gd name="T76" fmla="*/ 1742 w 2866"/>
                  <a:gd name="T77" fmla="*/ 1801 h 2079"/>
                  <a:gd name="T78" fmla="*/ 1680 w 2866"/>
                  <a:gd name="T79" fmla="*/ 1781 h 2079"/>
                  <a:gd name="T80" fmla="*/ 1681 w 2866"/>
                  <a:gd name="T81" fmla="*/ 1733 h 2079"/>
                  <a:gd name="T82" fmla="*/ 1675 w 2866"/>
                  <a:gd name="T83" fmla="*/ 1671 h 2079"/>
                  <a:gd name="T84" fmla="*/ 1521 w 2866"/>
                  <a:gd name="T85" fmla="*/ 1762 h 2079"/>
                  <a:gd name="T86" fmla="*/ 1355 w 2866"/>
                  <a:gd name="T87" fmla="*/ 1575 h 2079"/>
                  <a:gd name="T88" fmla="*/ 1056 w 2866"/>
                  <a:gd name="T89" fmla="*/ 1570 h 2079"/>
                  <a:gd name="T90" fmla="*/ 751 w 2866"/>
                  <a:gd name="T91" fmla="*/ 1650 h 2079"/>
                  <a:gd name="T92" fmla="*/ 369 w 2866"/>
                  <a:gd name="T93" fmla="*/ 1753 h 2079"/>
                  <a:gd name="T94" fmla="*/ 105 w 2866"/>
                  <a:gd name="T95" fmla="*/ 1743 h 2079"/>
                  <a:gd name="T96" fmla="*/ 148 w 2866"/>
                  <a:gd name="T97" fmla="*/ 1623 h 20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866" h="2079">
                    <a:moveTo>
                      <a:pt x="153" y="1551"/>
                    </a:moveTo>
                    <a:cubicBezTo>
                      <a:pt x="146" y="1532"/>
                      <a:pt x="139" y="1522"/>
                      <a:pt x="124" y="1508"/>
                    </a:cubicBezTo>
                    <a:cubicBezTo>
                      <a:pt x="121" y="1498"/>
                      <a:pt x="113" y="1489"/>
                      <a:pt x="110" y="1479"/>
                    </a:cubicBezTo>
                    <a:cubicBezTo>
                      <a:pt x="101" y="1441"/>
                      <a:pt x="108" y="1401"/>
                      <a:pt x="96" y="1364"/>
                    </a:cubicBezTo>
                    <a:cubicBezTo>
                      <a:pt x="89" y="1341"/>
                      <a:pt x="70" y="1328"/>
                      <a:pt x="62" y="1306"/>
                    </a:cubicBezTo>
                    <a:cubicBezTo>
                      <a:pt x="55" y="1285"/>
                      <a:pt x="51" y="1267"/>
                      <a:pt x="38" y="1249"/>
                    </a:cubicBezTo>
                    <a:cubicBezTo>
                      <a:pt x="28" y="1219"/>
                      <a:pt x="16" y="1189"/>
                      <a:pt x="0" y="1162"/>
                    </a:cubicBezTo>
                    <a:cubicBezTo>
                      <a:pt x="1" y="1166"/>
                      <a:pt x="7" y="1208"/>
                      <a:pt x="28" y="1172"/>
                    </a:cubicBezTo>
                    <a:cubicBezTo>
                      <a:pt x="33" y="1164"/>
                      <a:pt x="25" y="1153"/>
                      <a:pt x="24" y="1143"/>
                    </a:cubicBezTo>
                    <a:cubicBezTo>
                      <a:pt x="34" y="1108"/>
                      <a:pt x="37" y="1154"/>
                      <a:pt x="43" y="1162"/>
                    </a:cubicBezTo>
                    <a:cubicBezTo>
                      <a:pt x="46" y="1166"/>
                      <a:pt x="52" y="1165"/>
                      <a:pt x="57" y="1167"/>
                    </a:cubicBezTo>
                    <a:cubicBezTo>
                      <a:pt x="89" y="1156"/>
                      <a:pt x="72" y="1126"/>
                      <a:pt x="57" y="1105"/>
                    </a:cubicBezTo>
                    <a:cubicBezTo>
                      <a:pt x="50" y="1085"/>
                      <a:pt x="41" y="1087"/>
                      <a:pt x="24" y="1076"/>
                    </a:cubicBezTo>
                    <a:cubicBezTo>
                      <a:pt x="22" y="1071"/>
                      <a:pt x="20" y="1066"/>
                      <a:pt x="19" y="1061"/>
                    </a:cubicBezTo>
                    <a:cubicBezTo>
                      <a:pt x="17" y="1055"/>
                      <a:pt x="16" y="1048"/>
                      <a:pt x="14" y="1042"/>
                    </a:cubicBezTo>
                    <a:cubicBezTo>
                      <a:pt x="11" y="1032"/>
                      <a:pt x="4" y="1013"/>
                      <a:pt x="4" y="1013"/>
                    </a:cubicBezTo>
                    <a:cubicBezTo>
                      <a:pt x="8" y="982"/>
                      <a:pt x="18" y="971"/>
                      <a:pt x="34" y="947"/>
                    </a:cubicBezTo>
                    <a:cubicBezTo>
                      <a:pt x="43" y="915"/>
                      <a:pt x="27" y="843"/>
                      <a:pt x="62" y="831"/>
                    </a:cubicBezTo>
                    <a:cubicBezTo>
                      <a:pt x="54" y="856"/>
                      <a:pt x="38" y="878"/>
                      <a:pt x="72" y="889"/>
                    </a:cubicBezTo>
                    <a:cubicBezTo>
                      <a:pt x="91" y="857"/>
                      <a:pt x="104" y="840"/>
                      <a:pt x="137" y="818"/>
                    </a:cubicBezTo>
                    <a:cubicBezTo>
                      <a:pt x="153" y="802"/>
                      <a:pt x="158" y="800"/>
                      <a:pt x="168" y="793"/>
                    </a:cubicBezTo>
                    <a:cubicBezTo>
                      <a:pt x="178" y="787"/>
                      <a:pt x="196" y="773"/>
                      <a:pt x="196" y="773"/>
                    </a:cubicBezTo>
                    <a:cubicBezTo>
                      <a:pt x="203" y="754"/>
                      <a:pt x="217" y="757"/>
                      <a:pt x="236" y="752"/>
                    </a:cubicBezTo>
                    <a:cubicBezTo>
                      <a:pt x="258" y="736"/>
                      <a:pt x="272" y="736"/>
                      <a:pt x="297" y="745"/>
                    </a:cubicBezTo>
                    <a:cubicBezTo>
                      <a:pt x="308" y="743"/>
                      <a:pt x="320" y="743"/>
                      <a:pt x="331" y="740"/>
                    </a:cubicBezTo>
                    <a:cubicBezTo>
                      <a:pt x="336" y="738"/>
                      <a:pt x="341" y="734"/>
                      <a:pt x="345" y="730"/>
                    </a:cubicBezTo>
                    <a:cubicBezTo>
                      <a:pt x="349" y="726"/>
                      <a:pt x="350" y="718"/>
                      <a:pt x="355" y="716"/>
                    </a:cubicBezTo>
                    <a:cubicBezTo>
                      <a:pt x="370" y="711"/>
                      <a:pt x="387" y="713"/>
                      <a:pt x="403" y="711"/>
                    </a:cubicBezTo>
                    <a:cubicBezTo>
                      <a:pt x="419" y="707"/>
                      <a:pt x="432" y="701"/>
                      <a:pt x="452" y="698"/>
                    </a:cubicBezTo>
                    <a:cubicBezTo>
                      <a:pt x="472" y="695"/>
                      <a:pt x="503" y="698"/>
                      <a:pt x="523" y="692"/>
                    </a:cubicBezTo>
                    <a:cubicBezTo>
                      <a:pt x="551" y="684"/>
                      <a:pt x="558" y="674"/>
                      <a:pt x="571" y="663"/>
                    </a:cubicBezTo>
                    <a:cubicBezTo>
                      <a:pt x="587" y="652"/>
                      <a:pt x="593" y="643"/>
                      <a:pt x="600" y="625"/>
                    </a:cubicBezTo>
                    <a:cubicBezTo>
                      <a:pt x="611" y="614"/>
                      <a:pt x="613" y="592"/>
                      <a:pt x="623" y="582"/>
                    </a:cubicBezTo>
                    <a:cubicBezTo>
                      <a:pt x="633" y="572"/>
                      <a:pt x="658" y="580"/>
                      <a:pt x="662" y="567"/>
                    </a:cubicBezTo>
                    <a:cubicBezTo>
                      <a:pt x="667" y="556"/>
                      <a:pt x="645" y="517"/>
                      <a:pt x="649" y="501"/>
                    </a:cubicBezTo>
                    <a:cubicBezTo>
                      <a:pt x="653" y="485"/>
                      <a:pt x="674" y="475"/>
                      <a:pt x="686" y="471"/>
                    </a:cubicBezTo>
                    <a:cubicBezTo>
                      <a:pt x="697" y="429"/>
                      <a:pt x="710" y="440"/>
                      <a:pt x="722" y="474"/>
                    </a:cubicBezTo>
                    <a:cubicBezTo>
                      <a:pt x="727" y="488"/>
                      <a:pt x="741" y="510"/>
                      <a:pt x="746" y="524"/>
                    </a:cubicBezTo>
                    <a:cubicBezTo>
                      <a:pt x="754" y="531"/>
                      <a:pt x="754" y="518"/>
                      <a:pt x="758" y="512"/>
                    </a:cubicBezTo>
                    <a:cubicBezTo>
                      <a:pt x="762" y="506"/>
                      <a:pt x="770" y="500"/>
                      <a:pt x="768" y="490"/>
                    </a:cubicBezTo>
                    <a:cubicBezTo>
                      <a:pt x="784" y="465"/>
                      <a:pt x="769" y="465"/>
                      <a:pt x="748" y="452"/>
                    </a:cubicBezTo>
                    <a:cubicBezTo>
                      <a:pt x="759" y="409"/>
                      <a:pt x="743" y="448"/>
                      <a:pt x="811" y="428"/>
                    </a:cubicBezTo>
                    <a:cubicBezTo>
                      <a:pt x="826" y="424"/>
                      <a:pt x="830" y="385"/>
                      <a:pt x="830" y="385"/>
                    </a:cubicBezTo>
                    <a:cubicBezTo>
                      <a:pt x="827" y="380"/>
                      <a:pt x="817" y="375"/>
                      <a:pt x="820" y="370"/>
                    </a:cubicBezTo>
                    <a:cubicBezTo>
                      <a:pt x="825" y="363"/>
                      <a:pt x="836" y="368"/>
                      <a:pt x="844" y="365"/>
                    </a:cubicBezTo>
                    <a:cubicBezTo>
                      <a:pt x="849" y="363"/>
                      <a:pt x="854" y="359"/>
                      <a:pt x="859" y="356"/>
                    </a:cubicBezTo>
                    <a:cubicBezTo>
                      <a:pt x="863" y="354"/>
                      <a:pt x="868" y="353"/>
                      <a:pt x="873" y="351"/>
                    </a:cubicBezTo>
                    <a:cubicBezTo>
                      <a:pt x="877" y="339"/>
                      <a:pt x="876" y="324"/>
                      <a:pt x="883" y="313"/>
                    </a:cubicBezTo>
                    <a:cubicBezTo>
                      <a:pt x="889" y="304"/>
                      <a:pt x="903" y="304"/>
                      <a:pt x="912" y="298"/>
                    </a:cubicBezTo>
                    <a:cubicBezTo>
                      <a:pt x="919" y="273"/>
                      <a:pt x="938" y="272"/>
                      <a:pt x="960" y="265"/>
                    </a:cubicBezTo>
                    <a:cubicBezTo>
                      <a:pt x="969" y="262"/>
                      <a:pt x="988" y="255"/>
                      <a:pt x="988" y="255"/>
                    </a:cubicBezTo>
                    <a:cubicBezTo>
                      <a:pt x="1003" y="234"/>
                      <a:pt x="999" y="247"/>
                      <a:pt x="1021" y="255"/>
                    </a:cubicBezTo>
                    <a:cubicBezTo>
                      <a:pt x="1045" y="289"/>
                      <a:pt x="1083" y="309"/>
                      <a:pt x="1123" y="322"/>
                    </a:cubicBezTo>
                    <a:cubicBezTo>
                      <a:pt x="1147" y="333"/>
                      <a:pt x="1174" y="331"/>
                      <a:pt x="1184" y="323"/>
                    </a:cubicBezTo>
                    <a:cubicBezTo>
                      <a:pt x="1193" y="318"/>
                      <a:pt x="1177" y="299"/>
                      <a:pt x="1177" y="291"/>
                    </a:cubicBezTo>
                    <a:cubicBezTo>
                      <a:pt x="1177" y="283"/>
                      <a:pt x="1181" y="279"/>
                      <a:pt x="1185" y="274"/>
                    </a:cubicBezTo>
                    <a:cubicBezTo>
                      <a:pt x="1189" y="264"/>
                      <a:pt x="1189" y="269"/>
                      <a:pt x="1199" y="260"/>
                    </a:cubicBezTo>
                    <a:cubicBezTo>
                      <a:pt x="1204" y="252"/>
                      <a:pt x="1206" y="234"/>
                      <a:pt x="1213" y="228"/>
                    </a:cubicBezTo>
                    <a:cubicBezTo>
                      <a:pt x="1220" y="222"/>
                      <a:pt x="1237" y="228"/>
                      <a:pt x="1243" y="221"/>
                    </a:cubicBezTo>
                    <a:cubicBezTo>
                      <a:pt x="1234" y="186"/>
                      <a:pt x="1211" y="192"/>
                      <a:pt x="1252" y="183"/>
                    </a:cubicBezTo>
                    <a:cubicBezTo>
                      <a:pt x="1262" y="168"/>
                      <a:pt x="1281" y="145"/>
                      <a:pt x="1296" y="140"/>
                    </a:cubicBezTo>
                    <a:cubicBezTo>
                      <a:pt x="1303" y="129"/>
                      <a:pt x="1302" y="123"/>
                      <a:pt x="1318" y="125"/>
                    </a:cubicBezTo>
                    <a:cubicBezTo>
                      <a:pt x="1329" y="126"/>
                      <a:pt x="1342" y="137"/>
                      <a:pt x="1342" y="137"/>
                    </a:cubicBezTo>
                    <a:cubicBezTo>
                      <a:pt x="1363" y="135"/>
                      <a:pt x="1398" y="135"/>
                      <a:pt x="1416" y="125"/>
                    </a:cubicBezTo>
                    <a:cubicBezTo>
                      <a:pt x="1424" y="120"/>
                      <a:pt x="1418" y="104"/>
                      <a:pt x="1411" y="97"/>
                    </a:cubicBezTo>
                    <a:cubicBezTo>
                      <a:pt x="1404" y="90"/>
                      <a:pt x="1392" y="94"/>
                      <a:pt x="1382" y="92"/>
                    </a:cubicBezTo>
                    <a:cubicBezTo>
                      <a:pt x="1335" y="59"/>
                      <a:pt x="1368" y="64"/>
                      <a:pt x="1406" y="58"/>
                    </a:cubicBezTo>
                    <a:cubicBezTo>
                      <a:pt x="1421" y="61"/>
                      <a:pt x="1439" y="58"/>
                      <a:pt x="1449" y="68"/>
                    </a:cubicBezTo>
                    <a:cubicBezTo>
                      <a:pt x="1475" y="94"/>
                      <a:pt x="1427" y="71"/>
                      <a:pt x="1468" y="92"/>
                    </a:cubicBezTo>
                    <a:cubicBezTo>
                      <a:pt x="1484" y="98"/>
                      <a:pt x="1508" y="119"/>
                      <a:pt x="1537" y="122"/>
                    </a:cubicBezTo>
                    <a:cubicBezTo>
                      <a:pt x="1560" y="128"/>
                      <a:pt x="1587" y="133"/>
                      <a:pt x="1604" y="131"/>
                    </a:cubicBezTo>
                    <a:cubicBezTo>
                      <a:pt x="1621" y="129"/>
                      <a:pt x="1630" y="113"/>
                      <a:pt x="1641" y="111"/>
                    </a:cubicBezTo>
                    <a:cubicBezTo>
                      <a:pt x="1652" y="107"/>
                      <a:pt x="1657" y="118"/>
                      <a:pt x="1669" y="119"/>
                    </a:cubicBezTo>
                    <a:cubicBezTo>
                      <a:pt x="1681" y="120"/>
                      <a:pt x="1707" y="109"/>
                      <a:pt x="1713" y="116"/>
                    </a:cubicBezTo>
                    <a:cubicBezTo>
                      <a:pt x="1725" y="124"/>
                      <a:pt x="1710" y="145"/>
                      <a:pt x="1708" y="159"/>
                    </a:cubicBezTo>
                    <a:cubicBezTo>
                      <a:pt x="1704" y="183"/>
                      <a:pt x="1699" y="203"/>
                      <a:pt x="1680" y="217"/>
                    </a:cubicBezTo>
                    <a:cubicBezTo>
                      <a:pt x="1687" y="259"/>
                      <a:pt x="1689" y="228"/>
                      <a:pt x="1708" y="260"/>
                    </a:cubicBezTo>
                    <a:cubicBezTo>
                      <a:pt x="1707" y="270"/>
                      <a:pt x="1711" y="282"/>
                      <a:pt x="1704" y="289"/>
                    </a:cubicBezTo>
                    <a:cubicBezTo>
                      <a:pt x="1684" y="309"/>
                      <a:pt x="1682" y="271"/>
                      <a:pt x="1680" y="269"/>
                    </a:cubicBezTo>
                    <a:cubicBezTo>
                      <a:pt x="1676" y="264"/>
                      <a:pt x="1670" y="263"/>
                      <a:pt x="1665" y="260"/>
                    </a:cubicBezTo>
                    <a:cubicBezTo>
                      <a:pt x="1651" y="274"/>
                      <a:pt x="1637" y="279"/>
                      <a:pt x="1632" y="298"/>
                    </a:cubicBezTo>
                    <a:cubicBezTo>
                      <a:pt x="1627" y="308"/>
                      <a:pt x="1615" y="316"/>
                      <a:pt x="1616" y="324"/>
                    </a:cubicBezTo>
                    <a:cubicBezTo>
                      <a:pt x="1617" y="332"/>
                      <a:pt x="1625" y="337"/>
                      <a:pt x="1636" y="346"/>
                    </a:cubicBezTo>
                    <a:cubicBezTo>
                      <a:pt x="1641" y="364"/>
                      <a:pt x="1680" y="380"/>
                      <a:pt x="1680" y="380"/>
                    </a:cubicBezTo>
                    <a:cubicBezTo>
                      <a:pt x="1697" y="393"/>
                      <a:pt x="1710" y="401"/>
                      <a:pt x="1742" y="414"/>
                    </a:cubicBezTo>
                    <a:cubicBezTo>
                      <a:pt x="1765" y="428"/>
                      <a:pt x="1796" y="452"/>
                      <a:pt x="1819" y="462"/>
                    </a:cubicBezTo>
                    <a:cubicBezTo>
                      <a:pt x="1842" y="472"/>
                      <a:pt x="1870" y="469"/>
                      <a:pt x="1881" y="476"/>
                    </a:cubicBezTo>
                    <a:cubicBezTo>
                      <a:pt x="1885" y="479"/>
                      <a:pt x="1882" y="499"/>
                      <a:pt x="1886" y="503"/>
                    </a:cubicBezTo>
                    <a:cubicBezTo>
                      <a:pt x="1893" y="510"/>
                      <a:pt x="1900" y="500"/>
                      <a:pt x="1905" y="509"/>
                    </a:cubicBezTo>
                    <a:cubicBezTo>
                      <a:pt x="1914" y="526"/>
                      <a:pt x="1914" y="523"/>
                      <a:pt x="1929" y="533"/>
                    </a:cubicBezTo>
                    <a:cubicBezTo>
                      <a:pt x="1963" y="531"/>
                      <a:pt x="1995" y="542"/>
                      <a:pt x="2006" y="509"/>
                    </a:cubicBezTo>
                    <a:cubicBezTo>
                      <a:pt x="2010" y="481"/>
                      <a:pt x="2019" y="451"/>
                      <a:pt x="2036" y="428"/>
                    </a:cubicBezTo>
                    <a:cubicBezTo>
                      <a:pt x="2046" y="387"/>
                      <a:pt x="2048" y="413"/>
                      <a:pt x="2056" y="344"/>
                    </a:cubicBezTo>
                    <a:cubicBezTo>
                      <a:pt x="2058" y="326"/>
                      <a:pt x="2054" y="308"/>
                      <a:pt x="2054" y="308"/>
                    </a:cubicBezTo>
                    <a:cubicBezTo>
                      <a:pt x="2061" y="214"/>
                      <a:pt x="2051" y="262"/>
                      <a:pt x="2064" y="221"/>
                    </a:cubicBezTo>
                    <a:cubicBezTo>
                      <a:pt x="2068" y="207"/>
                      <a:pt x="2078" y="178"/>
                      <a:pt x="2078" y="178"/>
                    </a:cubicBezTo>
                    <a:cubicBezTo>
                      <a:pt x="2080" y="156"/>
                      <a:pt x="2079" y="133"/>
                      <a:pt x="2083" y="111"/>
                    </a:cubicBezTo>
                    <a:cubicBezTo>
                      <a:pt x="2086" y="96"/>
                      <a:pt x="2102" y="68"/>
                      <a:pt x="2102" y="68"/>
                    </a:cubicBezTo>
                    <a:cubicBezTo>
                      <a:pt x="2096" y="12"/>
                      <a:pt x="2088" y="0"/>
                      <a:pt x="2140" y="34"/>
                    </a:cubicBezTo>
                    <a:cubicBezTo>
                      <a:pt x="2151" y="51"/>
                      <a:pt x="2150" y="61"/>
                      <a:pt x="2169" y="68"/>
                    </a:cubicBezTo>
                    <a:cubicBezTo>
                      <a:pt x="2175" y="126"/>
                      <a:pt x="2169" y="101"/>
                      <a:pt x="2184" y="145"/>
                    </a:cubicBezTo>
                    <a:cubicBezTo>
                      <a:pt x="2189" y="159"/>
                      <a:pt x="2198" y="188"/>
                      <a:pt x="2198" y="188"/>
                    </a:cubicBezTo>
                    <a:cubicBezTo>
                      <a:pt x="2203" y="221"/>
                      <a:pt x="2199" y="281"/>
                      <a:pt x="2236" y="294"/>
                    </a:cubicBezTo>
                    <a:cubicBezTo>
                      <a:pt x="2270" y="282"/>
                      <a:pt x="2255" y="271"/>
                      <a:pt x="2280" y="279"/>
                    </a:cubicBezTo>
                    <a:cubicBezTo>
                      <a:pt x="2291" y="297"/>
                      <a:pt x="2302" y="295"/>
                      <a:pt x="2313" y="313"/>
                    </a:cubicBezTo>
                    <a:cubicBezTo>
                      <a:pt x="2315" y="330"/>
                      <a:pt x="2315" y="348"/>
                      <a:pt x="2318" y="365"/>
                    </a:cubicBezTo>
                    <a:cubicBezTo>
                      <a:pt x="2320" y="375"/>
                      <a:pt x="2328" y="394"/>
                      <a:pt x="2328" y="394"/>
                    </a:cubicBezTo>
                    <a:cubicBezTo>
                      <a:pt x="2330" y="411"/>
                      <a:pt x="2338" y="441"/>
                      <a:pt x="2344" y="458"/>
                    </a:cubicBezTo>
                    <a:cubicBezTo>
                      <a:pt x="2350" y="475"/>
                      <a:pt x="2361" y="488"/>
                      <a:pt x="2366" y="500"/>
                    </a:cubicBezTo>
                    <a:cubicBezTo>
                      <a:pt x="2369" y="510"/>
                      <a:pt x="2376" y="519"/>
                      <a:pt x="2376" y="529"/>
                    </a:cubicBezTo>
                    <a:cubicBezTo>
                      <a:pt x="2377" y="559"/>
                      <a:pt x="2374" y="590"/>
                      <a:pt x="2380" y="620"/>
                    </a:cubicBezTo>
                    <a:cubicBezTo>
                      <a:pt x="2381" y="626"/>
                      <a:pt x="2390" y="626"/>
                      <a:pt x="2395" y="629"/>
                    </a:cubicBezTo>
                    <a:cubicBezTo>
                      <a:pt x="2418" y="644"/>
                      <a:pt x="2442" y="650"/>
                      <a:pt x="2467" y="658"/>
                    </a:cubicBezTo>
                    <a:cubicBezTo>
                      <a:pt x="2476" y="665"/>
                      <a:pt x="2488" y="669"/>
                      <a:pt x="2496" y="677"/>
                    </a:cubicBezTo>
                    <a:cubicBezTo>
                      <a:pt x="2519" y="700"/>
                      <a:pt x="2489" y="687"/>
                      <a:pt x="2520" y="697"/>
                    </a:cubicBezTo>
                    <a:cubicBezTo>
                      <a:pt x="2531" y="714"/>
                      <a:pt x="2539" y="720"/>
                      <a:pt x="2558" y="725"/>
                    </a:cubicBezTo>
                    <a:cubicBezTo>
                      <a:pt x="2579" y="740"/>
                      <a:pt x="2571" y="745"/>
                      <a:pt x="2558" y="764"/>
                    </a:cubicBezTo>
                    <a:cubicBezTo>
                      <a:pt x="2572" y="778"/>
                      <a:pt x="2580" y="792"/>
                      <a:pt x="2596" y="802"/>
                    </a:cubicBezTo>
                    <a:cubicBezTo>
                      <a:pt x="2599" y="834"/>
                      <a:pt x="2589" y="868"/>
                      <a:pt x="2620" y="879"/>
                    </a:cubicBezTo>
                    <a:cubicBezTo>
                      <a:pt x="2647" y="870"/>
                      <a:pt x="2658" y="886"/>
                      <a:pt x="2683" y="893"/>
                    </a:cubicBezTo>
                    <a:cubicBezTo>
                      <a:pt x="2698" y="901"/>
                      <a:pt x="2680" y="931"/>
                      <a:pt x="2701" y="960"/>
                    </a:cubicBezTo>
                    <a:cubicBezTo>
                      <a:pt x="2722" y="989"/>
                      <a:pt x="2788" y="1044"/>
                      <a:pt x="2808" y="1066"/>
                    </a:cubicBezTo>
                    <a:cubicBezTo>
                      <a:pt x="2827" y="1087"/>
                      <a:pt x="2811" y="1063"/>
                      <a:pt x="2819" y="1092"/>
                    </a:cubicBezTo>
                    <a:cubicBezTo>
                      <a:pt x="2828" y="1090"/>
                      <a:pt x="2860" y="1050"/>
                      <a:pt x="2863" y="1055"/>
                    </a:cubicBezTo>
                    <a:cubicBezTo>
                      <a:pt x="2866" y="1060"/>
                      <a:pt x="2841" y="1093"/>
                      <a:pt x="2836" y="1122"/>
                    </a:cubicBezTo>
                    <a:cubicBezTo>
                      <a:pt x="2831" y="1151"/>
                      <a:pt x="2830" y="1194"/>
                      <a:pt x="2833" y="1227"/>
                    </a:cubicBezTo>
                    <a:cubicBezTo>
                      <a:pt x="2836" y="1260"/>
                      <a:pt x="2854" y="1284"/>
                      <a:pt x="2851" y="1322"/>
                    </a:cubicBezTo>
                    <a:cubicBezTo>
                      <a:pt x="2847" y="1360"/>
                      <a:pt x="2816" y="1418"/>
                      <a:pt x="2812" y="1455"/>
                    </a:cubicBezTo>
                    <a:cubicBezTo>
                      <a:pt x="2799" y="1494"/>
                      <a:pt x="2785" y="1535"/>
                      <a:pt x="2774" y="1556"/>
                    </a:cubicBezTo>
                    <a:cubicBezTo>
                      <a:pt x="2766" y="1566"/>
                      <a:pt x="2754" y="1571"/>
                      <a:pt x="2745" y="1580"/>
                    </a:cubicBezTo>
                    <a:cubicBezTo>
                      <a:pt x="2738" y="1599"/>
                      <a:pt x="2744" y="1615"/>
                      <a:pt x="2726" y="1622"/>
                    </a:cubicBezTo>
                    <a:cubicBezTo>
                      <a:pt x="2713" y="1641"/>
                      <a:pt x="2686" y="1647"/>
                      <a:pt x="2673" y="1666"/>
                    </a:cubicBezTo>
                    <a:cubicBezTo>
                      <a:pt x="2666" y="1688"/>
                      <a:pt x="2661" y="1688"/>
                      <a:pt x="2641" y="1695"/>
                    </a:cubicBezTo>
                    <a:cubicBezTo>
                      <a:pt x="2632" y="1705"/>
                      <a:pt x="2634" y="1720"/>
                      <a:pt x="2627" y="1734"/>
                    </a:cubicBezTo>
                    <a:cubicBezTo>
                      <a:pt x="2620" y="1748"/>
                      <a:pt x="2611" y="1762"/>
                      <a:pt x="2601" y="1777"/>
                    </a:cubicBezTo>
                    <a:cubicBezTo>
                      <a:pt x="2594" y="1798"/>
                      <a:pt x="2591" y="1817"/>
                      <a:pt x="2568" y="1825"/>
                    </a:cubicBezTo>
                    <a:cubicBezTo>
                      <a:pt x="2559" y="1837"/>
                      <a:pt x="2552" y="1824"/>
                      <a:pt x="2544" y="1849"/>
                    </a:cubicBezTo>
                    <a:cubicBezTo>
                      <a:pt x="2538" y="1872"/>
                      <a:pt x="2536" y="1953"/>
                      <a:pt x="2520" y="1978"/>
                    </a:cubicBezTo>
                    <a:cubicBezTo>
                      <a:pt x="2514" y="2001"/>
                      <a:pt x="2459" y="2000"/>
                      <a:pt x="2448" y="2002"/>
                    </a:cubicBezTo>
                    <a:cubicBezTo>
                      <a:pt x="2425" y="2009"/>
                      <a:pt x="2394" y="2001"/>
                      <a:pt x="2371" y="2009"/>
                    </a:cubicBezTo>
                    <a:cubicBezTo>
                      <a:pt x="2348" y="2017"/>
                      <a:pt x="2327" y="2039"/>
                      <a:pt x="2308" y="2050"/>
                    </a:cubicBezTo>
                    <a:cubicBezTo>
                      <a:pt x="2285" y="2066"/>
                      <a:pt x="2288" y="2068"/>
                      <a:pt x="2258" y="2078"/>
                    </a:cubicBezTo>
                    <a:cubicBezTo>
                      <a:pt x="2242" y="2079"/>
                      <a:pt x="2227" y="2065"/>
                      <a:pt x="2212" y="2055"/>
                    </a:cubicBezTo>
                    <a:cubicBezTo>
                      <a:pt x="2180" y="2022"/>
                      <a:pt x="2196" y="2033"/>
                      <a:pt x="2169" y="2017"/>
                    </a:cubicBezTo>
                    <a:cubicBezTo>
                      <a:pt x="2132" y="2028"/>
                      <a:pt x="2180" y="2012"/>
                      <a:pt x="2140" y="2031"/>
                    </a:cubicBezTo>
                    <a:cubicBezTo>
                      <a:pt x="2120" y="2040"/>
                      <a:pt x="2072" y="2067"/>
                      <a:pt x="2049" y="2069"/>
                    </a:cubicBezTo>
                    <a:cubicBezTo>
                      <a:pt x="2019" y="2063"/>
                      <a:pt x="2035" y="2069"/>
                      <a:pt x="2001" y="2045"/>
                    </a:cubicBezTo>
                    <a:lnTo>
                      <a:pt x="2001" y="2045"/>
                    </a:lnTo>
                    <a:cubicBezTo>
                      <a:pt x="1970" y="2036"/>
                      <a:pt x="1992" y="2041"/>
                      <a:pt x="1934" y="2036"/>
                    </a:cubicBezTo>
                    <a:cubicBezTo>
                      <a:pt x="1916" y="2023"/>
                      <a:pt x="1897" y="2019"/>
                      <a:pt x="1876" y="2012"/>
                    </a:cubicBezTo>
                    <a:cubicBezTo>
                      <a:pt x="1856" y="1998"/>
                      <a:pt x="1851" y="1975"/>
                      <a:pt x="1828" y="1969"/>
                    </a:cubicBezTo>
                    <a:cubicBezTo>
                      <a:pt x="1810" y="1940"/>
                      <a:pt x="1824" y="1970"/>
                      <a:pt x="1824" y="1925"/>
                    </a:cubicBezTo>
                    <a:cubicBezTo>
                      <a:pt x="1824" y="1892"/>
                      <a:pt x="1796" y="1855"/>
                      <a:pt x="1766" y="1844"/>
                    </a:cubicBezTo>
                    <a:cubicBezTo>
                      <a:pt x="1763" y="1839"/>
                      <a:pt x="1762" y="1831"/>
                      <a:pt x="1756" y="1829"/>
                    </a:cubicBezTo>
                    <a:cubicBezTo>
                      <a:pt x="1744" y="1824"/>
                      <a:pt x="1729" y="1846"/>
                      <a:pt x="1718" y="1839"/>
                    </a:cubicBezTo>
                    <a:cubicBezTo>
                      <a:pt x="1710" y="1834"/>
                      <a:pt x="1731" y="1808"/>
                      <a:pt x="1742" y="1801"/>
                    </a:cubicBezTo>
                    <a:cubicBezTo>
                      <a:pt x="1738" y="1777"/>
                      <a:pt x="1731" y="1765"/>
                      <a:pt x="1723" y="1743"/>
                    </a:cubicBezTo>
                    <a:cubicBezTo>
                      <a:pt x="1720" y="1748"/>
                      <a:pt x="1717" y="1753"/>
                      <a:pt x="1713" y="1757"/>
                    </a:cubicBezTo>
                    <a:cubicBezTo>
                      <a:pt x="1709" y="1760"/>
                      <a:pt x="1702" y="1758"/>
                      <a:pt x="1699" y="1762"/>
                    </a:cubicBezTo>
                    <a:cubicBezTo>
                      <a:pt x="1676" y="1786"/>
                      <a:pt x="1714" y="1771"/>
                      <a:pt x="1680" y="1781"/>
                    </a:cubicBezTo>
                    <a:cubicBezTo>
                      <a:pt x="1678" y="1789"/>
                      <a:pt x="1682" y="1802"/>
                      <a:pt x="1675" y="1805"/>
                    </a:cubicBezTo>
                    <a:cubicBezTo>
                      <a:pt x="1637" y="1822"/>
                      <a:pt x="1637" y="1805"/>
                      <a:pt x="1632" y="1786"/>
                    </a:cubicBezTo>
                    <a:cubicBezTo>
                      <a:pt x="1646" y="1781"/>
                      <a:pt x="1667" y="1790"/>
                      <a:pt x="1675" y="1777"/>
                    </a:cubicBezTo>
                    <a:cubicBezTo>
                      <a:pt x="1685" y="1768"/>
                      <a:pt x="1673" y="1755"/>
                      <a:pt x="1681" y="1733"/>
                    </a:cubicBezTo>
                    <a:cubicBezTo>
                      <a:pt x="1686" y="1718"/>
                      <a:pt x="1701" y="1702"/>
                      <a:pt x="1708" y="1688"/>
                    </a:cubicBezTo>
                    <a:cubicBezTo>
                      <a:pt x="1715" y="1674"/>
                      <a:pt x="1724" y="1656"/>
                      <a:pt x="1723" y="1647"/>
                    </a:cubicBezTo>
                    <a:cubicBezTo>
                      <a:pt x="1711" y="1612"/>
                      <a:pt x="1720" y="1611"/>
                      <a:pt x="1699" y="1633"/>
                    </a:cubicBezTo>
                    <a:cubicBezTo>
                      <a:pt x="1687" y="1666"/>
                      <a:pt x="1697" y="1655"/>
                      <a:pt x="1675" y="1671"/>
                    </a:cubicBezTo>
                    <a:cubicBezTo>
                      <a:pt x="1667" y="1692"/>
                      <a:pt x="1659" y="1690"/>
                      <a:pt x="1641" y="1700"/>
                    </a:cubicBezTo>
                    <a:cubicBezTo>
                      <a:pt x="1631" y="1706"/>
                      <a:pt x="1612" y="1719"/>
                      <a:pt x="1612" y="1719"/>
                    </a:cubicBezTo>
                    <a:cubicBezTo>
                      <a:pt x="1591" y="1750"/>
                      <a:pt x="1596" y="1748"/>
                      <a:pt x="1564" y="1757"/>
                    </a:cubicBezTo>
                    <a:cubicBezTo>
                      <a:pt x="1550" y="1781"/>
                      <a:pt x="1541" y="1782"/>
                      <a:pt x="1521" y="1762"/>
                    </a:cubicBezTo>
                    <a:cubicBezTo>
                      <a:pt x="1512" y="1721"/>
                      <a:pt x="1512" y="1676"/>
                      <a:pt x="1468" y="1661"/>
                    </a:cubicBezTo>
                    <a:cubicBezTo>
                      <a:pt x="1452" y="1645"/>
                      <a:pt x="1442" y="1640"/>
                      <a:pt x="1449" y="1618"/>
                    </a:cubicBezTo>
                    <a:cubicBezTo>
                      <a:pt x="1438" y="1588"/>
                      <a:pt x="1450" y="1607"/>
                      <a:pt x="1396" y="1599"/>
                    </a:cubicBezTo>
                    <a:cubicBezTo>
                      <a:pt x="1380" y="1594"/>
                      <a:pt x="1371" y="1579"/>
                      <a:pt x="1355" y="1575"/>
                    </a:cubicBezTo>
                    <a:cubicBezTo>
                      <a:pt x="1339" y="1571"/>
                      <a:pt x="1315" y="1581"/>
                      <a:pt x="1300" y="1575"/>
                    </a:cubicBezTo>
                    <a:cubicBezTo>
                      <a:pt x="1291" y="1561"/>
                      <a:pt x="1262" y="1541"/>
                      <a:pt x="1262" y="1541"/>
                    </a:cubicBezTo>
                    <a:cubicBezTo>
                      <a:pt x="1203" y="1543"/>
                      <a:pt x="1139" y="1528"/>
                      <a:pt x="1084" y="1551"/>
                    </a:cubicBezTo>
                    <a:cubicBezTo>
                      <a:pt x="1074" y="1555"/>
                      <a:pt x="1067" y="1566"/>
                      <a:pt x="1056" y="1570"/>
                    </a:cubicBezTo>
                    <a:cubicBezTo>
                      <a:pt x="1046" y="1573"/>
                      <a:pt x="1037" y="1577"/>
                      <a:pt x="1027" y="1580"/>
                    </a:cubicBezTo>
                    <a:cubicBezTo>
                      <a:pt x="986" y="1594"/>
                      <a:pt x="897" y="1599"/>
                      <a:pt x="897" y="1599"/>
                    </a:cubicBezTo>
                    <a:cubicBezTo>
                      <a:pt x="873" y="1607"/>
                      <a:pt x="844" y="1613"/>
                      <a:pt x="824" y="1629"/>
                    </a:cubicBezTo>
                    <a:cubicBezTo>
                      <a:pt x="799" y="1641"/>
                      <a:pt x="770" y="1636"/>
                      <a:pt x="751" y="1650"/>
                    </a:cubicBezTo>
                    <a:cubicBezTo>
                      <a:pt x="747" y="1656"/>
                      <a:pt x="721" y="1708"/>
                      <a:pt x="710" y="1714"/>
                    </a:cubicBezTo>
                    <a:cubicBezTo>
                      <a:pt x="662" y="1725"/>
                      <a:pt x="517" y="1708"/>
                      <a:pt x="460" y="1714"/>
                    </a:cubicBezTo>
                    <a:cubicBezTo>
                      <a:pt x="409" y="1716"/>
                      <a:pt x="419" y="1746"/>
                      <a:pt x="404" y="1752"/>
                    </a:cubicBezTo>
                    <a:cubicBezTo>
                      <a:pt x="389" y="1758"/>
                      <a:pt x="385" y="1746"/>
                      <a:pt x="369" y="1753"/>
                    </a:cubicBezTo>
                    <a:cubicBezTo>
                      <a:pt x="352" y="1756"/>
                      <a:pt x="336" y="1789"/>
                      <a:pt x="307" y="1796"/>
                    </a:cubicBezTo>
                    <a:cubicBezTo>
                      <a:pt x="278" y="1803"/>
                      <a:pt x="222" y="1800"/>
                      <a:pt x="196" y="1796"/>
                    </a:cubicBezTo>
                    <a:cubicBezTo>
                      <a:pt x="164" y="1774"/>
                      <a:pt x="179" y="1781"/>
                      <a:pt x="153" y="1772"/>
                    </a:cubicBezTo>
                    <a:cubicBezTo>
                      <a:pt x="140" y="1750"/>
                      <a:pt x="131" y="1748"/>
                      <a:pt x="105" y="1743"/>
                    </a:cubicBezTo>
                    <a:cubicBezTo>
                      <a:pt x="102" y="1734"/>
                      <a:pt x="88" y="1709"/>
                      <a:pt x="100" y="1700"/>
                    </a:cubicBezTo>
                    <a:cubicBezTo>
                      <a:pt x="113" y="1691"/>
                      <a:pt x="130" y="1689"/>
                      <a:pt x="144" y="1681"/>
                    </a:cubicBezTo>
                    <a:cubicBezTo>
                      <a:pt x="146" y="1677"/>
                      <a:pt x="159" y="1659"/>
                      <a:pt x="158" y="1652"/>
                    </a:cubicBezTo>
                    <a:cubicBezTo>
                      <a:pt x="157" y="1642"/>
                      <a:pt x="148" y="1623"/>
                      <a:pt x="148" y="1623"/>
                    </a:cubicBezTo>
                    <a:cubicBezTo>
                      <a:pt x="157" y="1599"/>
                      <a:pt x="162" y="1575"/>
                      <a:pt x="153" y="155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1"/>
                <a:endParaRPr lang="en-US" sz="1837" dirty="0"/>
              </a:p>
            </p:txBody>
          </p:sp>
          <p:sp>
            <p:nvSpPr>
              <p:cNvPr id="93" name="Freeform 127"/>
              <p:cNvSpPr>
                <a:spLocks/>
              </p:cNvSpPr>
              <p:nvPr/>
            </p:nvSpPr>
            <p:spPr bwMode="gray">
              <a:xfrm>
                <a:off x="3591" y="3118"/>
                <a:ext cx="259" cy="218"/>
              </a:xfrm>
              <a:custGeom>
                <a:avLst/>
                <a:gdLst>
                  <a:gd name="T0" fmla="*/ 18 w 259"/>
                  <a:gd name="T1" fmla="*/ 2 h 218"/>
                  <a:gd name="T2" fmla="*/ 68 w 259"/>
                  <a:gd name="T3" fmla="*/ 26 h 218"/>
                  <a:gd name="T4" fmla="*/ 95 w 259"/>
                  <a:gd name="T5" fmla="*/ 32 h 218"/>
                  <a:gd name="T6" fmla="*/ 129 w 259"/>
                  <a:gd name="T7" fmla="*/ 38 h 218"/>
                  <a:gd name="T8" fmla="*/ 182 w 259"/>
                  <a:gd name="T9" fmla="*/ 40 h 218"/>
                  <a:gd name="T10" fmla="*/ 197 w 259"/>
                  <a:gd name="T11" fmla="*/ 34 h 218"/>
                  <a:gd name="T12" fmla="*/ 221 w 259"/>
                  <a:gd name="T13" fmla="*/ 22 h 218"/>
                  <a:gd name="T14" fmla="*/ 254 w 259"/>
                  <a:gd name="T15" fmla="*/ 20 h 218"/>
                  <a:gd name="T16" fmla="*/ 252 w 259"/>
                  <a:gd name="T17" fmla="*/ 62 h 218"/>
                  <a:gd name="T18" fmla="*/ 246 w 259"/>
                  <a:gd name="T19" fmla="*/ 94 h 218"/>
                  <a:gd name="T20" fmla="*/ 234 w 259"/>
                  <a:gd name="T21" fmla="*/ 113 h 218"/>
                  <a:gd name="T22" fmla="*/ 225 w 259"/>
                  <a:gd name="T23" fmla="*/ 134 h 218"/>
                  <a:gd name="T24" fmla="*/ 219 w 259"/>
                  <a:gd name="T25" fmla="*/ 148 h 218"/>
                  <a:gd name="T26" fmla="*/ 210 w 259"/>
                  <a:gd name="T27" fmla="*/ 170 h 218"/>
                  <a:gd name="T28" fmla="*/ 180 w 259"/>
                  <a:gd name="T29" fmla="*/ 175 h 218"/>
                  <a:gd name="T30" fmla="*/ 164 w 259"/>
                  <a:gd name="T31" fmla="*/ 187 h 218"/>
                  <a:gd name="T32" fmla="*/ 156 w 259"/>
                  <a:gd name="T33" fmla="*/ 193 h 218"/>
                  <a:gd name="T34" fmla="*/ 143 w 259"/>
                  <a:gd name="T35" fmla="*/ 209 h 218"/>
                  <a:gd name="T36" fmla="*/ 132 w 259"/>
                  <a:gd name="T37" fmla="*/ 218 h 218"/>
                  <a:gd name="T38" fmla="*/ 84 w 259"/>
                  <a:gd name="T39" fmla="*/ 206 h 218"/>
                  <a:gd name="T40" fmla="*/ 69 w 259"/>
                  <a:gd name="T41" fmla="*/ 191 h 218"/>
                  <a:gd name="T42" fmla="*/ 54 w 259"/>
                  <a:gd name="T43" fmla="*/ 178 h 218"/>
                  <a:gd name="T44" fmla="*/ 33 w 259"/>
                  <a:gd name="T45" fmla="*/ 149 h 218"/>
                  <a:gd name="T46" fmla="*/ 41 w 259"/>
                  <a:gd name="T47" fmla="*/ 124 h 218"/>
                  <a:gd name="T48" fmla="*/ 42 w 259"/>
                  <a:gd name="T49" fmla="*/ 112 h 218"/>
                  <a:gd name="T50" fmla="*/ 32 w 259"/>
                  <a:gd name="T51" fmla="*/ 94 h 218"/>
                  <a:gd name="T52" fmla="*/ 21 w 259"/>
                  <a:gd name="T53" fmla="*/ 76 h 218"/>
                  <a:gd name="T54" fmla="*/ 12 w 259"/>
                  <a:gd name="T55" fmla="*/ 65 h 218"/>
                  <a:gd name="T56" fmla="*/ 5 w 259"/>
                  <a:gd name="T57" fmla="*/ 52 h 218"/>
                  <a:gd name="T58" fmla="*/ 0 w 259"/>
                  <a:gd name="T59" fmla="*/ 31 h 218"/>
                  <a:gd name="T60" fmla="*/ 8 w 259"/>
                  <a:gd name="T61" fmla="*/ 7 h 218"/>
                  <a:gd name="T62" fmla="*/ 18 w 259"/>
                  <a:gd name="T63" fmla="*/ 2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9" h="218">
                    <a:moveTo>
                      <a:pt x="18" y="2"/>
                    </a:moveTo>
                    <a:cubicBezTo>
                      <a:pt x="34" y="9"/>
                      <a:pt x="51" y="23"/>
                      <a:pt x="68" y="26"/>
                    </a:cubicBezTo>
                    <a:cubicBezTo>
                      <a:pt x="76" y="30"/>
                      <a:pt x="95" y="32"/>
                      <a:pt x="95" y="32"/>
                    </a:cubicBezTo>
                    <a:cubicBezTo>
                      <a:pt x="105" y="37"/>
                      <a:pt x="118" y="36"/>
                      <a:pt x="129" y="38"/>
                    </a:cubicBezTo>
                    <a:cubicBezTo>
                      <a:pt x="146" y="45"/>
                      <a:pt x="162" y="40"/>
                      <a:pt x="182" y="40"/>
                    </a:cubicBezTo>
                    <a:cubicBezTo>
                      <a:pt x="187" y="37"/>
                      <a:pt x="191" y="35"/>
                      <a:pt x="197" y="34"/>
                    </a:cubicBezTo>
                    <a:cubicBezTo>
                      <a:pt x="203" y="29"/>
                      <a:pt x="213" y="24"/>
                      <a:pt x="221" y="22"/>
                    </a:cubicBezTo>
                    <a:cubicBezTo>
                      <a:pt x="231" y="17"/>
                      <a:pt x="243" y="19"/>
                      <a:pt x="254" y="20"/>
                    </a:cubicBezTo>
                    <a:cubicBezTo>
                      <a:pt x="257" y="34"/>
                      <a:pt x="259" y="48"/>
                      <a:pt x="252" y="62"/>
                    </a:cubicBezTo>
                    <a:cubicBezTo>
                      <a:pt x="250" y="73"/>
                      <a:pt x="250" y="84"/>
                      <a:pt x="246" y="94"/>
                    </a:cubicBezTo>
                    <a:cubicBezTo>
                      <a:pt x="245" y="102"/>
                      <a:pt x="240" y="108"/>
                      <a:pt x="234" y="113"/>
                    </a:cubicBezTo>
                    <a:cubicBezTo>
                      <a:pt x="230" y="120"/>
                      <a:pt x="229" y="127"/>
                      <a:pt x="225" y="134"/>
                    </a:cubicBezTo>
                    <a:cubicBezTo>
                      <a:pt x="224" y="140"/>
                      <a:pt x="221" y="143"/>
                      <a:pt x="219" y="148"/>
                    </a:cubicBezTo>
                    <a:cubicBezTo>
                      <a:pt x="217" y="157"/>
                      <a:pt x="221" y="168"/>
                      <a:pt x="210" y="170"/>
                    </a:cubicBezTo>
                    <a:cubicBezTo>
                      <a:pt x="198" y="179"/>
                      <a:pt x="212" y="170"/>
                      <a:pt x="180" y="175"/>
                    </a:cubicBezTo>
                    <a:cubicBezTo>
                      <a:pt x="176" y="176"/>
                      <a:pt x="169" y="185"/>
                      <a:pt x="164" y="187"/>
                    </a:cubicBezTo>
                    <a:cubicBezTo>
                      <a:pt x="156" y="197"/>
                      <a:pt x="166" y="185"/>
                      <a:pt x="156" y="193"/>
                    </a:cubicBezTo>
                    <a:cubicBezTo>
                      <a:pt x="151" y="197"/>
                      <a:pt x="149" y="205"/>
                      <a:pt x="143" y="209"/>
                    </a:cubicBezTo>
                    <a:cubicBezTo>
                      <a:pt x="140" y="215"/>
                      <a:pt x="139" y="217"/>
                      <a:pt x="132" y="218"/>
                    </a:cubicBezTo>
                    <a:cubicBezTo>
                      <a:pt x="99" y="217"/>
                      <a:pt x="104" y="218"/>
                      <a:pt x="84" y="206"/>
                    </a:cubicBezTo>
                    <a:cubicBezTo>
                      <a:pt x="79" y="199"/>
                      <a:pt x="76" y="195"/>
                      <a:pt x="69" y="191"/>
                    </a:cubicBezTo>
                    <a:cubicBezTo>
                      <a:pt x="64" y="184"/>
                      <a:pt x="63" y="180"/>
                      <a:pt x="54" y="178"/>
                    </a:cubicBezTo>
                    <a:cubicBezTo>
                      <a:pt x="46" y="172"/>
                      <a:pt x="37" y="159"/>
                      <a:pt x="33" y="149"/>
                    </a:cubicBezTo>
                    <a:cubicBezTo>
                      <a:pt x="32" y="139"/>
                      <a:pt x="29" y="126"/>
                      <a:pt x="41" y="124"/>
                    </a:cubicBezTo>
                    <a:cubicBezTo>
                      <a:pt x="47" y="121"/>
                      <a:pt x="45" y="118"/>
                      <a:pt x="42" y="112"/>
                    </a:cubicBezTo>
                    <a:cubicBezTo>
                      <a:pt x="41" y="105"/>
                      <a:pt x="37" y="99"/>
                      <a:pt x="32" y="94"/>
                    </a:cubicBezTo>
                    <a:cubicBezTo>
                      <a:pt x="29" y="87"/>
                      <a:pt x="25" y="82"/>
                      <a:pt x="21" y="76"/>
                    </a:cubicBezTo>
                    <a:cubicBezTo>
                      <a:pt x="20" y="69"/>
                      <a:pt x="18" y="68"/>
                      <a:pt x="12" y="65"/>
                    </a:cubicBezTo>
                    <a:cubicBezTo>
                      <a:pt x="11" y="58"/>
                      <a:pt x="10" y="56"/>
                      <a:pt x="5" y="52"/>
                    </a:cubicBezTo>
                    <a:cubicBezTo>
                      <a:pt x="2" y="45"/>
                      <a:pt x="1" y="38"/>
                      <a:pt x="0" y="31"/>
                    </a:cubicBezTo>
                    <a:cubicBezTo>
                      <a:pt x="2" y="20"/>
                      <a:pt x="0" y="13"/>
                      <a:pt x="8" y="7"/>
                    </a:cubicBezTo>
                    <a:cubicBezTo>
                      <a:pt x="12" y="0"/>
                      <a:pt x="9" y="2"/>
                      <a:pt x="18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1"/>
                <a:endParaRPr lang="en-US" sz="1837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64822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41.xml"/><Relationship Id="rId7" Type="http://schemas.openxmlformats.org/officeDocument/2006/relationships/theme" Target="../theme/theme2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oleObject" Target="../embeddings/oleObject8.bin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C115DD6-CF83-4863-8619-E9BF374345A5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1" i="0" baseline="0" dirty="0" err="1">
              <a:solidFill>
                <a:schemeClr val="tx1"/>
              </a:solidFill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90" y="2571753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40242"/>
            <a:ext cx="1064147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33258" y="17819"/>
            <a:ext cx="80634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3259" y="556873"/>
            <a:ext cx="11725484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28" baseline="0" noProof="0" dirty="0">
                <a:solidFill>
                  <a:schemeClr val="tx1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90" y="1967588"/>
            <a:ext cx="5853024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10833493" y="303697"/>
            <a:ext cx="943828" cy="1022061"/>
            <a:chOff x="4936" y="176"/>
            <a:chExt cx="437" cy="631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10414502" y="303697"/>
            <a:ext cx="1362827" cy="749943"/>
            <a:chOff x="4750" y="176"/>
            <a:chExt cx="631" cy="463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10934411" y="303696"/>
            <a:ext cx="1024336" cy="220474"/>
            <a:chOff x="7987862" y="285750"/>
            <a:chExt cx="752913" cy="216085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987862" y="285750"/>
              <a:ext cx="752913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987862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987862" y="501835"/>
              <a:ext cx="7529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 hidden="1"/>
          <p:cNvSpPr txBox="1">
            <a:spLocks/>
          </p:cNvSpPr>
          <p:nvPr userDrawn="1"/>
        </p:nvSpPr>
        <p:spPr bwMode="auto">
          <a:xfrm>
            <a:off x="11796819" y="6539515"/>
            <a:ext cx="161924" cy="160154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20" smtClean="0">
                <a:solidFill>
                  <a:srgbClr val="2C2C2C"/>
                </a:solidFill>
              </a:rPr>
              <a:pPr lvl="0" algn="r"/>
              <a:t>‹#›</a:t>
            </a:fld>
            <a:endParaRPr lang="en-US" sz="1020" dirty="0">
              <a:solidFill>
                <a:srgbClr val="2C2C2C"/>
              </a:solidFill>
            </a:endParaRPr>
          </a:p>
        </p:txBody>
      </p:sp>
      <p:grpSp>
        <p:nvGrpSpPr>
          <p:cNvPr id="5" name="Slide Elements" hidden="1"/>
          <p:cNvGrpSpPr/>
          <p:nvPr userDrawn="1"/>
        </p:nvGrpSpPr>
        <p:grpSpPr>
          <a:xfrm>
            <a:off x="233257" y="6368434"/>
            <a:ext cx="10937163" cy="360879"/>
            <a:chOff x="171449" y="6127353"/>
            <a:chExt cx="8039101" cy="353695"/>
          </a:xfrm>
        </p:grpSpPr>
        <p:sp>
          <p:nvSpPr>
            <p:cNvPr id="66" name="4. Footnote"/>
            <p:cNvSpPr txBox="1">
              <a:spLocks noChangeArrowheads="1"/>
            </p:cNvSpPr>
            <p:nvPr userDrawn="1"/>
          </p:nvSpPr>
          <p:spPr bwMode="auto">
            <a:xfrm>
              <a:off x="171450" y="6127353"/>
              <a:ext cx="8039100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 dirty="0">
                  <a:solidFill>
                    <a:schemeClr val="tx1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89" name="5. Source"/>
            <p:cNvSpPr>
              <a:spLocks noChangeArrowheads="1"/>
            </p:cNvSpPr>
            <p:nvPr userDrawn="1"/>
          </p:nvSpPr>
          <p:spPr bwMode="auto">
            <a:xfrm>
              <a:off x="171449" y="6324082"/>
              <a:ext cx="8039100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spAutoFit/>
            </a:bodyPr>
            <a:lstStyle/>
            <a:p>
              <a:pPr marL="583101" indent="-583101" defTabSz="913526">
                <a:tabLst>
                  <a:tab pos="625214" algn="l"/>
                </a:tabLst>
              </a:pPr>
              <a:r>
                <a:rPr lang="en-US" sz="102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61" name="LegendMoons" hidden="1"/>
          <p:cNvGrpSpPr/>
          <p:nvPr userDrawn="1"/>
        </p:nvGrpSpPr>
        <p:grpSpPr bwMode="auto">
          <a:xfrm>
            <a:off x="10741713" y="303696"/>
            <a:ext cx="1034902" cy="1333054"/>
            <a:chOff x="5428012" y="273840"/>
            <a:chExt cx="760680" cy="1306516"/>
          </a:xfrm>
        </p:grpSpPr>
        <p:sp>
          <p:nvSpPr>
            <p:cNvPr id="62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5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0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1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5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2" name="MoonLegend2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5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3" name="MoonLegend3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5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4" name="MoonLegend4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5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5" name="MoonLegend5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5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</p:grpSp>
      </p:grpSp>
      <p:grpSp>
        <p:nvGrpSpPr>
          <p:cNvPr id="106" name="McK Moon" hidden="1"/>
          <p:cNvGrpSpPr>
            <a:grpSpLocks noChangeAspect="1"/>
          </p:cNvGrpSpPr>
          <p:nvPr userDrawn="1">
            <p:custDataLst>
              <p:tags r:id="rId11"/>
            </p:custDataLst>
          </p:nvPr>
        </p:nvGrpSpPr>
        <p:grpSpPr bwMode="auto">
          <a:xfrm>
            <a:off x="9513864" y="1212639"/>
            <a:ext cx="345566" cy="259159"/>
            <a:chOff x="1600" y="1600"/>
            <a:chExt cx="160" cy="160"/>
          </a:xfrm>
        </p:grpSpPr>
        <p:sp>
          <p:nvSpPr>
            <p:cNvPr id="107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dirty="0"/>
            </a:p>
          </p:txBody>
        </p:sp>
        <p:sp>
          <p:nvSpPr>
            <p:cNvPr id="108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5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dirty="0"/>
            </a:p>
          </p:txBody>
        </p:sp>
      </p:grpSp>
    </p:spTree>
    <p:extLst>
      <p:ext uri="{BB962C8B-B14F-4D97-AF65-F5344CB8AC3E}">
        <p14:creationId xmlns:p14="http://schemas.microsoft.com/office/powerpoint/2010/main" val="475732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C115DD6-CF83-4863-8619-E9BF374345A5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1" i="0" baseline="0" dirty="0" err="1">
              <a:solidFill>
                <a:schemeClr val="tx1"/>
              </a:solidFill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90" y="2571753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40242"/>
            <a:ext cx="1064147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33258" y="17819"/>
            <a:ext cx="80634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3259" y="556873"/>
            <a:ext cx="11725484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28" baseline="0" noProof="0" dirty="0">
                <a:solidFill>
                  <a:schemeClr val="tx1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90" y="1967588"/>
            <a:ext cx="5853024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10833493" y="303697"/>
            <a:ext cx="943828" cy="1022061"/>
            <a:chOff x="4936" y="176"/>
            <a:chExt cx="437" cy="631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10414502" y="303697"/>
            <a:ext cx="1362827" cy="749943"/>
            <a:chOff x="4750" y="176"/>
            <a:chExt cx="631" cy="463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24" dirty="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10934411" y="303696"/>
            <a:ext cx="1024336" cy="220474"/>
            <a:chOff x="7987862" y="285750"/>
            <a:chExt cx="752913" cy="216085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987862" y="285750"/>
              <a:ext cx="752913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987862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987862" y="501835"/>
              <a:ext cx="7529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 hidden="1"/>
          <p:cNvSpPr txBox="1">
            <a:spLocks/>
          </p:cNvSpPr>
          <p:nvPr userDrawn="1"/>
        </p:nvSpPr>
        <p:spPr bwMode="auto">
          <a:xfrm>
            <a:off x="11796819" y="6539515"/>
            <a:ext cx="161924" cy="160154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20" smtClean="0">
                <a:solidFill>
                  <a:srgbClr val="2C2C2C"/>
                </a:solidFill>
              </a:rPr>
              <a:pPr lvl="0" algn="r"/>
              <a:t>‹#›</a:t>
            </a:fld>
            <a:endParaRPr lang="en-US" sz="1020" dirty="0">
              <a:solidFill>
                <a:srgbClr val="2C2C2C"/>
              </a:solidFill>
            </a:endParaRPr>
          </a:p>
        </p:txBody>
      </p:sp>
      <p:grpSp>
        <p:nvGrpSpPr>
          <p:cNvPr id="5" name="Slide Elements" hidden="1"/>
          <p:cNvGrpSpPr/>
          <p:nvPr userDrawn="1"/>
        </p:nvGrpSpPr>
        <p:grpSpPr>
          <a:xfrm>
            <a:off x="233257" y="6368434"/>
            <a:ext cx="10937163" cy="360879"/>
            <a:chOff x="171449" y="6127353"/>
            <a:chExt cx="8039101" cy="353695"/>
          </a:xfrm>
        </p:grpSpPr>
        <p:sp>
          <p:nvSpPr>
            <p:cNvPr id="66" name="4. Footnote"/>
            <p:cNvSpPr txBox="1">
              <a:spLocks noChangeArrowheads="1"/>
            </p:cNvSpPr>
            <p:nvPr userDrawn="1"/>
          </p:nvSpPr>
          <p:spPr bwMode="auto">
            <a:xfrm>
              <a:off x="171450" y="6127353"/>
              <a:ext cx="8039100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 dirty="0">
                  <a:solidFill>
                    <a:schemeClr val="tx1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89" name="5. Source"/>
            <p:cNvSpPr>
              <a:spLocks noChangeArrowheads="1"/>
            </p:cNvSpPr>
            <p:nvPr userDrawn="1"/>
          </p:nvSpPr>
          <p:spPr bwMode="auto">
            <a:xfrm>
              <a:off x="171449" y="6324082"/>
              <a:ext cx="8039100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spAutoFit/>
            </a:bodyPr>
            <a:lstStyle/>
            <a:p>
              <a:pPr marL="583101" indent="-583101" defTabSz="913526">
                <a:tabLst>
                  <a:tab pos="625214" algn="l"/>
                </a:tabLst>
              </a:pPr>
              <a:r>
                <a:rPr lang="en-US" sz="102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61" name="LegendMoons" hidden="1"/>
          <p:cNvGrpSpPr/>
          <p:nvPr userDrawn="1"/>
        </p:nvGrpSpPr>
        <p:grpSpPr bwMode="auto">
          <a:xfrm>
            <a:off x="10741713" y="303696"/>
            <a:ext cx="1034902" cy="1333054"/>
            <a:chOff x="5428012" y="273840"/>
            <a:chExt cx="760680" cy="1306516"/>
          </a:xfrm>
        </p:grpSpPr>
        <p:sp>
          <p:nvSpPr>
            <p:cNvPr id="62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5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0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1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5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2" name="MoonLegend2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5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3" name="MoonLegend3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5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4" name="MoonLegend4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5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5" name="MoonLegend5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5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dirty="0">
                  <a:latin typeface="+mn-lt"/>
                </a:endParaRPr>
              </a:p>
            </p:txBody>
          </p:sp>
        </p:grpSp>
      </p:grpSp>
      <p:grpSp>
        <p:nvGrpSpPr>
          <p:cNvPr id="106" name="McK Moon" hidden="1"/>
          <p:cNvGrpSpPr>
            <a:grpSpLocks noChangeAspect="1"/>
          </p:cNvGrpSpPr>
          <p:nvPr userDrawn="1">
            <p:custDataLst>
              <p:tags r:id="rId11"/>
            </p:custDataLst>
          </p:nvPr>
        </p:nvGrpSpPr>
        <p:grpSpPr bwMode="auto">
          <a:xfrm>
            <a:off x="9513864" y="1212639"/>
            <a:ext cx="345566" cy="259159"/>
            <a:chOff x="1600" y="1600"/>
            <a:chExt cx="160" cy="160"/>
          </a:xfrm>
        </p:grpSpPr>
        <p:sp>
          <p:nvSpPr>
            <p:cNvPr id="107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dirty="0"/>
            </a:p>
          </p:txBody>
        </p:sp>
        <p:sp>
          <p:nvSpPr>
            <p:cNvPr id="108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5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dirty="0"/>
            </a:p>
          </p:txBody>
        </p:sp>
      </p:grpSp>
    </p:spTree>
    <p:extLst>
      <p:ext uri="{BB962C8B-B14F-4D97-AF65-F5344CB8AC3E}">
        <p14:creationId xmlns:p14="http://schemas.microsoft.com/office/powerpoint/2010/main" val="3588744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tags" Target="../tags/tag80.xml"/><Relationship Id="rId3" Type="http://schemas.openxmlformats.org/officeDocument/2006/relationships/tags" Target="../tags/tag57.xml"/><Relationship Id="rId21" Type="http://schemas.openxmlformats.org/officeDocument/2006/relationships/tags" Target="../tags/tag75.xml"/><Relationship Id="rId34" Type="http://schemas.openxmlformats.org/officeDocument/2006/relationships/chart" Target="../charts/chart2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tags" Target="../tags/tag79.xml"/><Relationship Id="rId33" Type="http://schemas.openxmlformats.org/officeDocument/2006/relationships/chart" Target="../charts/chart1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15.v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tags" Target="../tags/tag78.xml"/><Relationship Id="rId32" Type="http://schemas.openxmlformats.org/officeDocument/2006/relationships/image" Target="../media/image10.emf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28" Type="http://schemas.openxmlformats.org/officeDocument/2006/relationships/tags" Target="../tags/tag82.xml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31" Type="http://schemas.openxmlformats.org/officeDocument/2006/relationships/oleObject" Target="../embeddings/oleObject15.bin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tags" Target="../tags/tag76.xml"/><Relationship Id="rId27" Type="http://schemas.openxmlformats.org/officeDocument/2006/relationships/tags" Target="../tags/tag81.xml"/><Relationship Id="rId30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7.png"/><Relationship Id="rId2" Type="http://schemas.openxmlformats.org/officeDocument/2006/relationships/tags" Target="../tags/tag22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13" Type="http://schemas.openxmlformats.org/officeDocument/2006/relationships/tags" Target="../tags/tag242.xml"/><Relationship Id="rId18" Type="http://schemas.openxmlformats.org/officeDocument/2006/relationships/tags" Target="../tags/tag247.xml"/><Relationship Id="rId26" Type="http://schemas.openxmlformats.org/officeDocument/2006/relationships/tags" Target="../tags/tag255.xml"/><Relationship Id="rId3" Type="http://schemas.openxmlformats.org/officeDocument/2006/relationships/tags" Target="../tags/tag232.xml"/><Relationship Id="rId21" Type="http://schemas.openxmlformats.org/officeDocument/2006/relationships/tags" Target="../tags/tag250.xml"/><Relationship Id="rId7" Type="http://schemas.openxmlformats.org/officeDocument/2006/relationships/tags" Target="../tags/tag236.xml"/><Relationship Id="rId12" Type="http://schemas.openxmlformats.org/officeDocument/2006/relationships/tags" Target="../tags/tag241.xml"/><Relationship Id="rId17" Type="http://schemas.openxmlformats.org/officeDocument/2006/relationships/tags" Target="../tags/tag246.xml"/><Relationship Id="rId25" Type="http://schemas.openxmlformats.org/officeDocument/2006/relationships/tags" Target="../tags/tag254.xml"/><Relationship Id="rId33" Type="http://schemas.openxmlformats.org/officeDocument/2006/relationships/chart" Target="../charts/chart11.xml"/><Relationship Id="rId2" Type="http://schemas.openxmlformats.org/officeDocument/2006/relationships/tags" Target="../tags/tag231.xml"/><Relationship Id="rId16" Type="http://schemas.openxmlformats.org/officeDocument/2006/relationships/tags" Target="../tags/tag245.xml"/><Relationship Id="rId20" Type="http://schemas.openxmlformats.org/officeDocument/2006/relationships/tags" Target="../tags/tag249.xml"/><Relationship Id="rId29" Type="http://schemas.openxmlformats.org/officeDocument/2006/relationships/tags" Target="../tags/tag258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35.xml"/><Relationship Id="rId11" Type="http://schemas.openxmlformats.org/officeDocument/2006/relationships/tags" Target="../tags/tag240.xml"/><Relationship Id="rId24" Type="http://schemas.openxmlformats.org/officeDocument/2006/relationships/tags" Target="../tags/tag253.xml"/><Relationship Id="rId32" Type="http://schemas.openxmlformats.org/officeDocument/2006/relationships/image" Target="../media/image16.emf"/><Relationship Id="rId5" Type="http://schemas.openxmlformats.org/officeDocument/2006/relationships/tags" Target="../tags/tag234.xml"/><Relationship Id="rId15" Type="http://schemas.openxmlformats.org/officeDocument/2006/relationships/tags" Target="../tags/tag244.xml"/><Relationship Id="rId23" Type="http://schemas.openxmlformats.org/officeDocument/2006/relationships/tags" Target="../tags/tag252.xml"/><Relationship Id="rId28" Type="http://schemas.openxmlformats.org/officeDocument/2006/relationships/tags" Target="../tags/tag257.xml"/><Relationship Id="rId10" Type="http://schemas.openxmlformats.org/officeDocument/2006/relationships/tags" Target="../tags/tag239.xml"/><Relationship Id="rId19" Type="http://schemas.openxmlformats.org/officeDocument/2006/relationships/tags" Target="../tags/tag248.xml"/><Relationship Id="rId31" Type="http://schemas.openxmlformats.org/officeDocument/2006/relationships/oleObject" Target="../embeddings/oleObject25.bin"/><Relationship Id="rId4" Type="http://schemas.openxmlformats.org/officeDocument/2006/relationships/tags" Target="../tags/tag233.xml"/><Relationship Id="rId9" Type="http://schemas.openxmlformats.org/officeDocument/2006/relationships/tags" Target="../tags/tag238.xml"/><Relationship Id="rId14" Type="http://schemas.openxmlformats.org/officeDocument/2006/relationships/tags" Target="../tags/tag243.xml"/><Relationship Id="rId22" Type="http://schemas.openxmlformats.org/officeDocument/2006/relationships/tags" Target="../tags/tag251.xml"/><Relationship Id="rId27" Type="http://schemas.openxmlformats.org/officeDocument/2006/relationships/tags" Target="../tags/tag256.xml"/><Relationship Id="rId30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270.xml"/><Relationship Id="rId18" Type="http://schemas.openxmlformats.org/officeDocument/2006/relationships/tags" Target="../tags/tag275.xml"/><Relationship Id="rId26" Type="http://schemas.openxmlformats.org/officeDocument/2006/relationships/tags" Target="../tags/tag283.xml"/><Relationship Id="rId39" Type="http://schemas.openxmlformats.org/officeDocument/2006/relationships/tags" Target="../tags/tag296.xml"/><Relationship Id="rId3" Type="http://schemas.openxmlformats.org/officeDocument/2006/relationships/tags" Target="../tags/tag260.xml"/><Relationship Id="rId21" Type="http://schemas.openxmlformats.org/officeDocument/2006/relationships/tags" Target="../tags/tag278.xml"/><Relationship Id="rId34" Type="http://schemas.openxmlformats.org/officeDocument/2006/relationships/tags" Target="../tags/tag291.xml"/><Relationship Id="rId42" Type="http://schemas.openxmlformats.org/officeDocument/2006/relationships/tags" Target="../tags/tag299.xml"/><Relationship Id="rId47" Type="http://schemas.openxmlformats.org/officeDocument/2006/relationships/oleObject" Target="../embeddings/oleObject26.bin"/><Relationship Id="rId7" Type="http://schemas.openxmlformats.org/officeDocument/2006/relationships/tags" Target="../tags/tag264.xml"/><Relationship Id="rId12" Type="http://schemas.openxmlformats.org/officeDocument/2006/relationships/tags" Target="../tags/tag269.xml"/><Relationship Id="rId17" Type="http://schemas.openxmlformats.org/officeDocument/2006/relationships/tags" Target="../tags/tag274.xml"/><Relationship Id="rId25" Type="http://schemas.openxmlformats.org/officeDocument/2006/relationships/tags" Target="../tags/tag282.xml"/><Relationship Id="rId33" Type="http://schemas.openxmlformats.org/officeDocument/2006/relationships/tags" Target="../tags/tag290.xml"/><Relationship Id="rId38" Type="http://schemas.openxmlformats.org/officeDocument/2006/relationships/tags" Target="../tags/tag295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259.xml"/><Relationship Id="rId16" Type="http://schemas.openxmlformats.org/officeDocument/2006/relationships/tags" Target="../tags/tag273.xml"/><Relationship Id="rId20" Type="http://schemas.openxmlformats.org/officeDocument/2006/relationships/tags" Target="../tags/tag277.xml"/><Relationship Id="rId29" Type="http://schemas.openxmlformats.org/officeDocument/2006/relationships/tags" Target="../tags/tag286.xml"/><Relationship Id="rId41" Type="http://schemas.openxmlformats.org/officeDocument/2006/relationships/tags" Target="../tags/tag298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63.xml"/><Relationship Id="rId11" Type="http://schemas.openxmlformats.org/officeDocument/2006/relationships/tags" Target="../tags/tag268.xml"/><Relationship Id="rId24" Type="http://schemas.openxmlformats.org/officeDocument/2006/relationships/tags" Target="../tags/tag281.xml"/><Relationship Id="rId32" Type="http://schemas.openxmlformats.org/officeDocument/2006/relationships/tags" Target="../tags/tag289.xml"/><Relationship Id="rId37" Type="http://schemas.openxmlformats.org/officeDocument/2006/relationships/tags" Target="../tags/tag294.xml"/><Relationship Id="rId40" Type="http://schemas.openxmlformats.org/officeDocument/2006/relationships/tags" Target="../tags/tag297.xml"/><Relationship Id="rId45" Type="http://schemas.openxmlformats.org/officeDocument/2006/relationships/tags" Target="../tags/tag302.xml"/><Relationship Id="rId5" Type="http://schemas.openxmlformats.org/officeDocument/2006/relationships/tags" Target="../tags/tag262.xml"/><Relationship Id="rId15" Type="http://schemas.openxmlformats.org/officeDocument/2006/relationships/tags" Target="../tags/tag272.xml"/><Relationship Id="rId23" Type="http://schemas.openxmlformats.org/officeDocument/2006/relationships/tags" Target="../tags/tag280.xml"/><Relationship Id="rId28" Type="http://schemas.openxmlformats.org/officeDocument/2006/relationships/tags" Target="../tags/tag285.xml"/><Relationship Id="rId36" Type="http://schemas.openxmlformats.org/officeDocument/2006/relationships/tags" Target="../tags/tag293.xml"/><Relationship Id="rId49" Type="http://schemas.openxmlformats.org/officeDocument/2006/relationships/chart" Target="../charts/chart12.xml"/><Relationship Id="rId10" Type="http://schemas.openxmlformats.org/officeDocument/2006/relationships/tags" Target="../tags/tag267.xml"/><Relationship Id="rId19" Type="http://schemas.openxmlformats.org/officeDocument/2006/relationships/tags" Target="../tags/tag276.xml"/><Relationship Id="rId31" Type="http://schemas.openxmlformats.org/officeDocument/2006/relationships/tags" Target="../tags/tag288.xml"/><Relationship Id="rId44" Type="http://schemas.openxmlformats.org/officeDocument/2006/relationships/tags" Target="../tags/tag301.xml"/><Relationship Id="rId4" Type="http://schemas.openxmlformats.org/officeDocument/2006/relationships/tags" Target="../tags/tag261.xml"/><Relationship Id="rId9" Type="http://schemas.openxmlformats.org/officeDocument/2006/relationships/tags" Target="../tags/tag266.xml"/><Relationship Id="rId14" Type="http://schemas.openxmlformats.org/officeDocument/2006/relationships/tags" Target="../tags/tag271.xml"/><Relationship Id="rId22" Type="http://schemas.openxmlformats.org/officeDocument/2006/relationships/tags" Target="../tags/tag279.xml"/><Relationship Id="rId27" Type="http://schemas.openxmlformats.org/officeDocument/2006/relationships/tags" Target="../tags/tag284.xml"/><Relationship Id="rId30" Type="http://schemas.openxmlformats.org/officeDocument/2006/relationships/tags" Target="../tags/tag287.xml"/><Relationship Id="rId35" Type="http://schemas.openxmlformats.org/officeDocument/2006/relationships/tags" Target="../tags/tag292.xml"/><Relationship Id="rId43" Type="http://schemas.openxmlformats.org/officeDocument/2006/relationships/tags" Target="../tags/tag300.xml"/><Relationship Id="rId48" Type="http://schemas.openxmlformats.org/officeDocument/2006/relationships/image" Target="../media/image16.emf"/><Relationship Id="rId8" Type="http://schemas.openxmlformats.org/officeDocument/2006/relationships/tags" Target="../tags/tag265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418.xml"/><Relationship Id="rId21" Type="http://schemas.openxmlformats.org/officeDocument/2006/relationships/tags" Target="../tags/tag322.xml"/><Relationship Id="rId42" Type="http://schemas.openxmlformats.org/officeDocument/2006/relationships/tags" Target="../tags/tag343.xml"/><Relationship Id="rId63" Type="http://schemas.openxmlformats.org/officeDocument/2006/relationships/tags" Target="../tags/tag364.xml"/><Relationship Id="rId84" Type="http://schemas.openxmlformats.org/officeDocument/2006/relationships/tags" Target="../tags/tag385.xml"/><Relationship Id="rId138" Type="http://schemas.openxmlformats.org/officeDocument/2006/relationships/tags" Target="../tags/tag439.xml"/><Relationship Id="rId159" Type="http://schemas.openxmlformats.org/officeDocument/2006/relationships/tags" Target="../tags/tag460.xml"/><Relationship Id="rId170" Type="http://schemas.openxmlformats.org/officeDocument/2006/relationships/tags" Target="../tags/tag471.xml"/><Relationship Id="rId191" Type="http://schemas.openxmlformats.org/officeDocument/2006/relationships/tags" Target="../tags/tag492.xml"/><Relationship Id="rId205" Type="http://schemas.openxmlformats.org/officeDocument/2006/relationships/chart" Target="../charts/chart18.xml"/><Relationship Id="rId16" Type="http://schemas.openxmlformats.org/officeDocument/2006/relationships/tags" Target="../tags/tag317.xml"/><Relationship Id="rId107" Type="http://schemas.openxmlformats.org/officeDocument/2006/relationships/tags" Target="../tags/tag408.xml"/><Relationship Id="rId11" Type="http://schemas.openxmlformats.org/officeDocument/2006/relationships/tags" Target="../tags/tag312.xml"/><Relationship Id="rId32" Type="http://schemas.openxmlformats.org/officeDocument/2006/relationships/tags" Target="../tags/tag333.xml"/><Relationship Id="rId37" Type="http://schemas.openxmlformats.org/officeDocument/2006/relationships/tags" Target="../tags/tag338.xml"/><Relationship Id="rId53" Type="http://schemas.openxmlformats.org/officeDocument/2006/relationships/tags" Target="../tags/tag354.xml"/><Relationship Id="rId58" Type="http://schemas.openxmlformats.org/officeDocument/2006/relationships/tags" Target="../tags/tag359.xml"/><Relationship Id="rId74" Type="http://schemas.openxmlformats.org/officeDocument/2006/relationships/tags" Target="../tags/tag375.xml"/><Relationship Id="rId79" Type="http://schemas.openxmlformats.org/officeDocument/2006/relationships/tags" Target="../tags/tag380.xml"/><Relationship Id="rId102" Type="http://schemas.openxmlformats.org/officeDocument/2006/relationships/tags" Target="../tags/tag403.xml"/><Relationship Id="rId123" Type="http://schemas.openxmlformats.org/officeDocument/2006/relationships/tags" Target="../tags/tag424.xml"/><Relationship Id="rId128" Type="http://schemas.openxmlformats.org/officeDocument/2006/relationships/tags" Target="../tags/tag429.xml"/><Relationship Id="rId144" Type="http://schemas.openxmlformats.org/officeDocument/2006/relationships/tags" Target="../tags/tag445.xml"/><Relationship Id="rId149" Type="http://schemas.openxmlformats.org/officeDocument/2006/relationships/tags" Target="../tags/tag450.xml"/><Relationship Id="rId5" Type="http://schemas.openxmlformats.org/officeDocument/2006/relationships/tags" Target="../tags/tag306.xml"/><Relationship Id="rId90" Type="http://schemas.openxmlformats.org/officeDocument/2006/relationships/tags" Target="../tags/tag391.xml"/><Relationship Id="rId95" Type="http://schemas.openxmlformats.org/officeDocument/2006/relationships/tags" Target="../tags/tag396.xml"/><Relationship Id="rId160" Type="http://schemas.openxmlformats.org/officeDocument/2006/relationships/tags" Target="../tags/tag461.xml"/><Relationship Id="rId165" Type="http://schemas.openxmlformats.org/officeDocument/2006/relationships/tags" Target="../tags/tag466.xml"/><Relationship Id="rId181" Type="http://schemas.openxmlformats.org/officeDocument/2006/relationships/tags" Target="../tags/tag482.xml"/><Relationship Id="rId186" Type="http://schemas.openxmlformats.org/officeDocument/2006/relationships/tags" Target="../tags/tag487.xml"/><Relationship Id="rId22" Type="http://schemas.openxmlformats.org/officeDocument/2006/relationships/tags" Target="../tags/tag323.xml"/><Relationship Id="rId27" Type="http://schemas.openxmlformats.org/officeDocument/2006/relationships/tags" Target="../tags/tag328.xml"/><Relationship Id="rId43" Type="http://schemas.openxmlformats.org/officeDocument/2006/relationships/tags" Target="../tags/tag344.xml"/><Relationship Id="rId48" Type="http://schemas.openxmlformats.org/officeDocument/2006/relationships/tags" Target="../tags/tag349.xml"/><Relationship Id="rId64" Type="http://schemas.openxmlformats.org/officeDocument/2006/relationships/tags" Target="../tags/tag365.xml"/><Relationship Id="rId69" Type="http://schemas.openxmlformats.org/officeDocument/2006/relationships/tags" Target="../tags/tag370.xml"/><Relationship Id="rId113" Type="http://schemas.openxmlformats.org/officeDocument/2006/relationships/tags" Target="../tags/tag414.xml"/><Relationship Id="rId118" Type="http://schemas.openxmlformats.org/officeDocument/2006/relationships/tags" Target="../tags/tag419.xml"/><Relationship Id="rId134" Type="http://schemas.openxmlformats.org/officeDocument/2006/relationships/tags" Target="../tags/tag435.xml"/><Relationship Id="rId139" Type="http://schemas.openxmlformats.org/officeDocument/2006/relationships/tags" Target="../tags/tag440.xml"/><Relationship Id="rId80" Type="http://schemas.openxmlformats.org/officeDocument/2006/relationships/tags" Target="../tags/tag381.xml"/><Relationship Id="rId85" Type="http://schemas.openxmlformats.org/officeDocument/2006/relationships/tags" Target="../tags/tag386.xml"/><Relationship Id="rId150" Type="http://schemas.openxmlformats.org/officeDocument/2006/relationships/tags" Target="../tags/tag451.xml"/><Relationship Id="rId155" Type="http://schemas.openxmlformats.org/officeDocument/2006/relationships/tags" Target="../tags/tag456.xml"/><Relationship Id="rId171" Type="http://schemas.openxmlformats.org/officeDocument/2006/relationships/tags" Target="../tags/tag472.xml"/><Relationship Id="rId176" Type="http://schemas.openxmlformats.org/officeDocument/2006/relationships/tags" Target="../tags/tag477.xml"/><Relationship Id="rId192" Type="http://schemas.openxmlformats.org/officeDocument/2006/relationships/tags" Target="../tags/tag493.xml"/><Relationship Id="rId197" Type="http://schemas.openxmlformats.org/officeDocument/2006/relationships/notesSlide" Target="../notesSlides/notesSlide7.xml"/><Relationship Id="rId206" Type="http://schemas.openxmlformats.org/officeDocument/2006/relationships/chart" Target="../charts/chart19.xml"/><Relationship Id="rId201" Type="http://schemas.openxmlformats.org/officeDocument/2006/relationships/chart" Target="../charts/chart14.xml"/><Relationship Id="rId12" Type="http://schemas.openxmlformats.org/officeDocument/2006/relationships/tags" Target="../tags/tag313.xml"/><Relationship Id="rId17" Type="http://schemas.openxmlformats.org/officeDocument/2006/relationships/tags" Target="../tags/tag318.xml"/><Relationship Id="rId33" Type="http://schemas.openxmlformats.org/officeDocument/2006/relationships/tags" Target="../tags/tag334.xml"/><Relationship Id="rId38" Type="http://schemas.openxmlformats.org/officeDocument/2006/relationships/tags" Target="../tags/tag339.xml"/><Relationship Id="rId59" Type="http://schemas.openxmlformats.org/officeDocument/2006/relationships/tags" Target="../tags/tag360.xml"/><Relationship Id="rId103" Type="http://schemas.openxmlformats.org/officeDocument/2006/relationships/tags" Target="../tags/tag404.xml"/><Relationship Id="rId108" Type="http://schemas.openxmlformats.org/officeDocument/2006/relationships/tags" Target="../tags/tag409.xml"/><Relationship Id="rId124" Type="http://schemas.openxmlformats.org/officeDocument/2006/relationships/tags" Target="../tags/tag425.xml"/><Relationship Id="rId129" Type="http://schemas.openxmlformats.org/officeDocument/2006/relationships/tags" Target="../tags/tag430.xml"/><Relationship Id="rId54" Type="http://schemas.openxmlformats.org/officeDocument/2006/relationships/tags" Target="../tags/tag355.xml"/><Relationship Id="rId70" Type="http://schemas.openxmlformats.org/officeDocument/2006/relationships/tags" Target="../tags/tag371.xml"/><Relationship Id="rId75" Type="http://schemas.openxmlformats.org/officeDocument/2006/relationships/tags" Target="../tags/tag376.xml"/><Relationship Id="rId91" Type="http://schemas.openxmlformats.org/officeDocument/2006/relationships/tags" Target="../tags/tag392.xml"/><Relationship Id="rId96" Type="http://schemas.openxmlformats.org/officeDocument/2006/relationships/tags" Target="../tags/tag397.xml"/><Relationship Id="rId140" Type="http://schemas.openxmlformats.org/officeDocument/2006/relationships/tags" Target="../tags/tag441.xml"/><Relationship Id="rId145" Type="http://schemas.openxmlformats.org/officeDocument/2006/relationships/tags" Target="../tags/tag446.xml"/><Relationship Id="rId161" Type="http://schemas.openxmlformats.org/officeDocument/2006/relationships/tags" Target="../tags/tag462.xml"/><Relationship Id="rId166" Type="http://schemas.openxmlformats.org/officeDocument/2006/relationships/tags" Target="../tags/tag467.xml"/><Relationship Id="rId182" Type="http://schemas.openxmlformats.org/officeDocument/2006/relationships/tags" Target="../tags/tag483.xml"/><Relationship Id="rId187" Type="http://schemas.openxmlformats.org/officeDocument/2006/relationships/tags" Target="../tags/tag488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07.xml"/><Relationship Id="rId23" Type="http://schemas.openxmlformats.org/officeDocument/2006/relationships/tags" Target="../tags/tag324.xml"/><Relationship Id="rId28" Type="http://schemas.openxmlformats.org/officeDocument/2006/relationships/tags" Target="../tags/tag329.xml"/><Relationship Id="rId49" Type="http://schemas.openxmlformats.org/officeDocument/2006/relationships/tags" Target="../tags/tag350.xml"/><Relationship Id="rId114" Type="http://schemas.openxmlformats.org/officeDocument/2006/relationships/tags" Target="../tags/tag415.xml"/><Relationship Id="rId119" Type="http://schemas.openxmlformats.org/officeDocument/2006/relationships/tags" Target="../tags/tag420.xml"/><Relationship Id="rId44" Type="http://schemas.openxmlformats.org/officeDocument/2006/relationships/tags" Target="../tags/tag345.xml"/><Relationship Id="rId60" Type="http://schemas.openxmlformats.org/officeDocument/2006/relationships/tags" Target="../tags/tag361.xml"/><Relationship Id="rId65" Type="http://schemas.openxmlformats.org/officeDocument/2006/relationships/tags" Target="../tags/tag366.xml"/><Relationship Id="rId81" Type="http://schemas.openxmlformats.org/officeDocument/2006/relationships/tags" Target="../tags/tag382.xml"/><Relationship Id="rId86" Type="http://schemas.openxmlformats.org/officeDocument/2006/relationships/tags" Target="../tags/tag387.xml"/><Relationship Id="rId130" Type="http://schemas.openxmlformats.org/officeDocument/2006/relationships/tags" Target="../tags/tag431.xml"/><Relationship Id="rId135" Type="http://schemas.openxmlformats.org/officeDocument/2006/relationships/tags" Target="../tags/tag436.xml"/><Relationship Id="rId151" Type="http://schemas.openxmlformats.org/officeDocument/2006/relationships/tags" Target="../tags/tag452.xml"/><Relationship Id="rId156" Type="http://schemas.openxmlformats.org/officeDocument/2006/relationships/tags" Target="../tags/tag457.xml"/><Relationship Id="rId177" Type="http://schemas.openxmlformats.org/officeDocument/2006/relationships/tags" Target="../tags/tag478.xml"/><Relationship Id="rId198" Type="http://schemas.openxmlformats.org/officeDocument/2006/relationships/oleObject" Target="../embeddings/oleObject27.bin"/><Relationship Id="rId172" Type="http://schemas.openxmlformats.org/officeDocument/2006/relationships/tags" Target="../tags/tag473.xml"/><Relationship Id="rId193" Type="http://schemas.openxmlformats.org/officeDocument/2006/relationships/tags" Target="../tags/tag494.xml"/><Relationship Id="rId202" Type="http://schemas.openxmlformats.org/officeDocument/2006/relationships/chart" Target="../charts/chart15.xml"/><Relationship Id="rId207" Type="http://schemas.openxmlformats.org/officeDocument/2006/relationships/chart" Target="../charts/chart20.xml"/><Relationship Id="rId13" Type="http://schemas.openxmlformats.org/officeDocument/2006/relationships/tags" Target="../tags/tag314.xml"/><Relationship Id="rId18" Type="http://schemas.openxmlformats.org/officeDocument/2006/relationships/tags" Target="../tags/tag319.xml"/><Relationship Id="rId39" Type="http://schemas.openxmlformats.org/officeDocument/2006/relationships/tags" Target="../tags/tag340.xml"/><Relationship Id="rId109" Type="http://schemas.openxmlformats.org/officeDocument/2006/relationships/tags" Target="../tags/tag410.xml"/><Relationship Id="rId34" Type="http://schemas.openxmlformats.org/officeDocument/2006/relationships/tags" Target="../tags/tag335.xml"/><Relationship Id="rId50" Type="http://schemas.openxmlformats.org/officeDocument/2006/relationships/tags" Target="../tags/tag351.xml"/><Relationship Id="rId55" Type="http://schemas.openxmlformats.org/officeDocument/2006/relationships/tags" Target="../tags/tag356.xml"/><Relationship Id="rId76" Type="http://schemas.openxmlformats.org/officeDocument/2006/relationships/tags" Target="../tags/tag377.xml"/><Relationship Id="rId97" Type="http://schemas.openxmlformats.org/officeDocument/2006/relationships/tags" Target="../tags/tag398.xml"/><Relationship Id="rId104" Type="http://schemas.openxmlformats.org/officeDocument/2006/relationships/tags" Target="../tags/tag405.xml"/><Relationship Id="rId120" Type="http://schemas.openxmlformats.org/officeDocument/2006/relationships/tags" Target="../tags/tag421.xml"/><Relationship Id="rId125" Type="http://schemas.openxmlformats.org/officeDocument/2006/relationships/tags" Target="../tags/tag426.xml"/><Relationship Id="rId141" Type="http://schemas.openxmlformats.org/officeDocument/2006/relationships/tags" Target="../tags/tag442.xml"/><Relationship Id="rId146" Type="http://schemas.openxmlformats.org/officeDocument/2006/relationships/tags" Target="../tags/tag447.xml"/><Relationship Id="rId167" Type="http://schemas.openxmlformats.org/officeDocument/2006/relationships/tags" Target="../tags/tag468.xml"/><Relationship Id="rId188" Type="http://schemas.openxmlformats.org/officeDocument/2006/relationships/tags" Target="../tags/tag489.xml"/><Relationship Id="rId7" Type="http://schemas.openxmlformats.org/officeDocument/2006/relationships/tags" Target="../tags/tag308.xml"/><Relationship Id="rId71" Type="http://schemas.openxmlformats.org/officeDocument/2006/relationships/tags" Target="../tags/tag372.xml"/><Relationship Id="rId92" Type="http://schemas.openxmlformats.org/officeDocument/2006/relationships/tags" Target="../tags/tag393.xml"/><Relationship Id="rId162" Type="http://schemas.openxmlformats.org/officeDocument/2006/relationships/tags" Target="../tags/tag463.xml"/><Relationship Id="rId183" Type="http://schemas.openxmlformats.org/officeDocument/2006/relationships/tags" Target="../tags/tag484.xml"/><Relationship Id="rId2" Type="http://schemas.openxmlformats.org/officeDocument/2006/relationships/tags" Target="../tags/tag303.xml"/><Relationship Id="rId29" Type="http://schemas.openxmlformats.org/officeDocument/2006/relationships/tags" Target="../tags/tag330.xml"/><Relationship Id="rId24" Type="http://schemas.openxmlformats.org/officeDocument/2006/relationships/tags" Target="../tags/tag325.xml"/><Relationship Id="rId40" Type="http://schemas.openxmlformats.org/officeDocument/2006/relationships/tags" Target="../tags/tag341.xml"/><Relationship Id="rId45" Type="http://schemas.openxmlformats.org/officeDocument/2006/relationships/tags" Target="../tags/tag346.xml"/><Relationship Id="rId66" Type="http://schemas.openxmlformats.org/officeDocument/2006/relationships/tags" Target="../tags/tag367.xml"/><Relationship Id="rId87" Type="http://schemas.openxmlformats.org/officeDocument/2006/relationships/tags" Target="../tags/tag388.xml"/><Relationship Id="rId110" Type="http://schemas.openxmlformats.org/officeDocument/2006/relationships/tags" Target="../tags/tag411.xml"/><Relationship Id="rId115" Type="http://schemas.openxmlformats.org/officeDocument/2006/relationships/tags" Target="../tags/tag416.xml"/><Relationship Id="rId131" Type="http://schemas.openxmlformats.org/officeDocument/2006/relationships/tags" Target="../tags/tag432.xml"/><Relationship Id="rId136" Type="http://schemas.openxmlformats.org/officeDocument/2006/relationships/tags" Target="../tags/tag437.xml"/><Relationship Id="rId157" Type="http://schemas.openxmlformats.org/officeDocument/2006/relationships/tags" Target="../tags/tag458.xml"/><Relationship Id="rId178" Type="http://schemas.openxmlformats.org/officeDocument/2006/relationships/tags" Target="../tags/tag479.xml"/><Relationship Id="rId61" Type="http://schemas.openxmlformats.org/officeDocument/2006/relationships/tags" Target="../tags/tag362.xml"/><Relationship Id="rId82" Type="http://schemas.openxmlformats.org/officeDocument/2006/relationships/tags" Target="../tags/tag383.xml"/><Relationship Id="rId152" Type="http://schemas.openxmlformats.org/officeDocument/2006/relationships/tags" Target="../tags/tag453.xml"/><Relationship Id="rId173" Type="http://schemas.openxmlformats.org/officeDocument/2006/relationships/tags" Target="../tags/tag474.xml"/><Relationship Id="rId194" Type="http://schemas.openxmlformats.org/officeDocument/2006/relationships/tags" Target="../tags/tag495.xml"/><Relationship Id="rId199" Type="http://schemas.openxmlformats.org/officeDocument/2006/relationships/image" Target="../media/image10.emf"/><Relationship Id="rId203" Type="http://schemas.openxmlformats.org/officeDocument/2006/relationships/chart" Target="../charts/chart16.xml"/><Relationship Id="rId208" Type="http://schemas.openxmlformats.org/officeDocument/2006/relationships/chart" Target="../charts/chart21.xml"/><Relationship Id="rId19" Type="http://schemas.openxmlformats.org/officeDocument/2006/relationships/tags" Target="../tags/tag320.xml"/><Relationship Id="rId14" Type="http://schemas.openxmlformats.org/officeDocument/2006/relationships/tags" Target="../tags/tag315.xml"/><Relationship Id="rId30" Type="http://schemas.openxmlformats.org/officeDocument/2006/relationships/tags" Target="../tags/tag331.xml"/><Relationship Id="rId35" Type="http://schemas.openxmlformats.org/officeDocument/2006/relationships/tags" Target="../tags/tag336.xml"/><Relationship Id="rId56" Type="http://schemas.openxmlformats.org/officeDocument/2006/relationships/tags" Target="../tags/tag357.xml"/><Relationship Id="rId77" Type="http://schemas.openxmlformats.org/officeDocument/2006/relationships/tags" Target="../tags/tag378.xml"/><Relationship Id="rId100" Type="http://schemas.openxmlformats.org/officeDocument/2006/relationships/tags" Target="../tags/tag401.xml"/><Relationship Id="rId105" Type="http://schemas.openxmlformats.org/officeDocument/2006/relationships/tags" Target="../tags/tag406.xml"/><Relationship Id="rId126" Type="http://schemas.openxmlformats.org/officeDocument/2006/relationships/tags" Target="../tags/tag427.xml"/><Relationship Id="rId147" Type="http://schemas.openxmlformats.org/officeDocument/2006/relationships/tags" Target="../tags/tag448.xml"/><Relationship Id="rId168" Type="http://schemas.openxmlformats.org/officeDocument/2006/relationships/tags" Target="../tags/tag469.xml"/><Relationship Id="rId8" Type="http://schemas.openxmlformats.org/officeDocument/2006/relationships/tags" Target="../tags/tag309.xml"/><Relationship Id="rId51" Type="http://schemas.openxmlformats.org/officeDocument/2006/relationships/tags" Target="../tags/tag352.xml"/><Relationship Id="rId72" Type="http://schemas.openxmlformats.org/officeDocument/2006/relationships/tags" Target="../tags/tag373.xml"/><Relationship Id="rId93" Type="http://schemas.openxmlformats.org/officeDocument/2006/relationships/tags" Target="../tags/tag394.xml"/><Relationship Id="rId98" Type="http://schemas.openxmlformats.org/officeDocument/2006/relationships/tags" Target="../tags/tag399.xml"/><Relationship Id="rId121" Type="http://schemas.openxmlformats.org/officeDocument/2006/relationships/tags" Target="../tags/tag422.xml"/><Relationship Id="rId142" Type="http://schemas.openxmlformats.org/officeDocument/2006/relationships/tags" Target="../tags/tag443.xml"/><Relationship Id="rId163" Type="http://schemas.openxmlformats.org/officeDocument/2006/relationships/tags" Target="../tags/tag464.xml"/><Relationship Id="rId184" Type="http://schemas.openxmlformats.org/officeDocument/2006/relationships/tags" Target="../tags/tag485.xml"/><Relationship Id="rId189" Type="http://schemas.openxmlformats.org/officeDocument/2006/relationships/tags" Target="../tags/tag490.xml"/><Relationship Id="rId3" Type="http://schemas.openxmlformats.org/officeDocument/2006/relationships/tags" Target="../tags/tag304.xml"/><Relationship Id="rId25" Type="http://schemas.openxmlformats.org/officeDocument/2006/relationships/tags" Target="../tags/tag326.xml"/><Relationship Id="rId46" Type="http://schemas.openxmlformats.org/officeDocument/2006/relationships/tags" Target="../tags/tag347.xml"/><Relationship Id="rId67" Type="http://schemas.openxmlformats.org/officeDocument/2006/relationships/tags" Target="../tags/tag368.xml"/><Relationship Id="rId116" Type="http://schemas.openxmlformats.org/officeDocument/2006/relationships/tags" Target="../tags/tag417.xml"/><Relationship Id="rId137" Type="http://schemas.openxmlformats.org/officeDocument/2006/relationships/tags" Target="../tags/tag438.xml"/><Relationship Id="rId158" Type="http://schemas.openxmlformats.org/officeDocument/2006/relationships/tags" Target="../tags/tag459.xml"/><Relationship Id="rId20" Type="http://schemas.openxmlformats.org/officeDocument/2006/relationships/tags" Target="../tags/tag321.xml"/><Relationship Id="rId41" Type="http://schemas.openxmlformats.org/officeDocument/2006/relationships/tags" Target="../tags/tag342.xml"/><Relationship Id="rId62" Type="http://schemas.openxmlformats.org/officeDocument/2006/relationships/tags" Target="../tags/tag363.xml"/><Relationship Id="rId83" Type="http://schemas.openxmlformats.org/officeDocument/2006/relationships/tags" Target="../tags/tag384.xml"/><Relationship Id="rId88" Type="http://schemas.openxmlformats.org/officeDocument/2006/relationships/tags" Target="../tags/tag389.xml"/><Relationship Id="rId111" Type="http://schemas.openxmlformats.org/officeDocument/2006/relationships/tags" Target="../tags/tag412.xml"/><Relationship Id="rId132" Type="http://schemas.openxmlformats.org/officeDocument/2006/relationships/tags" Target="../tags/tag433.xml"/><Relationship Id="rId153" Type="http://schemas.openxmlformats.org/officeDocument/2006/relationships/tags" Target="../tags/tag454.xml"/><Relationship Id="rId174" Type="http://schemas.openxmlformats.org/officeDocument/2006/relationships/tags" Target="../tags/tag475.xml"/><Relationship Id="rId179" Type="http://schemas.openxmlformats.org/officeDocument/2006/relationships/tags" Target="../tags/tag480.xml"/><Relationship Id="rId195" Type="http://schemas.openxmlformats.org/officeDocument/2006/relationships/tags" Target="../tags/tag496.xml"/><Relationship Id="rId209" Type="http://schemas.openxmlformats.org/officeDocument/2006/relationships/chart" Target="../charts/chart22.xml"/><Relationship Id="rId190" Type="http://schemas.openxmlformats.org/officeDocument/2006/relationships/tags" Target="../tags/tag491.xml"/><Relationship Id="rId204" Type="http://schemas.openxmlformats.org/officeDocument/2006/relationships/chart" Target="../charts/chart17.xml"/><Relationship Id="rId15" Type="http://schemas.openxmlformats.org/officeDocument/2006/relationships/tags" Target="../tags/tag316.xml"/><Relationship Id="rId36" Type="http://schemas.openxmlformats.org/officeDocument/2006/relationships/tags" Target="../tags/tag337.xml"/><Relationship Id="rId57" Type="http://schemas.openxmlformats.org/officeDocument/2006/relationships/tags" Target="../tags/tag358.xml"/><Relationship Id="rId106" Type="http://schemas.openxmlformats.org/officeDocument/2006/relationships/tags" Target="../tags/tag407.xml"/><Relationship Id="rId127" Type="http://schemas.openxmlformats.org/officeDocument/2006/relationships/tags" Target="../tags/tag428.xml"/><Relationship Id="rId10" Type="http://schemas.openxmlformats.org/officeDocument/2006/relationships/tags" Target="../tags/tag311.xml"/><Relationship Id="rId31" Type="http://schemas.openxmlformats.org/officeDocument/2006/relationships/tags" Target="../tags/tag332.xml"/><Relationship Id="rId52" Type="http://schemas.openxmlformats.org/officeDocument/2006/relationships/tags" Target="../tags/tag353.xml"/><Relationship Id="rId73" Type="http://schemas.openxmlformats.org/officeDocument/2006/relationships/tags" Target="../tags/tag374.xml"/><Relationship Id="rId78" Type="http://schemas.openxmlformats.org/officeDocument/2006/relationships/tags" Target="../tags/tag379.xml"/><Relationship Id="rId94" Type="http://schemas.openxmlformats.org/officeDocument/2006/relationships/tags" Target="../tags/tag395.xml"/><Relationship Id="rId99" Type="http://schemas.openxmlformats.org/officeDocument/2006/relationships/tags" Target="../tags/tag400.xml"/><Relationship Id="rId101" Type="http://schemas.openxmlformats.org/officeDocument/2006/relationships/tags" Target="../tags/tag402.xml"/><Relationship Id="rId122" Type="http://schemas.openxmlformats.org/officeDocument/2006/relationships/tags" Target="../tags/tag423.xml"/><Relationship Id="rId143" Type="http://schemas.openxmlformats.org/officeDocument/2006/relationships/tags" Target="../tags/tag444.xml"/><Relationship Id="rId148" Type="http://schemas.openxmlformats.org/officeDocument/2006/relationships/tags" Target="../tags/tag449.xml"/><Relationship Id="rId164" Type="http://schemas.openxmlformats.org/officeDocument/2006/relationships/tags" Target="../tags/tag465.xml"/><Relationship Id="rId169" Type="http://schemas.openxmlformats.org/officeDocument/2006/relationships/tags" Target="../tags/tag470.xml"/><Relationship Id="rId185" Type="http://schemas.openxmlformats.org/officeDocument/2006/relationships/tags" Target="../tags/tag486.xml"/><Relationship Id="rId4" Type="http://schemas.openxmlformats.org/officeDocument/2006/relationships/tags" Target="../tags/tag305.xml"/><Relationship Id="rId9" Type="http://schemas.openxmlformats.org/officeDocument/2006/relationships/tags" Target="../tags/tag310.xml"/><Relationship Id="rId180" Type="http://schemas.openxmlformats.org/officeDocument/2006/relationships/tags" Target="../tags/tag481.xml"/><Relationship Id="rId26" Type="http://schemas.openxmlformats.org/officeDocument/2006/relationships/tags" Target="../tags/tag327.xml"/><Relationship Id="rId47" Type="http://schemas.openxmlformats.org/officeDocument/2006/relationships/tags" Target="../tags/tag348.xml"/><Relationship Id="rId68" Type="http://schemas.openxmlformats.org/officeDocument/2006/relationships/tags" Target="../tags/tag369.xml"/><Relationship Id="rId89" Type="http://schemas.openxmlformats.org/officeDocument/2006/relationships/tags" Target="../tags/tag390.xml"/><Relationship Id="rId112" Type="http://schemas.openxmlformats.org/officeDocument/2006/relationships/tags" Target="../tags/tag413.xml"/><Relationship Id="rId133" Type="http://schemas.openxmlformats.org/officeDocument/2006/relationships/tags" Target="../tags/tag434.xml"/><Relationship Id="rId154" Type="http://schemas.openxmlformats.org/officeDocument/2006/relationships/tags" Target="../tags/tag455.xml"/><Relationship Id="rId175" Type="http://schemas.openxmlformats.org/officeDocument/2006/relationships/tags" Target="../tags/tag476.xml"/><Relationship Id="rId196" Type="http://schemas.openxmlformats.org/officeDocument/2006/relationships/slideLayout" Target="../slideLayouts/slideLayout2.xml"/><Relationship Id="rId200" Type="http://schemas.openxmlformats.org/officeDocument/2006/relationships/chart" Target="../charts/chart13.xml"/></Relationships>
</file>

<file path=ppt/slides/_rels/slide14.xml.rels><?xml version="1.0" encoding="UTF-8" standalone="yes"?>
<Relationships xmlns="http://schemas.openxmlformats.org/package/2006/relationships"><Relationship Id="rId117" Type="http://schemas.openxmlformats.org/officeDocument/2006/relationships/tags" Target="../tags/tag612.xml"/><Relationship Id="rId21" Type="http://schemas.openxmlformats.org/officeDocument/2006/relationships/tags" Target="../tags/tag516.xml"/><Relationship Id="rId42" Type="http://schemas.openxmlformats.org/officeDocument/2006/relationships/tags" Target="../tags/tag537.xml"/><Relationship Id="rId63" Type="http://schemas.openxmlformats.org/officeDocument/2006/relationships/tags" Target="../tags/tag558.xml"/><Relationship Id="rId84" Type="http://schemas.openxmlformats.org/officeDocument/2006/relationships/tags" Target="../tags/tag579.xml"/><Relationship Id="rId138" Type="http://schemas.openxmlformats.org/officeDocument/2006/relationships/tags" Target="../tags/tag633.xml"/><Relationship Id="rId159" Type="http://schemas.openxmlformats.org/officeDocument/2006/relationships/tags" Target="../tags/tag654.xml"/><Relationship Id="rId170" Type="http://schemas.openxmlformats.org/officeDocument/2006/relationships/tags" Target="../tags/tag665.xml"/><Relationship Id="rId191" Type="http://schemas.openxmlformats.org/officeDocument/2006/relationships/tags" Target="../tags/tag686.xml"/><Relationship Id="rId205" Type="http://schemas.openxmlformats.org/officeDocument/2006/relationships/tags" Target="../tags/tag700.xml"/><Relationship Id="rId226" Type="http://schemas.openxmlformats.org/officeDocument/2006/relationships/chart" Target="../charts/chart27.xml"/><Relationship Id="rId107" Type="http://schemas.openxmlformats.org/officeDocument/2006/relationships/tags" Target="../tags/tag602.xml"/><Relationship Id="rId11" Type="http://schemas.openxmlformats.org/officeDocument/2006/relationships/tags" Target="../tags/tag506.xml"/><Relationship Id="rId32" Type="http://schemas.openxmlformats.org/officeDocument/2006/relationships/tags" Target="../tags/tag527.xml"/><Relationship Id="rId53" Type="http://schemas.openxmlformats.org/officeDocument/2006/relationships/tags" Target="../tags/tag548.xml"/><Relationship Id="rId74" Type="http://schemas.openxmlformats.org/officeDocument/2006/relationships/tags" Target="../tags/tag569.xml"/><Relationship Id="rId128" Type="http://schemas.openxmlformats.org/officeDocument/2006/relationships/tags" Target="../tags/tag623.xml"/><Relationship Id="rId149" Type="http://schemas.openxmlformats.org/officeDocument/2006/relationships/tags" Target="../tags/tag644.xml"/><Relationship Id="rId5" Type="http://schemas.openxmlformats.org/officeDocument/2006/relationships/tags" Target="../tags/tag500.xml"/><Relationship Id="rId95" Type="http://schemas.openxmlformats.org/officeDocument/2006/relationships/tags" Target="../tags/tag590.xml"/><Relationship Id="rId160" Type="http://schemas.openxmlformats.org/officeDocument/2006/relationships/tags" Target="../tags/tag655.xml"/><Relationship Id="rId181" Type="http://schemas.openxmlformats.org/officeDocument/2006/relationships/tags" Target="../tags/tag676.xml"/><Relationship Id="rId216" Type="http://schemas.openxmlformats.org/officeDocument/2006/relationships/tags" Target="../tags/tag711.xml"/><Relationship Id="rId22" Type="http://schemas.openxmlformats.org/officeDocument/2006/relationships/tags" Target="../tags/tag517.xml"/><Relationship Id="rId27" Type="http://schemas.openxmlformats.org/officeDocument/2006/relationships/tags" Target="../tags/tag522.xml"/><Relationship Id="rId43" Type="http://schemas.openxmlformats.org/officeDocument/2006/relationships/tags" Target="../tags/tag538.xml"/><Relationship Id="rId48" Type="http://schemas.openxmlformats.org/officeDocument/2006/relationships/tags" Target="../tags/tag543.xml"/><Relationship Id="rId64" Type="http://schemas.openxmlformats.org/officeDocument/2006/relationships/tags" Target="../tags/tag559.xml"/><Relationship Id="rId69" Type="http://schemas.openxmlformats.org/officeDocument/2006/relationships/tags" Target="../tags/tag564.xml"/><Relationship Id="rId113" Type="http://schemas.openxmlformats.org/officeDocument/2006/relationships/tags" Target="../tags/tag608.xml"/><Relationship Id="rId118" Type="http://schemas.openxmlformats.org/officeDocument/2006/relationships/tags" Target="../tags/tag613.xml"/><Relationship Id="rId134" Type="http://schemas.openxmlformats.org/officeDocument/2006/relationships/tags" Target="../tags/tag629.xml"/><Relationship Id="rId139" Type="http://schemas.openxmlformats.org/officeDocument/2006/relationships/tags" Target="../tags/tag634.xml"/><Relationship Id="rId80" Type="http://schemas.openxmlformats.org/officeDocument/2006/relationships/tags" Target="../tags/tag575.xml"/><Relationship Id="rId85" Type="http://schemas.openxmlformats.org/officeDocument/2006/relationships/tags" Target="../tags/tag580.xml"/><Relationship Id="rId150" Type="http://schemas.openxmlformats.org/officeDocument/2006/relationships/tags" Target="../tags/tag645.xml"/><Relationship Id="rId155" Type="http://schemas.openxmlformats.org/officeDocument/2006/relationships/tags" Target="../tags/tag650.xml"/><Relationship Id="rId171" Type="http://schemas.openxmlformats.org/officeDocument/2006/relationships/tags" Target="../tags/tag666.xml"/><Relationship Id="rId176" Type="http://schemas.openxmlformats.org/officeDocument/2006/relationships/tags" Target="../tags/tag671.xml"/><Relationship Id="rId192" Type="http://schemas.openxmlformats.org/officeDocument/2006/relationships/tags" Target="../tags/tag687.xml"/><Relationship Id="rId197" Type="http://schemas.openxmlformats.org/officeDocument/2006/relationships/tags" Target="../tags/tag692.xml"/><Relationship Id="rId206" Type="http://schemas.openxmlformats.org/officeDocument/2006/relationships/tags" Target="../tags/tag701.xml"/><Relationship Id="rId227" Type="http://schemas.openxmlformats.org/officeDocument/2006/relationships/chart" Target="../charts/chart28.xml"/><Relationship Id="rId201" Type="http://schemas.openxmlformats.org/officeDocument/2006/relationships/tags" Target="../tags/tag696.xml"/><Relationship Id="rId222" Type="http://schemas.openxmlformats.org/officeDocument/2006/relationships/chart" Target="../charts/chart23.xml"/><Relationship Id="rId12" Type="http://schemas.openxmlformats.org/officeDocument/2006/relationships/tags" Target="../tags/tag507.xml"/><Relationship Id="rId17" Type="http://schemas.openxmlformats.org/officeDocument/2006/relationships/tags" Target="../tags/tag512.xml"/><Relationship Id="rId33" Type="http://schemas.openxmlformats.org/officeDocument/2006/relationships/tags" Target="../tags/tag528.xml"/><Relationship Id="rId38" Type="http://schemas.openxmlformats.org/officeDocument/2006/relationships/tags" Target="../tags/tag533.xml"/><Relationship Id="rId59" Type="http://schemas.openxmlformats.org/officeDocument/2006/relationships/tags" Target="../tags/tag554.xml"/><Relationship Id="rId103" Type="http://schemas.openxmlformats.org/officeDocument/2006/relationships/tags" Target="../tags/tag598.xml"/><Relationship Id="rId108" Type="http://schemas.openxmlformats.org/officeDocument/2006/relationships/tags" Target="../tags/tag603.xml"/><Relationship Id="rId124" Type="http://schemas.openxmlformats.org/officeDocument/2006/relationships/tags" Target="../tags/tag619.xml"/><Relationship Id="rId129" Type="http://schemas.openxmlformats.org/officeDocument/2006/relationships/tags" Target="../tags/tag624.xml"/><Relationship Id="rId54" Type="http://schemas.openxmlformats.org/officeDocument/2006/relationships/tags" Target="../tags/tag549.xml"/><Relationship Id="rId70" Type="http://schemas.openxmlformats.org/officeDocument/2006/relationships/tags" Target="../tags/tag565.xml"/><Relationship Id="rId75" Type="http://schemas.openxmlformats.org/officeDocument/2006/relationships/tags" Target="../tags/tag570.xml"/><Relationship Id="rId91" Type="http://schemas.openxmlformats.org/officeDocument/2006/relationships/tags" Target="../tags/tag586.xml"/><Relationship Id="rId96" Type="http://schemas.openxmlformats.org/officeDocument/2006/relationships/tags" Target="../tags/tag591.xml"/><Relationship Id="rId140" Type="http://schemas.openxmlformats.org/officeDocument/2006/relationships/tags" Target="../tags/tag635.xml"/><Relationship Id="rId145" Type="http://schemas.openxmlformats.org/officeDocument/2006/relationships/tags" Target="../tags/tag640.xml"/><Relationship Id="rId161" Type="http://schemas.openxmlformats.org/officeDocument/2006/relationships/tags" Target="../tags/tag656.xml"/><Relationship Id="rId166" Type="http://schemas.openxmlformats.org/officeDocument/2006/relationships/tags" Target="../tags/tag661.xml"/><Relationship Id="rId182" Type="http://schemas.openxmlformats.org/officeDocument/2006/relationships/tags" Target="../tags/tag677.xml"/><Relationship Id="rId187" Type="http://schemas.openxmlformats.org/officeDocument/2006/relationships/tags" Target="../tags/tag682.xml"/><Relationship Id="rId217" Type="http://schemas.openxmlformats.org/officeDocument/2006/relationships/tags" Target="../tags/tag712.xml"/><Relationship Id="rId1" Type="http://schemas.openxmlformats.org/officeDocument/2006/relationships/vmlDrawing" Target="../drawings/vmlDrawing28.vml"/><Relationship Id="rId6" Type="http://schemas.openxmlformats.org/officeDocument/2006/relationships/tags" Target="../tags/tag501.xml"/><Relationship Id="rId212" Type="http://schemas.openxmlformats.org/officeDocument/2006/relationships/tags" Target="../tags/tag707.xml"/><Relationship Id="rId23" Type="http://schemas.openxmlformats.org/officeDocument/2006/relationships/tags" Target="../tags/tag518.xml"/><Relationship Id="rId28" Type="http://schemas.openxmlformats.org/officeDocument/2006/relationships/tags" Target="../tags/tag523.xml"/><Relationship Id="rId49" Type="http://schemas.openxmlformats.org/officeDocument/2006/relationships/tags" Target="../tags/tag544.xml"/><Relationship Id="rId114" Type="http://schemas.openxmlformats.org/officeDocument/2006/relationships/tags" Target="../tags/tag609.xml"/><Relationship Id="rId119" Type="http://schemas.openxmlformats.org/officeDocument/2006/relationships/tags" Target="../tags/tag614.xml"/><Relationship Id="rId44" Type="http://schemas.openxmlformats.org/officeDocument/2006/relationships/tags" Target="../tags/tag539.xml"/><Relationship Id="rId60" Type="http://schemas.openxmlformats.org/officeDocument/2006/relationships/tags" Target="../tags/tag555.xml"/><Relationship Id="rId65" Type="http://schemas.openxmlformats.org/officeDocument/2006/relationships/tags" Target="../tags/tag560.xml"/><Relationship Id="rId81" Type="http://schemas.openxmlformats.org/officeDocument/2006/relationships/tags" Target="../tags/tag576.xml"/><Relationship Id="rId86" Type="http://schemas.openxmlformats.org/officeDocument/2006/relationships/tags" Target="../tags/tag581.xml"/><Relationship Id="rId130" Type="http://schemas.openxmlformats.org/officeDocument/2006/relationships/tags" Target="../tags/tag625.xml"/><Relationship Id="rId135" Type="http://schemas.openxmlformats.org/officeDocument/2006/relationships/tags" Target="../tags/tag630.xml"/><Relationship Id="rId151" Type="http://schemas.openxmlformats.org/officeDocument/2006/relationships/tags" Target="../tags/tag646.xml"/><Relationship Id="rId156" Type="http://schemas.openxmlformats.org/officeDocument/2006/relationships/tags" Target="../tags/tag651.xml"/><Relationship Id="rId177" Type="http://schemas.openxmlformats.org/officeDocument/2006/relationships/tags" Target="../tags/tag672.xml"/><Relationship Id="rId198" Type="http://schemas.openxmlformats.org/officeDocument/2006/relationships/tags" Target="../tags/tag693.xml"/><Relationship Id="rId172" Type="http://schemas.openxmlformats.org/officeDocument/2006/relationships/tags" Target="../tags/tag667.xml"/><Relationship Id="rId193" Type="http://schemas.openxmlformats.org/officeDocument/2006/relationships/tags" Target="../tags/tag688.xml"/><Relationship Id="rId202" Type="http://schemas.openxmlformats.org/officeDocument/2006/relationships/tags" Target="../tags/tag697.xml"/><Relationship Id="rId207" Type="http://schemas.openxmlformats.org/officeDocument/2006/relationships/tags" Target="../tags/tag702.xml"/><Relationship Id="rId223" Type="http://schemas.openxmlformats.org/officeDocument/2006/relationships/chart" Target="../charts/chart24.xml"/><Relationship Id="rId228" Type="http://schemas.openxmlformats.org/officeDocument/2006/relationships/chart" Target="../charts/chart29.xml"/><Relationship Id="rId13" Type="http://schemas.openxmlformats.org/officeDocument/2006/relationships/tags" Target="../tags/tag508.xml"/><Relationship Id="rId18" Type="http://schemas.openxmlformats.org/officeDocument/2006/relationships/tags" Target="../tags/tag513.xml"/><Relationship Id="rId39" Type="http://schemas.openxmlformats.org/officeDocument/2006/relationships/tags" Target="../tags/tag534.xml"/><Relationship Id="rId109" Type="http://schemas.openxmlformats.org/officeDocument/2006/relationships/tags" Target="../tags/tag604.xml"/><Relationship Id="rId34" Type="http://schemas.openxmlformats.org/officeDocument/2006/relationships/tags" Target="../tags/tag529.xml"/><Relationship Id="rId50" Type="http://schemas.openxmlformats.org/officeDocument/2006/relationships/tags" Target="../tags/tag545.xml"/><Relationship Id="rId55" Type="http://schemas.openxmlformats.org/officeDocument/2006/relationships/tags" Target="../tags/tag550.xml"/><Relationship Id="rId76" Type="http://schemas.openxmlformats.org/officeDocument/2006/relationships/tags" Target="../tags/tag571.xml"/><Relationship Id="rId97" Type="http://schemas.openxmlformats.org/officeDocument/2006/relationships/tags" Target="../tags/tag592.xml"/><Relationship Id="rId104" Type="http://schemas.openxmlformats.org/officeDocument/2006/relationships/tags" Target="../tags/tag599.xml"/><Relationship Id="rId120" Type="http://schemas.openxmlformats.org/officeDocument/2006/relationships/tags" Target="../tags/tag615.xml"/><Relationship Id="rId125" Type="http://schemas.openxmlformats.org/officeDocument/2006/relationships/tags" Target="../tags/tag620.xml"/><Relationship Id="rId141" Type="http://schemas.openxmlformats.org/officeDocument/2006/relationships/tags" Target="../tags/tag636.xml"/><Relationship Id="rId146" Type="http://schemas.openxmlformats.org/officeDocument/2006/relationships/tags" Target="../tags/tag641.xml"/><Relationship Id="rId167" Type="http://schemas.openxmlformats.org/officeDocument/2006/relationships/tags" Target="../tags/tag662.xml"/><Relationship Id="rId188" Type="http://schemas.openxmlformats.org/officeDocument/2006/relationships/tags" Target="../tags/tag683.xml"/><Relationship Id="rId7" Type="http://schemas.openxmlformats.org/officeDocument/2006/relationships/tags" Target="../tags/tag502.xml"/><Relationship Id="rId71" Type="http://schemas.openxmlformats.org/officeDocument/2006/relationships/tags" Target="../tags/tag566.xml"/><Relationship Id="rId92" Type="http://schemas.openxmlformats.org/officeDocument/2006/relationships/tags" Target="../tags/tag587.xml"/><Relationship Id="rId162" Type="http://schemas.openxmlformats.org/officeDocument/2006/relationships/tags" Target="../tags/tag657.xml"/><Relationship Id="rId183" Type="http://schemas.openxmlformats.org/officeDocument/2006/relationships/tags" Target="../tags/tag678.xml"/><Relationship Id="rId213" Type="http://schemas.openxmlformats.org/officeDocument/2006/relationships/tags" Target="../tags/tag708.xml"/><Relationship Id="rId218" Type="http://schemas.openxmlformats.org/officeDocument/2006/relationships/slideLayout" Target="../slideLayouts/slideLayout2.xml"/><Relationship Id="rId2" Type="http://schemas.openxmlformats.org/officeDocument/2006/relationships/tags" Target="../tags/tag497.xml"/><Relationship Id="rId29" Type="http://schemas.openxmlformats.org/officeDocument/2006/relationships/tags" Target="../tags/tag524.xml"/><Relationship Id="rId24" Type="http://schemas.openxmlformats.org/officeDocument/2006/relationships/tags" Target="../tags/tag519.xml"/><Relationship Id="rId40" Type="http://schemas.openxmlformats.org/officeDocument/2006/relationships/tags" Target="../tags/tag535.xml"/><Relationship Id="rId45" Type="http://schemas.openxmlformats.org/officeDocument/2006/relationships/tags" Target="../tags/tag540.xml"/><Relationship Id="rId66" Type="http://schemas.openxmlformats.org/officeDocument/2006/relationships/tags" Target="../tags/tag561.xml"/><Relationship Id="rId87" Type="http://schemas.openxmlformats.org/officeDocument/2006/relationships/tags" Target="../tags/tag582.xml"/><Relationship Id="rId110" Type="http://schemas.openxmlformats.org/officeDocument/2006/relationships/tags" Target="../tags/tag605.xml"/><Relationship Id="rId115" Type="http://schemas.openxmlformats.org/officeDocument/2006/relationships/tags" Target="../tags/tag610.xml"/><Relationship Id="rId131" Type="http://schemas.openxmlformats.org/officeDocument/2006/relationships/tags" Target="../tags/tag626.xml"/><Relationship Id="rId136" Type="http://schemas.openxmlformats.org/officeDocument/2006/relationships/tags" Target="../tags/tag631.xml"/><Relationship Id="rId157" Type="http://schemas.openxmlformats.org/officeDocument/2006/relationships/tags" Target="../tags/tag652.xml"/><Relationship Id="rId178" Type="http://schemas.openxmlformats.org/officeDocument/2006/relationships/tags" Target="../tags/tag673.xml"/><Relationship Id="rId61" Type="http://schemas.openxmlformats.org/officeDocument/2006/relationships/tags" Target="../tags/tag556.xml"/><Relationship Id="rId82" Type="http://schemas.openxmlformats.org/officeDocument/2006/relationships/tags" Target="../tags/tag577.xml"/><Relationship Id="rId152" Type="http://schemas.openxmlformats.org/officeDocument/2006/relationships/tags" Target="../tags/tag647.xml"/><Relationship Id="rId173" Type="http://schemas.openxmlformats.org/officeDocument/2006/relationships/tags" Target="../tags/tag668.xml"/><Relationship Id="rId194" Type="http://schemas.openxmlformats.org/officeDocument/2006/relationships/tags" Target="../tags/tag689.xml"/><Relationship Id="rId199" Type="http://schemas.openxmlformats.org/officeDocument/2006/relationships/tags" Target="../tags/tag694.xml"/><Relationship Id="rId203" Type="http://schemas.openxmlformats.org/officeDocument/2006/relationships/tags" Target="../tags/tag698.xml"/><Relationship Id="rId208" Type="http://schemas.openxmlformats.org/officeDocument/2006/relationships/tags" Target="../tags/tag703.xml"/><Relationship Id="rId229" Type="http://schemas.openxmlformats.org/officeDocument/2006/relationships/chart" Target="../charts/chart30.xml"/><Relationship Id="rId19" Type="http://schemas.openxmlformats.org/officeDocument/2006/relationships/tags" Target="../tags/tag514.xml"/><Relationship Id="rId224" Type="http://schemas.openxmlformats.org/officeDocument/2006/relationships/chart" Target="../charts/chart25.xml"/><Relationship Id="rId14" Type="http://schemas.openxmlformats.org/officeDocument/2006/relationships/tags" Target="../tags/tag509.xml"/><Relationship Id="rId30" Type="http://schemas.openxmlformats.org/officeDocument/2006/relationships/tags" Target="../tags/tag525.xml"/><Relationship Id="rId35" Type="http://schemas.openxmlformats.org/officeDocument/2006/relationships/tags" Target="../tags/tag530.xml"/><Relationship Id="rId56" Type="http://schemas.openxmlformats.org/officeDocument/2006/relationships/tags" Target="../tags/tag551.xml"/><Relationship Id="rId77" Type="http://schemas.openxmlformats.org/officeDocument/2006/relationships/tags" Target="../tags/tag572.xml"/><Relationship Id="rId100" Type="http://schemas.openxmlformats.org/officeDocument/2006/relationships/tags" Target="../tags/tag595.xml"/><Relationship Id="rId105" Type="http://schemas.openxmlformats.org/officeDocument/2006/relationships/tags" Target="../tags/tag600.xml"/><Relationship Id="rId126" Type="http://schemas.openxmlformats.org/officeDocument/2006/relationships/tags" Target="../tags/tag621.xml"/><Relationship Id="rId147" Type="http://schemas.openxmlformats.org/officeDocument/2006/relationships/tags" Target="../tags/tag642.xml"/><Relationship Id="rId168" Type="http://schemas.openxmlformats.org/officeDocument/2006/relationships/tags" Target="../tags/tag663.xml"/><Relationship Id="rId8" Type="http://schemas.openxmlformats.org/officeDocument/2006/relationships/tags" Target="../tags/tag503.xml"/><Relationship Id="rId51" Type="http://schemas.openxmlformats.org/officeDocument/2006/relationships/tags" Target="../tags/tag546.xml"/><Relationship Id="rId72" Type="http://schemas.openxmlformats.org/officeDocument/2006/relationships/tags" Target="../tags/tag567.xml"/><Relationship Id="rId93" Type="http://schemas.openxmlformats.org/officeDocument/2006/relationships/tags" Target="../tags/tag588.xml"/><Relationship Id="rId98" Type="http://schemas.openxmlformats.org/officeDocument/2006/relationships/tags" Target="../tags/tag593.xml"/><Relationship Id="rId121" Type="http://schemas.openxmlformats.org/officeDocument/2006/relationships/tags" Target="../tags/tag616.xml"/><Relationship Id="rId142" Type="http://schemas.openxmlformats.org/officeDocument/2006/relationships/tags" Target="../tags/tag637.xml"/><Relationship Id="rId163" Type="http://schemas.openxmlformats.org/officeDocument/2006/relationships/tags" Target="../tags/tag658.xml"/><Relationship Id="rId184" Type="http://schemas.openxmlformats.org/officeDocument/2006/relationships/tags" Target="../tags/tag679.xml"/><Relationship Id="rId189" Type="http://schemas.openxmlformats.org/officeDocument/2006/relationships/tags" Target="../tags/tag684.xml"/><Relationship Id="rId219" Type="http://schemas.openxmlformats.org/officeDocument/2006/relationships/notesSlide" Target="../notesSlides/notesSlide8.xml"/><Relationship Id="rId3" Type="http://schemas.openxmlformats.org/officeDocument/2006/relationships/tags" Target="../tags/tag498.xml"/><Relationship Id="rId214" Type="http://schemas.openxmlformats.org/officeDocument/2006/relationships/tags" Target="../tags/tag709.xml"/><Relationship Id="rId230" Type="http://schemas.openxmlformats.org/officeDocument/2006/relationships/chart" Target="../charts/chart31.xml"/><Relationship Id="rId25" Type="http://schemas.openxmlformats.org/officeDocument/2006/relationships/tags" Target="../tags/tag520.xml"/><Relationship Id="rId46" Type="http://schemas.openxmlformats.org/officeDocument/2006/relationships/tags" Target="../tags/tag541.xml"/><Relationship Id="rId67" Type="http://schemas.openxmlformats.org/officeDocument/2006/relationships/tags" Target="../tags/tag562.xml"/><Relationship Id="rId116" Type="http://schemas.openxmlformats.org/officeDocument/2006/relationships/tags" Target="../tags/tag611.xml"/><Relationship Id="rId137" Type="http://schemas.openxmlformats.org/officeDocument/2006/relationships/tags" Target="../tags/tag632.xml"/><Relationship Id="rId158" Type="http://schemas.openxmlformats.org/officeDocument/2006/relationships/tags" Target="../tags/tag653.xml"/><Relationship Id="rId20" Type="http://schemas.openxmlformats.org/officeDocument/2006/relationships/tags" Target="../tags/tag515.xml"/><Relationship Id="rId41" Type="http://schemas.openxmlformats.org/officeDocument/2006/relationships/tags" Target="../tags/tag536.xml"/><Relationship Id="rId62" Type="http://schemas.openxmlformats.org/officeDocument/2006/relationships/tags" Target="../tags/tag557.xml"/><Relationship Id="rId83" Type="http://schemas.openxmlformats.org/officeDocument/2006/relationships/tags" Target="../tags/tag578.xml"/><Relationship Id="rId88" Type="http://schemas.openxmlformats.org/officeDocument/2006/relationships/tags" Target="../tags/tag583.xml"/><Relationship Id="rId111" Type="http://schemas.openxmlformats.org/officeDocument/2006/relationships/tags" Target="../tags/tag606.xml"/><Relationship Id="rId132" Type="http://schemas.openxmlformats.org/officeDocument/2006/relationships/tags" Target="../tags/tag627.xml"/><Relationship Id="rId153" Type="http://schemas.openxmlformats.org/officeDocument/2006/relationships/tags" Target="../tags/tag648.xml"/><Relationship Id="rId174" Type="http://schemas.openxmlformats.org/officeDocument/2006/relationships/tags" Target="../tags/tag669.xml"/><Relationship Id="rId179" Type="http://schemas.openxmlformats.org/officeDocument/2006/relationships/tags" Target="../tags/tag674.xml"/><Relationship Id="rId195" Type="http://schemas.openxmlformats.org/officeDocument/2006/relationships/tags" Target="../tags/tag690.xml"/><Relationship Id="rId209" Type="http://schemas.openxmlformats.org/officeDocument/2006/relationships/tags" Target="../tags/tag704.xml"/><Relationship Id="rId190" Type="http://schemas.openxmlformats.org/officeDocument/2006/relationships/tags" Target="../tags/tag685.xml"/><Relationship Id="rId204" Type="http://schemas.openxmlformats.org/officeDocument/2006/relationships/tags" Target="../tags/tag699.xml"/><Relationship Id="rId220" Type="http://schemas.openxmlformats.org/officeDocument/2006/relationships/oleObject" Target="../embeddings/oleObject28.bin"/><Relationship Id="rId225" Type="http://schemas.openxmlformats.org/officeDocument/2006/relationships/chart" Target="../charts/chart26.xml"/><Relationship Id="rId15" Type="http://schemas.openxmlformats.org/officeDocument/2006/relationships/tags" Target="../tags/tag510.xml"/><Relationship Id="rId36" Type="http://schemas.openxmlformats.org/officeDocument/2006/relationships/tags" Target="../tags/tag531.xml"/><Relationship Id="rId57" Type="http://schemas.openxmlformats.org/officeDocument/2006/relationships/tags" Target="../tags/tag552.xml"/><Relationship Id="rId106" Type="http://schemas.openxmlformats.org/officeDocument/2006/relationships/tags" Target="../tags/tag601.xml"/><Relationship Id="rId127" Type="http://schemas.openxmlformats.org/officeDocument/2006/relationships/tags" Target="../tags/tag622.xml"/><Relationship Id="rId10" Type="http://schemas.openxmlformats.org/officeDocument/2006/relationships/tags" Target="../tags/tag505.xml"/><Relationship Id="rId31" Type="http://schemas.openxmlformats.org/officeDocument/2006/relationships/tags" Target="../tags/tag526.xml"/><Relationship Id="rId52" Type="http://schemas.openxmlformats.org/officeDocument/2006/relationships/tags" Target="../tags/tag547.xml"/><Relationship Id="rId73" Type="http://schemas.openxmlformats.org/officeDocument/2006/relationships/tags" Target="../tags/tag568.xml"/><Relationship Id="rId78" Type="http://schemas.openxmlformats.org/officeDocument/2006/relationships/tags" Target="../tags/tag573.xml"/><Relationship Id="rId94" Type="http://schemas.openxmlformats.org/officeDocument/2006/relationships/tags" Target="../tags/tag589.xml"/><Relationship Id="rId99" Type="http://schemas.openxmlformats.org/officeDocument/2006/relationships/tags" Target="../tags/tag594.xml"/><Relationship Id="rId101" Type="http://schemas.openxmlformats.org/officeDocument/2006/relationships/tags" Target="../tags/tag596.xml"/><Relationship Id="rId122" Type="http://schemas.openxmlformats.org/officeDocument/2006/relationships/tags" Target="../tags/tag617.xml"/><Relationship Id="rId143" Type="http://schemas.openxmlformats.org/officeDocument/2006/relationships/tags" Target="../tags/tag638.xml"/><Relationship Id="rId148" Type="http://schemas.openxmlformats.org/officeDocument/2006/relationships/tags" Target="../tags/tag643.xml"/><Relationship Id="rId164" Type="http://schemas.openxmlformats.org/officeDocument/2006/relationships/tags" Target="../tags/tag659.xml"/><Relationship Id="rId169" Type="http://schemas.openxmlformats.org/officeDocument/2006/relationships/tags" Target="../tags/tag664.xml"/><Relationship Id="rId185" Type="http://schemas.openxmlformats.org/officeDocument/2006/relationships/tags" Target="../tags/tag680.xml"/><Relationship Id="rId4" Type="http://schemas.openxmlformats.org/officeDocument/2006/relationships/tags" Target="../tags/tag499.xml"/><Relationship Id="rId9" Type="http://schemas.openxmlformats.org/officeDocument/2006/relationships/tags" Target="../tags/tag504.xml"/><Relationship Id="rId180" Type="http://schemas.openxmlformats.org/officeDocument/2006/relationships/tags" Target="../tags/tag675.xml"/><Relationship Id="rId210" Type="http://schemas.openxmlformats.org/officeDocument/2006/relationships/tags" Target="../tags/tag705.xml"/><Relationship Id="rId215" Type="http://schemas.openxmlformats.org/officeDocument/2006/relationships/tags" Target="../tags/tag710.xml"/><Relationship Id="rId26" Type="http://schemas.openxmlformats.org/officeDocument/2006/relationships/tags" Target="../tags/tag521.xml"/><Relationship Id="rId231" Type="http://schemas.openxmlformats.org/officeDocument/2006/relationships/chart" Target="../charts/chart32.xml"/><Relationship Id="rId47" Type="http://schemas.openxmlformats.org/officeDocument/2006/relationships/tags" Target="../tags/tag542.xml"/><Relationship Id="rId68" Type="http://schemas.openxmlformats.org/officeDocument/2006/relationships/tags" Target="../tags/tag563.xml"/><Relationship Id="rId89" Type="http://schemas.openxmlformats.org/officeDocument/2006/relationships/tags" Target="../tags/tag584.xml"/><Relationship Id="rId112" Type="http://schemas.openxmlformats.org/officeDocument/2006/relationships/tags" Target="../tags/tag607.xml"/><Relationship Id="rId133" Type="http://schemas.openxmlformats.org/officeDocument/2006/relationships/tags" Target="../tags/tag628.xml"/><Relationship Id="rId154" Type="http://schemas.openxmlformats.org/officeDocument/2006/relationships/tags" Target="../tags/tag649.xml"/><Relationship Id="rId175" Type="http://schemas.openxmlformats.org/officeDocument/2006/relationships/tags" Target="../tags/tag670.xml"/><Relationship Id="rId196" Type="http://schemas.openxmlformats.org/officeDocument/2006/relationships/tags" Target="../tags/tag691.xml"/><Relationship Id="rId200" Type="http://schemas.openxmlformats.org/officeDocument/2006/relationships/tags" Target="../tags/tag695.xml"/><Relationship Id="rId16" Type="http://schemas.openxmlformats.org/officeDocument/2006/relationships/tags" Target="../tags/tag511.xml"/><Relationship Id="rId221" Type="http://schemas.openxmlformats.org/officeDocument/2006/relationships/image" Target="../media/image10.emf"/><Relationship Id="rId37" Type="http://schemas.openxmlformats.org/officeDocument/2006/relationships/tags" Target="../tags/tag532.xml"/><Relationship Id="rId58" Type="http://schemas.openxmlformats.org/officeDocument/2006/relationships/tags" Target="../tags/tag553.xml"/><Relationship Id="rId79" Type="http://schemas.openxmlformats.org/officeDocument/2006/relationships/tags" Target="../tags/tag574.xml"/><Relationship Id="rId102" Type="http://schemas.openxmlformats.org/officeDocument/2006/relationships/tags" Target="../tags/tag597.xml"/><Relationship Id="rId123" Type="http://schemas.openxmlformats.org/officeDocument/2006/relationships/tags" Target="../tags/tag618.xml"/><Relationship Id="rId144" Type="http://schemas.openxmlformats.org/officeDocument/2006/relationships/tags" Target="../tags/tag639.xml"/><Relationship Id="rId90" Type="http://schemas.openxmlformats.org/officeDocument/2006/relationships/tags" Target="../tags/tag585.xml"/><Relationship Id="rId165" Type="http://schemas.openxmlformats.org/officeDocument/2006/relationships/tags" Target="../tags/tag660.xml"/><Relationship Id="rId186" Type="http://schemas.openxmlformats.org/officeDocument/2006/relationships/tags" Target="../tags/tag681.xml"/><Relationship Id="rId211" Type="http://schemas.openxmlformats.org/officeDocument/2006/relationships/tags" Target="../tags/tag706.xml"/></Relationships>
</file>

<file path=ppt/slides/_rels/slide15.xml.rels><?xml version="1.0" encoding="UTF-8" standalone="yes"?>
<Relationships xmlns="http://schemas.openxmlformats.org/package/2006/relationships"><Relationship Id="rId117" Type="http://schemas.openxmlformats.org/officeDocument/2006/relationships/tags" Target="../tags/tag828.xml"/><Relationship Id="rId21" Type="http://schemas.openxmlformats.org/officeDocument/2006/relationships/tags" Target="../tags/tag732.xml"/><Relationship Id="rId42" Type="http://schemas.openxmlformats.org/officeDocument/2006/relationships/tags" Target="../tags/tag753.xml"/><Relationship Id="rId63" Type="http://schemas.openxmlformats.org/officeDocument/2006/relationships/tags" Target="../tags/tag774.xml"/><Relationship Id="rId84" Type="http://schemas.openxmlformats.org/officeDocument/2006/relationships/tags" Target="../tags/tag795.xml"/><Relationship Id="rId138" Type="http://schemas.openxmlformats.org/officeDocument/2006/relationships/tags" Target="../tags/tag849.xml"/><Relationship Id="rId159" Type="http://schemas.openxmlformats.org/officeDocument/2006/relationships/tags" Target="../tags/tag870.xml"/><Relationship Id="rId170" Type="http://schemas.openxmlformats.org/officeDocument/2006/relationships/tags" Target="../tags/tag881.xml"/><Relationship Id="rId191" Type="http://schemas.openxmlformats.org/officeDocument/2006/relationships/tags" Target="../tags/tag902.xml"/><Relationship Id="rId205" Type="http://schemas.openxmlformats.org/officeDocument/2006/relationships/chart" Target="../charts/chart37.xml"/><Relationship Id="rId16" Type="http://schemas.openxmlformats.org/officeDocument/2006/relationships/tags" Target="../tags/tag727.xml"/><Relationship Id="rId107" Type="http://schemas.openxmlformats.org/officeDocument/2006/relationships/tags" Target="../tags/tag818.xml"/><Relationship Id="rId11" Type="http://schemas.openxmlformats.org/officeDocument/2006/relationships/tags" Target="../tags/tag722.xml"/><Relationship Id="rId32" Type="http://schemas.openxmlformats.org/officeDocument/2006/relationships/tags" Target="../tags/tag743.xml"/><Relationship Id="rId37" Type="http://schemas.openxmlformats.org/officeDocument/2006/relationships/tags" Target="../tags/tag748.xml"/><Relationship Id="rId53" Type="http://schemas.openxmlformats.org/officeDocument/2006/relationships/tags" Target="../tags/tag764.xml"/><Relationship Id="rId58" Type="http://schemas.openxmlformats.org/officeDocument/2006/relationships/tags" Target="../tags/tag769.xml"/><Relationship Id="rId74" Type="http://schemas.openxmlformats.org/officeDocument/2006/relationships/tags" Target="../tags/tag785.xml"/><Relationship Id="rId79" Type="http://schemas.openxmlformats.org/officeDocument/2006/relationships/tags" Target="../tags/tag790.xml"/><Relationship Id="rId102" Type="http://schemas.openxmlformats.org/officeDocument/2006/relationships/tags" Target="../tags/tag813.xml"/><Relationship Id="rId123" Type="http://schemas.openxmlformats.org/officeDocument/2006/relationships/tags" Target="../tags/tag834.xml"/><Relationship Id="rId128" Type="http://schemas.openxmlformats.org/officeDocument/2006/relationships/tags" Target="../tags/tag839.xml"/><Relationship Id="rId144" Type="http://schemas.openxmlformats.org/officeDocument/2006/relationships/tags" Target="../tags/tag855.xml"/><Relationship Id="rId149" Type="http://schemas.openxmlformats.org/officeDocument/2006/relationships/tags" Target="../tags/tag860.xml"/><Relationship Id="rId5" Type="http://schemas.openxmlformats.org/officeDocument/2006/relationships/tags" Target="../tags/tag716.xml"/><Relationship Id="rId90" Type="http://schemas.openxmlformats.org/officeDocument/2006/relationships/tags" Target="../tags/tag801.xml"/><Relationship Id="rId95" Type="http://schemas.openxmlformats.org/officeDocument/2006/relationships/tags" Target="../tags/tag806.xml"/><Relationship Id="rId160" Type="http://schemas.openxmlformats.org/officeDocument/2006/relationships/tags" Target="../tags/tag871.xml"/><Relationship Id="rId165" Type="http://schemas.openxmlformats.org/officeDocument/2006/relationships/tags" Target="../tags/tag876.xml"/><Relationship Id="rId181" Type="http://schemas.openxmlformats.org/officeDocument/2006/relationships/tags" Target="../tags/tag892.xml"/><Relationship Id="rId186" Type="http://schemas.openxmlformats.org/officeDocument/2006/relationships/tags" Target="../tags/tag897.xml"/><Relationship Id="rId22" Type="http://schemas.openxmlformats.org/officeDocument/2006/relationships/tags" Target="../tags/tag733.xml"/><Relationship Id="rId27" Type="http://schemas.openxmlformats.org/officeDocument/2006/relationships/tags" Target="../tags/tag738.xml"/><Relationship Id="rId43" Type="http://schemas.openxmlformats.org/officeDocument/2006/relationships/tags" Target="../tags/tag754.xml"/><Relationship Id="rId48" Type="http://schemas.openxmlformats.org/officeDocument/2006/relationships/tags" Target="../tags/tag759.xml"/><Relationship Id="rId64" Type="http://schemas.openxmlformats.org/officeDocument/2006/relationships/tags" Target="../tags/tag775.xml"/><Relationship Id="rId69" Type="http://schemas.openxmlformats.org/officeDocument/2006/relationships/tags" Target="../tags/tag780.xml"/><Relationship Id="rId113" Type="http://schemas.openxmlformats.org/officeDocument/2006/relationships/tags" Target="../tags/tag824.xml"/><Relationship Id="rId118" Type="http://schemas.openxmlformats.org/officeDocument/2006/relationships/tags" Target="../tags/tag829.xml"/><Relationship Id="rId134" Type="http://schemas.openxmlformats.org/officeDocument/2006/relationships/tags" Target="../tags/tag845.xml"/><Relationship Id="rId139" Type="http://schemas.openxmlformats.org/officeDocument/2006/relationships/tags" Target="../tags/tag850.xml"/><Relationship Id="rId80" Type="http://schemas.openxmlformats.org/officeDocument/2006/relationships/tags" Target="../tags/tag791.xml"/><Relationship Id="rId85" Type="http://schemas.openxmlformats.org/officeDocument/2006/relationships/tags" Target="../tags/tag796.xml"/><Relationship Id="rId150" Type="http://schemas.openxmlformats.org/officeDocument/2006/relationships/tags" Target="../tags/tag861.xml"/><Relationship Id="rId155" Type="http://schemas.openxmlformats.org/officeDocument/2006/relationships/tags" Target="../tags/tag866.xml"/><Relationship Id="rId171" Type="http://schemas.openxmlformats.org/officeDocument/2006/relationships/tags" Target="../tags/tag882.xml"/><Relationship Id="rId176" Type="http://schemas.openxmlformats.org/officeDocument/2006/relationships/tags" Target="../tags/tag887.xml"/><Relationship Id="rId192" Type="http://schemas.openxmlformats.org/officeDocument/2006/relationships/tags" Target="../tags/tag903.xml"/><Relationship Id="rId197" Type="http://schemas.openxmlformats.org/officeDocument/2006/relationships/slideLayout" Target="../slideLayouts/slideLayout2.xml"/><Relationship Id="rId206" Type="http://schemas.openxmlformats.org/officeDocument/2006/relationships/chart" Target="../charts/chart38.xml"/><Relationship Id="rId201" Type="http://schemas.openxmlformats.org/officeDocument/2006/relationships/chart" Target="../charts/chart33.xml"/><Relationship Id="rId12" Type="http://schemas.openxmlformats.org/officeDocument/2006/relationships/tags" Target="../tags/tag723.xml"/><Relationship Id="rId17" Type="http://schemas.openxmlformats.org/officeDocument/2006/relationships/tags" Target="../tags/tag728.xml"/><Relationship Id="rId33" Type="http://schemas.openxmlformats.org/officeDocument/2006/relationships/tags" Target="../tags/tag744.xml"/><Relationship Id="rId38" Type="http://schemas.openxmlformats.org/officeDocument/2006/relationships/tags" Target="../tags/tag749.xml"/><Relationship Id="rId59" Type="http://schemas.openxmlformats.org/officeDocument/2006/relationships/tags" Target="../tags/tag770.xml"/><Relationship Id="rId103" Type="http://schemas.openxmlformats.org/officeDocument/2006/relationships/tags" Target="../tags/tag814.xml"/><Relationship Id="rId108" Type="http://schemas.openxmlformats.org/officeDocument/2006/relationships/tags" Target="../tags/tag819.xml"/><Relationship Id="rId124" Type="http://schemas.openxmlformats.org/officeDocument/2006/relationships/tags" Target="../tags/tag835.xml"/><Relationship Id="rId129" Type="http://schemas.openxmlformats.org/officeDocument/2006/relationships/tags" Target="../tags/tag840.xml"/><Relationship Id="rId54" Type="http://schemas.openxmlformats.org/officeDocument/2006/relationships/tags" Target="../tags/tag765.xml"/><Relationship Id="rId70" Type="http://schemas.openxmlformats.org/officeDocument/2006/relationships/tags" Target="../tags/tag781.xml"/><Relationship Id="rId75" Type="http://schemas.openxmlformats.org/officeDocument/2006/relationships/tags" Target="../tags/tag786.xml"/><Relationship Id="rId91" Type="http://schemas.openxmlformats.org/officeDocument/2006/relationships/tags" Target="../tags/tag802.xml"/><Relationship Id="rId96" Type="http://schemas.openxmlformats.org/officeDocument/2006/relationships/tags" Target="../tags/tag807.xml"/><Relationship Id="rId140" Type="http://schemas.openxmlformats.org/officeDocument/2006/relationships/tags" Target="../tags/tag851.xml"/><Relationship Id="rId145" Type="http://schemas.openxmlformats.org/officeDocument/2006/relationships/tags" Target="../tags/tag856.xml"/><Relationship Id="rId161" Type="http://schemas.openxmlformats.org/officeDocument/2006/relationships/tags" Target="../tags/tag872.xml"/><Relationship Id="rId166" Type="http://schemas.openxmlformats.org/officeDocument/2006/relationships/tags" Target="../tags/tag877.xml"/><Relationship Id="rId182" Type="http://schemas.openxmlformats.org/officeDocument/2006/relationships/tags" Target="../tags/tag893.xml"/><Relationship Id="rId187" Type="http://schemas.openxmlformats.org/officeDocument/2006/relationships/tags" Target="../tags/tag898.xml"/><Relationship Id="rId1" Type="http://schemas.openxmlformats.org/officeDocument/2006/relationships/vmlDrawing" Target="../drawings/vmlDrawing29.vml"/><Relationship Id="rId6" Type="http://schemas.openxmlformats.org/officeDocument/2006/relationships/tags" Target="../tags/tag717.xml"/><Relationship Id="rId23" Type="http://schemas.openxmlformats.org/officeDocument/2006/relationships/tags" Target="../tags/tag734.xml"/><Relationship Id="rId28" Type="http://schemas.openxmlformats.org/officeDocument/2006/relationships/tags" Target="../tags/tag739.xml"/><Relationship Id="rId49" Type="http://schemas.openxmlformats.org/officeDocument/2006/relationships/tags" Target="../tags/tag760.xml"/><Relationship Id="rId114" Type="http://schemas.openxmlformats.org/officeDocument/2006/relationships/tags" Target="../tags/tag825.xml"/><Relationship Id="rId119" Type="http://schemas.openxmlformats.org/officeDocument/2006/relationships/tags" Target="../tags/tag830.xml"/><Relationship Id="rId44" Type="http://schemas.openxmlformats.org/officeDocument/2006/relationships/tags" Target="../tags/tag755.xml"/><Relationship Id="rId60" Type="http://schemas.openxmlformats.org/officeDocument/2006/relationships/tags" Target="../tags/tag771.xml"/><Relationship Id="rId65" Type="http://schemas.openxmlformats.org/officeDocument/2006/relationships/tags" Target="../tags/tag776.xml"/><Relationship Id="rId81" Type="http://schemas.openxmlformats.org/officeDocument/2006/relationships/tags" Target="../tags/tag792.xml"/><Relationship Id="rId86" Type="http://schemas.openxmlformats.org/officeDocument/2006/relationships/tags" Target="../tags/tag797.xml"/><Relationship Id="rId130" Type="http://schemas.openxmlformats.org/officeDocument/2006/relationships/tags" Target="../tags/tag841.xml"/><Relationship Id="rId135" Type="http://schemas.openxmlformats.org/officeDocument/2006/relationships/tags" Target="../tags/tag846.xml"/><Relationship Id="rId151" Type="http://schemas.openxmlformats.org/officeDocument/2006/relationships/tags" Target="../tags/tag862.xml"/><Relationship Id="rId156" Type="http://schemas.openxmlformats.org/officeDocument/2006/relationships/tags" Target="../tags/tag867.xml"/><Relationship Id="rId177" Type="http://schemas.openxmlformats.org/officeDocument/2006/relationships/tags" Target="../tags/tag888.xml"/><Relationship Id="rId198" Type="http://schemas.openxmlformats.org/officeDocument/2006/relationships/notesSlide" Target="../notesSlides/notesSlide9.xml"/><Relationship Id="rId172" Type="http://schemas.openxmlformats.org/officeDocument/2006/relationships/tags" Target="../tags/tag883.xml"/><Relationship Id="rId193" Type="http://schemas.openxmlformats.org/officeDocument/2006/relationships/tags" Target="../tags/tag904.xml"/><Relationship Id="rId202" Type="http://schemas.openxmlformats.org/officeDocument/2006/relationships/chart" Target="../charts/chart34.xml"/><Relationship Id="rId207" Type="http://schemas.openxmlformats.org/officeDocument/2006/relationships/chart" Target="../charts/chart39.xml"/><Relationship Id="rId13" Type="http://schemas.openxmlformats.org/officeDocument/2006/relationships/tags" Target="../tags/tag724.xml"/><Relationship Id="rId18" Type="http://schemas.openxmlformats.org/officeDocument/2006/relationships/tags" Target="../tags/tag729.xml"/><Relationship Id="rId39" Type="http://schemas.openxmlformats.org/officeDocument/2006/relationships/tags" Target="../tags/tag750.xml"/><Relationship Id="rId109" Type="http://schemas.openxmlformats.org/officeDocument/2006/relationships/tags" Target="../tags/tag820.xml"/><Relationship Id="rId34" Type="http://schemas.openxmlformats.org/officeDocument/2006/relationships/tags" Target="../tags/tag745.xml"/><Relationship Id="rId50" Type="http://schemas.openxmlformats.org/officeDocument/2006/relationships/tags" Target="../tags/tag761.xml"/><Relationship Id="rId55" Type="http://schemas.openxmlformats.org/officeDocument/2006/relationships/tags" Target="../tags/tag766.xml"/><Relationship Id="rId76" Type="http://schemas.openxmlformats.org/officeDocument/2006/relationships/tags" Target="../tags/tag787.xml"/><Relationship Id="rId97" Type="http://schemas.openxmlformats.org/officeDocument/2006/relationships/tags" Target="../tags/tag808.xml"/><Relationship Id="rId104" Type="http://schemas.openxmlformats.org/officeDocument/2006/relationships/tags" Target="../tags/tag815.xml"/><Relationship Id="rId120" Type="http://schemas.openxmlformats.org/officeDocument/2006/relationships/tags" Target="../tags/tag831.xml"/><Relationship Id="rId125" Type="http://schemas.openxmlformats.org/officeDocument/2006/relationships/tags" Target="../tags/tag836.xml"/><Relationship Id="rId141" Type="http://schemas.openxmlformats.org/officeDocument/2006/relationships/tags" Target="../tags/tag852.xml"/><Relationship Id="rId146" Type="http://schemas.openxmlformats.org/officeDocument/2006/relationships/tags" Target="../tags/tag857.xml"/><Relationship Id="rId167" Type="http://schemas.openxmlformats.org/officeDocument/2006/relationships/tags" Target="../tags/tag878.xml"/><Relationship Id="rId188" Type="http://schemas.openxmlformats.org/officeDocument/2006/relationships/tags" Target="../tags/tag899.xml"/><Relationship Id="rId7" Type="http://schemas.openxmlformats.org/officeDocument/2006/relationships/tags" Target="../tags/tag718.xml"/><Relationship Id="rId71" Type="http://schemas.openxmlformats.org/officeDocument/2006/relationships/tags" Target="../tags/tag782.xml"/><Relationship Id="rId92" Type="http://schemas.openxmlformats.org/officeDocument/2006/relationships/tags" Target="../tags/tag803.xml"/><Relationship Id="rId162" Type="http://schemas.openxmlformats.org/officeDocument/2006/relationships/tags" Target="../tags/tag873.xml"/><Relationship Id="rId183" Type="http://schemas.openxmlformats.org/officeDocument/2006/relationships/tags" Target="../tags/tag894.xml"/><Relationship Id="rId2" Type="http://schemas.openxmlformats.org/officeDocument/2006/relationships/tags" Target="../tags/tag713.xml"/><Relationship Id="rId29" Type="http://schemas.openxmlformats.org/officeDocument/2006/relationships/tags" Target="../tags/tag740.xml"/><Relationship Id="rId24" Type="http://schemas.openxmlformats.org/officeDocument/2006/relationships/tags" Target="../tags/tag735.xml"/><Relationship Id="rId40" Type="http://schemas.openxmlformats.org/officeDocument/2006/relationships/tags" Target="../tags/tag751.xml"/><Relationship Id="rId45" Type="http://schemas.openxmlformats.org/officeDocument/2006/relationships/tags" Target="../tags/tag756.xml"/><Relationship Id="rId66" Type="http://schemas.openxmlformats.org/officeDocument/2006/relationships/tags" Target="../tags/tag777.xml"/><Relationship Id="rId87" Type="http://schemas.openxmlformats.org/officeDocument/2006/relationships/tags" Target="../tags/tag798.xml"/><Relationship Id="rId110" Type="http://schemas.openxmlformats.org/officeDocument/2006/relationships/tags" Target="../tags/tag821.xml"/><Relationship Id="rId115" Type="http://schemas.openxmlformats.org/officeDocument/2006/relationships/tags" Target="../tags/tag826.xml"/><Relationship Id="rId131" Type="http://schemas.openxmlformats.org/officeDocument/2006/relationships/tags" Target="../tags/tag842.xml"/><Relationship Id="rId136" Type="http://schemas.openxmlformats.org/officeDocument/2006/relationships/tags" Target="../tags/tag847.xml"/><Relationship Id="rId157" Type="http://schemas.openxmlformats.org/officeDocument/2006/relationships/tags" Target="../tags/tag868.xml"/><Relationship Id="rId178" Type="http://schemas.openxmlformats.org/officeDocument/2006/relationships/tags" Target="../tags/tag889.xml"/><Relationship Id="rId61" Type="http://schemas.openxmlformats.org/officeDocument/2006/relationships/tags" Target="../tags/tag772.xml"/><Relationship Id="rId82" Type="http://schemas.openxmlformats.org/officeDocument/2006/relationships/tags" Target="../tags/tag793.xml"/><Relationship Id="rId152" Type="http://schemas.openxmlformats.org/officeDocument/2006/relationships/tags" Target="../tags/tag863.xml"/><Relationship Id="rId173" Type="http://schemas.openxmlformats.org/officeDocument/2006/relationships/tags" Target="../tags/tag884.xml"/><Relationship Id="rId194" Type="http://schemas.openxmlformats.org/officeDocument/2006/relationships/tags" Target="../tags/tag905.xml"/><Relationship Id="rId199" Type="http://schemas.openxmlformats.org/officeDocument/2006/relationships/oleObject" Target="../embeddings/oleObject29.bin"/><Relationship Id="rId203" Type="http://schemas.openxmlformats.org/officeDocument/2006/relationships/chart" Target="../charts/chart35.xml"/><Relationship Id="rId208" Type="http://schemas.openxmlformats.org/officeDocument/2006/relationships/chart" Target="../charts/chart40.xml"/><Relationship Id="rId19" Type="http://schemas.openxmlformats.org/officeDocument/2006/relationships/tags" Target="../tags/tag730.xml"/><Relationship Id="rId14" Type="http://schemas.openxmlformats.org/officeDocument/2006/relationships/tags" Target="../tags/tag725.xml"/><Relationship Id="rId30" Type="http://schemas.openxmlformats.org/officeDocument/2006/relationships/tags" Target="../tags/tag741.xml"/><Relationship Id="rId35" Type="http://schemas.openxmlformats.org/officeDocument/2006/relationships/tags" Target="../tags/tag746.xml"/><Relationship Id="rId56" Type="http://schemas.openxmlformats.org/officeDocument/2006/relationships/tags" Target="../tags/tag767.xml"/><Relationship Id="rId77" Type="http://schemas.openxmlformats.org/officeDocument/2006/relationships/tags" Target="../tags/tag788.xml"/><Relationship Id="rId100" Type="http://schemas.openxmlformats.org/officeDocument/2006/relationships/tags" Target="../tags/tag811.xml"/><Relationship Id="rId105" Type="http://schemas.openxmlformats.org/officeDocument/2006/relationships/tags" Target="../tags/tag816.xml"/><Relationship Id="rId126" Type="http://schemas.openxmlformats.org/officeDocument/2006/relationships/tags" Target="../tags/tag837.xml"/><Relationship Id="rId147" Type="http://schemas.openxmlformats.org/officeDocument/2006/relationships/tags" Target="../tags/tag858.xml"/><Relationship Id="rId168" Type="http://schemas.openxmlformats.org/officeDocument/2006/relationships/tags" Target="../tags/tag879.xml"/><Relationship Id="rId8" Type="http://schemas.openxmlformats.org/officeDocument/2006/relationships/tags" Target="../tags/tag719.xml"/><Relationship Id="rId51" Type="http://schemas.openxmlformats.org/officeDocument/2006/relationships/tags" Target="../tags/tag762.xml"/><Relationship Id="rId72" Type="http://schemas.openxmlformats.org/officeDocument/2006/relationships/tags" Target="../tags/tag783.xml"/><Relationship Id="rId93" Type="http://schemas.openxmlformats.org/officeDocument/2006/relationships/tags" Target="../tags/tag804.xml"/><Relationship Id="rId98" Type="http://schemas.openxmlformats.org/officeDocument/2006/relationships/tags" Target="../tags/tag809.xml"/><Relationship Id="rId121" Type="http://schemas.openxmlformats.org/officeDocument/2006/relationships/tags" Target="../tags/tag832.xml"/><Relationship Id="rId142" Type="http://schemas.openxmlformats.org/officeDocument/2006/relationships/tags" Target="../tags/tag853.xml"/><Relationship Id="rId163" Type="http://schemas.openxmlformats.org/officeDocument/2006/relationships/tags" Target="../tags/tag874.xml"/><Relationship Id="rId184" Type="http://schemas.openxmlformats.org/officeDocument/2006/relationships/tags" Target="../tags/tag895.xml"/><Relationship Id="rId189" Type="http://schemas.openxmlformats.org/officeDocument/2006/relationships/tags" Target="../tags/tag900.xml"/><Relationship Id="rId3" Type="http://schemas.openxmlformats.org/officeDocument/2006/relationships/tags" Target="../tags/tag714.xml"/><Relationship Id="rId25" Type="http://schemas.openxmlformats.org/officeDocument/2006/relationships/tags" Target="../tags/tag736.xml"/><Relationship Id="rId46" Type="http://schemas.openxmlformats.org/officeDocument/2006/relationships/tags" Target="../tags/tag757.xml"/><Relationship Id="rId67" Type="http://schemas.openxmlformats.org/officeDocument/2006/relationships/tags" Target="../tags/tag778.xml"/><Relationship Id="rId116" Type="http://schemas.openxmlformats.org/officeDocument/2006/relationships/tags" Target="../tags/tag827.xml"/><Relationship Id="rId137" Type="http://schemas.openxmlformats.org/officeDocument/2006/relationships/tags" Target="../tags/tag848.xml"/><Relationship Id="rId158" Type="http://schemas.openxmlformats.org/officeDocument/2006/relationships/tags" Target="../tags/tag869.xml"/><Relationship Id="rId20" Type="http://schemas.openxmlformats.org/officeDocument/2006/relationships/tags" Target="../tags/tag731.xml"/><Relationship Id="rId41" Type="http://schemas.openxmlformats.org/officeDocument/2006/relationships/tags" Target="../tags/tag752.xml"/><Relationship Id="rId62" Type="http://schemas.openxmlformats.org/officeDocument/2006/relationships/tags" Target="../tags/tag773.xml"/><Relationship Id="rId83" Type="http://schemas.openxmlformats.org/officeDocument/2006/relationships/tags" Target="../tags/tag794.xml"/><Relationship Id="rId88" Type="http://schemas.openxmlformats.org/officeDocument/2006/relationships/tags" Target="../tags/tag799.xml"/><Relationship Id="rId111" Type="http://schemas.openxmlformats.org/officeDocument/2006/relationships/tags" Target="../tags/tag822.xml"/><Relationship Id="rId132" Type="http://schemas.openxmlformats.org/officeDocument/2006/relationships/tags" Target="../tags/tag843.xml"/><Relationship Id="rId153" Type="http://schemas.openxmlformats.org/officeDocument/2006/relationships/tags" Target="../tags/tag864.xml"/><Relationship Id="rId174" Type="http://schemas.openxmlformats.org/officeDocument/2006/relationships/tags" Target="../tags/tag885.xml"/><Relationship Id="rId179" Type="http://schemas.openxmlformats.org/officeDocument/2006/relationships/tags" Target="../tags/tag890.xml"/><Relationship Id="rId195" Type="http://schemas.openxmlformats.org/officeDocument/2006/relationships/tags" Target="../tags/tag906.xml"/><Relationship Id="rId209" Type="http://schemas.openxmlformats.org/officeDocument/2006/relationships/chart" Target="../charts/chart41.xml"/><Relationship Id="rId190" Type="http://schemas.openxmlformats.org/officeDocument/2006/relationships/tags" Target="../tags/tag901.xml"/><Relationship Id="rId204" Type="http://schemas.openxmlformats.org/officeDocument/2006/relationships/chart" Target="../charts/chart36.xml"/><Relationship Id="rId15" Type="http://schemas.openxmlformats.org/officeDocument/2006/relationships/tags" Target="../tags/tag726.xml"/><Relationship Id="rId36" Type="http://schemas.openxmlformats.org/officeDocument/2006/relationships/tags" Target="../tags/tag747.xml"/><Relationship Id="rId57" Type="http://schemas.openxmlformats.org/officeDocument/2006/relationships/tags" Target="../tags/tag768.xml"/><Relationship Id="rId106" Type="http://schemas.openxmlformats.org/officeDocument/2006/relationships/tags" Target="../tags/tag817.xml"/><Relationship Id="rId127" Type="http://schemas.openxmlformats.org/officeDocument/2006/relationships/tags" Target="../tags/tag838.xml"/><Relationship Id="rId10" Type="http://schemas.openxmlformats.org/officeDocument/2006/relationships/tags" Target="../tags/tag721.xml"/><Relationship Id="rId31" Type="http://schemas.openxmlformats.org/officeDocument/2006/relationships/tags" Target="../tags/tag742.xml"/><Relationship Id="rId52" Type="http://schemas.openxmlformats.org/officeDocument/2006/relationships/tags" Target="../tags/tag763.xml"/><Relationship Id="rId73" Type="http://schemas.openxmlformats.org/officeDocument/2006/relationships/tags" Target="../tags/tag784.xml"/><Relationship Id="rId78" Type="http://schemas.openxmlformats.org/officeDocument/2006/relationships/tags" Target="../tags/tag789.xml"/><Relationship Id="rId94" Type="http://schemas.openxmlformats.org/officeDocument/2006/relationships/tags" Target="../tags/tag805.xml"/><Relationship Id="rId99" Type="http://schemas.openxmlformats.org/officeDocument/2006/relationships/tags" Target="../tags/tag810.xml"/><Relationship Id="rId101" Type="http://schemas.openxmlformats.org/officeDocument/2006/relationships/tags" Target="../tags/tag812.xml"/><Relationship Id="rId122" Type="http://schemas.openxmlformats.org/officeDocument/2006/relationships/tags" Target="../tags/tag833.xml"/><Relationship Id="rId143" Type="http://schemas.openxmlformats.org/officeDocument/2006/relationships/tags" Target="../tags/tag854.xml"/><Relationship Id="rId148" Type="http://schemas.openxmlformats.org/officeDocument/2006/relationships/tags" Target="../tags/tag859.xml"/><Relationship Id="rId164" Type="http://schemas.openxmlformats.org/officeDocument/2006/relationships/tags" Target="../tags/tag875.xml"/><Relationship Id="rId169" Type="http://schemas.openxmlformats.org/officeDocument/2006/relationships/tags" Target="../tags/tag880.xml"/><Relationship Id="rId185" Type="http://schemas.openxmlformats.org/officeDocument/2006/relationships/tags" Target="../tags/tag896.xml"/><Relationship Id="rId4" Type="http://schemas.openxmlformats.org/officeDocument/2006/relationships/tags" Target="../tags/tag715.xml"/><Relationship Id="rId9" Type="http://schemas.openxmlformats.org/officeDocument/2006/relationships/tags" Target="../tags/tag720.xml"/><Relationship Id="rId180" Type="http://schemas.openxmlformats.org/officeDocument/2006/relationships/tags" Target="../tags/tag891.xml"/><Relationship Id="rId26" Type="http://schemas.openxmlformats.org/officeDocument/2006/relationships/tags" Target="../tags/tag737.xml"/><Relationship Id="rId47" Type="http://schemas.openxmlformats.org/officeDocument/2006/relationships/tags" Target="../tags/tag758.xml"/><Relationship Id="rId68" Type="http://schemas.openxmlformats.org/officeDocument/2006/relationships/tags" Target="../tags/tag779.xml"/><Relationship Id="rId89" Type="http://schemas.openxmlformats.org/officeDocument/2006/relationships/tags" Target="../tags/tag800.xml"/><Relationship Id="rId112" Type="http://schemas.openxmlformats.org/officeDocument/2006/relationships/tags" Target="../tags/tag823.xml"/><Relationship Id="rId133" Type="http://schemas.openxmlformats.org/officeDocument/2006/relationships/tags" Target="../tags/tag844.xml"/><Relationship Id="rId154" Type="http://schemas.openxmlformats.org/officeDocument/2006/relationships/tags" Target="../tags/tag865.xml"/><Relationship Id="rId175" Type="http://schemas.openxmlformats.org/officeDocument/2006/relationships/tags" Target="../tags/tag886.xml"/><Relationship Id="rId196" Type="http://schemas.openxmlformats.org/officeDocument/2006/relationships/tags" Target="../tags/tag907.xml"/><Relationship Id="rId200" Type="http://schemas.openxmlformats.org/officeDocument/2006/relationships/image" Target="../media/image10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914.xml"/><Relationship Id="rId13" Type="http://schemas.openxmlformats.org/officeDocument/2006/relationships/tags" Target="../tags/tag919.xml"/><Relationship Id="rId18" Type="http://schemas.openxmlformats.org/officeDocument/2006/relationships/tags" Target="../tags/tag924.xml"/><Relationship Id="rId26" Type="http://schemas.openxmlformats.org/officeDocument/2006/relationships/tags" Target="../tags/tag932.xml"/><Relationship Id="rId3" Type="http://schemas.openxmlformats.org/officeDocument/2006/relationships/tags" Target="../tags/tag909.xml"/><Relationship Id="rId21" Type="http://schemas.openxmlformats.org/officeDocument/2006/relationships/tags" Target="../tags/tag927.xml"/><Relationship Id="rId34" Type="http://schemas.openxmlformats.org/officeDocument/2006/relationships/chart" Target="../charts/chart43.xml"/><Relationship Id="rId7" Type="http://schemas.openxmlformats.org/officeDocument/2006/relationships/tags" Target="../tags/tag913.xml"/><Relationship Id="rId12" Type="http://schemas.openxmlformats.org/officeDocument/2006/relationships/tags" Target="../tags/tag918.xml"/><Relationship Id="rId17" Type="http://schemas.openxmlformats.org/officeDocument/2006/relationships/tags" Target="../tags/tag923.xml"/><Relationship Id="rId25" Type="http://schemas.openxmlformats.org/officeDocument/2006/relationships/tags" Target="../tags/tag931.xml"/><Relationship Id="rId33" Type="http://schemas.openxmlformats.org/officeDocument/2006/relationships/chart" Target="../charts/chart42.xml"/><Relationship Id="rId2" Type="http://schemas.openxmlformats.org/officeDocument/2006/relationships/tags" Target="../tags/tag908.xml"/><Relationship Id="rId16" Type="http://schemas.openxmlformats.org/officeDocument/2006/relationships/tags" Target="../tags/tag922.xml"/><Relationship Id="rId20" Type="http://schemas.openxmlformats.org/officeDocument/2006/relationships/tags" Target="../tags/tag926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30.vml"/><Relationship Id="rId6" Type="http://schemas.openxmlformats.org/officeDocument/2006/relationships/tags" Target="../tags/tag912.xml"/><Relationship Id="rId11" Type="http://schemas.openxmlformats.org/officeDocument/2006/relationships/tags" Target="../tags/tag917.xml"/><Relationship Id="rId24" Type="http://schemas.openxmlformats.org/officeDocument/2006/relationships/tags" Target="../tags/tag930.xml"/><Relationship Id="rId32" Type="http://schemas.openxmlformats.org/officeDocument/2006/relationships/image" Target="../media/image10.emf"/><Relationship Id="rId5" Type="http://schemas.openxmlformats.org/officeDocument/2006/relationships/tags" Target="../tags/tag911.xml"/><Relationship Id="rId15" Type="http://schemas.openxmlformats.org/officeDocument/2006/relationships/tags" Target="../tags/tag921.xml"/><Relationship Id="rId23" Type="http://schemas.openxmlformats.org/officeDocument/2006/relationships/tags" Target="../tags/tag929.xml"/><Relationship Id="rId28" Type="http://schemas.openxmlformats.org/officeDocument/2006/relationships/tags" Target="../tags/tag934.xml"/><Relationship Id="rId10" Type="http://schemas.openxmlformats.org/officeDocument/2006/relationships/tags" Target="../tags/tag916.xml"/><Relationship Id="rId19" Type="http://schemas.openxmlformats.org/officeDocument/2006/relationships/tags" Target="../tags/tag925.xml"/><Relationship Id="rId31" Type="http://schemas.openxmlformats.org/officeDocument/2006/relationships/oleObject" Target="../embeddings/oleObject30.bin"/><Relationship Id="rId4" Type="http://schemas.openxmlformats.org/officeDocument/2006/relationships/tags" Target="../tags/tag910.xml"/><Relationship Id="rId9" Type="http://schemas.openxmlformats.org/officeDocument/2006/relationships/tags" Target="../tags/tag915.xml"/><Relationship Id="rId14" Type="http://schemas.openxmlformats.org/officeDocument/2006/relationships/tags" Target="../tags/tag920.xml"/><Relationship Id="rId22" Type="http://schemas.openxmlformats.org/officeDocument/2006/relationships/tags" Target="../tags/tag928.xml"/><Relationship Id="rId27" Type="http://schemas.openxmlformats.org/officeDocument/2006/relationships/tags" Target="../tags/tag933.xml"/><Relationship Id="rId30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26" Type="http://schemas.openxmlformats.org/officeDocument/2006/relationships/tags" Target="../tags/tag959.xml"/><Relationship Id="rId21" Type="http://schemas.openxmlformats.org/officeDocument/2006/relationships/tags" Target="../tags/tag954.xml"/><Relationship Id="rId34" Type="http://schemas.openxmlformats.org/officeDocument/2006/relationships/tags" Target="../tags/tag967.xml"/><Relationship Id="rId42" Type="http://schemas.openxmlformats.org/officeDocument/2006/relationships/tags" Target="../tags/tag975.xml"/><Relationship Id="rId47" Type="http://schemas.openxmlformats.org/officeDocument/2006/relationships/tags" Target="../tags/tag980.xml"/><Relationship Id="rId50" Type="http://schemas.openxmlformats.org/officeDocument/2006/relationships/tags" Target="../tags/tag983.xml"/><Relationship Id="rId55" Type="http://schemas.openxmlformats.org/officeDocument/2006/relationships/tags" Target="../tags/tag988.xml"/><Relationship Id="rId63" Type="http://schemas.openxmlformats.org/officeDocument/2006/relationships/tags" Target="../tags/tag996.xml"/><Relationship Id="rId68" Type="http://schemas.openxmlformats.org/officeDocument/2006/relationships/tags" Target="../tags/tag1001.xml"/><Relationship Id="rId76" Type="http://schemas.openxmlformats.org/officeDocument/2006/relationships/tags" Target="../tags/tag1009.xml"/><Relationship Id="rId84" Type="http://schemas.openxmlformats.org/officeDocument/2006/relationships/tags" Target="../tags/tag1017.xml"/><Relationship Id="rId89" Type="http://schemas.openxmlformats.org/officeDocument/2006/relationships/tags" Target="../tags/tag1022.xml"/><Relationship Id="rId97" Type="http://schemas.openxmlformats.org/officeDocument/2006/relationships/tags" Target="../tags/tag1030.xml"/><Relationship Id="rId7" Type="http://schemas.openxmlformats.org/officeDocument/2006/relationships/tags" Target="../tags/tag940.xml"/><Relationship Id="rId71" Type="http://schemas.openxmlformats.org/officeDocument/2006/relationships/tags" Target="../tags/tag1004.xml"/><Relationship Id="rId92" Type="http://schemas.openxmlformats.org/officeDocument/2006/relationships/tags" Target="../tags/tag1025.xml"/><Relationship Id="rId2" Type="http://schemas.openxmlformats.org/officeDocument/2006/relationships/tags" Target="../tags/tag935.xml"/><Relationship Id="rId16" Type="http://schemas.openxmlformats.org/officeDocument/2006/relationships/tags" Target="../tags/tag949.xml"/><Relationship Id="rId29" Type="http://schemas.openxmlformats.org/officeDocument/2006/relationships/tags" Target="../tags/tag962.xml"/><Relationship Id="rId11" Type="http://schemas.openxmlformats.org/officeDocument/2006/relationships/tags" Target="../tags/tag944.xml"/><Relationship Id="rId24" Type="http://schemas.openxmlformats.org/officeDocument/2006/relationships/tags" Target="../tags/tag957.xml"/><Relationship Id="rId32" Type="http://schemas.openxmlformats.org/officeDocument/2006/relationships/tags" Target="../tags/tag965.xml"/><Relationship Id="rId37" Type="http://schemas.openxmlformats.org/officeDocument/2006/relationships/tags" Target="../tags/tag970.xml"/><Relationship Id="rId40" Type="http://schemas.openxmlformats.org/officeDocument/2006/relationships/tags" Target="../tags/tag973.xml"/><Relationship Id="rId45" Type="http://schemas.openxmlformats.org/officeDocument/2006/relationships/tags" Target="../tags/tag978.xml"/><Relationship Id="rId53" Type="http://schemas.openxmlformats.org/officeDocument/2006/relationships/tags" Target="../tags/tag986.xml"/><Relationship Id="rId58" Type="http://schemas.openxmlformats.org/officeDocument/2006/relationships/tags" Target="../tags/tag991.xml"/><Relationship Id="rId66" Type="http://schemas.openxmlformats.org/officeDocument/2006/relationships/tags" Target="../tags/tag999.xml"/><Relationship Id="rId74" Type="http://schemas.openxmlformats.org/officeDocument/2006/relationships/tags" Target="../tags/tag1007.xml"/><Relationship Id="rId79" Type="http://schemas.openxmlformats.org/officeDocument/2006/relationships/tags" Target="../tags/tag1012.xml"/><Relationship Id="rId87" Type="http://schemas.openxmlformats.org/officeDocument/2006/relationships/tags" Target="../tags/tag1020.xml"/><Relationship Id="rId5" Type="http://schemas.openxmlformats.org/officeDocument/2006/relationships/tags" Target="../tags/tag938.xml"/><Relationship Id="rId61" Type="http://schemas.openxmlformats.org/officeDocument/2006/relationships/tags" Target="../tags/tag994.xml"/><Relationship Id="rId82" Type="http://schemas.openxmlformats.org/officeDocument/2006/relationships/tags" Target="../tags/tag1015.xml"/><Relationship Id="rId90" Type="http://schemas.openxmlformats.org/officeDocument/2006/relationships/tags" Target="../tags/tag1023.xml"/><Relationship Id="rId95" Type="http://schemas.openxmlformats.org/officeDocument/2006/relationships/tags" Target="../tags/tag1028.xml"/><Relationship Id="rId19" Type="http://schemas.openxmlformats.org/officeDocument/2006/relationships/tags" Target="../tags/tag952.xml"/><Relationship Id="rId14" Type="http://schemas.openxmlformats.org/officeDocument/2006/relationships/tags" Target="../tags/tag947.xml"/><Relationship Id="rId22" Type="http://schemas.openxmlformats.org/officeDocument/2006/relationships/tags" Target="../tags/tag955.xml"/><Relationship Id="rId27" Type="http://schemas.openxmlformats.org/officeDocument/2006/relationships/tags" Target="../tags/tag960.xml"/><Relationship Id="rId30" Type="http://schemas.openxmlformats.org/officeDocument/2006/relationships/tags" Target="../tags/tag963.xml"/><Relationship Id="rId35" Type="http://schemas.openxmlformats.org/officeDocument/2006/relationships/tags" Target="../tags/tag968.xml"/><Relationship Id="rId43" Type="http://schemas.openxmlformats.org/officeDocument/2006/relationships/tags" Target="../tags/tag976.xml"/><Relationship Id="rId48" Type="http://schemas.openxmlformats.org/officeDocument/2006/relationships/tags" Target="../tags/tag981.xml"/><Relationship Id="rId56" Type="http://schemas.openxmlformats.org/officeDocument/2006/relationships/tags" Target="../tags/tag989.xml"/><Relationship Id="rId64" Type="http://schemas.openxmlformats.org/officeDocument/2006/relationships/tags" Target="../tags/tag997.xml"/><Relationship Id="rId69" Type="http://schemas.openxmlformats.org/officeDocument/2006/relationships/tags" Target="../tags/tag1002.xml"/><Relationship Id="rId77" Type="http://schemas.openxmlformats.org/officeDocument/2006/relationships/tags" Target="../tags/tag1010.xml"/><Relationship Id="rId100" Type="http://schemas.openxmlformats.org/officeDocument/2006/relationships/image" Target="../media/image15.emf"/><Relationship Id="rId8" Type="http://schemas.openxmlformats.org/officeDocument/2006/relationships/tags" Target="../tags/tag941.xml"/><Relationship Id="rId51" Type="http://schemas.openxmlformats.org/officeDocument/2006/relationships/tags" Target="../tags/tag984.xml"/><Relationship Id="rId72" Type="http://schemas.openxmlformats.org/officeDocument/2006/relationships/tags" Target="../tags/tag1005.xml"/><Relationship Id="rId80" Type="http://schemas.openxmlformats.org/officeDocument/2006/relationships/tags" Target="../tags/tag1013.xml"/><Relationship Id="rId85" Type="http://schemas.openxmlformats.org/officeDocument/2006/relationships/tags" Target="../tags/tag1018.xml"/><Relationship Id="rId93" Type="http://schemas.openxmlformats.org/officeDocument/2006/relationships/tags" Target="../tags/tag1026.xml"/><Relationship Id="rId98" Type="http://schemas.openxmlformats.org/officeDocument/2006/relationships/slideLayout" Target="../slideLayouts/slideLayout2.xml"/><Relationship Id="rId3" Type="http://schemas.openxmlformats.org/officeDocument/2006/relationships/tags" Target="../tags/tag936.xml"/><Relationship Id="rId12" Type="http://schemas.openxmlformats.org/officeDocument/2006/relationships/tags" Target="../tags/tag945.xml"/><Relationship Id="rId17" Type="http://schemas.openxmlformats.org/officeDocument/2006/relationships/tags" Target="../tags/tag950.xml"/><Relationship Id="rId25" Type="http://schemas.openxmlformats.org/officeDocument/2006/relationships/tags" Target="../tags/tag958.xml"/><Relationship Id="rId33" Type="http://schemas.openxmlformats.org/officeDocument/2006/relationships/tags" Target="../tags/tag966.xml"/><Relationship Id="rId38" Type="http://schemas.openxmlformats.org/officeDocument/2006/relationships/tags" Target="../tags/tag971.xml"/><Relationship Id="rId46" Type="http://schemas.openxmlformats.org/officeDocument/2006/relationships/tags" Target="../tags/tag979.xml"/><Relationship Id="rId59" Type="http://schemas.openxmlformats.org/officeDocument/2006/relationships/tags" Target="../tags/tag992.xml"/><Relationship Id="rId67" Type="http://schemas.openxmlformats.org/officeDocument/2006/relationships/tags" Target="../tags/tag1000.xml"/><Relationship Id="rId20" Type="http://schemas.openxmlformats.org/officeDocument/2006/relationships/tags" Target="../tags/tag953.xml"/><Relationship Id="rId41" Type="http://schemas.openxmlformats.org/officeDocument/2006/relationships/tags" Target="../tags/tag974.xml"/><Relationship Id="rId54" Type="http://schemas.openxmlformats.org/officeDocument/2006/relationships/tags" Target="../tags/tag987.xml"/><Relationship Id="rId62" Type="http://schemas.openxmlformats.org/officeDocument/2006/relationships/tags" Target="../tags/tag995.xml"/><Relationship Id="rId70" Type="http://schemas.openxmlformats.org/officeDocument/2006/relationships/tags" Target="../tags/tag1003.xml"/><Relationship Id="rId75" Type="http://schemas.openxmlformats.org/officeDocument/2006/relationships/tags" Target="../tags/tag1008.xml"/><Relationship Id="rId83" Type="http://schemas.openxmlformats.org/officeDocument/2006/relationships/tags" Target="../tags/tag1016.xml"/><Relationship Id="rId88" Type="http://schemas.openxmlformats.org/officeDocument/2006/relationships/tags" Target="../tags/tag1021.xml"/><Relationship Id="rId91" Type="http://schemas.openxmlformats.org/officeDocument/2006/relationships/tags" Target="../tags/tag1024.xml"/><Relationship Id="rId96" Type="http://schemas.openxmlformats.org/officeDocument/2006/relationships/tags" Target="../tags/tag1029.xml"/><Relationship Id="rId1" Type="http://schemas.openxmlformats.org/officeDocument/2006/relationships/vmlDrawing" Target="../drawings/vmlDrawing31.vml"/><Relationship Id="rId6" Type="http://schemas.openxmlformats.org/officeDocument/2006/relationships/tags" Target="../tags/tag939.xml"/><Relationship Id="rId15" Type="http://schemas.openxmlformats.org/officeDocument/2006/relationships/tags" Target="../tags/tag948.xml"/><Relationship Id="rId23" Type="http://schemas.openxmlformats.org/officeDocument/2006/relationships/tags" Target="../tags/tag956.xml"/><Relationship Id="rId28" Type="http://schemas.openxmlformats.org/officeDocument/2006/relationships/tags" Target="../tags/tag961.xml"/><Relationship Id="rId36" Type="http://schemas.openxmlformats.org/officeDocument/2006/relationships/tags" Target="../tags/tag969.xml"/><Relationship Id="rId49" Type="http://schemas.openxmlformats.org/officeDocument/2006/relationships/tags" Target="../tags/tag982.xml"/><Relationship Id="rId57" Type="http://schemas.openxmlformats.org/officeDocument/2006/relationships/tags" Target="../tags/tag990.xml"/><Relationship Id="rId10" Type="http://schemas.openxmlformats.org/officeDocument/2006/relationships/tags" Target="../tags/tag943.xml"/><Relationship Id="rId31" Type="http://schemas.openxmlformats.org/officeDocument/2006/relationships/tags" Target="../tags/tag964.xml"/><Relationship Id="rId44" Type="http://schemas.openxmlformats.org/officeDocument/2006/relationships/tags" Target="../tags/tag977.xml"/><Relationship Id="rId52" Type="http://schemas.openxmlformats.org/officeDocument/2006/relationships/tags" Target="../tags/tag985.xml"/><Relationship Id="rId60" Type="http://schemas.openxmlformats.org/officeDocument/2006/relationships/tags" Target="../tags/tag993.xml"/><Relationship Id="rId65" Type="http://schemas.openxmlformats.org/officeDocument/2006/relationships/tags" Target="../tags/tag998.xml"/><Relationship Id="rId73" Type="http://schemas.openxmlformats.org/officeDocument/2006/relationships/tags" Target="../tags/tag1006.xml"/><Relationship Id="rId78" Type="http://schemas.openxmlformats.org/officeDocument/2006/relationships/tags" Target="../tags/tag1011.xml"/><Relationship Id="rId81" Type="http://schemas.openxmlformats.org/officeDocument/2006/relationships/tags" Target="../tags/tag1014.xml"/><Relationship Id="rId86" Type="http://schemas.openxmlformats.org/officeDocument/2006/relationships/tags" Target="../tags/tag1019.xml"/><Relationship Id="rId94" Type="http://schemas.openxmlformats.org/officeDocument/2006/relationships/tags" Target="../tags/tag1027.xml"/><Relationship Id="rId99" Type="http://schemas.openxmlformats.org/officeDocument/2006/relationships/oleObject" Target="../embeddings/oleObject31.bin"/><Relationship Id="rId101" Type="http://schemas.openxmlformats.org/officeDocument/2006/relationships/image" Target="../media/image18.png"/><Relationship Id="rId4" Type="http://schemas.openxmlformats.org/officeDocument/2006/relationships/tags" Target="../tags/tag937.xml"/><Relationship Id="rId9" Type="http://schemas.openxmlformats.org/officeDocument/2006/relationships/tags" Target="../tags/tag942.xml"/><Relationship Id="rId13" Type="http://schemas.openxmlformats.org/officeDocument/2006/relationships/tags" Target="../tags/tag946.xml"/><Relationship Id="rId18" Type="http://schemas.openxmlformats.org/officeDocument/2006/relationships/tags" Target="../tags/tag951.xml"/><Relationship Id="rId39" Type="http://schemas.openxmlformats.org/officeDocument/2006/relationships/tags" Target="../tags/tag97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037.xml"/><Relationship Id="rId13" Type="http://schemas.openxmlformats.org/officeDocument/2006/relationships/oleObject" Target="../embeddings/oleObject32.bin"/><Relationship Id="rId3" Type="http://schemas.openxmlformats.org/officeDocument/2006/relationships/tags" Target="../tags/tag1032.xml"/><Relationship Id="rId7" Type="http://schemas.openxmlformats.org/officeDocument/2006/relationships/tags" Target="../tags/tag1036.xml"/><Relationship Id="rId12" Type="http://schemas.openxmlformats.org/officeDocument/2006/relationships/notesSlide" Target="../notesSlides/notesSlide11.xml"/><Relationship Id="rId2" Type="http://schemas.openxmlformats.org/officeDocument/2006/relationships/tags" Target="../tags/tag1031.xml"/><Relationship Id="rId1" Type="http://schemas.openxmlformats.org/officeDocument/2006/relationships/vmlDrawing" Target="../drawings/vmlDrawing32.vml"/><Relationship Id="rId6" Type="http://schemas.openxmlformats.org/officeDocument/2006/relationships/tags" Target="../tags/tag103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034.xml"/><Relationship Id="rId15" Type="http://schemas.openxmlformats.org/officeDocument/2006/relationships/chart" Target="../charts/chart44.xml"/><Relationship Id="rId10" Type="http://schemas.openxmlformats.org/officeDocument/2006/relationships/tags" Target="../tags/tag1039.xml"/><Relationship Id="rId4" Type="http://schemas.openxmlformats.org/officeDocument/2006/relationships/tags" Target="../tags/tag1033.xml"/><Relationship Id="rId9" Type="http://schemas.openxmlformats.org/officeDocument/2006/relationships/tags" Target="../tags/tag1038.xml"/><Relationship Id="rId14" Type="http://schemas.openxmlformats.org/officeDocument/2006/relationships/image" Target="../media/image10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046.xml"/><Relationship Id="rId13" Type="http://schemas.openxmlformats.org/officeDocument/2006/relationships/tags" Target="../tags/tag1051.xml"/><Relationship Id="rId18" Type="http://schemas.openxmlformats.org/officeDocument/2006/relationships/tags" Target="../tags/tag1056.xml"/><Relationship Id="rId26" Type="http://schemas.openxmlformats.org/officeDocument/2006/relationships/oleObject" Target="../embeddings/oleObject33.bin"/><Relationship Id="rId3" Type="http://schemas.openxmlformats.org/officeDocument/2006/relationships/tags" Target="../tags/tag1041.xml"/><Relationship Id="rId21" Type="http://schemas.openxmlformats.org/officeDocument/2006/relationships/tags" Target="../tags/tag1059.xml"/><Relationship Id="rId7" Type="http://schemas.openxmlformats.org/officeDocument/2006/relationships/tags" Target="../tags/tag1045.xml"/><Relationship Id="rId12" Type="http://schemas.openxmlformats.org/officeDocument/2006/relationships/tags" Target="../tags/tag1050.xml"/><Relationship Id="rId17" Type="http://schemas.openxmlformats.org/officeDocument/2006/relationships/tags" Target="../tags/tag1055.xml"/><Relationship Id="rId25" Type="http://schemas.openxmlformats.org/officeDocument/2006/relationships/notesSlide" Target="../notesSlides/notesSlide12.xml"/><Relationship Id="rId2" Type="http://schemas.openxmlformats.org/officeDocument/2006/relationships/tags" Target="../tags/tag1040.xml"/><Relationship Id="rId16" Type="http://schemas.openxmlformats.org/officeDocument/2006/relationships/tags" Target="../tags/tag1054.xml"/><Relationship Id="rId20" Type="http://schemas.openxmlformats.org/officeDocument/2006/relationships/tags" Target="../tags/tag1058.xml"/><Relationship Id="rId29" Type="http://schemas.openxmlformats.org/officeDocument/2006/relationships/chart" Target="../charts/chart46.xml"/><Relationship Id="rId1" Type="http://schemas.openxmlformats.org/officeDocument/2006/relationships/vmlDrawing" Target="../drawings/vmlDrawing33.vml"/><Relationship Id="rId6" Type="http://schemas.openxmlformats.org/officeDocument/2006/relationships/tags" Target="../tags/tag1044.xml"/><Relationship Id="rId11" Type="http://schemas.openxmlformats.org/officeDocument/2006/relationships/tags" Target="../tags/tag1049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1043.xml"/><Relationship Id="rId15" Type="http://schemas.openxmlformats.org/officeDocument/2006/relationships/tags" Target="../tags/tag1053.xml"/><Relationship Id="rId23" Type="http://schemas.openxmlformats.org/officeDocument/2006/relationships/tags" Target="../tags/tag1061.xml"/><Relationship Id="rId28" Type="http://schemas.openxmlformats.org/officeDocument/2006/relationships/chart" Target="../charts/chart45.xml"/><Relationship Id="rId10" Type="http://schemas.openxmlformats.org/officeDocument/2006/relationships/tags" Target="../tags/tag1048.xml"/><Relationship Id="rId19" Type="http://schemas.openxmlformats.org/officeDocument/2006/relationships/tags" Target="../tags/tag1057.xml"/><Relationship Id="rId4" Type="http://schemas.openxmlformats.org/officeDocument/2006/relationships/tags" Target="../tags/tag1042.xml"/><Relationship Id="rId9" Type="http://schemas.openxmlformats.org/officeDocument/2006/relationships/tags" Target="../tags/tag1047.xml"/><Relationship Id="rId14" Type="http://schemas.openxmlformats.org/officeDocument/2006/relationships/tags" Target="../tags/tag1052.xml"/><Relationship Id="rId22" Type="http://schemas.openxmlformats.org/officeDocument/2006/relationships/tags" Target="../tags/tag1060.xml"/><Relationship Id="rId27" Type="http://schemas.openxmlformats.org/officeDocument/2006/relationships/image" Target="../media/image10.emf"/><Relationship Id="rId30" Type="http://schemas.openxmlformats.org/officeDocument/2006/relationships/chart" Target="../charts/chart4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oleObject" Target="../embeddings/oleObject16.bin"/><Relationship Id="rId3" Type="http://schemas.openxmlformats.org/officeDocument/2006/relationships/tags" Target="../tags/tag84.xml"/><Relationship Id="rId21" Type="http://schemas.openxmlformats.org/officeDocument/2006/relationships/tags" Target="../tags/tag102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notesSlide" Target="../notesSlides/notesSlide2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29" Type="http://schemas.openxmlformats.org/officeDocument/2006/relationships/chart" Target="../charts/chart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chart" Target="../charts/chart3.xml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image" Target="../media/image10.emf"/><Relationship Id="rId30" Type="http://schemas.openxmlformats.org/officeDocument/2006/relationships/chart" Target="../charts/char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068.xml"/><Relationship Id="rId13" Type="http://schemas.openxmlformats.org/officeDocument/2006/relationships/notesSlide" Target="../notesSlides/notesSlide13.xml"/><Relationship Id="rId18" Type="http://schemas.openxmlformats.org/officeDocument/2006/relationships/chart" Target="../charts/chart50.xml"/><Relationship Id="rId3" Type="http://schemas.openxmlformats.org/officeDocument/2006/relationships/tags" Target="../tags/tag1063.xml"/><Relationship Id="rId7" Type="http://schemas.openxmlformats.org/officeDocument/2006/relationships/tags" Target="../tags/tag1067.xml"/><Relationship Id="rId12" Type="http://schemas.openxmlformats.org/officeDocument/2006/relationships/slideLayout" Target="../slideLayouts/slideLayout2.xml"/><Relationship Id="rId17" Type="http://schemas.openxmlformats.org/officeDocument/2006/relationships/chart" Target="../charts/chart49.xml"/><Relationship Id="rId2" Type="http://schemas.openxmlformats.org/officeDocument/2006/relationships/tags" Target="../tags/tag1062.xml"/><Relationship Id="rId16" Type="http://schemas.openxmlformats.org/officeDocument/2006/relationships/chart" Target="../charts/chart48.xml"/><Relationship Id="rId1" Type="http://schemas.openxmlformats.org/officeDocument/2006/relationships/vmlDrawing" Target="../drawings/vmlDrawing34.vml"/><Relationship Id="rId6" Type="http://schemas.openxmlformats.org/officeDocument/2006/relationships/tags" Target="../tags/tag1066.xml"/><Relationship Id="rId11" Type="http://schemas.openxmlformats.org/officeDocument/2006/relationships/tags" Target="../tags/tag1071.xml"/><Relationship Id="rId5" Type="http://schemas.openxmlformats.org/officeDocument/2006/relationships/tags" Target="../tags/tag1065.xml"/><Relationship Id="rId15" Type="http://schemas.openxmlformats.org/officeDocument/2006/relationships/image" Target="../media/image10.emf"/><Relationship Id="rId10" Type="http://schemas.openxmlformats.org/officeDocument/2006/relationships/tags" Target="../tags/tag1070.xml"/><Relationship Id="rId4" Type="http://schemas.openxmlformats.org/officeDocument/2006/relationships/tags" Target="../tags/tag1064.xml"/><Relationship Id="rId9" Type="http://schemas.openxmlformats.org/officeDocument/2006/relationships/tags" Target="../tags/tag1069.xml"/><Relationship Id="rId14" Type="http://schemas.openxmlformats.org/officeDocument/2006/relationships/oleObject" Target="../embeddings/oleObject34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078.xml"/><Relationship Id="rId13" Type="http://schemas.openxmlformats.org/officeDocument/2006/relationships/tags" Target="../tags/tag1083.xml"/><Relationship Id="rId18" Type="http://schemas.openxmlformats.org/officeDocument/2006/relationships/tags" Target="../tags/tag1088.xml"/><Relationship Id="rId26" Type="http://schemas.openxmlformats.org/officeDocument/2006/relationships/oleObject" Target="../embeddings/oleObject35.bin"/><Relationship Id="rId3" Type="http://schemas.openxmlformats.org/officeDocument/2006/relationships/tags" Target="../tags/tag1073.xml"/><Relationship Id="rId21" Type="http://schemas.openxmlformats.org/officeDocument/2006/relationships/tags" Target="../tags/tag1091.xml"/><Relationship Id="rId7" Type="http://schemas.openxmlformats.org/officeDocument/2006/relationships/tags" Target="../tags/tag1077.xml"/><Relationship Id="rId12" Type="http://schemas.openxmlformats.org/officeDocument/2006/relationships/tags" Target="../tags/tag1082.xml"/><Relationship Id="rId17" Type="http://schemas.openxmlformats.org/officeDocument/2006/relationships/tags" Target="../tags/tag1087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1072.xml"/><Relationship Id="rId16" Type="http://schemas.openxmlformats.org/officeDocument/2006/relationships/tags" Target="../tags/tag1086.xml"/><Relationship Id="rId20" Type="http://schemas.openxmlformats.org/officeDocument/2006/relationships/tags" Target="../tags/tag1090.xml"/><Relationship Id="rId1" Type="http://schemas.openxmlformats.org/officeDocument/2006/relationships/vmlDrawing" Target="../drawings/vmlDrawing35.vml"/><Relationship Id="rId6" Type="http://schemas.openxmlformats.org/officeDocument/2006/relationships/tags" Target="../tags/tag1076.xml"/><Relationship Id="rId11" Type="http://schemas.openxmlformats.org/officeDocument/2006/relationships/tags" Target="../tags/tag1081.xml"/><Relationship Id="rId24" Type="http://schemas.openxmlformats.org/officeDocument/2006/relationships/tags" Target="../tags/tag1094.xml"/><Relationship Id="rId5" Type="http://schemas.openxmlformats.org/officeDocument/2006/relationships/tags" Target="../tags/tag1075.xml"/><Relationship Id="rId15" Type="http://schemas.openxmlformats.org/officeDocument/2006/relationships/tags" Target="../tags/tag1085.xml"/><Relationship Id="rId23" Type="http://schemas.openxmlformats.org/officeDocument/2006/relationships/tags" Target="../tags/tag1093.xml"/><Relationship Id="rId28" Type="http://schemas.openxmlformats.org/officeDocument/2006/relationships/chart" Target="../charts/chart51.xml"/><Relationship Id="rId10" Type="http://schemas.openxmlformats.org/officeDocument/2006/relationships/tags" Target="../tags/tag1080.xml"/><Relationship Id="rId19" Type="http://schemas.openxmlformats.org/officeDocument/2006/relationships/tags" Target="../tags/tag1089.xml"/><Relationship Id="rId4" Type="http://schemas.openxmlformats.org/officeDocument/2006/relationships/tags" Target="../tags/tag1074.xml"/><Relationship Id="rId9" Type="http://schemas.openxmlformats.org/officeDocument/2006/relationships/tags" Target="../tags/tag1079.xml"/><Relationship Id="rId14" Type="http://schemas.openxmlformats.org/officeDocument/2006/relationships/tags" Target="../tags/tag1084.xml"/><Relationship Id="rId22" Type="http://schemas.openxmlformats.org/officeDocument/2006/relationships/tags" Target="../tags/tag1092.xml"/><Relationship Id="rId27" Type="http://schemas.openxmlformats.org/officeDocument/2006/relationships/image" Target="../media/image16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101.xml"/><Relationship Id="rId13" Type="http://schemas.openxmlformats.org/officeDocument/2006/relationships/tags" Target="../tags/tag1106.xml"/><Relationship Id="rId18" Type="http://schemas.openxmlformats.org/officeDocument/2006/relationships/tags" Target="../tags/tag1111.xml"/><Relationship Id="rId26" Type="http://schemas.openxmlformats.org/officeDocument/2006/relationships/tags" Target="../tags/tag1119.xml"/><Relationship Id="rId3" Type="http://schemas.openxmlformats.org/officeDocument/2006/relationships/tags" Target="../tags/tag1096.xml"/><Relationship Id="rId21" Type="http://schemas.openxmlformats.org/officeDocument/2006/relationships/tags" Target="../tags/tag1114.xml"/><Relationship Id="rId34" Type="http://schemas.openxmlformats.org/officeDocument/2006/relationships/tags" Target="../tags/tag1127.xml"/><Relationship Id="rId7" Type="http://schemas.openxmlformats.org/officeDocument/2006/relationships/tags" Target="../tags/tag1100.xml"/><Relationship Id="rId12" Type="http://schemas.openxmlformats.org/officeDocument/2006/relationships/tags" Target="../tags/tag1105.xml"/><Relationship Id="rId17" Type="http://schemas.openxmlformats.org/officeDocument/2006/relationships/tags" Target="../tags/tag1110.xml"/><Relationship Id="rId25" Type="http://schemas.openxmlformats.org/officeDocument/2006/relationships/tags" Target="../tags/tag1118.xml"/><Relationship Id="rId33" Type="http://schemas.openxmlformats.org/officeDocument/2006/relationships/tags" Target="../tags/tag1126.xml"/><Relationship Id="rId38" Type="http://schemas.openxmlformats.org/officeDocument/2006/relationships/chart" Target="../charts/chart52.xml"/><Relationship Id="rId2" Type="http://schemas.openxmlformats.org/officeDocument/2006/relationships/tags" Target="../tags/tag1095.xml"/><Relationship Id="rId16" Type="http://schemas.openxmlformats.org/officeDocument/2006/relationships/tags" Target="../tags/tag1109.xml"/><Relationship Id="rId20" Type="http://schemas.openxmlformats.org/officeDocument/2006/relationships/tags" Target="../tags/tag1113.xml"/><Relationship Id="rId29" Type="http://schemas.openxmlformats.org/officeDocument/2006/relationships/tags" Target="../tags/tag1122.xml"/><Relationship Id="rId1" Type="http://schemas.openxmlformats.org/officeDocument/2006/relationships/vmlDrawing" Target="../drawings/vmlDrawing36.vml"/><Relationship Id="rId6" Type="http://schemas.openxmlformats.org/officeDocument/2006/relationships/tags" Target="../tags/tag1099.xml"/><Relationship Id="rId11" Type="http://schemas.openxmlformats.org/officeDocument/2006/relationships/tags" Target="../tags/tag1104.xml"/><Relationship Id="rId24" Type="http://schemas.openxmlformats.org/officeDocument/2006/relationships/tags" Target="../tags/tag1117.xml"/><Relationship Id="rId32" Type="http://schemas.openxmlformats.org/officeDocument/2006/relationships/tags" Target="../tags/tag1125.xml"/><Relationship Id="rId37" Type="http://schemas.openxmlformats.org/officeDocument/2006/relationships/image" Target="../media/image16.emf"/><Relationship Id="rId5" Type="http://schemas.openxmlformats.org/officeDocument/2006/relationships/tags" Target="../tags/tag1098.xml"/><Relationship Id="rId15" Type="http://schemas.openxmlformats.org/officeDocument/2006/relationships/tags" Target="../tags/tag1108.xml"/><Relationship Id="rId23" Type="http://schemas.openxmlformats.org/officeDocument/2006/relationships/tags" Target="../tags/tag1116.xml"/><Relationship Id="rId28" Type="http://schemas.openxmlformats.org/officeDocument/2006/relationships/tags" Target="../tags/tag1121.xml"/><Relationship Id="rId36" Type="http://schemas.openxmlformats.org/officeDocument/2006/relationships/oleObject" Target="../embeddings/oleObject36.bin"/><Relationship Id="rId10" Type="http://schemas.openxmlformats.org/officeDocument/2006/relationships/tags" Target="../tags/tag1103.xml"/><Relationship Id="rId19" Type="http://schemas.openxmlformats.org/officeDocument/2006/relationships/tags" Target="../tags/tag1112.xml"/><Relationship Id="rId31" Type="http://schemas.openxmlformats.org/officeDocument/2006/relationships/tags" Target="../tags/tag1124.xml"/><Relationship Id="rId4" Type="http://schemas.openxmlformats.org/officeDocument/2006/relationships/tags" Target="../tags/tag1097.xml"/><Relationship Id="rId9" Type="http://schemas.openxmlformats.org/officeDocument/2006/relationships/tags" Target="../tags/tag1102.xml"/><Relationship Id="rId14" Type="http://schemas.openxmlformats.org/officeDocument/2006/relationships/tags" Target="../tags/tag1107.xml"/><Relationship Id="rId22" Type="http://schemas.openxmlformats.org/officeDocument/2006/relationships/tags" Target="../tags/tag1115.xml"/><Relationship Id="rId27" Type="http://schemas.openxmlformats.org/officeDocument/2006/relationships/tags" Target="../tags/tag1120.xml"/><Relationship Id="rId30" Type="http://schemas.openxmlformats.org/officeDocument/2006/relationships/tags" Target="../tags/tag1123.xml"/><Relationship Id="rId35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134.xml"/><Relationship Id="rId13" Type="http://schemas.openxmlformats.org/officeDocument/2006/relationships/tags" Target="../tags/tag1139.xml"/><Relationship Id="rId18" Type="http://schemas.openxmlformats.org/officeDocument/2006/relationships/tags" Target="../tags/tag1144.xml"/><Relationship Id="rId26" Type="http://schemas.openxmlformats.org/officeDocument/2006/relationships/chart" Target="../charts/chart53.xml"/><Relationship Id="rId3" Type="http://schemas.openxmlformats.org/officeDocument/2006/relationships/tags" Target="../tags/tag1129.xml"/><Relationship Id="rId21" Type="http://schemas.openxmlformats.org/officeDocument/2006/relationships/tags" Target="../tags/tag1147.xml"/><Relationship Id="rId7" Type="http://schemas.openxmlformats.org/officeDocument/2006/relationships/tags" Target="../tags/tag1133.xml"/><Relationship Id="rId12" Type="http://schemas.openxmlformats.org/officeDocument/2006/relationships/tags" Target="../tags/tag1138.xml"/><Relationship Id="rId17" Type="http://schemas.openxmlformats.org/officeDocument/2006/relationships/tags" Target="../tags/tag1143.xml"/><Relationship Id="rId25" Type="http://schemas.openxmlformats.org/officeDocument/2006/relationships/image" Target="../media/image15.emf"/><Relationship Id="rId2" Type="http://schemas.openxmlformats.org/officeDocument/2006/relationships/tags" Target="../tags/tag1128.xml"/><Relationship Id="rId16" Type="http://schemas.openxmlformats.org/officeDocument/2006/relationships/tags" Target="../tags/tag1142.xml"/><Relationship Id="rId20" Type="http://schemas.openxmlformats.org/officeDocument/2006/relationships/tags" Target="../tags/tag1146.xml"/><Relationship Id="rId1" Type="http://schemas.openxmlformats.org/officeDocument/2006/relationships/vmlDrawing" Target="../drawings/vmlDrawing37.vml"/><Relationship Id="rId6" Type="http://schemas.openxmlformats.org/officeDocument/2006/relationships/tags" Target="../tags/tag1132.xml"/><Relationship Id="rId11" Type="http://schemas.openxmlformats.org/officeDocument/2006/relationships/tags" Target="../tags/tag1137.xml"/><Relationship Id="rId24" Type="http://schemas.openxmlformats.org/officeDocument/2006/relationships/oleObject" Target="../embeddings/oleObject37.bin"/><Relationship Id="rId5" Type="http://schemas.openxmlformats.org/officeDocument/2006/relationships/tags" Target="../tags/tag1131.xml"/><Relationship Id="rId15" Type="http://schemas.openxmlformats.org/officeDocument/2006/relationships/tags" Target="../tags/tag1141.xml"/><Relationship Id="rId23" Type="http://schemas.openxmlformats.org/officeDocument/2006/relationships/notesSlide" Target="../notesSlides/notesSlide14.xml"/><Relationship Id="rId10" Type="http://schemas.openxmlformats.org/officeDocument/2006/relationships/tags" Target="../tags/tag1136.xml"/><Relationship Id="rId19" Type="http://schemas.openxmlformats.org/officeDocument/2006/relationships/tags" Target="../tags/tag1145.xml"/><Relationship Id="rId4" Type="http://schemas.openxmlformats.org/officeDocument/2006/relationships/tags" Target="../tags/tag1130.xml"/><Relationship Id="rId9" Type="http://schemas.openxmlformats.org/officeDocument/2006/relationships/tags" Target="../tags/tag1135.xml"/><Relationship Id="rId14" Type="http://schemas.openxmlformats.org/officeDocument/2006/relationships/tags" Target="../tags/tag1140.xml"/><Relationship Id="rId22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154.xml"/><Relationship Id="rId13" Type="http://schemas.openxmlformats.org/officeDocument/2006/relationships/tags" Target="../tags/tag1159.xml"/><Relationship Id="rId18" Type="http://schemas.openxmlformats.org/officeDocument/2006/relationships/tags" Target="../tags/tag1164.xml"/><Relationship Id="rId26" Type="http://schemas.openxmlformats.org/officeDocument/2006/relationships/tags" Target="../tags/tag1172.xml"/><Relationship Id="rId39" Type="http://schemas.openxmlformats.org/officeDocument/2006/relationships/slideLayout" Target="../slideLayouts/slideLayout2.xml"/><Relationship Id="rId3" Type="http://schemas.openxmlformats.org/officeDocument/2006/relationships/tags" Target="../tags/tag1149.xml"/><Relationship Id="rId21" Type="http://schemas.openxmlformats.org/officeDocument/2006/relationships/tags" Target="../tags/tag1167.xml"/><Relationship Id="rId34" Type="http://schemas.openxmlformats.org/officeDocument/2006/relationships/tags" Target="../tags/tag1180.xml"/><Relationship Id="rId42" Type="http://schemas.openxmlformats.org/officeDocument/2006/relationships/image" Target="../media/image15.emf"/><Relationship Id="rId7" Type="http://schemas.openxmlformats.org/officeDocument/2006/relationships/tags" Target="../tags/tag1153.xml"/><Relationship Id="rId12" Type="http://schemas.openxmlformats.org/officeDocument/2006/relationships/tags" Target="../tags/tag1158.xml"/><Relationship Id="rId17" Type="http://schemas.openxmlformats.org/officeDocument/2006/relationships/tags" Target="../tags/tag1163.xml"/><Relationship Id="rId25" Type="http://schemas.openxmlformats.org/officeDocument/2006/relationships/tags" Target="../tags/tag1171.xml"/><Relationship Id="rId33" Type="http://schemas.openxmlformats.org/officeDocument/2006/relationships/tags" Target="../tags/tag1179.xml"/><Relationship Id="rId38" Type="http://schemas.openxmlformats.org/officeDocument/2006/relationships/tags" Target="../tags/tag1184.xml"/><Relationship Id="rId2" Type="http://schemas.openxmlformats.org/officeDocument/2006/relationships/tags" Target="../tags/tag1148.xml"/><Relationship Id="rId16" Type="http://schemas.openxmlformats.org/officeDocument/2006/relationships/tags" Target="../tags/tag1162.xml"/><Relationship Id="rId20" Type="http://schemas.openxmlformats.org/officeDocument/2006/relationships/tags" Target="../tags/tag1166.xml"/><Relationship Id="rId29" Type="http://schemas.openxmlformats.org/officeDocument/2006/relationships/tags" Target="../tags/tag1175.xml"/><Relationship Id="rId41" Type="http://schemas.openxmlformats.org/officeDocument/2006/relationships/oleObject" Target="../embeddings/oleObject38.bin"/><Relationship Id="rId1" Type="http://schemas.openxmlformats.org/officeDocument/2006/relationships/vmlDrawing" Target="../drawings/vmlDrawing38.vml"/><Relationship Id="rId6" Type="http://schemas.openxmlformats.org/officeDocument/2006/relationships/tags" Target="../tags/tag1152.xml"/><Relationship Id="rId11" Type="http://schemas.openxmlformats.org/officeDocument/2006/relationships/tags" Target="../tags/tag1157.xml"/><Relationship Id="rId24" Type="http://schemas.openxmlformats.org/officeDocument/2006/relationships/tags" Target="../tags/tag1170.xml"/><Relationship Id="rId32" Type="http://schemas.openxmlformats.org/officeDocument/2006/relationships/tags" Target="../tags/tag1178.xml"/><Relationship Id="rId37" Type="http://schemas.openxmlformats.org/officeDocument/2006/relationships/tags" Target="../tags/tag1183.xml"/><Relationship Id="rId40" Type="http://schemas.openxmlformats.org/officeDocument/2006/relationships/notesSlide" Target="../notesSlides/notesSlide15.xml"/><Relationship Id="rId45" Type="http://schemas.openxmlformats.org/officeDocument/2006/relationships/chart" Target="../charts/chart56.xml"/><Relationship Id="rId5" Type="http://schemas.openxmlformats.org/officeDocument/2006/relationships/tags" Target="../tags/tag1151.xml"/><Relationship Id="rId15" Type="http://schemas.openxmlformats.org/officeDocument/2006/relationships/tags" Target="../tags/tag1161.xml"/><Relationship Id="rId23" Type="http://schemas.openxmlformats.org/officeDocument/2006/relationships/tags" Target="../tags/tag1169.xml"/><Relationship Id="rId28" Type="http://schemas.openxmlformats.org/officeDocument/2006/relationships/tags" Target="../tags/tag1174.xml"/><Relationship Id="rId36" Type="http://schemas.openxmlformats.org/officeDocument/2006/relationships/tags" Target="../tags/tag1182.xml"/><Relationship Id="rId10" Type="http://schemas.openxmlformats.org/officeDocument/2006/relationships/tags" Target="../tags/tag1156.xml"/><Relationship Id="rId19" Type="http://schemas.openxmlformats.org/officeDocument/2006/relationships/tags" Target="../tags/tag1165.xml"/><Relationship Id="rId31" Type="http://schemas.openxmlformats.org/officeDocument/2006/relationships/tags" Target="../tags/tag1177.xml"/><Relationship Id="rId44" Type="http://schemas.openxmlformats.org/officeDocument/2006/relationships/chart" Target="../charts/chart55.xml"/><Relationship Id="rId4" Type="http://schemas.openxmlformats.org/officeDocument/2006/relationships/tags" Target="../tags/tag1150.xml"/><Relationship Id="rId9" Type="http://schemas.openxmlformats.org/officeDocument/2006/relationships/tags" Target="../tags/tag1155.xml"/><Relationship Id="rId14" Type="http://schemas.openxmlformats.org/officeDocument/2006/relationships/tags" Target="../tags/tag1160.xml"/><Relationship Id="rId22" Type="http://schemas.openxmlformats.org/officeDocument/2006/relationships/tags" Target="../tags/tag1168.xml"/><Relationship Id="rId27" Type="http://schemas.openxmlformats.org/officeDocument/2006/relationships/tags" Target="../tags/tag1173.xml"/><Relationship Id="rId30" Type="http://schemas.openxmlformats.org/officeDocument/2006/relationships/tags" Target="../tags/tag1176.xml"/><Relationship Id="rId35" Type="http://schemas.openxmlformats.org/officeDocument/2006/relationships/tags" Target="../tags/tag1181.xml"/><Relationship Id="rId43" Type="http://schemas.openxmlformats.org/officeDocument/2006/relationships/chart" Target="../charts/chart54.xml"/></Relationships>
</file>

<file path=ppt/slides/_rels/slide25.xml.rels><?xml version="1.0" encoding="UTF-8" standalone="yes"?>
<Relationships xmlns="http://schemas.openxmlformats.org/package/2006/relationships"><Relationship Id="rId117" Type="http://schemas.openxmlformats.org/officeDocument/2006/relationships/tags" Target="../tags/tag1300.xml"/><Relationship Id="rId21" Type="http://schemas.openxmlformats.org/officeDocument/2006/relationships/tags" Target="../tags/tag1204.xml"/><Relationship Id="rId42" Type="http://schemas.openxmlformats.org/officeDocument/2006/relationships/tags" Target="../tags/tag1225.xml"/><Relationship Id="rId63" Type="http://schemas.openxmlformats.org/officeDocument/2006/relationships/tags" Target="../tags/tag1246.xml"/><Relationship Id="rId84" Type="http://schemas.openxmlformats.org/officeDocument/2006/relationships/tags" Target="../tags/tag1267.xml"/><Relationship Id="rId138" Type="http://schemas.openxmlformats.org/officeDocument/2006/relationships/tags" Target="../tags/tag1321.xml"/><Relationship Id="rId159" Type="http://schemas.openxmlformats.org/officeDocument/2006/relationships/tags" Target="../tags/tag1342.xml"/><Relationship Id="rId170" Type="http://schemas.openxmlformats.org/officeDocument/2006/relationships/tags" Target="../tags/tag1353.xml"/><Relationship Id="rId191" Type="http://schemas.openxmlformats.org/officeDocument/2006/relationships/tags" Target="../tags/tag1374.xml"/><Relationship Id="rId205" Type="http://schemas.openxmlformats.org/officeDocument/2006/relationships/tags" Target="../tags/tag1388.xml"/><Relationship Id="rId107" Type="http://schemas.openxmlformats.org/officeDocument/2006/relationships/tags" Target="../tags/tag1290.xml"/><Relationship Id="rId11" Type="http://schemas.openxmlformats.org/officeDocument/2006/relationships/tags" Target="../tags/tag1194.xml"/><Relationship Id="rId32" Type="http://schemas.openxmlformats.org/officeDocument/2006/relationships/tags" Target="../tags/tag1215.xml"/><Relationship Id="rId53" Type="http://schemas.openxmlformats.org/officeDocument/2006/relationships/tags" Target="../tags/tag1236.xml"/><Relationship Id="rId74" Type="http://schemas.openxmlformats.org/officeDocument/2006/relationships/tags" Target="../tags/tag1257.xml"/><Relationship Id="rId128" Type="http://schemas.openxmlformats.org/officeDocument/2006/relationships/tags" Target="../tags/tag1311.xml"/><Relationship Id="rId149" Type="http://schemas.openxmlformats.org/officeDocument/2006/relationships/tags" Target="../tags/tag1332.xml"/><Relationship Id="rId5" Type="http://schemas.openxmlformats.org/officeDocument/2006/relationships/tags" Target="../tags/tag1188.xml"/><Relationship Id="rId95" Type="http://schemas.openxmlformats.org/officeDocument/2006/relationships/tags" Target="../tags/tag1278.xml"/><Relationship Id="rId160" Type="http://schemas.openxmlformats.org/officeDocument/2006/relationships/tags" Target="../tags/tag1343.xml"/><Relationship Id="rId181" Type="http://schemas.openxmlformats.org/officeDocument/2006/relationships/tags" Target="../tags/tag1364.xml"/><Relationship Id="rId216" Type="http://schemas.openxmlformats.org/officeDocument/2006/relationships/chart" Target="../charts/chart57.xml"/><Relationship Id="rId211" Type="http://schemas.openxmlformats.org/officeDocument/2006/relationships/tags" Target="../tags/tag1394.xml"/><Relationship Id="rId22" Type="http://schemas.openxmlformats.org/officeDocument/2006/relationships/tags" Target="../tags/tag1205.xml"/><Relationship Id="rId27" Type="http://schemas.openxmlformats.org/officeDocument/2006/relationships/tags" Target="../tags/tag1210.xml"/><Relationship Id="rId43" Type="http://schemas.openxmlformats.org/officeDocument/2006/relationships/tags" Target="../tags/tag1226.xml"/><Relationship Id="rId48" Type="http://schemas.openxmlformats.org/officeDocument/2006/relationships/tags" Target="../tags/tag1231.xml"/><Relationship Id="rId64" Type="http://schemas.openxmlformats.org/officeDocument/2006/relationships/tags" Target="../tags/tag1247.xml"/><Relationship Id="rId69" Type="http://schemas.openxmlformats.org/officeDocument/2006/relationships/tags" Target="../tags/tag1252.xml"/><Relationship Id="rId113" Type="http://schemas.openxmlformats.org/officeDocument/2006/relationships/tags" Target="../tags/tag1296.xml"/><Relationship Id="rId118" Type="http://schemas.openxmlformats.org/officeDocument/2006/relationships/tags" Target="../tags/tag1301.xml"/><Relationship Id="rId134" Type="http://schemas.openxmlformats.org/officeDocument/2006/relationships/tags" Target="../tags/tag1317.xml"/><Relationship Id="rId139" Type="http://schemas.openxmlformats.org/officeDocument/2006/relationships/tags" Target="../tags/tag1322.xml"/><Relationship Id="rId80" Type="http://schemas.openxmlformats.org/officeDocument/2006/relationships/tags" Target="../tags/tag1263.xml"/><Relationship Id="rId85" Type="http://schemas.openxmlformats.org/officeDocument/2006/relationships/tags" Target="../tags/tag1268.xml"/><Relationship Id="rId150" Type="http://schemas.openxmlformats.org/officeDocument/2006/relationships/tags" Target="../tags/tag1333.xml"/><Relationship Id="rId155" Type="http://schemas.openxmlformats.org/officeDocument/2006/relationships/tags" Target="../tags/tag1338.xml"/><Relationship Id="rId171" Type="http://schemas.openxmlformats.org/officeDocument/2006/relationships/tags" Target="../tags/tag1354.xml"/><Relationship Id="rId176" Type="http://schemas.openxmlformats.org/officeDocument/2006/relationships/tags" Target="../tags/tag1359.xml"/><Relationship Id="rId192" Type="http://schemas.openxmlformats.org/officeDocument/2006/relationships/tags" Target="../tags/tag1375.xml"/><Relationship Id="rId197" Type="http://schemas.openxmlformats.org/officeDocument/2006/relationships/tags" Target="../tags/tag1380.xml"/><Relationship Id="rId206" Type="http://schemas.openxmlformats.org/officeDocument/2006/relationships/tags" Target="../tags/tag1389.xml"/><Relationship Id="rId201" Type="http://schemas.openxmlformats.org/officeDocument/2006/relationships/tags" Target="../tags/tag1384.xml"/><Relationship Id="rId222" Type="http://schemas.openxmlformats.org/officeDocument/2006/relationships/chart" Target="../charts/chart63.xml"/><Relationship Id="rId12" Type="http://schemas.openxmlformats.org/officeDocument/2006/relationships/tags" Target="../tags/tag1195.xml"/><Relationship Id="rId17" Type="http://schemas.openxmlformats.org/officeDocument/2006/relationships/tags" Target="../tags/tag1200.xml"/><Relationship Id="rId33" Type="http://schemas.openxmlformats.org/officeDocument/2006/relationships/tags" Target="../tags/tag1216.xml"/><Relationship Id="rId38" Type="http://schemas.openxmlformats.org/officeDocument/2006/relationships/tags" Target="../tags/tag1221.xml"/><Relationship Id="rId59" Type="http://schemas.openxmlformats.org/officeDocument/2006/relationships/tags" Target="../tags/tag1242.xml"/><Relationship Id="rId103" Type="http://schemas.openxmlformats.org/officeDocument/2006/relationships/tags" Target="../tags/tag1286.xml"/><Relationship Id="rId108" Type="http://schemas.openxmlformats.org/officeDocument/2006/relationships/tags" Target="../tags/tag1291.xml"/><Relationship Id="rId124" Type="http://schemas.openxmlformats.org/officeDocument/2006/relationships/tags" Target="../tags/tag1307.xml"/><Relationship Id="rId129" Type="http://schemas.openxmlformats.org/officeDocument/2006/relationships/tags" Target="../tags/tag1312.xml"/><Relationship Id="rId54" Type="http://schemas.openxmlformats.org/officeDocument/2006/relationships/tags" Target="../tags/tag1237.xml"/><Relationship Id="rId70" Type="http://schemas.openxmlformats.org/officeDocument/2006/relationships/tags" Target="../tags/tag1253.xml"/><Relationship Id="rId75" Type="http://schemas.openxmlformats.org/officeDocument/2006/relationships/tags" Target="../tags/tag1258.xml"/><Relationship Id="rId91" Type="http://schemas.openxmlformats.org/officeDocument/2006/relationships/tags" Target="../tags/tag1274.xml"/><Relationship Id="rId96" Type="http://schemas.openxmlformats.org/officeDocument/2006/relationships/tags" Target="../tags/tag1279.xml"/><Relationship Id="rId140" Type="http://schemas.openxmlformats.org/officeDocument/2006/relationships/tags" Target="../tags/tag1323.xml"/><Relationship Id="rId145" Type="http://schemas.openxmlformats.org/officeDocument/2006/relationships/tags" Target="../tags/tag1328.xml"/><Relationship Id="rId161" Type="http://schemas.openxmlformats.org/officeDocument/2006/relationships/tags" Target="../tags/tag1344.xml"/><Relationship Id="rId166" Type="http://schemas.openxmlformats.org/officeDocument/2006/relationships/tags" Target="../tags/tag1349.xml"/><Relationship Id="rId182" Type="http://schemas.openxmlformats.org/officeDocument/2006/relationships/tags" Target="../tags/tag1365.xml"/><Relationship Id="rId187" Type="http://schemas.openxmlformats.org/officeDocument/2006/relationships/tags" Target="../tags/tag1370.xml"/><Relationship Id="rId217" Type="http://schemas.openxmlformats.org/officeDocument/2006/relationships/chart" Target="../charts/chart58.xml"/><Relationship Id="rId1" Type="http://schemas.openxmlformats.org/officeDocument/2006/relationships/vmlDrawing" Target="../drawings/vmlDrawing39.vml"/><Relationship Id="rId6" Type="http://schemas.openxmlformats.org/officeDocument/2006/relationships/tags" Target="../tags/tag1189.xml"/><Relationship Id="rId212" Type="http://schemas.openxmlformats.org/officeDocument/2006/relationships/slideLayout" Target="../slideLayouts/slideLayout2.xml"/><Relationship Id="rId23" Type="http://schemas.openxmlformats.org/officeDocument/2006/relationships/tags" Target="../tags/tag1206.xml"/><Relationship Id="rId28" Type="http://schemas.openxmlformats.org/officeDocument/2006/relationships/tags" Target="../tags/tag1211.xml"/><Relationship Id="rId49" Type="http://schemas.openxmlformats.org/officeDocument/2006/relationships/tags" Target="../tags/tag1232.xml"/><Relationship Id="rId114" Type="http://schemas.openxmlformats.org/officeDocument/2006/relationships/tags" Target="../tags/tag1297.xml"/><Relationship Id="rId119" Type="http://schemas.openxmlformats.org/officeDocument/2006/relationships/tags" Target="../tags/tag1302.xml"/><Relationship Id="rId44" Type="http://schemas.openxmlformats.org/officeDocument/2006/relationships/tags" Target="../tags/tag1227.xml"/><Relationship Id="rId60" Type="http://schemas.openxmlformats.org/officeDocument/2006/relationships/tags" Target="../tags/tag1243.xml"/><Relationship Id="rId65" Type="http://schemas.openxmlformats.org/officeDocument/2006/relationships/tags" Target="../tags/tag1248.xml"/><Relationship Id="rId81" Type="http://schemas.openxmlformats.org/officeDocument/2006/relationships/tags" Target="../tags/tag1264.xml"/><Relationship Id="rId86" Type="http://schemas.openxmlformats.org/officeDocument/2006/relationships/tags" Target="../tags/tag1269.xml"/><Relationship Id="rId130" Type="http://schemas.openxmlformats.org/officeDocument/2006/relationships/tags" Target="../tags/tag1313.xml"/><Relationship Id="rId135" Type="http://schemas.openxmlformats.org/officeDocument/2006/relationships/tags" Target="../tags/tag1318.xml"/><Relationship Id="rId151" Type="http://schemas.openxmlformats.org/officeDocument/2006/relationships/tags" Target="../tags/tag1334.xml"/><Relationship Id="rId156" Type="http://schemas.openxmlformats.org/officeDocument/2006/relationships/tags" Target="../tags/tag1339.xml"/><Relationship Id="rId177" Type="http://schemas.openxmlformats.org/officeDocument/2006/relationships/tags" Target="../tags/tag1360.xml"/><Relationship Id="rId198" Type="http://schemas.openxmlformats.org/officeDocument/2006/relationships/tags" Target="../tags/tag1381.xml"/><Relationship Id="rId172" Type="http://schemas.openxmlformats.org/officeDocument/2006/relationships/tags" Target="../tags/tag1355.xml"/><Relationship Id="rId193" Type="http://schemas.openxmlformats.org/officeDocument/2006/relationships/tags" Target="../tags/tag1376.xml"/><Relationship Id="rId202" Type="http://schemas.openxmlformats.org/officeDocument/2006/relationships/tags" Target="../tags/tag1385.xml"/><Relationship Id="rId207" Type="http://schemas.openxmlformats.org/officeDocument/2006/relationships/tags" Target="../tags/tag1390.xml"/><Relationship Id="rId223" Type="http://schemas.openxmlformats.org/officeDocument/2006/relationships/chart" Target="../charts/chart64.xml"/><Relationship Id="rId13" Type="http://schemas.openxmlformats.org/officeDocument/2006/relationships/tags" Target="../tags/tag1196.xml"/><Relationship Id="rId18" Type="http://schemas.openxmlformats.org/officeDocument/2006/relationships/tags" Target="../tags/tag1201.xml"/><Relationship Id="rId39" Type="http://schemas.openxmlformats.org/officeDocument/2006/relationships/tags" Target="../tags/tag1222.xml"/><Relationship Id="rId109" Type="http://schemas.openxmlformats.org/officeDocument/2006/relationships/tags" Target="../tags/tag1292.xml"/><Relationship Id="rId34" Type="http://schemas.openxmlformats.org/officeDocument/2006/relationships/tags" Target="../tags/tag1217.xml"/><Relationship Id="rId50" Type="http://schemas.openxmlformats.org/officeDocument/2006/relationships/tags" Target="../tags/tag1233.xml"/><Relationship Id="rId55" Type="http://schemas.openxmlformats.org/officeDocument/2006/relationships/tags" Target="../tags/tag1238.xml"/><Relationship Id="rId76" Type="http://schemas.openxmlformats.org/officeDocument/2006/relationships/tags" Target="../tags/tag1259.xml"/><Relationship Id="rId97" Type="http://schemas.openxmlformats.org/officeDocument/2006/relationships/tags" Target="../tags/tag1280.xml"/><Relationship Id="rId104" Type="http://schemas.openxmlformats.org/officeDocument/2006/relationships/tags" Target="../tags/tag1287.xml"/><Relationship Id="rId120" Type="http://schemas.openxmlformats.org/officeDocument/2006/relationships/tags" Target="../tags/tag1303.xml"/><Relationship Id="rId125" Type="http://schemas.openxmlformats.org/officeDocument/2006/relationships/tags" Target="../tags/tag1308.xml"/><Relationship Id="rId141" Type="http://schemas.openxmlformats.org/officeDocument/2006/relationships/tags" Target="../tags/tag1324.xml"/><Relationship Id="rId146" Type="http://schemas.openxmlformats.org/officeDocument/2006/relationships/tags" Target="../tags/tag1329.xml"/><Relationship Id="rId167" Type="http://schemas.openxmlformats.org/officeDocument/2006/relationships/tags" Target="../tags/tag1350.xml"/><Relationship Id="rId188" Type="http://schemas.openxmlformats.org/officeDocument/2006/relationships/tags" Target="../tags/tag1371.xml"/><Relationship Id="rId7" Type="http://schemas.openxmlformats.org/officeDocument/2006/relationships/tags" Target="../tags/tag1190.xml"/><Relationship Id="rId71" Type="http://schemas.openxmlformats.org/officeDocument/2006/relationships/tags" Target="../tags/tag1254.xml"/><Relationship Id="rId92" Type="http://schemas.openxmlformats.org/officeDocument/2006/relationships/tags" Target="../tags/tag1275.xml"/><Relationship Id="rId162" Type="http://schemas.openxmlformats.org/officeDocument/2006/relationships/tags" Target="../tags/tag1345.xml"/><Relationship Id="rId183" Type="http://schemas.openxmlformats.org/officeDocument/2006/relationships/tags" Target="../tags/tag1366.xml"/><Relationship Id="rId213" Type="http://schemas.openxmlformats.org/officeDocument/2006/relationships/notesSlide" Target="../notesSlides/notesSlide16.xml"/><Relationship Id="rId218" Type="http://schemas.openxmlformats.org/officeDocument/2006/relationships/chart" Target="../charts/chart59.xml"/><Relationship Id="rId2" Type="http://schemas.openxmlformats.org/officeDocument/2006/relationships/tags" Target="../tags/tag1185.xml"/><Relationship Id="rId29" Type="http://schemas.openxmlformats.org/officeDocument/2006/relationships/tags" Target="../tags/tag1212.xml"/><Relationship Id="rId24" Type="http://schemas.openxmlformats.org/officeDocument/2006/relationships/tags" Target="../tags/tag1207.xml"/><Relationship Id="rId40" Type="http://schemas.openxmlformats.org/officeDocument/2006/relationships/tags" Target="../tags/tag1223.xml"/><Relationship Id="rId45" Type="http://schemas.openxmlformats.org/officeDocument/2006/relationships/tags" Target="../tags/tag1228.xml"/><Relationship Id="rId66" Type="http://schemas.openxmlformats.org/officeDocument/2006/relationships/tags" Target="../tags/tag1249.xml"/><Relationship Id="rId87" Type="http://schemas.openxmlformats.org/officeDocument/2006/relationships/tags" Target="../tags/tag1270.xml"/><Relationship Id="rId110" Type="http://schemas.openxmlformats.org/officeDocument/2006/relationships/tags" Target="../tags/tag1293.xml"/><Relationship Id="rId115" Type="http://schemas.openxmlformats.org/officeDocument/2006/relationships/tags" Target="../tags/tag1298.xml"/><Relationship Id="rId131" Type="http://schemas.openxmlformats.org/officeDocument/2006/relationships/tags" Target="../tags/tag1314.xml"/><Relationship Id="rId136" Type="http://schemas.openxmlformats.org/officeDocument/2006/relationships/tags" Target="../tags/tag1319.xml"/><Relationship Id="rId157" Type="http://schemas.openxmlformats.org/officeDocument/2006/relationships/tags" Target="../tags/tag1340.xml"/><Relationship Id="rId178" Type="http://schemas.openxmlformats.org/officeDocument/2006/relationships/tags" Target="../tags/tag1361.xml"/><Relationship Id="rId61" Type="http://schemas.openxmlformats.org/officeDocument/2006/relationships/tags" Target="../tags/tag1244.xml"/><Relationship Id="rId82" Type="http://schemas.openxmlformats.org/officeDocument/2006/relationships/tags" Target="../tags/tag1265.xml"/><Relationship Id="rId152" Type="http://schemas.openxmlformats.org/officeDocument/2006/relationships/tags" Target="../tags/tag1335.xml"/><Relationship Id="rId173" Type="http://schemas.openxmlformats.org/officeDocument/2006/relationships/tags" Target="../tags/tag1356.xml"/><Relationship Id="rId194" Type="http://schemas.openxmlformats.org/officeDocument/2006/relationships/tags" Target="../tags/tag1377.xml"/><Relationship Id="rId199" Type="http://schemas.openxmlformats.org/officeDocument/2006/relationships/tags" Target="../tags/tag1382.xml"/><Relationship Id="rId203" Type="http://schemas.openxmlformats.org/officeDocument/2006/relationships/tags" Target="../tags/tag1386.xml"/><Relationship Id="rId208" Type="http://schemas.openxmlformats.org/officeDocument/2006/relationships/tags" Target="../tags/tag1391.xml"/><Relationship Id="rId19" Type="http://schemas.openxmlformats.org/officeDocument/2006/relationships/tags" Target="../tags/tag1202.xml"/><Relationship Id="rId224" Type="http://schemas.openxmlformats.org/officeDocument/2006/relationships/chart" Target="../charts/chart65.xml"/><Relationship Id="rId14" Type="http://schemas.openxmlformats.org/officeDocument/2006/relationships/tags" Target="../tags/tag1197.xml"/><Relationship Id="rId30" Type="http://schemas.openxmlformats.org/officeDocument/2006/relationships/tags" Target="../tags/tag1213.xml"/><Relationship Id="rId35" Type="http://schemas.openxmlformats.org/officeDocument/2006/relationships/tags" Target="../tags/tag1218.xml"/><Relationship Id="rId56" Type="http://schemas.openxmlformats.org/officeDocument/2006/relationships/tags" Target="../tags/tag1239.xml"/><Relationship Id="rId77" Type="http://schemas.openxmlformats.org/officeDocument/2006/relationships/tags" Target="../tags/tag1260.xml"/><Relationship Id="rId100" Type="http://schemas.openxmlformats.org/officeDocument/2006/relationships/tags" Target="../tags/tag1283.xml"/><Relationship Id="rId105" Type="http://schemas.openxmlformats.org/officeDocument/2006/relationships/tags" Target="../tags/tag1288.xml"/><Relationship Id="rId126" Type="http://schemas.openxmlformats.org/officeDocument/2006/relationships/tags" Target="../tags/tag1309.xml"/><Relationship Id="rId147" Type="http://schemas.openxmlformats.org/officeDocument/2006/relationships/tags" Target="../tags/tag1330.xml"/><Relationship Id="rId168" Type="http://schemas.openxmlformats.org/officeDocument/2006/relationships/tags" Target="../tags/tag1351.xml"/><Relationship Id="rId8" Type="http://schemas.openxmlformats.org/officeDocument/2006/relationships/tags" Target="../tags/tag1191.xml"/><Relationship Id="rId51" Type="http://schemas.openxmlformats.org/officeDocument/2006/relationships/tags" Target="../tags/tag1234.xml"/><Relationship Id="rId72" Type="http://schemas.openxmlformats.org/officeDocument/2006/relationships/tags" Target="../tags/tag1255.xml"/><Relationship Id="rId93" Type="http://schemas.openxmlformats.org/officeDocument/2006/relationships/tags" Target="../tags/tag1276.xml"/><Relationship Id="rId98" Type="http://schemas.openxmlformats.org/officeDocument/2006/relationships/tags" Target="../tags/tag1281.xml"/><Relationship Id="rId121" Type="http://schemas.openxmlformats.org/officeDocument/2006/relationships/tags" Target="../tags/tag1304.xml"/><Relationship Id="rId142" Type="http://schemas.openxmlformats.org/officeDocument/2006/relationships/tags" Target="../tags/tag1325.xml"/><Relationship Id="rId163" Type="http://schemas.openxmlformats.org/officeDocument/2006/relationships/tags" Target="../tags/tag1346.xml"/><Relationship Id="rId184" Type="http://schemas.openxmlformats.org/officeDocument/2006/relationships/tags" Target="../tags/tag1367.xml"/><Relationship Id="rId189" Type="http://schemas.openxmlformats.org/officeDocument/2006/relationships/tags" Target="../tags/tag1372.xml"/><Relationship Id="rId219" Type="http://schemas.openxmlformats.org/officeDocument/2006/relationships/chart" Target="../charts/chart60.xml"/><Relationship Id="rId3" Type="http://schemas.openxmlformats.org/officeDocument/2006/relationships/tags" Target="../tags/tag1186.xml"/><Relationship Id="rId214" Type="http://schemas.openxmlformats.org/officeDocument/2006/relationships/oleObject" Target="../embeddings/oleObject39.bin"/><Relationship Id="rId25" Type="http://schemas.openxmlformats.org/officeDocument/2006/relationships/tags" Target="../tags/tag1208.xml"/><Relationship Id="rId46" Type="http://schemas.openxmlformats.org/officeDocument/2006/relationships/tags" Target="../tags/tag1229.xml"/><Relationship Id="rId67" Type="http://schemas.openxmlformats.org/officeDocument/2006/relationships/tags" Target="../tags/tag1250.xml"/><Relationship Id="rId116" Type="http://schemas.openxmlformats.org/officeDocument/2006/relationships/tags" Target="../tags/tag1299.xml"/><Relationship Id="rId137" Type="http://schemas.openxmlformats.org/officeDocument/2006/relationships/tags" Target="../tags/tag1320.xml"/><Relationship Id="rId158" Type="http://schemas.openxmlformats.org/officeDocument/2006/relationships/tags" Target="../tags/tag1341.xml"/><Relationship Id="rId20" Type="http://schemas.openxmlformats.org/officeDocument/2006/relationships/tags" Target="../tags/tag1203.xml"/><Relationship Id="rId41" Type="http://schemas.openxmlformats.org/officeDocument/2006/relationships/tags" Target="../tags/tag1224.xml"/><Relationship Id="rId62" Type="http://schemas.openxmlformats.org/officeDocument/2006/relationships/tags" Target="../tags/tag1245.xml"/><Relationship Id="rId83" Type="http://schemas.openxmlformats.org/officeDocument/2006/relationships/tags" Target="../tags/tag1266.xml"/><Relationship Id="rId88" Type="http://schemas.openxmlformats.org/officeDocument/2006/relationships/tags" Target="../tags/tag1271.xml"/><Relationship Id="rId111" Type="http://schemas.openxmlformats.org/officeDocument/2006/relationships/tags" Target="../tags/tag1294.xml"/><Relationship Id="rId132" Type="http://schemas.openxmlformats.org/officeDocument/2006/relationships/tags" Target="../tags/tag1315.xml"/><Relationship Id="rId153" Type="http://schemas.openxmlformats.org/officeDocument/2006/relationships/tags" Target="../tags/tag1336.xml"/><Relationship Id="rId174" Type="http://schemas.openxmlformats.org/officeDocument/2006/relationships/tags" Target="../tags/tag1357.xml"/><Relationship Id="rId179" Type="http://schemas.openxmlformats.org/officeDocument/2006/relationships/tags" Target="../tags/tag1362.xml"/><Relationship Id="rId195" Type="http://schemas.openxmlformats.org/officeDocument/2006/relationships/tags" Target="../tags/tag1378.xml"/><Relationship Id="rId209" Type="http://schemas.openxmlformats.org/officeDocument/2006/relationships/tags" Target="../tags/tag1392.xml"/><Relationship Id="rId190" Type="http://schemas.openxmlformats.org/officeDocument/2006/relationships/tags" Target="../tags/tag1373.xml"/><Relationship Id="rId204" Type="http://schemas.openxmlformats.org/officeDocument/2006/relationships/tags" Target="../tags/tag1387.xml"/><Relationship Id="rId220" Type="http://schemas.openxmlformats.org/officeDocument/2006/relationships/chart" Target="../charts/chart61.xml"/><Relationship Id="rId225" Type="http://schemas.openxmlformats.org/officeDocument/2006/relationships/chart" Target="../charts/chart66.xml"/><Relationship Id="rId15" Type="http://schemas.openxmlformats.org/officeDocument/2006/relationships/tags" Target="../tags/tag1198.xml"/><Relationship Id="rId36" Type="http://schemas.openxmlformats.org/officeDocument/2006/relationships/tags" Target="../tags/tag1219.xml"/><Relationship Id="rId57" Type="http://schemas.openxmlformats.org/officeDocument/2006/relationships/tags" Target="../tags/tag1240.xml"/><Relationship Id="rId106" Type="http://schemas.openxmlformats.org/officeDocument/2006/relationships/tags" Target="../tags/tag1289.xml"/><Relationship Id="rId127" Type="http://schemas.openxmlformats.org/officeDocument/2006/relationships/tags" Target="../tags/tag1310.xml"/><Relationship Id="rId10" Type="http://schemas.openxmlformats.org/officeDocument/2006/relationships/tags" Target="../tags/tag1193.xml"/><Relationship Id="rId31" Type="http://schemas.openxmlformats.org/officeDocument/2006/relationships/tags" Target="../tags/tag1214.xml"/><Relationship Id="rId52" Type="http://schemas.openxmlformats.org/officeDocument/2006/relationships/tags" Target="../tags/tag1235.xml"/><Relationship Id="rId73" Type="http://schemas.openxmlformats.org/officeDocument/2006/relationships/tags" Target="../tags/tag1256.xml"/><Relationship Id="rId78" Type="http://schemas.openxmlformats.org/officeDocument/2006/relationships/tags" Target="../tags/tag1261.xml"/><Relationship Id="rId94" Type="http://schemas.openxmlformats.org/officeDocument/2006/relationships/tags" Target="../tags/tag1277.xml"/><Relationship Id="rId99" Type="http://schemas.openxmlformats.org/officeDocument/2006/relationships/tags" Target="../tags/tag1282.xml"/><Relationship Id="rId101" Type="http://schemas.openxmlformats.org/officeDocument/2006/relationships/tags" Target="../tags/tag1284.xml"/><Relationship Id="rId122" Type="http://schemas.openxmlformats.org/officeDocument/2006/relationships/tags" Target="../tags/tag1305.xml"/><Relationship Id="rId143" Type="http://schemas.openxmlformats.org/officeDocument/2006/relationships/tags" Target="../tags/tag1326.xml"/><Relationship Id="rId148" Type="http://schemas.openxmlformats.org/officeDocument/2006/relationships/tags" Target="../tags/tag1331.xml"/><Relationship Id="rId164" Type="http://schemas.openxmlformats.org/officeDocument/2006/relationships/tags" Target="../tags/tag1347.xml"/><Relationship Id="rId169" Type="http://schemas.openxmlformats.org/officeDocument/2006/relationships/tags" Target="../tags/tag1352.xml"/><Relationship Id="rId185" Type="http://schemas.openxmlformats.org/officeDocument/2006/relationships/tags" Target="../tags/tag1368.xml"/><Relationship Id="rId4" Type="http://schemas.openxmlformats.org/officeDocument/2006/relationships/tags" Target="../tags/tag1187.xml"/><Relationship Id="rId9" Type="http://schemas.openxmlformats.org/officeDocument/2006/relationships/tags" Target="../tags/tag1192.xml"/><Relationship Id="rId180" Type="http://schemas.openxmlformats.org/officeDocument/2006/relationships/tags" Target="../tags/tag1363.xml"/><Relationship Id="rId210" Type="http://schemas.openxmlformats.org/officeDocument/2006/relationships/tags" Target="../tags/tag1393.xml"/><Relationship Id="rId215" Type="http://schemas.openxmlformats.org/officeDocument/2006/relationships/image" Target="../media/image10.emf"/><Relationship Id="rId26" Type="http://schemas.openxmlformats.org/officeDocument/2006/relationships/tags" Target="../tags/tag1209.xml"/><Relationship Id="rId47" Type="http://schemas.openxmlformats.org/officeDocument/2006/relationships/tags" Target="../tags/tag1230.xml"/><Relationship Id="rId68" Type="http://schemas.openxmlformats.org/officeDocument/2006/relationships/tags" Target="../tags/tag1251.xml"/><Relationship Id="rId89" Type="http://schemas.openxmlformats.org/officeDocument/2006/relationships/tags" Target="../tags/tag1272.xml"/><Relationship Id="rId112" Type="http://schemas.openxmlformats.org/officeDocument/2006/relationships/tags" Target="../tags/tag1295.xml"/><Relationship Id="rId133" Type="http://schemas.openxmlformats.org/officeDocument/2006/relationships/tags" Target="../tags/tag1316.xml"/><Relationship Id="rId154" Type="http://schemas.openxmlformats.org/officeDocument/2006/relationships/tags" Target="../tags/tag1337.xml"/><Relationship Id="rId175" Type="http://schemas.openxmlformats.org/officeDocument/2006/relationships/tags" Target="../tags/tag1358.xml"/><Relationship Id="rId196" Type="http://schemas.openxmlformats.org/officeDocument/2006/relationships/tags" Target="../tags/tag1379.xml"/><Relationship Id="rId200" Type="http://schemas.openxmlformats.org/officeDocument/2006/relationships/tags" Target="../tags/tag1383.xml"/><Relationship Id="rId16" Type="http://schemas.openxmlformats.org/officeDocument/2006/relationships/tags" Target="../tags/tag1199.xml"/><Relationship Id="rId221" Type="http://schemas.openxmlformats.org/officeDocument/2006/relationships/chart" Target="../charts/chart62.xml"/><Relationship Id="rId37" Type="http://schemas.openxmlformats.org/officeDocument/2006/relationships/tags" Target="../tags/tag1220.xml"/><Relationship Id="rId58" Type="http://schemas.openxmlformats.org/officeDocument/2006/relationships/tags" Target="../tags/tag1241.xml"/><Relationship Id="rId79" Type="http://schemas.openxmlformats.org/officeDocument/2006/relationships/tags" Target="../tags/tag1262.xml"/><Relationship Id="rId102" Type="http://schemas.openxmlformats.org/officeDocument/2006/relationships/tags" Target="../tags/tag1285.xml"/><Relationship Id="rId123" Type="http://schemas.openxmlformats.org/officeDocument/2006/relationships/tags" Target="../tags/tag1306.xml"/><Relationship Id="rId144" Type="http://schemas.openxmlformats.org/officeDocument/2006/relationships/tags" Target="../tags/tag1327.xml"/><Relationship Id="rId90" Type="http://schemas.openxmlformats.org/officeDocument/2006/relationships/tags" Target="../tags/tag1273.xml"/><Relationship Id="rId165" Type="http://schemas.openxmlformats.org/officeDocument/2006/relationships/tags" Target="../tags/tag1348.xml"/><Relationship Id="rId186" Type="http://schemas.openxmlformats.org/officeDocument/2006/relationships/tags" Target="../tags/tag136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401.xml"/><Relationship Id="rId13" Type="http://schemas.openxmlformats.org/officeDocument/2006/relationships/tags" Target="../tags/tag1406.xml"/><Relationship Id="rId18" Type="http://schemas.openxmlformats.org/officeDocument/2006/relationships/tags" Target="../tags/tag1411.xml"/><Relationship Id="rId26" Type="http://schemas.openxmlformats.org/officeDocument/2006/relationships/tags" Target="../tags/tag1419.xml"/><Relationship Id="rId39" Type="http://schemas.openxmlformats.org/officeDocument/2006/relationships/image" Target="../media/image10.emf"/><Relationship Id="rId3" Type="http://schemas.openxmlformats.org/officeDocument/2006/relationships/tags" Target="../tags/tag1396.xml"/><Relationship Id="rId21" Type="http://schemas.openxmlformats.org/officeDocument/2006/relationships/tags" Target="../tags/tag1414.xml"/><Relationship Id="rId34" Type="http://schemas.openxmlformats.org/officeDocument/2006/relationships/tags" Target="../tags/tag1427.xml"/><Relationship Id="rId7" Type="http://schemas.openxmlformats.org/officeDocument/2006/relationships/tags" Target="../tags/tag1400.xml"/><Relationship Id="rId12" Type="http://schemas.openxmlformats.org/officeDocument/2006/relationships/tags" Target="../tags/tag1405.xml"/><Relationship Id="rId17" Type="http://schemas.openxmlformats.org/officeDocument/2006/relationships/tags" Target="../tags/tag1410.xml"/><Relationship Id="rId25" Type="http://schemas.openxmlformats.org/officeDocument/2006/relationships/tags" Target="../tags/tag1418.xml"/><Relationship Id="rId33" Type="http://schemas.openxmlformats.org/officeDocument/2006/relationships/tags" Target="../tags/tag1426.xml"/><Relationship Id="rId38" Type="http://schemas.openxmlformats.org/officeDocument/2006/relationships/oleObject" Target="../embeddings/oleObject40.bin"/><Relationship Id="rId2" Type="http://schemas.openxmlformats.org/officeDocument/2006/relationships/tags" Target="../tags/tag1395.xml"/><Relationship Id="rId16" Type="http://schemas.openxmlformats.org/officeDocument/2006/relationships/tags" Target="../tags/tag1409.xml"/><Relationship Id="rId20" Type="http://schemas.openxmlformats.org/officeDocument/2006/relationships/tags" Target="../tags/tag1413.xml"/><Relationship Id="rId29" Type="http://schemas.openxmlformats.org/officeDocument/2006/relationships/tags" Target="../tags/tag1422.xml"/><Relationship Id="rId1" Type="http://schemas.openxmlformats.org/officeDocument/2006/relationships/vmlDrawing" Target="../drawings/vmlDrawing40.vml"/><Relationship Id="rId6" Type="http://schemas.openxmlformats.org/officeDocument/2006/relationships/tags" Target="../tags/tag1399.xml"/><Relationship Id="rId11" Type="http://schemas.openxmlformats.org/officeDocument/2006/relationships/tags" Target="../tags/tag1404.xml"/><Relationship Id="rId24" Type="http://schemas.openxmlformats.org/officeDocument/2006/relationships/tags" Target="../tags/tag1417.xml"/><Relationship Id="rId32" Type="http://schemas.openxmlformats.org/officeDocument/2006/relationships/tags" Target="../tags/tag1425.xml"/><Relationship Id="rId37" Type="http://schemas.openxmlformats.org/officeDocument/2006/relationships/notesSlide" Target="../notesSlides/notesSlide17.xml"/><Relationship Id="rId40" Type="http://schemas.openxmlformats.org/officeDocument/2006/relationships/chart" Target="../charts/chart67.xml"/><Relationship Id="rId5" Type="http://schemas.openxmlformats.org/officeDocument/2006/relationships/tags" Target="../tags/tag1398.xml"/><Relationship Id="rId15" Type="http://schemas.openxmlformats.org/officeDocument/2006/relationships/tags" Target="../tags/tag1408.xml"/><Relationship Id="rId23" Type="http://schemas.openxmlformats.org/officeDocument/2006/relationships/tags" Target="../tags/tag1416.xml"/><Relationship Id="rId28" Type="http://schemas.openxmlformats.org/officeDocument/2006/relationships/tags" Target="../tags/tag1421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1403.xml"/><Relationship Id="rId19" Type="http://schemas.openxmlformats.org/officeDocument/2006/relationships/tags" Target="../tags/tag1412.xml"/><Relationship Id="rId31" Type="http://schemas.openxmlformats.org/officeDocument/2006/relationships/tags" Target="../tags/tag1424.xml"/><Relationship Id="rId4" Type="http://schemas.openxmlformats.org/officeDocument/2006/relationships/tags" Target="../tags/tag1397.xml"/><Relationship Id="rId9" Type="http://schemas.openxmlformats.org/officeDocument/2006/relationships/tags" Target="../tags/tag1402.xml"/><Relationship Id="rId14" Type="http://schemas.openxmlformats.org/officeDocument/2006/relationships/tags" Target="../tags/tag1407.xml"/><Relationship Id="rId22" Type="http://schemas.openxmlformats.org/officeDocument/2006/relationships/tags" Target="../tags/tag1415.xml"/><Relationship Id="rId27" Type="http://schemas.openxmlformats.org/officeDocument/2006/relationships/tags" Target="../tags/tag1420.xml"/><Relationship Id="rId30" Type="http://schemas.openxmlformats.org/officeDocument/2006/relationships/tags" Target="../tags/tag1423.xml"/><Relationship Id="rId35" Type="http://schemas.openxmlformats.org/officeDocument/2006/relationships/tags" Target="../tags/tag142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13" Type="http://schemas.openxmlformats.org/officeDocument/2006/relationships/image" Target="../media/image14.png"/><Relationship Id="rId3" Type="http://schemas.openxmlformats.org/officeDocument/2006/relationships/tags" Target="../tags/tag1430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3.png"/><Relationship Id="rId2" Type="http://schemas.openxmlformats.org/officeDocument/2006/relationships/tags" Target="../tags/tag1429.xml"/><Relationship Id="rId1" Type="http://schemas.openxmlformats.org/officeDocument/2006/relationships/vmlDrawing" Target="../drawings/vmlDrawing41.vml"/><Relationship Id="rId6" Type="http://schemas.openxmlformats.org/officeDocument/2006/relationships/tags" Target="../tags/tag1433.xml"/><Relationship Id="rId11" Type="http://schemas.openxmlformats.org/officeDocument/2006/relationships/image" Target="../media/image12.png"/><Relationship Id="rId5" Type="http://schemas.openxmlformats.org/officeDocument/2006/relationships/tags" Target="../tags/tag1432.xml"/><Relationship Id="rId10" Type="http://schemas.openxmlformats.org/officeDocument/2006/relationships/image" Target="../media/image11.emf"/><Relationship Id="rId4" Type="http://schemas.openxmlformats.org/officeDocument/2006/relationships/tags" Target="../tags/tag1431.xml"/><Relationship Id="rId9" Type="http://schemas.openxmlformats.org/officeDocument/2006/relationships/oleObject" Target="../embeddings/oleObject41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440.xml"/><Relationship Id="rId13" Type="http://schemas.openxmlformats.org/officeDocument/2006/relationships/tags" Target="../tags/tag1445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435.xml"/><Relationship Id="rId21" Type="http://schemas.openxmlformats.org/officeDocument/2006/relationships/chart" Target="../charts/chart68.xml"/><Relationship Id="rId7" Type="http://schemas.openxmlformats.org/officeDocument/2006/relationships/tags" Target="../tags/tag1439.xml"/><Relationship Id="rId12" Type="http://schemas.openxmlformats.org/officeDocument/2006/relationships/tags" Target="../tags/tag1444.xml"/><Relationship Id="rId17" Type="http://schemas.openxmlformats.org/officeDocument/2006/relationships/tags" Target="../tags/tag1449.xml"/><Relationship Id="rId2" Type="http://schemas.openxmlformats.org/officeDocument/2006/relationships/tags" Target="../tags/tag1434.xml"/><Relationship Id="rId16" Type="http://schemas.openxmlformats.org/officeDocument/2006/relationships/tags" Target="../tags/tag1448.xml"/><Relationship Id="rId20" Type="http://schemas.openxmlformats.org/officeDocument/2006/relationships/image" Target="../media/image15.emf"/><Relationship Id="rId1" Type="http://schemas.openxmlformats.org/officeDocument/2006/relationships/vmlDrawing" Target="../drawings/vmlDrawing42.vml"/><Relationship Id="rId6" Type="http://schemas.openxmlformats.org/officeDocument/2006/relationships/tags" Target="../tags/tag1438.xml"/><Relationship Id="rId11" Type="http://schemas.openxmlformats.org/officeDocument/2006/relationships/tags" Target="../tags/tag1443.xml"/><Relationship Id="rId5" Type="http://schemas.openxmlformats.org/officeDocument/2006/relationships/tags" Target="../tags/tag1437.xml"/><Relationship Id="rId15" Type="http://schemas.openxmlformats.org/officeDocument/2006/relationships/tags" Target="../tags/tag1447.xml"/><Relationship Id="rId10" Type="http://schemas.openxmlformats.org/officeDocument/2006/relationships/tags" Target="../tags/tag1442.xml"/><Relationship Id="rId19" Type="http://schemas.openxmlformats.org/officeDocument/2006/relationships/oleObject" Target="../embeddings/oleObject42.bin"/><Relationship Id="rId4" Type="http://schemas.openxmlformats.org/officeDocument/2006/relationships/tags" Target="../tags/tag1436.xml"/><Relationship Id="rId9" Type="http://schemas.openxmlformats.org/officeDocument/2006/relationships/tags" Target="../tags/tag1441.xml"/><Relationship Id="rId14" Type="http://schemas.openxmlformats.org/officeDocument/2006/relationships/tags" Target="../tags/tag144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451.xml"/><Relationship Id="rId7" Type="http://schemas.openxmlformats.org/officeDocument/2006/relationships/image" Target="../media/image19.png"/><Relationship Id="rId2" Type="http://schemas.openxmlformats.org/officeDocument/2006/relationships/tags" Target="../tags/tag145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26" Type="http://schemas.openxmlformats.org/officeDocument/2006/relationships/tags" Target="../tags/tag129.xml"/><Relationship Id="rId39" Type="http://schemas.openxmlformats.org/officeDocument/2006/relationships/image" Target="../media/image10.emf"/><Relationship Id="rId3" Type="http://schemas.openxmlformats.org/officeDocument/2006/relationships/tags" Target="../tags/tag106.xml"/><Relationship Id="rId21" Type="http://schemas.openxmlformats.org/officeDocument/2006/relationships/tags" Target="../tags/tag124.xml"/><Relationship Id="rId34" Type="http://schemas.openxmlformats.org/officeDocument/2006/relationships/tags" Target="../tags/tag137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5" Type="http://schemas.openxmlformats.org/officeDocument/2006/relationships/tags" Target="../tags/tag128.xml"/><Relationship Id="rId33" Type="http://schemas.openxmlformats.org/officeDocument/2006/relationships/tags" Target="../tags/tag136.xml"/><Relationship Id="rId38" Type="http://schemas.openxmlformats.org/officeDocument/2006/relationships/oleObject" Target="../embeddings/oleObject17.bin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tags" Target="../tags/tag123.xml"/><Relationship Id="rId29" Type="http://schemas.openxmlformats.org/officeDocument/2006/relationships/tags" Target="../tags/tag13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24" Type="http://schemas.openxmlformats.org/officeDocument/2006/relationships/tags" Target="../tags/tag127.xml"/><Relationship Id="rId32" Type="http://schemas.openxmlformats.org/officeDocument/2006/relationships/tags" Target="../tags/tag135.xml"/><Relationship Id="rId37" Type="http://schemas.openxmlformats.org/officeDocument/2006/relationships/notesSlide" Target="../notesSlides/notesSlide3.xml"/><Relationship Id="rId40" Type="http://schemas.openxmlformats.org/officeDocument/2006/relationships/chart" Target="../charts/chart6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23" Type="http://schemas.openxmlformats.org/officeDocument/2006/relationships/tags" Target="../tags/tag126.xml"/><Relationship Id="rId28" Type="http://schemas.openxmlformats.org/officeDocument/2006/relationships/tags" Target="../tags/tag131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113.xml"/><Relationship Id="rId19" Type="http://schemas.openxmlformats.org/officeDocument/2006/relationships/tags" Target="../tags/tag122.xml"/><Relationship Id="rId31" Type="http://schemas.openxmlformats.org/officeDocument/2006/relationships/tags" Target="../tags/tag134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Relationship Id="rId22" Type="http://schemas.openxmlformats.org/officeDocument/2006/relationships/tags" Target="../tags/tag125.xml"/><Relationship Id="rId27" Type="http://schemas.openxmlformats.org/officeDocument/2006/relationships/tags" Target="../tags/tag130.xml"/><Relationship Id="rId30" Type="http://schemas.openxmlformats.org/officeDocument/2006/relationships/tags" Target="../tags/tag133.xml"/><Relationship Id="rId35" Type="http://schemas.openxmlformats.org/officeDocument/2006/relationships/tags" Target="../tags/tag13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458.xml"/><Relationship Id="rId13" Type="http://schemas.openxmlformats.org/officeDocument/2006/relationships/tags" Target="../tags/tag1463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453.xml"/><Relationship Id="rId21" Type="http://schemas.openxmlformats.org/officeDocument/2006/relationships/image" Target="../media/image10.emf"/><Relationship Id="rId7" Type="http://schemas.openxmlformats.org/officeDocument/2006/relationships/tags" Target="../tags/tag1457.xml"/><Relationship Id="rId12" Type="http://schemas.openxmlformats.org/officeDocument/2006/relationships/tags" Target="../tags/tag1462.xml"/><Relationship Id="rId17" Type="http://schemas.openxmlformats.org/officeDocument/2006/relationships/tags" Target="../tags/tag1467.xml"/><Relationship Id="rId2" Type="http://schemas.openxmlformats.org/officeDocument/2006/relationships/tags" Target="../tags/tag1452.xml"/><Relationship Id="rId16" Type="http://schemas.openxmlformats.org/officeDocument/2006/relationships/tags" Target="../tags/tag1466.xml"/><Relationship Id="rId20" Type="http://schemas.openxmlformats.org/officeDocument/2006/relationships/oleObject" Target="../embeddings/oleObject44.bin"/><Relationship Id="rId1" Type="http://schemas.openxmlformats.org/officeDocument/2006/relationships/vmlDrawing" Target="../drawings/vmlDrawing44.vml"/><Relationship Id="rId6" Type="http://schemas.openxmlformats.org/officeDocument/2006/relationships/tags" Target="../tags/tag1456.xml"/><Relationship Id="rId11" Type="http://schemas.openxmlformats.org/officeDocument/2006/relationships/tags" Target="../tags/tag1461.xml"/><Relationship Id="rId5" Type="http://schemas.openxmlformats.org/officeDocument/2006/relationships/tags" Target="../tags/tag1455.xml"/><Relationship Id="rId15" Type="http://schemas.openxmlformats.org/officeDocument/2006/relationships/tags" Target="../tags/tag1465.xml"/><Relationship Id="rId10" Type="http://schemas.openxmlformats.org/officeDocument/2006/relationships/tags" Target="../tags/tag1460.xml"/><Relationship Id="rId19" Type="http://schemas.openxmlformats.org/officeDocument/2006/relationships/notesSlide" Target="../notesSlides/notesSlide19.xml"/><Relationship Id="rId4" Type="http://schemas.openxmlformats.org/officeDocument/2006/relationships/tags" Target="../tags/tag1454.xml"/><Relationship Id="rId9" Type="http://schemas.openxmlformats.org/officeDocument/2006/relationships/tags" Target="../tags/tag1459.xml"/><Relationship Id="rId14" Type="http://schemas.openxmlformats.org/officeDocument/2006/relationships/tags" Target="../tags/tag1464.xml"/><Relationship Id="rId22" Type="http://schemas.openxmlformats.org/officeDocument/2006/relationships/chart" Target="../charts/chart69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474.xml"/><Relationship Id="rId13" Type="http://schemas.openxmlformats.org/officeDocument/2006/relationships/image" Target="../media/image10.emf"/><Relationship Id="rId3" Type="http://schemas.openxmlformats.org/officeDocument/2006/relationships/tags" Target="../tags/tag1469.xml"/><Relationship Id="rId7" Type="http://schemas.openxmlformats.org/officeDocument/2006/relationships/tags" Target="../tags/tag1473.xml"/><Relationship Id="rId12" Type="http://schemas.openxmlformats.org/officeDocument/2006/relationships/oleObject" Target="../embeddings/oleObject45.bin"/><Relationship Id="rId2" Type="http://schemas.openxmlformats.org/officeDocument/2006/relationships/tags" Target="../tags/tag1468.xml"/><Relationship Id="rId1" Type="http://schemas.openxmlformats.org/officeDocument/2006/relationships/vmlDrawing" Target="../drawings/vmlDrawing45.vml"/><Relationship Id="rId6" Type="http://schemas.openxmlformats.org/officeDocument/2006/relationships/tags" Target="../tags/tag1472.xml"/><Relationship Id="rId11" Type="http://schemas.openxmlformats.org/officeDocument/2006/relationships/notesSlide" Target="../notesSlides/notesSlide20.xml"/><Relationship Id="rId5" Type="http://schemas.openxmlformats.org/officeDocument/2006/relationships/tags" Target="../tags/tag1471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470.xml"/><Relationship Id="rId9" Type="http://schemas.openxmlformats.org/officeDocument/2006/relationships/tags" Target="../tags/tag1475.xml"/><Relationship Id="rId14" Type="http://schemas.openxmlformats.org/officeDocument/2006/relationships/chart" Target="../charts/chart7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482.xml"/><Relationship Id="rId13" Type="http://schemas.openxmlformats.org/officeDocument/2006/relationships/tags" Target="../tags/tag1487.xml"/><Relationship Id="rId18" Type="http://schemas.openxmlformats.org/officeDocument/2006/relationships/tags" Target="../tags/tag1492.xml"/><Relationship Id="rId3" Type="http://schemas.openxmlformats.org/officeDocument/2006/relationships/tags" Target="../tags/tag1477.xml"/><Relationship Id="rId21" Type="http://schemas.openxmlformats.org/officeDocument/2006/relationships/notesSlide" Target="../notesSlides/notesSlide21.xml"/><Relationship Id="rId7" Type="http://schemas.openxmlformats.org/officeDocument/2006/relationships/tags" Target="../tags/tag1481.xml"/><Relationship Id="rId12" Type="http://schemas.openxmlformats.org/officeDocument/2006/relationships/tags" Target="../tags/tag1486.xml"/><Relationship Id="rId17" Type="http://schemas.openxmlformats.org/officeDocument/2006/relationships/tags" Target="../tags/tag1491.xml"/><Relationship Id="rId2" Type="http://schemas.openxmlformats.org/officeDocument/2006/relationships/tags" Target="../tags/tag1476.xml"/><Relationship Id="rId16" Type="http://schemas.openxmlformats.org/officeDocument/2006/relationships/tags" Target="../tags/tag1490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46.vml"/><Relationship Id="rId6" Type="http://schemas.openxmlformats.org/officeDocument/2006/relationships/tags" Target="../tags/tag1480.xml"/><Relationship Id="rId11" Type="http://schemas.openxmlformats.org/officeDocument/2006/relationships/tags" Target="../tags/tag1485.xml"/><Relationship Id="rId24" Type="http://schemas.openxmlformats.org/officeDocument/2006/relationships/chart" Target="../charts/chart71.xml"/><Relationship Id="rId5" Type="http://schemas.openxmlformats.org/officeDocument/2006/relationships/tags" Target="../tags/tag1479.xml"/><Relationship Id="rId15" Type="http://schemas.openxmlformats.org/officeDocument/2006/relationships/tags" Target="../tags/tag1489.xml"/><Relationship Id="rId23" Type="http://schemas.openxmlformats.org/officeDocument/2006/relationships/image" Target="../media/image10.emf"/><Relationship Id="rId10" Type="http://schemas.openxmlformats.org/officeDocument/2006/relationships/tags" Target="../tags/tag1484.xml"/><Relationship Id="rId19" Type="http://schemas.openxmlformats.org/officeDocument/2006/relationships/tags" Target="../tags/tag1493.xml"/><Relationship Id="rId4" Type="http://schemas.openxmlformats.org/officeDocument/2006/relationships/tags" Target="../tags/tag1478.xml"/><Relationship Id="rId9" Type="http://schemas.openxmlformats.org/officeDocument/2006/relationships/tags" Target="../tags/tag1483.xml"/><Relationship Id="rId14" Type="http://schemas.openxmlformats.org/officeDocument/2006/relationships/tags" Target="../tags/tag1488.xml"/><Relationship Id="rId22" Type="http://schemas.openxmlformats.org/officeDocument/2006/relationships/oleObject" Target="../embeddings/oleObject46.bin"/></Relationships>
</file>

<file path=ppt/slides/_rels/slide33.xml.rels><?xml version="1.0" encoding="UTF-8" standalone="yes"?>
<Relationships xmlns="http://schemas.openxmlformats.org/package/2006/relationships"><Relationship Id="rId26" Type="http://schemas.openxmlformats.org/officeDocument/2006/relationships/tags" Target="../tags/tag1518.xml"/><Relationship Id="rId21" Type="http://schemas.openxmlformats.org/officeDocument/2006/relationships/tags" Target="../tags/tag1513.xml"/><Relationship Id="rId34" Type="http://schemas.openxmlformats.org/officeDocument/2006/relationships/tags" Target="../tags/tag1526.xml"/><Relationship Id="rId42" Type="http://schemas.openxmlformats.org/officeDocument/2006/relationships/tags" Target="../tags/tag1534.xml"/><Relationship Id="rId47" Type="http://schemas.openxmlformats.org/officeDocument/2006/relationships/tags" Target="../tags/tag1539.xml"/><Relationship Id="rId50" Type="http://schemas.openxmlformats.org/officeDocument/2006/relationships/tags" Target="../tags/tag1542.xml"/><Relationship Id="rId55" Type="http://schemas.openxmlformats.org/officeDocument/2006/relationships/tags" Target="../tags/tag1547.xml"/><Relationship Id="rId63" Type="http://schemas.openxmlformats.org/officeDocument/2006/relationships/tags" Target="../tags/tag1555.xml"/><Relationship Id="rId68" Type="http://schemas.openxmlformats.org/officeDocument/2006/relationships/tags" Target="../tags/tag1560.xml"/><Relationship Id="rId76" Type="http://schemas.openxmlformats.org/officeDocument/2006/relationships/tags" Target="../tags/tag1568.xml"/><Relationship Id="rId84" Type="http://schemas.openxmlformats.org/officeDocument/2006/relationships/tags" Target="../tags/tag1576.xml"/><Relationship Id="rId89" Type="http://schemas.openxmlformats.org/officeDocument/2006/relationships/tags" Target="../tags/tag1581.xml"/><Relationship Id="rId97" Type="http://schemas.openxmlformats.org/officeDocument/2006/relationships/tags" Target="../tags/tag1589.xml"/><Relationship Id="rId7" Type="http://schemas.openxmlformats.org/officeDocument/2006/relationships/tags" Target="../tags/tag1499.xml"/><Relationship Id="rId71" Type="http://schemas.openxmlformats.org/officeDocument/2006/relationships/tags" Target="../tags/tag1563.xml"/><Relationship Id="rId92" Type="http://schemas.openxmlformats.org/officeDocument/2006/relationships/tags" Target="../tags/tag1584.xml"/><Relationship Id="rId2" Type="http://schemas.openxmlformats.org/officeDocument/2006/relationships/tags" Target="../tags/tag1494.xml"/><Relationship Id="rId16" Type="http://schemas.openxmlformats.org/officeDocument/2006/relationships/tags" Target="../tags/tag1508.xml"/><Relationship Id="rId29" Type="http://schemas.openxmlformats.org/officeDocument/2006/relationships/tags" Target="../tags/tag1521.xml"/><Relationship Id="rId11" Type="http://schemas.openxmlformats.org/officeDocument/2006/relationships/tags" Target="../tags/tag1503.xml"/><Relationship Id="rId24" Type="http://schemas.openxmlformats.org/officeDocument/2006/relationships/tags" Target="../tags/tag1516.xml"/><Relationship Id="rId32" Type="http://schemas.openxmlformats.org/officeDocument/2006/relationships/tags" Target="../tags/tag1524.xml"/><Relationship Id="rId37" Type="http://schemas.openxmlformats.org/officeDocument/2006/relationships/tags" Target="../tags/tag1529.xml"/><Relationship Id="rId40" Type="http://schemas.openxmlformats.org/officeDocument/2006/relationships/tags" Target="../tags/tag1532.xml"/><Relationship Id="rId45" Type="http://schemas.openxmlformats.org/officeDocument/2006/relationships/tags" Target="../tags/tag1537.xml"/><Relationship Id="rId53" Type="http://schemas.openxmlformats.org/officeDocument/2006/relationships/tags" Target="../tags/tag1545.xml"/><Relationship Id="rId58" Type="http://schemas.openxmlformats.org/officeDocument/2006/relationships/tags" Target="../tags/tag1550.xml"/><Relationship Id="rId66" Type="http://schemas.openxmlformats.org/officeDocument/2006/relationships/tags" Target="../tags/tag1558.xml"/><Relationship Id="rId74" Type="http://schemas.openxmlformats.org/officeDocument/2006/relationships/tags" Target="../tags/tag1566.xml"/><Relationship Id="rId79" Type="http://schemas.openxmlformats.org/officeDocument/2006/relationships/tags" Target="../tags/tag1571.xml"/><Relationship Id="rId87" Type="http://schemas.openxmlformats.org/officeDocument/2006/relationships/tags" Target="../tags/tag1579.xml"/><Relationship Id="rId5" Type="http://schemas.openxmlformats.org/officeDocument/2006/relationships/tags" Target="../tags/tag1497.xml"/><Relationship Id="rId61" Type="http://schemas.openxmlformats.org/officeDocument/2006/relationships/tags" Target="../tags/tag1553.xml"/><Relationship Id="rId82" Type="http://schemas.openxmlformats.org/officeDocument/2006/relationships/tags" Target="../tags/tag1574.xml"/><Relationship Id="rId90" Type="http://schemas.openxmlformats.org/officeDocument/2006/relationships/tags" Target="../tags/tag1582.xml"/><Relationship Id="rId95" Type="http://schemas.openxmlformats.org/officeDocument/2006/relationships/tags" Target="../tags/tag1587.xml"/><Relationship Id="rId19" Type="http://schemas.openxmlformats.org/officeDocument/2006/relationships/tags" Target="../tags/tag1511.xml"/><Relationship Id="rId14" Type="http://schemas.openxmlformats.org/officeDocument/2006/relationships/tags" Target="../tags/tag1506.xml"/><Relationship Id="rId22" Type="http://schemas.openxmlformats.org/officeDocument/2006/relationships/tags" Target="../tags/tag1514.xml"/><Relationship Id="rId27" Type="http://schemas.openxmlformats.org/officeDocument/2006/relationships/tags" Target="../tags/tag1519.xml"/><Relationship Id="rId30" Type="http://schemas.openxmlformats.org/officeDocument/2006/relationships/tags" Target="../tags/tag1522.xml"/><Relationship Id="rId35" Type="http://schemas.openxmlformats.org/officeDocument/2006/relationships/tags" Target="../tags/tag1527.xml"/><Relationship Id="rId43" Type="http://schemas.openxmlformats.org/officeDocument/2006/relationships/tags" Target="../tags/tag1535.xml"/><Relationship Id="rId48" Type="http://schemas.openxmlformats.org/officeDocument/2006/relationships/tags" Target="../tags/tag1540.xml"/><Relationship Id="rId56" Type="http://schemas.openxmlformats.org/officeDocument/2006/relationships/tags" Target="../tags/tag1548.xml"/><Relationship Id="rId64" Type="http://schemas.openxmlformats.org/officeDocument/2006/relationships/tags" Target="../tags/tag1556.xml"/><Relationship Id="rId69" Type="http://schemas.openxmlformats.org/officeDocument/2006/relationships/tags" Target="../tags/tag1561.xml"/><Relationship Id="rId77" Type="http://schemas.openxmlformats.org/officeDocument/2006/relationships/tags" Target="../tags/tag1569.xml"/><Relationship Id="rId100" Type="http://schemas.openxmlformats.org/officeDocument/2006/relationships/image" Target="../media/image15.emf"/><Relationship Id="rId8" Type="http://schemas.openxmlformats.org/officeDocument/2006/relationships/tags" Target="../tags/tag1500.xml"/><Relationship Id="rId51" Type="http://schemas.openxmlformats.org/officeDocument/2006/relationships/tags" Target="../tags/tag1543.xml"/><Relationship Id="rId72" Type="http://schemas.openxmlformats.org/officeDocument/2006/relationships/tags" Target="../tags/tag1564.xml"/><Relationship Id="rId80" Type="http://schemas.openxmlformats.org/officeDocument/2006/relationships/tags" Target="../tags/tag1572.xml"/><Relationship Id="rId85" Type="http://schemas.openxmlformats.org/officeDocument/2006/relationships/tags" Target="../tags/tag1577.xml"/><Relationship Id="rId93" Type="http://schemas.openxmlformats.org/officeDocument/2006/relationships/tags" Target="../tags/tag1585.xml"/><Relationship Id="rId98" Type="http://schemas.openxmlformats.org/officeDocument/2006/relationships/slideLayout" Target="../slideLayouts/slideLayout2.xml"/><Relationship Id="rId3" Type="http://schemas.openxmlformats.org/officeDocument/2006/relationships/tags" Target="../tags/tag1495.xml"/><Relationship Id="rId12" Type="http://schemas.openxmlformats.org/officeDocument/2006/relationships/tags" Target="../tags/tag1504.xml"/><Relationship Id="rId17" Type="http://schemas.openxmlformats.org/officeDocument/2006/relationships/tags" Target="../tags/tag1509.xml"/><Relationship Id="rId25" Type="http://schemas.openxmlformats.org/officeDocument/2006/relationships/tags" Target="../tags/tag1517.xml"/><Relationship Id="rId33" Type="http://schemas.openxmlformats.org/officeDocument/2006/relationships/tags" Target="../tags/tag1525.xml"/><Relationship Id="rId38" Type="http://schemas.openxmlformats.org/officeDocument/2006/relationships/tags" Target="../tags/tag1530.xml"/><Relationship Id="rId46" Type="http://schemas.openxmlformats.org/officeDocument/2006/relationships/tags" Target="../tags/tag1538.xml"/><Relationship Id="rId59" Type="http://schemas.openxmlformats.org/officeDocument/2006/relationships/tags" Target="../tags/tag1551.xml"/><Relationship Id="rId67" Type="http://schemas.openxmlformats.org/officeDocument/2006/relationships/tags" Target="../tags/tag1559.xml"/><Relationship Id="rId20" Type="http://schemas.openxmlformats.org/officeDocument/2006/relationships/tags" Target="../tags/tag1512.xml"/><Relationship Id="rId41" Type="http://schemas.openxmlformats.org/officeDocument/2006/relationships/tags" Target="../tags/tag1533.xml"/><Relationship Id="rId54" Type="http://schemas.openxmlformats.org/officeDocument/2006/relationships/tags" Target="../tags/tag1546.xml"/><Relationship Id="rId62" Type="http://schemas.openxmlformats.org/officeDocument/2006/relationships/tags" Target="../tags/tag1554.xml"/><Relationship Id="rId70" Type="http://schemas.openxmlformats.org/officeDocument/2006/relationships/tags" Target="../tags/tag1562.xml"/><Relationship Id="rId75" Type="http://schemas.openxmlformats.org/officeDocument/2006/relationships/tags" Target="../tags/tag1567.xml"/><Relationship Id="rId83" Type="http://schemas.openxmlformats.org/officeDocument/2006/relationships/tags" Target="../tags/tag1575.xml"/><Relationship Id="rId88" Type="http://schemas.openxmlformats.org/officeDocument/2006/relationships/tags" Target="../tags/tag1580.xml"/><Relationship Id="rId91" Type="http://schemas.openxmlformats.org/officeDocument/2006/relationships/tags" Target="../tags/tag1583.xml"/><Relationship Id="rId96" Type="http://schemas.openxmlformats.org/officeDocument/2006/relationships/tags" Target="../tags/tag1588.xml"/><Relationship Id="rId1" Type="http://schemas.openxmlformats.org/officeDocument/2006/relationships/vmlDrawing" Target="../drawings/vmlDrawing47.vml"/><Relationship Id="rId6" Type="http://schemas.openxmlformats.org/officeDocument/2006/relationships/tags" Target="../tags/tag1498.xml"/><Relationship Id="rId15" Type="http://schemas.openxmlformats.org/officeDocument/2006/relationships/tags" Target="../tags/tag1507.xml"/><Relationship Id="rId23" Type="http://schemas.openxmlformats.org/officeDocument/2006/relationships/tags" Target="../tags/tag1515.xml"/><Relationship Id="rId28" Type="http://schemas.openxmlformats.org/officeDocument/2006/relationships/tags" Target="../tags/tag1520.xml"/><Relationship Id="rId36" Type="http://schemas.openxmlformats.org/officeDocument/2006/relationships/tags" Target="../tags/tag1528.xml"/><Relationship Id="rId49" Type="http://schemas.openxmlformats.org/officeDocument/2006/relationships/tags" Target="../tags/tag1541.xml"/><Relationship Id="rId57" Type="http://schemas.openxmlformats.org/officeDocument/2006/relationships/tags" Target="../tags/tag1549.xml"/><Relationship Id="rId10" Type="http://schemas.openxmlformats.org/officeDocument/2006/relationships/tags" Target="../tags/tag1502.xml"/><Relationship Id="rId31" Type="http://schemas.openxmlformats.org/officeDocument/2006/relationships/tags" Target="../tags/tag1523.xml"/><Relationship Id="rId44" Type="http://schemas.openxmlformats.org/officeDocument/2006/relationships/tags" Target="../tags/tag1536.xml"/><Relationship Id="rId52" Type="http://schemas.openxmlformats.org/officeDocument/2006/relationships/tags" Target="../tags/tag1544.xml"/><Relationship Id="rId60" Type="http://schemas.openxmlformats.org/officeDocument/2006/relationships/tags" Target="../tags/tag1552.xml"/><Relationship Id="rId65" Type="http://schemas.openxmlformats.org/officeDocument/2006/relationships/tags" Target="../tags/tag1557.xml"/><Relationship Id="rId73" Type="http://schemas.openxmlformats.org/officeDocument/2006/relationships/tags" Target="../tags/tag1565.xml"/><Relationship Id="rId78" Type="http://schemas.openxmlformats.org/officeDocument/2006/relationships/tags" Target="../tags/tag1570.xml"/><Relationship Id="rId81" Type="http://schemas.openxmlformats.org/officeDocument/2006/relationships/tags" Target="../tags/tag1573.xml"/><Relationship Id="rId86" Type="http://schemas.openxmlformats.org/officeDocument/2006/relationships/tags" Target="../tags/tag1578.xml"/><Relationship Id="rId94" Type="http://schemas.openxmlformats.org/officeDocument/2006/relationships/tags" Target="../tags/tag1586.xml"/><Relationship Id="rId99" Type="http://schemas.openxmlformats.org/officeDocument/2006/relationships/oleObject" Target="../embeddings/oleObject47.bin"/><Relationship Id="rId101" Type="http://schemas.openxmlformats.org/officeDocument/2006/relationships/image" Target="../media/image20.png"/><Relationship Id="rId4" Type="http://schemas.openxmlformats.org/officeDocument/2006/relationships/tags" Target="../tags/tag1496.xml"/><Relationship Id="rId9" Type="http://schemas.openxmlformats.org/officeDocument/2006/relationships/tags" Target="../tags/tag1501.xml"/><Relationship Id="rId13" Type="http://schemas.openxmlformats.org/officeDocument/2006/relationships/tags" Target="../tags/tag1505.xml"/><Relationship Id="rId18" Type="http://schemas.openxmlformats.org/officeDocument/2006/relationships/tags" Target="../tags/tag1510.xml"/><Relationship Id="rId39" Type="http://schemas.openxmlformats.org/officeDocument/2006/relationships/tags" Target="../tags/tag153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1596.xml"/><Relationship Id="rId13" Type="http://schemas.openxmlformats.org/officeDocument/2006/relationships/tags" Target="../tags/tag1601.xml"/><Relationship Id="rId18" Type="http://schemas.openxmlformats.org/officeDocument/2006/relationships/tags" Target="../tags/tag1606.xml"/><Relationship Id="rId3" Type="http://schemas.openxmlformats.org/officeDocument/2006/relationships/tags" Target="../tags/tag1591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595.xml"/><Relationship Id="rId12" Type="http://schemas.openxmlformats.org/officeDocument/2006/relationships/tags" Target="../tags/tag1600.xml"/><Relationship Id="rId17" Type="http://schemas.openxmlformats.org/officeDocument/2006/relationships/tags" Target="../tags/tag1605.xml"/><Relationship Id="rId2" Type="http://schemas.openxmlformats.org/officeDocument/2006/relationships/tags" Target="../tags/tag1590.xml"/><Relationship Id="rId16" Type="http://schemas.openxmlformats.org/officeDocument/2006/relationships/tags" Target="../tags/tag1604.xml"/><Relationship Id="rId20" Type="http://schemas.openxmlformats.org/officeDocument/2006/relationships/tags" Target="../tags/tag1608.xml"/><Relationship Id="rId1" Type="http://schemas.openxmlformats.org/officeDocument/2006/relationships/vmlDrawing" Target="../drawings/vmlDrawing48.vml"/><Relationship Id="rId6" Type="http://schemas.openxmlformats.org/officeDocument/2006/relationships/tags" Target="../tags/tag1594.xml"/><Relationship Id="rId11" Type="http://schemas.openxmlformats.org/officeDocument/2006/relationships/tags" Target="../tags/tag1599.xml"/><Relationship Id="rId24" Type="http://schemas.openxmlformats.org/officeDocument/2006/relationships/chart" Target="../charts/chart72.xml"/><Relationship Id="rId5" Type="http://schemas.openxmlformats.org/officeDocument/2006/relationships/tags" Target="../tags/tag1593.xml"/><Relationship Id="rId15" Type="http://schemas.openxmlformats.org/officeDocument/2006/relationships/tags" Target="../tags/tag1603.xml"/><Relationship Id="rId23" Type="http://schemas.openxmlformats.org/officeDocument/2006/relationships/image" Target="../media/image15.emf"/><Relationship Id="rId10" Type="http://schemas.openxmlformats.org/officeDocument/2006/relationships/tags" Target="../tags/tag1598.xml"/><Relationship Id="rId19" Type="http://schemas.openxmlformats.org/officeDocument/2006/relationships/tags" Target="../tags/tag1607.xml"/><Relationship Id="rId4" Type="http://schemas.openxmlformats.org/officeDocument/2006/relationships/tags" Target="../tags/tag1592.xml"/><Relationship Id="rId9" Type="http://schemas.openxmlformats.org/officeDocument/2006/relationships/tags" Target="../tags/tag1597.xml"/><Relationship Id="rId14" Type="http://schemas.openxmlformats.org/officeDocument/2006/relationships/tags" Target="../tags/tag1602.xml"/><Relationship Id="rId22" Type="http://schemas.openxmlformats.org/officeDocument/2006/relationships/oleObject" Target="../embeddings/oleObject48.bin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1615.xml"/><Relationship Id="rId13" Type="http://schemas.openxmlformats.org/officeDocument/2006/relationships/tags" Target="../tags/tag1620.xml"/><Relationship Id="rId18" Type="http://schemas.openxmlformats.org/officeDocument/2006/relationships/tags" Target="../tags/tag1625.xml"/><Relationship Id="rId26" Type="http://schemas.openxmlformats.org/officeDocument/2006/relationships/tags" Target="../tags/tag1633.xml"/><Relationship Id="rId3" Type="http://schemas.openxmlformats.org/officeDocument/2006/relationships/tags" Target="../tags/tag1610.xml"/><Relationship Id="rId21" Type="http://schemas.openxmlformats.org/officeDocument/2006/relationships/tags" Target="../tags/tag1628.xml"/><Relationship Id="rId34" Type="http://schemas.openxmlformats.org/officeDocument/2006/relationships/chart" Target="../charts/chart73.xml"/><Relationship Id="rId7" Type="http://schemas.openxmlformats.org/officeDocument/2006/relationships/tags" Target="../tags/tag1614.xml"/><Relationship Id="rId12" Type="http://schemas.openxmlformats.org/officeDocument/2006/relationships/tags" Target="../tags/tag1619.xml"/><Relationship Id="rId17" Type="http://schemas.openxmlformats.org/officeDocument/2006/relationships/tags" Target="../tags/tag1624.xml"/><Relationship Id="rId25" Type="http://schemas.openxmlformats.org/officeDocument/2006/relationships/tags" Target="../tags/tag1632.xml"/><Relationship Id="rId33" Type="http://schemas.openxmlformats.org/officeDocument/2006/relationships/image" Target="../media/image15.emf"/><Relationship Id="rId2" Type="http://schemas.openxmlformats.org/officeDocument/2006/relationships/tags" Target="../tags/tag1609.xml"/><Relationship Id="rId16" Type="http://schemas.openxmlformats.org/officeDocument/2006/relationships/tags" Target="../tags/tag1623.xml"/><Relationship Id="rId20" Type="http://schemas.openxmlformats.org/officeDocument/2006/relationships/tags" Target="../tags/tag1627.xml"/><Relationship Id="rId29" Type="http://schemas.openxmlformats.org/officeDocument/2006/relationships/tags" Target="../tags/tag1636.xml"/><Relationship Id="rId1" Type="http://schemas.openxmlformats.org/officeDocument/2006/relationships/vmlDrawing" Target="../drawings/vmlDrawing49.vml"/><Relationship Id="rId6" Type="http://schemas.openxmlformats.org/officeDocument/2006/relationships/tags" Target="../tags/tag1613.xml"/><Relationship Id="rId11" Type="http://schemas.openxmlformats.org/officeDocument/2006/relationships/tags" Target="../tags/tag1618.xml"/><Relationship Id="rId24" Type="http://schemas.openxmlformats.org/officeDocument/2006/relationships/tags" Target="../tags/tag1631.xml"/><Relationship Id="rId32" Type="http://schemas.openxmlformats.org/officeDocument/2006/relationships/oleObject" Target="../embeddings/oleObject49.bin"/><Relationship Id="rId5" Type="http://schemas.openxmlformats.org/officeDocument/2006/relationships/tags" Target="../tags/tag1612.xml"/><Relationship Id="rId15" Type="http://schemas.openxmlformats.org/officeDocument/2006/relationships/tags" Target="../tags/tag1622.xml"/><Relationship Id="rId23" Type="http://schemas.openxmlformats.org/officeDocument/2006/relationships/tags" Target="../tags/tag1630.xml"/><Relationship Id="rId28" Type="http://schemas.openxmlformats.org/officeDocument/2006/relationships/tags" Target="../tags/tag1635.xml"/><Relationship Id="rId10" Type="http://schemas.openxmlformats.org/officeDocument/2006/relationships/tags" Target="../tags/tag1617.xml"/><Relationship Id="rId19" Type="http://schemas.openxmlformats.org/officeDocument/2006/relationships/tags" Target="../tags/tag1626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1611.xml"/><Relationship Id="rId9" Type="http://schemas.openxmlformats.org/officeDocument/2006/relationships/tags" Target="../tags/tag1616.xml"/><Relationship Id="rId14" Type="http://schemas.openxmlformats.org/officeDocument/2006/relationships/tags" Target="../tags/tag1621.xml"/><Relationship Id="rId22" Type="http://schemas.openxmlformats.org/officeDocument/2006/relationships/tags" Target="../tags/tag1629.xml"/><Relationship Id="rId27" Type="http://schemas.openxmlformats.org/officeDocument/2006/relationships/tags" Target="../tags/tag1634.xml"/><Relationship Id="rId30" Type="http://schemas.openxmlformats.org/officeDocument/2006/relationships/tags" Target="../tags/tag163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1644.xml"/><Relationship Id="rId13" Type="http://schemas.openxmlformats.org/officeDocument/2006/relationships/tags" Target="../tags/tag1649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639.xml"/><Relationship Id="rId7" Type="http://schemas.openxmlformats.org/officeDocument/2006/relationships/tags" Target="../tags/tag1643.xml"/><Relationship Id="rId12" Type="http://schemas.openxmlformats.org/officeDocument/2006/relationships/tags" Target="../tags/tag1648.xml"/><Relationship Id="rId17" Type="http://schemas.openxmlformats.org/officeDocument/2006/relationships/tags" Target="../tags/tag1653.xml"/><Relationship Id="rId2" Type="http://schemas.openxmlformats.org/officeDocument/2006/relationships/tags" Target="../tags/tag1638.xml"/><Relationship Id="rId16" Type="http://schemas.openxmlformats.org/officeDocument/2006/relationships/tags" Target="../tags/tag1652.xml"/><Relationship Id="rId20" Type="http://schemas.openxmlformats.org/officeDocument/2006/relationships/image" Target="../media/image15.emf"/><Relationship Id="rId1" Type="http://schemas.openxmlformats.org/officeDocument/2006/relationships/vmlDrawing" Target="../drawings/vmlDrawing50.vml"/><Relationship Id="rId6" Type="http://schemas.openxmlformats.org/officeDocument/2006/relationships/tags" Target="../tags/tag1642.xml"/><Relationship Id="rId11" Type="http://schemas.openxmlformats.org/officeDocument/2006/relationships/tags" Target="../tags/tag1647.xml"/><Relationship Id="rId5" Type="http://schemas.openxmlformats.org/officeDocument/2006/relationships/tags" Target="../tags/tag1641.xml"/><Relationship Id="rId15" Type="http://schemas.openxmlformats.org/officeDocument/2006/relationships/tags" Target="../tags/tag1651.xml"/><Relationship Id="rId10" Type="http://schemas.openxmlformats.org/officeDocument/2006/relationships/tags" Target="../tags/tag1646.xml"/><Relationship Id="rId19" Type="http://schemas.openxmlformats.org/officeDocument/2006/relationships/oleObject" Target="../embeddings/oleObject50.bin"/><Relationship Id="rId4" Type="http://schemas.openxmlformats.org/officeDocument/2006/relationships/tags" Target="../tags/tag1640.xml"/><Relationship Id="rId9" Type="http://schemas.openxmlformats.org/officeDocument/2006/relationships/tags" Target="../tags/tag1645.xml"/><Relationship Id="rId14" Type="http://schemas.openxmlformats.org/officeDocument/2006/relationships/tags" Target="../tags/tag1650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1660.xml"/><Relationship Id="rId13" Type="http://schemas.openxmlformats.org/officeDocument/2006/relationships/tags" Target="../tags/tag1665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655.xml"/><Relationship Id="rId7" Type="http://schemas.openxmlformats.org/officeDocument/2006/relationships/tags" Target="../tags/tag1659.xml"/><Relationship Id="rId12" Type="http://schemas.openxmlformats.org/officeDocument/2006/relationships/tags" Target="../tags/tag1664.xml"/><Relationship Id="rId17" Type="http://schemas.openxmlformats.org/officeDocument/2006/relationships/tags" Target="../tags/tag1669.xml"/><Relationship Id="rId2" Type="http://schemas.openxmlformats.org/officeDocument/2006/relationships/tags" Target="../tags/tag1654.xml"/><Relationship Id="rId16" Type="http://schemas.openxmlformats.org/officeDocument/2006/relationships/tags" Target="../tags/tag1668.xml"/><Relationship Id="rId20" Type="http://schemas.openxmlformats.org/officeDocument/2006/relationships/image" Target="../media/image15.emf"/><Relationship Id="rId1" Type="http://schemas.openxmlformats.org/officeDocument/2006/relationships/vmlDrawing" Target="../drawings/vmlDrawing51.vml"/><Relationship Id="rId6" Type="http://schemas.openxmlformats.org/officeDocument/2006/relationships/tags" Target="../tags/tag1658.xml"/><Relationship Id="rId11" Type="http://schemas.openxmlformats.org/officeDocument/2006/relationships/tags" Target="../tags/tag1663.xml"/><Relationship Id="rId5" Type="http://schemas.openxmlformats.org/officeDocument/2006/relationships/tags" Target="../tags/tag1657.xml"/><Relationship Id="rId15" Type="http://schemas.openxmlformats.org/officeDocument/2006/relationships/tags" Target="../tags/tag1667.xml"/><Relationship Id="rId10" Type="http://schemas.openxmlformats.org/officeDocument/2006/relationships/tags" Target="../tags/tag1662.xml"/><Relationship Id="rId19" Type="http://schemas.openxmlformats.org/officeDocument/2006/relationships/oleObject" Target="../embeddings/oleObject51.bin"/><Relationship Id="rId4" Type="http://schemas.openxmlformats.org/officeDocument/2006/relationships/tags" Target="../tags/tag1656.xml"/><Relationship Id="rId9" Type="http://schemas.openxmlformats.org/officeDocument/2006/relationships/tags" Target="../tags/tag1661.xml"/><Relationship Id="rId14" Type="http://schemas.openxmlformats.org/officeDocument/2006/relationships/tags" Target="../tags/tag1666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1676.xml"/><Relationship Id="rId13" Type="http://schemas.openxmlformats.org/officeDocument/2006/relationships/tags" Target="../tags/tag1681.xml"/><Relationship Id="rId18" Type="http://schemas.openxmlformats.org/officeDocument/2006/relationships/tags" Target="../tags/tag1686.xml"/><Relationship Id="rId3" Type="http://schemas.openxmlformats.org/officeDocument/2006/relationships/tags" Target="../tags/tag1671.xml"/><Relationship Id="rId21" Type="http://schemas.openxmlformats.org/officeDocument/2006/relationships/image" Target="../media/image15.emf"/><Relationship Id="rId7" Type="http://schemas.openxmlformats.org/officeDocument/2006/relationships/tags" Target="../tags/tag1675.xml"/><Relationship Id="rId12" Type="http://schemas.openxmlformats.org/officeDocument/2006/relationships/tags" Target="../tags/tag1680.xml"/><Relationship Id="rId17" Type="http://schemas.openxmlformats.org/officeDocument/2006/relationships/tags" Target="../tags/tag1685.xml"/><Relationship Id="rId2" Type="http://schemas.openxmlformats.org/officeDocument/2006/relationships/tags" Target="../tags/tag1670.xml"/><Relationship Id="rId16" Type="http://schemas.openxmlformats.org/officeDocument/2006/relationships/tags" Target="../tags/tag1684.xml"/><Relationship Id="rId20" Type="http://schemas.openxmlformats.org/officeDocument/2006/relationships/oleObject" Target="../embeddings/oleObject52.bin"/><Relationship Id="rId1" Type="http://schemas.openxmlformats.org/officeDocument/2006/relationships/vmlDrawing" Target="../drawings/vmlDrawing52.vml"/><Relationship Id="rId6" Type="http://schemas.openxmlformats.org/officeDocument/2006/relationships/tags" Target="../tags/tag1674.xml"/><Relationship Id="rId11" Type="http://schemas.openxmlformats.org/officeDocument/2006/relationships/tags" Target="../tags/tag1679.xml"/><Relationship Id="rId5" Type="http://schemas.openxmlformats.org/officeDocument/2006/relationships/tags" Target="../tags/tag1673.xml"/><Relationship Id="rId15" Type="http://schemas.openxmlformats.org/officeDocument/2006/relationships/tags" Target="../tags/tag1683.xml"/><Relationship Id="rId10" Type="http://schemas.openxmlformats.org/officeDocument/2006/relationships/tags" Target="../tags/tag1678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1672.xml"/><Relationship Id="rId9" Type="http://schemas.openxmlformats.org/officeDocument/2006/relationships/tags" Target="../tags/tag1677.xml"/><Relationship Id="rId14" Type="http://schemas.openxmlformats.org/officeDocument/2006/relationships/tags" Target="../tags/tag1682.xml"/><Relationship Id="rId22" Type="http://schemas.openxmlformats.org/officeDocument/2006/relationships/chart" Target="../charts/chart74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1693.xml"/><Relationship Id="rId13" Type="http://schemas.openxmlformats.org/officeDocument/2006/relationships/tags" Target="../tags/tag1698.xml"/><Relationship Id="rId18" Type="http://schemas.openxmlformats.org/officeDocument/2006/relationships/tags" Target="../tags/tag1703.xml"/><Relationship Id="rId26" Type="http://schemas.openxmlformats.org/officeDocument/2006/relationships/chart" Target="../charts/chart75.xml"/><Relationship Id="rId3" Type="http://schemas.openxmlformats.org/officeDocument/2006/relationships/tags" Target="../tags/tag1688.xml"/><Relationship Id="rId21" Type="http://schemas.openxmlformats.org/officeDocument/2006/relationships/tags" Target="../tags/tag1706.xml"/><Relationship Id="rId7" Type="http://schemas.openxmlformats.org/officeDocument/2006/relationships/tags" Target="../tags/tag1692.xml"/><Relationship Id="rId12" Type="http://schemas.openxmlformats.org/officeDocument/2006/relationships/tags" Target="../tags/tag1697.xml"/><Relationship Id="rId17" Type="http://schemas.openxmlformats.org/officeDocument/2006/relationships/tags" Target="../tags/tag1702.xml"/><Relationship Id="rId25" Type="http://schemas.openxmlformats.org/officeDocument/2006/relationships/image" Target="../media/image15.emf"/><Relationship Id="rId2" Type="http://schemas.openxmlformats.org/officeDocument/2006/relationships/tags" Target="../tags/tag1687.xml"/><Relationship Id="rId16" Type="http://schemas.openxmlformats.org/officeDocument/2006/relationships/tags" Target="../tags/tag1701.xml"/><Relationship Id="rId20" Type="http://schemas.openxmlformats.org/officeDocument/2006/relationships/tags" Target="../tags/tag1705.xml"/><Relationship Id="rId1" Type="http://schemas.openxmlformats.org/officeDocument/2006/relationships/vmlDrawing" Target="../drawings/vmlDrawing53.vml"/><Relationship Id="rId6" Type="http://schemas.openxmlformats.org/officeDocument/2006/relationships/tags" Target="../tags/tag1691.xml"/><Relationship Id="rId11" Type="http://schemas.openxmlformats.org/officeDocument/2006/relationships/tags" Target="../tags/tag1696.xml"/><Relationship Id="rId24" Type="http://schemas.openxmlformats.org/officeDocument/2006/relationships/oleObject" Target="../embeddings/oleObject53.bin"/><Relationship Id="rId5" Type="http://schemas.openxmlformats.org/officeDocument/2006/relationships/tags" Target="../tags/tag1690.xml"/><Relationship Id="rId15" Type="http://schemas.openxmlformats.org/officeDocument/2006/relationships/tags" Target="../tags/tag1700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1695.xml"/><Relationship Id="rId19" Type="http://schemas.openxmlformats.org/officeDocument/2006/relationships/tags" Target="../tags/tag1704.xml"/><Relationship Id="rId4" Type="http://schemas.openxmlformats.org/officeDocument/2006/relationships/tags" Target="../tags/tag1689.xml"/><Relationship Id="rId9" Type="http://schemas.openxmlformats.org/officeDocument/2006/relationships/tags" Target="../tags/tag1694.xml"/><Relationship Id="rId14" Type="http://schemas.openxmlformats.org/officeDocument/2006/relationships/tags" Target="../tags/tag1699.xml"/><Relationship Id="rId22" Type="http://schemas.openxmlformats.org/officeDocument/2006/relationships/tags" Target="../tags/tag170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4.png"/><Relationship Id="rId3" Type="http://schemas.openxmlformats.org/officeDocument/2006/relationships/tags" Target="../tags/tag140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3.png"/><Relationship Id="rId2" Type="http://schemas.openxmlformats.org/officeDocument/2006/relationships/tags" Target="../tags/tag13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43.xml"/><Relationship Id="rId11" Type="http://schemas.openxmlformats.org/officeDocument/2006/relationships/image" Target="../media/image12.png"/><Relationship Id="rId5" Type="http://schemas.openxmlformats.org/officeDocument/2006/relationships/tags" Target="../tags/tag142.xml"/><Relationship Id="rId10" Type="http://schemas.openxmlformats.org/officeDocument/2006/relationships/image" Target="../media/image11.emf"/><Relationship Id="rId4" Type="http://schemas.openxmlformats.org/officeDocument/2006/relationships/tags" Target="../tags/tag141.xml"/><Relationship Id="rId9" Type="http://schemas.openxmlformats.org/officeDocument/2006/relationships/oleObject" Target="../embeddings/oleObject18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1714.xml"/><Relationship Id="rId13" Type="http://schemas.openxmlformats.org/officeDocument/2006/relationships/tags" Target="../tags/tag1719.xml"/><Relationship Id="rId18" Type="http://schemas.openxmlformats.org/officeDocument/2006/relationships/tags" Target="../tags/tag1724.xml"/><Relationship Id="rId26" Type="http://schemas.openxmlformats.org/officeDocument/2006/relationships/tags" Target="../tags/tag1732.xml"/><Relationship Id="rId3" Type="http://schemas.openxmlformats.org/officeDocument/2006/relationships/tags" Target="../tags/tag1709.xml"/><Relationship Id="rId21" Type="http://schemas.openxmlformats.org/officeDocument/2006/relationships/tags" Target="../tags/tag1727.xml"/><Relationship Id="rId7" Type="http://schemas.openxmlformats.org/officeDocument/2006/relationships/tags" Target="../tags/tag1713.xml"/><Relationship Id="rId12" Type="http://schemas.openxmlformats.org/officeDocument/2006/relationships/tags" Target="../tags/tag1718.xml"/><Relationship Id="rId17" Type="http://schemas.openxmlformats.org/officeDocument/2006/relationships/tags" Target="../tags/tag1723.xml"/><Relationship Id="rId25" Type="http://schemas.openxmlformats.org/officeDocument/2006/relationships/tags" Target="../tags/tag1731.xml"/><Relationship Id="rId2" Type="http://schemas.openxmlformats.org/officeDocument/2006/relationships/tags" Target="../tags/tag1708.xml"/><Relationship Id="rId16" Type="http://schemas.openxmlformats.org/officeDocument/2006/relationships/tags" Target="../tags/tag1722.xml"/><Relationship Id="rId20" Type="http://schemas.openxmlformats.org/officeDocument/2006/relationships/tags" Target="../tags/tag1726.xml"/><Relationship Id="rId29" Type="http://schemas.openxmlformats.org/officeDocument/2006/relationships/image" Target="../media/image16.emf"/><Relationship Id="rId1" Type="http://schemas.openxmlformats.org/officeDocument/2006/relationships/vmlDrawing" Target="../drawings/vmlDrawing54.vml"/><Relationship Id="rId6" Type="http://schemas.openxmlformats.org/officeDocument/2006/relationships/tags" Target="../tags/tag1712.xml"/><Relationship Id="rId11" Type="http://schemas.openxmlformats.org/officeDocument/2006/relationships/tags" Target="../tags/tag1717.xml"/><Relationship Id="rId24" Type="http://schemas.openxmlformats.org/officeDocument/2006/relationships/tags" Target="../tags/tag1730.xml"/><Relationship Id="rId5" Type="http://schemas.openxmlformats.org/officeDocument/2006/relationships/tags" Target="../tags/tag1711.xml"/><Relationship Id="rId15" Type="http://schemas.openxmlformats.org/officeDocument/2006/relationships/tags" Target="../tags/tag1721.xml"/><Relationship Id="rId23" Type="http://schemas.openxmlformats.org/officeDocument/2006/relationships/tags" Target="../tags/tag1729.xml"/><Relationship Id="rId28" Type="http://schemas.openxmlformats.org/officeDocument/2006/relationships/oleObject" Target="../embeddings/oleObject54.bin"/><Relationship Id="rId10" Type="http://schemas.openxmlformats.org/officeDocument/2006/relationships/tags" Target="../tags/tag1716.xml"/><Relationship Id="rId19" Type="http://schemas.openxmlformats.org/officeDocument/2006/relationships/tags" Target="../tags/tag1725.xml"/><Relationship Id="rId4" Type="http://schemas.openxmlformats.org/officeDocument/2006/relationships/tags" Target="../tags/tag1710.xml"/><Relationship Id="rId9" Type="http://schemas.openxmlformats.org/officeDocument/2006/relationships/tags" Target="../tags/tag1715.xml"/><Relationship Id="rId14" Type="http://schemas.openxmlformats.org/officeDocument/2006/relationships/tags" Target="../tags/tag1720.xml"/><Relationship Id="rId22" Type="http://schemas.openxmlformats.org/officeDocument/2006/relationships/tags" Target="../tags/tag1728.xml"/><Relationship Id="rId27" Type="http://schemas.openxmlformats.org/officeDocument/2006/relationships/slideLayout" Target="../slideLayouts/slideLayout2.xml"/><Relationship Id="rId30" Type="http://schemas.openxmlformats.org/officeDocument/2006/relationships/chart" Target="../charts/chart76.xml"/></Relationships>
</file>

<file path=ppt/slides/_rels/slide41.xml.rels><?xml version="1.0" encoding="UTF-8" standalone="yes"?>
<Relationships xmlns="http://schemas.openxmlformats.org/package/2006/relationships"><Relationship Id="rId13" Type="http://schemas.openxmlformats.org/officeDocument/2006/relationships/tags" Target="../tags/tag1744.xml"/><Relationship Id="rId18" Type="http://schemas.openxmlformats.org/officeDocument/2006/relationships/tags" Target="../tags/tag1749.xml"/><Relationship Id="rId26" Type="http://schemas.openxmlformats.org/officeDocument/2006/relationships/tags" Target="../tags/tag1757.xml"/><Relationship Id="rId39" Type="http://schemas.openxmlformats.org/officeDocument/2006/relationships/tags" Target="../tags/tag1770.xml"/><Relationship Id="rId21" Type="http://schemas.openxmlformats.org/officeDocument/2006/relationships/tags" Target="../tags/tag1752.xml"/><Relationship Id="rId34" Type="http://schemas.openxmlformats.org/officeDocument/2006/relationships/tags" Target="../tags/tag1765.xml"/><Relationship Id="rId42" Type="http://schemas.openxmlformats.org/officeDocument/2006/relationships/tags" Target="../tags/tag1773.xml"/><Relationship Id="rId47" Type="http://schemas.openxmlformats.org/officeDocument/2006/relationships/tags" Target="../tags/tag1778.xml"/><Relationship Id="rId50" Type="http://schemas.openxmlformats.org/officeDocument/2006/relationships/tags" Target="../tags/tag1781.xml"/><Relationship Id="rId55" Type="http://schemas.openxmlformats.org/officeDocument/2006/relationships/tags" Target="../tags/tag1786.xml"/><Relationship Id="rId63" Type="http://schemas.openxmlformats.org/officeDocument/2006/relationships/tags" Target="../tags/tag1794.xml"/><Relationship Id="rId68" Type="http://schemas.openxmlformats.org/officeDocument/2006/relationships/tags" Target="../tags/tag1799.xml"/><Relationship Id="rId76" Type="http://schemas.openxmlformats.org/officeDocument/2006/relationships/tags" Target="../tags/tag1807.xml"/><Relationship Id="rId84" Type="http://schemas.openxmlformats.org/officeDocument/2006/relationships/tags" Target="../tags/tag1815.xml"/><Relationship Id="rId89" Type="http://schemas.openxmlformats.org/officeDocument/2006/relationships/tags" Target="../tags/tag1820.xml"/><Relationship Id="rId7" Type="http://schemas.openxmlformats.org/officeDocument/2006/relationships/tags" Target="../tags/tag1738.xml"/><Relationship Id="rId71" Type="http://schemas.openxmlformats.org/officeDocument/2006/relationships/tags" Target="../tags/tag1802.xml"/><Relationship Id="rId92" Type="http://schemas.openxmlformats.org/officeDocument/2006/relationships/tags" Target="../tags/tag1823.xml"/><Relationship Id="rId2" Type="http://schemas.openxmlformats.org/officeDocument/2006/relationships/tags" Target="../tags/tag1733.xml"/><Relationship Id="rId16" Type="http://schemas.openxmlformats.org/officeDocument/2006/relationships/tags" Target="../tags/tag1747.xml"/><Relationship Id="rId29" Type="http://schemas.openxmlformats.org/officeDocument/2006/relationships/tags" Target="../tags/tag1760.xml"/><Relationship Id="rId11" Type="http://schemas.openxmlformats.org/officeDocument/2006/relationships/tags" Target="../tags/tag1742.xml"/><Relationship Id="rId24" Type="http://schemas.openxmlformats.org/officeDocument/2006/relationships/tags" Target="../tags/tag1755.xml"/><Relationship Id="rId32" Type="http://schemas.openxmlformats.org/officeDocument/2006/relationships/tags" Target="../tags/tag1763.xml"/><Relationship Id="rId37" Type="http://schemas.openxmlformats.org/officeDocument/2006/relationships/tags" Target="../tags/tag1768.xml"/><Relationship Id="rId40" Type="http://schemas.openxmlformats.org/officeDocument/2006/relationships/tags" Target="../tags/tag1771.xml"/><Relationship Id="rId45" Type="http://schemas.openxmlformats.org/officeDocument/2006/relationships/tags" Target="../tags/tag1776.xml"/><Relationship Id="rId53" Type="http://schemas.openxmlformats.org/officeDocument/2006/relationships/tags" Target="../tags/tag1784.xml"/><Relationship Id="rId58" Type="http://schemas.openxmlformats.org/officeDocument/2006/relationships/tags" Target="../tags/tag1789.xml"/><Relationship Id="rId66" Type="http://schemas.openxmlformats.org/officeDocument/2006/relationships/tags" Target="../tags/tag1797.xml"/><Relationship Id="rId74" Type="http://schemas.openxmlformats.org/officeDocument/2006/relationships/tags" Target="../tags/tag1805.xml"/><Relationship Id="rId79" Type="http://schemas.openxmlformats.org/officeDocument/2006/relationships/tags" Target="../tags/tag1810.xml"/><Relationship Id="rId87" Type="http://schemas.openxmlformats.org/officeDocument/2006/relationships/tags" Target="../tags/tag1818.xml"/><Relationship Id="rId5" Type="http://schemas.openxmlformats.org/officeDocument/2006/relationships/tags" Target="../tags/tag1736.xml"/><Relationship Id="rId61" Type="http://schemas.openxmlformats.org/officeDocument/2006/relationships/tags" Target="../tags/tag1792.xml"/><Relationship Id="rId82" Type="http://schemas.openxmlformats.org/officeDocument/2006/relationships/tags" Target="../tags/tag1813.xml"/><Relationship Id="rId90" Type="http://schemas.openxmlformats.org/officeDocument/2006/relationships/tags" Target="../tags/tag1821.xml"/><Relationship Id="rId95" Type="http://schemas.openxmlformats.org/officeDocument/2006/relationships/oleObject" Target="../embeddings/oleObject55.bin"/><Relationship Id="rId19" Type="http://schemas.openxmlformats.org/officeDocument/2006/relationships/tags" Target="../tags/tag1750.xml"/><Relationship Id="rId14" Type="http://schemas.openxmlformats.org/officeDocument/2006/relationships/tags" Target="../tags/tag1745.xml"/><Relationship Id="rId22" Type="http://schemas.openxmlformats.org/officeDocument/2006/relationships/tags" Target="../tags/tag1753.xml"/><Relationship Id="rId27" Type="http://schemas.openxmlformats.org/officeDocument/2006/relationships/tags" Target="../tags/tag1758.xml"/><Relationship Id="rId30" Type="http://schemas.openxmlformats.org/officeDocument/2006/relationships/tags" Target="../tags/tag1761.xml"/><Relationship Id="rId35" Type="http://schemas.openxmlformats.org/officeDocument/2006/relationships/tags" Target="../tags/tag1766.xml"/><Relationship Id="rId43" Type="http://schemas.openxmlformats.org/officeDocument/2006/relationships/tags" Target="../tags/tag1774.xml"/><Relationship Id="rId48" Type="http://schemas.openxmlformats.org/officeDocument/2006/relationships/tags" Target="../tags/tag1779.xml"/><Relationship Id="rId56" Type="http://schemas.openxmlformats.org/officeDocument/2006/relationships/tags" Target="../tags/tag1787.xml"/><Relationship Id="rId64" Type="http://schemas.openxmlformats.org/officeDocument/2006/relationships/tags" Target="../tags/tag1795.xml"/><Relationship Id="rId69" Type="http://schemas.openxmlformats.org/officeDocument/2006/relationships/tags" Target="../tags/tag1800.xml"/><Relationship Id="rId77" Type="http://schemas.openxmlformats.org/officeDocument/2006/relationships/tags" Target="../tags/tag1808.xml"/><Relationship Id="rId8" Type="http://schemas.openxmlformats.org/officeDocument/2006/relationships/tags" Target="../tags/tag1739.xml"/><Relationship Id="rId51" Type="http://schemas.openxmlformats.org/officeDocument/2006/relationships/tags" Target="../tags/tag1782.xml"/><Relationship Id="rId72" Type="http://schemas.openxmlformats.org/officeDocument/2006/relationships/tags" Target="../tags/tag1803.xml"/><Relationship Id="rId80" Type="http://schemas.openxmlformats.org/officeDocument/2006/relationships/tags" Target="../tags/tag1811.xml"/><Relationship Id="rId85" Type="http://schemas.openxmlformats.org/officeDocument/2006/relationships/tags" Target="../tags/tag1816.xml"/><Relationship Id="rId93" Type="http://schemas.openxmlformats.org/officeDocument/2006/relationships/tags" Target="../tags/tag1824.xml"/><Relationship Id="rId3" Type="http://schemas.openxmlformats.org/officeDocument/2006/relationships/tags" Target="../tags/tag1734.xml"/><Relationship Id="rId12" Type="http://schemas.openxmlformats.org/officeDocument/2006/relationships/tags" Target="../tags/tag1743.xml"/><Relationship Id="rId17" Type="http://schemas.openxmlformats.org/officeDocument/2006/relationships/tags" Target="../tags/tag1748.xml"/><Relationship Id="rId25" Type="http://schemas.openxmlformats.org/officeDocument/2006/relationships/tags" Target="../tags/tag1756.xml"/><Relationship Id="rId33" Type="http://schemas.openxmlformats.org/officeDocument/2006/relationships/tags" Target="../tags/tag1764.xml"/><Relationship Id="rId38" Type="http://schemas.openxmlformats.org/officeDocument/2006/relationships/tags" Target="../tags/tag1769.xml"/><Relationship Id="rId46" Type="http://schemas.openxmlformats.org/officeDocument/2006/relationships/tags" Target="../tags/tag1777.xml"/><Relationship Id="rId59" Type="http://schemas.openxmlformats.org/officeDocument/2006/relationships/tags" Target="../tags/tag1790.xml"/><Relationship Id="rId67" Type="http://schemas.openxmlformats.org/officeDocument/2006/relationships/tags" Target="../tags/tag1798.xml"/><Relationship Id="rId20" Type="http://schemas.openxmlformats.org/officeDocument/2006/relationships/tags" Target="../tags/tag1751.xml"/><Relationship Id="rId41" Type="http://schemas.openxmlformats.org/officeDocument/2006/relationships/tags" Target="../tags/tag1772.xml"/><Relationship Id="rId54" Type="http://schemas.openxmlformats.org/officeDocument/2006/relationships/tags" Target="../tags/tag1785.xml"/><Relationship Id="rId62" Type="http://schemas.openxmlformats.org/officeDocument/2006/relationships/tags" Target="../tags/tag1793.xml"/><Relationship Id="rId70" Type="http://schemas.openxmlformats.org/officeDocument/2006/relationships/tags" Target="../tags/tag1801.xml"/><Relationship Id="rId75" Type="http://schemas.openxmlformats.org/officeDocument/2006/relationships/tags" Target="../tags/tag1806.xml"/><Relationship Id="rId83" Type="http://schemas.openxmlformats.org/officeDocument/2006/relationships/tags" Target="../tags/tag1814.xml"/><Relationship Id="rId88" Type="http://schemas.openxmlformats.org/officeDocument/2006/relationships/tags" Target="../tags/tag1819.xml"/><Relationship Id="rId91" Type="http://schemas.openxmlformats.org/officeDocument/2006/relationships/tags" Target="../tags/tag1822.xml"/><Relationship Id="rId96" Type="http://schemas.openxmlformats.org/officeDocument/2006/relationships/image" Target="../media/image15.emf"/><Relationship Id="rId1" Type="http://schemas.openxmlformats.org/officeDocument/2006/relationships/vmlDrawing" Target="../drawings/vmlDrawing55.vml"/><Relationship Id="rId6" Type="http://schemas.openxmlformats.org/officeDocument/2006/relationships/tags" Target="../tags/tag1737.xml"/><Relationship Id="rId15" Type="http://schemas.openxmlformats.org/officeDocument/2006/relationships/tags" Target="../tags/tag1746.xml"/><Relationship Id="rId23" Type="http://schemas.openxmlformats.org/officeDocument/2006/relationships/tags" Target="../tags/tag1754.xml"/><Relationship Id="rId28" Type="http://schemas.openxmlformats.org/officeDocument/2006/relationships/tags" Target="../tags/tag1759.xml"/><Relationship Id="rId36" Type="http://schemas.openxmlformats.org/officeDocument/2006/relationships/tags" Target="../tags/tag1767.xml"/><Relationship Id="rId49" Type="http://schemas.openxmlformats.org/officeDocument/2006/relationships/tags" Target="../tags/tag1780.xml"/><Relationship Id="rId57" Type="http://schemas.openxmlformats.org/officeDocument/2006/relationships/tags" Target="../tags/tag1788.xml"/><Relationship Id="rId10" Type="http://schemas.openxmlformats.org/officeDocument/2006/relationships/tags" Target="../tags/tag1741.xml"/><Relationship Id="rId31" Type="http://schemas.openxmlformats.org/officeDocument/2006/relationships/tags" Target="../tags/tag1762.xml"/><Relationship Id="rId44" Type="http://schemas.openxmlformats.org/officeDocument/2006/relationships/tags" Target="../tags/tag1775.xml"/><Relationship Id="rId52" Type="http://schemas.openxmlformats.org/officeDocument/2006/relationships/tags" Target="../tags/tag1783.xml"/><Relationship Id="rId60" Type="http://schemas.openxmlformats.org/officeDocument/2006/relationships/tags" Target="../tags/tag1791.xml"/><Relationship Id="rId65" Type="http://schemas.openxmlformats.org/officeDocument/2006/relationships/tags" Target="../tags/tag1796.xml"/><Relationship Id="rId73" Type="http://schemas.openxmlformats.org/officeDocument/2006/relationships/tags" Target="../tags/tag1804.xml"/><Relationship Id="rId78" Type="http://schemas.openxmlformats.org/officeDocument/2006/relationships/tags" Target="../tags/tag1809.xml"/><Relationship Id="rId81" Type="http://schemas.openxmlformats.org/officeDocument/2006/relationships/tags" Target="../tags/tag1812.xml"/><Relationship Id="rId86" Type="http://schemas.openxmlformats.org/officeDocument/2006/relationships/tags" Target="../tags/tag1817.xml"/><Relationship Id="rId94" Type="http://schemas.openxmlformats.org/officeDocument/2006/relationships/slideLayout" Target="../slideLayouts/slideLayout2.xml"/><Relationship Id="rId4" Type="http://schemas.openxmlformats.org/officeDocument/2006/relationships/tags" Target="../tags/tag1735.xml"/><Relationship Id="rId9" Type="http://schemas.openxmlformats.org/officeDocument/2006/relationships/tags" Target="../tags/tag1740.xml"/></Relationships>
</file>

<file path=ppt/slides/_rels/slide42.xml.rels><?xml version="1.0" encoding="UTF-8" standalone="yes"?>
<Relationships xmlns="http://schemas.openxmlformats.org/package/2006/relationships"><Relationship Id="rId13" Type="http://schemas.openxmlformats.org/officeDocument/2006/relationships/tags" Target="../tags/tag1836.xml"/><Relationship Id="rId18" Type="http://schemas.openxmlformats.org/officeDocument/2006/relationships/tags" Target="../tags/tag1841.xml"/><Relationship Id="rId26" Type="http://schemas.openxmlformats.org/officeDocument/2006/relationships/tags" Target="../tags/tag1849.xml"/><Relationship Id="rId39" Type="http://schemas.openxmlformats.org/officeDocument/2006/relationships/tags" Target="../tags/tag1862.xml"/><Relationship Id="rId3" Type="http://schemas.openxmlformats.org/officeDocument/2006/relationships/tags" Target="../tags/tag1826.xml"/><Relationship Id="rId21" Type="http://schemas.openxmlformats.org/officeDocument/2006/relationships/tags" Target="../tags/tag1844.xml"/><Relationship Id="rId34" Type="http://schemas.openxmlformats.org/officeDocument/2006/relationships/tags" Target="../tags/tag1857.xml"/><Relationship Id="rId42" Type="http://schemas.openxmlformats.org/officeDocument/2006/relationships/tags" Target="../tags/tag1865.xml"/><Relationship Id="rId47" Type="http://schemas.openxmlformats.org/officeDocument/2006/relationships/tags" Target="../tags/tag1870.xml"/><Relationship Id="rId50" Type="http://schemas.openxmlformats.org/officeDocument/2006/relationships/image" Target="../media/image15.emf"/><Relationship Id="rId7" Type="http://schemas.openxmlformats.org/officeDocument/2006/relationships/tags" Target="../tags/tag1830.xml"/><Relationship Id="rId12" Type="http://schemas.openxmlformats.org/officeDocument/2006/relationships/tags" Target="../tags/tag1835.xml"/><Relationship Id="rId17" Type="http://schemas.openxmlformats.org/officeDocument/2006/relationships/tags" Target="../tags/tag1840.xml"/><Relationship Id="rId25" Type="http://schemas.openxmlformats.org/officeDocument/2006/relationships/tags" Target="../tags/tag1848.xml"/><Relationship Id="rId33" Type="http://schemas.openxmlformats.org/officeDocument/2006/relationships/tags" Target="../tags/tag1856.xml"/><Relationship Id="rId38" Type="http://schemas.openxmlformats.org/officeDocument/2006/relationships/tags" Target="../tags/tag1861.xml"/><Relationship Id="rId46" Type="http://schemas.openxmlformats.org/officeDocument/2006/relationships/tags" Target="../tags/tag1869.xml"/><Relationship Id="rId2" Type="http://schemas.openxmlformats.org/officeDocument/2006/relationships/tags" Target="../tags/tag1825.xml"/><Relationship Id="rId16" Type="http://schemas.openxmlformats.org/officeDocument/2006/relationships/tags" Target="../tags/tag1839.xml"/><Relationship Id="rId20" Type="http://schemas.openxmlformats.org/officeDocument/2006/relationships/tags" Target="../tags/tag1843.xml"/><Relationship Id="rId29" Type="http://schemas.openxmlformats.org/officeDocument/2006/relationships/tags" Target="../tags/tag1852.xml"/><Relationship Id="rId41" Type="http://schemas.openxmlformats.org/officeDocument/2006/relationships/tags" Target="../tags/tag1864.xml"/><Relationship Id="rId1" Type="http://schemas.openxmlformats.org/officeDocument/2006/relationships/vmlDrawing" Target="../drawings/vmlDrawing56.vml"/><Relationship Id="rId6" Type="http://schemas.openxmlformats.org/officeDocument/2006/relationships/tags" Target="../tags/tag1829.xml"/><Relationship Id="rId11" Type="http://schemas.openxmlformats.org/officeDocument/2006/relationships/tags" Target="../tags/tag1834.xml"/><Relationship Id="rId24" Type="http://schemas.openxmlformats.org/officeDocument/2006/relationships/tags" Target="../tags/tag1847.xml"/><Relationship Id="rId32" Type="http://schemas.openxmlformats.org/officeDocument/2006/relationships/tags" Target="../tags/tag1855.xml"/><Relationship Id="rId37" Type="http://schemas.openxmlformats.org/officeDocument/2006/relationships/tags" Target="../tags/tag1860.xml"/><Relationship Id="rId40" Type="http://schemas.openxmlformats.org/officeDocument/2006/relationships/tags" Target="../tags/tag1863.xml"/><Relationship Id="rId45" Type="http://schemas.openxmlformats.org/officeDocument/2006/relationships/tags" Target="../tags/tag1868.xml"/><Relationship Id="rId5" Type="http://schemas.openxmlformats.org/officeDocument/2006/relationships/tags" Target="../tags/tag1828.xml"/><Relationship Id="rId15" Type="http://schemas.openxmlformats.org/officeDocument/2006/relationships/tags" Target="../tags/tag1838.xml"/><Relationship Id="rId23" Type="http://schemas.openxmlformats.org/officeDocument/2006/relationships/tags" Target="../tags/tag1846.xml"/><Relationship Id="rId28" Type="http://schemas.openxmlformats.org/officeDocument/2006/relationships/tags" Target="../tags/tag1851.xml"/><Relationship Id="rId36" Type="http://schemas.openxmlformats.org/officeDocument/2006/relationships/tags" Target="../tags/tag1859.xml"/><Relationship Id="rId49" Type="http://schemas.openxmlformats.org/officeDocument/2006/relationships/oleObject" Target="../embeddings/oleObject56.bin"/><Relationship Id="rId10" Type="http://schemas.openxmlformats.org/officeDocument/2006/relationships/tags" Target="../tags/tag1833.xml"/><Relationship Id="rId19" Type="http://schemas.openxmlformats.org/officeDocument/2006/relationships/tags" Target="../tags/tag1842.xml"/><Relationship Id="rId31" Type="http://schemas.openxmlformats.org/officeDocument/2006/relationships/tags" Target="../tags/tag1854.xml"/><Relationship Id="rId44" Type="http://schemas.openxmlformats.org/officeDocument/2006/relationships/tags" Target="../tags/tag1867.xml"/><Relationship Id="rId4" Type="http://schemas.openxmlformats.org/officeDocument/2006/relationships/tags" Target="../tags/tag1827.xml"/><Relationship Id="rId9" Type="http://schemas.openxmlformats.org/officeDocument/2006/relationships/tags" Target="../tags/tag1832.xml"/><Relationship Id="rId14" Type="http://schemas.openxmlformats.org/officeDocument/2006/relationships/tags" Target="../tags/tag1837.xml"/><Relationship Id="rId22" Type="http://schemas.openxmlformats.org/officeDocument/2006/relationships/tags" Target="../tags/tag1845.xml"/><Relationship Id="rId27" Type="http://schemas.openxmlformats.org/officeDocument/2006/relationships/tags" Target="../tags/tag1850.xml"/><Relationship Id="rId30" Type="http://schemas.openxmlformats.org/officeDocument/2006/relationships/tags" Target="../tags/tag1853.xml"/><Relationship Id="rId35" Type="http://schemas.openxmlformats.org/officeDocument/2006/relationships/tags" Target="../tags/tag1858.xml"/><Relationship Id="rId43" Type="http://schemas.openxmlformats.org/officeDocument/2006/relationships/tags" Target="../tags/tag1866.xml"/><Relationship Id="rId48" Type="http://schemas.openxmlformats.org/officeDocument/2006/relationships/slideLayout" Target="../slideLayouts/slideLayout2.xml"/><Relationship Id="rId8" Type="http://schemas.openxmlformats.org/officeDocument/2006/relationships/tags" Target="../tags/tag1831.xml"/><Relationship Id="rId51" Type="http://schemas.openxmlformats.org/officeDocument/2006/relationships/chart" Target="../charts/chart77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1877.xml"/><Relationship Id="rId13" Type="http://schemas.openxmlformats.org/officeDocument/2006/relationships/tags" Target="../tags/tag1882.xml"/><Relationship Id="rId18" Type="http://schemas.openxmlformats.org/officeDocument/2006/relationships/tags" Target="../tags/tag1887.xml"/><Relationship Id="rId26" Type="http://schemas.openxmlformats.org/officeDocument/2006/relationships/chart" Target="../charts/chart78.xml"/><Relationship Id="rId3" Type="http://schemas.openxmlformats.org/officeDocument/2006/relationships/tags" Target="../tags/tag1872.xml"/><Relationship Id="rId21" Type="http://schemas.openxmlformats.org/officeDocument/2006/relationships/tags" Target="../tags/tag1890.xml"/><Relationship Id="rId7" Type="http://schemas.openxmlformats.org/officeDocument/2006/relationships/tags" Target="../tags/tag1876.xml"/><Relationship Id="rId12" Type="http://schemas.openxmlformats.org/officeDocument/2006/relationships/tags" Target="../tags/tag1881.xml"/><Relationship Id="rId17" Type="http://schemas.openxmlformats.org/officeDocument/2006/relationships/tags" Target="../tags/tag1886.xml"/><Relationship Id="rId25" Type="http://schemas.openxmlformats.org/officeDocument/2006/relationships/image" Target="../media/image15.emf"/><Relationship Id="rId2" Type="http://schemas.openxmlformats.org/officeDocument/2006/relationships/tags" Target="../tags/tag1871.xml"/><Relationship Id="rId16" Type="http://schemas.openxmlformats.org/officeDocument/2006/relationships/tags" Target="../tags/tag1885.xml"/><Relationship Id="rId20" Type="http://schemas.openxmlformats.org/officeDocument/2006/relationships/tags" Target="../tags/tag1889.xml"/><Relationship Id="rId1" Type="http://schemas.openxmlformats.org/officeDocument/2006/relationships/vmlDrawing" Target="../drawings/vmlDrawing57.vml"/><Relationship Id="rId6" Type="http://schemas.openxmlformats.org/officeDocument/2006/relationships/tags" Target="../tags/tag1875.xml"/><Relationship Id="rId11" Type="http://schemas.openxmlformats.org/officeDocument/2006/relationships/tags" Target="../tags/tag1880.xml"/><Relationship Id="rId24" Type="http://schemas.openxmlformats.org/officeDocument/2006/relationships/oleObject" Target="../embeddings/oleObject57.bin"/><Relationship Id="rId5" Type="http://schemas.openxmlformats.org/officeDocument/2006/relationships/tags" Target="../tags/tag1874.xml"/><Relationship Id="rId15" Type="http://schemas.openxmlformats.org/officeDocument/2006/relationships/tags" Target="../tags/tag1884.xml"/><Relationship Id="rId23" Type="http://schemas.openxmlformats.org/officeDocument/2006/relationships/slideLayout" Target="../slideLayouts/slideLayout8.xml"/><Relationship Id="rId10" Type="http://schemas.openxmlformats.org/officeDocument/2006/relationships/tags" Target="../tags/tag1879.xml"/><Relationship Id="rId19" Type="http://schemas.openxmlformats.org/officeDocument/2006/relationships/tags" Target="../tags/tag1888.xml"/><Relationship Id="rId4" Type="http://schemas.openxmlformats.org/officeDocument/2006/relationships/tags" Target="../tags/tag1873.xml"/><Relationship Id="rId9" Type="http://schemas.openxmlformats.org/officeDocument/2006/relationships/tags" Target="../tags/tag1878.xml"/><Relationship Id="rId14" Type="http://schemas.openxmlformats.org/officeDocument/2006/relationships/tags" Target="../tags/tag1883.xml"/><Relationship Id="rId22" Type="http://schemas.openxmlformats.org/officeDocument/2006/relationships/tags" Target="../tags/tag1891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1898.xml"/><Relationship Id="rId13" Type="http://schemas.openxmlformats.org/officeDocument/2006/relationships/tags" Target="../tags/tag1903.xml"/><Relationship Id="rId18" Type="http://schemas.openxmlformats.org/officeDocument/2006/relationships/tags" Target="../tags/tag1908.xml"/><Relationship Id="rId3" Type="http://schemas.openxmlformats.org/officeDocument/2006/relationships/tags" Target="../tags/tag1893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897.xml"/><Relationship Id="rId12" Type="http://schemas.openxmlformats.org/officeDocument/2006/relationships/tags" Target="../tags/tag1902.xml"/><Relationship Id="rId17" Type="http://schemas.openxmlformats.org/officeDocument/2006/relationships/tags" Target="../tags/tag1907.xml"/><Relationship Id="rId2" Type="http://schemas.openxmlformats.org/officeDocument/2006/relationships/tags" Target="../tags/tag1892.xml"/><Relationship Id="rId16" Type="http://schemas.openxmlformats.org/officeDocument/2006/relationships/tags" Target="../tags/tag1906.xml"/><Relationship Id="rId20" Type="http://schemas.openxmlformats.org/officeDocument/2006/relationships/tags" Target="../tags/tag1910.xml"/><Relationship Id="rId1" Type="http://schemas.openxmlformats.org/officeDocument/2006/relationships/vmlDrawing" Target="../drawings/vmlDrawing58.vml"/><Relationship Id="rId6" Type="http://schemas.openxmlformats.org/officeDocument/2006/relationships/tags" Target="../tags/tag1896.xml"/><Relationship Id="rId11" Type="http://schemas.openxmlformats.org/officeDocument/2006/relationships/tags" Target="../tags/tag1901.xml"/><Relationship Id="rId24" Type="http://schemas.openxmlformats.org/officeDocument/2006/relationships/chart" Target="../charts/chart79.xml"/><Relationship Id="rId5" Type="http://schemas.openxmlformats.org/officeDocument/2006/relationships/tags" Target="../tags/tag1895.xml"/><Relationship Id="rId15" Type="http://schemas.openxmlformats.org/officeDocument/2006/relationships/tags" Target="../tags/tag1905.xml"/><Relationship Id="rId23" Type="http://schemas.openxmlformats.org/officeDocument/2006/relationships/image" Target="../media/image16.emf"/><Relationship Id="rId10" Type="http://schemas.openxmlformats.org/officeDocument/2006/relationships/tags" Target="../tags/tag1900.xml"/><Relationship Id="rId19" Type="http://schemas.openxmlformats.org/officeDocument/2006/relationships/tags" Target="../tags/tag1909.xml"/><Relationship Id="rId4" Type="http://schemas.openxmlformats.org/officeDocument/2006/relationships/tags" Target="../tags/tag1894.xml"/><Relationship Id="rId9" Type="http://schemas.openxmlformats.org/officeDocument/2006/relationships/tags" Target="../tags/tag1899.xml"/><Relationship Id="rId14" Type="http://schemas.openxmlformats.org/officeDocument/2006/relationships/tags" Target="../tags/tag1904.xml"/><Relationship Id="rId22" Type="http://schemas.openxmlformats.org/officeDocument/2006/relationships/oleObject" Target="../embeddings/oleObject58.bin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1917.xml"/><Relationship Id="rId13" Type="http://schemas.openxmlformats.org/officeDocument/2006/relationships/tags" Target="../tags/tag1922.xml"/><Relationship Id="rId18" Type="http://schemas.openxmlformats.org/officeDocument/2006/relationships/tags" Target="../tags/tag1927.xml"/><Relationship Id="rId26" Type="http://schemas.openxmlformats.org/officeDocument/2006/relationships/tags" Target="../tags/tag1935.xml"/><Relationship Id="rId3" Type="http://schemas.openxmlformats.org/officeDocument/2006/relationships/tags" Target="../tags/tag1912.xml"/><Relationship Id="rId21" Type="http://schemas.openxmlformats.org/officeDocument/2006/relationships/tags" Target="../tags/tag1930.xml"/><Relationship Id="rId34" Type="http://schemas.openxmlformats.org/officeDocument/2006/relationships/image" Target="../media/image16.emf"/><Relationship Id="rId7" Type="http://schemas.openxmlformats.org/officeDocument/2006/relationships/tags" Target="../tags/tag1916.xml"/><Relationship Id="rId12" Type="http://schemas.openxmlformats.org/officeDocument/2006/relationships/tags" Target="../tags/tag1921.xml"/><Relationship Id="rId17" Type="http://schemas.openxmlformats.org/officeDocument/2006/relationships/tags" Target="../tags/tag1926.xml"/><Relationship Id="rId25" Type="http://schemas.openxmlformats.org/officeDocument/2006/relationships/tags" Target="../tags/tag1934.xml"/><Relationship Id="rId33" Type="http://schemas.openxmlformats.org/officeDocument/2006/relationships/oleObject" Target="../embeddings/oleObject59.bin"/><Relationship Id="rId2" Type="http://schemas.openxmlformats.org/officeDocument/2006/relationships/tags" Target="../tags/tag1911.xml"/><Relationship Id="rId16" Type="http://schemas.openxmlformats.org/officeDocument/2006/relationships/tags" Target="../tags/tag1925.xml"/><Relationship Id="rId20" Type="http://schemas.openxmlformats.org/officeDocument/2006/relationships/tags" Target="../tags/tag1929.xml"/><Relationship Id="rId29" Type="http://schemas.openxmlformats.org/officeDocument/2006/relationships/tags" Target="../tags/tag1938.xml"/><Relationship Id="rId1" Type="http://schemas.openxmlformats.org/officeDocument/2006/relationships/vmlDrawing" Target="../drawings/vmlDrawing59.vml"/><Relationship Id="rId6" Type="http://schemas.openxmlformats.org/officeDocument/2006/relationships/tags" Target="../tags/tag1915.xml"/><Relationship Id="rId11" Type="http://schemas.openxmlformats.org/officeDocument/2006/relationships/tags" Target="../tags/tag1920.xml"/><Relationship Id="rId24" Type="http://schemas.openxmlformats.org/officeDocument/2006/relationships/tags" Target="../tags/tag1933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1914.xml"/><Relationship Id="rId15" Type="http://schemas.openxmlformats.org/officeDocument/2006/relationships/tags" Target="../tags/tag1924.xml"/><Relationship Id="rId23" Type="http://schemas.openxmlformats.org/officeDocument/2006/relationships/tags" Target="../tags/tag1932.xml"/><Relationship Id="rId28" Type="http://schemas.openxmlformats.org/officeDocument/2006/relationships/tags" Target="../tags/tag1937.xml"/><Relationship Id="rId10" Type="http://schemas.openxmlformats.org/officeDocument/2006/relationships/tags" Target="../tags/tag1919.xml"/><Relationship Id="rId19" Type="http://schemas.openxmlformats.org/officeDocument/2006/relationships/tags" Target="../tags/tag1928.xml"/><Relationship Id="rId31" Type="http://schemas.openxmlformats.org/officeDocument/2006/relationships/tags" Target="../tags/tag1940.xml"/><Relationship Id="rId4" Type="http://schemas.openxmlformats.org/officeDocument/2006/relationships/tags" Target="../tags/tag1913.xml"/><Relationship Id="rId9" Type="http://schemas.openxmlformats.org/officeDocument/2006/relationships/tags" Target="../tags/tag1918.xml"/><Relationship Id="rId14" Type="http://schemas.openxmlformats.org/officeDocument/2006/relationships/tags" Target="../tags/tag1923.xml"/><Relationship Id="rId22" Type="http://schemas.openxmlformats.org/officeDocument/2006/relationships/tags" Target="../tags/tag1931.xml"/><Relationship Id="rId27" Type="http://schemas.openxmlformats.org/officeDocument/2006/relationships/tags" Target="../tags/tag1936.xml"/><Relationship Id="rId30" Type="http://schemas.openxmlformats.org/officeDocument/2006/relationships/tags" Target="../tags/tag1939.xml"/><Relationship Id="rId35" Type="http://schemas.openxmlformats.org/officeDocument/2006/relationships/chart" Target="../charts/chart80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1947.xml"/><Relationship Id="rId13" Type="http://schemas.openxmlformats.org/officeDocument/2006/relationships/tags" Target="../tags/tag1952.xml"/><Relationship Id="rId18" Type="http://schemas.openxmlformats.org/officeDocument/2006/relationships/tags" Target="../tags/tag1957.xml"/><Relationship Id="rId26" Type="http://schemas.openxmlformats.org/officeDocument/2006/relationships/tags" Target="../tags/tag1965.xml"/><Relationship Id="rId3" Type="http://schemas.openxmlformats.org/officeDocument/2006/relationships/tags" Target="../tags/tag1942.xml"/><Relationship Id="rId21" Type="http://schemas.openxmlformats.org/officeDocument/2006/relationships/tags" Target="../tags/tag1960.xml"/><Relationship Id="rId7" Type="http://schemas.openxmlformats.org/officeDocument/2006/relationships/tags" Target="../tags/tag1946.xml"/><Relationship Id="rId12" Type="http://schemas.openxmlformats.org/officeDocument/2006/relationships/tags" Target="../tags/tag1951.xml"/><Relationship Id="rId17" Type="http://schemas.openxmlformats.org/officeDocument/2006/relationships/tags" Target="../tags/tag1956.xml"/><Relationship Id="rId25" Type="http://schemas.openxmlformats.org/officeDocument/2006/relationships/tags" Target="../tags/tag1964.xml"/><Relationship Id="rId2" Type="http://schemas.openxmlformats.org/officeDocument/2006/relationships/tags" Target="../tags/tag1941.xml"/><Relationship Id="rId16" Type="http://schemas.openxmlformats.org/officeDocument/2006/relationships/tags" Target="../tags/tag1955.xml"/><Relationship Id="rId20" Type="http://schemas.openxmlformats.org/officeDocument/2006/relationships/tags" Target="../tags/tag1959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60.vml"/><Relationship Id="rId6" Type="http://schemas.openxmlformats.org/officeDocument/2006/relationships/tags" Target="../tags/tag1945.xml"/><Relationship Id="rId11" Type="http://schemas.openxmlformats.org/officeDocument/2006/relationships/tags" Target="../tags/tag1950.xml"/><Relationship Id="rId24" Type="http://schemas.openxmlformats.org/officeDocument/2006/relationships/tags" Target="../tags/tag1963.xml"/><Relationship Id="rId32" Type="http://schemas.openxmlformats.org/officeDocument/2006/relationships/chart" Target="../charts/chart81.xml"/><Relationship Id="rId5" Type="http://schemas.openxmlformats.org/officeDocument/2006/relationships/tags" Target="../tags/tag1944.xml"/><Relationship Id="rId15" Type="http://schemas.openxmlformats.org/officeDocument/2006/relationships/tags" Target="../tags/tag1954.xml"/><Relationship Id="rId23" Type="http://schemas.openxmlformats.org/officeDocument/2006/relationships/tags" Target="../tags/tag1962.xml"/><Relationship Id="rId28" Type="http://schemas.openxmlformats.org/officeDocument/2006/relationships/tags" Target="../tags/tag1967.xml"/><Relationship Id="rId10" Type="http://schemas.openxmlformats.org/officeDocument/2006/relationships/tags" Target="../tags/tag1949.xml"/><Relationship Id="rId19" Type="http://schemas.openxmlformats.org/officeDocument/2006/relationships/tags" Target="../tags/tag1958.xml"/><Relationship Id="rId31" Type="http://schemas.openxmlformats.org/officeDocument/2006/relationships/image" Target="../media/image16.emf"/><Relationship Id="rId4" Type="http://schemas.openxmlformats.org/officeDocument/2006/relationships/tags" Target="../tags/tag1943.xml"/><Relationship Id="rId9" Type="http://schemas.openxmlformats.org/officeDocument/2006/relationships/tags" Target="../tags/tag1948.xml"/><Relationship Id="rId14" Type="http://schemas.openxmlformats.org/officeDocument/2006/relationships/tags" Target="../tags/tag1953.xml"/><Relationship Id="rId22" Type="http://schemas.openxmlformats.org/officeDocument/2006/relationships/tags" Target="../tags/tag1961.xml"/><Relationship Id="rId27" Type="http://schemas.openxmlformats.org/officeDocument/2006/relationships/tags" Target="../tags/tag1966.xml"/><Relationship Id="rId30" Type="http://schemas.openxmlformats.org/officeDocument/2006/relationships/oleObject" Target="../embeddings/oleObject60.bin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969.xml"/><Relationship Id="rId7" Type="http://schemas.openxmlformats.org/officeDocument/2006/relationships/image" Target="../media/image16.emf"/><Relationship Id="rId2" Type="http://schemas.openxmlformats.org/officeDocument/2006/relationships/tags" Target="../tags/tag1968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notesSlide" Target="../notesSlides/notesSlide22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1976.xml"/><Relationship Id="rId13" Type="http://schemas.openxmlformats.org/officeDocument/2006/relationships/tags" Target="../tags/tag1981.xml"/><Relationship Id="rId18" Type="http://schemas.openxmlformats.org/officeDocument/2006/relationships/tags" Target="../tags/tag1986.xml"/><Relationship Id="rId26" Type="http://schemas.openxmlformats.org/officeDocument/2006/relationships/tags" Target="../tags/tag1994.xml"/><Relationship Id="rId39" Type="http://schemas.openxmlformats.org/officeDocument/2006/relationships/slideLayout" Target="../slideLayouts/slideLayout2.xml"/><Relationship Id="rId3" Type="http://schemas.openxmlformats.org/officeDocument/2006/relationships/tags" Target="../tags/tag1971.xml"/><Relationship Id="rId21" Type="http://schemas.openxmlformats.org/officeDocument/2006/relationships/tags" Target="../tags/tag1989.xml"/><Relationship Id="rId34" Type="http://schemas.openxmlformats.org/officeDocument/2006/relationships/tags" Target="../tags/tag2002.xml"/><Relationship Id="rId42" Type="http://schemas.openxmlformats.org/officeDocument/2006/relationships/chart" Target="../charts/chart82.xml"/><Relationship Id="rId7" Type="http://schemas.openxmlformats.org/officeDocument/2006/relationships/tags" Target="../tags/tag1975.xml"/><Relationship Id="rId12" Type="http://schemas.openxmlformats.org/officeDocument/2006/relationships/tags" Target="../tags/tag1980.xml"/><Relationship Id="rId17" Type="http://schemas.openxmlformats.org/officeDocument/2006/relationships/tags" Target="../tags/tag1985.xml"/><Relationship Id="rId25" Type="http://schemas.openxmlformats.org/officeDocument/2006/relationships/tags" Target="../tags/tag1993.xml"/><Relationship Id="rId33" Type="http://schemas.openxmlformats.org/officeDocument/2006/relationships/tags" Target="../tags/tag2001.xml"/><Relationship Id="rId38" Type="http://schemas.openxmlformats.org/officeDocument/2006/relationships/tags" Target="../tags/tag2006.xml"/><Relationship Id="rId2" Type="http://schemas.openxmlformats.org/officeDocument/2006/relationships/tags" Target="../tags/tag1970.xml"/><Relationship Id="rId16" Type="http://schemas.openxmlformats.org/officeDocument/2006/relationships/tags" Target="../tags/tag1984.xml"/><Relationship Id="rId20" Type="http://schemas.openxmlformats.org/officeDocument/2006/relationships/tags" Target="../tags/tag1988.xml"/><Relationship Id="rId29" Type="http://schemas.openxmlformats.org/officeDocument/2006/relationships/tags" Target="../tags/tag1997.xml"/><Relationship Id="rId41" Type="http://schemas.openxmlformats.org/officeDocument/2006/relationships/image" Target="../media/image16.emf"/><Relationship Id="rId1" Type="http://schemas.openxmlformats.org/officeDocument/2006/relationships/vmlDrawing" Target="../drawings/vmlDrawing62.vml"/><Relationship Id="rId6" Type="http://schemas.openxmlformats.org/officeDocument/2006/relationships/tags" Target="../tags/tag1974.xml"/><Relationship Id="rId11" Type="http://schemas.openxmlformats.org/officeDocument/2006/relationships/tags" Target="../tags/tag1979.xml"/><Relationship Id="rId24" Type="http://schemas.openxmlformats.org/officeDocument/2006/relationships/tags" Target="../tags/tag1992.xml"/><Relationship Id="rId32" Type="http://schemas.openxmlformats.org/officeDocument/2006/relationships/tags" Target="../tags/tag2000.xml"/><Relationship Id="rId37" Type="http://schemas.openxmlformats.org/officeDocument/2006/relationships/tags" Target="../tags/tag2005.xml"/><Relationship Id="rId40" Type="http://schemas.openxmlformats.org/officeDocument/2006/relationships/oleObject" Target="../embeddings/oleObject62.bin"/><Relationship Id="rId5" Type="http://schemas.openxmlformats.org/officeDocument/2006/relationships/tags" Target="../tags/tag1973.xml"/><Relationship Id="rId15" Type="http://schemas.openxmlformats.org/officeDocument/2006/relationships/tags" Target="../tags/tag1983.xml"/><Relationship Id="rId23" Type="http://schemas.openxmlformats.org/officeDocument/2006/relationships/tags" Target="../tags/tag1991.xml"/><Relationship Id="rId28" Type="http://schemas.openxmlformats.org/officeDocument/2006/relationships/tags" Target="../tags/tag1996.xml"/><Relationship Id="rId36" Type="http://schemas.openxmlformats.org/officeDocument/2006/relationships/tags" Target="../tags/tag2004.xml"/><Relationship Id="rId10" Type="http://schemas.openxmlformats.org/officeDocument/2006/relationships/tags" Target="../tags/tag1978.xml"/><Relationship Id="rId19" Type="http://schemas.openxmlformats.org/officeDocument/2006/relationships/tags" Target="../tags/tag1987.xml"/><Relationship Id="rId31" Type="http://schemas.openxmlformats.org/officeDocument/2006/relationships/tags" Target="../tags/tag1999.xml"/><Relationship Id="rId4" Type="http://schemas.openxmlformats.org/officeDocument/2006/relationships/tags" Target="../tags/tag1972.xml"/><Relationship Id="rId9" Type="http://schemas.openxmlformats.org/officeDocument/2006/relationships/tags" Target="../tags/tag1977.xml"/><Relationship Id="rId14" Type="http://schemas.openxmlformats.org/officeDocument/2006/relationships/tags" Target="../tags/tag1982.xml"/><Relationship Id="rId22" Type="http://schemas.openxmlformats.org/officeDocument/2006/relationships/tags" Target="../tags/tag1990.xml"/><Relationship Id="rId27" Type="http://schemas.openxmlformats.org/officeDocument/2006/relationships/tags" Target="../tags/tag1995.xml"/><Relationship Id="rId30" Type="http://schemas.openxmlformats.org/officeDocument/2006/relationships/tags" Target="../tags/tag1998.xml"/><Relationship Id="rId35" Type="http://schemas.openxmlformats.org/officeDocument/2006/relationships/tags" Target="../tags/tag2003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2013.xml"/><Relationship Id="rId13" Type="http://schemas.openxmlformats.org/officeDocument/2006/relationships/notesSlide" Target="../notesSlides/notesSlide23.xml"/><Relationship Id="rId3" Type="http://schemas.openxmlformats.org/officeDocument/2006/relationships/tags" Target="../tags/tag2008.xml"/><Relationship Id="rId7" Type="http://schemas.openxmlformats.org/officeDocument/2006/relationships/tags" Target="../tags/tag2012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2007.xml"/><Relationship Id="rId16" Type="http://schemas.openxmlformats.org/officeDocument/2006/relationships/chart" Target="../charts/chart83.xml"/><Relationship Id="rId1" Type="http://schemas.openxmlformats.org/officeDocument/2006/relationships/vmlDrawing" Target="../drawings/vmlDrawing63.vml"/><Relationship Id="rId6" Type="http://schemas.openxmlformats.org/officeDocument/2006/relationships/tags" Target="../tags/tag2011.xml"/><Relationship Id="rId11" Type="http://schemas.openxmlformats.org/officeDocument/2006/relationships/tags" Target="../tags/tag2016.xml"/><Relationship Id="rId5" Type="http://schemas.openxmlformats.org/officeDocument/2006/relationships/tags" Target="../tags/tag2010.xml"/><Relationship Id="rId15" Type="http://schemas.openxmlformats.org/officeDocument/2006/relationships/image" Target="../media/image11.emf"/><Relationship Id="rId10" Type="http://schemas.openxmlformats.org/officeDocument/2006/relationships/tags" Target="../tags/tag2015.xml"/><Relationship Id="rId4" Type="http://schemas.openxmlformats.org/officeDocument/2006/relationships/tags" Target="../tags/tag2009.xml"/><Relationship Id="rId9" Type="http://schemas.openxmlformats.org/officeDocument/2006/relationships/tags" Target="../tags/tag2014.xml"/><Relationship Id="rId14" Type="http://schemas.openxmlformats.org/officeDocument/2006/relationships/oleObject" Target="../embeddings/oleObject6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13" Type="http://schemas.openxmlformats.org/officeDocument/2006/relationships/tags" Target="../tags/tag155.xml"/><Relationship Id="rId18" Type="http://schemas.openxmlformats.org/officeDocument/2006/relationships/tags" Target="../tags/tag160.xml"/><Relationship Id="rId3" Type="http://schemas.openxmlformats.org/officeDocument/2006/relationships/tags" Target="../tags/tag145.xml"/><Relationship Id="rId21" Type="http://schemas.openxmlformats.org/officeDocument/2006/relationships/notesSlide" Target="../notesSlides/notesSlide5.xml"/><Relationship Id="rId7" Type="http://schemas.openxmlformats.org/officeDocument/2006/relationships/tags" Target="../tags/tag149.xml"/><Relationship Id="rId12" Type="http://schemas.openxmlformats.org/officeDocument/2006/relationships/tags" Target="../tags/tag154.xml"/><Relationship Id="rId17" Type="http://schemas.openxmlformats.org/officeDocument/2006/relationships/tags" Target="../tags/tag159.xml"/><Relationship Id="rId2" Type="http://schemas.openxmlformats.org/officeDocument/2006/relationships/tags" Target="../tags/tag144.xml"/><Relationship Id="rId16" Type="http://schemas.openxmlformats.org/officeDocument/2006/relationships/tags" Target="../tags/tag158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48.xml"/><Relationship Id="rId11" Type="http://schemas.openxmlformats.org/officeDocument/2006/relationships/tags" Target="../tags/tag153.xml"/><Relationship Id="rId24" Type="http://schemas.openxmlformats.org/officeDocument/2006/relationships/chart" Target="../charts/chart7.xml"/><Relationship Id="rId5" Type="http://schemas.openxmlformats.org/officeDocument/2006/relationships/tags" Target="../tags/tag147.xml"/><Relationship Id="rId15" Type="http://schemas.openxmlformats.org/officeDocument/2006/relationships/tags" Target="../tags/tag157.xml"/><Relationship Id="rId23" Type="http://schemas.openxmlformats.org/officeDocument/2006/relationships/image" Target="../media/image10.emf"/><Relationship Id="rId10" Type="http://schemas.openxmlformats.org/officeDocument/2006/relationships/tags" Target="../tags/tag152.xml"/><Relationship Id="rId19" Type="http://schemas.openxmlformats.org/officeDocument/2006/relationships/tags" Target="../tags/tag161.xml"/><Relationship Id="rId4" Type="http://schemas.openxmlformats.org/officeDocument/2006/relationships/tags" Target="../tags/tag146.xml"/><Relationship Id="rId9" Type="http://schemas.openxmlformats.org/officeDocument/2006/relationships/tags" Target="../tags/tag151.xml"/><Relationship Id="rId14" Type="http://schemas.openxmlformats.org/officeDocument/2006/relationships/tags" Target="../tags/tag156.xml"/><Relationship Id="rId22" Type="http://schemas.openxmlformats.org/officeDocument/2006/relationships/oleObject" Target="../embeddings/oleObject19.bin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2023.xml"/><Relationship Id="rId13" Type="http://schemas.openxmlformats.org/officeDocument/2006/relationships/image" Target="../media/image16.emf"/><Relationship Id="rId3" Type="http://schemas.openxmlformats.org/officeDocument/2006/relationships/tags" Target="../tags/tag2018.xml"/><Relationship Id="rId7" Type="http://schemas.openxmlformats.org/officeDocument/2006/relationships/tags" Target="../tags/tag2022.xml"/><Relationship Id="rId12" Type="http://schemas.openxmlformats.org/officeDocument/2006/relationships/oleObject" Target="../embeddings/oleObject64.bin"/><Relationship Id="rId2" Type="http://schemas.openxmlformats.org/officeDocument/2006/relationships/tags" Target="../tags/tag2017.xml"/><Relationship Id="rId1" Type="http://schemas.openxmlformats.org/officeDocument/2006/relationships/vmlDrawing" Target="../drawings/vmlDrawing64.vml"/><Relationship Id="rId6" Type="http://schemas.openxmlformats.org/officeDocument/2006/relationships/tags" Target="../tags/tag2021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020.xml"/><Relationship Id="rId10" Type="http://schemas.openxmlformats.org/officeDocument/2006/relationships/tags" Target="../tags/tag2025.xml"/><Relationship Id="rId4" Type="http://schemas.openxmlformats.org/officeDocument/2006/relationships/tags" Target="../tags/tag2019.xml"/><Relationship Id="rId9" Type="http://schemas.openxmlformats.org/officeDocument/2006/relationships/tags" Target="../tags/tag2024.xml"/><Relationship Id="rId14" Type="http://schemas.openxmlformats.org/officeDocument/2006/relationships/chart" Target="../charts/chart8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2027.xml"/><Relationship Id="rId7" Type="http://schemas.openxmlformats.org/officeDocument/2006/relationships/image" Target="../media/image23.png"/><Relationship Id="rId2" Type="http://schemas.openxmlformats.org/officeDocument/2006/relationships/tags" Target="../tags/tag202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65.bin"/><Relationship Id="rId4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2029.xml"/><Relationship Id="rId7" Type="http://schemas.openxmlformats.org/officeDocument/2006/relationships/image" Target="../media/image16.emf"/><Relationship Id="rId2" Type="http://schemas.openxmlformats.org/officeDocument/2006/relationships/tags" Target="../tags/tag2028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tags" Target="../tags/tag203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030.xml"/><Relationship Id="rId1" Type="http://schemas.openxmlformats.org/officeDocument/2006/relationships/vmlDrawing" Target="../drawings/vmlDrawing67.vml"/><Relationship Id="rId6" Type="http://schemas.openxmlformats.org/officeDocument/2006/relationships/tags" Target="../tags/tag2034.xml"/><Relationship Id="rId5" Type="http://schemas.openxmlformats.org/officeDocument/2006/relationships/tags" Target="../tags/tag2033.xml"/><Relationship Id="rId4" Type="http://schemas.openxmlformats.org/officeDocument/2006/relationships/tags" Target="../tags/tag2032.xml"/><Relationship Id="rId9" Type="http://schemas.openxmlformats.org/officeDocument/2006/relationships/image" Target="../media/image16.emf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2041.xml"/><Relationship Id="rId13" Type="http://schemas.openxmlformats.org/officeDocument/2006/relationships/tags" Target="../tags/tag2046.xml"/><Relationship Id="rId18" Type="http://schemas.openxmlformats.org/officeDocument/2006/relationships/tags" Target="../tags/tag2051.xml"/><Relationship Id="rId26" Type="http://schemas.openxmlformats.org/officeDocument/2006/relationships/tags" Target="../tags/tag2059.xml"/><Relationship Id="rId39" Type="http://schemas.openxmlformats.org/officeDocument/2006/relationships/tags" Target="../tags/tag2072.xml"/><Relationship Id="rId3" Type="http://schemas.openxmlformats.org/officeDocument/2006/relationships/tags" Target="../tags/tag2036.xml"/><Relationship Id="rId21" Type="http://schemas.openxmlformats.org/officeDocument/2006/relationships/tags" Target="../tags/tag2054.xml"/><Relationship Id="rId34" Type="http://schemas.openxmlformats.org/officeDocument/2006/relationships/tags" Target="../tags/tag2067.xml"/><Relationship Id="rId42" Type="http://schemas.openxmlformats.org/officeDocument/2006/relationships/oleObject" Target="../embeddings/oleObject68.bin"/><Relationship Id="rId7" Type="http://schemas.openxmlformats.org/officeDocument/2006/relationships/tags" Target="../tags/tag2040.xml"/><Relationship Id="rId12" Type="http://schemas.openxmlformats.org/officeDocument/2006/relationships/tags" Target="../tags/tag2045.xml"/><Relationship Id="rId17" Type="http://schemas.openxmlformats.org/officeDocument/2006/relationships/tags" Target="../tags/tag2050.xml"/><Relationship Id="rId25" Type="http://schemas.openxmlformats.org/officeDocument/2006/relationships/tags" Target="../tags/tag2058.xml"/><Relationship Id="rId33" Type="http://schemas.openxmlformats.org/officeDocument/2006/relationships/tags" Target="../tags/tag2066.xml"/><Relationship Id="rId38" Type="http://schemas.openxmlformats.org/officeDocument/2006/relationships/tags" Target="../tags/tag2071.xml"/><Relationship Id="rId2" Type="http://schemas.openxmlformats.org/officeDocument/2006/relationships/tags" Target="../tags/tag2035.xml"/><Relationship Id="rId16" Type="http://schemas.openxmlformats.org/officeDocument/2006/relationships/tags" Target="../tags/tag2049.xml"/><Relationship Id="rId20" Type="http://schemas.openxmlformats.org/officeDocument/2006/relationships/tags" Target="../tags/tag2053.xml"/><Relationship Id="rId29" Type="http://schemas.openxmlformats.org/officeDocument/2006/relationships/tags" Target="../tags/tag2062.xml"/><Relationship Id="rId41" Type="http://schemas.openxmlformats.org/officeDocument/2006/relationships/slideLayout" Target="../slideLayouts/slideLayout2.xml"/><Relationship Id="rId1" Type="http://schemas.openxmlformats.org/officeDocument/2006/relationships/vmlDrawing" Target="../drawings/vmlDrawing68.vml"/><Relationship Id="rId6" Type="http://schemas.openxmlformats.org/officeDocument/2006/relationships/tags" Target="../tags/tag2039.xml"/><Relationship Id="rId11" Type="http://schemas.openxmlformats.org/officeDocument/2006/relationships/tags" Target="../tags/tag2044.xml"/><Relationship Id="rId24" Type="http://schemas.openxmlformats.org/officeDocument/2006/relationships/tags" Target="../tags/tag2057.xml"/><Relationship Id="rId32" Type="http://schemas.openxmlformats.org/officeDocument/2006/relationships/tags" Target="../tags/tag2065.xml"/><Relationship Id="rId37" Type="http://schemas.openxmlformats.org/officeDocument/2006/relationships/tags" Target="../tags/tag2070.xml"/><Relationship Id="rId40" Type="http://schemas.openxmlformats.org/officeDocument/2006/relationships/tags" Target="../tags/tag2073.xml"/><Relationship Id="rId5" Type="http://schemas.openxmlformats.org/officeDocument/2006/relationships/tags" Target="../tags/tag2038.xml"/><Relationship Id="rId15" Type="http://schemas.openxmlformats.org/officeDocument/2006/relationships/tags" Target="../tags/tag2048.xml"/><Relationship Id="rId23" Type="http://schemas.openxmlformats.org/officeDocument/2006/relationships/tags" Target="../tags/tag2056.xml"/><Relationship Id="rId28" Type="http://schemas.openxmlformats.org/officeDocument/2006/relationships/tags" Target="../tags/tag2061.xml"/><Relationship Id="rId36" Type="http://schemas.openxmlformats.org/officeDocument/2006/relationships/tags" Target="../tags/tag2069.xml"/><Relationship Id="rId10" Type="http://schemas.openxmlformats.org/officeDocument/2006/relationships/tags" Target="../tags/tag2043.xml"/><Relationship Id="rId19" Type="http://schemas.openxmlformats.org/officeDocument/2006/relationships/tags" Target="../tags/tag2052.xml"/><Relationship Id="rId31" Type="http://schemas.openxmlformats.org/officeDocument/2006/relationships/tags" Target="../tags/tag2064.xml"/><Relationship Id="rId44" Type="http://schemas.openxmlformats.org/officeDocument/2006/relationships/chart" Target="../charts/chart85.xml"/><Relationship Id="rId4" Type="http://schemas.openxmlformats.org/officeDocument/2006/relationships/tags" Target="../tags/tag2037.xml"/><Relationship Id="rId9" Type="http://schemas.openxmlformats.org/officeDocument/2006/relationships/tags" Target="../tags/tag2042.xml"/><Relationship Id="rId14" Type="http://schemas.openxmlformats.org/officeDocument/2006/relationships/tags" Target="../tags/tag2047.xml"/><Relationship Id="rId22" Type="http://schemas.openxmlformats.org/officeDocument/2006/relationships/tags" Target="../tags/tag2055.xml"/><Relationship Id="rId27" Type="http://schemas.openxmlformats.org/officeDocument/2006/relationships/tags" Target="../tags/tag2060.xml"/><Relationship Id="rId30" Type="http://schemas.openxmlformats.org/officeDocument/2006/relationships/tags" Target="../tags/tag2063.xml"/><Relationship Id="rId35" Type="http://schemas.openxmlformats.org/officeDocument/2006/relationships/tags" Target="../tags/tag2068.xml"/><Relationship Id="rId43" Type="http://schemas.openxmlformats.org/officeDocument/2006/relationships/image" Target="../media/image16.emf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2080.xml"/><Relationship Id="rId13" Type="http://schemas.openxmlformats.org/officeDocument/2006/relationships/tags" Target="../tags/tag2085.xml"/><Relationship Id="rId18" Type="http://schemas.openxmlformats.org/officeDocument/2006/relationships/tags" Target="../tags/tag2090.xml"/><Relationship Id="rId26" Type="http://schemas.openxmlformats.org/officeDocument/2006/relationships/tags" Target="../tags/tag2098.xml"/><Relationship Id="rId39" Type="http://schemas.openxmlformats.org/officeDocument/2006/relationships/tags" Target="../tags/tag2111.xml"/><Relationship Id="rId3" Type="http://schemas.openxmlformats.org/officeDocument/2006/relationships/tags" Target="../tags/tag2075.xml"/><Relationship Id="rId21" Type="http://schemas.openxmlformats.org/officeDocument/2006/relationships/tags" Target="../tags/tag2093.xml"/><Relationship Id="rId34" Type="http://schemas.openxmlformats.org/officeDocument/2006/relationships/tags" Target="../tags/tag2106.xml"/><Relationship Id="rId42" Type="http://schemas.openxmlformats.org/officeDocument/2006/relationships/tags" Target="../tags/tag2114.xml"/><Relationship Id="rId47" Type="http://schemas.openxmlformats.org/officeDocument/2006/relationships/chart" Target="../charts/chart86.xml"/><Relationship Id="rId7" Type="http://schemas.openxmlformats.org/officeDocument/2006/relationships/tags" Target="../tags/tag2079.xml"/><Relationship Id="rId12" Type="http://schemas.openxmlformats.org/officeDocument/2006/relationships/tags" Target="../tags/tag2084.xml"/><Relationship Id="rId17" Type="http://schemas.openxmlformats.org/officeDocument/2006/relationships/tags" Target="../tags/tag2089.xml"/><Relationship Id="rId25" Type="http://schemas.openxmlformats.org/officeDocument/2006/relationships/tags" Target="../tags/tag2097.xml"/><Relationship Id="rId33" Type="http://schemas.openxmlformats.org/officeDocument/2006/relationships/tags" Target="../tags/tag2105.xml"/><Relationship Id="rId38" Type="http://schemas.openxmlformats.org/officeDocument/2006/relationships/tags" Target="../tags/tag2110.xml"/><Relationship Id="rId46" Type="http://schemas.openxmlformats.org/officeDocument/2006/relationships/image" Target="../media/image16.emf"/><Relationship Id="rId2" Type="http://schemas.openxmlformats.org/officeDocument/2006/relationships/tags" Target="../tags/tag2074.xml"/><Relationship Id="rId16" Type="http://schemas.openxmlformats.org/officeDocument/2006/relationships/tags" Target="../tags/tag2088.xml"/><Relationship Id="rId20" Type="http://schemas.openxmlformats.org/officeDocument/2006/relationships/tags" Target="../tags/tag2092.xml"/><Relationship Id="rId29" Type="http://schemas.openxmlformats.org/officeDocument/2006/relationships/tags" Target="../tags/tag2101.xml"/><Relationship Id="rId41" Type="http://schemas.openxmlformats.org/officeDocument/2006/relationships/tags" Target="../tags/tag2113.xml"/><Relationship Id="rId1" Type="http://schemas.openxmlformats.org/officeDocument/2006/relationships/vmlDrawing" Target="../drawings/vmlDrawing69.vml"/><Relationship Id="rId6" Type="http://schemas.openxmlformats.org/officeDocument/2006/relationships/tags" Target="../tags/tag2078.xml"/><Relationship Id="rId11" Type="http://schemas.openxmlformats.org/officeDocument/2006/relationships/tags" Target="../tags/tag2083.xml"/><Relationship Id="rId24" Type="http://schemas.openxmlformats.org/officeDocument/2006/relationships/tags" Target="../tags/tag2096.xml"/><Relationship Id="rId32" Type="http://schemas.openxmlformats.org/officeDocument/2006/relationships/tags" Target="../tags/tag2104.xml"/><Relationship Id="rId37" Type="http://schemas.openxmlformats.org/officeDocument/2006/relationships/tags" Target="../tags/tag2109.xml"/><Relationship Id="rId40" Type="http://schemas.openxmlformats.org/officeDocument/2006/relationships/tags" Target="../tags/tag2112.xml"/><Relationship Id="rId45" Type="http://schemas.openxmlformats.org/officeDocument/2006/relationships/oleObject" Target="../embeddings/oleObject69.bin"/><Relationship Id="rId5" Type="http://schemas.openxmlformats.org/officeDocument/2006/relationships/tags" Target="../tags/tag2077.xml"/><Relationship Id="rId15" Type="http://schemas.openxmlformats.org/officeDocument/2006/relationships/tags" Target="../tags/tag2087.xml"/><Relationship Id="rId23" Type="http://schemas.openxmlformats.org/officeDocument/2006/relationships/tags" Target="../tags/tag2095.xml"/><Relationship Id="rId28" Type="http://schemas.openxmlformats.org/officeDocument/2006/relationships/tags" Target="../tags/tag2100.xml"/><Relationship Id="rId36" Type="http://schemas.openxmlformats.org/officeDocument/2006/relationships/tags" Target="../tags/tag2108.xml"/><Relationship Id="rId10" Type="http://schemas.openxmlformats.org/officeDocument/2006/relationships/tags" Target="../tags/tag2082.xml"/><Relationship Id="rId19" Type="http://schemas.openxmlformats.org/officeDocument/2006/relationships/tags" Target="../tags/tag2091.xml"/><Relationship Id="rId31" Type="http://schemas.openxmlformats.org/officeDocument/2006/relationships/tags" Target="../tags/tag2103.xml"/><Relationship Id="rId44" Type="http://schemas.openxmlformats.org/officeDocument/2006/relationships/slideLayout" Target="../slideLayouts/slideLayout2.xml"/><Relationship Id="rId4" Type="http://schemas.openxmlformats.org/officeDocument/2006/relationships/tags" Target="../tags/tag2076.xml"/><Relationship Id="rId9" Type="http://schemas.openxmlformats.org/officeDocument/2006/relationships/tags" Target="../tags/tag2081.xml"/><Relationship Id="rId14" Type="http://schemas.openxmlformats.org/officeDocument/2006/relationships/tags" Target="../tags/tag2086.xml"/><Relationship Id="rId22" Type="http://schemas.openxmlformats.org/officeDocument/2006/relationships/tags" Target="../tags/tag2094.xml"/><Relationship Id="rId27" Type="http://schemas.openxmlformats.org/officeDocument/2006/relationships/tags" Target="../tags/tag2099.xml"/><Relationship Id="rId30" Type="http://schemas.openxmlformats.org/officeDocument/2006/relationships/tags" Target="../tags/tag2102.xml"/><Relationship Id="rId35" Type="http://schemas.openxmlformats.org/officeDocument/2006/relationships/tags" Target="../tags/tag2107.xml"/><Relationship Id="rId43" Type="http://schemas.openxmlformats.org/officeDocument/2006/relationships/tags" Target="../tags/tag2115.xml"/><Relationship Id="rId48" Type="http://schemas.openxmlformats.org/officeDocument/2006/relationships/chart" Target="../charts/chart87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2122.xml"/><Relationship Id="rId3" Type="http://schemas.openxmlformats.org/officeDocument/2006/relationships/tags" Target="../tags/tag2117.xml"/><Relationship Id="rId7" Type="http://schemas.openxmlformats.org/officeDocument/2006/relationships/tags" Target="../tags/tag2121.xml"/><Relationship Id="rId12" Type="http://schemas.openxmlformats.org/officeDocument/2006/relationships/image" Target="../media/image16.emf"/><Relationship Id="rId2" Type="http://schemas.openxmlformats.org/officeDocument/2006/relationships/tags" Target="../tags/tag2116.xml"/><Relationship Id="rId1" Type="http://schemas.openxmlformats.org/officeDocument/2006/relationships/vmlDrawing" Target="../drawings/vmlDrawing70.vml"/><Relationship Id="rId6" Type="http://schemas.openxmlformats.org/officeDocument/2006/relationships/tags" Target="../tags/tag2120.xml"/><Relationship Id="rId11" Type="http://schemas.openxmlformats.org/officeDocument/2006/relationships/oleObject" Target="../embeddings/oleObject70.bin"/><Relationship Id="rId5" Type="http://schemas.openxmlformats.org/officeDocument/2006/relationships/tags" Target="../tags/tag211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118.xml"/><Relationship Id="rId9" Type="http://schemas.openxmlformats.org/officeDocument/2006/relationships/tags" Target="../tags/tag2123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2130.xml"/><Relationship Id="rId13" Type="http://schemas.openxmlformats.org/officeDocument/2006/relationships/tags" Target="../tags/tag2135.xml"/><Relationship Id="rId18" Type="http://schemas.openxmlformats.org/officeDocument/2006/relationships/tags" Target="../tags/tag2140.xml"/><Relationship Id="rId26" Type="http://schemas.openxmlformats.org/officeDocument/2006/relationships/tags" Target="../tags/tag2148.xml"/><Relationship Id="rId3" Type="http://schemas.openxmlformats.org/officeDocument/2006/relationships/tags" Target="../tags/tag2125.xml"/><Relationship Id="rId21" Type="http://schemas.openxmlformats.org/officeDocument/2006/relationships/tags" Target="../tags/tag2143.xml"/><Relationship Id="rId34" Type="http://schemas.openxmlformats.org/officeDocument/2006/relationships/chart" Target="../charts/chart88.xml"/><Relationship Id="rId7" Type="http://schemas.openxmlformats.org/officeDocument/2006/relationships/tags" Target="../tags/tag2129.xml"/><Relationship Id="rId12" Type="http://schemas.openxmlformats.org/officeDocument/2006/relationships/tags" Target="../tags/tag2134.xml"/><Relationship Id="rId17" Type="http://schemas.openxmlformats.org/officeDocument/2006/relationships/tags" Target="../tags/tag2139.xml"/><Relationship Id="rId25" Type="http://schemas.openxmlformats.org/officeDocument/2006/relationships/tags" Target="../tags/tag2147.xml"/><Relationship Id="rId33" Type="http://schemas.openxmlformats.org/officeDocument/2006/relationships/image" Target="../media/image16.emf"/><Relationship Id="rId2" Type="http://schemas.openxmlformats.org/officeDocument/2006/relationships/tags" Target="../tags/tag2124.xml"/><Relationship Id="rId16" Type="http://schemas.openxmlformats.org/officeDocument/2006/relationships/tags" Target="../tags/tag2138.xml"/><Relationship Id="rId20" Type="http://schemas.openxmlformats.org/officeDocument/2006/relationships/tags" Target="../tags/tag2142.xml"/><Relationship Id="rId29" Type="http://schemas.openxmlformats.org/officeDocument/2006/relationships/tags" Target="../tags/tag2151.xml"/><Relationship Id="rId1" Type="http://schemas.openxmlformats.org/officeDocument/2006/relationships/vmlDrawing" Target="../drawings/vmlDrawing71.vml"/><Relationship Id="rId6" Type="http://schemas.openxmlformats.org/officeDocument/2006/relationships/tags" Target="../tags/tag2128.xml"/><Relationship Id="rId11" Type="http://schemas.openxmlformats.org/officeDocument/2006/relationships/tags" Target="../tags/tag2133.xml"/><Relationship Id="rId24" Type="http://schemas.openxmlformats.org/officeDocument/2006/relationships/tags" Target="../tags/tag2146.xml"/><Relationship Id="rId32" Type="http://schemas.openxmlformats.org/officeDocument/2006/relationships/oleObject" Target="../embeddings/oleObject71.bin"/><Relationship Id="rId5" Type="http://schemas.openxmlformats.org/officeDocument/2006/relationships/tags" Target="../tags/tag2127.xml"/><Relationship Id="rId15" Type="http://schemas.openxmlformats.org/officeDocument/2006/relationships/tags" Target="../tags/tag2137.xml"/><Relationship Id="rId23" Type="http://schemas.openxmlformats.org/officeDocument/2006/relationships/tags" Target="../tags/tag2145.xml"/><Relationship Id="rId28" Type="http://schemas.openxmlformats.org/officeDocument/2006/relationships/tags" Target="../tags/tag2150.xml"/><Relationship Id="rId10" Type="http://schemas.openxmlformats.org/officeDocument/2006/relationships/tags" Target="../tags/tag2132.xml"/><Relationship Id="rId19" Type="http://schemas.openxmlformats.org/officeDocument/2006/relationships/tags" Target="../tags/tag2141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2126.xml"/><Relationship Id="rId9" Type="http://schemas.openxmlformats.org/officeDocument/2006/relationships/tags" Target="../tags/tag2131.xml"/><Relationship Id="rId14" Type="http://schemas.openxmlformats.org/officeDocument/2006/relationships/tags" Target="../tags/tag2136.xml"/><Relationship Id="rId22" Type="http://schemas.openxmlformats.org/officeDocument/2006/relationships/tags" Target="../tags/tag2144.xml"/><Relationship Id="rId27" Type="http://schemas.openxmlformats.org/officeDocument/2006/relationships/tags" Target="../tags/tag2149.xml"/><Relationship Id="rId30" Type="http://schemas.openxmlformats.org/officeDocument/2006/relationships/tags" Target="../tags/tag2152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tags" Target="../tags/tag2159.xml"/><Relationship Id="rId13" Type="http://schemas.openxmlformats.org/officeDocument/2006/relationships/tags" Target="../tags/tag2164.xml"/><Relationship Id="rId18" Type="http://schemas.openxmlformats.org/officeDocument/2006/relationships/tags" Target="../tags/tag2169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2154.xml"/><Relationship Id="rId21" Type="http://schemas.openxmlformats.org/officeDocument/2006/relationships/tags" Target="../tags/tag2172.xml"/><Relationship Id="rId7" Type="http://schemas.openxmlformats.org/officeDocument/2006/relationships/tags" Target="../tags/tag2158.xml"/><Relationship Id="rId12" Type="http://schemas.openxmlformats.org/officeDocument/2006/relationships/tags" Target="../tags/tag2163.xml"/><Relationship Id="rId17" Type="http://schemas.openxmlformats.org/officeDocument/2006/relationships/tags" Target="../tags/tag2168.xml"/><Relationship Id="rId25" Type="http://schemas.openxmlformats.org/officeDocument/2006/relationships/tags" Target="../tags/tag2176.xml"/><Relationship Id="rId2" Type="http://schemas.openxmlformats.org/officeDocument/2006/relationships/tags" Target="../tags/tag2153.xml"/><Relationship Id="rId16" Type="http://schemas.openxmlformats.org/officeDocument/2006/relationships/tags" Target="../tags/tag2167.xml"/><Relationship Id="rId20" Type="http://schemas.openxmlformats.org/officeDocument/2006/relationships/tags" Target="../tags/tag2171.xml"/><Relationship Id="rId29" Type="http://schemas.openxmlformats.org/officeDocument/2006/relationships/chart" Target="../charts/chart89.xml"/><Relationship Id="rId1" Type="http://schemas.openxmlformats.org/officeDocument/2006/relationships/vmlDrawing" Target="../drawings/vmlDrawing72.vml"/><Relationship Id="rId6" Type="http://schemas.openxmlformats.org/officeDocument/2006/relationships/tags" Target="../tags/tag2157.xml"/><Relationship Id="rId11" Type="http://schemas.openxmlformats.org/officeDocument/2006/relationships/tags" Target="../tags/tag2162.xml"/><Relationship Id="rId24" Type="http://schemas.openxmlformats.org/officeDocument/2006/relationships/tags" Target="../tags/tag2175.xml"/><Relationship Id="rId5" Type="http://schemas.openxmlformats.org/officeDocument/2006/relationships/tags" Target="../tags/tag2156.xml"/><Relationship Id="rId15" Type="http://schemas.openxmlformats.org/officeDocument/2006/relationships/tags" Target="../tags/tag2166.xml"/><Relationship Id="rId23" Type="http://schemas.openxmlformats.org/officeDocument/2006/relationships/tags" Target="../tags/tag2174.xml"/><Relationship Id="rId28" Type="http://schemas.openxmlformats.org/officeDocument/2006/relationships/image" Target="../media/image16.emf"/><Relationship Id="rId10" Type="http://schemas.openxmlformats.org/officeDocument/2006/relationships/tags" Target="../tags/tag2161.xml"/><Relationship Id="rId19" Type="http://schemas.openxmlformats.org/officeDocument/2006/relationships/tags" Target="../tags/tag2170.xml"/><Relationship Id="rId4" Type="http://schemas.openxmlformats.org/officeDocument/2006/relationships/tags" Target="../tags/tag2155.xml"/><Relationship Id="rId9" Type="http://schemas.openxmlformats.org/officeDocument/2006/relationships/tags" Target="../tags/tag2160.xml"/><Relationship Id="rId14" Type="http://schemas.openxmlformats.org/officeDocument/2006/relationships/tags" Target="../tags/tag2165.xml"/><Relationship Id="rId22" Type="http://schemas.openxmlformats.org/officeDocument/2006/relationships/tags" Target="../tags/tag2173.xml"/><Relationship Id="rId27" Type="http://schemas.openxmlformats.org/officeDocument/2006/relationships/oleObject" Target="../embeddings/oleObject72.bin"/><Relationship Id="rId30" Type="http://schemas.openxmlformats.org/officeDocument/2006/relationships/chart" Target="../charts/chart90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tags" Target="../tags/tag2183.xml"/><Relationship Id="rId13" Type="http://schemas.openxmlformats.org/officeDocument/2006/relationships/tags" Target="../tags/tag2188.xml"/><Relationship Id="rId18" Type="http://schemas.openxmlformats.org/officeDocument/2006/relationships/tags" Target="../tags/tag2193.xml"/><Relationship Id="rId26" Type="http://schemas.openxmlformats.org/officeDocument/2006/relationships/tags" Target="../tags/tag2201.xml"/><Relationship Id="rId39" Type="http://schemas.openxmlformats.org/officeDocument/2006/relationships/tags" Target="../tags/tag2214.xml"/><Relationship Id="rId3" Type="http://schemas.openxmlformats.org/officeDocument/2006/relationships/tags" Target="../tags/tag2178.xml"/><Relationship Id="rId21" Type="http://schemas.openxmlformats.org/officeDocument/2006/relationships/tags" Target="../tags/tag2196.xml"/><Relationship Id="rId34" Type="http://schemas.openxmlformats.org/officeDocument/2006/relationships/tags" Target="../tags/tag2209.xml"/><Relationship Id="rId42" Type="http://schemas.openxmlformats.org/officeDocument/2006/relationships/image" Target="../media/image16.emf"/><Relationship Id="rId7" Type="http://schemas.openxmlformats.org/officeDocument/2006/relationships/tags" Target="../tags/tag2182.xml"/><Relationship Id="rId12" Type="http://schemas.openxmlformats.org/officeDocument/2006/relationships/tags" Target="../tags/tag2187.xml"/><Relationship Id="rId17" Type="http://schemas.openxmlformats.org/officeDocument/2006/relationships/tags" Target="../tags/tag2192.xml"/><Relationship Id="rId25" Type="http://schemas.openxmlformats.org/officeDocument/2006/relationships/tags" Target="../tags/tag2200.xml"/><Relationship Id="rId33" Type="http://schemas.openxmlformats.org/officeDocument/2006/relationships/tags" Target="../tags/tag2208.xml"/><Relationship Id="rId38" Type="http://schemas.openxmlformats.org/officeDocument/2006/relationships/tags" Target="../tags/tag2213.xml"/><Relationship Id="rId46" Type="http://schemas.openxmlformats.org/officeDocument/2006/relationships/chart" Target="../charts/chart94.xml"/><Relationship Id="rId2" Type="http://schemas.openxmlformats.org/officeDocument/2006/relationships/tags" Target="../tags/tag2177.xml"/><Relationship Id="rId16" Type="http://schemas.openxmlformats.org/officeDocument/2006/relationships/tags" Target="../tags/tag2191.xml"/><Relationship Id="rId20" Type="http://schemas.openxmlformats.org/officeDocument/2006/relationships/tags" Target="../tags/tag2195.xml"/><Relationship Id="rId29" Type="http://schemas.openxmlformats.org/officeDocument/2006/relationships/tags" Target="../tags/tag2204.xml"/><Relationship Id="rId41" Type="http://schemas.openxmlformats.org/officeDocument/2006/relationships/oleObject" Target="../embeddings/oleObject73.bin"/><Relationship Id="rId1" Type="http://schemas.openxmlformats.org/officeDocument/2006/relationships/vmlDrawing" Target="../drawings/vmlDrawing73.vml"/><Relationship Id="rId6" Type="http://schemas.openxmlformats.org/officeDocument/2006/relationships/tags" Target="../tags/tag2181.xml"/><Relationship Id="rId11" Type="http://schemas.openxmlformats.org/officeDocument/2006/relationships/tags" Target="../tags/tag2186.xml"/><Relationship Id="rId24" Type="http://schemas.openxmlformats.org/officeDocument/2006/relationships/tags" Target="../tags/tag2199.xml"/><Relationship Id="rId32" Type="http://schemas.openxmlformats.org/officeDocument/2006/relationships/tags" Target="../tags/tag2207.xml"/><Relationship Id="rId37" Type="http://schemas.openxmlformats.org/officeDocument/2006/relationships/tags" Target="../tags/tag2212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93.xml"/><Relationship Id="rId5" Type="http://schemas.openxmlformats.org/officeDocument/2006/relationships/tags" Target="../tags/tag2180.xml"/><Relationship Id="rId15" Type="http://schemas.openxmlformats.org/officeDocument/2006/relationships/tags" Target="../tags/tag2190.xml"/><Relationship Id="rId23" Type="http://schemas.openxmlformats.org/officeDocument/2006/relationships/tags" Target="../tags/tag2198.xml"/><Relationship Id="rId28" Type="http://schemas.openxmlformats.org/officeDocument/2006/relationships/tags" Target="../tags/tag2203.xml"/><Relationship Id="rId36" Type="http://schemas.openxmlformats.org/officeDocument/2006/relationships/tags" Target="../tags/tag2211.xml"/><Relationship Id="rId10" Type="http://schemas.openxmlformats.org/officeDocument/2006/relationships/tags" Target="../tags/tag2185.xml"/><Relationship Id="rId19" Type="http://schemas.openxmlformats.org/officeDocument/2006/relationships/tags" Target="../tags/tag2194.xml"/><Relationship Id="rId31" Type="http://schemas.openxmlformats.org/officeDocument/2006/relationships/tags" Target="../tags/tag2206.xml"/><Relationship Id="rId44" Type="http://schemas.openxmlformats.org/officeDocument/2006/relationships/chart" Target="../charts/chart92.xml"/><Relationship Id="rId4" Type="http://schemas.openxmlformats.org/officeDocument/2006/relationships/tags" Target="../tags/tag2179.xml"/><Relationship Id="rId9" Type="http://schemas.openxmlformats.org/officeDocument/2006/relationships/tags" Target="../tags/tag2184.xml"/><Relationship Id="rId14" Type="http://schemas.openxmlformats.org/officeDocument/2006/relationships/tags" Target="../tags/tag2189.xml"/><Relationship Id="rId22" Type="http://schemas.openxmlformats.org/officeDocument/2006/relationships/tags" Target="../tags/tag2197.xml"/><Relationship Id="rId27" Type="http://schemas.openxmlformats.org/officeDocument/2006/relationships/tags" Target="../tags/tag2202.xml"/><Relationship Id="rId30" Type="http://schemas.openxmlformats.org/officeDocument/2006/relationships/tags" Target="../tags/tag2205.xml"/><Relationship Id="rId35" Type="http://schemas.openxmlformats.org/officeDocument/2006/relationships/tags" Target="../tags/tag2210.xml"/><Relationship Id="rId43" Type="http://schemas.openxmlformats.org/officeDocument/2006/relationships/chart" Target="../charts/chart9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26" Type="http://schemas.openxmlformats.org/officeDocument/2006/relationships/tags" Target="../tags/tag186.xml"/><Relationship Id="rId3" Type="http://schemas.openxmlformats.org/officeDocument/2006/relationships/tags" Target="../tags/tag163.xml"/><Relationship Id="rId21" Type="http://schemas.openxmlformats.org/officeDocument/2006/relationships/tags" Target="../tags/tag181.xml"/><Relationship Id="rId34" Type="http://schemas.openxmlformats.org/officeDocument/2006/relationships/chart" Target="../charts/chart8.xml"/><Relationship Id="rId7" Type="http://schemas.openxmlformats.org/officeDocument/2006/relationships/tags" Target="../tags/tag167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33" Type="http://schemas.openxmlformats.org/officeDocument/2006/relationships/image" Target="../media/image15.emf"/><Relationship Id="rId2" Type="http://schemas.openxmlformats.org/officeDocument/2006/relationships/tags" Target="../tags/tag162.xml"/><Relationship Id="rId16" Type="http://schemas.openxmlformats.org/officeDocument/2006/relationships/tags" Target="../tags/tag176.xml"/><Relationship Id="rId20" Type="http://schemas.openxmlformats.org/officeDocument/2006/relationships/tags" Target="../tags/tag180.xml"/><Relationship Id="rId29" Type="http://schemas.openxmlformats.org/officeDocument/2006/relationships/tags" Target="../tags/tag189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66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32" Type="http://schemas.openxmlformats.org/officeDocument/2006/relationships/oleObject" Target="../embeddings/oleObject20.bin"/><Relationship Id="rId5" Type="http://schemas.openxmlformats.org/officeDocument/2006/relationships/tags" Target="../tags/tag165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tags" Target="../tags/tag188.xml"/><Relationship Id="rId10" Type="http://schemas.openxmlformats.org/officeDocument/2006/relationships/tags" Target="../tags/tag170.xml"/><Relationship Id="rId19" Type="http://schemas.openxmlformats.org/officeDocument/2006/relationships/tags" Target="../tags/tag179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tags" Target="../tags/tag187.xml"/><Relationship Id="rId30" Type="http://schemas.openxmlformats.org/officeDocument/2006/relationships/tags" Target="../tags/tag190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tags" Target="../tags/tag2221.xml"/><Relationship Id="rId13" Type="http://schemas.openxmlformats.org/officeDocument/2006/relationships/tags" Target="../tags/tag2226.xml"/><Relationship Id="rId18" Type="http://schemas.openxmlformats.org/officeDocument/2006/relationships/tags" Target="../tags/tag2231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2216.xml"/><Relationship Id="rId21" Type="http://schemas.openxmlformats.org/officeDocument/2006/relationships/tags" Target="../tags/tag2234.xml"/><Relationship Id="rId7" Type="http://schemas.openxmlformats.org/officeDocument/2006/relationships/tags" Target="../tags/tag2220.xml"/><Relationship Id="rId12" Type="http://schemas.openxmlformats.org/officeDocument/2006/relationships/tags" Target="../tags/tag2225.xml"/><Relationship Id="rId17" Type="http://schemas.openxmlformats.org/officeDocument/2006/relationships/tags" Target="../tags/tag2230.xml"/><Relationship Id="rId25" Type="http://schemas.openxmlformats.org/officeDocument/2006/relationships/tags" Target="../tags/tag2238.xml"/><Relationship Id="rId2" Type="http://schemas.openxmlformats.org/officeDocument/2006/relationships/tags" Target="../tags/tag2215.xml"/><Relationship Id="rId16" Type="http://schemas.openxmlformats.org/officeDocument/2006/relationships/tags" Target="../tags/tag2229.xml"/><Relationship Id="rId20" Type="http://schemas.openxmlformats.org/officeDocument/2006/relationships/tags" Target="../tags/tag2233.xml"/><Relationship Id="rId29" Type="http://schemas.openxmlformats.org/officeDocument/2006/relationships/image" Target="../media/image10.emf"/><Relationship Id="rId1" Type="http://schemas.openxmlformats.org/officeDocument/2006/relationships/vmlDrawing" Target="../drawings/vmlDrawing74.vml"/><Relationship Id="rId6" Type="http://schemas.openxmlformats.org/officeDocument/2006/relationships/tags" Target="../tags/tag2219.xml"/><Relationship Id="rId11" Type="http://schemas.openxmlformats.org/officeDocument/2006/relationships/tags" Target="../tags/tag2224.xml"/><Relationship Id="rId24" Type="http://schemas.openxmlformats.org/officeDocument/2006/relationships/tags" Target="../tags/tag2237.xml"/><Relationship Id="rId5" Type="http://schemas.openxmlformats.org/officeDocument/2006/relationships/tags" Target="../tags/tag2218.xml"/><Relationship Id="rId15" Type="http://schemas.openxmlformats.org/officeDocument/2006/relationships/tags" Target="../tags/tag2228.xml"/><Relationship Id="rId23" Type="http://schemas.openxmlformats.org/officeDocument/2006/relationships/tags" Target="../tags/tag2236.xml"/><Relationship Id="rId28" Type="http://schemas.openxmlformats.org/officeDocument/2006/relationships/oleObject" Target="../embeddings/oleObject74.bin"/><Relationship Id="rId10" Type="http://schemas.openxmlformats.org/officeDocument/2006/relationships/tags" Target="../tags/tag2223.xml"/><Relationship Id="rId19" Type="http://schemas.openxmlformats.org/officeDocument/2006/relationships/tags" Target="../tags/tag2232.xml"/><Relationship Id="rId4" Type="http://schemas.openxmlformats.org/officeDocument/2006/relationships/tags" Target="../tags/tag2217.xml"/><Relationship Id="rId9" Type="http://schemas.openxmlformats.org/officeDocument/2006/relationships/tags" Target="../tags/tag2222.xml"/><Relationship Id="rId14" Type="http://schemas.openxmlformats.org/officeDocument/2006/relationships/tags" Target="../tags/tag2227.xml"/><Relationship Id="rId22" Type="http://schemas.openxmlformats.org/officeDocument/2006/relationships/tags" Target="../tags/tag2235.xml"/><Relationship Id="rId27" Type="http://schemas.openxmlformats.org/officeDocument/2006/relationships/notesSlide" Target="../notesSlides/notesSlide25.xml"/><Relationship Id="rId30" Type="http://schemas.openxmlformats.org/officeDocument/2006/relationships/chart" Target="../charts/chart95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tags" Target="../tags/tag2245.xml"/><Relationship Id="rId13" Type="http://schemas.openxmlformats.org/officeDocument/2006/relationships/tags" Target="../tags/tag2250.xml"/><Relationship Id="rId18" Type="http://schemas.openxmlformats.org/officeDocument/2006/relationships/tags" Target="../tags/tag2255.xml"/><Relationship Id="rId26" Type="http://schemas.openxmlformats.org/officeDocument/2006/relationships/tags" Target="../tags/tag2263.xml"/><Relationship Id="rId3" Type="http://schemas.openxmlformats.org/officeDocument/2006/relationships/tags" Target="../tags/tag2240.xml"/><Relationship Id="rId21" Type="http://schemas.openxmlformats.org/officeDocument/2006/relationships/tags" Target="../tags/tag2258.xml"/><Relationship Id="rId34" Type="http://schemas.openxmlformats.org/officeDocument/2006/relationships/image" Target="../media/image16.emf"/><Relationship Id="rId7" Type="http://schemas.openxmlformats.org/officeDocument/2006/relationships/tags" Target="../tags/tag2244.xml"/><Relationship Id="rId12" Type="http://schemas.openxmlformats.org/officeDocument/2006/relationships/tags" Target="../tags/tag2249.xml"/><Relationship Id="rId17" Type="http://schemas.openxmlformats.org/officeDocument/2006/relationships/tags" Target="../tags/tag2254.xml"/><Relationship Id="rId25" Type="http://schemas.openxmlformats.org/officeDocument/2006/relationships/tags" Target="../tags/tag2262.xml"/><Relationship Id="rId33" Type="http://schemas.openxmlformats.org/officeDocument/2006/relationships/oleObject" Target="../embeddings/oleObject75.bin"/><Relationship Id="rId2" Type="http://schemas.openxmlformats.org/officeDocument/2006/relationships/tags" Target="../tags/tag2239.xml"/><Relationship Id="rId16" Type="http://schemas.openxmlformats.org/officeDocument/2006/relationships/tags" Target="../tags/tag2253.xml"/><Relationship Id="rId20" Type="http://schemas.openxmlformats.org/officeDocument/2006/relationships/tags" Target="../tags/tag2257.xml"/><Relationship Id="rId29" Type="http://schemas.openxmlformats.org/officeDocument/2006/relationships/tags" Target="../tags/tag2266.xml"/><Relationship Id="rId1" Type="http://schemas.openxmlformats.org/officeDocument/2006/relationships/vmlDrawing" Target="../drawings/vmlDrawing75.vml"/><Relationship Id="rId6" Type="http://schemas.openxmlformats.org/officeDocument/2006/relationships/tags" Target="../tags/tag2243.xml"/><Relationship Id="rId11" Type="http://schemas.openxmlformats.org/officeDocument/2006/relationships/tags" Target="../tags/tag2248.xml"/><Relationship Id="rId24" Type="http://schemas.openxmlformats.org/officeDocument/2006/relationships/tags" Target="../tags/tag2261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2242.xml"/><Relationship Id="rId15" Type="http://schemas.openxmlformats.org/officeDocument/2006/relationships/tags" Target="../tags/tag2252.xml"/><Relationship Id="rId23" Type="http://schemas.openxmlformats.org/officeDocument/2006/relationships/tags" Target="../tags/tag2260.xml"/><Relationship Id="rId28" Type="http://schemas.openxmlformats.org/officeDocument/2006/relationships/tags" Target="../tags/tag2265.xml"/><Relationship Id="rId10" Type="http://schemas.openxmlformats.org/officeDocument/2006/relationships/tags" Target="../tags/tag2247.xml"/><Relationship Id="rId19" Type="http://schemas.openxmlformats.org/officeDocument/2006/relationships/tags" Target="../tags/tag2256.xml"/><Relationship Id="rId31" Type="http://schemas.openxmlformats.org/officeDocument/2006/relationships/tags" Target="../tags/tag2268.xml"/><Relationship Id="rId4" Type="http://schemas.openxmlformats.org/officeDocument/2006/relationships/tags" Target="../tags/tag2241.xml"/><Relationship Id="rId9" Type="http://schemas.openxmlformats.org/officeDocument/2006/relationships/tags" Target="../tags/tag2246.xml"/><Relationship Id="rId14" Type="http://schemas.openxmlformats.org/officeDocument/2006/relationships/tags" Target="../tags/tag2251.xml"/><Relationship Id="rId22" Type="http://schemas.openxmlformats.org/officeDocument/2006/relationships/tags" Target="../tags/tag2259.xml"/><Relationship Id="rId27" Type="http://schemas.openxmlformats.org/officeDocument/2006/relationships/tags" Target="../tags/tag2264.xml"/><Relationship Id="rId30" Type="http://schemas.openxmlformats.org/officeDocument/2006/relationships/tags" Target="../tags/tag2267.xml"/><Relationship Id="rId35" Type="http://schemas.openxmlformats.org/officeDocument/2006/relationships/chart" Target="../charts/chart96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tags" Target="../tags/tag2275.xml"/><Relationship Id="rId13" Type="http://schemas.openxmlformats.org/officeDocument/2006/relationships/tags" Target="../tags/tag2280.xml"/><Relationship Id="rId18" Type="http://schemas.openxmlformats.org/officeDocument/2006/relationships/tags" Target="../tags/tag2285.xml"/><Relationship Id="rId26" Type="http://schemas.openxmlformats.org/officeDocument/2006/relationships/tags" Target="../tags/tag2293.xml"/><Relationship Id="rId39" Type="http://schemas.openxmlformats.org/officeDocument/2006/relationships/image" Target="../media/image27.png"/><Relationship Id="rId3" Type="http://schemas.openxmlformats.org/officeDocument/2006/relationships/tags" Target="../tags/tag2270.xml"/><Relationship Id="rId21" Type="http://schemas.openxmlformats.org/officeDocument/2006/relationships/tags" Target="../tags/tag2288.xml"/><Relationship Id="rId34" Type="http://schemas.openxmlformats.org/officeDocument/2006/relationships/image" Target="../media/image11.emf"/><Relationship Id="rId7" Type="http://schemas.openxmlformats.org/officeDocument/2006/relationships/tags" Target="../tags/tag2274.xml"/><Relationship Id="rId12" Type="http://schemas.openxmlformats.org/officeDocument/2006/relationships/tags" Target="../tags/tag2279.xml"/><Relationship Id="rId17" Type="http://schemas.openxmlformats.org/officeDocument/2006/relationships/tags" Target="../tags/tag2284.xml"/><Relationship Id="rId25" Type="http://schemas.openxmlformats.org/officeDocument/2006/relationships/tags" Target="../tags/tag2292.xml"/><Relationship Id="rId33" Type="http://schemas.openxmlformats.org/officeDocument/2006/relationships/oleObject" Target="../embeddings/oleObject76.bin"/><Relationship Id="rId38" Type="http://schemas.openxmlformats.org/officeDocument/2006/relationships/image" Target="../media/image26.png"/><Relationship Id="rId2" Type="http://schemas.openxmlformats.org/officeDocument/2006/relationships/tags" Target="../tags/tag2269.xml"/><Relationship Id="rId16" Type="http://schemas.openxmlformats.org/officeDocument/2006/relationships/tags" Target="../tags/tag2283.xml"/><Relationship Id="rId20" Type="http://schemas.openxmlformats.org/officeDocument/2006/relationships/tags" Target="../tags/tag2287.xml"/><Relationship Id="rId29" Type="http://schemas.openxmlformats.org/officeDocument/2006/relationships/tags" Target="../tags/tag2296.xml"/><Relationship Id="rId1" Type="http://schemas.openxmlformats.org/officeDocument/2006/relationships/vmlDrawing" Target="../drawings/vmlDrawing76.vml"/><Relationship Id="rId6" Type="http://schemas.openxmlformats.org/officeDocument/2006/relationships/tags" Target="../tags/tag2273.xml"/><Relationship Id="rId11" Type="http://schemas.openxmlformats.org/officeDocument/2006/relationships/tags" Target="../tags/tag2278.xml"/><Relationship Id="rId24" Type="http://schemas.openxmlformats.org/officeDocument/2006/relationships/tags" Target="../tags/tag2291.xml"/><Relationship Id="rId32" Type="http://schemas.openxmlformats.org/officeDocument/2006/relationships/notesSlide" Target="../notesSlides/notesSlide26.xml"/><Relationship Id="rId37" Type="http://schemas.openxmlformats.org/officeDocument/2006/relationships/image" Target="../media/image25.png"/><Relationship Id="rId40" Type="http://schemas.openxmlformats.org/officeDocument/2006/relationships/image" Target="../media/image28.png"/><Relationship Id="rId5" Type="http://schemas.openxmlformats.org/officeDocument/2006/relationships/tags" Target="../tags/tag2272.xml"/><Relationship Id="rId15" Type="http://schemas.openxmlformats.org/officeDocument/2006/relationships/tags" Target="../tags/tag2282.xml"/><Relationship Id="rId23" Type="http://schemas.openxmlformats.org/officeDocument/2006/relationships/tags" Target="../tags/tag2290.xml"/><Relationship Id="rId28" Type="http://schemas.openxmlformats.org/officeDocument/2006/relationships/tags" Target="../tags/tag2295.xml"/><Relationship Id="rId36" Type="http://schemas.openxmlformats.org/officeDocument/2006/relationships/image" Target="../media/image14.png"/><Relationship Id="rId10" Type="http://schemas.openxmlformats.org/officeDocument/2006/relationships/tags" Target="../tags/tag2277.xml"/><Relationship Id="rId19" Type="http://schemas.openxmlformats.org/officeDocument/2006/relationships/tags" Target="../tags/tag2286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2271.xml"/><Relationship Id="rId9" Type="http://schemas.openxmlformats.org/officeDocument/2006/relationships/tags" Target="../tags/tag2276.xml"/><Relationship Id="rId14" Type="http://schemas.openxmlformats.org/officeDocument/2006/relationships/tags" Target="../tags/tag2281.xml"/><Relationship Id="rId22" Type="http://schemas.openxmlformats.org/officeDocument/2006/relationships/tags" Target="../tags/tag2289.xml"/><Relationship Id="rId27" Type="http://schemas.openxmlformats.org/officeDocument/2006/relationships/tags" Target="../tags/tag2294.xml"/><Relationship Id="rId30" Type="http://schemas.openxmlformats.org/officeDocument/2006/relationships/tags" Target="../tags/tag2297.xml"/><Relationship Id="rId35" Type="http://schemas.openxmlformats.org/officeDocument/2006/relationships/image" Target="../media/image24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tags" Target="../tags/tag2304.xml"/><Relationship Id="rId13" Type="http://schemas.openxmlformats.org/officeDocument/2006/relationships/tags" Target="../tags/tag2309.xml"/><Relationship Id="rId18" Type="http://schemas.openxmlformats.org/officeDocument/2006/relationships/image" Target="../media/image11.emf"/><Relationship Id="rId3" Type="http://schemas.openxmlformats.org/officeDocument/2006/relationships/tags" Target="../tags/tag2299.xml"/><Relationship Id="rId21" Type="http://schemas.openxmlformats.org/officeDocument/2006/relationships/image" Target="../media/image29.jpeg"/><Relationship Id="rId7" Type="http://schemas.openxmlformats.org/officeDocument/2006/relationships/tags" Target="../tags/tag2303.xml"/><Relationship Id="rId12" Type="http://schemas.openxmlformats.org/officeDocument/2006/relationships/tags" Target="../tags/tag2308.xml"/><Relationship Id="rId17" Type="http://schemas.openxmlformats.org/officeDocument/2006/relationships/oleObject" Target="../embeddings/oleObject77.bin"/><Relationship Id="rId2" Type="http://schemas.openxmlformats.org/officeDocument/2006/relationships/tags" Target="../tags/tag2298.xml"/><Relationship Id="rId16" Type="http://schemas.openxmlformats.org/officeDocument/2006/relationships/notesSlide" Target="../notesSlides/notesSlide27.xml"/><Relationship Id="rId20" Type="http://schemas.openxmlformats.org/officeDocument/2006/relationships/image" Target="../media/image25.png"/><Relationship Id="rId1" Type="http://schemas.openxmlformats.org/officeDocument/2006/relationships/vmlDrawing" Target="../drawings/vmlDrawing77.vml"/><Relationship Id="rId6" Type="http://schemas.openxmlformats.org/officeDocument/2006/relationships/tags" Target="../tags/tag2302.xml"/><Relationship Id="rId11" Type="http://schemas.openxmlformats.org/officeDocument/2006/relationships/tags" Target="../tags/tag2307.xml"/><Relationship Id="rId5" Type="http://schemas.openxmlformats.org/officeDocument/2006/relationships/tags" Target="../tags/tag2301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306.xml"/><Relationship Id="rId19" Type="http://schemas.openxmlformats.org/officeDocument/2006/relationships/image" Target="../media/image24.png"/><Relationship Id="rId4" Type="http://schemas.openxmlformats.org/officeDocument/2006/relationships/tags" Target="../tags/tag2300.xml"/><Relationship Id="rId9" Type="http://schemas.openxmlformats.org/officeDocument/2006/relationships/tags" Target="../tags/tag2305.xml"/><Relationship Id="rId14" Type="http://schemas.openxmlformats.org/officeDocument/2006/relationships/tags" Target="../tags/tag2310.xml"/><Relationship Id="rId22" Type="http://schemas.openxmlformats.org/officeDocument/2006/relationships/image" Target="../media/image14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tags" Target="../tags/tag2312.xml"/><Relationship Id="rId7" Type="http://schemas.openxmlformats.org/officeDocument/2006/relationships/image" Target="../media/image11.emf"/><Relationship Id="rId2" Type="http://schemas.openxmlformats.org/officeDocument/2006/relationships/tags" Target="../tags/tag2311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8.bin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tags" Target="../tags/tag2319.xml"/><Relationship Id="rId13" Type="http://schemas.openxmlformats.org/officeDocument/2006/relationships/tags" Target="../tags/tag2324.xml"/><Relationship Id="rId3" Type="http://schemas.openxmlformats.org/officeDocument/2006/relationships/tags" Target="../tags/tag2314.xml"/><Relationship Id="rId7" Type="http://schemas.openxmlformats.org/officeDocument/2006/relationships/tags" Target="../tags/tag2318.xml"/><Relationship Id="rId12" Type="http://schemas.openxmlformats.org/officeDocument/2006/relationships/tags" Target="../tags/tag2323.xml"/><Relationship Id="rId17" Type="http://schemas.openxmlformats.org/officeDocument/2006/relationships/image" Target="../media/image11.emf"/><Relationship Id="rId2" Type="http://schemas.openxmlformats.org/officeDocument/2006/relationships/tags" Target="../tags/tag2313.xml"/><Relationship Id="rId16" Type="http://schemas.openxmlformats.org/officeDocument/2006/relationships/oleObject" Target="../embeddings/oleObject79.bin"/><Relationship Id="rId1" Type="http://schemas.openxmlformats.org/officeDocument/2006/relationships/vmlDrawing" Target="../drawings/vmlDrawing79.vml"/><Relationship Id="rId6" Type="http://schemas.openxmlformats.org/officeDocument/2006/relationships/tags" Target="../tags/tag2317.xml"/><Relationship Id="rId11" Type="http://schemas.openxmlformats.org/officeDocument/2006/relationships/tags" Target="../tags/tag2322.xml"/><Relationship Id="rId5" Type="http://schemas.openxmlformats.org/officeDocument/2006/relationships/tags" Target="../tags/tag2316.xml"/><Relationship Id="rId15" Type="http://schemas.openxmlformats.org/officeDocument/2006/relationships/notesSlide" Target="../notesSlides/notesSlide29.xml"/><Relationship Id="rId10" Type="http://schemas.openxmlformats.org/officeDocument/2006/relationships/tags" Target="../tags/tag2321.xml"/><Relationship Id="rId4" Type="http://schemas.openxmlformats.org/officeDocument/2006/relationships/tags" Target="../tags/tag2315.xml"/><Relationship Id="rId9" Type="http://schemas.openxmlformats.org/officeDocument/2006/relationships/tags" Target="../tags/tag2320.xml"/><Relationship Id="rId14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26" Type="http://schemas.openxmlformats.org/officeDocument/2006/relationships/tags" Target="../tags/tag2349.xml"/><Relationship Id="rId21" Type="http://schemas.openxmlformats.org/officeDocument/2006/relationships/tags" Target="../tags/tag2344.xml"/><Relationship Id="rId34" Type="http://schemas.openxmlformats.org/officeDocument/2006/relationships/tags" Target="../tags/tag2357.xml"/><Relationship Id="rId42" Type="http://schemas.openxmlformats.org/officeDocument/2006/relationships/tags" Target="../tags/tag2365.xml"/><Relationship Id="rId47" Type="http://schemas.openxmlformats.org/officeDocument/2006/relationships/tags" Target="../tags/tag2370.xml"/><Relationship Id="rId50" Type="http://schemas.openxmlformats.org/officeDocument/2006/relationships/tags" Target="../tags/tag2373.xml"/><Relationship Id="rId55" Type="http://schemas.openxmlformats.org/officeDocument/2006/relationships/tags" Target="../tags/tag2378.xml"/><Relationship Id="rId63" Type="http://schemas.openxmlformats.org/officeDocument/2006/relationships/tags" Target="../tags/tag2386.xml"/><Relationship Id="rId68" Type="http://schemas.openxmlformats.org/officeDocument/2006/relationships/tags" Target="../tags/tag2391.xml"/><Relationship Id="rId76" Type="http://schemas.openxmlformats.org/officeDocument/2006/relationships/tags" Target="../tags/tag2399.xml"/><Relationship Id="rId84" Type="http://schemas.openxmlformats.org/officeDocument/2006/relationships/tags" Target="../tags/tag2407.xml"/><Relationship Id="rId89" Type="http://schemas.openxmlformats.org/officeDocument/2006/relationships/tags" Target="../tags/tag2412.xml"/><Relationship Id="rId97" Type="http://schemas.openxmlformats.org/officeDocument/2006/relationships/tags" Target="../tags/tag2420.xml"/><Relationship Id="rId7" Type="http://schemas.openxmlformats.org/officeDocument/2006/relationships/tags" Target="../tags/tag2330.xml"/><Relationship Id="rId71" Type="http://schemas.openxmlformats.org/officeDocument/2006/relationships/tags" Target="../tags/tag2394.xml"/><Relationship Id="rId92" Type="http://schemas.openxmlformats.org/officeDocument/2006/relationships/tags" Target="../tags/tag2415.xml"/><Relationship Id="rId2" Type="http://schemas.openxmlformats.org/officeDocument/2006/relationships/tags" Target="../tags/tag2325.xml"/><Relationship Id="rId16" Type="http://schemas.openxmlformats.org/officeDocument/2006/relationships/tags" Target="../tags/tag2339.xml"/><Relationship Id="rId29" Type="http://schemas.openxmlformats.org/officeDocument/2006/relationships/tags" Target="../tags/tag2352.xml"/><Relationship Id="rId11" Type="http://schemas.openxmlformats.org/officeDocument/2006/relationships/tags" Target="../tags/tag2334.xml"/><Relationship Id="rId24" Type="http://schemas.openxmlformats.org/officeDocument/2006/relationships/tags" Target="../tags/tag2347.xml"/><Relationship Id="rId32" Type="http://schemas.openxmlformats.org/officeDocument/2006/relationships/tags" Target="../tags/tag2355.xml"/><Relationship Id="rId37" Type="http://schemas.openxmlformats.org/officeDocument/2006/relationships/tags" Target="../tags/tag2360.xml"/><Relationship Id="rId40" Type="http://schemas.openxmlformats.org/officeDocument/2006/relationships/tags" Target="../tags/tag2363.xml"/><Relationship Id="rId45" Type="http://schemas.openxmlformats.org/officeDocument/2006/relationships/tags" Target="../tags/tag2368.xml"/><Relationship Id="rId53" Type="http://schemas.openxmlformats.org/officeDocument/2006/relationships/tags" Target="../tags/tag2376.xml"/><Relationship Id="rId58" Type="http://schemas.openxmlformats.org/officeDocument/2006/relationships/tags" Target="../tags/tag2381.xml"/><Relationship Id="rId66" Type="http://schemas.openxmlformats.org/officeDocument/2006/relationships/tags" Target="../tags/tag2389.xml"/><Relationship Id="rId74" Type="http://schemas.openxmlformats.org/officeDocument/2006/relationships/tags" Target="../tags/tag2397.xml"/><Relationship Id="rId79" Type="http://schemas.openxmlformats.org/officeDocument/2006/relationships/tags" Target="../tags/tag2402.xml"/><Relationship Id="rId87" Type="http://schemas.openxmlformats.org/officeDocument/2006/relationships/tags" Target="../tags/tag2410.xml"/><Relationship Id="rId5" Type="http://schemas.openxmlformats.org/officeDocument/2006/relationships/tags" Target="../tags/tag2328.xml"/><Relationship Id="rId61" Type="http://schemas.openxmlformats.org/officeDocument/2006/relationships/tags" Target="../tags/tag2384.xml"/><Relationship Id="rId82" Type="http://schemas.openxmlformats.org/officeDocument/2006/relationships/tags" Target="../tags/tag2405.xml"/><Relationship Id="rId90" Type="http://schemas.openxmlformats.org/officeDocument/2006/relationships/tags" Target="../tags/tag2413.xml"/><Relationship Id="rId95" Type="http://schemas.openxmlformats.org/officeDocument/2006/relationships/tags" Target="../tags/tag2418.xml"/><Relationship Id="rId19" Type="http://schemas.openxmlformats.org/officeDocument/2006/relationships/tags" Target="../tags/tag2342.xml"/><Relationship Id="rId14" Type="http://schemas.openxmlformats.org/officeDocument/2006/relationships/tags" Target="../tags/tag2337.xml"/><Relationship Id="rId22" Type="http://schemas.openxmlformats.org/officeDocument/2006/relationships/tags" Target="../tags/tag2345.xml"/><Relationship Id="rId27" Type="http://schemas.openxmlformats.org/officeDocument/2006/relationships/tags" Target="../tags/tag2350.xml"/><Relationship Id="rId30" Type="http://schemas.openxmlformats.org/officeDocument/2006/relationships/tags" Target="../tags/tag2353.xml"/><Relationship Id="rId35" Type="http://schemas.openxmlformats.org/officeDocument/2006/relationships/tags" Target="../tags/tag2358.xml"/><Relationship Id="rId43" Type="http://schemas.openxmlformats.org/officeDocument/2006/relationships/tags" Target="../tags/tag2366.xml"/><Relationship Id="rId48" Type="http://schemas.openxmlformats.org/officeDocument/2006/relationships/tags" Target="../tags/tag2371.xml"/><Relationship Id="rId56" Type="http://schemas.openxmlformats.org/officeDocument/2006/relationships/tags" Target="../tags/tag2379.xml"/><Relationship Id="rId64" Type="http://schemas.openxmlformats.org/officeDocument/2006/relationships/tags" Target="../tags/tag2387.xml"/><Relationship Id="rId69" Type="http://schemas.openxmlformats.org/officeDocument/2006/relationships/tags" Target="../tags/tag2392.xml"/><Relationship Id="rId77" Type="http://schemas.openxmlformats.org/officeDocument/2006/relationships/tags" Target="../tags/tag2400.xml"/><Relationship Id="rId100" Type="http://schemas.openxmlformats.org/officeDocument/2006/relationships/image" Target="../media/image15.emf"/><Relationship Id="rId8" Type="http://schemas.openxmlformats.org/officeDocument/2006/relationships/tags" Target="../tags/tag2331.xml"/><Relationship Id="rId51" Type="http://schemas.openxmlformats.org/officeDocument/2006/relationships/tags" Target="../tags/tag2374.xml"/><Relationship Id="rId72" Type="http://schemas.openxmlformats.org/officeDocument/2006/relationships/tags" Target="../tags/tag2395.xml"/><Relationship Id="rId80" Type="http://schemas.openxmlformats.org/officeDocument/2006/relationships/tags" Target="../tags/tag2403.xml"/><Relationship Id="rId85" Type="http://schemas.openxmlformats.org/officeDocument/2006/relationships/tags" Target="../tags/tag2408.xml"/><Relationship Id="rId93" Type="http://schemas.openxmlformats.org/officeDocument/2006/relationships/tags" Target="../tags/tag2416.xml"/><Relationship Id="rId98" Type="http://schemas.openxmlformats.org/officeDocument/2006/relationships/slideLayout" Target="../slideLayouts/slideLayout2.xml"/><Relationship Id="rId3" Type="http://schemas.openxmlformats.org/officeDocument/2006/relationships/tags" Target="../tags/tag2326.xml"/><Relationship Id="rId12" Type="http://schemas.openxmlformats.org/officeDocument/2006/relationships/tags" Target="../tags/tag2335.xml"/><Relationship Id="rId17" Type="http://schemas.openxmlformats.org/officeDocument/2006/relationships/tags" Target="../tags/tag2340.xml"/><Relationship Id="rId25" Type="http://schemas.openxmlformats.org/officeDocument/2006/relationships/tags" Target="../tags/tag2348.xml"/><Relationship Id="rId33" Type="http://schemas.openxmlformats.org/officeDocument/2006/relationships/tags" Target="../tags/tag2356.xml"/><Relationship Id="rId38" Type="http://schemas.openxmlformats.org/officeDocument/2006/relationships/tags" Target="../tags/tag2361.xml"/><Relationship Id="rId46" Type="http://schemas.openxmlformats.org/officeDocument/2006/relationships/tags" Target="../tags/tag2369.xml"/><Relationship Id="rId59" Type="http://schemas.openxmlformats.org/officeDocument/2006/relationships/tags" Target="../tags/tag2382.xml"/><Relationship Id="rId67" Type="http://schemas.openxmlformats.org/officeDocument/2006/relationships/tags" Target="../tags/tag2390.xml"/><Relationship Id="rId20" Type="http://schemas.openxmlformats.org/officeDocument/2006/relationships/tags" Target="../tags/tag2343.xml"/><Relationship Id="rId41" Type="http://schemas.openxmlformats.org/officeDocument/2006/relationships/tags" Target="../tags/tag2364.xml"/><Relationship Id="rId54" Type="http://schemas.openxmlformats.org/officeDocument/2006/relationships/tags" Target="../tags/tag2377.xml"/><Relationship Id="rId62" Type="http://schemas.openxmlformats.org/officeDocument/2006/relationships/tags" Target="../tags/tag2385.xml"/><Relationship Id="rId70" Type="http://schemas.openxmlformats.org/officeDocument/2006/relationships/tags" Target="../tags/tag2393.xml"/><Relationship Id="rId75" Type="http://schemas.openxmlformats.org/officeDocument/2006/relationships/tags" Target="../tags/tag2398.xml"/><Relationship Id="rId83" Type="http://schemas.openxmlformats.org/officeDocument/2006/relationships/tags" Target="../tags/tag2406.xml"/><Relationship Id="rId88" Type="http://schemas.openxmlformats.org/officeDocument/2006/relationships/tags" Target="../tags/tag2411.xml"/><Relationship Id="rId91" Type="http://schemas.openxmlformats.org/officeDocument/2006/relationships/tags" Target="../tags/tag2414.xml"/><Relationship Id="rId96" Type="http://schemas.openxmlformats.org/officeDocument/2006/relationships/tags" Target="../tags/tag2419.xml"/><Relationship Id="rId1" Type="http://schemas.openxmlformats.org/officeDocument/2006/relationships/vmlDrawing" Target="../drawings/vmlDrawing80.vml"/><Relationship Id="rId6" Type="http://schemas.openxmlformats.org/officeDocument/2006/relationships/tags" Target="../tags/tag2329.xml"/><Relationship Id="rId15" Type="http://schemas.openxmlformats.org/officeDocument/2006/relationships/tags" Target="../tags/tag2338.xml"/><Relationship Id="rId23" Type="http://schemas.openxmlformats.org/officeDocument/2006/relationships/tags" Target="../tags/tag2346.xml"/><Relationship Id="rId28" Type="http://schemas.openxmlformats.org/officeDocument/2006/relationships/tags" Target="../tags/tag2351.xml"/><Relationship Id="rId36" Type="http://schemas.openxmlformats.org/officeDocument/2006/relationships/tags" Target="../tags/tag2359.xml"/><Relationship Id="rId49" Type="http://schemas.openxmlformats.org/officeDocument/2006/relationships/tags" Target="../tags/tag2372.xml"/><Relationship Id="rId57" Type="http://schemas.openxmlformats.org/officeDocument/2006/relationships/tags" Target="../tags/tag2380.xml"/><Relationship Id="rId10" Type="http://schemas.openxmlformats.org/officeDocument/2006/relationships/tags" Target="../tags/tag2333.xml"/><Relationship Id="rId31" Type="http://schemas.openxmlformats.org/officeDocument/2006/relationships/tags" Target="../tags/tag2354.xml"/><Relationship Id="rId44" Type="http://schemas.openxmlformats.org/officeDocument/2006/relationships/tags" Target="../tags/tag2367.xml"/><Relationship Id="rId52" Type="http://schemas.openxmlformats.org/officeDocument/2006/relationships/tags" Target="../tags/tag2375.xml"/><Relationship Id="rId60" Type="http://schemas.openxmlformats.org/officeDocument/2006/relationships/tags" Target="../tags/tag2383.xml"/><Relationship Id="rId65" Type="http://schemas.openxmlformats.org/officeDocument/2006/relationships/tags" Target="../tags/tag2388.xml"/><Relationship Id="rId73" Type="http://schemas.openxmlformats.org/officeDocument/2006/relationships/tags" Target="../tags/tag2396.xml"/><Relationship Id="rId78" Type="http://schemas.openxmlformats.org/officeDocument/2006/relationships/tags" Target="../tags/tag2401.xml"/><Relationship Id="rId81" Type="http://schemas.openxmlformats.org/officeDocument/2006/relationships/tags" Target="../tags/tag2404.xml"/><Relationship Id="rId86" Type="http://schemas.openxmlformats.org/officeDocument/2006/relationships/tags" Target="../tags/tag2409.xml"/><Relationship Id="rId94" Type="http://schemas.openxmlformats.org/officeDocument/2006/relationships/tags" Target="../tags/tag2417.xml"/><Relationship Id="rId99" Type="http://schemas.openxmlformats.org/officeDocument/2006/relationships/oleObject" Target="../embeddings/oleObject80.bin"/><Relationship Id="rId4" Type="http://schemas.openxmlformats.org/officeDocument/2006/relationships/tags" Target="../tags/tag2327.xml"/><Relationship Id="rId9" Type="http://schemas.openxmlformats.org/officeDocument/2006/relationships/tags" Target="../tags/tag2332.xml"/><Relationship Id="rId13" Type="http://schemas.openxmlformats.org/officeDocument/2006/relationships/tags" Target="../tags/tag2336.xml"/><Relationship Id="rId18" Type="http://schemas.openxmlformats.org/officeDocument/2006/relationships/tags" Target="../tags/tag2341.xml"/><Relationship Id="rId39" Type="http://schemas.openxmlformats.org/officeDocument/2006/relationships/tags" Target="../tags/tag2362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tags" Target="../tags/tag2427.xml"/><Relationship Id="rId13" Type="http://schemas.openxmlformats.org/officeDocument/2006/relationships/image" Target="../media/image30.png"/><Relationship Id="rId18" Type="http://schemas.openxmlformats.org/officeDocument/2006/relationships/image" Target="../media/image35.png"/><Relationship Id="rId3" Type="http://schemas.openxmlformats.org/officeDocument/2006/relationships/tags" Target="../tags/tag2422.xml"/><Relationship Id="rId7" Type="http://schemas.openxmlformats.org/officeDocument/2006/relationships/tags" Target="../tags/tag2426.xml"/><Relationship Id="rId12" Type="http://schemas.openxmlformats.org/officeDocument/2006/relationships/image" Target="../media/image15.emf"/><Relationship Id="rId17" Type="http://schemas.openxmlformats.org/officeDocument/2006/relationships/image" Target="../media/image34.png"/><Relationship Id="rId2" Type="http://schemas.openxmlformats.org/officeDocument/2006/relationships/tags" Target="../tags/tag2421.xml"/><Relationship Id="rId16" Type="http://schemas.openxmlformats.org/officeDocument/2006/relationships/image" Target="../media/image33.png"/><Relationship Id="rId1" Type="http://schemas.openxmlformats.org/officeDocument/2006/relationships/vmlDrawing" Target="../drawings/vmlDrawing81.vml"/><Relationship Id="rId6" Type="http://schemas.openxmlformats.org/officeDocument/2006/relationships/tags" Target="../tags/tag2425.xml"/><Relationship Id="rId11" Type="http://schemas.openxmlformats.org/officeDocument/2006/relationships/oleObject" Target="../embeddings/oleObject81.bin"/><Relationship Id="rId5" Type="http://schemas.openxmlformats.org/officeDocument/2006/relationships/tags" Target="../tags/tag2424.xml"/><Relationship Id="rId15" Type="http://schemas.openxmlformats.org/officeDocument/2006/relationships/image" Target="../media/image32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423.xml"/><Relationship Id="rId9" Type="http://schemas.openxmlformats.org/officeDocument/2006/relationships/tags" Target="../tags/tag2428.xml"/><Relationship Id="rId14" Type="http://schemas.openxmlformats.org/officeDocument/2006/relationships/image" Target="../media/image31.pn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2.bin"/><Relationship Id="rId3" Type="http://schemas.openxmlformats.org/officeDocument/2006/relationships/tags" Target="../tags/tag2430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2.png"/><Relationship Id="rId2" Type="http://schemas.openxmlformats.org/officeDocument/2006/relationships/tags" Target="../tags/tag2429.xml"/><Relationship Id="rId1" Type="http://schemas.openxmlformats.org/officeDocument/2006/relationships/vmlDrawing" Target="../drawings/vmlDrawing82.vml"/><Relationship Id="rId6" Type="http://schemas.openxmlformats.org/officeDocument/2006/relationships/tags" Target="../tags/tag2433.xml"/><Relationship Id="rId11" Type="http://schemas.openxmlformats.org/officeDocument/2006/relationships/image" Target="../media/image31.png"/><Relationship Id="rId5" Type="http://schemas.openxmlformats.org/officeDocument/2006/relationships/tags" Target="../tags/tag2432.xml"/><Relationship Id="rId10" Type="http://schemas.openxmlformats.org/officeDocument/2006/relationships/image" Target="../media/image30.png"/><Relationship Id="rId4" Type="http://schemas.openxmlformats.org/officeDocument/2006/relationships/tags" Target="../tags/tag2431.xml"/><Relationship Id="rId9" Type="http://schemas.openxmlformats.org/officeDocument/2006/relationships/image" Target="../media/image15.emf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3.bin"/><Relationship Id="rId3" Type="http://schemas.openxmlformats.org/officeDocument/2006/relationships/tags" Target="../tags/tag2435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5.png"/><Relationship Id="rId2" Type="http://schemas.openxmlformats.org/officeDocument/2006/relationships/tags" Target="../tags/tag2434.xml"/><Relationship Id="rId1" Type="http://schemas.openxmlformats.org/officeDocument/2006/relationships/vmlDrawing" Target="../drawings/vmlDrawing83.vml"/><Relationship Id="rId6" Type="http://schemas.openxmlformats.org/officeDocument/2006/relationships/tags" Target="../tags/tag2438.xml"/><Relationship Id="rId11" Type="http://schemas.openxmlformats.org/officeDocument/2006/relationships/image" Target="../media/image34.png"/><Relationship Id="rId5" Type="http://schemas.openxmlformats.org/officeDocument/2006/relationships/tags" Target="../tags/tag2437.xml"/><Relationship Id="rId10" Type="http://schemas.openxmlformats.org/officeDocument/2006/relationships/image" Target="../media/image33.png"/><Relationship Id="rId4" Type="http://schemas.openxmlformats.org/officeDocument/2006/relationships/tags" Target="../tags/tag2436.xml"/><Relationship Id="rId9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tags" Target="../tags/tag202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17" Type="http://schemas.openxmlformats.org/officeDocument/2006/relationships/tags" Target="../tags/tag206.xml"/><Relationship Id="rId2" Type="http://schemas.openxmlformats.org/officeDocument/2006/relationships/tags" Target="../tags/tag191.xml"/><Relationship Id="rId16" Type="http://schemas.openxmlformats.org/officeDocument/2006/relationships/tags" Target="../tags/tag205.xml"/><Relationship Id="rId20" Type="http://schemas.openxmlformats.org/officeDocument/2006/relationships/image" Target="../media/image15.emf"/><Relationship Id="rId1" Type="http://schemas.openxmlformats.org/officeDocument/2006/relationships/vmlDrawing" Target="../drawings/vmlDrawing21.vml"/><Relationship Id="rId6" Type="http://schemas.openxmlformats.org/officeDocument/2006/relationships/tags" Target="../tags/tag195.xml"/><Relationship Id="rId11" Type="http://schemas.openxmlformats.org/officeDocument/2006/relationships/tags" Target="../tags/tag200.xml"/><Relationship Id="rId5" Type="http://schemas.openxmlformats.org/officeDocument/2006/relationships/tags" Target="../tags/tag194.xml"/><Relationship Id="rId15" Type="http://schemas.openxmlformats.org/officeDocument/2006/relationships/tags" Target="../tags/tag204.xml"/><Relationship Id="rId10" Type="http://schemas.openxmlformats.org/officeDocument/2006/relationships/tags" Target="../tags/tag199.xml"/><Relationship Id="rId19" Type="http://schemas.openxmlformats.org/officeDocument/2006/relationships/oleObject" Target="../embeddings/oleObject21.bin"/><Relationship Id="rId4" Type="http://schemas.openxmlformats.org/officeDocument/2006/relationships/tags" Target="../tags/tag193.xml"/><Relationship Id="rId9" Type="http://schemas.openxmlformats.org/officeDocument/2006/relationships/tags" Target="../tags/tag198.xml"/><Relationship Id="rId14" Type="http://schemas.openxmlformats.org/officeDocument/2006/relationships/tags" Target="../tags/tag203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2440.xml"/><Relationship Id="rId7" Type="http://schemas.openxmlformats.org/officeDocument/2006/relationships/image" Target="../media/image36.png"/><Relationship Id="rId2" Type="http://schemas.openxmlformats.org/officeDocument/2006/relationships/tags" Target="../tags/tag2439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84.bin"/><Relationship Id="rId10" Type="http://schemas.openxmlformats.org/officeDocument/2006/relationships/image" Target="../media/image3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8.png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2442.xml"/><Relationship Id="rId7" Type="http://schemas.openxmlformats.org/officeDocument/2006/relationships/image" Target="../media/image36.png"/><Relationship Id="rId2" Type="http://schemas.openxmlformats.org/officeDocument/2006/relationships/tags" Target="../tags/tag2441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85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13" Type="http://schemas.openxmlformats.org/officeDocument/2006/relationships/notesSlide" Target="../notesSlides/notesSlide6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207.xml"/><Relationship Id="rId16" Type="http://schemas.openxmlformats.org/officeDocument/2006/relationships/chart" Target="../charts/chart9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11.xml"/><Relationship Id="rId11" Type="http://schemas.openxmlformats.org/officeDocument/2006/relationships/tags" Target="../tags/tag216.xml"/><Relationship Id="rId5" Type="http://schemas.openxmlformats.org/officeDocument/2006/relationships/tags" Target="../tags/tag210.xml"/><Relationship Id="rId15" Type="http://schemas.openxmlformats.org/officeDocument/2006/relationships/image" Target="../media/image11.emf"/><Relationship Id="rId10" Type="http://schemas.openxmlformats.org/officeDocument/2006/relationships/tags" Target="../tags/tag215.xml"/><Relationship Id="rId4" Type="http://schemas.openxmlformats.org/officeDocument/2006/relationships/tags" Target="../tags/tag209.xml"/><Relationship Id="rId9" Type="http://schemas.openxmlformats.org/officeDocument/2006/relationships/tags" Target="../tags/tag214.xml"/><Relationship Id="rId14" Type="http://schemas.openxmlformats.org/officeDocument/2006/relationships/oleObject" Target="../embeddings/oleObject22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chart" Target="../charts/chart10.xml"/><Relationship Id="rId2" Type="http://schemas.openxmlformats.org/officeDocument/2006/relationships/tags" Target="../tags/tag217.xml"/><Relationship Id="rId16" Type="http://schemas.openxmlformats.org/officeDocument/2006/relationships/image" Target="../media/image16.emf"/><Relationship Id="rId1" Type="http://schemas.openxmlformats.org/officeDocument/2006/relationships/vmlDrawing" Target="../drawings/vmlDrawing23.v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5" Type="http://schemas.openxmlformats.org/officeDocument/2006/relationships/tags" Target="../tags/tag220.xml"/><Relationship Id="rId15" Type="http://schemas.openxmlformats.org/officeDocument/2006/relationships/oleObject" Target="../embeddings/oleObject23.bin"/><Relationship Id="rId10" Type="http://schemas.openxmlformats.org/officeDocument/2006/relationships/tags" Target="../tags/tag225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31" imgW="526" imgH="526" progId="TCLayout.ActiveDocument.1">
                  <p:embed/>
                </p:oleObj>
              </mc:Choice>
              <mc:Fallback>
                <p:oleObj name="think-cell Slide" r:id="rId31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0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Arial Unicode MS" panose="020B0604020202020204"/>
              <a:cs typeface="+mn-cs"/>
              <a:sym typeface="+mn-lt"/>
            </a:endParaRPr>
          </a:p>
        </p:txBody>
      </p: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6C457318-48D4-413C-82F3-12E3B0924DE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448050" y="2074863"/>
            <a:ext cx="7937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125D21B1-88F1-435F-9FD2-E9A3BB321F3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233988" y="2801938"/>
            <a:ext cx="7937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90FA8D12-3D93-4382-8559-F7EF3958FFF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021513" y="3649663"/>
            <a:ext cx="7937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EC941566-01D1-46FA-B51A-9322C0B41957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1974850" y="1828800"/>
          <a:ext cx="7312025" cy="4276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9E5AAF38-BB1D-4A3F-8BE3-EA3D4CEF97A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310563" y="1736725"/>
            <a:ext cx="0" cy="1651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406852F2-8924-46ED-8BDA-A78B7654627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2951163" y="173672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ADE1C366-041C-443C-BB00-A5834623031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951163" y="1736725"/>
            <a:ext cx="53594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tangle 314">
            <a:extLst>
              <a:ext uri="{FF2B5EF4-FFF2-40B4-BE49-F238E27FC236}">
                <a16:creationId xmlns:a16="http://schemas.microsoft.com/office/drawing/2014/main" id="{9C76D4EC-5201-40FA-9E02-4C254BD57780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230438" y="6081713"/>
            <a:ext cx="144303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ACC6F35-3674-446C-AE2B-2C0A873B3D4C}" type="datetime'C''''urren''''t ''''''''pra''c''''t''''ice'' sce''na''''rio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urrent practice scenario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ABB7CBFC-BAA6-4A84-AF43-615FF99E4BCA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3867150" y="6081713"/>
            <a:ext cx="1739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D303B46-BE6C-41D9-BF61-175439602B52}" type="datetime'Ma''teria''''ls ''''''c''''ir''c''''ul''''a''''t''i''''''on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Materials circula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7D6EFEF0-A557-4038-868F-D81B34D71A55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5703888" y="6081713"/>
            <a:ext cx="16430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E75A7ED-E8B7-43B7-A6EE-7722DFE44E18}" type="datetime'''P''rodu''ct ''''cir''''cu''l''''a''''t''''''''''ion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roduct circula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5727AB61-5160-453D-B830-03BC766364BD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716838" y="6081713"/>
            <a:ext cx="118903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0E3EDB0-AE09-4FB1-A37F-B4464F8F09B6}" type="datetime'Ci''r''cu''''''l''ar scenario'' ''''''''''''''''''205''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ircular scenario 20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F1F8E1F-A42B-432B-8C7E-A439E261F398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598988" y="1851025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B7C52C8-57DA-4EB4-BB6A-36341D412E06}" type="datetime'''''''''''''''''''''1''''''''''''''.''''''''''''''''''7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01F39D6-6C6A-4CC7-B454-376723E4EADA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386513" y="2578100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AB8737B-2617-4E7F-AC4D-0B781317DF14}" type="datetime'''''''''2''''''''''''.''''''''''''0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.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AA3D187-61F3-4871-B763-AFB88E4D49D4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8172450" y="3425825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D8118B7-E8B3-4D7C-BBCE-8C3099C2B603}" type="datetime'''''5''''''''''''''''''''''''''''''''''.''''''''''''6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.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A18A3C92-52C9-45BE-BA8D-8EC0D5FAAD72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5329238" y="1585913"/>
            <a:ext cx="6048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140F5DB-1318-4F00-9A6E-92F45839C91A}" type="datetime'''''''-''''''''4''''''''''0''''''''''''''''''''''''''%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40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93B09CB-09ED-4CF6-A73F-FFA7F843D2A8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9545638" y="2635250"/>
            <a:ext cx="231775" cy="17303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91ED2DC-1FCD-4D19-9231-26420044A60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545638" y="2386013"/>
            <a:ext cx="231775" cy="173037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A521CE-E456-42EE-BD52-1A645CECD0CD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545638" y="2136775"/>
            <a:ext cx="231775" cy="17303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7AB0A1-96AB-4A8C-83FA-59945AFAB462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545638" y="1887538"/>
            <a:ext cx="231775" cy="173038"/>
          </a:xfrm>
          <a:prstGeom prst="rect">
            <a:avLst/>
          </a:prstGeom>
          <a:solidFill>
            <a:srgbClr val="C3CFE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5063E0D1-EDE1-40A1-91AA-2E4A22A28158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9828213" y="1881188"/>
            <a:ext cx="8334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71659C5-FCA6-44FC-9D8E-4DEB9C0F808C}" type="datetime'''''''''A''''''''lu''m''''''''i''n''''''''''i''''''''''u''m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luminium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6FF25EF6-799D-432A-A384-264A1F8B3DAA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9828213" y="2628900"/>
            <a:ext cx="6619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8A4F5D8-92DE-438D-97C3-0DE2F1A13EBA}" type="datetime'C''''e''''''''''''''''''''''''m''''e''''''nt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73421DD9-93D3-4BEF-94B7-380F4A5CD068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9828213" y="2130425"/>
            <a:ext cx="5667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24DFF7A-D444-4995-8080-751AC211C478}" type="datetime'''''Pl''''''''''''''''a''s''''t''''i''c''s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lastic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559D210-E90B-40B8-A0FE-AE2F91C8B29B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9828213" y="2379663"/>
            <a:ext cx="3873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9DBAA80-400A-4753-AAC6-F54E5BC8AF3E}" type="datetime'S''''''''''''te''''''''''''e''''''l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tee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2DA9DD8E-6B0E-48B3-AF74-D2BA5E021877}"/>
              </a:ext>
            </a:extLst>
          </p:cNvPr>
          <p:cNvGraphicFramePr/>
          <p:nvPr>
            <p:custDataLst>
              <p:tags r:id="rId28"/>
            </p:custDataLst>
            <p:extLst/>
          </p:nvPr>
        </p:nvGraphicFramePr>
        <p:xfrm>
          <a:off x="1974850" y="1992313"/>
          <a:ext cx="1952625" cy="4113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69" name="AutoShape 249">
            <a:extLst>
              <a:ext uri="{FF2B5EF4-FFF2-40B4-BE49-F238E27FC236}">
                <a16:creationId xmlns:a16="http://schemas.microsoft.com/office/drawing/2014/main" id="{DACA8394-1AE5-494F-98ED-B97376B22C3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974850" y="1471335"/>
            <a:ext cx="8753401" cy="6591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AutoShape 250">
            <a:extLst>
              <a:ext uri="{FF2B5EF4-FFF2-40B4-BE49-F238E27FC236}">
                <a16:creationId xmlns:a16="http://schemas.microsoft.com/office/drawing/2014/main" id="{000C5C36-A105-468A-B047-AE8413408E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0186" y="996674"/>
            <a:ext cx="10502246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B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lobal emissions reductions potential from a more circular econom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t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er year</a:t>
            </a:r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id="{055797C8-9F74-4BD2-A62B-DE9FAF0A68DE}"/>
              </a:ext>
            </a:extLst>
          </p:cNvPr>
          <p:cNvSpPr txBox="1">
            <a:spLocks/>
          </p:cNvSpPr>
          <p:nvPr/>
        </p:nvSpPr>
        <p:spPr bwMode="auto">
          <a:xfrm>
            <a:off x="227002" y="118005"/>
            <a:ext cx="9988561" cy="628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GB" sz="2041" b="1" i="0" u="none" strike="noStrike" kern="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A more circular economy can cut emissions from the harder-to-abate sectors in industry by 40% by 2050</a:t>
            </a:r>
          </a:p>
        </p:txBody>
      </p:sp>
      <p:sp>
        <p:nvSpPr>
          <p:cNvPr id="74" name="5. Source">
            <a:extLst>
              <a:ext uri="{FF2B5EF4-FFF2-40B4-BE49-F238E27FC236}">
                <a16:creationId xmlns:a16="http://schemas.microsoft.com/office/drawing/2014/main" id="{C6578410-F4C3-492D-970E-3C9157595A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 Economics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13783A-36F9-4CDC-9A38-6DDC8764B669}"/>
              </a:ext>
            </a:extLst>
          </p:cNvPr>
          <p:cNvSpPr/>
          <p:nvPr/>
        </p:nvSpPr>
        <p:spPr>
          <a:xfrm>
            <a:off x="10394951" y="-390281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1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235027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1D3839F-DF91-44B7-805E-56121D2AAA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1D3839F-DF91-44B7-805E-56121D2AA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7F0A3EB-0DD7-43B2-88F9-13E1393283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5E7A808-DF6F-40B1-8671-DA40D37AE334}"/>
              </a:ext>
            </a:extLst>
          </p:cNvPr>
          <p:cNvSpPr/>
          <p:nvPr/>
        </p:nvSpPr>
        <p:spPr>
          <a:xfrm>
            <a:off x="1032756" y="1481549"/>
            <a:ext cx="10014507" cy="5082427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5091DF-92D2-4EC1-92E5-F2AA0693D4D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3096"/>
          <a:stretch/>
        </p:blipFill>
        <p:spPr>
          <a:xfrm>
            <a:off x="2119341" y="1481551"/>
            <a:ext cx="7000875" cy="386765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D82D455-95D9-4B6C-AF53-1EB69A7EBF0C}"/>
              </a:ext>
            </a:extLst>
          </p:cNvPr>
          <p:cNvSpPr/>
          <p:nvPr/>
        </p:nvSpPr>
        <p:spPr>
          <a:xfrm>
            <a:off x="7173827" y="1481550"/>
            <a:ext cx="2031710" cy="4101383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6B0C729-DE2F-4B05-9E47-864A8A7ADAA6}"/>
              </a:ext>
            </a:extLst>
          </p:cNvPr>
          <p:cNvSpPr/>
          <p:nvPr/>
        </p:nvSpPr>
        <p:spPr>
          <a:xfrm>
            <a:off x="2146973" y="5779888"/>
            <a:ext cx="1684071" cy="72056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D8D3CAB-CFDA-4DD6-8A62-4B58D955788E}"/>
              </a:ext>
            </a:extLst>
          </p:cNvPr>
          <p:cNvSpPr/>
          <p:nvPr/>
        </p:nvSpPr>
        <p:spPr>
          <a:xfrm>
            <a:off x="10163830" y="-434644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1.1</a:t>
            </a:r>
          </a:p>
        </p:txBody>
      </p:sp>
      <p:sp>
        <p:nvSpPr>
          <p:cNvPr id="69" name="5. Source">
            <a:extLst>
              <a:ext uri="{FF2B5EF4-FFF2-40B4-BE49-F238E27FC236}">
                <a16:creationId xmlns:a16="http://schemas.microsoft.com/office/drawing/2014/main" id="{5220FA32-B45B-407C-BFF2-CB1728D4AC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PCC (2018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), Global Warming of 1.5˚C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ACB9A98-F818-4CC0-859D-66206798CBEE}"/>
              </a:ext>
            </a:extLst>
          </p:cNvPr>
          <p:cNvGrpSpPr/>
          <p:nvPr/>
        </p:nvGrpSpPr>
        <p:grpSpPr>
          <a:xfrm>
            <a:off x="1032756" y="980086"/>
            <a:ext cx="10014507" cy="449278"/>
            <a:chOff x="837240" y="980086"/>
            <a:chExt cx="10210023" cy="449278"/>
          </a:xfrm>
        </p:grpSpPr>
        <p:cxnSp>
          <p:nvCxnSpPr>
            <p:cNvPr id="14" name="AutoShape 249">
              <a:extLst>
                <a:ext uri="{FF2B5EF4-FFF2-40B4-BE49-F238E27FC236}">
                  <a16:creationId xmlns:a16="http://schemas.microsoft.com/office/drawing/2014/main" id="{DA813273-9279-4788-975D-6F12A9974EF2}"/>
                </a:ext>
              </a:extLst>
            </p:cNvPr>
            <p:cNvCxnSpPr>
              <a:cxnSpLocks noChangeShapeType="1"/>
              <a:stCxn id="15" idx="4"/>
              <a:endCxn id="15" idx="6"/>
            </p:cNvCxnSpPr>
            <p:nvPr/>
          </p:nvCxnSpPr>
          <p:spPr bwMode="auto">
            <a:xfrm>
              <a:off x="837240" y="1429364"/>
              <a:ext cx="10210023" cy="0"/>
            </a:xfrm>
            <a:prstGeom prst="straightConnector1">
              <a:avLst/>
            </a:prstGeom>
            <a:noFill/>
            <a:ln w="9525">
              <a:solidFill>
                <a:srgbClr val="4C6C9B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250">
              <a:extLst>
                <a:ext uri="{FF2B5EF4-FFF2-40B4-BE49-F238E27FC236}">
                  <a16:creationId xmlns:a16="http://schemas.microsoft.com/office/drawing/2014/main" id="{11989579-D7B7-46EE-B527-8D0C1A87D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7240" y="980086"/>
              <a:ext cx="10210023" cy="4492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B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lobal emissions pathway characteristics in the IPCC 1.5˚C repor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t CO</a:t>
              </a:r>
              <a:r>
                <a:rPr kumimoji="0" lang="en-US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/year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CBA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 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007CB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9EA02463-B1A8-4133-86AC-E2B09A7E35B4}"/>
              </a:ext>
            </a:extLst>
          </p:cNvPr>
          <p:cNvSpPr txBox="1"/>
          <p:nvPr/>
        </p:nvSpPr>
        <p:spPr>
          <a:xfrm>
            <a:off x="7332432" y="3124225"/>
            <a:ext cx="1714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Four illustrative model pathway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6010021-7CD2-4EC0-86CE-CB95143C5A26}"/>
              </a:ext>
            </a:extLst>
          </p:cNvPr>
          <p:cNvSpPr/>
          <p:nvPr/>
        </p:nvSpPr>
        <p:spPr>
          <a:xfrm>
            <a:off x="5056794" y="3239428"/>
            <a:ext cx="2031710" cy="52322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A2C98B4-3982-455F-B296-794C68DB53A5}"/>
              </a:ext>
            </a:extLst>
          </p:cNvPr>
          <p:cNvSpPr/>
          <p:nvPr/>
        </p:nvSpPr>
        <p:spPr>
          <a:xfrm>
            <a:off x="6916748" y="3239427"/>
            <a:ext cx="235094" cy="789414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5541FE81-0C5E-4AD9-9203-1E8B856B9C9F}"/>
              </a:ext>
            </a:extLst>
          </p:cNvPr>
          <p:cNvCxnSpPr>
            <a:cxnSpLocks/>
          </p:cNvCxnSpPr>
          <p:nvPr/>
        </p:nvCxnSpPr>
        <p:spPr>
          <a:xfrm rot="10800000" flipV="1">
            <a:off x="7035595" y="3385835"/>
            <a:ext cx="317210" cy="610316"/>
          </a:xfrm>
          <a:prstGeom prst="bentConnector2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96215B17-4E14-4387-95EC-59C390D197F0}"/>
              </a:ext>
            </a:extLst>
          </p:cNvPr>
          <p:cNvSpPr/>
          <p:nvPr/>
        </p:nvSpPr>
        <p:spPr>
          <a:xfrm flipH="1">
            <a:off x="6878610" y="4091131"/>
            <a:ext cx="368500" cy="1198988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626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6765ACB-AA5A-450F-A3B4-F44BAD4118C3}"/>
              </a:ext>
            </a:extLst>
          </p:cNvPr>
          <p:cNvSpPr txBox="1"/>
          <p:nvPr/>
        </p:nvSpPr>
        <p:spPr>
          <a:xfrm>
            <a:off x="6843706" y="4016857"/>
            <a:ext cx="50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rgbClr val="006269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626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1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2D1390D-E6FA-4D10-ACFE-5BB3612580C5}"/>
              </a:ext>
            </a:extLst>
          </p:cNvPr>
          <p:cNvSpPr txBox="1"/>
          <p:nvPr/>
        </p:nvSpPr>
        <p:spPr>
          <a:xfrm>
            <a:off x="6843706" y="4244364"/>
            <a:ext cx="50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626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18494CC-D7F1-4867-9519-B838D7880C38}"/>
              </a:ext>
            </a:extLst>
          </p:cNvPr>
          <p:cNvSpPr txBox="1"/>
          <p:nvPr/>
        </p:nvSpPr>
        <p:spPr>
          <a:xfrm>
            <a:off x="6843706" y="4539734"/>
            <a:ext cx="50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626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3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6FAD33C-BABE-4915-8F5B-B0545D2A3C9A}"/>
              </a:ext>
            </a:extLst>
          </p:cNvPr>
          <p:cNvSpPr txBox="1"/>
          <p:nvPr/>
        </p:nvSpPr>
        <p:spPr>
          <a:xfrm>
            <a:off x="6843706" y="4945617"/>
            <a:ext cx="50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4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08A760C-F7A3-43A3-82D1-6755BAD6542B}"/>
              </a:ext>
            </a:extLst>
          </p:cNvPr>
          <p:cNvSpPr/>
          <p:nvPr/>
        </p:nvSpPr>
        <p:spPr>
          <a:xfrm>
            <a:off x="3831044" y="1755982"/>
            <a:ext cx="3012662" cy="905954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F7907A4-2CF4-4511-BAB6-D9A8549923BA}"/>
              </a:ext>
            </a:extLst>
          </p:cNvPr>
          <p:cNvSpPr txBox="1"/>
          <p:nvPr/>
        </p:nvSpPr>
        <p:spPr>
          <a:xfrm>
            <a:off x="4092306" y="1861510"/>
            <a:ext cx="5540792" cy="837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" lvl="0">
              <a:lnSpc>
                <a:spcPts val="2000"/>
              </a:lnSpc>
              <a:spcBef>
                <a:spcPts val="50"/>
              </a:spcBef>
              <a:spcAft>
                <a:spcPts val="50"/>
              </a:spcAf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 pathways limiting global warming to </a:t>
            </a:r>
            <a:r>
              <a:rPr lang="en-GB" sz="1400" dirty="0">
                <a:solidFill>
                  <a:schemeClr val="accent6">
                    <a:lumMod val="75000"/>
                  </a:schemeClr>
                </a:solidFill>
              </a:rPr>
              <a:t>1.5˚C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6269"/>
                </a:solidFill>
                <a:effectLst/>
                <a:highlight>
                  <a:srgbClr val="A3CED4"/>
                </a:highlight>
                <a:uLnTx/>
                <a:uFillTx/>
                <a:latin typeface="Century Gothic"/>
                <a:ea typeface="ＭＳ Ｐゴシック"/>
                <a:cs typeface="+mn-cs"/>
              </a:rPr>
              <a:t>with no or limited overshoo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, as well as pathways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highlight>
                  <a:srgbClr val="C0C0C0"/>
                </a:highlight>
                <a:uLnTx/>
                <a:uFillTx/>
                <a:latin typeface="Century Gothic"/>
                <a:ea typeface="ＭＳ Ｐゴシック"/>
                <a:cs typeface="+mn-cs"/>
              </a:rPr>
              <a:t>with a high overshoo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, 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emissions are reduced to net zero globally around 2050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EE717C4-16EB-44C7-B6B5-C7690C2A791D}"/>
              </a:ext>
            </a:extLst>
          </p:cNvPr>
          <p:cNvSpPr/>
          <p:nvPr/>
        </p:nvSpPr>
        <p:spPr>
          <a:xfrm>
            <a:off x="2119341" y="5385098"/>
            <a:ext cx="5715669" cy="132528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2355FB1-324C-48CC-990F-57207256839F}"/>
              </a:ext>
            </a:extLst>
          </p:cNvPr>
          <p:cNvSpPr txBox="1"/>
          <p:nvPr/>
        </p:nvSpPr>
        <p:spPr>
          <a:xfrm>
            <a:off x="3668429" y="5270071"/>
            <a:ext cx="3996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40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2295AD9-FABC-4EEB-859F-973B75F0564A}"/>
              </a:ext>
            </a:extLst>
          </p:cNvPr>
          <p:cNvSpPr txBox="1"/>
          <p:nvPr/>
        </p:nvSpPr>
        <p:spPr>
          <a:xfrm>
            <a:off x="4164135" y="5270071"/>
            <a:ext cx="3996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50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D6FDDDF-AE81-471F-9EAD-34E73D4CCAE2}"/>
              </a:ext>
            </a:extLst>
          </p:cNvPr>
          <p:cNvSpPr txBox="1"/>
          <p:nvPr/>
        </p:nvSpPr>
        <p:spPr>
          <a:xfrm>
            <a:off x="4659841" y="5270071"/>
            <a:ext cx="3996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60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366B126-1481-45AA-AEF3-BB84C14D01D8}"/>
              </a:ext>
            </a:extLst>
          </p:cNvPr>
          <p:cNvSpPr txBox="1"/>
          <p:nvPr/>
        </p:nvSpPr>
        <p:spPr>
          <a:xfrm>
            <a:off x="5155547" y="5270071"/>
            <a:ext cx="3996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70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DF35560-8BD6-4D63-8126-47DD34F25D44}"/>
              </a:ext>
            </a:extLst>
          </p:cNvPr>
          <p:cNvSpPr txBox="1"/>
          <p:nvPr/>
        </p:nvSpPr>
        <p:spPr>
          <a:xfrm>
            <a:off x="5651253" y="5270071"/>
            <a:ext cx="3996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80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50F6939-54BD-4CB2-B2A7-AAB38608D74B}"/>
              </a:ext>
            </a:extLst>
          </p:cNvPr>
          <p:cNvSpPr txBox="1"/>
          <p:nvPr/>
        </p:nvSpPr>
        <p:spPr>
          <a:xfrm>
            <a:off x="6146959" y="5270071"/>
            <a:ext cx="3996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90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00FB12F-41C8-40EB-B7F5-7621DE200A01}"/>
              </a:ext>
            </a:extLst>
          </p:cNvPr>
          <p:cNvSpPr txBox="1"/>
          <p:nvPr/>
        </p:nvSpPr>
        <p:spPr>
          <a:xfrm>
            <a:off x="6642665" y="5270071"/>
            <a:ext cx="7044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100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5384BD8-84BB-4D13-AD01-725DE8E50022}"/>
              </a:ext>
            </a:extLst>
          </p:cNvPr>
          <p:cNvSpPr txBox="1"/>
          <p:nvPr/>
        </p:nvSpPr>
        <p:spPr>
          <a:xfrm>
            <a:off x="2146973" y="5270071"/>
            <a:ext cx="854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10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3FEF8D9-A8AE-4BBF-B9EF-5BCED1930E0D}"/>
              </a:ext>
            </a:extLst>
          </p:cNvPr>
          <p:cNvSpPr txBox="1"/>
          <p:nvPr/>
        </p:nvSpPr>
        <p:spPr>
          <a:xfrm>
            <a:off x="2690868" y="5270071"/>
            <a:ext cx="3996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955D81C-3B61-4818-A65D-E0485140AAC1}"/>
              </a:ext>
            </a:extLst>
          </p:cNvPr>
          <p:cNvSpPr txBox="1"/>
          <p:nvPr/>
        </p:nvSpPr>
        <p:spPr>
          <a:xfrm>
            <a:off x="3172723" y="5270071"/>
            <a:ext cx="3996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3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CDAA4F3-44CA-4A33-B203-9E2F06C8F74D}"/>
              </a:ext>
            </a:extLst>
          </p:cNvPr>
          <p:cNvSpPr txBox="1"/>
          <p:nvPr/>
        </p:nvSpPr>
        <p:spPr>
          <a:xfrm>
            <a:off x="1144737" y="5584803"/>
            <a:ext cx="265806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iming of net zero CO</a:t>
            </a:r>
            <a:r>
              <a:rPr kumimoji="0" lang="en-GB" sz="1400" b="1" i="0" u="none" strike="noStrike" kern="1200" cap="none" spc="0" normalizeH="0" baseline="-25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ine widths depict the 5-95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h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percentile and the 25-75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h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percentile of scenarios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1234154-2AAF-43EE-9967-80867DFF20E5}"/>
              </a:ext>
            </a:extLst>
          </p:cNvPr>
          <p:cNvGrpSpPr/>
          <p:nvPr/>
        </p:nvGrpSpPr>
        <p:grpSpPr>
          <a:xfrm>
            <a:off x="3831044" y="5729806"/>
            <a:ext cx="1406817" cy="90000"/>
            <a:chOff x="4568533" y="5779286"/>
            <a:chExt cx="1406817" cy="9000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62AA37BA-64C2-4BFB-BEC6-7F31C92B9DCE}"/>
                </a:ext>
              </a:extLst>
            </p:cNvPr>
            <p:cNvCxnSpPr>
              <a:cxnSpLocks/>
            </p:cNvCxnSpPr>
            <p:nvPr/>
          </p:nvCxnSpPr>
          <p:spPr>
            <a:xfrm>
              <a:off x="4568533" y="5824286"/>
              <a:ext cx="1406817" cy="0"/>
            </a:xfrm>
            <a:prstGeom prst="line">
              <a:avLst/>
            </a:prstGeom>
            <a:ln w="28575">
              <a:solidFill>
                <a:srgbClr val="A5CFD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FB1CA072-49E1-4EED-9CE4-EEAA56C1E285}"/>
                </a:ext>
              </a:extLst>
            </p:cNvPr>
            <p:cNvSpPr/>
            <p:nvPr/>
          </p:nvSpPr>
          <p:spPr>
            <a:xfrm>
              <a:off x="4868424" y="5779286"/>
              <a:ext cx="540000" cy="90000"/>
            </a:xfrm>
            <a:prstGeom prst="rect">
              <a:avLst/>
            </a:prstGeom>
            <a:solidFill>
              <a:srgbClr val="247A8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5E554F46-204C-4885-9B75-FFF747E420EE}"/>
              </a:ext>
            </a:extLst>
          </p:cNvPr>
          <p:cNvGrpSpPr/>
          <p:nvPr/>
        </p:nvGrpSpPr>
        <p:grpSpPr>
          <a:xfrm>
            <a:off x="4164135" y="6027101"/>
            <a:ext cx="925859" cy="90000"/>
            <a:chOff x="4901624" y="5997464"/>
            <a:chExt cx="925859" cy="90000"/>
          </a:xfrm>
        </p:grpSpPr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C26CFAB-1251-4321-915A-F02466B79260}"/>
                </a:ext>
              </a:extLst>
            </p:cNvPr>
            <p:cNvCxnSpPr>
              <a:cxnSpLocks/>
            </p:cNvCxnSpPr>
            <p:nvPr/>
          </p:nvCxnSpPr>
          <p:spPr>
            <a:xfrm>
              <a:off x="4901624" y="6042464"/>
              <a:ext cx="925859" cy="0"/>
            </a:xfrm>
            <a:prstGeom prst="line">
              <a:avLst/>
            </a:prstGeom>
            <a:ln w="28575">
              <a:solidFill>
                <a:srgbClr val="C1C1C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5855BAA-E242-46A1-870F-422F582076BA}"/>
                </a:ext>
              </a:extLst>
            </p:cNvPr>
            <p:cNvSpPr/>
            <p:nvPr/>
          </p:nvSpPr>
          <p:spPr>
            <a:xfrm>
              <a:off x="5018592" y="5997464"/>
              <a:ext cx="648000" cy="90000"/>
            </a:xfrm>
            <a:prstGeom prst="rect">
              <a:avLst/>
            </a:prstGeom>
            <a:solidFill>
              <a:srgbClr val="91919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0BC9F49-9E81-405A-BFA6-B2D52CFCF263}"/>
              </a:ext>
            </a:extLst>
          </p:cNvPr>
          <p:cNvGrpSpPr/>
          <p:nvPr/>
        </p:nvGrpSpPr>
        <p:grpSpPr>
          <a:xfrm>
            <a:off x="4429522" y="6324396"/>
            <a:ext cx="2449088" cy="90000"/>
            <a:chOff x="5167011" y="6235678"/>
            <a:chExt cx="2449088" cy="90000"/>
          </a:xfrm>
        </p:grpSpPr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653FADB0-2726-45DF-8BD1-D84D823E0DB3}"/>
                </a:ext>
              </a:extLst>
            </p:cNvPr>
            <p:cNvCxnSpPr>
              <a:cxnSpLocks/>
            </p:cNvCxnSpPr>
            <p:nvPr/>
          </p:nvCxnSpPr>
          <p:spPr>
            <a:xfrm>
              <a:off x="5167011" y="6280678"/>
              <a:ext cx="2449088" cy="0"/>
            </a:xfrm>
            <a:prstGeom prst="line">
              <a:avLst/>
            </a:prstGeom>
            <a:ln w="28575">
              <a:solidFill>
                <a:srgbClr val="C1C1C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E631FBD-5A0F-460D-880C-41A69B369CC5}"/>
                </a:ext>
              </a:extLst>
            </p:cNvPr>
            <p:cNvSpPr/>
            <p:nvPr/>
          </p:nvSpPr>
          <p:spPr>
            <a:xfrm>
              <a:off x="5720991" y="6235678"/>
              <a:ext cx="900000" cy="90000"/>
            </a:xfrm>
            <a:prstGeom prst="rect">
              <a:avLst/>
            </a:prstGeom>
            <a:ln>
              <a:solidFill>
                <a:srgbClr val="C1C1C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BC041F73-0BE7-45D7-9C3E-C20483134326}"/>
              </a:ext>
            </a:extLst>
          </p:cNvPr>
          <p:cNvSpPr txBox="1"/>
          <p:nvPr/>
        </p:nvSpPr>
        <p:spPr>
          <a:xfrm>
            <a:off x="5212566" y="5599610"/>
            <a:ext cx="6284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47A81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athways limiting global warming </a:t>
            </a: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247A81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 </a:t>
            </a:r>
            <a:r>
              <a:rPr lang="en-GB" sz="1400" dirty="0">
                <a:solidFill>
                  <a:srgbClr val="247A81"/>
                </a:solidFill>
              </a:rPr>
              <a:t>1.5˚C</a:t>
            </a: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247A81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47A81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with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247A81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 or low overshoot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854086B-3369-4370-BBC3-8FEAFC7FC3CA}"/>
              </a:ext>
            </a:extLst>
          </p:cNvPr>
          <p:cNvSpPr txBox="1"/>
          <p:nvPr/>
        </p:nvSpPr>
        <p:spPr>
          <a:xfrm>
            <a:off x="6897720" y="6215508"/>
            <a:ext cx="3621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athways with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igh overshoo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A005F96-80C4-4FEF-BAC0-F3D0BE93095E}"/>
              </a:ext>
            </a:extLst>
          </p:cNvPr>
          <p:cNvSpPr txBox="1"/>
          <p:nvPr/>
        </p:nvSpPr>
        <p:spPr>
          <a:xfrm>
            <a:off x="5212567" y="5922098"/>
            <a:ext cx="59466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athways limiting global warming </a:t>
            </a: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elow </a:t>
            </a:r>
            <a:r>
              <a:rPr lang="en-GB" sz="1400" dirty="0">
                <a:solidFill>
                  <a:schemeClr val="accent6">
                    <a:lumMod val="75000"/>
                  </a:schemeClr>
                </a:solidFill>
              </a:rPr>
              <a:t>2˚C</a:t>
            </a: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(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 shown above)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0B2DF938-6F84-490A-B8AA-3836A18743EA}"/>
              </a:ext>
            </a:extLst>
          </p:cNvPr>
          <p:cNvSpPr/>
          <p:nvPr/>
        </p:nvSpPr>
        <p:spPr>
          <a:xfrm>
            <a:off x="1144737" y="1481549"/>
            <a:ext cx="1211634" cy="373505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43B02D2-6AB4-460D-9714-EACAF24913EE}"/>
              </a:ext>
            </a:extLst>
          </p:cNvPr>
          <p:cNvGrpSpPr/>
          <p:nvPr/>
        </p:nvGrpSpPr>
        <p:grpSpPr>
          <a:xfrm>
            <a:off x="1523617" y="1457199"/>
            <a:ext cx="854600" cy="3733626"/>
            <a:chOff x="2261106" y="1500364"/>
            <a:chExt cx="854600" cy="3733626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6340F55-3A69-48D6-920F-0D0A074BA544}"/>
                </a:ext>
              </a:extLst>
            </p:cNvPr>
            <p:cNvSpPr txBox="1"/>
            <p:nvPr/>
          </p:nvSpPr>
          <p:spPr>
            <a:xfrm>
              <a:off x="2261106" y="4926213"/>
              <a:ext cx="854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-20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9DA0D6E-B752-4173-87B5-AC5346294D27}"/>
                </a:ext>
              </a:extLst>
            </p:cNvPr>
            <p:cNvSpPr txBox="1"/>
            <p:nvPr/>
          </p:nvSpPr>
          <p:spPr>
            <a:xfrm>
              <a:off x="2261106" y="4436806"/>
              <a:ext cx="854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-10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016013D-2DD1-440D-A6A9-DB2A6C8F9D0E}"/>
                </a:ext>
              </a:extLst>
            </p:cNvPr>
            <p:cNvSpPr txBox="1"/>
            <p:nvPr/>
          </p:nvSpPr>
          <p:spPr>
            <a:xfrm>
              <a:off x="2261106" y="3947399"/>
              <a:ext cx="854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0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31593B1-7DC0-404F-924E-1215EB4DD9A5}"/>
                </a:ext>
              </a:extLst>
            </p:cNvPr>
            <p:cNvSpPr txBox="1"/>
            <p:nvPr/>
          </p:nvSpPr>
          <p:spPr>
            <a:xfrm>
              <a:off x="2261106" y="3457992"/>
              <a:ext cx="854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10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0E2779D-E05A-474C-A31F-61172E722D63}"/>
                </a:ext>
              </a:extLst>
            </p:cNvPr>
            <p:cNvSpPr txBox="1"/>
            <p:nvPr/>
          </p:nvSpPr>
          <p:spPr>
            <a:xfrm>
              <a:off x="2261106" y="2968585"/>
              <a:ext cx="854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F39E9AD4-105A-4A87-8AD7-196F6361919D}"/>
                </a:ext>
              </a:extLst>
            </p:cNvPr>
            <p:cNvSpPr txBox="1"/>
            <p:nvPr/>
          </p:nvSpPr>
          <p:spPr>
            <a:xfrm>
              <a:off x="2261106" y="2479178"/>
              <a:ext cx="854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30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D7254FF-9E86-4668-A891-8C898FA4F8D2}"/>
                </a:ext>
              </a:extLst>
            </p:cNvPr>
            <p:cNvSpPr txBox="1"/>
            <p:nvPr/>
          </p:nvSpPr>
          <p:spPr>
            <a:xfrm>
              <a:off x="2261106" y="1989771"/>
              <a:ext cx="854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40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F2BB1A26-7860-4E0B-BC68-3F7FB09BF4C7}"/>
                </a:ext>
              </a:extLst>
            </p:cNvPr>
            <p:cNvSpPr txBox="1"/>
            <p:nvPr/>
          </p:nvSpPr>
          <p:spPr>
            <a:xfrm>
              <a:off x="2261106" y="1500364"/>
              <a:ext cx="854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50</a:t>
              </a:r>
            </a:p>
          </p:txBody>
        </p:sp>
      </p:grpSp>
      <p:sp>
        <p:nvSpPr>
          <p:cNvPr id="61" name="Title 1">
            <a:extLst>
              <a:ext uri="{FF2B5EF4-FFF2-40B4-BE49-F238E27FC236}">
                <a16:creationId xmlns:a16="http://schemas.microsoft.com/office/drawing/2014/main" id="{175DE181-6074-4CAF-8441-0CC0707F041F}"/>
              </a:ext>
            </a:extLst>
          </p:cNvPr>
          <p:cNvSpPr txBox="1">
            <a:spLocks/>
          </p:cNvSpPr>
          <p:nvPr/>
        </p:nvSpPr>
        <p:spPr bwMode="auto">
          <a:xfrm>
            <a:off x="126171" y="154794"/>
            <a:ext cx="1005875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ＭＳ Ｐゴシック"/>
              </a:rPr>
              <a:t>CO</a:t>
            </a:r>
            <a:r>
              <a:rPr kumimoji="0" lang="en-GB" sz="2000" b="1" i="0" u="none" strike="noStrike" kern="1200" cap="none" spc="0" normalizeH="0" baseline="-2500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ＭＳ Ｐゴシック"/>
              </a:rPr>
              <a:t>2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ＭＳ Ｐゴシック"/>
              </a:rPr>
              <a:t> emissions are reduced to net zero globally by around 2050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ＭＳ Ｐゴシック"/>
              </a:rPr>
              <a:t>in the global emissions pathways for 1.5˚C from IPCC  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04876"/>
              </a:solidFill>
              <a:effectLst/>
              <a:uLnTx/>
              <a:uFillTx/>
              <a:latin typeface="Century Gothic"/>
              <a:ea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58935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1A24C8-5997-400A-AE24-CF40808483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think-cell Slide" r:id="rId31" imgW="395" imgH="394" progId="TCLayout.ActiveDocument.1">
                  <p:embed/>
                </p:oleObj>
              </mc:Choice>
              <mc:Fallback>
                <p:oleObj name="think-cell Slide" r:id="rId3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1A24C8-5997-400A-AE24-CF4080848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7CC0FCC-9D54-4383-B4FA-2A0A918C33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008023-99BF-403D-AEEB-4BDB556A3B82}"/>
              </a:ext>
            </a:extLst>
          </p:cNvPr>
          <p:cNvSpPr/>
          <p:nvPr/>
        </p:nvSpPr>
        <p:spPr>
          <a:xfrm>
            <a:off x="10413381" y="-340120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1.2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D38C132-64F4-498D-88F4-A75D6E73FBC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302125" y="1830388"/>
            <a:ext cx="1357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7EB85DE-64C7-44DB-86FB-8ACAE659E7A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358063" y="4522788"/>
            <a:ext cx="1358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58074533-A3F4-4993-9C5F-44CB284DB84C}"/>
              </a:ext>
            </a:extLst>
          </p:cNvPr>
          <p:cNvGraphicFramePr/>
          <p:nvPr>
            <p:custDataLst>
              <p:tags r:id="rId6"/>
            </p:custDataLst>
            <p:extLst/>
          </p:nvPr>
        </p:nvGraphicFramePr>
        <p:xfrm>
          <a:off x="1841500" y="1747838"/>
          <a:ext cx="9336088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159" name="Rectangle 158">
            <a:extLst>
              <a:ext uri="{FF2B5EF4-FFF2-40B4-BE49-F238E27FC236}">
                <a16:creationId xmlns:a16="http://schemas.microsoft.com/office/drawing/2014/main" id="{89D72991-1ED6-437B-A2F7-EC6946E6A632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5886450" y="5743575"/>
            <a:ext cx="12446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0EB93D1-FAFF-41C3-8BAA-CAE4327FEBE4}" type="datetime'''''''''Eas''''i''e''r-to''''-a''bate ''&#10;''se''''''cto''rs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asier-to-abate 
sector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A6383C94-729F-4E56-A26B-B899985D78F5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3314700" y="182086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EF1D0D1-87B8-4913-893C-82193ECC7226}" type="datetime'''''1''''''''''''''''.''''''''''''''6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A18D17FA-A093-4DB9-9CDD-C55FB608966F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314700" y="2095500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6050567-80F1-4817-A73A-C9439930890D}" type="datetime'''''''''''''''''''''''''''''''''''''3''''''.''''3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.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B92DF3DC-F4A4-4380-95B6-CAE0C13C6735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3314700" y="269716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7699B48-060A-4C17-B0DF-AD6498AF3932}" type="datetime'''''''''''''''''''''7''''''''''.4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.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CE680A13-F86D-4232-A77A-4D57F1EEF31A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268663" y="4821238"/>
            <a:ext cx="3698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8085B62-089D-4026-BE49-653BD478DEE9}" type="datetime'''''''''''''''''''''''''''1''3.''''''6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3.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2D47A09A-A7BB-4A27-8BA7-7F795CDB4F98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3314700" y="3584575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C9BB173-3F3B-44DE-88C2-9FBF06F6F1A1}" type="datetime'''''''''''''8''''''''.''''''''3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8.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07F78F46-9395-438A-AB0F-E877B6DBBB72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3257550" y="5743575"/>
            <a:ext cx="3921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Total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4C3C6B2-5346-43FF-9EE8-3489D5CB3C7C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6324600" y="3078163"/>
            <a:ext cx="3698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2449A3B-B054-4BC3-A651-84C7951AAE96}" type="datetime'2''''''''''''''''''''''''''3''''''''.''''9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3.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A2132096-31B6-41DD-9AE2-030B290C61BB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9428164" y="4675188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B22D17F-5A5E-4299-B6EA-E408C5E5CC43}" type="datetime'''4''''''''''''.5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.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F45BFF3-11DE-4553-B3F3-1DA7687D1BF0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9428164" y="5257800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0F1F194-E12E-4802-9717-86A5277D0F42}" type="datetime'''''''''''5''.9''''''''''''''''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.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EFA79830-E4D8-40CB-803B-55F3CC113A69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8899524" y="5743575"/>
            <a:ext cx="13335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54B5D61-1673-4108-AC4F-EFABE3CCB930}" type="datetime'H''''ar''''der-t''''o-''a''''bate'''''''''' &#10;''sec''''to''rs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arder-to-abate 
sector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4E03323-826D-4F37-BFF5-108B14881F81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9369424" y="4284663"/>
            <a:ext cx="3952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AF75B64-3FCD-4A63-B93B-6A837707CC6C}" type="datetime'''''''''''''''''''''1''''''''0''.''''''''''3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.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37532947-2E85-496B-9D62-642735D7FF30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3255963" y="1592263"/>
            <a:ext cx="3952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EAF03A3-FF1E-4443-8DED-E89536F5A2D0}" type="datetime'''''''3''''''4''''''''''''''''''''''''''''''.''3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4.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grpSp>
        <p:nvGrpSpPr>
          <p:cNvPr id="93" name="ACET">
            <a:extLst>
              <a:ext uri="{FF2B5EF4-FFF2-40B4-BE49-F238E27FC236}">
                <a16:creationId xmlns:a16="http://schemas.microsoft.com/office/drawing/2014/main" id="{BB0D0AC2-AAA8-446C-A751-5921F029B1E9}"/>
              </a:ext>
            </a:extLst>
          </p:cNvPr>
          <p:cNvGrpSpPr>
            <a:grpSpLocks/>
          </p:cNvGrpSpPr>
          <p:nvPr/>
        </p:nvGrpSpPr>
        <p:grpSpPr bwMode="auto">
          <a:xfrm>
            <a:off x="1841500" y="1083423"/>
            <a:ext cx="8987371" cy="449354"/>
            <a:chOff x="481" y="-320758"/>
            <a:chExt cx="2686" cy="449354"/>
          </a:xfrm>
        </p:grpSpPr>
        <p:cxnSp>
          <p:nvCxnSpPr>
            <p:cNvPr id="94" name="AutoShape 249">
              <a:extLst>
                <a:ext uri="{FF2B5EF4-FFF2-40B4-BE49-F238E27FC236}">
                  <a16:creationId xmlns:a16="http://schemas.microsoft.com/office/drawing/2014/main" id="{28018C52-FA70-4925-A7D8-2E97B4AD96D6}"/>
                </a:ext>
              </a:extLst>
            </p:cNvPr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481" y="128596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5C79A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1" name="AutoShape 250">
              <a:extLst>
                <a:ext uri="{FF2B5EF4-FFF2-40B4-BE49-F238E27FC236}">
                  <a16:creationId xmlns:a16="http://schemas.microsoft.com/office/drawing/2014/main" id="{2FFA056C-E6D5-4E71-99D6-B840DB59D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" y="-320758"/>
              <a:ext cx="2686" cy="449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B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Total direct and process emissions from the energy and industrial system globall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t CO</a:t>
              </a:r>
              <a:r>
                <a:rPr kumimoji="0" lang="en-US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,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14</a:t>
              </a:r>
            </a:p>
          </p:txBody>
        </p:sp>
      </p:grpSp>
      <p:sp>
        <p:nvSpPr>
          <p:cNvPr id="121" name="5. Source">
            <a:extLst>
              <a:ext uri="{FF2B5EF4-FFF2-40B4-BE49-F238E27FC236}">
                <a16:creationId xmlns:a16="http://schemas.microsoft.com/office/drawing/2014/main" id="{2EDAA1B3-873B-47F1-ADD8-178F4D031E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184585"/>
            <a:ext cx="12192000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</a:t>
            </a:r>
            <a:r>
              <a:rPr lang="en-US" sz="1200" dirty="0">
                <a:solidFill>
                  <a:srgbClr val="808080"/>
                </a:solidFill>
                <a:latin typeface="Century Gothic"/>
                <a:ea typeface="ＭＳ Ｐゴシック"/>
              </a:rPr>
              <a:t>Easier-to-abate sectors include rail and light-duty road transport, pulp and paper, aluminum and other industries, power, buildings, agriculture, fishing, other.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EA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echnology Perspectives</a:t>
            </a:r>
          </a:p>
        </p:txBody>
      </p:sp>
      <p:sp>
        <p:nvSpPr>
          <p:cNvPr id="133" name="Title 1">
            <a:extLst>
              <a:ext uri="{FF2B5EF4-FFF2-40B4-BE49-F238E27FC236}">
                <a16:creationId xmlns:a16="http://schemas.microsoft.com/office/drawing/2014/main" id="{530BCB9B-049D-4A8C-AF7A-E406CE151F12}"/>
              </a:ext>
            </a:extLst>
          </p:cNvPr>
          <p:cNvSpPr txBox="1">
            <a:spLocks/>
          </p:cNvSpPr>
          <p:nvPr/>
        </p:nvSpPr>
        <p:spPr bwMode="auto">
          <a:xfrm>
            <a:off x="164430" y="128323"/>
            <a:ext cx="10058751" cy="628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GB" sz="2041" b="1" i="0" u="none" strike="noStrike" kern="120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Emissions from the harder-to-abate sectors of the economy represent ~30% of emissions from the energy and industrial system today</a:t>
            </a: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Arial Unicode MS" pitchFamily="34" charset="-128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B6D83D3-6A27-4173-AF05-48948E9334DA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9258300" y="2651124"/>
            <a:ext cx="231775" cy="173038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3167FAF-CC32-4E6E-8A49-379485743115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258300" y="2005013"/>
            <a:ext cx="231775" cy="173038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47AA65-30B0-4AD8-8065-2F5C76551EB2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258300" y="1755774"/>
            <a:ext cx="231775" cy="173038"/>
          </a:xfrm>
          <a:prstGeom prst="rect">
            <a:avLst/>
          </a:prstGeom>
          <a:solidFill>
            <a:srgbClr val="9DB1C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A80D071-57CF-4C4A-8E0D-66843EE01D74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258300" y="2900363"/>
            <a:ext cx="231775" cy="173038"/>
          </a:xfrm>
          <a:prstGeom prst="rect">
            <a:avLst/>
          </a:prstGeom>
          <a:solidFill>
            <a:srgbClr val="29B8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FA7C170-34B3-41C3-9164-B59B721462AB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258300" y="3149599"/>
            <a:ext cx="231775" cy="173038"/>
          </a:xfrm>
          <a:prstGeom prst="rect">
            <a:avLst/>
          </a:prstGeom>
          <a:solidFill>
            <a:srgbClr val="364D6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C93628F9-D2DF-4F28-B6FA-A07851760723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9540875" y="3143250"/>
            <a:ext cx="5000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115CA3E-AB15-423D-AE21-CFE839647CDA}" type="datetime'''''''''Po''''''''''''''w''''''''''''e''''''r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ower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0A17D51-6367-4C5F-85AA-1EF356318A0E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9540875" y="1749425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E5C43DC-ADF0-4FB5-9059-CC5EBA18CC2B}" type="datetime'''''O''''''''t''''''h''''e''''''''r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ther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3D96F2EE-3500-4939-A95F-530535DF8C3E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9540875" y="2894013"/>
            <a:ext cx="6080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CF61C7C-BEA6-46A2-B7C7-D045FDB2E714}" type="datetime'I''''''n''''''''du''''''''''''''''''''s''''''tr''''''y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ndustr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4C3CA7D1-6705-4DD3-BC4B-B0ABB7E42B52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9540875" y="1998663"/>
            <a:ext cx="950913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866FF7C-5CB7-4746-860E-99337FA18156}" type="datetime'B''uilding''''s, &#10;agr''icul''tu''''re, ''&#10;fis''h''''i''n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uildings, 
agriculture, 
fish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0F25FB91-9AC3-45A6-A756-756916860E92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9540875" y="2644775"/>
            <a:ext cx="7207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BAFAB1B-E126-42B1-9889-6F948DD1E80A}" type="datetime'''Tr''an''s''''''port''''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Transpor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380700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1A24C8-5997-400A-AE24-CF40808483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" name="think-cell Slide" r:id="rId47" imgW="395" imgH="394" progId="TCLayout.ActiveDocument.1">
                  <p:embed/>
                </p:oleObj>
              </mc:Choice>
              <mc:Fallback>
                <p:oleObj name="think-cell Slide" r:id="rId47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1A24C8-5997-400A-AE24-CF4080848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7CC0FCC-9D54-4383-B4FA-2A0A918C33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303D2B-2371-48C7-8945-BC497E81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145785"/>
            <a:ext cx="9878302" cy="628121"/>
          </a:xfrm>
        </p:spPr>
        <p:txBody>
          <a:bodyPr anchor="ctr"/>
          <a:lstStyle/>
          <a:p>
            <a:pPr>
              <a:defRPr/>
            </a:pPr>
            <a:r>
              <a:rPr lang="en-GB" kern="1200" dirty="0"/>
              <a:t>With no action, emissions from harder-to-abate sectors could increase by 50% by mid-century</a:t>
            </a:r>
            <a:r>
              <a:rPr lang="en-US" kern="1200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008023-99BF-403D-AEEB-4BDB556A3B82}"/>
              </a:ext>
            </a:extLst>
          </p:cNvPr>
          <p:cNvSpPr/>
          <p:nvPr/>
        </p:nvSpPr>
        <p:spPr>
          <a:xfrm>
            <a:off x="10470563" y="-628156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1.3</a:t>
            </a:r>
          </a:p>
        </p:txBody>
      </p:sp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E536A076-571C-46A5-B5FC-6EF5AB887ED9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2143125" y="2825750"/>
          <a:ext cx="7286625" cy="2976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95" name="Rectangle 94">
            <a:extLst>
              <a:ext uri="{FF2B5EF4-FFF2-40B4-BE49-F238E27FC236}">
                <a16:creationId xmlns:a16="http://schemas.microsoft.com/office/drawing/2014/main" id="{45FBFAAE-ADF3-48E9-9214-FAA862CDCADD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263900" y="5072063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EA2073A-E530-41C9-9AE2-12104405F284}" type="datetime'''''''''''1''''''''''''''''''''.''''''''''''''''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24BA46F-1768-47CB-A56E-2FDF9EB476D6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3594100" y="3781425"/>
            <a:ext cx="296863" cy="212725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3925240-EDC1-414B-B008-E3214C71947B}" type="datetime'''''''''0.''''''''''''''''''''''''''''3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DF3FE5A-7BE6-46AF-9B9A-1B443D7D4039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935288" y="3900488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D9AF2D7-C375-4DD0-B096-262B40C8A0B5}" type="datetime'''''1''''''''.''''''''''''''''''''1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1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7FB6A85-AD71-4C1A-9093-5E1FBE99B8EB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3263900" y="5386388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152C14B-EA43-43D9-ADCD-4BDE60261196}" type="datetime'''''''''''''''''''''''''''''2.''''''5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.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DED1DEA-A93D-4733-A310-9A4305A44C6D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263900" y="4605338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8F65E09-468C-48C1-9466-283A640CFAE6}" type="datetime'2''.''''''''''''''''''''''''''''''''''''''''''''''''''''''3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.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A4817CA-BEFE-44D2-B39A-CAEAD10C9C0C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3263900" y="4195763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E53BA60-4005-4C50-AC84-B2A2B8473497}" type="datetime'''''''2''''''''''''''''''''''''''''''.''2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.2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C610E46-7204-410B-A8B9-58623FA91C38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263900" y="48990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38B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6BFA8D4-8540-4778-B1C0-F30F1D322BAD}" type="datetime'''''''''''''0''''''''''''''''''''''''''''.9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9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931D7699-AC3B-47AB-9DB4-E6BBF8D326AF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7683500" y="5160963"/>
            <a:ext cx="296863" cy="212725"/>
          </a:xfrm>
          <a:prstGeom prst="rect">
            <a:avLst/>
          </a:prstGeom>
          <a:solidFill>
            <a:srgbClr val="ED5C0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7412F84-2467-4F90-9ED1-12658E90348A}" type="datetime'0''''''.''''7''''''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7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722BB30-9039-4481-BBF0-20CD24B50A66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3208338" y="5778500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16BD5BD-98AF-4497-A34B-1C8C9758BEE0}" type="datetime'20''''''''''''''''''''''''''''''1''''''''''4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4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A6AC13A6-82A9-4F73-8F8D-9A989DC965A0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5308600" y="3014663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AA8C775-FF43-47C7-9D02-93F903ABA550}" type="datetime'''''''''''''''''1''''''''''''''''''.''6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6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926300D-60A8-428D-AE96-145A68135FF5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5969000" y="2836863"/>
            <a:ext cx="296863" cy="212725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A78C2E7-8BCC-4BDB-AAB3-5246BC57A3D5}" type="datetime'''''''''''''''''''''''0''''''.''''''''4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4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724247E-8754-46DA-8F08-70F5A2435756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5638800" y="38576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4FCC39B-4F8F-4A5E-A1BA-5A7A192C35AD}" type="datetime'''''''''''3.''''''3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.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78B75DA7-C28F-4E0A-B6C5-EFD572C878C8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5638800" y="3359150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33F46D3-105C-41FA-8C1C-67002BA9F22D}" type="datetime'''2''''''''.''''''''''''''3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.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8EBAC11B-37A8-47F6-93EA-AB651462D60C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5638800" y="4305300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26DB2F4-4D74-4A3B-8D62-D6CB5C6AD07C}" type="datetime'''1''''''.''''''''7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7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4416C6A9-5344-489E-B134-D55AC0991D9A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5638800" y="4621213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EEABCFC-6619-40D0-918B-269D883401A8}" type="datetime'''''''''''1''.''''8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8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6B58ECD-160D-406D-81CD-14008D1B653B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5638800" y="519747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688AF58-BF4C-4424-839B-F677AEAA69E6}" type="datetime'''''''''4.6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.6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1F0D1CA-EB14-4178-93DB-2C6B333A5D02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4802188" y="5778500"/>
            <a:ext cx="1968500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F30D0F7-D525-43D5-8CED-8BF41B7BE523}" type="datetime'2050 '' ''      ''      Referenc''e Tec''hnology''''&#10;Scenario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50              Reference Technology
Scenario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876455BA-A904-4C5F-8B0B-897483CD11E0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8342313" y="4186238"/>
            <a:ext cx="296863" cy="212725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45C1365-8AC0-4796-B7DE-94882D78CD45}" type="datetime'''''''''''0''''''''''''''''''''''''.3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3DC261A7-9178-4FDA-A4B2-12A33492002C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7683500" y="4305300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17ADBB5-A532-4E85-872A-177D6E2CEC56}" type="datetime'''''''''1''''''''''''''''''''''''''''''''''.''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4E6F25D6-125B-42C8-9D57-BB7901F85125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8012113" y="454977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1EB792E-629B-42E7-941E-B6B95DC5F21E}" type="datetime'''1''''.''''''''''''''''''''''''''7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7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EAA8875A-CBB1-41CB-819E-15717E684B45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8012113" y="4818063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97EF2C4-E270-489A-A096-6B1FB9F9BBE1}" type="datetime'''1.3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19D3C26D-2D2C-4DBA-A2A6-18CEF9BC7696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8342313" y="5018088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38B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D35F11B-BBD9-44B6-BD71-5F53DDC86042}" type="datetime'''''''''0''''''.''''''''''''''''9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9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4398AC5B-43FF-4043-A0F5-8A72344ECD64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8012113" y="5418138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3B4B911-B983-450A-901C-E9DF09D5BC50}" type="datetime'2''''''''''''''''.''2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.2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CA1A9004-9EFA-45E6-843D-050415A9D540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605713" y="5778500"/>
            <a:ext cx="11096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2050 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2°C scenario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DB42EF-DE2E-4B58-9DA6-C483CD9AC0E6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214688" y="3568700"/>
            <a:ext cx="3952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C5D190B-79CC-4D8D-AB3C-C87DCD2E00E3}" type="datetime'''''''''1''''''''0''''''''''''''''.''''''''3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.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6B62B8F-EDFA-4809-9DFE-3A5072C66DA7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5589588" y="2624138"/>
            <a:ext cx="3952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62E856F-6150-4027-A42C-6751AF749B21}" type="datetime'''''''''''''''''1''5''''''''''''.7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5.7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9F76F3DF-3CE9-4D81-A056-B932938574EA}"/>
              </a:ext>
            </a:extLst>
          </p:cNvPr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8012113" y="3973513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97846A2-E143-4E54-AF79-848AD09B9190}" type="datetime'''''''''''''''''''''''''''''8''.''''''''''''''''''''''''''1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8.1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32AE55ED-5D5C-437D-AC45-BC95DF8B93FE}"/>
              </a:ext>
            </a:extLst>
          </p:cNvPr>
          <p:cNvSpPr/>
          <p:nvPr/>
        </p:nvSpPr>
        <p:spPr>
          <a:xfrm>
            <a:off x="2436812" y="1800075"/>
            <a:ext cx="2000263" cy="51540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~30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f global emissions</a:t>
            </a: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B290B6B8-3225-4DBE-83C7-98AB41D60ED7}"/>
              </a:ext>
            </a:extLst>
          </p:cNvPr>
          <p:cNvSpPr/>
          <p:nvPr/>
        </p:nvSpPr>
        <p:spPr>
          <a:xfrm>
            <a:off x="4706556" y="1780385"/>
            <a:ext cx="2000263" cy="51540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~40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f global emissions</a:t>
            </a: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C198DEB8-341F-4DE9-BD06-77C018ECEA95}"/>
              </a:ext>
            </a:extLst>
          </p:cNvPr>
          <p:cNvSpPr/>
          <p:nvPr/>
        </p:nvSpPr>
        <p:spPr>
          <a:xfrm>
            <a:off x="7078659" y="1761974"/>
            <a:ext cx="2000263" cy="51540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~60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f global emissions</a:t>
            </a:r>
          </a:p>
        </p:txBody>
      </p:sp>
      <p:sp>
        <p:nvSpPr>
          <p:cNvPr id="53" name="5. Source">
            <a:extLst>
              <a:ext uri="{FF2B5EF4-FFF2-40B4-BE49-F238E27FC236}">
                <a16:creationId xmlns:a16="http://schemas.microsoft.com/office/drawing/2014/main" id="{096979F2-4B7C-4EAD-926D-F8B4125B7E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5680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EA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echnology Perspectives 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61" name="AutoShape 249">
            <a:extLst>
              <a:ext uri="{FF2B5EF4-FFF2-40B4-BE49-F238E27FC236}">
                <a16:creationId xmlns:a16="http://schemas.microsoft.com/office/drawing/2014/main" id="{D05B0785-D395-4753-9089-E0BC55CB2092}"/>
              </a:ext>
            </a:extLst>
          </p:cNvPr>
          <p:cNvCxnSpPr>
            <a:cxnSpLocks noChangeShapeType="1"/>
            <a:stCxn id="62" idx="4"/>
            <a:endCxn id="62" idx="6"/>
          </p:cNvCxnSpPr>
          <p:nvPr/>
        </p:nvCxnSpPr>
        <p:spPr bwMode="auto">
          <a:xfrm>
            <a:off x="2143125" y="1523893"/>
            <a:ext cx="9127388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AutoShape 250">
            <a:extLst>
              <a:ext uri="{FF2B5EF4-FFF2-40B4-BE49-F238E27FC236}">
                <a16:creationId xmlns:a16="http://schemas.microsoft.com/office/drawing/2014/main" id="{09A4BD81-4CB0-4ADC-97D9-A2EAA1BEE2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3125" y="1074591"/>
            <a:ext cx="9127388" cy="44930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B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irect and process emissions from the harder-to-abate sector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C6C9B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t CO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,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F3D34FC-F029-4A62-9CD3-24E21D98E6DD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9504363" y="2481263"/>
            <a:ext cx="250825" cy="187325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F563EF-3FD1-486C-B0EC-6B0A0B3E5489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9504363" y="1741488"/>
            <a:ext cx="250825" cy="187325"/>
          </a:xfrm>
          <a:prstGeom prst="rect">
            <a:avLst/>
          </a:prstGeom>
          <a:solidFill>
            <a:srgbClr val="C0C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0EFF4EF-0CA3-40A6-9799-3204259AF33E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9504363" y="2005013"/>
            <a:ext cx="250825" cy="187325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C50084A-8FD8-4CE2-95F0-F706C39F6BE9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9504363" y="3535363"/>
            <a:ext cx="250825" cy="187325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37A4AD8-D378-456E-9951-3E33CD0DCD0D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9504363" y="2744788"/>
            <a:ext cx="250825" cy="18732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7030F4B-AC66-4CEC-AAF7-F1FECB0F242A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504363" y="3008313"/>
            <a:ext cx="250825" cy="187325"/>
          </a:xfrm>
          <a:prstGeom prst="rect">
            <a:avLst/>
          </a:prstGeom>
          <a:solidFill>
            <a:srgbClr val="F38B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8619AF6-2C1C-44B3-984F-C4A9313FAF5A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9504363" y="3271838"/>
            <a:ext cx="250825" cy="187325"/>
          </a:xfrm>
          <a:prstGeom prst="rect">
            <a:avLst/>
          </a:prstGeom>
          <a:solidFill>
            <a:srgbClr val="ED5C0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3BFCD02-09EC-4F84-B8A3-071969566112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9805988" y="1736725"/>
            <a:ext cx="8588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5DC14A1-1A5E-4D86-9436-6E271E27F09D}" type="datetime'''''''''A''l''''''''''''''''''''''''''''u''''mi''nu''''m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luminum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F3F6EA3-2618-4DAE-9CE1-9A32AD76998D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9805988" y="2000250"/>
            <a:ext cx="136048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6C02EDB-F125-48BD-B183-9CCBB8BB7150}" type="datetime'''C''''''he''micals ''and'' &#10;petr''oc''''''h''emi''cal''s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hemicals and 
petrochemicals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60DA348-E0A5-4BE9-988A-FEB47B53C226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9805988" y="3003550"/>
            <a:ext cx="7350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2B0A26F-B62C-4C57-97FF-7A3968D227EB}" type="datetime'''S''''h''''''''''i''''''''''''p''''''p''''''''i''''n''g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hipping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85042F7-F601-4305-95B9-59EA39E18AC6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9805988" y="2476500"/>
            <a:ext cx="7604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0396EBF-D41A-4461-905B-E06F369EF2E8}" type="datetime'''''C''''''''''''e''m''''''''ent'''''''''''''''' 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 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53AF503-A8B5-4993-9EEA-CC6C3EF7AC4F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9805988" y="2740025"/>
            <a:ext cx="11636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6D95709-6DA9-41FC-9904-E186756E7AD6}" type="datetime'''''''I''r''on'''''''''' and'''' s''t''''e''e''''''''l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ron and steel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B4AFAC9-02D5-4339-9C7A-84FFC391B5D2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9805988" y="3267075"/>
            <a:ext cx="7064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t>Aviation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C889A07-1C96-45D5-AFE8-39DB566E5BA7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9805988" y="3530600"/>
            <a:ext cx="10175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38E1EF0-7A02-4867-A3B8-784CBFD97459}" type="datetime'''''''''''''''''H''''''''''e''av''y'' r''''''o''ad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eavy road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23556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" name="think-cell Slide" r:id="rId198" imgW="526" imgH="526" progId="TCLayout.ActiveDocument.1">
                  <p:embed/>
                </p:oleObj>
              </mc:Choice>
              <mc:Fallback>
                <p:oleObj name="think-cell Slide" r:id="rId198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199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0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159B4A6A-D02A-44F8-991B-95D1945843FD}"/>
              </a:ext>
            </a:extLst>
          </p:cNvPr>
          <p:cNvGrpSpPr>
            <a:grpSpLocks/>
          </p:cNvGrpSpPr>
          <p:nvPr/>
        </p:nvGrpSpPr>
        <p:grpSpPr>
          <a:xfrm>
            <a:off x="2460633" y="1784869"/>
            <a:ext cx="9007786" cy="4601603"/>
            <a:chOff x="38163" y="1274763"/>
            <a:chExt cx="8848662" cy="4519612"/>
          </a:xfrm>
          <a:solidFill>
            <a:schemeClr val="accent6">
              <a:lumMod val="20000"/>
              <a:lumOff val="80000"/>
            </a:schemeClr>
          </a:solidFill>
        </p:grpSpPr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B7946127-CE70-4602-994D-F5C986D35DC9}"/>
                </a:ext>
              </a:extLst>
            </p:cNvPr>
            <p:cNvGrpSpPr/>
            <p:nvPr/>
          </p:nvGrpSpPr>
          <p:grpSpPr>
            <a:xfrm>
              <a:off x="38163" y="1274763"/>
              <a:ext cx="8848662" cy="4519612"/>
              <a:chOff x="38163" y="1274763"/>
              <a:chExt cx="8848662" cy="4519612"/>
            </a:xfrm>
            <a:grpFill/>
          </p:grpSpPr>
          <p:sp>
            <p:nvSpPr>
              <p:cNvPr id="225" name="Freeform 5">
                <a:extLst>
                  <a:ext uri="{FF2B5EF4-FFF2-40B4-BE49-F238E27FC236}">
                    <a16:creationId xmlns:a16="http://schemas.microsoft.com/office/drawing/2014/main" id="{82FEB4BF-D62A-4923-8FEB-808AC4E5E44C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121151" y="3248025"/>
                <a:ext cx="504825" cy="490538"/>
              </a:xfrm>
              <a:custGeom>
                <a:avLst/>
                <a:gdLst>
                  <a:gd name="T0" fmla="*/ 192 w 313"/>
                  <a:gd name="T1" fmla="*/ 306 h 309"/>
                  <a:gd name="T2" fmla="*/ 171 w 313"/>
                  <a:gd name="T3" fmla="*/ 294 h 309"/>
                  <a:gd name="T4" fmla="*/ 131 w 313"/>
                  <a:gd name="T5" fmla="*/ 264 h 309"/>
                  <a:gd name="T6" fmla="*/ 102 w 313"/>
                  <a:gd name="T7" fmla="*/ 246 h 309"/>
                  <a:gd name="T8" fmla="*/ 86 w 313"/>
                  <a:gd name="T9" fmla="*/ 231 h 309"/>
                  <a:gd name="T10" fmla="*/ 45 w 313"/>
                  <a:gd name="T11" fmla="*/ 205 h 309"/>
                  <a:gd name="T12" fmla="*/ 17 w 313"/>
                  <a:gd name="T13" fmla="*/ 187 h 309"/>
                  <a:gd name="T14" fmla="*/ 15 w 313"/>
                  <a:gd name="T15" fmla="*/ 180 h 309"/>
                  <a:gd name="T16" fmla="*/ 0 w 313"/>
                  <a:gd name="T17" fmla="*/ 165 h 309"/>
                  <a:gd name="T18" fmla="*/ 14 w 313"/>
                  <a:gd name="T19" fmla="*/ 147 h 309"/>
                  <a:gd name="T20" fmla="*/ 24 w 313"/>
                  <a:gd name="T21" fmla="*/ 139 h 309"/>
                  <a:gd name="T22" fmla="*/ 38 w 313"/>
                  <a:gd name="T23" fmla="*/ 138 h 309"/>
                  <a:gd name="T24" fmla="*/ 53 w 313"/>
                  <a:gd name="T25" fmla="*/ 129 h 309"/>
                  <a:gd name="T26" fmla="*/ 62 w 313"/>
                  <a:gd name="T27" fmla="*/ 120 h 309"/>
                  <a:gd name="T28" fmla="*/ 77 w 313"/>
                  <a:gd name="T29" fmla="*/ 114 h 309"/>
                  <a:gd name="T30" fmla="*/ 89 w 313"/>
                  <a:gd name="T31" fmla="*/ 102 h 309"/>
                  <a:gd name="T32" fmla="*/ 92 w 313"/>
                  <a:gd name="T33" fmla="*/ 91 h 309"/>
                  <a:gd name="T34" fmla="*/ 108 w 313"/>
                  <a:gd name="T35" fmla="*/ 90 h 309"/>
                  <a:gd name="T36" fmla="*/ 110 w 313"/>
                  <a:gd name="T37" fmla="*/ 73 h 309"/>
                  <a:gd name="T38" fmla="*/ 110 w 313"/>
                  <a:gd name="T39" fmla="*/ 44 h 309"/>
                  <a:gd name="T40" fmla="*/ 116 w 313"/>
                  <a:gd name="T41" fmla="*/ 33 h 309"/>
                  <a:gd name="T42" fmla="*/ 131 w 313"/>
                  <a:gd name="T43" fmla="*/ 28 h 309"/>
                  <a:gd name="T44" fmla="*/ 149 w 313"/>
                  <a:gd name="T45" fmla="*/ 18 h 309"/>
                  <a:gd name="T46" fmla="*/ 188 w 313"/>
                  <a:gd name="T47" fmla="*/ 12 h 309"/>
                  <a:gd name="T48" fmla="*/ 228 w 313"/>
                  <a:gd name="T49" fmla="*/ 19 h 309"/>
                  <a:gd name="T50" fmla="*/ 222 w 313"/>
                  <a:gd name="T51" fmla="*/ 9 h 309"/>
                  <a:gd name="T52" fmla="*/ 258 w 313"/>
                  <a:gd name="T53" fmla="*/ 18 h 309"/>
                  <a:gd name="T54" fmla="*/ 251 w 313"/>
                  <a:gd name="T55" fmla="*/ 52 h 309"/>
                  <a:gd name="T56" fmla="*/ 254 w 313"/>
                  <a:gd name="T57" fmla="*/ 84 h 309"/>
                  <a:gd name="T58" fmla="*/ 255 w 313"/>
                  <a:gd name="T59" fmla="*/ 90 h 309"/>
                  <a:gd name="T60" fmla="*/ 260 w 313"/>
                  <a:gd name="T61" fmla="*/ 91 h 309"/>
                  <a:gd name="T62" fmla="*/ 270 w 313"/>
                  <a:gd name="T63" fmla="*/ 102 h 309"/>
                  <a:gd name="T64" fmla="*/ 281 w 313"/>
                  <a:gd name="T65" fmla="*/ 111 h 309"/>
                  <a:gd name="T66" fmla="*/ 279 w 313"/>
                  <a:gd name="T67" fmla="*/ 142 h 309"/>
                  <a:gd name="T68" fmla="*/ 279 w 313"/>
                  <a:gd name="T69" fmla="*/ 154 h 309"/>
                  <a:gd name="T70" fmla="*/ 288 w 313"/>
                  <a:gd name="T71" fmla="*/ 181 h 309"/>
                  <a:gd name="T72" fmla="*/ 272 w 313"/>
                  <a:gd name="T73" fmla="*/ 198 h 309"/>
                  <a:gd name="T74" fmla="*/ 281 w 313"/>
                  <a:gd name="T75" fmla="*/ 211 h 309"/>
                  <a:gd name="T76" fmla="*/ 296 w 313"/>
                  <a:gd name="T77" fmla="*/ 226 h 309"/>
                  <a:gd name="T78" fmla="*/ 305 w 313"/>
                  <a:gd name="T79" fmla="*/ 232 h 309"/>
                  <a:gd name="T80" fmla="*/ 290 w 313"/>
                  <a:gd name="T81" fmla="*/ 250 h 309"/>
                  <a:gd name="T82" fmla="*/ 273 w 313"/>
                  <a:gd name="T83" fmla="*/ 256 h 309"/>
                  <a:gd name="T84" fmla="*/ 258 w 313"/>
                  <a:gd name="T85" fmla="*/ 265 h 309"/>
                  <a:gd name="T86" fmla="*/ 246 w 313"/>
                  <a:gd name="T87" fmla="*/ 280 h 309"/>
                  <a:gd name="T88" fmla="*/ 237 w 313"/>
                  <a:gd name="T89" fmla="*/ 286 h 309"/>
                  <a:gd name="T90" fmla="*/ 218 w 313"/>
                  <a:gd name="T91" fmla="*/ 304 h 309"/>
                  <a:gd name="T92" fmla="*/ 192 w 313"/>
                  <a:gd name="T93" fmla="*/ 306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13" h="309">
                    <a:moveTo>
                      <a:pt x="192" y="306"/>
                    </a:moveTo>
                    <a:cubicBezTo>
                      <a:pt x="176" y="303"/>
                      <a:pt x="184" y="296"/>
                      <a:pt x="171" y="294"/>
                    </a:cubicBezTo>
                    <a:cubicBezTo>
                      <a:pt x="161" y="287"/>
                      <a:pt x="142" y="272"/>
                      <a:pt x="131" y="264"/>
                    </a:cubicBezTo>
                    <a:cubicBezTo>
                      <a:pt x="123" y="257"/>
                      <a:pt x="109" y="251"/>
                      <a:pt x="102" y="246"/>
                    </a:cubicBezTo>
                    <a:cubicBezTo>
                      <a:pt x="100" y="245"/>
                      <a:pt x="89" y="233"/>
                      <a:pt x="86" y="231"/>
                    </a:cubicBezTo>
                    <a:cubicBezTo>
                      <a:pt x="72" y="222"/>
                      <a:pt x="58" y="215"/>
                      <a:pt x="45" y="205"/>
                    </a:cubicBezTo>
                    <a:cubicBezTo>
                      <a:pt x="37" y="199"/>
                      <a:pt x="28" y="189"/>
                      <a:pt x="17" y="187"/>
                    </a:cubicBezTo>
                    <a:cubicBezTo>
                      <a:pt x="11" y="182"/>
                      <a:pt x="18" y="184"/>
                      <a:pt x="15" y="180"/>
                    </a:cubicBezTo>
                    <a:cubicBezTo>
                      <a:pt x="12" y="176"/>
                      <a:pt x="0" y="170"/>
                      <a:pt x="0" y="165"/>
                    </a:cubicBezTo>
                    <a:cubicBezTo>
                      <a:pt x="0" y="160"/>
                      <a:pt x="10" y="151"/>
                      <a:pt x="14" y="147"/>
                    </a:cubicBezTo>
                    <a:cubicBezTo>
                      <a:pt x="17" y="141"/>
                      <a:pt x="20" y="140"/>
                      <a:pt x="24" y="139"/>
                    </a:cubicBezTo>
                    <a:cubicBezTo>
                      <a:pt x="28" y="138"/>
                      <a:pt x="33" y="140"/>
                      <a:pt x="38" y="138"/>
                    </a:cubicBezTo>
                    <a:cubicBezTo>
                      <a:pt x="45" y="135"/>
                      <a:pt x="49" y="132"/>
                      <a:pt x="53" y="129"/>
                    </a:cubicBezTo>
                    <a:cubicBezTo>
                      <a:pt x="57" y="126"/>
                      <a:pt x="58" y="123"/>
                      <a:pt x="62" y="120"/>
                    </a:cubicBezTo>
                    <a:cubicBezTo>
                      <a:pt x="64" y="117"/>
                      <a:pt x="75" y="117"/>
                      <a:pt x="77" y="114"/>
                    </a:cubicBezTo>
                    <a:cubicBezTo>
                      <a:pt x="81" y="111"/>
                      <a:pt x="87" y="106"/>
                      <a:pt x="89" y="102"/>
                    </a:cubicBezTo>
                    <a:cubicBezTo>
                      <a:pt x="91" y="98"/>
                      <a:pt x="89" y="93"/>
                      <a:pt x="92" y="91"/>
                    </a:cubicBezTo>
                    <a:cubicBezTo>
                      <a:pt x="97" y="89"/>
                      <a:pt x="101" y="91"/>
                      <a:pt x="108" y="90"/>
                    </a:cubicBezTo>
                    <a:cubicBezTo>
                      <a:pt x="110" y="81"/>
                      <a:pt x="112" y="82"/>
                      <a:pt x="110" y="73"/>
                    </a:cubicBezTo>
                    <a:cubicBezTo>
                      <a:pt x="110" y="65"/>
                      <a:pt x="109" y="51"/>
                      <a:pt x="110" y="44"/>
                    </a:cubicBezTo>
                    <a:cubicBezTo>
                      <a:pt x="111" y="37"/>
                      <a:pt x="112" y="36"/>
                      <a:pt x="116" y="33"/>
                    </a:cubicBezTo>
                    <a:cubicBezTo>
                      <a:pt x="118" y="22"/>
                      <a:pt x="123" y="26"/>
                      <a:pt x="131" y="28"/>
                    </a:cubicBezTo>
                    <a:cubicBezTo>
                      <a:pt x="136" y="21"/>
                      <a:pt x="141" y="20"/>
                      <a:pt x="149" y="18"/>
                    </a:cubicBezTo>
                    <a:cubicBezTo>
                      <a:pt x="161" y="9"/>
                      <a:pt x="169" y="13"/>
                      <a:pt x="188" y="12"/>
                    </a:cubicBezTo>
                    <a:cubicBezTo>
                      <a:pt x="200" y="3"/>
                      <a:pt x="215" y="17"/>
                      <a:pt x="228" y="19"/>
                    </a:cubicBezTo>
                    <a:cubicBezTo>
                      <a:pt x="239" y="23"/>
                      <a:pt x="227" y="15"/>
                      <a:pt x="222" y="9"/>
                    </a:cubicBezTo>
                    <a:cubicBezTo>
                      <a:pt x="237" y="0"/>
                      <a:pt x="282" y="4"/>
                      <a:pt x="258" y="18"/>
                    </a:cubicBezTo>
                    <a:cubicBezTo>
                      <a:pt x="251" y="27"/>
                      <a:pt x="263" y="43"/>
                      <a:pt x="251" y="52"/>
                    </a:cubicBezTo>
                    <a:cubicBezTo>
                      <a:pt x="248" y="64"/>
                      <a:pt x="245" y="75"/>
                      <a:pt x="254" y="84"/>
                    </a:cubicBezTo>
                    <a:cubicBezTo>
                      <a:pt x="254" y="86"/>
                      <a:pt x="254" y="88"/>
                      <a:pt x="255" y="90"/>
                    </a:cubicBezTo>
                    <a:cubicBezTo>
                      <a:pt x="256" y="91"/>
                      <a:pt x="259" y="90"/>
                      <a:pt x="260" y="91"/>
                    </a:cubicBezTo>
                    <a:cubicBezTo>
                      <a:pt x="262" y="93"/>
                      <a:pt x="269" y="99"/>
                      <a:pt x="270" y="102"/>
                    </a:cubicBezTo>
                    <a:cubicBezTo>
                      <a:pt x="271" y="108"/>
                      <a:pt x="278" y="105"/>
                      <a:pt x="281" y="111"/>
                    </a:cubicBezTo>
                    <a:cubicBezTo>
                      <a:pt x="282" y="117"/>
                      <a:pt x="279" y="135"/>
                      <a:pt x="279" y="142"/>
                    </a:cubicBezTo>
                    <a:cubicBezTo>
                      <a:pt x="279" y="149"/>
                      <a:pt x="278" y="148"/>
                      <a:pt x="279" y="154"/>
                    </a:cubicBezTo>
                    <a:cubicBezTo>
                      <a:pt x="280" y="160"/>
                      <a:pt x="289" y="174"/>
                      <a:pt x="288" y="181"/>
                    </a:cubicBezTo>
                    <a:cubicBezTo>
                      <a:pt x="287" y="188"/>
                      <a:pt x="273" y="193"/>
                      <a:pt x="272" y="198"/>
                    </a:cubicBezTo>
                    <a:cubicBezTo>
                      <a:pt x="275" y="202"/>
                      <a:pt x="278" y="207"/>
                      <a:pt x="281" y="211"/>
                    </a:cubicBezTo>
                    <a:cubicBezTo>
                      <a:pt x="283" y="220"/>
                      <a:pt x="288" y="225"/>
                      <a:pt x="296" y="226"/>
                    </a:cubicBezTo>
                    <a:cubicBezTo>
                      <a:pt x="303" y="230"/>
                      <a:pt x="296" y="228"/>
                      <a:pt x="305" y="232"/>
                    </a:cubicBezTo>
                    <a:cubicBezTo>
                      <a:pt x="313" y="242"/>
                      <a:pt x="295" y="250"/>
                      <a:pt x="290" y="250"/>
                    </a:cubicBezTo>
                    <a:cubicBezTo>
                      <a:pt x="283" y="253"/>
                      <a:pt x="280" y="253"/>
                      <a:pt x="273" y="256"/>
                    </a:cubicBezTo>
                    <a:cubicBezTo>
                      <a:pt x="268" y="263"/>
                      <a:pt x="267" y="263"/>
                      <a:pt x="258" y="265"/>
                    </a:cubicBezTo>
                    <a:cubicBezTo>
                      <a:pt x="254" y="268"/>
                      <a:pt x="250" y="277"/>
                      <a:pt x="246" y="280"/>
                    </a:cubicBezTo>
                    <a:cubicBezTo>
                      <a:pt x="243" y="286"/>
                      <a:pt x="244" y="285"/>
                      <a:pt x="237" y="286"/>
                    </a:cubicBezTo>
                    <a:cubicBezTo>
                      <a:pt x="231" y="290"/>
                      <a:pt x="225" y="303"/>
                      <a:pt x="218" y="304"/>
                    </a:cubicBezTo>
                    <a:cubicBezTo>
                      <a:pt x="211" y="309"/>
                      <a:pt x="200" y="306"/>
                      <a:pt x="192" y="30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26" name="Freeform 6">
                <a:extLst>
                  <a:ext uri="{FF2B5EF4-FFF2-40B4-BE49-F238E27FC236}">
                    <a16:creationId xmlns:a16="http://schemas.microsoft.com/office/drawing/2014/main" id="{C503D730-C5A4-4010-99B6-74ECF883E75A}"/>
                  </a:ext>
                </a:extLst>
              </p:cNvPr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59301" y="3371850"/>
                <a:ext cx="381000" cy="355600"/>
              </a:xfrm>
              <a:custGeom>
                <a:avLst/>
                <a:gdLst>
                  <a:gd name="T0" fmla="*/ 6 w 236"/>
                  <a:gd name="T1" fmla="*/ 43 h 224"/>
                  <a:gd name="T2" fmla="*/ 16 w 236"/>
                  <a:gd name="T3" fmla="*/ 22 h 224"/>
                  <a:gd name="T4" fmla="*/ 28 w 236"/>
                  <a:gd name="T5" fmla="*/ 15 h 224"/>
                  <a:gd name="T6" fmla="*/ 48 w 236"/>
                  <a:gd name="T7" fmla="*/ 0 h 224"/>
                  <a:gd name="T8" fmla="*/ 85 w 236"/>
                  <a:gd name="T9" fmla="*/ 6 h 224"/>
                  <a:gd name="T10" fmla="*/ 118 w 236"/>
                  <a:gd name="T11" fmla="*/ 30 h 224"/>
                  <a:gd name="T12" fmla="*/ 142 w 236"/>
                  <a:gd name="T13" fmla="*/ 40 h 224"/>
                  <a:gd name="T14" fmla="*/ 150 w 236"/>
                  <a:gd name="T15" fmla="*/ 43 h 224"/>
                  <a:gd name="T16" fmla="*/ 160 w 236"/>
                  <a:gd name="T17" fmla="*/ 30 h 224"/>
                  <a:gd name="T18" fmla="*/ 156 w 236"/>
                  <a:gd name="T19" fmla="*/ 13 h 224"/>
                  <a:gd name="T20" fmla="*/ 174 w 236"/>
                  <a:gd name="T21" fmla="*/ 3 h 224"/>
                  <a:gd name="T22" fmla="*/ 213 w 236"/>
                  <a:gd name="T23" fmla="*/ 12 h 224"/>
                  <a:gd name="T24" fmla="*/ 226 w 236"/>
                  <a:gd name="T25" fmla="*/ 21 h 224"/>
                  <a:gd name="T26" fmla="*/ 228 w 236"/>
                  <a:gd name="T27" fmla="*/ 34 h 224"/>
                  <a:gd name="T28" fmla="*/ 229 w 236"/>
                  <a:gd name="T29" fmla="*/ 66 h 224"/>
                  <a:gd name="T30" fmla="*/ 231 w 236"/>
                  <a:gd name="T31" fmla="*/ 183 h 224"/>
                  <a:gd name="T32" fmla="*/ 232 w 236"/>
                  <a:gd name="T33" fmla="*/ 217 h 224"/>
                  <a:gd name="T34" fmla="*/ 208 w 236"/>
                  <a:gd name="T35" fmla="*/ 223 h 224"/>
                  <a:gd name="T36" fmla="*/ 186 w 236"/>
                  <a:gd name="T37" fmla="*/ 208 h 224"/>
                  <a:gd name="T38" fmla="*/ 168 w 236"/>
                  <a:gd name="T39" fmla="*/ 198 h 224"/>
                  <a:gd name="T40" fmla="*/ 153 w 236"/>
                  <a:gd name="T41" fmla="*/ 195 h 224"/>
                  <a:gd name="T42" fmla="*/ 145 w 236"/>
                  <a:gd name="T43" fmla="*/ 187 h 224"/>
                  <a:gd name="T44" fmla="*/ 129 w 236"/>
                  <a:gd name="T45" fmla="*/ 175 h 224"/>
                  <a:gd name="T46" fmla="*/ 103 w 236"/>
                  <a:gd name="T47" fmla="*/ 168 h 224"/>
                  <a:gd name="T48" fmla="*/ 78 w 236"/>
                  <a:gd name="T49" fmla="*/ 171 h 224"/>
                  <a:gd name="T50" fmla="*/ 58 w 236"/>
                  <a:gd name="T51" fmla="*/ 163 h 224"/>
                  <a:gd name="T52" fmla="*/ 39 w 236"/>
                  <a:gd name="T53" fmla="*/ 160 h 224"/>
                  <a:gd name="T54" fmla="*/ 12 w 236"/>
                  <a:gd name="T55" fmla="*/ 139 h 224"/>
                  <a:gd name="T56" fmla="*/ 1 w 236"/>
                  <a:gd name="T57" fmla="*/ 127 h 224"/>
                  <a:gd name="T58" fmla="*/ 15 w 236"/>
                  <a:gd name="T59" fmla="*/ 106 h 224"/>
                  <a:gd name="T60" fmla="*/ 7 w 236"/>
                  <a:gd name="T61" fmla="*/ 73 h 224"/>
                  <a:gd name="T62" fmla="*/ 6 w 236"/>
                  <a:gd name="T63" fmla="*/ 4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224">
                    <a:moveTo>
                      <a:pt x="6" y="43"/>
                    </a:moveTo>
                    <a:cubicBezTo>
                      <a:pt x="8" y="35"/>
                      <a:pt x="12" y="27"/>
                      <a:pt x="16" y="22"/>
                    </a:cubicBezTo>
                    <a:cubicBezTo>
                      <a:pt x="20" y="17"/>
                      <a:pt x="23" y="19"/>
                      <a:pt x="28" y="15"/>
                    </a:cubicBezTo>
                    <a:cubicBezTo>
                      <a:pt x="34" y="5"/>
                      <a:pt x="37" y="2"/>
                      <a:pt x="48" y="0"/>
                    </a:cubicBezTo>
                    <a:cubicBezTo>
                      <a:pt x="73" y="1"/>
                      <a:pt x="67" y="2"/>
                      <a:pt x="85" y="6"/>
                    </a:cubicBezTo>
                    <a:cubicBezTo>
                      <a:pt x="103" y="30"/>
                      <a:pt x="74" y="26"/>
                      <a:pt x="118" y="30"/>
                    </a:cubicBezTo>
                    <a:cubicBezTo>
                      <a:pt x="127" y="32"/>
                      <a:pt x="133" y="38"/>
                      <a:pt x="142" y="40"/>
                    </a:cubicBezTo>
                    <a:cubicBezTo>
                      <a:pt x="144" y="44"/>
                      <a:pt x="145" y="48"/>
                      <a:pt x="150" y="43"/>
                    </a:cubicBezTo>
                    <a:cubicBezTo>
                      <a:pt x="154" y="39"/>
                      <a:pt x="160" y="30"/>
                      <a:pt x="160" y="30"/>
                    </a:cubicBezTo>
                    <a:cubicBezTo>
                      <a:pt x="159" y="23"/>
                      <a:pt x="157" y="19"/>
                      <a:pt x="156" y="13"/>
                    </a:cubicBezTo>
                    <a:cubicBezTo>
                      <a:pt x="161" y="9"/>
                      <a:pt x="168" y="7"/>
                      <a:pt x="174" y="3"/>
                    </a:cubicBezTo>
                    <a:cubicBezTo>
                      <a:pt x="197" y="4"/>
                      <a:pt x="194" y="8"/>
                      <a:pt x="213" y="12"/>
                    </a:cubicBezTo>
                    <a:cubicBezTo>
                      <a:pt x="217" y="15"/>
                      <a:pt x="222" y="18"/>
                      <a:pt x="226" y="21"/>
                    </a:cubicBezTo>
                    <a:cubicBezTo>
                      <a:pt x="229" y="27"/>
                      <a:pt x="229" y="28"/>
                      <a:pt x="228" y="34"/>
                    </a:cubicBezTo>
                    <a:cubicBezTo>
                      <a:pt x="230" y="44"/>
                      <a:pt x="227" y="56"/>
                      <a:pt x="229" y="66"/>
                    </a:cubicBezTo>
                    <a:cubicBezTo>
                      <a:pt x="232" y="90"/>
                      <a:pt x="234" y="157"/>
                      <a:pt x="231" y="183"/>
                    </a:cubicBezTo>
                    <a:cubicBezTo>
                      <a:pt x="231" y="208"/>
                      <a:pt x="236" y="210"/>
                      <a:pt x="232" y="217"/>
                    </a:cubicBezTo>
                    <a:cubicBezTo>
                      <a:pt x="228" y="224"/>
                      <a:pt x="216" y="224"/>
                      <a:pt x="208" y="223"/>
                    </a:cubicBezTo>
                    <a:cubicBezTo>
                      <a:pt x="201" y="222"/>
                      <a:pt x="193" y="212"/>
                      <a:pt x="186" y="208"/>
                    </a:cubicBezTo>
                    <a:cubicBezTo>
                      <a:pt x="179" y="204"/>
                      <a:pt x="173" y="200"/>
                      <a:pt x="168" y="198"/>
                    </a:cubicBezTo>
                    <a:cubicBezTo>
                      <a:pt x="163" y="194"/>
                      <a:pt x="155" y="197"/>
                      <a:pt x="153" y="195"/>
                    </a:cubicBezTo>
                    <a:cubicBezTo>
                      <a:pt x="149" y="193"/>
                      <a:pt x="149" y="190"/>
                      <a:pt x="145" y="187"/>
                    </a:cubicBezTo>
                    <a:cubicBezTo>
                      <a:pt x="139" y="183"/>
                      <a:pt x="136" y="178"/>
                      <a:pt x="129" y="175"/>
                    </a:cubicBezTo>
                    <a:cubicBezTo>
                      <a:pt x="122" y="172"/>
                      <a:pt x="111" y="169"/>
                      <a:pt x="103" y="168"/>
                    </a:cubicBezTo>
                    <a:cubicBezTo>
                      <a:pt x="75" y="169"/>
                      <a:pt x="94" y="162"/>
                      <a:pt x="78" y="171"/>
                    </a:cubicBezTo>
                    <a:cubicBezTo>
                      <a:pt x="74" y="170"/>
                      <a:pt x="62" y="164"/>
                      <a:pt x="58" y="163"/>
                    </a:cubicBezTo>
                    <a:cubicBezTo>
                      <a:pt x="52" y="161"/>
                      <a:pt x="39" y="160"/>
                      <a:pt x="39" y="160"/>
                    </a:cubicBezTo>
                    <a:cubicBezTo>
                      <a:pt x="30" y="154"/>
                      <a:pt x="20" y="147"/>
                      <a:pt x="12" y="139"/>
                    </a:cubicBezTo>
                    <a:cubicBezTo>
                      <a:pt x="7" y="134"/>
                      <a:pt x="7" y="131"/>
                      <a:pt x="1" y="127"/>
                    </a:cubicBezTo>
                    <a:cubicBezTo>
                      <a:pt x="0" y="119"/>
                      <a:pt x="10" y="112"/>
                      <a:pt x="15" y="106"/>
                    </a:cubicBezTo>
                    <a:cubicBezTo>
                      <a:pt x="17" y="94"/>
                      <a:pt x="11" y="84"/>
                      <a:pt x="7" y="73"/>
                    </a:cubicBezTo>
                    <a:cubicBezTo>
                      <a:pt x="6" y="61"/>
                      <a:pt x="6" y="54"/>
                      <a:pt x="6" y="4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27" name="Freeform 7">
                <a:extLst>
                  <a:ext uri="{FF2B5EF4-FFF2-40B4-BE49-F238E27FC236}">
                    <a16:creationId xmlns:a16="http://schemas.microsoft.com/office/drawing/2014/main" id="{5B7DEB44-9E37-4014-9CE7-9DA4EA503DBE}"/>
                  </a:ext>
                </a:extLst>
              </p:cNvPr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862513" y="2749550"/>
                <a:ext cx="463550" cy="282575"/>
              </a:xfrm>
              <a:custGeom>
                <a:avLst/>
                <a:gdLst>
                  <a:gd name="T0" fmla="*/ 107 w 287"/>
                  <a:gd name="T1" fmla="*/ 158 h 178"/>
                  <a:gd name="T2" fmla="*/ 131 w 287"/>
                  <a:gd name="T3" fmla="*/ 137 h 178"/>
                  <a:gd name="T4" fmla="*/ 151 w 287"/>
                  <a:gd name="T5" fmla="*/ 132 h 178"/>
                  <a:gd name="T6" fmla="*/ 152 w 287"/>
                  <a:gd name="T7" fmla="*/ 149 h 178"/>
                  <a:gd name="T8" fmla="*/ 163 w 287"/>
                  <a:gd name="T9" fmla="*/ 156 h 178"/>
                  <a:gd name="T10" fmla="*/ 176 w 287"/>
                  <a:gd name="T11" fmla="*/ 176 h 178"/>
                  <a:gd name="T12" fmla="*/ 211 w 287"/>
                  <a:gd name="T13" fmla="*/ 164 h 178"/>
                  <a:gd name="T14" fmla="*/ 194 w 287"/>
                  <a:gd name="T15" fmla="*/ 149 h 178"/>
                  <a:gd name="T16" fmla="*/ 185 w 287"/>
                  <a:gd name="T17" fmla="*/ 143 h 178"/>
                  <a:gd name="T18" fmla="*/ 199 w 287"/>
                  <a:gd name="T19" fmla="*/ 134 h 178"/>
                  <a:gd name="T20" fmla="*/ 217 w 287"/>
                  <a:gd name="T21" fmla="*/ 125 h 178"/>
                  <a:gd name="T22" fmla="*/ 251 w 287"/>
                  <a:gd name="T23" fmla="*/ 114 h 178"/>
                  <a:gd name="T24" fmla="*/ 263 w 287"/>
                  <a:gd name="T25" fmla="*/ 104 h 178"/>
                  <a:gd name="T26" fmla="*/ 263 w 287"/>
                  <a:gd name="T27" fmla="*/ 63 h 178"/>
                  <a:gd name="T28" fmla="*/ 225 w 287"/>
                  <a:gd name="T29" fmla="*/ 52 h 178"/>
                  <a:gd name="T30" fmla="*/ 214 w 287"/>
                  <a:gd name="T31" fmla="*/ 45 h 178"/>
                  <a:gd name="T32" fmla="*/ 187 w 287"/>
                  <a:gd name="T33" fmla="*/ 29 h 178"/>
                  <a:gd name="T34" fmla="*/ 179 w 287"/>
                  <a:gd name="T35" fmla="*/ 11 h 178"/>
                  <a:gd name="T36" fmla="*/ 142 w 287"/>
                  <a:gd name="T37" fmla="*/ 8 h 178"/>
                  <a:gd name="T38" fmla="*/ 122 w 287"/>
                  <a:gd name="T39" fmla="*/ 12 h 178"/>
                  <a:gd name="T40" fmla="*/ 109 w 287"/>
                  <a:gd name="T41" fmla="*/ 18 h 178"/>
                  <a:gd name="T42" fmla="*/ 92 w 287"/>
                  <a:gd name="T43" fmla="*/ 17 h 178"/>
                  <a:gd name="T44" fmla="*/ 31 w 287"/>
                  <a:gd name="T45" fmla="*/ 15 h 178"/>
                  <a:gd name="T46" fmla="*/ 28 w 287"/>
                  <a:gd name="T47" fmla="*/ 32 h 178"/>
                  <a:gd name="T48" fmla="*/ 14 w 287"/>
                  <a:gd name="T49" fmla="*/ 53 h 178"/>
                  <a:gd name="T50" fmla="*/ 5 w 287"/>
                  <a:gd name="T51" fmla="*/ 63 h 178"/>
                  <a:gd name="T52" fmla="*/ 7 w 287"/>
                  <a:gd name="T53" fmla="*/ 72 h 178"/>
                  <a:gd name="T54" fmla="*/ 5 w 287"/>
                  <a:gd name="T55" fmla="*/ 84 h 178"/>
                  <a:gd name="T56" fmla="*/ 7 w 287"/>
                  <a:gd name="T57" fmla="*/ 96 h 178"/>
                  <a:gd name="T58" fmla="*/ 47 w 287"/>
                  <a:gd name="T59" fmla="*/ 98 h 178"/>
                  <a:gd name="T60" fmla="*/ 65 w 287"/>
                  <a:gd name="T61" fmla="*/ 95 h 178"/>
                  <a:gd name="T62" fmla="*/ 73 w 287"/>
                  <a:gd name="T63" fmla="*/ 89 h 178"/>
                  <a:gd name="T64" fmla="*/ 91 w 287"/>
                  <a:gd name="T65" fmla="*/ 90 h 178"/>
                  <a:gd name="T66" fmla="*/ 103 w 287"/>
                  <a:gd name="T67" fmla="*/ 99 h 178"/>
                  <a:gd name="T68" fmla="*/ 109 w 287"/>
                  <a:gd name="T69" fmla="*/ 117 h 178"/>
                  <a:gd name="T70" fmla="*/ 110 w 287"/>
                  <a:gd name="T71" fmla="*/ 132 h 178"/>
                  <a:gd name="T72" fmla="*/ 104 w 287"/>
                  <a:gd name="T73" fmla="*/ 144 h 178"/>
                  <a:gd name="T74" fmla="*/ 98 w 287"/>
                  <a:gd name="T75" fmla="*/ 150 h 178"/>
                  <a:gd name="T76" fmla="*/ 107 w 287"/>
                  <a:gd name="T77" fmla="*/ 15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7" h="178">
                    <a:moveTo>
                      <a:pt x="107" y="158"/>
                    </a:moveTo>
                    <a:cubicBezTo>
                      <a:pt x="117" y="154"/>
                      <a:pt x="123" y="143"/>
                      <a:pt x="131" y="137"/>
                    </a:cubicBezTo>
                    <a:cubicBezTo>
                      <a:pt x="135" y="126"/>
                      <a:pt x="141" y="130"/>
                      <a:pt x="151" y="132"/>
                    </a:cubicBezTo>
                    <a:cubicBezTo>
                      <a:pt x="155" y="139"/>
                      <a:pt x="156" y="142"/>
                      <a:pt x="152" y="149"/>
                    </a:cubicBezTo>
                    <a:cubicBezTo>
                      <a:pt x="155" y="155"/>
                      <a:pt x="157" y="155"/>
                      <a:pt x="163" y="156"/>
                    </a:cubicBezTo>
                    <a:cubicBezTo>
                      <a:pt x="170" y="168"/>
                      <a:pt x="159" y="178"/>
                      <a:pt x="176" y="176"/>
                    </a:cubicBezTo>
                    <a:cubicBezTo>
                      <a:pt x="190" y="162"/>
                      <a:pt x="186" y="165"/>
                      <a:pt x="211" y="164"/>
                    </a:cubicBezTo>
                    <a:cubicBezTo>
                      <a:pt x="217" y="154"/>
                      <a:pt x="202" y="150"/>
                      <a:pt x="194" y="149"/>
                    </a:cubicBezTo>
                    <a:cubicBezTo>
                      <a:pt x="191" y="147"/>
                      <a:pt x="185" y="147"/>
                      <a:pt x="185" y="143"/>
                    </a:cubicBezTo>
                    <a:cubicBezTo>
                      <a:pt x="185" y="138"/>
                      <a:pt x="196" y="135"/>
                      <a:pt x="199" y="134"/>
                    </a:cubicBezTo>
                    <a:cubicBezTo>
                      <a:pt x="205" y="131"/>
                      <a:pt x="211" y="129"/>
                      <a:pt x="217" y="125"/>
                    </a:cubicBezTo>
                    <a:cubicBezTo>
                      <a:pt x="223" y="115"/>
                      <a:pt x="240" y="116"/>
                      <a:pt x="251" y="114"/>
                    </a:cubicBezTo>
                    <a:cubicBezTo>
                      <a:pt x="256" y="111"/>
                      <a:pt x="259" y="109"/>
                      <a:pt x="263" y="104"/>
                    </a:cubicBezTo>
                    <a:cubicBezTo>
                      <a:pt x="266" y="84"/>
                      <a:pt x="287" y="67"/>
                      <a:pt x="263" y="63"/>
                    </a:cubicBezTo>
                    <a:cubicBezTo>
                      <a:pt x="257" y="54"/>
                      <a:pt x="234" y="54"/>
                      <a:pt x="225" y="52"/>
                    </a:cubicBezTo>
                    <a:cubicBezTo>
                      <a:pt x="217" y="49"/>
                      <a:pt x="220" y="49"/>
                      <a:pt x="214" y="45"/>
                    </a:cubicBezTo>
                    <a:cubicBezTo>
                      <a:pt x="209" y="38"/>
                      <a:pt x="195" y="34"/>
                      <a:pt x="187" y="29"/>
                    </a:cubicBezTo>
                    <a:cubicBezTo>
                      <a:pt x="183" y="24"/>
                      <a:pt x="183" y="16"/>
                      <a:pt x="179" y="11"/>
                    </a:cubicBezTo>
                    <a:cubicBezTo>
                      <a:pt x="177" y="0"/>
                      <a:pt x="151" y="9"/>
                      <a:pt x="142" y="8"/>
                    </a:cubicBezTo>
                    <a:cubicBezTo>
                      <a:pt x="133" y="9"/>
                      <a:pt x="130" y="10"/>
                      <a:pt x="122" y="12"/>
                    </a:cubicBezTo>
                    <a:cubicBezTo>
                      <a:pt x="117" y="14"/>
                      <a:pt x="114" y="17"/>
                      <a:pt x="109" y="18"/>
                    </a:cubicBezTo>
                    <a:cubicBezTo>
                      <a:pt x="104" y="19"/>
                      <a:pt x="105" y="17"/>
                      <a:pt x="92" y="17"/>
                    </a:cubicBezTo>
                    <a:cubicBezTo>
                      <a:pt x="74" y="8"/>
                      <a:pt x="46" y="15"/>
                      <a:pt x="31" y="15"/>
                    </a:cubicBezTo>
                    <a:cubicBezTo>
                      <a:pt x="21" y="19"/>
                      <a:pt x="23" y="24"/>
                      <a:pt x="28" y="32"/>
                    </a:cubicBezTo>
                    <a:cubicBezTo>
                      <a:pt x="26" y="41"/>
                      <a:pt x="22" y="48"/>
                      <a:pt x="14" y="53"/>
                    </a:cubicBezTo>
                    <a:cubicBezTo>
                      <a:pt x="11" y="58"/>
                      <a:pt x="6" y="60"/>
                      <a:pt x="5" y="63"/>
                    </a:cubicBezTo>
                    <a:cubicBezTo>
                      <a:pt x="4" y="66"/>
                      <a:pt x="7" y="69"/>
                      <a:pt x="7" y="72"/>
                    </a:cubicBezTo>
                    <a:cubicBezTo>
                      <a:pt x="7" y="75"/>
                      <a:pt x="5" y="80"/>
                      <a:pt x="5" y="84"/>
                    </a:cubicBezTo>
                    <a:cubicBezTo>
                      <a:pt x="6" y="88"/>
                      <a:pt x="0" y="94"/>
                      <a:pt x="7" y="96"/>
                    </a:cubicBezTo>
                    <a:cubicBezTo>
                      <a:pt x="14" y="98"/>
                      <a:pt x="37" y="98"/>
                      <a:pt x="47" y="98"/>
                    </a:cubicBezTo>
                    <a:cubicBezTo>
                      <a:pt x="56" y="97"/>
                      <a:pt x="61" y="96"/>
                      <a:pt x="65" y="95"/>
                    </a:cubicBezTo>
                    <a:cubicBezTo>
                      <a:pt x="69" y="94"/>
                      <a:pt x="69" y="90"/>
                      <a:pt x="73" y="89"/>
                    </a:cubicBezTo>
                    <a:cubicBezTo>
                      <a:pt x="79" y="86"/>
                      <a:pt x="84" y="89"/>
                      <a:pt x="91" y="90"/>
                    </a:cubicBezTo>
                    <a:cubicBezTo>
                      <a:pt x="96" y="93"/>
                      <a:pt x="99" y="94"/>
                      <a:pt x="103" y="99"/>
                    </a:cubicBezTo>
                    <a:cubicBezTo>
                      <a:pt x="104" y="107"/>
                      <a:pt x="104" y="111"/>
                      <a:pt x="109" y="117"/>
                    </a:cubicBezTo>
                    <a:cubicBezTo>
                      <a:pt x="111" y="125"/>
                      <a:pt x="114" y="124"/>
                      <a:pt x="110" y="132"/>
                    </a:cubicBezTo>
                    <a:cubicBezTo>
                      <a:pt x="110" y="136"/>
                      <a:pt x="106" y="141"/>
                      <a:pt x="104" y="144"/>
                    </a:cubicBezTo>
                    <a:cubicBezTo>
                      <a:pt x="102" y="147"/>
                      <a:pt x="98" y="148"/>
                      <a:pt x="98" y="150"/>
                    </a:cubicBezTo>
                    <a:cubicBezTo>
                      <a:pt x="96" y="159"/>
                      <a:pt x="99" y="159"/>
                      <a:pt x="107" y="15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28" name="Freeform 8">
                <a:extLst>
                  <a:ext uri="{FF2B5EF4-FFF2-40B4-BE49-F238E27FC236}">
                    <a16:creationId xmlns:a16="http://schemas.microsoft.com/office/drawing/2014/main" id="{26A0FDB0-714F-4A0F-853A-F0969CA4B82A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5673726" y="3000375"/>
                <a:ext cx="393700" cy="258763"/>
              </a:xfrm>
              <a:custGeom>
                <a:avLst/>
                <a:gdLst>
                  <a:gd name="T0" fmla="*/ 174 w 244"/>
                  <a:gd name="T1" fmla="*/ 93 h 163"/>
                  <a:gd name="T2" fmla="*/ 189 w 244"/>
                  <a:gd name="T3" fmla="*/ 82 h 163"/>
                  <a:gd name="T4" fmla="*/ 219 w 244"/>
                  <a:gd name="T5" fmla="*/ 61 h 163"/>
                  <a:gd name="T6" fmla="*/ 237 w 244"/>
                  <a:gd name="T7" fmla="*/ 73 h 163"/>
                  <a:gd name="T8" fmla="*/ 244 w 244"/>
                  <a:gd name="T9" fmla="*/ 84 h 163"/>
                  <a:gd name="T10" fmla="*/ 196 w 244"/>
                  <a:gd name="T11" fmla="*/ 97 h 163"/>
                  <a:gd name="T12" fmla="*/ 183 w 244"/>
                  <a:gd name="T13" fmla="*/ 106 h 163"/>
                  <a:gd name="T14" fmla="*/ 172 w 244"/>
                  <a:gd name="T15" fmla="*/ 115 h 163"/>
                  <a:gd name="T16" fmla="*/ 177 w 244"/>
                  <a:gd name="T17" fmla="*/ 142 h 163"/>
                  <a:gd name="T18" fmla="*/ 153 w 244"/>
                  <a:gd name="T19" fmla="*/ 157 h 163"/>
                  <a:gd name="T20" fmla="*/ 150 w 244"/>
                  <a:gd name="T21" fmla="*/ 153 h 163"/>
                  <a:gd name="T22" fmla="*/ 148 w 244"/>
                  <a:gd name="T23" fmla="*/ 147 h 163"/>
                  <a:gd name="T24" fmla="*/ 121 w 244"/>
                  <a:gd name="T25" fmla="*/ 129 h 163"/>
                  <a:gd name="T26" fmla="*/ 99 w 244"/>
                  <a:gd name="T27" fmla="*/ 112 h 163"/>
                  <a:gd name="T28" fmla="*/ 91 w 244"/>
                  <a:gd name="T29" fmla="*/ 93 h 163"/>
                  <a:gd name="T30" fmla="*/ 76 w 244"/>
                  <a:gd name="T31" fmla="*/ 78 h 163"/>
                  <a:gd name="T32" fmla="*/ 58 w 244"/>
                  <a:gd name="T33" fmla="*/ 73 h 163"/>
                  <a:gd name="T34" fmla="*/ 49 w 244"/>
                  <a:gd name="T35" fmla="*/ 57 h 163"/>
                  <a:gd name="T36" fmla="*/ 18 w 244"/>
                  <a:gd name="T37" fmla="*/ 72 h 163"/>
                  <a:gd name="T38" fmla="*/ 4 w 244"/>
                  <a:gd name="T39" fmla="*/ 79 h 163"/>
                  <a:gd name="T40" fmla="*/ 4 w 244"/>
                  <a:gd name="T41" fmla="*/ 19 h 163"/>
                  <a:gd name="T42" fmla="*/ 30 w 244"/>
                  <a:gd name="T43" fmla="*/ 9 h 163"/>
                  <a:gd name="T44" fmla="*/ 43 w 244"/>
                  <a:gd name="T45" fmla="*/ 0 h 163"/>
                  <a:gd name="T46" fmla="*/ 51 w 244"/>
                  <a:gd name="T47" fmla="*/ 9 h 163"/>
                  <a:gd name="T48" fmla="*/ 61 w 244"/>
                  <a:gd name="T49" fmla="*/ 12 h 163"/>
                  <a:gd name="T50" fmla="*/ 69 w 244"/>
                  <a:gd name="T51" fmla="*/ 25 h 163"/>
                  <a:gd name="T52" fmla="*/ 90 w 244"/>
                  <a:gd name="T53" fmla="*/ 34 h 163"/>
                  <a:gd name="T54" fmla="*/ 105 w 244"/>
                  <a:gd name="T55" fmla="*/ 46 h 163"/>
                  <a:gd name="T56" fmla="*/ 139 w 244"/>
                  <a:gd name="T57" fmla="*/ 46 h 163"/>
                  <a:gd name="T58" fmla="*/ 150 w 244"/>
                  <a:gd name="T59" fmla="*/ 63 h 163"/>
                  <a:gd name="T60" fmla="*/ 156 w 244"/>
                  <a:gd name="T61" fmla="*/ 75 h 163"/>
                  <a:gd name="T62" fmla="*/ 165 w 244"/>
                  <a:gd name="T63" fmla="*/ 81 h 163"/>
                  <a:gd name="T64" fmla="*/ 174 w 244"/>
                  <a:gd name="T65" fmla="*/ 9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4" h="163">
                    <a:moveTo>
                      <a:pt x="174" y="93"/>
                    </a:moveTo>
                    <a:cubicBezTo>
                      <a:pt x="186" y="84"/>
                      <a:pt x="180" y="87"/>
                      <a:pt x="189" y="82"/>
                    </a:cubicBezTo>
                    <a:cubicBezTo>
                      <a:pt x="196" y="73"/>
                      <a:pt x="209" y="65"/>
                      <a:pt x="219" y="61"/>
                    </a:cubicBezTo>
                    <a:cubicBezTo>
                      <a:pt x="227" y="64"/>
                      <a:pt x="229" y="71"/>
                      <a:pt x="237" y="73"/>
                    </a:cubicBezTo>
                    <a:cubicBezTo>
                      <a:pt x="243" y="76"/>
                      <a:pt x="243" y="78"/>
                      <a:pt x="244" y="84"/>
                    </a:cubicBezTo>
                    <a:cubicBezTo>
                      <a:pt x="242" y="101"/>
                      <a:pt x="211" y="95"/>
                      <a:pt x="196" y="97"/>
                    </a:cubicBezTo>
                    <a:cubicBezTo>
                      <a:pt x="192" y="100"/>
                      <a:pt x="187" y="103"/>
                      <a:pt x="183" y="106"/>
                    </a:cubicBezTo>
                    <a:cubicBezTo>
                      <a:pt x="180" y="112"/>
                      <a:pt x="179" y="114"/>
                      <a:pt x="172" y="115"/>
                    </a:cubicBezTo>
                    <a:cubicBezTo>
                      <a:pt x="174" y="124"/>
                      <a:pt x="173" y="134"/>
                      <a:pt x="177" y="142"/>
                    </a:cubicBezTo>
                    <a:cubicBezTo>
                      <a:pt x="174" y="163"/>
                      <a:pt x="175" y="159"/>
                      <a:pt x="153" y="157"/>
                    </a:cubicBezTo>
                    <a:cubicBezTo>
                      <a:pt x="152" y="156"/>
                      <a:pt x="151" y="154"/>
                      <a:pt x="150" y="153"/>
                    </a:cubicBezTo>
                    <a:cubicBezTo>
                      <a:pt x="149" y="151"/>
                      <a:pt x="149" y="149"/>
                      <a:pt x="148" y="147"/>
                    </a:cubicBezTo>
                    <a:cubicBezTo>
                      <a:pt x="143" y="140"/>
                      <a:pt x="128" y="133"/>
                      <a:pt x="121" y="129"/>
                    </a:cubicBezTo>
                    <a:cubicBezTo>
                      <a:pt x="116" y="121"/>
                      <a:pt x="106" y="118"/>
                      <a:pt x="99" y="112"/>
                    </a:cubicBezTo>
                    <a:cubicBezTo>
                      <a:pt x="95" y="106"/>
                      <a:pt x="94" y="99"/>
                      <a:pt x="91" y="93"/>
                    </a:cubicBezTo>
                    <a:cubicBezTo>
                      <a:pt x="90" y="86"/>
                      <a:pt x="83" y="79"/>
                      <a:pt x="76" y="78"/>
                    </a:cubicBezTo>
                    <a:cubicBezTo>
                      <a:pt x="72" y="74"/>
                      <a:pt x="62" y="76"/>
                      <a:pt x="58" y="73"/>
                    </a:cubicBezTo>
                    <a:cubicBezTo>
                      <a:pt x="54" y="70"/>
                      <a:pt x="56" y="57"/>
                      <a:pt x="49" y="57"/>
                    </a:cubicBezTo>
                    <a:cubicBezTo>
                      <a:pt x="31" y="58"/>
                      <a:pt x="24" y="58"/>
                      <a:pt x="18" y="72"/>
                    </a:cubicBezTo>
                    <a:cubicBezTo>
                      <a:pt x="17" y="79"/>
                      <a:pt x="9" y="75"/>
                      <a:pt x="4" y="79"/>
                    </a:cubicBezTo>
                    <a:cubicBezTo>
                      <a:pt x="5" y="72"/>
                      <a:pt x="0" y="30"/>
                      <a:pt x="4" y="19"/>
                    </a:cubicBezTo>
                    <a:cubicBezTo>
                      <a:pt x="8" y="8"/>
                      <a:pt x="24" y="12"/>
                      <a:pt x="30" y="9"/>
                    </a:cubicBezTo>
                    <a:cubicBezTo>
                      <a:pt x="34" y="6"/>
                      <a:pt x="39" y="3"/>
                      <a:pt x="43" y="0"/>
                    </a:cubicBezTo>
                    <a:cubicBezTo>
                      <a:pt x="46" y="0"/>
                      <a:pt x="48" y="7"/>
                      <a:pt x="51" y="9"/>
                    </a:cubicBezTo>
                    <a:cubicBezTo>
                      <a:pt x="54" y="11"/>
                      <a:pt x="58" y="9"/>
                      <a:pt x="61" y="12"/>
                    </a:cubicBezTo>
                    <a:cubicBezTo>
                      <a:pt x="64" y="14"/>
                      <a:pt x="66" y="22"/>
                      <a:pt x="69" y="25"/>
                    </a:cubicBezTo>
                    <a:cubicBezTo>
                      <a:pt x="74" y="29"/>
                      <a:pt x="73" y="31"/>
                      <a:pt x="90" y="34"/>
                    </a:cubicBezTo>
                    <a:cubicBezTo>
                      <a:pt x="95" y="37"/>
                      <a:pt x="97" y="44"/>
                      <a:pt x="105" y="46"/>
                    </a:cubicBezTo>
                    <a:cubicBezTo>
                      <a:pt x="113" y="48"/>
                      <a:pt x="132" y="43"/>
                      <a:pt x="139" y="46"/>
                    </a:cubicBezTo>
                    <a:cubicBezTo>
                      <a:pt x="148" y="51"/>
                      <a:pt x="141" y="56"/>
                      <a:pt x="150" y="63"/>
                    </a:cubicBezTo>
                    <a:cubicBezTo>
                      <a:pt x="152" y="68"/>
                      <a:pt x="154" y="72"/>
                      <a:pt x="156" y="75"/>
                    </a:cubicBezTo>
                    <a:cubicBezTo>
                      <a:pt x="158" y="78"/>
                      <a:pt x="162" y="78"/>
                      <a:pt x="165" y="81"/>
                    </a:cubicBezTo>
                    <a:cubicBezTo>
                      <a:pt x="172" y="76"/>
                      <a:pt x="165" y="87"/>
                      <a:pt x="174" y="9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29" name="Freeform 9">
                <a:extLst>
                  <a:ext uri="{FF2B5EF4-FFF2-40B4-BE49-F238E27FC236}">
                    <a16:creationId xmlns:a16="http://schemas.microsoft.com/office/drawing/2014/main" id="{497C094A-5EEE-4036-BD1C-1FD387CF58B0}"/>
                  </a:ext>
                </a:extLst>
              </p:cNvPr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5410201" y="3105150"/>
                <a:ext cx="117475" cy="104775"/>
              </a:xfrm>
              <a:custGeom>
                <a:avLst/>
                <a:gdLst>
                  <a:gd name="T0" fmla="*/ 44 w 73"/>
                  <a:gd name="T1" fmla="*/ 22 h 66"/>
                  <a:gd name="T2" fmla="*/ 31 w 73"/>
                  <a:gd name="T3" fmla="*/ 18 h 66"/>
                  <a:gd name="T4" fmla="*/ 20 w 73"/>
                  <a:gd name="T5" fmla="*/ 0 h 66"/>
                  <a:gd name="T6" fmla="*/ 4 w 73"/>
                  <a:gd name="T7" fmla="*/ 7 h 66"/>
                  <a:gd name="T8" fmla="*/ 7 w 73"/>
                  <a:gd name="T9" fmla="*/ 28 h 66"/>
                  <a:gd name="T10" fmla="*/ 13 w 73"/>
                  <a:gd name="T11" fmla="*/ 36 h 66"/>
                  <a:gd name="T12" fmla="*/ 16 w 73"/>
                  <a:gd name="T13" fmla="*/ 46 h 66"/>
                  <a:gd name="T14" fmla="*/ 28 w 73"/>
                  <a:gd name="T15" fmla="*/ 51 h 66"/>
                  <a:gd name="T16" fmla="*/ 41 w 73"/>
                  <a:gd name="T17" fmla="*/ 48 h 66"/>
                  <a:gd name="T18" fmla="*/ 56 w 73"/>
                  <a:gd name="T19" fmla="*/ 66 h 66"/>
                  <a:gd name="T20" fmla="*/ 62 w 73"/>
                  <a:gd name="T21" fmla="*/ 45 h 66"/>
                  <a:gd name="T22" fmla="*/ 73 w 73"/>
                  <a:gd name="T23" fmla="*/ 31 h 66"/>
                  <a:gd name="T24" fmla="*/ 61 w 73"/>
                  <a:gd name="T25" fmla="*/ 18 h 66"/>
                  <a:gd name="T26" fmla="*/ 49 w 73"/>
                  <a:gd name="T27" fmla="*/ 4 h 66"/>
                  <a:gd name="T28" fmla="*/ 44 w 73"/>
                  <a:gd name="T29" fmla="*/ 2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3" h="66">
                    <a:moveTo>
                      <a:pt x="44" y="22"/>
                    </a:moveTo>
                    <a:cubicBezTo>
                      <a:pt x="39" y="21"/>
                      <a:pt x="36" y="19"/>
                      <a:pt x="31" y="18"/>
                    </a:cubicBezTo>
                    <a:cubicBezTo>
                      <a:pt x="24" y="13"/>
                      <a:pt x="28" y="5"/>
                      <a:pt x="20" y="0"/>
                    </a:cubicBezTo>
                    <a:cubicBezTo>
                      <a:pt x="15" y="2"/>
                      <a:pt x="8" y="4"/>
                      <a:pt x="4" y="7"/>
                    </a:cubicBezTo>
                    <a:cubicBezTo>
                      <a:pt x="0" y="16"/>
                      <a:pt x="1" y="20"/>
                      <a:pt x="7" y="28"/>
                    </a:cubicBezTo>
                    <a:cubicBezTo>
                      <a:pt x="10" y="42"/>
                      <a:pt x="5" y="24"/>
                      <a:pt x="13" y="36"/>
                    </a:cubicBezTo>
                    <a:cubicBezTo>
                      <a:pt x="15" y="39"/>
                      <a:pt x="14" y="43"/>
                      <a:pt x="16" y="46"/>
                    </a:cubicBezTo>
                    <a:cubicBezTo>
                      <a:pt x="18" y="54"/>
                      <a:pt x="21" y="52"/>
                      <a:pt x="28" y="51"/>
                    </a:cubicBezTo>
                    <a:cubicBezTo>
                      <a:pt x="32" y="44"/>
                      <a:pt x="35" y="43"/>
                      <a:pt x="41" y="48"/>
                    </a:cubicBezTo>
                    <a:cubicBezTo>
                      <a:pt x="46" y="57"/>
                      <a:pt x="46" y="61"/>
                      <a:pt x="56" y="66"/>
                    </a:cubicBezTo>
                    <a:cubicBezTo>
                      <a:pt x="68" y="62"/>
                      <a:pt x="58" y="55"/>
                      <a:pt x="62" y="45"/>
                    </a:cubicBezTo>
                    <a:cubicBezTo>
                      <a:pt x="63" y="41"/>
                      <a:pt x="71" y="35"/>
                      <a:pt x="73" y="31"/>
                    </a:cubicBezTo>
                    <a:cubicBezTo>
                      <a:pt x="71" y="26"/>
                      <a:pt x="65" y="21"/>
                      <a:pt x="61" y="18"/>
                    </a:cubicBezTo>
                    <a:cubicBezTo>
                      <a:pt x="59" y="12"/>
                      <a:pt x="54" y="7"/>
                      <a:pt x="49" y="4"/>
                    </a:cubicBezTo>
                    <a:cubicBezTo>
                      <a:pt x="47" y="10"/>
                      <a:pt x="47" y="16"/>
                      <a:pt x="44" y="2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30" name="Freeform 10">
                <a:extLst>
                  <a:ext uri="{FF2B5EF4-FFF2-40B4-BE49-F238E27FC236}">
                    <a16:creationId xmlns:a16="http://schemas.microsoft.com/office/drawing/2014/main" id="{D6CF150E-F127-4CD9-9E3E-63DDCD25F34B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960938" y="2884488"/>
                <a:ext cx="84138" cy="107950"/>
              </a:xfrm>
              <a:custGeom>
                <a:avLst/>
                <a:gdLst>
                  <a:gd name="T0" fmla="*/ 0 w 52"/>
                  <a:gd name="T1" fmla="*/ 11 h 68"/>
                  <a:gd name="T2" fmla="*/ 25 w 52"/>
                  <a:gd name="T3" fmla="*/ 1 h 68"/>
                  <a:gd name="T4" fmla="*/ 42 w 52"/>
                  <a:gd name="T5" fmla="*/ 11 h 68"/>
                  <a:gd name="T6" fmla="*/ 45 w 52"/>
                  <a:gd name="T7" fmla="*/ 29 h 68"/>
                  <a:gd name="T8" fmla="*/ 52 w 52"/>
                  <a:gd name="T9" fmla="*/ 43 h 68"/>
                  <a:gd name="T10" fmla="*/ 46 w 52"/>
                  <a:gd name="T11" fmla="*/ 55 h 68"/>
                  <a:gd name="T12" fmla="*/ 34 w 52"/>
                  <a:gd name="T13" fmla="*/ 68 h 68"/>
                  <a:gd name="T14" fmla="*/ 18 w 52"/>
                  <a:gd name="T15" fmla="*/ 28 h 68"/>
                  <a:gd name="T16" fmla="*/ 0 w 52"/>
                  <a:gd name="T17" fmla="*/ 1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68">
                    <a:moveTo>
                      <a:pt x="0" y="11"/>
                    </a:moveTo>
                    <a:cubicBezTo>
                      <a:pt x="2" y="1"/>
                      <a:pt x="14" y="0"/>
                      <a:pt x="25" y="1"/>
                    </a:cubicBezTo>
                    <a:cubicBezTo>
                      <a:pt x="34" y="4"/>
                      <a:pt x="31" y="10"/>
                      <a:pt x="42" y="11"/>
                    </a:cubicBezTo>
                    <a:cubicBezTo>
                      <a:pt x="46" y="15"/>
                      <a:pt x="43" y="24"/>
                      <a:pt x="45" y="29"/>
                    </a:cubicBezTo>
                    <a:cubicBezTo>
                      <a:pt x="47" y="34"/>
                      <a:pt x="52" y="39"/>
                      <a:pt x="52" y="43"/>
                    </a:cubicBezTo>
                    <a:cubicBezTo>
                      <a:pt x="48" y="46"/>
                      <a:pt x="50" y="52"/>
                      <a:pt x="46" y="55"/>
                    </a:cubicBezTo>
                    <a:cubicBezTo>
                      <a:pt x="43" y="62"/>
                      <a:pt x="40" y="63"/>
                      <a:pt x="34" y="68"/>
                    </a:cubicBezTo>
                    <a:cubicBezTo>
                      <a:pt x="14" y="66"/>
                      <a:pt x="37" y="42"/>
                      <a:pt x="18" y="28"/>
                    </a:cubicBezTo>
                    <a:cubicBezTo>
                      <a:pt x="16" y="24"/>
                      <a:pt x="2" y="4"/>
                      <a:pt x="0" y="1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31" name="Freeform 11">
                <a:extLst>
                  <a:ext uri="{FF2B5EF4-FFF2-40B4-BE49-F238E27FC236}">
                    <a16:creationId xmlns:a16="http://schemas.microsoft.com/office/drawing/2014/main" id="{2AC976A2-CDF3-4F9E-AD93-944A2A7005B4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5305426" y="3071813"/>
                <a:ext cx="125413" cy="66675"/>
              </a:xfrm>
              <a:custGeom>
                <a:avLst/>
                <a:gdLst>
                  <a:gd name="T0" fmla="*/ 34 w 78"/>
                  <a:gd name="T1" fmla="*/ 31 h 42"/>
                  <a:gd name="T2" fmla="*/ 12 w 78"/>
                  <a:gd name="T3" fmla="*/ 13 h 42"/>
                  <a:gd name="T4" fmla="*/ 37 w 78"/>
                  <a:gd name="T5" fmla="*/ 7 h 42"/>
                  <a:gd name="T6" fmla="*/ 57 w 78"/>
                  <a:gd name="T7" fmla="*/ 10 h 42"/>
                  <a:gd name="T8" fmla="*/ 78 w 78"/>
                  <a:gd name="T9" fmla="*/ 19 h 42"/>
                  <a:gd name="T10" fmla="*/ 64 w 78"/>
                  <a:gd name="T11" fmla="*/ 36 h 42"/>
                  <a:gd name="T12" fmla="*/ 34 w 78"/>
                  <a:gd name="T13" fmla="*/ 3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42">
                    <a:moveTo>
                      <a:pt x="34" y="31"/>
                    </a:moveTo>
                    <a:cubicBezTo>
                      <a:pt x="0" y="25"/>
                      <a:pt x="34" y="30"/>
                      <a:pt x="12" y="13"/>
                    </a:cubicBezTo>
                    <a:cubicBezTo>
                      <a:pt x="6" y="0"/>
                      <a:pt x="35" y="7"/>
                      <a:pt x="37" y="7"/>
                    </a:cubicBezTo>
                    <a:cubicBezTo>
                      <a:pt x="51" y="13"/>
                      <a:pt x="27" y="4"/>
                      <a:pt x="57" y="10"/>
                    </a:cubicBezTo>
                    <a:cubicBezTo>
                      <a:pt x="64" y="11"/>
                      <a:pt x="70" y="18"/>
                      <a:pt x="78" y="19"/>
                    </a:cubicBezTo>
                    <a:cubicBezTo>
                      <a:pt x="67" y="23"/>
                      <a:pt x="73" y="32"/>
                      <a:pt x="64" y="36"/>
                    </a:cubicBezTo>
                    <a:cubicBezTo>
                      <a:pt x="35" y="34"/>
                      <a:pt x="41" y="42"/>
                      <a:pt x="34" y="3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32" name="Freeform 12">
                <a:extLst>
                  <a:ext uri="{FF2B5EF4-FFF2-40B4-BE49-F238E27FC236}">
                    <a16:creationId xmlns:a16="http://schemas.microsoft.com/office/drawing/2014/main" id="{DA540A7F-E561-42AC-AAB4-A1C9ED33C663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786313" y="3092450"/>
                <a:ext cx="65088" cy="74613"/>
              </a:xfrm>
              <a:custGeom>
                <a:avLst/>
                <a:gdLst>
                  <a:gd name="T0" fmla="*/ 8 w 41"/>
                  <a:gd name="T1" fmla="*/ 3 h 47"/>
                  <a:gd name="T2" fmla="*/ 23 w 41"/>
                  <a:gd name="T3" fmla="*/ 6 h 47"/>
                  <a:gd name="T4" fmla="*/ 40 w 41"/>
                  <a:gd name="T5" fmla="*/ 32 h 47"/>
                  <a:gd name="T6" fmla="*/ 26 w 41"/>
                  <a:gd name="T7" fmla="*/ 42 h 47"/>
                  <a:gd name="T8" fmla="*/ 10 w 41"/>
                  <a:gd name="T9" fmla="*/ 45 h 47"/>
                  <a:gd name="T10" fmla="*/ 5 w 41"/>
                  <a:gd name="T11" fmla="*/ 18 h 47"/>
                  <a:gd name="T12" fmla="*/ 8 w 41"/>
                  <a:gd name="T13" fmla="*/ 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47">
                    <a:moveTo>
                      <a:pt x="8" y="3"/>
                    </a:moveTo>
                    <a:cubicBezTo>
                      <a:pt x="15" y="2"/>
                      <a:pt x="20" y="0"/>
                      <a:pt x="23" y="6"/>
                    </a:cubicBezTo>
                    <a:cubicBezTo>
                      <a:pt x="25" y="17"/>
                      <a:pt x="31" y="26"/>
                      <a:pt x="40" y="32"/>
                    </a:cubicBezTo>
                    <a:cubicBezTo>
                      <a:pt x="41" y="39"/>
                      <a:pt x="33" y="41"/>
                      <a:pt x="26" y="42"/>
                    </a:cubicBezTo>
                    <a:cubicBezTo>
                      <a:pt x="20" y="47"/>
                      <a:pt x="18" y="47"/>
                      <a:pt x="10" y="45"/>
                    </a:cubicBezTo>
                    <a:cubicBezTo>
                      <a:pt x="0" y="39"/>
                      <a:pt x="4" y="30"/>
                      <a:pt x="5" y="18"/>
                    </a:cubicBezTo>
                    <a:cubicBezTo>
                      <a:pt x="5" y="14"/>
                      <a:pt x="1" y="3"/>
                      <a:pt x="8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33" name="Freeform 13">
                <a:extLst>
                  <a:ext uri="{FF2B5EF4-FFF2-40B4-BE49-F238E27FC236}">
                    <a16:creationId xmlns:a16="http://schemas.microsoft.com/office/drawing/2014/main" id="{8AF70435-EAC1-4861-9806-F361649AC45C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816476" y="3095625"/>
                <a:ext cx="88900" cy="44450"/>
              </a:xfrm>
              <a:custGeom>
                <a:avLst/>
                <a:gdLst>
                  <a:gd name="T0" fmla="*/ 4 w 55"/>
                  <a:gd name="T1" fmla="*/ 7 h 28"/>
                  <a:gd name="T2" fmla="*/ 21 w 55"/>
                  <a:gd name="T3" fmla="*/ 0 h 28"/>
                  <a:gd name="T4" fmla="*/ 46 w 55"/>
                  <a:gd name="T5" fmla="*/ 15 h 28"/>
                  <a:gd name="T6" fmla="*/ 31 w 55"/>
                  <a:gd name="T7" fmla="*/ 19 h 28"/>
                  <a:gd name="T8" fmla="*/ 19 w 55"/>
                  <a:gd name="T9" fmla="*/ 28 h 28"/>
                  <a:gd name="T10" fmla="*/ 4 w 55"/>
                  <a:gd name="T11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28">
                    <a:moveTo>
                      <a:pt x="4" y="7"/>
                    </a:moveTo>
                    <a:cubicBezTo>
                      <a:pt x="17" y="6"/>
                      <a:pt x="10" y="2"/>
                      <a:pt x="21" y="0"/>
                    </a:cubicBezTo>
                    <a:cubicBezTo>
                      <a:pt x="55" y="2"/>
                      <a:pt x="28" y="2"/>
                      <a:pt x="46" y="15"/>
                    </a:cubicBezTo>
                    <a:cubicBezTo>
                      <a:pt x="41" y="16"/>
                      <a:pt x="36" y="18"/>
                      <a:pt x="31" y="19"/>
                    </a:cubicBezTo>
                    <a:cubicBezTo>
                      <a:pt x="26" y="22"/>
                      <a:pt x="22" y="23"/>
                      <a:pt x="19" y="28"/>
                    </a:cubicBezTo>
                    <a:cubicBezTo>
                      <a:pt x="14" y="26"/>
                      <a:pt x="0" y="7"/>
                      <a:pt x="4" y="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34" name="Freeform 14">
                <a:extLst>
                  <a:ext uri="{FF2B5EF4-FFF2-40B4-BE49-F238E27FC236}">
                    <a16:creationId xmlns:a16="http://schemas.microsoft.com/office/drawing/2014/main" id="{871A79EB-12C3-4653-BB0D-2E80F7FF592F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870451" y="3036888"/>
                <a:ext cx="150813" cy="92075"/>
              </a:xfrm>
              <a:custGeom>
                <a:avLst/>
                <a:gdLst>
                  <a:gd name="T0" fmla="*/ 6 w 94"/>
                  <a:gd name="T1" fmla="*/ 34 h 58"/>
                  <a:gd name="T2" fmla="*/ 7 w 94"/>
                  <a:gd name="T3" fmla="*/ 29 h 58"/>
                  <a:gd name="T4" fmla="*/ 12 w 94"/>
                  <a:gd name="T5" fmla="*/ 25 h 58"/>
                  <a:gd name="T6" fmla="*/ 0 w 94"/>
                  <a:gd name="T7" fmla="*/ 8 h 58"/>
                  <a:gd name="T8" fmla="*/ 36 w 94"/>
                  <a:gd name="T9" fmla="*/ 8 h 58"/>
                  <a:gd name="T10" fmla="*/ 66 w 94"/>
                  <a:gd name="T11" fmla="*/ 1 h 58"/>
                  <a:gd name="T12" fmla="*/ 84 w 94"/>
                  <a:gd name="T13" fmla="*/ 8 h 58"/>
                  <a:gd name="T14" fmla="*/ 63 w 94"/>
                  <a:gd name="T15" fmla="*/ 34 h 58"/>
                  <a:gd name="T16" fmla="*/ 52 w 94"/>
                  <a:gd name="T17" fmla="*/ 52 h 58"/>
                  <a:gd name="T18" fmla="*/ 34 w 94"/>
                  <a:gd name="T19" fmla="*/ 55 h 58"/>
                  <a:gd name="T20" fmla="*/ 12 w 94"/>
                  <a:gd name="T21" fmla="*/ 49 h 58"/>
                  <a:gd name="T22" fmla="*/ 6 w 94"/>
                  <a:gd name="T23" fmla="*/ 3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58">
                    <a:moveTo>
                      <a:pt x="6" y="34"/>
                    </a:moveTo>
                    <a:cubicBezTo>
                      <a:pt x="6" y="32"/>
                      <a:pt x="6" y="30"/>
                      <a:pt x="7" y="29"/>
                    </a:cubicBezTo>
                    <a:cubicBezTo>
                      <a:pt x="8" y="27"/>
                      <a:pt x="11" y="27"/>
                      <a:pt x="12" y="25"/>
                    </a:cubicBezTo>
                    <a:cubicBezTo>
                      <a:pt x="14" y="17"/>
                      <a:pt x="5" y="12"/>
                      <a:pt x="0" y="8"/>
                    </a:cubicBezTo>
                    <a:cubicBezTo>
                      <a:pt x="10" y="0"/>
                      <a:pt x="24" y="6"/>
                      <a:pt x="36" y="8"/>
                    </a:cubicBezTo>
                    <a:cubicBezTo>
                      <a:pt x="49" y="7"/>
                      <a:pt x="54" y="3"/>
                      <a:pt x="66" y="1"/>
                    </a:cubicBezTo>
                    <a:cubicBezTo>
                      <a:pt x="75" y="2"/>
                      <a:pt x="77" y="2"/>
                      <a:pt x="84" y="8"/>
                    </a:cubicBezTo>
                    <a:cubicBezTo>
                      <a:pt x="94" y="25"/>
                      <a:pt x="75" y="32"/>
                      <a:pt x="63" y="34"/>
                    </a:cubicBezTo>
                    <a:cubicBezTo>
                      <a:pt x="60" y="43"/>
                      <a:pt x="62" y="49"/>
                      <a:pt x="52" y="52"/>
                    </a:cubicBezTo>
                    <a:cubicBezTo>
                      <a:pt x="44" y="58"/>
                      <a:pt x="43" y="57"/>
                      <a:pt x="34" y="55"/>
                    </a:cubicBezTo>
                    <a:cubicBezTo>
                      <a:pt x="26" y="49"/>
                      <a:pt x="23" y="50"/>
                      <a:pt x="12" y="49"/>
                    </a:cubicBezTo>
                    <a:cubicBezTo>
                      <a:pt x="8" y="43"/>
                      <a:pt x="6" y="41"/>
                      <a:pt x="6" y="3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36" name="Freeform 15">
                <a:extLst>
                  <a:ext uri="{FF2B5EF4-FFF2-40B4-BE49-F238E27FC236}">
                    <a16:creationId xmlns:a16="http://schemas.microsoft.com/office/drawing/2014/main" id="{F625963E-49E6-4CE0-B0A3-AD68AB798AB2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829176" y="2889250"/>
                <a:ext cx="215900" cy="173038"/>
              </a:xfrm>
              <a:custGeom>
                <a:avLst/>
                <a:gdLst>
                  <a:gd name="T0" fmla="*/ 116 w 134"/>
                  <a:gd name="T1" fmla="*/ 109 h 109"/>
                  <a:gd name="T2" fmla="*/ 124 w 134"/>
                  <a:gd name="T3" fmla="*/ 85 h 109"/>
                  <a:gd name="T4" fmla="*/ 134 w 134"/>
                  <a:gd name="T5" fmla="*/ 74 h 109"/>
                  <a:gd name="T6" fmla="*/ 113 w 134"/>
                  <a:gd name="T7" fmla="*/ 67 h 109"/>
                  <a:gd name="T8" fmla="*/ 109 w 134"/>
                  <a:gd name="T9" fmla="*/ 53 h 109"/>
                  <a:gd name="T10" fmla="*/ 101 w 134"/>
                  <a:gd name="T11" fmla="*/ 22 h 109"/>
                  <a:gd name="T12" fmla="*/ 88 w 134"/>
                  <a:gd name="T13" fmla="*/ 8 h 109"/>
                  <a:gd name="T14" fmla="*/ 23 w 134"/>
                  <a:gd name="T15" fmla="*/ 14 h 109"/>
                  <a:gd name="T16" fmla="*/ 5 w 134"/>
                  <a:gd name="T17" fmla="*/ 40 h 109"/>
                  <a:gd name="T18" fmla="*/ 10 w 134"/>
                  <a:gd name="T19" fmla="*/ 70 h 109"/>
                  <a:gd name="T20" fmla="*/ 22 w 134"/>
                  <a:gd name="T21" fmla="*/ 88 h 109"/>
                  <a:gd name="T22" fmla="*/ 28 w 134"/>
                  <a:gd name="T23" fmla="*/ 100 h 109"/>
                  <a:gd name="T24" fmla="*/ 43 w 134"/>
                  <a:gd name="T25" fmla="*/ 97 h 109"/>
                  <a:gd name="T26" fmla="*/ 67 w 134"/>
                  <a:gd name="T27" fmla="*/ 103 h 109"/>
                  <a:gd name="T28" fmla="*/ 85 w 134"/>
                  <a:gd name="T29" fmla="*/ 94 h 109"/>
                  <a:gd name="T30" fmla="*/ 86 w 134"/>
                  <a:gd name="T31" fmla="*/ 107 h 109"/>
                  <a:gd name="T32" fmla="*/ 110 w 134"/>
                  <a:gd name="T33" fmla="*/ 10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4" h="109">
                    <a:moveTo>
                      <a:pt x="116" y="109"/>
                    </a:moveTo>
                    <a:cubicBezTo>
                      <a:pt x="117" y="99"/>
                      <a:pt x="115" y="90"/>
                      <a:pt x="124" y="85"/>
                    </a:cubicBezTo>
                    <a:cubicBezTo>
                      <a:pt x="128" y="78"/>
                      <a:pt x="132" y="82"/>
                      <a:pt x="134" y="74"/>
                    </a:cubicBezTo>
                    <a:cubicBezTo>
                      <a:pt x="133" y="70"/>
                      <a:pt x="117" y="70"/>
                      <a:pt x="113" y="67"/>
                    </a:cubicBezTo>
                    <a:cubicBezTo>
                      <a:pt x="109" y="64"/>
                      <a:pt x="111" y="60"/>
                      <a:pt x="109" y="53"/>
                    </a:cubicBezTo>
                    <a:cubicBezTo>
                      <a:pt x="107" y="39"/>
                      <a:pt x="109" y="32"/>
                      <a:pt x="101" y="22"/>
                    </a:cubicBezTo>
                    <a:cubicBezTo>
                      <a:pt x="100" y="16"/>
                      <a:pt x="94" y="11"/>
                      <a:pt x="88" y="8"/>
                    </a:cubicBezTo>
                    <a:cubicBezTo>
                      <a:pt x="48" y="9"/>
                      <a:pt x="47" y="0"/>
                      <a:pt x="23" y="14"/>
                    </a:cubicBezTo>
                    <a:cubicBezTo>
                      <a:pt x="22" y="26"/>
                      <a:pt x="16" y="35"/>
                      <a:pt x="5" y="40"/>
                    </a:cubicBezTo>
                    <a:cubicBezTo>
                      <a:pt x="4" y="50"/>
                      <a:pt x="0" y="64"/>
                      <a:pt x="10" y="70"/>
                    </a:cubicBezTo>
                    <a:cubicBezTo>
                      <a:pt x="14" y="76"/>
                      <a:pt x="18" y="82"/>
                      <a:pt x="22" y="88"/>
                    </a:cubicBezTo>
                    <a:cubicBezTo>
                      <a:pt x="25" y="91"/>
                      <a:pt x="21" y="98"/>
                      <a:pt x="28" y="100"/>
                    </a:cubicBezTo>
                    <a:cubicBezTo>
                      <a:pt x="31" y="101"/>
                      <a:pt x="37" y="97"/>
                      <a:pt x="43" y="97"/>
                    </a:cubicBezTo>
                    <a:cubicBezTo>
                      <a:pt x="49" y="97"/>
                      <a:pt x="60" y="103"/>
                      <a:pt x="67" y="103"/>
                    </a:cubicBezTo>
                    <a:cubicBezTo>
                      <a:pt x="74" y="103"/>
                      <a:pt x="82" y="93"/>
                      <a:pt x="85" y="94"/>
                    </a:cubicBezTo>
                    <a:cubicBezTo>
                      <a:pt x="88" y="95"/>
                      <a:pt x="82" y="105"/>
                      <a:pt x="86" y="107"/>
                    </a:cubicBezTo>
                    <a:cubicBezTo>
                      <a:pt x="90" y="109"/>
                      <a:pt x="105" y="106"/>
                      <a:pt x="110" y="106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37" name="Freeform 16">
                <a:extLst>
                  <a:ext uri="{FF2B5EF4-FFF2-40B4-BE49-F238E27FC236}">
                    <a16:creationId xmlns:a16="http://schemas.microsoft.com/office/drawing/2014/main" id="{015ABE1C-3E11-4E10-A295-C9FED4D554FB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776788" y="3054350"/>
                <a:ext cx="47625" cy="52388"/>
              </a:xfrm>
              <a:custGeom>
                <a:avLst/>
                <a:gdLst>
                  <a:gd name="T0" fmla="*/ 13 w 30"/>
                  <a:gd name="T1" fmla="*/ 33 h 33"/>
                  <a:gd name="T2" fmla="*/ 2 w 30"/>
                  <a:gd name="T3" fmla="*/ 15 h 33"/>
                  <a:gd name="T4" fmla="*/ 7 w 30"/>
                  <a:gd name="T5" fmla="*/ 0 h 33"/>
                  <a:gd name="T6" fmla="*/ 28 w 30"/>
                  <a:gd name="T7" fmla="*/ 15 h 33"/>
                  <a:gd name="T8" fmla="*/ 17 w 30"/>
                  <a:gd name="T9" fmla="*/ 27 h 33"/>
                  <a:gd name="T10" fmla="*/ 13 w 30"/>
                  <a:gd name="T1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33">
                    <a:moveTo>
                      <a:pt x="13" y="33"/>
                    </a:moveTo>
                    <a:cubicBezTo>
                      <a:pt x="9" y="27"/>
                      <a:pt x="6" y="21"/>
                      <a:pt x="2" y="15"/>
                    </a:cubicBezTo>
                    <a:cubicBezTo>
                      <a:pt x="1" y="7"/>
                      <a:pt x="0" y="4"/>
                      <a:pt x="7" y="0"/>
                    </a:cubicBezTo>
                    <a:cubicBezTo>
                      <a:pt x="18" y="3"/>
                      <a:pt x="17" y="13"/>
                      <a:pt x="28" y="15"/>
                    </a:cubicBezTo>
                    <a:cubicBezTo>
                      <a:pt x="30" y="24"/>
                      <a:pt x="25" y="25"/>
                      <a:pt x="17" y="27"/>
                    </a:cubicBezTo>
                    <a:cubicBezTo>
                      <a:pt x="12" y="30"/>
                      <a:pt x="13" y="28"/>
                      <a:pt x="13" y="3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48" name="Freeform 17">
                <a:extLst>
                  <a:ext uri="{FF2B5EF4-FFF2-40B4-BE49-F238E27FC236}">
                    <a16:creationId xmlns:a16="http://schemas.microsoft.com/office/drawing/2014/main" id="{748D6079-F93C-45B0-AD79-2908FA1F4E78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713288" y="2998788"/>
                <a:ext cx="85725" cy="77788"/>
              </a:xfrm>
              <a:custGeom>
                <a:avLst/>
                <a:gdLst>
                  <a:gd name="T0" fmla="*/ 53 w 53"/>
                  <a:gd name="T1" fmla="*/ 40 h 49"/>
                  <a:gd name="T2" fmla="*/ 37 w 53"/>
                  <a:gd name="T3" fmla="*/ 5 h 49"/>
                  <a:gd name="T4" fmla="*/ 2 w 53"/>
                  <a:gd name="T5" fmla="*/ 16 h 49"/>
                  <a:gd name="T6" fmla="*/ 17 w 53"/>
                  <a:gd name="T7" fmla="*/ 25 h 49"/>
                  <a:gd name="T8" fmla="*/ 26 w 53"/>
                  <a:gd name="T9" fmla="*/ 37 h 49"/>
                  <a:gd name="T10" fmla="*/ 35 w 53"/>
                  <a:gd name="T11" fmla="*/ 49 h 49"/>
                  <a:gd name="T12" fmla="*/ 53 w 53"/>
                  <a:gd name="T1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49">
                    <a:moveTo>
                      <a:pt x="53" y="40"/>
                    </a:moveTo>
                    <a:cubicBezTo>
                      <a:pt x="51" y="23"/>
                      <a:pt x="50" y="15"/>
                      <a:pt x="37" y="5"/>
                    </a:cubicBezTo>
                    <a:cubicBezTo>
                      <a:pt x="3" y="7"/>
                      <a:pt x="12" y="0"/>
                      <a:pt x="2" y="16"/>
                    </a:cubicBezTo>
                    <a:cubicBezTo>
                      <a:pt x="0" y="26"/>
                      <a:pt x="8" y="23"/>
                      <a:pt x="17" y="25"/>
                    </a:cubicBezTo>
                    <a:cubicBezTo>
                      <a:pt x="20" y="30"/>
                      <a:pt x="21" y="33"/>
                      <a:pt x="26" y="37"/>
                    </a:cubicBezTo>
                    <a:cubicBezTo>
                      <a:pt x="28" y="42"/>
                      <a:pt x="32" y="44"/>
                      <a:pt x="35" y="49"/>
                    </a:cubicBezTo>
                    <a:cubicBezTo>
                      <a:pt x="42" y="46"/>
                      <a:pt x="45" y="26"/>
                      <a:pt x="53" y="4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0" name="Freeform 18">
                <a:extLst>
                  <a:ext uri="{FF2B5EF4-FFF2-40B4-BE49-F238E27FC236}">
                    <a16:creationId xmlns:a16="http://schemas.microsoft.com/office/drawing/2014/main" id="{E2DA5242-3B1C-4F13-922C-16FD652E850D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657726" y="2957513"/>
                <a:ext cx="130175" cy="134938"/>
              </a:xfrm>
              <a:custGeom>
                <a:avLst/>
                <a:gdLst>
                  <a:gd name="T0" fmla="*/ 72 w 80"/>
                  <a:gd name="T1" fmla="*/ 15 h 85"/>
                  <a:gd name="T2" fmla="*/ 54 w 80"/>
                  <a:gd name="T3" fmla="*/ 7 h 85"/>
                  <a:gd name="T4" fmla="*/ 39 w 80"/>
                  <a:gd name="T5" fmla="*/ 1 h 85"/>
                  <a:gd name="T6" fmla="*/ 21 w 80"/>
                  <a:gd name="T7" fmla="*/ 15 h 85"/>
                  <a:gd name="T8" fmla="*/ 9 w 80"/>
                  <a:gd name="T9" fmla="*/ 21 h 85"/>
                  <a:gd name="T10" fmla="*/ 8 w 80"/>
                  <a:gd name="T11" fmla="*/ 31 h 85"/>
                  <a:gd name="T12" fmla="*/ 18 w 80"/>
                  <a:gd name="T13" fmla="*/ 49 h 85"/>
                  <a:gd name="T14" fmla="*/ 27 w 80"/>
                  <a:gd name="T15" fmla="*/ 61 h 85"/>
                  <a:gd name="T16" fmla="*/ 44 w 80"/>
                  <a:gd name="T17" fmla="*/ 73 h 85"/>
                  <a:gd name="T18" fmla="*/ 72 w 80"/>
                  <a:gd name="T19" fmla="*/ 85 h 85"/>
                  <a:gd name="T20" fmla="*/ 68 w 80"/>
                  <a:gd name="T21" fmla="*/ 76 h 85"/>
                  <a:gd name="T22" fmla="*/ 56 w 80"/>
                  <a:gd name="T23" fmla="*/ 58 h 85"/>
                  <a:gd name="T24" fmla="*/ 39 w 80"/>
                  <a:gd name="T25" fmla="*/ 48 h 85"/>
                  <a:gd name="T26" fmla="*/ 42 w 80"/>
                  <a:gd name="T27" fmla="*/ 30 h 85"/>
                  <a:gd name="T28" fmla="*/ 80 w 80"/>
                  <a:gd name="T29" fmla="*/ 31 h 85"/>
                  <a:gd name="T30" fmla="*/ 77 w 80"/>
                  <a:gd name="T31" fmla="*/ 1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0" h="85">
                    <a:moveTo>
                      <a:pt x="72" y="15"/>
                    </a:moveTo>
                    <a:cubicBezTo>
                      <a:pt x="66" y="12"/>
                      <a:pt x="60" y="9"/>
                      <a:pt x="54" y="7"/>
                    </a:cubicBezTo>
                    <a:cubicBezTo>
                      <a:pt x="49" y="2"/>
                      <a:pt x="47" y="0"/>
                      <a:pt x="39" y="1"/>
                    </a:cubicBezTo>
                    <a:cubicBezTo>
                      <a:pt x="36" y="7"/>
                      <a:pt x="27" y="11"/>
                      <a:pt x="21" y="15"/>
                    </a:cubicBezTo>
                    <a:cubicBezTo>
                      <a:pt x="20" y="24"/>
                      <a:pt x="17" y="22"/>
                      <a:pt x="9" y="21"/>
                    </a:cubicBezTo>
                    <a:cubicBezTo>
                      <a:pt x="0" y="23"/>
                      <a:pt x="4" y="25"/>
                      <a:pt x="8" y="31"/>
                    </a:cubicBezTo>
                    <a:cubicBezTo>
                      <a:pt x="9" y="45"/>
                      <a:pt x="9" y="42"/>
                      <a:pt x="18" y="49"/>
                    </a:cubicBezTo>
                    <a:cubicBezTo>
                      <a:pt x="20" y="55"/>
                      <a:pt x="22" y="57"/>
                      <a:pt x="27" y="61"/>
                    </a:cubicBezTo>
                    <a:cubicBezTo>
                      <a:pt x="31" y="67"/>
                      <a:pt x="37" y="72"/>
                      <a:pt x="44" y="73"/>
                    </a:cubicBezTo>
                    <a:cubicBezTo>
                      <a:pt x="53" y="80"/>
                      <a:pt x="61" y="84"/>
                      <a:pt x="72" y="85"/>
                    </a:cubicBezTo>
                    <a:cubicBezTo>
                      <a:pt x="76" y="84"/>
                      <a:pt x="71" y="80"/>
                      <a:pt x="68" y="76"/>
                    </a:cubicBezTo>
                    <a:cubicBezTo>
                      <a:pt x="65" y="72"/>
                      <a:pt x="61" y="63"/>
                      <a:pt x="56" y="58"/>
                    </a:cubicBezTo>
                    <a:cubicBezTo>
                      <a:pt x="52" y="52"/>
                      <a:pt x="46" y="49"/>
                      <a:pt x="39" y="48"/>
                    </a:cubicBezTo>
                    <a:cubicBezTo>
                      <a:pt x="35" y="41"/>
                      <a:pt x="35" y="35"/>
                      <a:pt x="42" y="30"/>
                    </a:cubicBezTo>
                    <a:cubicBezTo>
                      <a:pt x="49" y="27"/>
                      <a:pt x="74" y="33"/>
                      <a:pt x="80" y="31"/>
                    </a:cubicBezTo>
                    <a:cubicBezTo>
                      <a:pt x="78" y="20"/>
                      <a:pt x="79" y="24"/>
                      <a:pt x="77" y="18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2" name="Freeform 19">
                <a:extLst>
                  <a:ext uri="{FF2B5EF4-FFF2-40B4-BE49-F238E27FC236}">
                    <a16:creationId xmlns:a16="http://schemas.microsoft.com/office/drawing/2014/main" id="{B1BB0D45-2C54-4376-9C33-89EB81E341FA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783138" y="2962275"/>
                <a:ext cx="106363" cy="144463"/>
              </a:xfrm>
              <a:custGeom>
                <a:avLst/>
                <a:gdLst>
                  <a:gd name="T0" fmla="*/ 1 w 66"/>
                  <a:gd name="T1" fmla="*/ 13 h 91"/>
                  <a:gd name="T2" fmla="*/ 34 w 66"/>
                  <a:gd name="T3" fmla="*/ 3 h 91"/>
                  <a:gd name="T4" fmla="*/ 33 w 66"/>
                  <a:gd name="T5" fmla="*/ 18 h 91"/>
                  <a:gd name="T6" fmla="*/ 43 w 66"/>
                  <a:gd name="T7" fmla="*/ 31 h 91"/>
                  <a:gd name="T8" fmla="*/ 52 w 66"/>
                  <a:gd name="T9" fmla="*/ 43 h 91"/>
                  <a:gd name="T10" fmla="*/ 66 w 66"/>
                  <a:gd name="T11" fmla="*/ 67 h 91"/>
                  <a:gd name="T12" fmla="*/ 58 w 66"/>
                  <a:gd name="T13" fmla="*/ 81 h 91"/>
                  <a:gd name="T14" fmla="*/ 27 w 66"/>
                  <a:gd name="T15" fmla="*/ 90 h 91"/>
                  <a:gd name="T16" fmla="*/ 21 w 66"/>
                  <a:gd name="T17" fmla="*/ 75 h 91"/>
                  <a:gd name="T18" fmla="*/ 6 w 66"/>
                  <a:gd name="T19" fmla="*/ 58 h 91"/>
                  <a:gd name="T20" fmla="*/ 9 w 66"/>
                  <a:gd name="T21" fmla="*/ 48 h 91"/>
                  <a:gd name="T22" fmla="*/ 6 w 66"/>
                  <a:gd name="T23" fmla="*/ 39 h 91"/>
                  <a:gd name="T24" fmla="*/ 1 w 66"/>
                  <a:gd name="T25" fmla="*/ 33 h 91"/>
                  <a:gd name="T26" fmla="*/ 1 w 66"/>
                  <a:gd name="T27" fmla="*/ 21 h 91"/>
                  <a:gd name="T28" fmla="*/ 1 w 66"/>
                  <a:gd name="T29" fmla="*/ 12 h 91"/>
                  <a:gd name="T30" fmla="*/ 1 w 66"/>
                  <a:gd name="T31" fmla="*/ 1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6" h="91">
                    <a:moveTo>
                      <a:pt x="1" y="13"/>
                    </a:moveTo>
                    <a:cubicBezTo>
                      <a:pt x="8" y="0"/>
                      <a:pt x="14" y="1"/>
                      <a:pt x="34" y="3"/>
                    </a:cubicBezTo>
                    <a:cubicBezTo>
                      <a:pt x="40" y="4"/>
                      <a:pt x="32" y="13"/>
                      <a:pt x="33" y="18"/>
                    </a:cubicBezTo>
                    <a:cubicBezTo>
                      <a:pt x="34" y="23"/>
                      <a:pt x="40" y="27"/>
                      <a:pt x="43" y="31"/>
                    </a:cubicBezTo>
                    <a:cubicBezTo>
                      <a:pt x="46" y="36"/>
                      <a:pt x="47" y="39"/>
                      <a:pt x="52" y="43"/>
                    </a:cubicBezTo>
                    <a:cubicBezTo>
                      <a:pt x="56" y="53"/>
                      <a:pt x="61" y="58"/>
                      <a:pt x="66" y="67"/>
                    </a:cubicBezTo>
                    <a:cubicBezTo>
                      <a:pt x="66" y="73"/>
                      <a:pt x="65" y="77"/>
                      <a:pt x="58" y="81"/>
                    </a:cubicBezTo>
                    <a:cubicBezTo>
                      <a:pt x="51" y="85"/>
                      <a:pt x="33" y="91"/>
                      <a:pt x="27" y="90"/>
                    </a:cubicBezTo>
                    <a:cubicBezTo>
                      <a:pt x="25" y="85"/>
                      <a:pt x="23" y="80"/>
                      <a:pt x="21" y="75"/>
                    </a:cubicBezTo>
                    <a:cubicBezTo>
                      <a:pt x="20" y="68"/>
                      <a:pt x="9" y="64"/>
                      <a:pt x="6" y="58"/>
                    </a:cubicBezTo>
                    <a:cubicBezTo>
                      <a:pt x="3" y="53"/>
                      <a:pt x="9" y="52"/>
                      <a:pt x="9" y="48"/>
                    </a:cubicBezTo>
                    <a:cubicBezTo>
                      <a:pt x="9" y="45"/>
                      <a:pt x="7" y="41"/>
                      <a:pt x="6" y="39"/>
                    </a:cubicBezTo>
                    <a:cubicBezTo>
                      <a:pt x="5" y="37"/>
                      <a:pt x="2" y="36"/>
                      <a:pt x="1" y="33"/>
                    </a:cubicBezTo>
                    <a:cubicBezTo>
                      <a:pt x="0" y="27"/>
                      <a:pt x="1" y="24"/>
                      <a:pt x="1" y="21"/>
                    </a:cubicBezTo>
                    <a:cubicBezTo>
                      <a:pt x="1" y="18"/>
                      <a:pt x="1" y="13"/>
                      <a:pt x="1" y="12"/>
                    </a:cubicBezTo>
                    <a:cubicBezTo>
                      <a:pt x="0" y="5"/>
                      <a:pt x="0" y="5"/>
                      <a:pt x="1" y="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4" name="Freeform 20">
                <a:extLst>
                  <a:ext uri="{FF2B5EF4-FFF2-40B4-BE49-F238E27FC236}">
                    <a16:creationId xmlns:a16="http://schemas.microsoft.com/office/drawing/2014/main" id="{AE7FE879-F285-4713-A018-A0ADCC0F8867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721226" y="2882900"/>
                <a:ext cx="149225" cy="100013"/>
              </a:xfrm>
              <a:custGeom>
                <a:avLst/>
                <a:gdLst>
                  <a:gd name="T0" fmla="*/ 21 w 92"/>
                  <a:gd name="T1" fmla="*/ 57 h 63"/>
                  <a:gd name="T2" fmla="*/ 12 w 92"/>
                  <a:gd name="T3" fmla="*/ 53 h 63"/>
                  <a:gd name="T4" fmla="*/ 5 w 92"/>
                  <a:gd name="T5" fmla="*/ 44 h 63"/>
                  <a:gd name="T6" fmla="*/ 0 w 92"/>
                  <a:gd name="T7" fmla="*/ 41 h 63"/>
                  <a:gd name="T8" fmla="*/ 11 w 92"/>
                  <a:gd name="T9" fmla="*/ 23 h 63"/>
                  <a:gd name="T10" fmla="*/ 26 w 92"/>
                  <a:gd name="T11" fmla="*/ 11 h 63"/>
                  <a:gd name="T12" fmla="*/ 51 w 92"/>
                  <a:gd name="T13" fmla="*/ 8 h 63"/>
                  <a:gd name="T14" fmla="*/ 66 w 92"/>
                  <a:gd name="T15" fmla="*/ 0 h 63"/>
                  <a:gd name="T16" fmla="*/ 92 w 92"/>
                  <a:gd name="T17" fmla="*/ 5 h 63"/>
                  <a:gd name="T18" fmla="*/ 84 w 92"/>
                  <a:gd name="T19" fmla="*/ 33 h 63"/>
                  <a:gd name="T20" fmla="*/ 72 w 92"/>
                  <a:gd name="T21" fmla="*/ 50 h 63"/>
                  <a:gd name="T22" fmla="*/ 45 w 92"/>
                  <a:gd name="T23" fmla="*/ 54 h 63"/>
                  <a:gd name="T24" fmla="*/ 32 w 92"/>
                  <a:gd name="T25" fmla="*/ 62 h 63"/>
                  <a:gd name="T26" fmla="*/ 21 w 92"/>
                  <a:gd name="T27" fmla="*/ 57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63">
                    <a:moveTo>
                      <a:pt x="21" y="57"/>
                    </a:moveTo>
                    <a:cubicBezTo>
                      <a:pt x="18" y="55"/>
                      <a:pt x="15" y="55"/>
                      <a:pt x="12" y="53"/>
                    </a:cubicBezTo>
                    <a:cubicBezTo>
                      <a:pt x="9" y="51"/>
                      <a:pt x="8" y="46"/>
                      <a:pt x="5" y="44"/>
                    </a:cubicBezTo>
                    <a:cubicBezTo>
                      <a:pt x="3" y="43"/>
                      <a:pt x="2" y="42"/>
                      <a:pt x="0" y="41"/>
                    </a:cubicBezTo>
                    <a:cubicBezTo>
                      <a:pt x="2" y="31"/>
                      <a:pt x="1" y="25"/>
                      <a:pt x="11" y="23"/>
                    </a:cubicBezTo>
                    <a:cubicBezTo>
                      <a:pt x="19" y="17"/>
                      <a:pt x="17" y="13"/>
                      <a:pt x="26" y="11"/>
                    </a:cubicBezTo>
                    <a:cubicBezTo>
                      <a:pt x="31" y="2"/>
                      <a:pt x="39" y="6"/>
                      <a:pt x="51" y="8"/>
                    </a:cubicBezTo>
                    <a:cubicBezTo>
                      <a:pt x="60" y="6"/>
                      <a:pt x="59" y="3"/>
                      <a:pt x="66" y="0"/>
                    </a:cubicBezTo>
                    <a:cubicBezTo>
                      <a:pt x="75" y="2"/>
                      <a:pt x="92" y="5"/>
                      <a:pt x="92" y="5"/>
                    </a:cubicBezTo>
                    <a:cubicBezTo>
                      <a:pt x="91" y="16"/>
                      <a:pt x="89" y="24"/>
                      <a:pt x="84" y="33"/>
                    </a:cubicBezTo>
                    <a:cubicBezTo>
                      <a:pt x="80" y="40"/>
                      <a:pt x="78" y="47"/>
                      <a:pt x="72" y="50"/>
                    </a:cubicBezTo>
                    <a:cubicBezTo>
                      <a:pt x="66" y="53"/>
                      <a:pt x="52" y="52"/>
                      <a:pt x="45" y="54"/>
                    </a:cubicBezTo>
                    <a:cubicBezTo>
                      <a:pt x="40" y="60"/>
                      <a:pt x="38" y="59"/>
                      <a:pt x="32" y="62"/>
                    </a:cubicBezTo>
                    <a:cubicBezTo>
                      <a:pt x="22" y="60"/>
                      <a:pt x="25" y="63"/>
                      <a:pt x="21" y="5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7" name="Freeform 21">
                <a:extLst>
                  <a:ext uri="{FF2B5EF4-FFF2-40B4-BE49-F238E27FC236}">
                    <a16:creationId xmlns:a16="http://schemas.microsoft.com/office/drawing/2014/main" id="{144F2F96-0E3F-492E-84FC-E617FE45EAF6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729163" y="2835275"/>
                <a:ext cx="147638" cy="76200"/>
              </a:xfrm>
              <a:custGeom>
                <a:avLst/>
                <a:gdLst>
                  <a:gd name="T0" fmla="*/ 90 w 91"/>
                  <a:gd name="T1" fmla="*/ 35 h 48"/>
                  <a:gd name="T2" fmla="*/ 91 w 91"/>
                  <a:gd name="T3" fmla="*/ 18 h 48"/>
                  <a:gd name="T4" fmla="*/ 51 w 91"/>
                  <a:gd name="T5" fmla="*/ 11 h 48"/>
                  <a:gd name="T6" fmla="*/ 25 w 91"/>
                  <a:gd name="T7" fmla="*/ 12 h 48"/>
                  <a:gd name="T8" fmla="*/ 4 w 91"/>
                  <a:gd name="T9" fmla="*/ 24 h 48"/>
                  <a:gd name="T10" fmla="*/ 10 w 91"/>
                  <a:gd name="T11" fmla="*/ 45 h 48"/>
                  <a:gd name="T12" fmla="*/ 25 w 91"/>
                  <a:gd name="T13" fmla="*/ 36 h 48"/>
                  <a:gd name="T14" fmla="*/ 49 w 91"/>
                  <a:gd name="T15" fmla="*/ 35 h 48"/>
                  <a:gd name="T16" fmla="*/ 90 w 91"/>
                  <a:gd name="T17" fmla="*/ 3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48">
                    <a:moveTo>
                      <a:pt x="90" y="35"/>
                    </a:moveTo>
                    <a:cubicBezTo>
                      <a:pt x="91" y="27"/>
                      <a:pt x="90" y="26"/>
                      <a:pt x="91" y="18"/>
                    </a:cubicBezTo>
                    <a:cubicBezTo>
                      <a:pt x="88" y="0"/>
                      <a:pt x="66" y="10"/>
                      <a:pt x="51" y="11"/>
                    </a:cubicBezTo>
                    <a:cubicBezTo>
                      <a:pt x="42" y="8"/>
                      <a:pt x="34" y="10"/>
                      <a:pt x="25" y="12"/>
                    </a:cubicBezTo>
                    <a:cubicBezTo>
                      <a:pt x="16" y="19"/>
                      <a:pt x="17" y="23"/>
                      <a:pt x="4" y="24"/>
                    </a:cubicBezTo>
                    <a:cubicBezTo>
                      <a:pt x="0" y="30"/>
                      <a:pt x="4" y="40"/>
                      <a:pt x="10" y="45"/>
                    </a:cubicBezTo>
                    <a:cubicBezTo>
                      <a:pt x="13" y="48"/>
                      <a:pt x="19" y="38"/>
                      <a:pt x="25" y="36"/>
                    </a:cubicBezTo>
                    <a:cubicBezTo>
                      <a:pt x="31" y="34"/>
                      <a:pt x="38" y="35"/>
                      <a:pt x="49" y="35"/>
                    </a:cubicBezTo>
                    <a:cubicBezTo>
                      <a:pt x="63" y="27"/>
                      <a:pt x="66" y="32"/>
                      <a:pt x="90" y="3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8" name="Freeform 22">
                <a:extLst>
                  <a:ext uri="{FF2B5EF4-FFF2-40B4-BE49-F238E27FC236}">
                    <a16:creationId xmlns:a16="http://schemas.microsoft.com/office/drawing/2014/main" id="{72CE5163-2067-4836-B763-60912C787AA8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625976" y="2792413"/>
                <a:ext cx="161925" cy="88900"/>
              </a:xfrm>
              <a:custGeom>
                <a:avLst/>
                <a:gdLst>
                  <a:gd name="T0" fmla="*/ 100 w 100"/>
                  <a:gd name="T1" fmla="*/ 35 h 56"/>
                  <a:gd name="T2" fmla="*/ 86 w 100"/>
                  <a:gd name="T3" fmla="*/ 26 h 56"/>
                  <a:gd name="T4" fmla="*/ 55 w 100"/>
                  <a:gd name="T5" fmla="*/ 3 h 56"/>
                  <a:gd name="T6" fmla="*/ 35 w 100"/>
                  <a:gd name="T7" fmla="*/ 2 h 56"/>
                  <a:gd name="T8" fmla="*/ 20 w 100"/>
                  <a:gd name="T9" fmla="*/ 12 h 56"/>
                  <a:gd name="T10" fmla="*/ 2 w 100"/>
                  <a:gd name="T11" fmla="*/ 23 h 56"/>
                  <a:gd name="T12" fmla="*/ 11 w 100"/>
                  <a:gd name="T13" fmla="*/ 38 h 56"/>
                  <a:gd name="T14" fmla="*/ 23 w 100"/>
                  <a:gd name="T15" fmla="*/ 56 h 56"/>
                  <a:gd name="T16" fmla="*/ 41 w 100"/>
                  <a:gd name="T17" fmla="*/ 45 h 56"/>
                  <a:gd name="T18" fmla="*/ 59 w 100"/>
                  <a:gd name="T19" fmla="*/ 56 h 56"/>
                  <a:gd name="T20" fmla="*/ 64 w 100"/>
                  <a:gd name="T21" fmla="*/ 54 h 56"/>
                  <a:gd name="T22" fmla="*/ 68 w 100"/>
                  <a:gd name="T23" fmla="*/ 56 h 56"/>
                  <a:gd name="T24" fmla="*/ 88 w 100"/>
                  <a:gd name="T25" fmla="*/ 42 h 56"/>
                  <a:gd name="T26" fmla="*/ 100 w 100"/>
                  <a:gd name="T27" fmla="*/ 3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0" h="56">
                    <a:moveTo>
                      <a:pt x="100" y="35"/>
                    </a:moveTo>
                    <a:cubicBezTo>
                      <a:pt x="94" y="32"/>
                      <a:pt x="93" y="27"/>
                      <a:pt x="86" y="26"/>
                    </a:cubicBezTo>
                    <a:cubicBezTo>
                      <a:pt x="75" y="18"/>
                      <a:pt x="66" y="11"/>
                      <a:pt x="55" y="3"/>
                    </a:cubicBezTo>
                    <a:cubicBezTo>
                      <a:pt x="47" y="0"/>
                      <a:pt x="41" y="1"/>
                      <a:pt x="35" y="2"/>
                    </a:cubicBezTo>
                    <a:cubicBezTo>
                      <a:pt x="29" y="3"/>
                      <a:pt x="25" y="9"/>
                      <a:pt x="20" y="12"/>
                    </a:cubicBezTo>
                    <a:cubicBezTo>
                      <a:pt x="13" y="20"/>
                      <a:pt x="6" y="13"/>
                      <a:pt x="2" y="23"/>
                    </a:cubicBezTo>
                    <a:cubicBezTo>
                      <a:pt x="6" y="41"/>
                      <a:pt x="0" y="29"/>
                      <a:pt x="11" y="38"/>
                    </a:cubicBezTo>
                    <a:cubicBezTo>
                      <a:pt x="13" y="43"/>
                      <a:pt x="20" y="51"/>
                      <a:pt x="23" y="56"/>
                    </a:cubicBezTo>
                    <a:cubicBezTo>
                      <a:pt x="30" y="53"/>
                      <a:pt x="35" y="49"/>
                      <a:pt x="41" y="45"/>
                    </a:cubicBezTo>
                    <a:cubicBezTo>
                      <a:pt x="47" y="49"/>
                      <a:pt x="53" y="52"/>
                      <a:pt x="59" y="56"/>
                    </a:cubicBezTo>
                    <a:cubicBezTo>
                      <a:pt x="61" y="55"/>
                      <a:pt x="62" y="54"/>
                      <a:pt x="64" y="54"/>
                    </a:cubicBezTo>
                    <a:cubicBezTo>
                      <a:pt x="65" y="54"/>
                      <a:pt x="67" y="56"/>
                      <a:pt x="68" y="56"/>
                    </a:cubicBezTo>
                    <a:cubicBezTo>
                      <a:pt x="75" y="55"/>
                      <a:pt x="80" y="43"/>
                      <a:pt x="88" y="42"/>
                    </a:cubicBezTo>
                    <a:cubicBezTo>
                      <a:pt x="91" y="37"/>
                      <a:pt x="94" y="31"/>
                      <a:pt x="100" y="3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9" name="Freeform 23">
                <a:extLst>
                  <a:ext uri="{FF2B5EF4-FFF2-40B4-BE49-F238E27FC236}">
                    <a16:creationId xmlns:a16="http://schemas.microsoft.com/office/drawing/2014/main" id="{DA3600BC-5AE8-4E83-B931-E94F3372737F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5183188" y="3248025"/>
                <a:ext cx="142875" cy="146050"/>
              </a:xfrm>
              <a:custGeom>
                <a:avLst/>
                <a:gdLst>
                  <a:gd name="T0" fmla="*/ 89 w 89"/>
                  <a:gd name="T1" fmla="*/ 6 h 92"/>
                  <a:gd name="T2" fmla="*/ 62 w 89"/>
                  <a:gd name="T3" fmla="*/ 12 h 92"/>
                  <a:gd name="T4" fmla="*/ 50 w 89"/>
                  <a:gd name="T5" fmla="*/ 15 h 92"/>
                  <a:gd name="T6" fmla="*/ 8 w 89"/>
                  <a:gd name="T7" fmla="*/ 16 h 92"/>
                  <a:gd name="T8" fmla="*/ 10 w 89"/>
                  <a:gd name="T9" fmla="*/ 54 h 92"/>
                  <a:gd name="T10" fmla="*/ 5 w 89"/>
                  <a:gd name="T11" fmla="*/ 78 h 92"/>
                  <a:gd name="T12" fmla="*/ 19 w 89"/>
                  <a:gd name="T13" fmla="*/ 85 h 92"/>
                  <a:gd name="T14" fmla="*/ 28 w 89"/>
                  <a:gd name="T15" fmla="*/ 82 h 92"/>
                  <a:gd name="T16" fmla="*/ 55 w 89"/>
                  <a:gd name="T17" fmla="*/ 70 h 92"/>
                  <a:gd name="T18" fmla="*/ 73 w 89"/>
                  <a:gd name="T19" fmla="*/ 52 h 92"/>
                  <a:gd name="T20" fmla="*/ 82 w 89"/>
                  <a:gd name="T21" fmla="*/ 39 h 92"/>
                  <a:gd name="T22" fmla="*/ 89 w 89"/>
                  <a:gd name="T23" fmla="*/ 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92">
                    <a:moveTo>
                      <a:pt x="89" y="6"/>
                    </a:moveTo>
                    <a:cubicBezTo>
                      <a:pt x="77" y="4"/>
                      <a:pt x="69" y="0"/>
                      <a:pt x="62" y="12"/>
                    </a:cubicBezTo>
                    <a:cubicBezTo>
                      <a:pt x="60" y="21"/>
                      <a:pt x="58" y="16"/>
                      <a:pt x="50" y="15"/>
                    </a:cubicBezTo>
                    <a:cubicBezTo>
                      <a:pt x="36" y="15"/>
                      <a:pt x="22" y="14"/>
                      <a:pt x="8" y="16"/>
                    </a:cubicBezTo>
                    <a:cubicBezTo>
                      <a:pt x="3" y="17"/>
                      <a:pt x="0" y="48"/>
                      <a:pt x="10" y="54"/>
                    </a:cubicBezTo>
                    <a:cubicBezTo>
                      <a:pt x="17" y="63"/>
                      <a:pt x="12" y="71"/>
                      <a:pt x="5" y="78"/>
                    </a:cubicBezTo>
                    <a:cubicBezTo>
                      <a:pt x="8" y="84"/>
                      <a:pt x="13" y="84"/>
                      <a:pt x="19" y="85"/>
                    </a:cubicBezTo>
                    <a:cubicBezTo>
                      <a:pt x="23" y="92"/>
                      <a:pt x="21" y="86"/>
                      <a:pt x="28" y="82"/>
                    </a:cubicBezTo>
                    <a:cubicBezTo>
                      <a:pt x="30" y="68"/>
                      <a:pt x="42" y="72"/>
                      <a:pt x="55" y="70"/>
                    </a:cubicBezTo>
                    <a:cubicBezTo>
                      <a:pt x="65" y="63"/>
                      <a:pt x="58" y="59"/>
                      <a:pt x="73" y="52"/>
                    </a:cubicBezTo>
                    <a:cubicBezTo>
                      <a:pt x="76" y="48"/>
                      <a:pt x="79" y="43"/>
                      <a:pt x="82" y="39"/>
                    </a:cubicBezTo>
                    <a:cubicBezTo>
                      <a:pt x="84" y="27"/>
                      <a:pt x="78" y="14"/>
                      <a:pt x="89" y="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0" name="Freeform 24">
                <a:extLst>
                  <a:ext uri="{FF2B5EF4-FFF2-40B4-BE49-F238E27FC236}">
                    <a16:creationId xmlns:a16="http://schemas.microsoft.com/office/drawing/2014/main" id="{FC695380-3616-4102-AED6-851597F5B058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5103813" y="3292475"/>
                <a:ext cx="63500" cy="39688"/>
              </a:xfrm>
              <a:custGeom>
                <a:avLst/>
                <a:gdLst>
                  <a:gd name="T0" fmla="*/ 0 w 39"/>
                  <a:gd name="T1" fmla="*/ 12 h 25"/>
                  <a:gd name="T2" fmla="*/ 30 w 39"/>
                  <a:gd name="T3" fmla="*/ 0 h 25"/>
                  <a:gd name="T4" fmla="*/ 29 w 39"/>
                  <a:gd name="T5" fmla="*/ 8 h 25"/>
                  <a:gd name="T6" fmla="*/ 21 w 39"/>
                  <a:gd name="T7" fmla="*/ 21 h 25"/>
                  <a:gd name="T8" fmla="*/ 2 w 39"/>
                  <a:gd name="T9" fmla="*/ 23 h 25"/>
                  <a:gd name="T10" fmla="*/ 0 w 39"/>
                  <a:gd name="T11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25">
                    <a:moveTo>
                      <a:pt x="0" y="12"/>
                    </a:moveTo>
                    <a:cubicBezTo>
                      <a:pt x="17" y="9"/>
                      <a:pt x="18" y="9"/>
                      <a:pt x="30" y="0"/>
                    </a:cubicBezTo>
                    <a:cubicBezTo>
                      <a:pt x="39" y="3"/>
                      <a:pt x="35" y="5"/>
                      <a:pt x="29" y="8"/>
                    </a:cubicBezTo>
                    <a:cubicBezTo>
                      <a:pt x="35" y="16"/>
                      <a:pt x="29" y="19"/>
                      <a:pt x="21" y="21"/>
                    </a:cubicBezTo>
                    <a:cubicBezTo>
                      <a:pt x="14" y="25"/>
                      <a:pt x="10" y="24"/>
                      <a:pt x="2" y="23"/>
                    </a:cubicBezTo>
                    <a:cubicBezTo>
                      <a:pt x="0" y="14"/>
                      <a:pt x="0" y="18"/>
                      <a:pt x="0" y="1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1" name="Freeform 25">
                <a:extLst>
                  <a:ext uri="{FF2B5EF4-FFF2-40B4-BE49-F238E27FC236}">
                    <a16:creationId xmlns:a16="http://schemas.microsoft.com/office/drawing/2014/main" id="{6BCB6DD7-786E-4918-9C28-B15BE2900248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935538" y="3090863"/>
                <a:ext cx="479425" cy="190500"/>
              </a:xfrm>
              <a:custGeom>
                <a:avLst/>
                <a:gdLst>
                  <a:gd name="T0" fmla="*/ 61 w 297"/>
                  <a:gd name="T1" fmla="*/ 24 h 120"/>
                  <a:gd name="T2" fmla="*/ 44 w 297"/>
                  <a:gd name="T3" fmla="*/ 9 h 120"/>
                  <a:gd name="T4" fmla="*/ 29 w 297"/>
                  <a:gd name="T5" fmla="*/ 0 h 120"/>
                  <a:gd name="T6" fmla="*/ 19 w 297"/>
                  <a:gd name="T7" fmla="*/ 10 h 120"/>
                  <a:gd name="T8" fmla="*/ 2 w 297"/>
                  <a:gd name="T9" fmla="*/ 42 h 120"/>
                  <a:gd name="T10" fmla="*/ 5 w 297"/>
                  <a:gd name="T11" fmla="*/ 64 h 120"/>
                  <a:gd name="T12" fmla="*/ 20 w 297"/>
                  <a:gd name="T13" fmla="*/ 63 h 120"/>
                  <a:gd name="T14" fmla="*/ 22 w 297"/>
                  <a:gd name="T15" fmla="*/ 85 h 120"/>
                  <a:gd name="T16" fmla="*/ 53 w 297"/>
                  <a:gd name="T17" fmla="*/ 115 h 120"/>
                  <a:gd name="T18" fmla="*/ 68 w 297"/>
                  <a:gd name="T19" fmla="*/ 120 h 120"/>
                  <a:gd name="T20" fmla="*/ 82 w 297"/>
                  <a:gd name="T21" fmla="*/ 109 h 120"/>
                  <a:gd name="T22" fmla="*/ 109 w 297"/>
                  <a:gd name="T23" fmla="*/ 115 h 120"/>
                  <a:gd name="T24" fmla="*/ 133 w 297"/>
                  <a:gd name="T25" fmla="*/ 111 h 120"/>
                  <a:gd name="T26" fmla="*/ 167 w 297"/>
                  <a:gd name="T27" fmla="*/ 114 h 120"/>
                  <a:gd name="T28" fmla="*/ 182 w 297"/>
                  <a:gd name="T29" fmla="*/ 114 h 120"/>
                  <a:gd name="T30" fmla="*/ 211 w 297"/>
                  <a:gd name="T31" fmla="*/ 114 h 120"/>
                  <a:gd name="T32" fmla="*/ 222 w 297"/>
                  <a:gd name="T33" fmla="*/ 103 h 120"/>
                  <a:gd name="T34" fmla="*/ 232 w 297"/>
                  <a:gd name="T35" fmla="*/ 102 h 120"/>
                  <a:gd name="T36" fmla="*/ 248 w 297"/>
                  <a:gd name="T37" fmla="*/ 103 h 120"/>
                  <a:gd name="T38" fmla="*/ 269 w 297"/>
                  <a:gd name="T39" fmla="*/ 108 h 120"/>
                  <a:gd name="T40" fmla="*/ 272 w 297"/>
                  <a:gd name="T41" fmla="*/ 103 h 120"/>
                  <a:gd name="T42" fmla="*/ 284 w 297"/>
                  <a:gd name="T43" fmla="*/ 105 h 120"/>
                  <a:gd name="T44" fmla="*/ 274 w 297"/>
                  <a:gd name="T45" fmla="*/ 45 h 120"/>
                  <a:gd name="T46" fmla="*/ 262 w 297"/>
                  <a:gd name="T47" fmla="*/ 21 h 120"/>
                  <a:gd name="T48" fmla="*/ 230 w 297"/>
                  <a:gd name="T49" fmla="*/ 28 h 120"/>
                  <a:gd name="T50" fmla="*/ 193 w 297"/>
                  <a:gd name="T51" fmla="*/ 30 h 120"/>
                  <a:gd name="T52" fmla="*/ 164 w 297"/>
                  <a:gd name="T53" fmla="*/ 15 h 120"/>
                  <a:gd name="T54" fmla="*/ 146 w 297"/>
                  <a:gd name="T55" fmla="*/ 6 h 120"/>
                  <a:gd name="T56" fmla="*/ 98 w 297"/>
                  <a:gd name="T57" fmla="*/ 15 h 120"/>
                  <a:gd name="T58" fmla="*/ 86 w 297"/>
                  <a:gd name="T59" fmla="*/ 22 h 120"/>
                  <a:gd name="T60" fmla="*/ 61 w 297"/>
                  <a:gd name="T61" fmla="*/ 24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7" h="120">
                    <a:moveTo>
                      <a:pt x="61" y="24"/>
                    </a:moveTo>
                    <a:cubicBezTo>
                      <a:pt x="46" y="21"/>
                      <a:pt x="50" y="20"/>
                      <a:pt x="44" y="9"/>
                    </a:cubicBezTo>
                    <a:cubicBezTo>
                      <a:pt x="39" y="5"/>
                      <a:pt x="33" y="0"/>
                      <a:pt x="29" y="0"/>
                    </a:cubicBezTo>
                    <a:cubicBezTo>
                      <a:pt x="25" y="0"/>
                      <a:pt x="23" y="3"/>
                      <a:pt x="19" y="10"/>
                    </a:cubicBezTo>
                    <a:cubicBezTo>
                      <a:pt x="22" y="30"/>
                      <a:pt x="17" y="33"/>
                      <a:pt x="2" y="42"/>
                    </a:cubicBezTo>
                    <a:cubicBezTo>
                      <a:pt x="1" y="50"/>
                      <a:pt x="0" y="57"/>
                      <a:pt x="5" y="64"/>
                    </a:cubicBezTo>
                    <a:cubicBezTo>
                      <a:pt x="12" y="63"/>
                      <a:pt x="14" y="59"/>
                      <a:pt x="20" y="63"/>
                    </a:cubicBezTo>
                    <a:cubicBezTo>
                      <a:pt x="19" y="71"/>
                      <a:pt x="11" y="83"/>
                      <a:pt x="22" y="85"/>
                    </a:cubicBezTo>
                    <a:cubicBezTo>
                      <a:pt x="27" y="108"/>
                      <a:pt x="27" y="113"/>
                      <a:pt x="53" y="115"/>
                    </a:cubicBezTo>
                    <a:cubicBezTo>
                      <a:pt x="58" y="117"/>
                      <a:pt x="63" y="118"/>
                      <a:pt x="68" y="120"/>
                    </a:cubicBezTo>
                    <a:cubicBezTo>
                      <a:pt x="74" y="117"/>
                      <a:pt x="77" y="114"/>
                      <a:pt x="82" y="109"/>
                    </a:cubicBezTo>
                    <a:cubicBezTo>
                      <a:pt x="90" y="113"/>
                      <a:pt x="109" y="115"/>
                      <a:pt x="109" y="115"/>
                    </a:cubicBezTo>
                    <a:cubicBezTo>
                      <a:pt x="118" y="114"/>
                      <a:pt x="124" y="112"/>
                      <a:pt x="133" y="111"/>
                    </a:cubicBezTo>
                    <a:cubicBezTo>
                      <a:pt x="143" y="110"/>
                      <a:pt x="159" y="114"/>
                      <a:pt x="167" y="114"/>
                    </a:cubicBezTo>
                    <a:cubicBezTo>
                      <a:pt x="175" y="114"/>
                      <a:pt x="175" y="114"/>
                      <a:pt x="182" y="114"/>
                    </a:cubicBezTo>
                    <a:cubicBezTo>
                      <a:pt x="189" y="114"/>
                      <a:pt x="204" y="116"/>
                      <a:pt x="211" y="114"/>
                    </a:cubicBezTo>
                    <a:cubicBezTo>
                      <a:pt x="218" y="112"/>
                      <a:pt x="219" y="105"/>
                      <a:pt x="222" y="103"/>
                    </a:cubicBezTo>
                    <a:cubicBezTo>
                      <a:pt x="225" y="101"/>
                      <a:pt x="228" y="102"/>
                      <a:pt x="232" y="102"/>
                    </a:cubicBezTo>
                    <a:cubicBezTo>
                      <a:pt x="236" y="102"/>
                      <a:pt x="242" y="102"/>
                      <a:pt x="248" y="103"/>
                    </a:cubicBezTo>
                    <a:cubicBezTo>
                      <a:pt x="254" y="104"/>
                      <a:pt x="265" y="108"/>
                      <a:pt x="269" y="108"/>
                    </a:cubicBezTo>
                    <a:cubicBezTo>
                      <a:pt x="273" y="108"/>
                      <a:pt x="270" y="103"/>
                      <a:pt x="272" y="103"/>
                    </a:cubicBezTo>
                    <a:cubicBezTo>
                      <a:pt x="274" y="103"/>
                      <a:pt x="284" y="115"/>
                      <a:pt x="284" y="105"/>
                    </a:cubicBezTo>
                    <a:cubicBezTo>
                      <a:pt x="297" y="84"/>
                      <a:pt x="292" y="59"/>
                      <a:pt x="274" y="45"/>
                    </a:cubicBezTo>
                    <a:cubicBezTo>
                      <a:pt x="268" y="29"/>
                      <a:pt x="274" y="33"/>
                      <a:pt x="262" y="21"/>
                    </a:cubicBezTo>
                    <a:cubicBezTo>
                      <a:pt x="246" y="22"/>
                      <a:pt x="243" y="25"/>
                      <a:pt x="230" y="28"/>
                    </a:cubicBezTo>
                    <a:cubicBezTo>
                      <a:pt x="218" y="34"/>
                      <a:pt x="208" y="31"/>
                      <a:pt x="193" y="30"/>
                    </a:cubicBezTo>
                    <a:cubicBezTo>
                      <a:pt x="183" y="26"/>
                      <a:pt x="175" y="17"/>
                      <a:pt x="164" y="15"/>
                    </a:cubicBezTo>
                    <a:cubicBezTo>
                      <a:pt x="158" y="11"/>
                      <a:pt x="153" y="7"/>
                      <a:pt x="146" y="6"/>
                    </a:cubicBezTo>
                    <a:cubicBezTo>
                      <a:pt x="117" y="7"/>
                      <a:pt x="116" y="4"/>
                      <a:pt x="98" y="15"/>
                    </a:cubicBezTo>
                    <a:cubicBezTo>
                      <a:pt x="94" y="20"/>
                      <a:pt x="92" y="21"/>
                      <a:pt x="86" y="22"/>
                    </a:cubicBezTo>
                    <a:cubicBezTo>
                      <a:pt x="76" y="27"/>
                      <a:pt x="83" y="24"/>
                      <a:pt x="61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2" name="Freeform 26">
                <a:extLst>
                  <a:ext uri="{FF2B5EF4-FFF2-40B4-BE49-F238E27FC236}">
                    <a16:creationId xmlns:a16="http://schemas.microsoft.com/office/drawing/2014/main" id="{6385B58C-7C9E-4359-BEBE-D4A169C1BB5A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624388" y="4073525"/>
                <a:ext cx="449263" cy="415925"/>
              </a:xfrm>
              <a:custGeom>
                <a:avLst/>
                <a:gdLst>
                  <a:gd name="T0" fmla="*/ 8 w 278"/>
                  <a:gd name="T1" fmla="*/ 170 h 262"/>
                  <a:gd name="T2" fmla="*/ 0 w 278"/>
                  <a:gd name="T3" fmla="*/ 156 h 262"/>
                  <a:gd name="T4" fmla="*/ 15 w 278"/>
                  <a:gd name="T5" fmla="*/ 141 h 262"/>
                  <a:gd name="T6" fmla="*/ 33 w 278"/>
                  <a:gd name="T7" fmla="*/ 141 h 262"/>
                  <a:gd name="T8" fmla="*/ 53 w 278"/>
                  <a:gd name="T9" fmla="*/ 135 h 262"/>
                  <a:gd name="T10" fmla="*/ 68 w 278"/>
                  <a:gd name="T11" fmla="*/ 107 h 262"/>
                  <a:gd name="T12" fmla="*/ 84 w 278"/>
                  <a:gd name="T13" fmla="*/ 90 h 262"/>
                  <a:gd name="T14" fmla="*/ 84 w 278"/>
                  <a:gd name="T15" fmla="*/ 72 h 262"/>
                  <a:gd name="T16" fmla="*/ 92 w 278"/>
                  <a:gd name="T17" fmla="*/ 53 h 262"/>
                  <a:gd name="T18" fmla="*/ 98 w 278"/>
                  <a:gd name="T19" fmla="*/ 18 h 262"/>
                  <a:gd name="T20" fmla="*/ 108 w 278"/>
                  <a:gd name="T21" fmla="*/ 0 h 262"/>
                  <a:gd name="T22" fmla="*/ 144 w 278"/>
                  <a:gd name="T23" fmla="*/ 14 h 262"/>
                  <a:gd name="T24" fmla="*/ 158 w 278"/>
                  <a:gd name="T25" fmla="*/ 12 h 262"/>
                  <a:gd name="T26" fmla="*/ 188 w 278"/>
                  <a:gd name="T27" fmla="*/ 5 h 262"/>
                  <a:gd name="T28" fmla="*/ 209 w 278"/>
                  <a:gd name="T29" fmla="*/ 0 h 262"/>
                  <a:gd name="T30" fmla="*/ 233 w 278"/>
                  <a:gd name="T31" fmla="*/ 6 h 262"/>
                  <a:gd name="T32" fmla="*/ 261 w 278"/>
                  <a:gd name="T33" fmla="*/ 12 h 262"/>
                  <a:gd name="T34" fmla="*/ 272 w 278"/>
                  <a:gd name="T35" fmla="*/ 24 h 262"/>
                  <a:gd name="T36" fmla="*/ 278 w 278"/>
                  <a:gd name="T37" fmla="*/ 39 h 262"/>
                  <a:gd name="T38" fmla="*/ 264 w 278"/>
                  <a:gd name="T39" fmla="*/ 65 h 262"/>
                  <a:gd name="T40" fmla="*/ 258 w 278"/>
                  <a:gd name="T41" fmla="*/ 90 h 262"/>
                  <a:gd name="T42" fmla="*/ 249 w 278"/>
                  <a:gd name="T43" fmla="*/ 110 h 262"/>
                  <a:gd name="T44" fmla="*/ 257 w 278"/>
                  <a:gd name="T45" fmla="*/ 171 h 262"/>
                  <a:gd name="T46" fmla="*/ 272 w 278"/>
                  <a:gd name="T47" fmla="*/ 182 h 262"/>
                  <a:gd name="T48" fmla="*/ 243 w 278"/>
                  <a:gd name="T49" fmla="*/ 204 h 262"/>
                  <a:gd name="T50" fmla="*/ 237 w 278"/>
                  <a:gd name="T51" fmla="*/ 255 h 262"/>
                  <a:gd name="T52" fmla="*/ 219 w 278"/>
                  <a:gd name="T53" fmla="*/ 249 h 262"/>
                  <a:gd name="T54" fmla="*/ 197 w 278"/>
                  <a:gd name="T55" fmla="*/ 245 h 262"/>
                  <a:gd name="T56" fmla="*/ 169 w 278"/>
                  <a:gd name="T57" fmla="*/ 240 h 262"/>
                  <a:gd name="T58" fmla="*/ 150 w 278"/>
                  <a:gd name="T59" fmla="*/ 236 h 262"/>
                  <a:gd name="T60" fmla="*/ 146 w 278"/>
                  <a:gd name="T61" fmla="*/ 227 h 262"/>
                  <a:gd name="T62" fmla="*/ 148 w 278"/>
                  <a:gd name="T63" fmla="*/ 209 h 262"/>
                  <a:gd name="T64" fmla="*/ 141 w 278"/>
                  <a:gd name="T65" fmla="*/ 195 h 262"/>
                  <a:gd name="T66" fmla="*/ 128 w 278"/>
                  <a:gd name="T67" fmla="*/ 186 h 262"/>
                  <a:gd name="T68" fmla="*/ 109 w 278"/>
                  <a:gd name="T69" fmla="*/ 189 h 262"/>
                  <a:gd name="T70" fmla="*/ 90 w 278"/>
                  <a:gd name="T71" fmla="*/ 194 h 262"/>
                  <a:gd name="T72" fmla="*/ 68 w 278"/>
                  <a:gd name="T73" fmla="*/ 176 h 262"/>
                  <a:gd name="T74" fmla="*/ 63 w 278"/>
                  <a:gd name="T75" fmla="*/ 165 h 262"/>
                  <a:gd name="T76" fmla="*/ 44 w 278"/>
                  <a:gd name="T77" fmla="*/ 164 h 262"/>
                  <a:gd name="T78" fmla="*/ 8 w 278"/>
                  <a:gd name="T79" fmla="*/ 17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8" h="262">
                    <a:moveTo>
                      <a:pt x="8" y="170"/>
                    </a:moveTo>
                    <a:cubicBezTo>
                      <a:pt x="5" y="163"/>
                      <a:pt x="7" y="160"/>
                      <a:pt x="0" y="156"/>
                    </a:cubicBezTo>
                    <a:cubicBezTo>
                      <a:pt x="1" y="151"/>
                      <a:pt x="10" y="143"/>
                      <a:pt x="15" y="141"/>
                    </a:cubicBezTo>
                    <a:cubicBezTo>
                      <a:pt x="20" y="139"/>
                      <a:pt x="27" y="142"/>
                      <a:pt x="33" y="141"/>
                    </a:cubicBezTo>
                    <a:cubicBezTo>
                      <a:pt x="39" y="137"/>
                      <a:pt x="46" y="137"/>
                      <a:pt x="53" y="135"/>
                    </a:cubicBezTo>
                    <a:cubicBezTo>
                      <a:pt x="62" y="128"/>
                      <a:pt x="52" y="117"/>
                      <a:pt x="68" y="107"/>
                    </a:cubicBezTo>
                    <a:cubicBezTo>
                      <a:pt x="77" y="92"/>
                      <a:pt x="66" y="95"/>
                      <a:pt x="84" y="90"/>
                    </a:cubicBezTo>
                    <a:cubicBezTo>
                      <a:pt x="89" y="84"/>
                      <a:pt x="87" y="79"/>
                      <a:pt x="84" y="72"/>
                    </a:cubicBezTo>
                    <a:cubicBezTo>
                      <a:pt x="86" y="57"/>
                      <a:pt x="87" y="63"/>
                      <a:pt x="92" y="53"/>
                    </a:cubicBezTo>
                    <a:cubicBezTo>
                      <a:pt x="87" y="40"/>
                      <a:pt x="91" y="30"/>
                      <a:pt x="98" y="18"/>
                    </a:cubicBezTo>
                    <a:cubicBezTo>
                      <a:pt x="99" y="10"/>
                      <a:pt x="100" y="4"/>
                      <a:pt x="108" y="0"/>
                    </a:cubicBezTo>
                    <a:cubicBezTo>
                      <a:pt x="122" y="2"/>
                      <a:pt x="130" y="13"/>
                      <a:pt x="144" y="14"/>
                    </a:cubicBezTo>
                    <a:cubicBezTo>
                      <a:pt x="151" y="18"/>
                      <a:pt x="149" y="15"/>
                      <a:pt x="158" y="12"/>
                    </a:cubicBezTo>
                    <a:cubicBezTo>
                      <a:pt x="169" y="4"/>
                      <a:pt x="170" y="6"/>
                      <a:pt x="188" y="5"/>
                    </a:cubicBezTo>
                    <a:cubicBezTo>
                      <a:pt x="196" y="3"/>
                      <a:pt x="202" y="0"/>
                      <a:pt x="209" y="0"/>
                    </a:cubicBezTo>
                    <a:cubicBezTo>
                      <a:pt x="216" y="0"/>
                      <a:pt x="224" y="4"/>
                      <a:pt x="233" y="6"/>
                    </a:cubicBezTo>
                    <a:cubicBezTo>
                      <a:pt x="245" y="12"/>
                      <a:pt x="243" y="11"/>
                      <a:pt x="261" y="12"/>
                    </a:cubicBezTo>
                    <a:cubicBezTo>
                      <a:pt x="267" y="15"/>
                      <a:pt x="268" y="19"/>
                      <a:pt x="272" y="24"/>
                    </a:cubicBezTo>
                    <a:cubicBezTo>
                      <a:pt x="273" y="30"/>
                      <a:pt x="274" y="34"/>
                      <a:pt x="278" y="39"/>
                    </a:cubicBezTo>
                    <a:cubicBezTo>
                      <a:pt x="276" y="50"/>
                      <a:pt x="269" y="57"/>
                      <a:pt x="264" y="65"/>
                    </a:cubicBezTo>
                    <a:cubicBezTo>
                      <a:pt x="262" y="75"/>
                      <a:pt x="267" y="89"/>
                      <a:pt x="258" y="90"/>
                    </a:cubicBezTo>
                    <a:cubicBezTo>
                      <a:pt x="257" y="102"/>
                      <a:pt x="259" y="106"/>
                      <a:pt x="249" y="110"/>
                    </a:cubicBezTo>
                    <a:cubicBezTo>
                      <a:pt x="251" y="130"/>
                      <a:pt x="248" y="153"/>
                      <a:pt x="257" y="171"/>
                    </a:cubicBezTo>
                    <a:cubicBezTo>
                      <a:pt x="258" y="177"/>
                      <a:pt x="266" y="179"/>
                      <a:pt x="272" y="182"/>
                    </a:cubicBezTo>
                    <a:cubicBezTo>
                      <a:pt x="276" y="206"/>
                      <a:pt x="263" y="202"/>
                      <a:pt x="243" y="204"/>
                    </a:cubicBezTo>
                    <a:cubicBezTo>
                      <a:pt x="236" y="216"/>
                      <a:pt x="245" y="248"/>
                      <a:pt x="237" y="255"/>
                    </a:cubicBezTo>
                    <a:cubicBezTo>
                      <a:pt x="233" y="262"/>
                      <a:pt x="226" y="251"/>
                      <a:pt x="219" y="249"/>
                    </a:cubicBezTo>
                    <a:cubicBezTo>
                      <a:pt x="212" y="247"/>
                      <a:pt x="205" y="247"/>
                      <a:pt x="197" y="245"/>
                    </a:cubicBezTo>
                    <a:cubicBezTo>
                      <a:pt x="189" y="243"/>
                      <a:pt x="177" y="242"/>
                      <a:pt x="169" y="240"/>
                    </a:cubicBezTo>
                    <a:cubicBezTo>
                      <a:pt x="162" y="238"/>
                      <a:pt x="154" y="238"/>
                      <a:pt x="150" y="236"/>
                    </a:cubicBezTo>
                    <a:cubicBezTo>
                      <a:pt x="146" y="234"/>
                      <a:pt x="146" y="231"/>
                      <a:pt x="146" y="227"/>
                    </a:cubicBezTo>
                    <a:cubicBezTo>
                      <a:pt x="142" y="222"/>
                      <a:pt x="149" y="214"/>
                      <a:pt x="148" y="209"/>
                    </a:cubicBezTo>
                    <a:cubicBezTo>
                      <a:pt x="147" y="204"/>
                      <a:pt x="144" y="199"/>
                      <a:pt x="141" y="195"/>
                    </a:cubicBezTo>
                    <a:cubicBezTo>
                      <a:pt x="136" y="193"/>
                      <a:pt x="140" y="191"/>
                      <a:pt x="128" y="186"/>
                    </a:cubicBezTo>
                    <a:cubicBezTo>
                      <a:pt x="123" y="185"/>
                      <a:pt x="115" y="188"/>
                      <a:pt x="109" y="189"/>
                    </a:cubicBezTo>
                    <a:cubicBezTo>
                      <a:pt x="103" y="190"/>
                      <a:pt x="97" y="196"/>
                      <a:pt x="90" y="194"/>
                    </a:cubicBezTo>
                    <a:cubicBezTo>
                      <a:pt x="75" y="192"/>
                      <a:pt x="74" y="187"/>
                      <a:pt x="68" y="176"/>
                    </a:cubicBezTo>
                    <a:cubicBezTo>
                      <a:pt x="63" y="172"/>
                      <a:pt x="67" y="167"/>
                      <a:pt x="63" y="165"/>
                    </a:cubicBezTo>
                    <a:cubicBezTo>
                      <a:pt x="59" y="163"/>
                      <a:pt x="53" y="163"/>
                      <a:pt x="44" y="164"/>
                    </a:cubicBezTo>
                    <a:cubicBezTo>
                      <a:pt x="35" y="165"/>
                      <a:pt x="15" y="169"/>
                      <a:pt x="8" y="17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3" name="Freeform 27">
                <a:extLst>
                  <a:ext uri="{FF2B5EF4-FFF2-40B4-BE49-F238E27FC236}">
                    <a16:creationId xmlns:a16="http://schemas.microsoft.com/office/drawing/2014/main" id="{85D931F5-BC52-4CB5-A9C9-9B44F02F8268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5140326" y="4081463"/>
                <a:ext cx="182563" cy="219075"/>
              </a:xfrm>
              <a:custGeom>
                <a:avLst/>
                <a:gdLst>
                  <a:gd name="T0" fmla="*/ 3 w 113"/>
                  <a:gd name="T1" fmla="*/ 88 h 138"/>
                  <a:gd name="T2" fmla="*/ 24 w 113"/>
                  <a:gd name="T3" fmla="*/ 94 h 138"/>
                  <a:gd name="T4" fmla="*/ 37 w 113"/>
                  <a:gd name="T5" fmla="*/ 99 h 138"/>
                  <a:gd name="T6" fmla="*/ 51 w 113"/>
                  <a:gd name="T7" fmla="*/ 117 h 138"/>
                  <a:gd name="T8" fmla="*/ 81 w 113"/>
                  <a:gd name="T9" fmla="*/ 138 h 138"/>
                  <a:gd name="T10" fmla="*/ 99 w 113"/>
                  <a:gd name="T11" fmla="*/ 114 h 138"/>
                  <a:gd name="T12" fmla="*/ 105 w 113"/>
                  <a:gd name="T13" fmla="*/ 99 h 138"/>
                  <a:gd name="T14" fmla="*/ 105 w 113"/>
                  <a:gd name="T15" fmla="*/ 72 h 138"/>
                  <a:gd name="T16" fmla="*/ 105 w 113"/>
                  <a:gd name="T17" fmla="*/ 27 h 138"/>
                  <a:gd name="T18" fmla="*/ 106 w 113"/>
                  <a:gd name="T19" fmla="*/ 15 h 138"/>
                  <a:gd name="T20" fmla="*/ 60 w 113"/>
                  <a:gd name="T21" fmla="*/ 16 h 138"/>
                  <a:gd name="T22" fmla="*/ 34 w 113"/>
                  <a:gd name="T23" fmla="*/ 6 h 138"/>
                  <a:gd name="T24" fmla="*/ 12 w 113"/>
                  <a:gd name="T25" fmla="*/ 3 h 138"/>
                  <a:gd name="T26" fmla="*/ 13 w 113"/>
                  <a:gd name="T27" fmla="*/ 27 h 138"/>
                  <a:gd name="T28" fmla="*/ 18 w 113"/>
                  <a:gd name="T29" fmla="*/ 52 h 138"/>
                  <a:gd name="T30" fmla="*/ 3 w 113"/>
                  <a:gd name="T31" fmla="*/ 66 h 138"/>
                  <a:gd name="T32" fmla="*/ 3 w 113"/>
                  <a:gd name="T33" fmla="*/ 8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3" h="138">
                    <a:moveTo>
                      <a:pt x="3" y="88"/>
                    </a:moveTo>
                    <a:cubicBezTo>
                      <a:pt x="10" y="90"/>
                      <a:pt x="17" y="93"/>
                      <a:pt x="24" y="94"/>
                    </a:cubicBezTo>
                    <a:cubicBezTo>
                      <a:pt x="28" y="96"/>
                      <a:pt x="33" y="97"/>
                      <a:pt x="37" y="99"/>
                    </a:cubicBezTo>
                    <a:cubicBezTo>
                      <a:pt x="40" y="106"/>
                      <a:pt x="44" y="115"/>
                      <a:pt x="51" y="117"/>
                    </a:cubicBezTo>
                    <a:cubicBezTo>
                      <a:pt x="58" y="123"/>
                      <a:pt x="73" y="138"/>
                      <a:pt x="81" y="138"/>
                    </a:cubicBezTo>
                    <a:cubicBezTo>
                      <a:pt x="91" y="135"/>
                      <a:pt x="87" y="116"/>
                      <a:pt x="99" y="114"/>
                    </a:cubicBezTo>
                    <a:cubicBezTo>
                      <a:pt x="100" y="108"/>
                      <a:pt x="101" y="104"/>
                      <a:pt x="105" y="99"/>
                    </a:cubicBezTo>
                    <a:cubicBezTo>
                      <a:pt x="106" y="90"/>
                      <a:pt x="104" y="81"/>
                      <a:pt x="105" y="72"/>
                    </a:cubicBezTo>
                    <a:cubicBezTo>
                      <a:pt x="107" y="60"/>
                      <a:pt x="105" y="36"/>
                      <a:pt x="105" y="27"/>
                    </a:cubicBezTo>
                    <a:cubicBezTo>
                      <a:pt x="105" y="18"/>
                      <a:pt x="113" y="17"/>
                      <a:pt x="106" y="15"/>
                    </a:cubicBezTo>
                    <a:cubicBezTo>
                      <a:pt x="94" y="16"/>
                      <a:pt x="72" y="17"/>
                      <a:pt x="60" y="16"/>
                    </a:cubicBezTo>
                    <a:cubicBezTo>
                      <a:pt x="49" y="7"/>
                      <a:pt x="49" y="7"/>
                      <a:pt x="34" y="6"/>
                    </a:cubicBezTo>
                    <a:cubicBezTo>
                      <a:pt x="28" y="5"/>
                      <a:pt x="15" y="0"/>
                      <a:pt x="12" y="3"/>
                    </a:cubicBezTo>
                    <a:cubicBezTo>
                      <a:pt x="9" y="6"/>
                      <a:pt x="12" y="19"/>
                      <a:pt x="13" y="27"/>
                    </a:cubicBezTo>
                    <a:cubicBezTo>
                      <a:pt x="14" y="34"/>
                      <a:pt x="20" y="46"/>
                      <a:pt x="18" y="52"/>
                    </a:cubicBezTo>
                    <a:cubicBezTo>
                      <a:pt x="16" y="58"/>
                      <a:pt x="5" y="60"/>
                      <a:pt x="3" y="66"/>
                    </a:cubicBezTo>
                    <a:cubicBezTo>
                      <a:pt x="0" y="75"/>
                      <a:pt x="3" y="78"/>
                      <a:pt x="3" y="8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4" name="Freeform 28">
                <a:extLst>
                  <a:ext uri="{FF2B5EF4-FFF2-40B4-BE49-F238E27FC236}">
                    <a16:creationId xmlns:a16="http://schemas.microsoft.com/office/drawing/2014/main" id="{66CD0988-8743-47CE-870E-47E7BA1FB96F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848226" y="4391025"/>
                <a:ext cx="292100" cy="233363"/>
              </a:xfrm>
              <a:custGeom>
                <a:avLst/>
                <a:gdLst>
                  <a:gd name="T0" fmla="*/ 61 w 181"/>
                  <a:gd name="T1" fmla="*/ 46 h 147"/>
                  <a:gd name="T2" fmla="*/ 80 w 181"/>
                  <a:gd name="T3" fmla="*/ 51 h 147"/>
                  <a:gd name="T4" fmla="*/ 95 w 181"/>
                  <a:gd name="T5" fmla="*/ 55 h 147"/>
                  <a:gd name="T6" fmla="*/ 110 w 181"/>
                  <a:gd name="T7" fmla="*/ 67 h 147"/>
                  <a:gd name="T8" fmla="*/ 103 w 181"/>
                  <a:gd name="T9" fmla="*/ 57 h 147"/>
                  <a:gd name="T10" fmla="*/ 100 w 181"/>
                  <a:gd name="T11" fmla="*/ 37 h 147"/>
                  <a:gd name="T12" fmla="*/ 103 w 181"/>
                  <a:gd name="T13" fmla="*/ 10 h 147"/>
                  <a:gd name="T14" fmla="*/ 113 w 181"/>
                  <a:gd name="T15" fmla="*/ 0 h 147"/>
                  <a:gd name="T16" fmla="*/ 139 w 181"/>
                  <a:gd name="T17" fmla="*/ 4 h 147"/>
                  <a:gd name="T18" fmla="*/ 172 w 181"/>
                  <a:gd name="T19" fmla="*/ 15 h 147"/>
                  <a:gd name="T20" fmla="*/ 169 w 181"/>
                  <a:gd name="T21" fmla="*/ 66 h 147"/>
                  <a:gd name="T22" fmla="*/ 152 w 181"/>
                  <a:gd name="T23" fmla="*/ 94 h 147"/>
                  <a:gd name="T24" fmla="*/ 137 w 181"/>
                  <a:gd name="T25" fmla="*/ 100 h 147"/>
                  <a:gd name="T26" fmla="*/ 107 w 181"/>
                  <a:gd name="T27" fmla="*/ 114 h 147"/>
                  <a:gd name="T28" fmla="*/ 88 w 181"/>
                  <a:gd name="T29" fmla="*/ 127 h 147"/>
                  <a:gd name="T30" fmla="*/ 80 w 181"/>
                  <a:gd name="T31" fmla="*/ 142 h 147"/>
                  <a:gd name="T32" fmla="*/ 52 w 181"/>
                  <a:gd name="T33" fmla="*/ 147 h 147"/>
                  <a:gd name="T34" fmla="*/ 17 w 181"/>
                  <a:gd name="T35" fmla="*/ 141 h 147"/>
                  <a:gd name="T36" fmla="*/ 8 w 181"/>
                  <a:gd name="T37" fmla="*/ 129 h 147"/>
                  <a:gd name="T38" fmla="*/ 4 w 181"/>
                  <a:gd name="T39" fmla="*/ 112 h 147"/>
                  <a:gd name="T40" fmla="*/ 4 w 181"/>
                  <a:gd name="T41" fmla="*/ 91 h 147"/>
                  <a:gd name="T42" fmla="*/ 7 w 181"/>
                  <a:gd name="T43" fmla="*/ 70 h 147"/>
                  <a:gd name="T44" fmla="*/ 29 w 181"/>
                  <a:gd name="T45" fmla="*/ 66 h 147"/>
                  <a:gd name="T46" fmla="*/ 40 w 181"/>
                  <a:gd name="T47" fmla="*/ 55 h 147"/>
                  <a:gd name="T48" fmla="*/ 38 w 181"/>
                  <a:gd name="T49" fmla="*/ 43 h 147"/>
                  <a:gd name="T50" fmla="*/ 35 w 181"/>
                  <a:gd name="T51" fmla="*/ 42 h 147"/>
                  <a:gd name="T52" fmla="*/ 61 w 181"/>
                  <a:gd name="T53" fmla="*/ 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1" h="147">
                    <a:moveTo>
                      <a:pt x="61" y="46"/>
                    </a:moveTo>
                    <a:cubicBezTo>
                      <a:pt x="68" y="48"/>
                      <a:pt x="74" y="50"/>
                      <a:pt x="80" y="51"/>
                    </a:cubicBezTo>
                    <a:cubicBezTo>
                      <a:pt x="85" y="52"/>
                      <a:pt x="90" y="54"/>
                      <a:pt x="95" y="55"/>
                    </a:cubicBezTo>
                    <a:cubicBezTo>
                      <a:pt x="100" y="58"/>
                      <a:pt x="109" y="67"/>
                      <a:pt x="110" y="67"/>
                    </a:cubicBezTo>
                    <a:cubicBezTo>
                      <a:pt x="107" y="64"/>
                      <a:pt x="105" y="62"/>
                      <a:pt x="103" y="57"/>
                    </a:cubicBezTo>
                    <a:cubicBezTo>
                      <a:pt x="101" y="52"/>
                      <a:pt x="100" y="45"/>
                      <a:pt x="100" y="37"/>
                    </a:cubicBezTo>
                    <a:cubicBezTo>
                      <a:pt x="100" y="29"/>
                      <a:pt x="101" y="16"/>
                      <a:pt x="103" y="10"/>
                    </a:cubicBezTo>
                    <a:cubicBezTo>
                      <a:pt x="106" y="6"/>
                      <a:pt x="110" y="4"/>
                      <a:pt x="113" y="0"/>
                    </a:cubicBezTo>
                    <a:cubicBezTo>
                      <a:pt x="127" y="1"/>
                      <a:pt x="128" y="2"/>
                      <a:pt x="139" y="4"/>
                    </a:cubicBezTo>
                    <a:cubicBezTo>
                      <a:pt x="151" y="16"/>
                      <a:pt x="149" y="13"/>
                      <a:pt x="172" y="15"/>
                    </a:cubicBezTo>
                    <a:cubicBezTo>
                      <a:pt x="173" y="28"/>
                      <a:pt x="181" y="57"/>
                      <a:pt x="169" y="66"/>
                    </a:cubicBezTo>
                    <a:cubicBezTo>
                      <a:pt x="167" y="84"/>
                      <a:pt x="169" y="91"/>
                      <a:pt x="152" y="94"/>
                    </a:cubicBezTo>
                    <a:cubicBezTo>
                      <a:pt x="147" y="97"/>
                      <a:pt x="143" y="99"/>
                      <a:pt x="137" y="100"/>
                    </a:cubicBezTo>
                    <a:cubicBezTo>
                      <a:pt x="127" y="105"/>
                      <a:pt x="117" y="109"/>
                      <a:pt x="107" y="114"/>
                    </a:cubicBezTo>
                    <a:cubicBezTo>
                      <a:pt x="100" y="123"/>
                      <a:pt x="100" y="126"/>
                      <a:pt x="88" y="127"/>
                    </a:cubicBezTo>
                    <a:cubicBezTo>
                      <a:pt x="85" y="134"/>
                      <a:pt x="89" y="140"/>
                      <a:pt x="80" y="142"/>
                    </a:cubicBezTo>
                    <a:cubicBezTo>
                      <a:pt x="71" y="146"/>
                      <a:pt x="61" y="143"/>
                      <a:pt x="52" y="147"/>
                    </a:cubicBezTo>
                    <a:cubicBezTo>
                      <a:pt x="40" y="145"/>
                      <a:pt x="27" y="147"/>
                      <a:pt x="17" y="141"/>
                    </a:cubicBezTo>
                    <a:cubicBezTo>
                      <a:pt x="14" y="136"/>
                      <a:pt x="10" y="134"/>
                      <a:pt x="8" y="129"/>
                    </a:cubicBezTo>
                    <a:cubicBezTo>
                      <a:pt x="7" y="123"/>
                      <a:pt x="5" y="118"/>
                      <a:pt x="4" y="112"/>
                    </a:cubicBezTo>
                    <a:cubicBezTo>
                      <a:pt x="3" y="106"/>
                      <a:pt x="0" y="99"/>
                      <a:pt x="4" y="91"/>
                    </a:cubicBezTo>
                    <a:cubicBezTo>
                      <a:pt x="5" y="84"/>
                      <a:pt x="3" y="74"/>
                      <a:pt x="7" y="70"/>
                    </a:cubicBezTo>
                    <a:cubicBezTo>
                      <a:pt x="11" y="66"/>
                      <a:pt x="24" y="68"/>
                      <a:pt x="29" y="66"/>
                    </a:cubicBezTo>
                    <a:cubicBezTo>
                      <a:pt x="33" y="63"/>
                      <a:pt x="39" y="59"/>
                      <a:pt x="40" y="55"/>
                    </a:cubicBezTo>
                    <a:cubicBezTo>
                      <a:pt x="41" y="51"/>
                      <a:pt x="39" y="45"/>
                      <a:pt x="38" y="43"/>
                    </a:cubicBezTo>
                    <a:cubicBezTo>
                      <a:pt x="36" y="34"/>
                      <a:pt x="32" y="50"/>
                      <a:pt x="35" y="42"/>
                    </a:cubicBezTo>
                    <a:cubicBezTo>
                      <a:pt x="39" y="41"/>
                      <a:pt x="56" y="45"/>
                      <a:pt x="61" y="4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5" name="Freeform 29">
                <a:extLst>
                  <a:ext uri="{FF2B5EF4-FFF2-40B4-BE49-F238E27FC236}">
                    <a16:creationId xmlns:a16="http://schemas.microsoft.com/office/drawing/2014/main" id="{A46AA1CA-BC53-4CA2-8BEB-679A3FC73D8D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5303838" y="3908425"/>
                <a:ext cx="263525" cy="325438"/>
              </a:xfrm>
              <a:custGeom>
                <a:avLst/>
                <a:gdLst>
                  <a:gd name="T0" fmla="*/ 7 w 163"/>
                  <a:gd name="T1" fmla="*/ 205 h 205"/>
                  <a:gd name="T2" fmla="*/ 35 w 163"/>
                  <a:gd name="T3" fmla="*/ 179 h 205"/>
                  <a:gd name="T4" fmla="*/ 55 w 163"/>
                  <a:gd name="T5" fmla="*/ 161 h 205"/>
                  <a:gd name="T6" fmla="*/ 75 w 163"/>
                  <a:gd name="T7" fmla="*/ 145 h 205"/>
                  <a:gd name="T8" fmla="*/ 87 w 163"/>
                  <a:gd name="T9" fmla="*/ 137 h 205"/>
                  <a:gd name="T10" fmla="*/ 119 w 163"/>
                  <a:gd name="T11" fmla="*/ 97 h 205"/>
                  <a:gd name="T12" fmla="*/ 127 w 163"/>
                  <a:gd name="T13" fmla="*/ 73 h 205"/>
                  <a:gd name="T14" fmla="*/ 147 w 163"/>
                  <a:gd name="T15" fmla="*/ 43 h 205"/>
                  <a:gd name="T16" fmla="*/ 159 w 163"/>
                  <a:gd name="T17" fmla="*/ 27 h 205"/>
                  <a:gd name="T18" fmla="*/ 157 w 163"/>
                  <a:gd name="T19" fmla="*/ 5 h 205"/>
                  <a:gd name="T20" fmla="*/ 133 w 163"/>
                  <a:gd name="T21" fmla="*/ 7 h 205"/>
                  <a:gd name="T22" fmla="*/ 85 w 163"/>
                  <a:gd name="T23" fmla="*/ 15 h 205"/>
                  <a:gd name="T24" fmla="*/ 39 w 163"/>
                  <a:gd name="T25" fmla="*/ 3 h 205"/>
                  <a:gd name="T26" fmla="*/ 27 w 163"/>
                  <a:gd name="T27" fmla="*/ 9 h 205"/>
                  <a:gd name="T28" fmla="*/ 41 w 163"/>
                  <a:gd name="T29" fmla="*/ 23 h 205"/>
                  <a:gd name="T30" fmla="*/ 67 w 163"/>
                  <a:gd name="T31" fmla="*/ 47 h 205"/>
                  <a:gd name="T32" fmla="*/ 85 w 163"/>
                  <a:gd name="T33" fmla="*/ 53 h 205"/>
                  <a:gd name="T34" fmla="*/ 91 w 163"/>
                  <a:gd name="T35" fmla="*/ 55 h 205"/>
                  <a:gd name="T36" fmla="*/ 107 w 163"/>
                  <a:gd name="T37" fmla="*/ 69 h 205"/>
                  <a:gd name="T38" fmla="*/ 89 w 163"/>
                  <a:gd name="T39" fmla="*/ 81 h 205"/>
                  <a:gd name="T40" fmla="*/ 69 w 163"/>
                  <a:gd name="T41" fmla="*/ 101 h 205"/>
                  <a:gd name="T42" fmla="*/ 51 w 163"/>
                  <a:gd name="T43" fmla="*/ 107 h 205"/>
                  <a:gd name="T44" fmla="*/ 10 w 163"/>
                  <a:gd name="T45" fmla="*/ 122 h 205"/>
                  <a:gd name="T46" fmla="*/ 7 w 163"/>
                  <a:gd name="T47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3" h="205">
                    <a:moveTo>
                      <a:pt x="7" y="205"/>
                    </a:moveTo>
                    <a:cubicBezTo>
                      <a:pt x="14" y="198"/>
                      <a:pt x="27" y="182"/>
                      <a:pt x="35" y="179"/>
                    </a:cubicBezTo>
                    <a:cubicBezTo>
                      <a:pt x="40" y="172"/>
                      <a:pt x="48" y="166"/>
                      <a:pt x="55" y="161"/>
                    </a:cubicBezTo>
                    <a:cubicBezTo>
                      <a:pt x="58" y="152"/>
                      <a:pt x="67" y="150"/>
                      <a:pt x="75" y="145"/>
                    </a:cubicBezTo>
                    <a:cubicBezTo>
                      <a:pt x="79" y="142"/>
                      <a:pt x="87" y="137"/>
                      <a:pt x="87" y="137"/>
                    </a:cubicBezTo>
                    <a:cubicBezTo>
                      <a:pt x="96" y="123"/>
                      <a:pt x="109" y="112"/>
                      <a:pt x="119" y="97"/>
                    </a:cubicBezTo>
                    <a:cubicBezTo>
                      <a:pt x="124" y="90"/>
                      <a:pt x="122" y="80"/>
                      <a:pt x="127" y="73"/>
                    </a:cubicBezTo>
                    <a:cubicBezTo>
                      <a:pt x="134" y="63"/>
                      <a:pt x="138" y="52"/>
                      <a:pt x="147" y="43"/>
                    </a:cubicBezTo>
                    <a:cubicBezTo>
                      <a:pt x="150" y="35"/>
                      <a:pt x="155" y="34"/>
                      <a:pt x="159" y="27"/>
                    </a:cubicBezTo>
                    <a:cubicBezTo>
                      <a:pt x="158" y="20"/>
                      <a:pt x="163" y="9"/>
                      <a:pt x="157" y="5"/>
                    </a:cubicBezTo>
                    <a:cubicBezTo>
                      <a:pt x="151" y="0"/>
                      <a:pt x="141" y="6"/>
                      <a:pt x="133" y="7"/>
                    </a:cubicBezTo>
                    <a:cubicBezTo>
                      <a:pt x="115" y="10"/>
                      <a:pt x="107" y="13"/>
                      <a:pt x="85" y="15"/>
                    </a:cubicBezTo>
                    <a:cubicBezTo>
                      <a:pt x="53" y="36"/>
                      <a:pt x="57" y="9"/>
                      <a:pt x="39" y="3"/>
                    </a:cubicBezTo>
                    <a:cubicBezTo>
                      <a:pt x="36" y="4"/>
                      <a:pt x="28" y="6"/>
                      <a:pt x="27" y="9"/>
                    </a:cubicBezTo>
                    <a:cubicBezTo>
                      <a:pt x="25" y="15"/>
                      <a:pt x="41" y="23"/>
                      <a:pt x="41" y="23"/>
                    </a:cubicBezTo>
                    <a:cubicBezTo>
                      <a:pt x="48" y="34"/>
                      <a:pt x="55" y="42"/>
                      <a:pt x="67" y="47"/>
                    </a:cubicBezTo>
                    <a:cubicBezTo>
                      <a:pt x="73" y="50"/>
                      <a:pt x="79" y="51"/>
                      <a:pt x="85" y="53"/>
                    </a:cubicBezTo>
                    <a:cubicBezTo>
                      <a:pt x="87" y="54"/>
                      <a:pt x="91" y="55"/>
                      <a:pt x="91" y="55"/>
                    </a:cubicBezTo>
                    <a:cubicBezTo>
                      <a:pt x="94" y="65"/>
                      <a:pt x="101" y="60"/>
                      <a:pt x="107" y="69"/>
                    </a:cubicBezTo>
                    <a:cubicBezTo>
                      <a:pt x="99" y="72"/>
                      <a:pt x="96" y="77"/>
                      <a:pt x="89" y="81"/>
                    </a:cubicBezTo>
                    <a:cubicBezTo>
                      <a:pt x="84" y="88"/>
                      <a:pt x="76" y="96"/>
                      <a:pt x="69" y="101"/>
                    </a:cubicBezTo>
                    <a:cubicBezTo>
                      <a:pt x="63" y="106"/>
                      <a:pt x="60" y="104"/>
                      <a:pt x="51" y="107"/>
                    </a:cubicBezTo>
                    <a:cubicBezTo>
                      <a:pt x="41" y="110"/>
                      <a:pt x="17" y="106"/>
                      <a:pt x="10" y="122"/>
                    </a:cubicBezTo>
                    <a:cubicBezTo>
                      <a:pt x="0" y="139"/>
                      <a:pt x="4" y="195"/>
                      <a:pt x="7" y="20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6" name="Freeform 30">
                <a:extLst>
                  <a:ext uri="{FF2B5EF4-FFF2-40B4-BE49-F238E27FC236}">
                    <a16:creationId xmlns:a16="http://schemas.microsoft.com/office/drawing/2014/main" id="{4DF6F16B-8817-475F-940F-B9268EE9D24F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5045076" y="4090988"/>
                <a:ext cx="128588" cy="136525"/>
              </a:xfrm>
              <a:custGeom>
                <a:avLst/>
                <a:gdLst>
                  <a:gd name="T0" fmla="*/ 9 w 79"/>
                  <a:gd name="T1" fmla="*/ 13 h 86"/>
                  <a:gd name="T2" fmla="*/ 48 w 79"/>
                  <a:gd name="T3" fmla="*/ 6 h 86"/>
                  <a:gd name="T4" fmla="*/ 69 w 79"/>
                  <a:gd name="T5" fmla="*/ 1 h 86"/>
                  <a:gd name="T6" fmla="*/ 74 w 79"/>
                  <a:gd name="T7" fmla="*/ 25 h 86"/>
                  <a:gd name="T8" fmla="*/ 77 w 79"/>
                  <a:gd name="T9" fmla="*/ 46 h 86"/>
                  <a:gd name="T10" fmla="*/ 63 w 79"/>
                  <a:gd name="T11" fmla="*/ 60 h 86"/>
                  <a:gd name="T12" fmla="*/ 56 w 79"/>
                  <a:gd name="T13" fmla="*/ 81 h 86"/>
                  <a:gd name="T14" fmla="*/ 3 w 79"/>
                  <a:gd name="T15" fmla="*/ 78 h 86"/>
                  <a:gd name="T16" fmla="*/ 14 w 79"/>
                  <a:gd name="T17" fmla="*/ 40 h 86"/>
                  <a:gd name="T18" fmla="*/ 9 w 79"/>
                  <a:gd name="T19" fmla="*/ 13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86">
                    <a:moveTo>
                      <a:pt x="9" y="13"/>
                    </a:moveTo>
                    <a:cubicBezTo>
                      <a:pt x="21" y="4"/>
                      <a:pt x="27" y="7"/>
                      <a:pt x="48" y="6"/>
                    </a:cubicBezTo>
                    <a:cubicBezTo>
                      <a:pt x="54" y="3"/>
                      <a:pt x="62" y="0"/>
                      <a:pt x="69" y="1"/>
                    </a:cubicBezTo>
                    <a:cubicBezTo>
                      <a:pt x="73" y="8"/>
                      <a:pt x="70" y="18"/>
                      <a:pt x="74" y="25"/>
                    </a:cubicBezTo>
                    <a:cubicBezTo>
                      <a:pt x="75" y="32"/>
                      <a:pt x="79" y="41"/>
                      <a:pt x="77" y="46"/>
                    </a:cubicBezTo>
                    <a:cubicBezTo>
                      <a:pt x="75" y="52"/>
                      <a:pt x="66" y="54"/>
                      <a:pt x="63" y="60"/>
                    </a:cubicBezTo>
                    <a:cubicBezTo>
                      <a:pt x="59" y="67"/>
                      <a:pt x="63" y="79"/>
                      <a:pt x="56" y="81"/>
                    </a:cubicBezTo>
                    <a:cubicBezTo>
                      <a:pt x="39" y="86"/>
                      <a:pt x="3" y="78"/>
                      <a:pt x="3" y="78"/>
                    </a:cubicBezTo>
                    <a:cubicBezTo>
                      <a:pt x="0" y="64"/>
                      <a:pt x="2" y="49"/>
                      <a:pt x="14" y="40"/>
                    </a:cubicBezTo>
                    <a:cubicBezTo>
                      <a:pt x="18" y="31"/>
                      <a:pt x="14" y="20"/>
                      <a:pt x="9" y="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7" name="Freeform 32">
                <a:extLst>
                  <a:ext uri="{FF2B5EF4-FFF2-40B4-BE49-F238E27FC236}">
                    <a16:creationId xmlns:a16="http://schemas.microsoft.com/office/drawing/2014/main" id="{5DDBD028-3B09-465E-99A0-B5825838A039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4338638" y="3621088"/>
                <a:ext cx="382588" cy="290513"/>
              </a:xfrm>
              <a:custGeom>
                <a:avLst/>
                <a:gdLst>
                  <a:gd name="T0" fmla="*/ 219 w 237"/>
                  <a:gd name="T1" fmla="*/ 20 h 183"/>
                  <a:gd name="T2" fmla="*/ 201 w 237"/>
                  <a:gd name="T3" fmla="*/ 8 h 183"/>
                  <a:gd name="T4" fmla="*/ 183 w 237"/>
                  <a:gd name="T5" fmla="*/ 3 h 183"/>
                  <a:gd name="T6" fmla="*/ 156 w 237"/>
                  <a:gd name="T7" fmla="*/ 14 h 183"/>
                  <a:gd name="T8" fmla="*/ 134 w 237"/>
                  <a:gd name="T9" fmla="*/ 24 h 183"/>
                  <a:gd name="T10" fmla="*/ 120 w 237"/>
                  <a:gd name="T11" fmla="*/ 33 h 183"/>
                  <a:gd name="T12" fmla="*/ 111 w 237"/>
                  <a:gd name="T13" fmla="*/ 45 h 183"/>
                  <a:gd name="T14" fmla="*/ 102 w 237"/>
                  <a:gd name="T15" fmla="*/ 53 h 183"/>
                  <a:gd name="T16" fmla="*/ 77 w 237"/>
                  <a:gd name="T17" fmla="*/ 72 h 183"/>
                  <a:gd name="T18" fmla="*/ 57 w 237"/>
                  <a:gd name="T19" fmla="*/ 69 h 183"/>
                  <a:gd name="T20" fmla="*/ 59 w 237"/>
                  <a:gd name="T21" fmla="*/ 80 h 183"/>
                  <a:gd name="T22" fmla="*/ 60 w 237"/>
                  <a:gd name="T23" fmla="*/ 119 h 183"/>
                  <a:gd name="T24" fmla="*/ 44 w 237"/>
                  <a:gd name="T25" fmla="*/ 128 h 183"/>
                  <a:gd name="T26" fmla="*/ 26 w 237"/>
                  <a:gd name="T27" fmla="*/ 128 h 183"/>
                  <a:gd name="T28" fmla="*/ 0 w 237"/>
                  <a:gd name="T29" fmla="*/ 137 h 183"/>
                  <a:gd name="T30" fmla="*/ 6 w 237"/>
                  <a:gd name="T31" fmla="*/ 143 h 183"/>
                  <a:gd name="T32" fmla="*/ 11 w 237"/>
                  <a:gd name="T33" fmla="*/ 159 h 183"/>
                  <a:gd name="T34" fmla="*/ 29 w 237"/>
                  <a:gd name="T35" fmla="*/ 174 h 183"/>
                  <a:gd name="T36" fmla="*/ 47 w 237"/>
                  <a:gd name="T37" fmla="*/ 179 h 183"/>
                  <a:gd name="T38" fmla="*/ 51 w 237"/>
                  <a:gd name="T39" fmla="*/ 182 h 183"/>
                  <a:gd name="T40" fmla="*/ 54 w 237"/>
                  <a:gd name="T41" fmla="*/ 171 h 183"/>
                  <a:gd name="T42" fmla="*/ 69 w 237"/>
                  <a:gd name="T43" fmla="*/ 159 h 183"/>
                  <a:gd name="T44" fmla="*/ 89 w 237"/>
                  <a:gd name="T45" fmla="*/ 158 h 183"/>
                  <a:gd name="T46" fmla="*/ 128 w 237"/>
                  <a:gd name="T47" fmla="*/ 167 h 183"/>
                  <a:gd name="T48" fmla="*/ 146 w 237"/>
                  <a:gd name="T49" fmla="*/ 162 h 183"/>
                  <a:gd name="T50" fmla="*/ 162 w 237"/>
                  <a:gd name="T51" fmla="*/ 164 h 183"/>
                  <a:gd name="T52" fmla="*/ 173 w 237"/>
                  <a:gd name="T53" fmla="*/ 159 h 183"/>
                  <a:gd name="T54" fmla="*/ 177 w 237"/>
                  <a:gd name="T55" fmla="*/ 161 h 183"/>
                  <a:gd name="T56" fmla="*/ 192 w 237"/>
                  <a:gd name="T57" fmla="*/ 164 h 183"/>
                  <a:gd name="T58" fmla="*/ 200 w 237"/>
                  <a:gd name="T59" fmla="*/ 143 h 183"/>
                  <a:gd name="T60" fmla="*/ 209 w 237"/>
                  <a:gd name="T61" fmla="*/ 132 h 183"/>
                  <a:gd name="T62" fmla="*/ 215 w 237"/>
                  <a:gd name="T63" fmla="*/ 122 h 183"/>
                  <a:gd name="T64" fmla="*/ 224 w 237"/>
                  <a:gd name="T65" fmla="*/ 116 h 183"/>
                  <a:gd name="T66" fmla="*/ 230 w 237"/>
                  <a:gd name="T67" fmla="*/ 98 h 183"/>
                  <a:gd name="T68" fmla="*/ 237 w 237"/>
                  <a:gd name="T69" fmla="*/ 78 h 183"/>
                  <a:gd name="T70" fmla="*/ 233 w 237"/>
                  <a:gd name="T71" fmla="*/ 51 h 183"/>
                  <a:gd name="T72" fmla="*/ 222 w 237"/>
                  <a:gd name="T73" fmla="*/ 26 h 183"/>
                  <a:gd name="T74" fmla="*/ 219 w 237"/>
                  <a:gd name="T75" fmla="*/ 2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37" h="183">
                    <a:moveTo>
                      <a:pt x="219" y="20"/>
                    </a:moveTo>
                    <a:cubicBezTo>
                      <a:pt x="215" y="17"/>
                      <a:pt x="207" y="11"/>
                      <a:pt x="201" y="8"/>
                    </a:cubicBezTo>
                    <a:cubicBezTo>
                      <a:pt x="195" y="5"/>
                      <a:pt x="190" y="2"/>
                      <a:pt x="183" y="3"/>
                    </a:cubicBezTo>
                    <a:cubicBezTo>
                      <a:pt x="175" y="0"/>
                      <a:pt x="156" y="14"/>
                      <a:pt x="156" y="14"/>
                    </a:cubicBezTo>
                    <a:cubicBezTo>
                      <a:pt x="148" y="17"/>
                      <a:pt x="140" y="21"/>
                      <a:pt x="134" y="24"/>
                    </a:cubicBezTo>
                    <a:cubicBezTo>
                      <a:pt x="128" y="27"/>
                      <a:pt x="124" y="30"/>
                      <a:pt x="120" y="33"/>
                    </a:cubicBezTo>
                    <a:cubicBezTo>
                      <a:pt x="116" y="39"/>
                      <a:pt x="119" y="43"/>
                      <a:pt x="111" y="45"/>
                    </a:cubicBezTo>
                    <a:cubicBezTo>
                      <a:pt x="109" y="53"/>
                      <a:pt x="111" y="52"/>
                      <a:pt x="102" y="53"/>
                    </a:cubicBezTo>
                    <a:cubicBezTo>
                      <a:pt x="96" y="56"/>
                      <a:pt x="84" y="69"/>
                      <a:pt x="77" y="72"/>
                    </a:cubicBezTo>
                    <a:cubicBezTo>
                      <a:pt x="70" y="75"/>
                      <a:pt x="60" y="68"/>
                      <a:pt x="57" y="69"/>
                    </a:cubicBezTo>
                    <a:cubicBezTo>
                      <a:pt x="54" y="71"/>
                      <a:pt x="59" y="72"/>
                      <a:pt x="59" y="80"/>
                    </a:cubicBezTo>
                    <a:cubicBezTo>
                      <a:pt x="59" y="88"/>
                      <a:pt x="63" y="111"/>
                      <a:pt x="60" y="119"/>
                    </a:cubicBezTo>
                    <a:cubicBezTo>
                      <a:pt x="57" y="127"/>
                      <a:pt x="50" y="127"/>
                      <a:pt x="44" y="128"/>
                    </a:cubicBezTo>
                    <a:cubicBezTo>
                      <a:pt x="38" y="139"/>
                      <a:pt x="33" y="127"/>
                      <a:pt x="26" y="128"/>
                    </a:cubicBezTo>
                    <a:cubicBezTo>
                      <a:pt x="19" y="129"/>
                      <a:pt x="3" y="135"/>
                      <a:pt x="0" y="137"/>
                    </a:cubicBezTo>
                    <a:cubicBezTo>
                      <a:pt x="1" y="140"/>
                      <a:pt x="5" y="140"/>
                      <a:pt x="6" y="143"/>
                    </a:cubicBezTo>
                    <a:cubicBezTo>
                      <a:pt x="8" y="146"/>
                      <a:pt x="7" y="154"/>
                      <a:pt x="11" y="159"/>
                    </a:cubicBezTo>
                    <a:cubicBezTo>
                      <a:pt x="15" y="164"/>
                      <a:pt x="23" y="171"/>
                      <a:pt x="29" y="174"/>
                    </a:cubicBezTo>
                    <a:cubicBezTo>
                      <a:pt x="35" y="177"/>
                      <a:pt x="41" y="177"/>
                      <a:pt x="47" y="179"/>
                    </a:cubicBezTo>
                    <a:cubicBezTo>
                      <a:pt x="48" y="180"/>
                      <a:pt x="49" y="183"/>
                      <a:pt x="51" y="182"/>
                    </a:cubicBezTo>
                    <a:cubicBezTo>
                      <a:pt x="53" y="181"/>
                      <a:pt x="54" y="172"/>
                      <a:pt x="54" y="171"/>
                    </a:cubicBezTo>
                    <a:cubicBezTo>
                      <a:pt x="56" y="165"/>
                      <a:pt x="63" y="160"/>
                      <a:pt x="69" y="159"/>
                    </a:cubicBezTo>
                    <a:cubicBezTo>
                      <a:pt x="76" y="157"/>
                      <a:pt x="82" y="159"/>
                      <a:pt x="89" y="158"/>
                    </a:cubicBezTo>
                    <a:cubicBezTo>
                      <a:pt x="102" y="160"/>
                      <a:pt x="114" y="166"/>
                      <a:pt x="128" y="167"/>
                    </a:cubicBezTo>
                    <a:cubicBezTo>
                      <a:pt x="137" y="169"/>
                      <a:pt x="139" y="162"/>
                      <a:pt x="146" y="162"/>
                    </a:cubicBezTo>
                    <a:cubicBezTo>
                      <a:pt x="152" y="162"/>
                      <a:pt x="158" y="164"/>
                      <a:pt x="162" y="164"/>
                    </a:cubicBezTo>
                    <a:cubicBezTo>
                      <a:pt x="166" y="164"/>
                      <a:pt x="171" y="159"/>
                      <a:pt x="173" y="159"/>
                    </a:cubicBezTo>
                    <a:cubicBezTo>
                      <a:pt x="174" y="158"/>
                      <a:pt x="175" y="161"/>
                      <a:pt x="177" y="161"/>
                    </a:cubicBezTo>
                    <a:cubicBezTo>
                      <a:pt x="183" y="160"/>
                      <a:pt x="187" y="167"/>
                      <a:pt x="192" y="164"/>
                    </a:cubicBezTo>
                    <a:cubicBezTo>
                      <a:pt x="197" y="161"/>
                      <a:pt x="197" y="147"/>
                      <a:pt x="200" y="143"/>
                    </a:cubicBezTo>
                    <a:cubicBezTo>
                      <a:pt x="202" y="135"/>
                      <a:pt x="205" y="139"/>
                      <a:pt x="209" y="132"/>
                    </a:cubicBezTo>
                    <a:cubicBezTo>
                      <a:pt x="211" y="128"/>
                      <a:pt x="213" y="125"/>
                      <a:pt x="215" y="122"/>
                    </a:cubicBezTo>
                    <a:cubicBezTo>
                      <a:pt x="217" y="119"/>
                      <a:pt x="221" y="120"/>
                      <a:pt x="224" y="116"/>
                    </a:cubicBezTo>
                    <a:cubicBezTo>
                      <a:pt x="225" y="110"/>
                      <a:pt x="227" y="104"/>
                      <a:pt x="230" y="98"/>
                    </a:cubicBezTo>
                    <a:cubicBezTo>
                      <a:pt x="231" y="92"/>
                      <a:pt x="237" y="86"/>
                      <a:pt x="237" y="78"/>
                    </a:cubicBezTo>
                    <a:cubicBezTo>
                      <a:pt x="237" y="70"/>
                      <a:pt x="235" y="60"/>
                      <a:pt x="233" y="51"/>
                    </a:cubicBezTo>
                    <a:cubicBezTo>
                      <a:pt x="231" y="42"/>
                      <a:pt x="224" y="31"/>
                      <a:pt x="222" y="26"/>
                    </a:cubicBezTo>
                    <a:cubicBezTo>
                      <a:pt x="221" y="21"/>
                      <a:pt x="205" y="6"/>
                      <a:pt x="219" y="2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8" name="Freeform 33">
                <a:extLst>
                  <a:ext uri="{FF2B5EF4-FFF2-40B4-BE49-F238E27FC236}">
                    <a16:creationId xmlns:a16="http://schemas.microsoft.com/office/drawing/2014/main" id="{ACBCC58D-1EE6-4184-9621-4ADC4D12C818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4340226" y="3897313"/>
                <a:ext cx="88900" cy="155575"/>
              </a:xfrm>
              <a:custGeom>
                <a:avLst/>
                <a:gdLst>
                  <a:gd name="T0" fmla="*/ 32 w 55"/>
                  <a:gd name="T1" fmla="*/ 4 h 98"/>
                  <a:gd name="T2" fmla="*/ 26 w 55"/>
                  <a:gd name="T3" fmla="*/ 12 h 98"/>
                  <a:gd name="T4" fmla="*/ 18 w 55"/>
                  <a:gd name="T5" fmla="*/ 18 h 98"/>
                  <a:gd name="T6" fmla="*/ 18 w 55"/>
                  <a:gd name="T7" fmla="*/ 34 h 98"/>
                  <a:gd name="T8" fmla="*/ 34 w 55"/>
                  <a:gd name="T9" fmla="*/ 92 h 98"/>
                  <a:gd name="T10" fmla="*/ 52 w 55"/>
                  <a:gd name="T11" fmla="*/ 36 h 98"/>
                  <a:gd name="T12" fmla="*/ 50 w 55"/>
                  <a:gd name="T13" fmla="*/ 18 h 98"/>
                  <a:gd name="T14" fmla="*/ 43 w 55"/>
                  <a:gd name="T15" fmla="*/ 7 h 98"/>
                  <a:gd name="T16" fmla="*/ 32 w 55"/>
                  <a:gd name="T17" fmla="*/ 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98">
                    <a:moveTo>
                      <a:pt x="32" y="4"/>
                    </a:moveTo>
                    <a:cubicBezTo>
                      <a:pt x="28" y="0"/>
                      <a:pt x="28" y="10"/>
                      <a:pt x="26" y="12"/>
                    </a:cubicBezTo>
                    <a:cubicBezTo>
                      <a:pt x="24" y="14"/>
                      <a:pt x="19" y="14"/>
                      <a:pt x="18" y="18"/>
                    </a:cubicBezTo>
                    <a:cubicBezTo>
                      <a:pt x="13" y="26"/>
                      <a:pt x="9" y="28"/>
                      <a:pt x="18" y="34"/>
                    </a:cubicBezTo>
                    <a:cubicBezTo>
                      <a:pt x="27" y="60"/>
                      <a:pt x="0" y="98"/>
                      <a:pt x="34" y="92"/>
                    </a:cubicBezTo>
                    <a:cubicBezTo>
                      <a:pt x="45" y="60"/>
                      <a:pt x="34" y="63"/>
                      <a:pt x="52" y="36"/>
                    </a:cubicBezTo>
                    <a:cubicBezTo>
                      <a:pt x="55" y="24"/>
                      <a:pt x="51" y="23"/>
                      <a:pt x="50" y="18"/>
                    </a:cubicBezTo>
                    <a:cubicBezTo>
                      <a:pt x="49" y="13"/>
                      <a:pt x="46" y="9"/>
                      <a:pt x="43" y="7"/>
                    </a:cubicBezTo>
                    <a:cubicBezTo>
                      <a:pt x="40" y="5"/>
                      <a:pt x="35" y="3"/>
                      <a:pt x="32" y="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0" name="Freeform 34">
                <a:extLst>
                  <a:ext uri="{FF2B5EF4-FFF2-40B4-BE49-F238E27FC236}">
                    <a16:creationId xmlns:a16="http://schemas.microsoft.com/office/drawing/2014/main" id="{F3181335-25F9-4D6E-AC8D-3BD7D0C21170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327526" y="3929063"/>
                <a:ext cx="46038" cy="123825"/>
              </a:xfrm>
              <a:custGeom>
                <a:avLst/>
                <a:gdLst>
                  <a:gd name="T0" fmla="*/ 18 w 28"/>
                  <a:gd name="T1" fmla="*/ 0 h 78"/>
                  <a:gd name="T2" fmla="*/ 0 w 28"/>
                  <a:gd name="T3" fmla="*/ 21 h 78"/>
                  <a:gd name="T4" fmla="*/ 10 w 28"/>
                  <a:gd name="T5" fmla="*/ 50 h 78"/>
                  <a:gd name="T6" fmla="*/ 10 w 28"/>
                  <a:gd name="T7" fmla="*/ 63 h 78"/>
                  <a:gd name="T8" fmla="*/ 16 w 28"/>
                  <a:gd name="T9" fmla="*/ 76 h 78"/>
                  <a:gd name="T10" fmla="*/ 24 w 28"/>
                  <a:gd name="T11" fmla="*/ 74 h 78"/>
                  <a:gd name="T12" fmla="*/ 27 w 28"/>
                  <a:gd name="T13" fmla="*/ 24 h 78"/>
                  <a:gd name="T14" fmla="*/ 18 w 28"/>
                  <a:gd name="T1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78">
                    <a:moveTo>
                      <a:pt x="18" y="0"/>
                    </a:moveTo>
                    <a:cubicBezTo>
                      <a:pt x="7" y="4"/>
                      <a:pt x="3" y="11"/>
                      <a:pt x="0" y="21"/>
                    </a:cubicBezTo>
                    <a:cubicBezTo>
                      <a:pt x="1" y="30"/>
                      <a:pt x="8" y="41"/>
                      <a:pt x="10" y="50"/>
                    </a:cubicBezTo>
                    <a:cubicBezTo>
                      <a:pt x="11" y="54"/>
                      <a:pt x="10" y="63"/>
                      <a:pt x="10" y="63"/>
                    </a:cubicBezTo>
                    <a:cubicBezTo>
                      <a:pt x="11" y="68"/>
                      <a:pt x="13" y="72"/>
                      <a:pt x="16" y="76"/>
                    </a:cubicBezTo>
                    <a:cubicBezTo>
                      <a:pt x="18" y="78"/>
                      <a:pt x="24" y="77"/>
                      <a:pt x="24" y="74"/>
                    </a:cubicBezTo>
                    <a:cubicBezTo>
                      <a:pt x="24" y="65"/>
                      <a:pt x="28" y="36"/>
                      <a:pt x="27" y="24"/>
                    </a:cubicBezTo>
                    <a:cubicBezTo>
                      <a:pt x="26" y="12"/>
                      <a:pt x="20" y="5"/>
                      <a:pt x="18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1" name="Freeform 35">
                <a:extLst>
                  <a:ext uri="{FF2B5EF4-FFF2-40B4-BE49-F238E27FC236}">
                    <a16:creationId xmlns:a16="http://schemas.microsoft.com/office/drawing/2014/main" id="{0FF0134F-12F9-4B8F-98D9-CF78A94FDFBF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005263" y="3935413"/>
                <a:ext cx="76200" cy="85725"/>
              </a:xfrm>
              <a:custGeom>
                <a:avLst/>
                <a:gdLst>
                  <a:gd name="T0" fmla="*/ 16 w 47"/>
                  <a:gd name="T1" fmla="*/ 18 h 54"/>
                  <a:gd name="T2" fmla="*/ 12 w 47"/>
                  <a:gd name="T3" fmla="*/ 50 h 54"/>
                  <a:gd name="T4" fmla="*/ 26 w 47"/>
                  <a:gd name="T5" fmla="*/ 54 h 54"/>
                  <a:gd name="T6" fmla="*/ 44 w 47"/>
                  <a:gd name="T7" fmla="*/ 46 h 54"/>
                  <a:gd name="T8" fmla="*/ 44 w 47"/>
                  <a:gd name="T9" fmla="*/ 30 h 54"/>
                  <a:gd name="T10" fmla="*/ 39 w 47"/>
                  <a:gd name="T11" fmla="*/ 9 h 54"/>
                  <a:gd name="T12" fmla="*/ 16 w 47"/>
                  <a:gd name="T13" fmla="*/ 1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54">
                    <a:moveTo>
                      <a:pt x="16" y="18"/>
                    </a:moveTo>
                    <a:cubicBezTo>
                      <a:pt x="3" y="22"/>
                      <a:pt x="0" y="42"/>
                      <a:pt x="12" y="50"/>
                    </a:cubicBezTo>
                    <a:cubicBezTo>
                      <a:pt x="16" y="53"/>
                      <a:pt x="21" y="52"/>
                      <a:pt x="26" y="54"/>
                    </a:cubicBezTo>
                    <a:cubicBezTo>
                      <a:pt x="40" y="49"/>
                      <a:pt x="34" y="52"/>
                      <a:pt x="44" y="46"/>
                    </a:cubicBezTo>
                    <a:cubicBezTo>
                      <a:pt x="47" y="42"/>
                      <a:pt x="45" y="36"/>
                      <a:pt x="44" y="30"/>
                    </a:cubicBezTo>
                    <a:cubicBezTo>
                      <a:pt x="43" y="24"/>
                      <a:pt x="44" y="11"/>
                      <a:pt x="39" y="9"/>
                    </a:cubicBezTo>
                    <a:cubicBezTo>
                      <a:pt x="36" y="0"/>
                      <a:pt x="25" y="15"/>
                      <a:pt x="16" y="1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2" name="Freeform 36">
                <a:extLst>
                  <a:ext uri="{FF2B5EF4-FFF2-40B4-BE49-F238E27FC236}">
                    <a16:creationId xmlns:a16="http://schemas.microsoft.com/office/drawing/2014/main" id="{F3E488E5-43C9-49AB-8DAA-91BCC2ED7AD9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3962401" y="3890963"/>
                <a:ext cx="187325" cy="125413"/>
              </a:xfrm>
              <a:custGeom>
                <a:avLst/>
                <a:gdLst>
                  <a:gd name="T0" fmla="*/ 28 w 116"/>
                  <a:gd name="T1" fmla="*/ 48 h 79"/>
                  <a:gd name="T2" fmla="*/ 6 w 116"/>
                  <a:gd name="T3" fmla="*/ 30 h 79"/>
                  <a:gd name="T4" fmla="*/ 6 w 116"/>
                  <a:gd name="T5" fmla="*/ 24 h 79"/>
                  <a:gd name="T6" fmla="*/ 17 w 116"/>
                  <a:gd name="T7" fmla="*/ 15 h 79"/>
                  <a:gd name="T8" fmla="*/ 30 w 116"/>
                  <a:gd name="T9" fmla="*/ 2 h 79"/>
                  <a:gd name="T10" fmla="*/ 49 w 116"/>
                  <a:gd name="T11" fmla="*/ 7 h 79"/>
                  <a:gd name="T12" fmla="*/ 76 w 116"/>
                  <a:gd name="T13" fmla="*/ 10 h 79"/>
                  <a:gd name="T14" fmla="*/ 102 w 116"/>
                  <a:gd name="T15" fmla="*/ 26 h 79"/>
                  <a:gd name="T16" fmla="*/ 110 w 116"/>
                  <a:gd name="T17" fmla="*/ 38 h 79"/>
                  <a:gd name="T18" fmla="*/ 112 w 116"/>
                  <a:gd name="T19" fmla="*/ 56 h 79"/>
                  <a:gd name="T20" fmla="*/ 113 w 116"/>
                  <a:gd name="T21" fmla="*/ 76 h 79"/>
                  <a:gd name="T22" fmla="*/ 91 w 116"/>
                  <a:gd name="T23" fmla="*/ 79 h 79"/>
                  <a:gd name="T24" fmla="*/ 72 w 116"/>
                  <a:gd name="T25" fmla="*/ 68 h 79"/>
                  <a:gd name="T26" fmla="*/ 69 w 116"/>
                  <a:gd name="T27" fmla="*/ 58 h 79"/>
                  <a:gd name="T28" fmla="*/ 68 w 116"/>
                  <a:gd name="T29" fmla="*/ 49 h 79"/>
                  <a:gd name="T30" fmla="*/ 65 w 116"/>
                  <a:gd name="T31" fmla="*/ 39 h 79"/>
                  <a:gd name="T32" fmla="*/ 46 w 116"/>
                  <a:gd name="T33" fmla="*/ 40 h 79"/>
                  <a:gd name="T34" fmla="*/ 38 w 116"/>
                  <a:gd name="T35" fmla="*/ 46 h 79"/>
                  <a:gd name="T36" fmla="*/ 28 w 116"/>
                  <a:gd name="T37" fmla="*/ 4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6" h="79">
                    <a:moveTo>
                      <a:pt x="28" y="48"/>
                    </a:moveTo>
                    <a:cubicBezTo>
                      <a:pt x="25" y="31"/>
                      <a:pt x="23" y="32"/>
                      <a:pt x="6" y="30"/>
                    </a:cubicBezTo>
                    <a:cubicBezTo>
                      <a:pt x="0" y="24"/>
                      <a:pt x="11" y="31"/>
                      <a:pt x="6" y="24"/>
                    </a:cubicBezTo>
                    <a:cubicBezTo>
                      <a:pt x="7" y="21"/>
                      <a:pt x="13" y="19"/>
                      <a:pt x="17" y="15"/>
                    </a:cubicBezTo>
                    <a:cubicBezTo>
                      <a:pt x="21" y="11"/>
                      <a:pt x="25" y="3"/>
                      <a:pt x="30" y="2"/>
                    </a:cubicBezTo>
                    <a:cubicBezTo>
                      <a:pt x="35" y="0"/>
                      <a:pt x="41" y="6"/>
                      <a:pt x="49" y="7"/>
                    </a:cubicBezTo>
                    <a:cubicBezTo>
                      <a:pt x="57" y="8"/>
                      <a:pt x="67" y="7"/>
                      <a:pt x="76" y="10"/>
                    </a:cubicBezTo>
                    <a:cubicBezTo>
                      <a:pt x="85" y="13"/>
                      <a:pt x="96" y="21"/>
                      <a:pt x="102" y="26"/>
                    </a:cubicBezTo>
                    <a:cubicBezTo>
                      <a:pt x="104" y="30"/>
                      <a:pt x="110" y="38"/>
                      <a:pt x="110" y="38"/>
                    </a:cubicBezTo>
                    <a:cubicBezTo>
                      <a:pt x="108" y="44"/>
                      <a:pt x="112" y="56"/>
                      <a:pt x="112" y="56"/>
                    </a:cubicBezTo>
                    <a:cubicBezTo>
                      <a:pt x="111" y="61"/>
                      <a:pt x="116" y="72"/>
                      <a:pt x="113" y="76"/>
                    </a:cubicBezTo>
                    <a:cubicBezTo>
                      <a:pt x="111" y="79"/>
                      <a:pt x="91" y="79"/>
                      <a:pt x="91" y="79"/>
                    </a:cubicBezTo>
                    <a:cubicBezTo>
                      <a:pt x="79" y="77"/>
                      <a:pt x="82" y="71"/>
                      <a:pt x="72" y="68"/>
                    </a:cubicBezTo>
                    <a:cubicBezTo>
                      <a:pt x="68" y="65"/>
                      <a:pt x="71" y="63"/>
                      <a:pt x="69" y="58"/>
                    </a:cubicBezTo>
                    <a:cubicBezTo>
                      <a:pt x="68" y="55"/>
                      <a:pt x="69" y="52"/>
                      <a:pt x="68" y="49"/>
                    </a:cubicBezTo>
                    <a:cubicBezTo>
                      <a:pt x="67" y="46"/>
                      <a:pt x="69" y="41"/>
                      <a:pt x="65" y="39"/>
                    </a:cubicBezTo>
                    <a:cubicBezTo>
                      <a:pt x="61" y="35"/>
                      <a:pt x="50" y="39"/>
                      <a:pt x="46" y="40"/>
                    </a:cubicBezTo>
                    <a:cubicBezTo>
                      <a:pt x="42" y="41"/>
                      <a:pt x="41" y="45"/>
                      <a:pt x="38" y="46"/>
                    </a:cubicBezTo>
                    <a:cubicBezTo>
                      <a:pt x="33" y="53"/>
                      <a:pt x="32" y="52"/>
                      <a:pt x="28" y="4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3" name="Freeform 37">
                <a:extLst>
                  <a:ext uri="{FF2B5EF4-FFF2-40B4-BE49-F238E27FC236}">
                    <a16:creationId xmlns:a16="http://schemas.microsoft.com/office/drawing/2014/main" id="{B03D3DD1-93F0-4859-A7E5-CA239321E931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4205288" y="3835400"/>
                <a:ext cx="184150" cy="127000"/>
              </a:xfrm>
              <a:custGeom>
                <a:avLst/>
                <a:gdLst>
                  <a:gd name="T0" fmla="*/ 77 w 114"/>
                  <a:gd name="T1" fmla="*/ 0 h 80"/>
                  <a:gd name="T2" fmla="*/ 34 w 114"/>
                  <a:gd name="T3" fmla="*/ 13 h 80"/>
                  <a:gd name="T4" fmla="*/ 18 w 114"/>
                  <a:gd name="T5" fmla="*/ 27 h 80"/>
                  <a:gd name="T6" fmla="*/ 0 w 114"/>
                  <a:gd name="T7" fmla="*/ 55 h 80"/>
                  <a:gd name="T8" fmla="*/ 12 w 114"/>
                  <a:gd name="T9" fmla="*/ 77 h 80"/>
                  <a:gd name="T10" fmla="*/ 24 w 114"/>
                  <a:gd name="T11" fmla="*/ 75 h 80"/>
                  <a:gd name="T12" fmla="*/ 40 w 114"/>
                  <a:gd name="T13" fmla="*/ 63 h 80"/>
                  <a:gd name="T14" fmla="*/ 80 w 114"/>
                  <a:gd name="T15" fmla="*/ 61 h 80"/>
                  <a:gd name="T16" fmla="*/ 110 w 114"/>
                  <a:gd name="T17" fmla="*/ 55 h 80"/>
                  <a:gd name="T18" fmla="*/ 100 w 114"/>
                  <a:gd name="T19" fmla="*/ 31 h 80"/>
                  <a:gd name="T20" fmla="*/ 86 w 114"/>
                  <a:gd name="T21" fmla="*/ 9 h 80"/>
                  <a:gd name="T22" fmla="*/ 77 w 114"/>
                  <a:gd name="T2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4" h="80">
                    <a:moveTo>
                      <a:pt x="77" y="0"/>
                    </a:moveTo>
                    <a:cubicBezTo>
                      <a:pt x="58" y="2"/>
                      <a:pt x="54" y="11"/>
                      <a:pt x="34" y="13"/>
                    </a:cubicBezTo>
                    <a:cubicBezTo>
                      <a:pt x="31" y="26"/>
                      <a:pt x="30" y="24"/>
                      <a:pt x="18" y="27"/>
                    </a:cubicBezTo>
                    <a:cubicBezTo>
                      <a:pt x="7" y="35"/>
                      <a:pt x="12" y="51"/>
                      <a:pt x="0" y="55"/>
                    </a:cubicBezTo>
                    <a:cubicBezTo>
                      <a:pt x="2" y="67"/>
                      <a:pt x="0" y="73"/>
                      <a:pt x="12" y="77"/>
                    </a:cubicBezTo>
                    <a:cubicBezTo>
                      <a:pt x="15" y="80"/>
                      <a:pt x="19" y="77"/>
                      <a:pt x="24" y="75"/>
                    </a:cubicBezTo>
                    <a:cubicBezTo>
                      <a:pt x="29" y="73"/>
                      <a:pt x="31" y="65"/>
                      <a:pt x="40" y="63"/>
                    </a:cubicBezTo>
                    <a:cubicBezTo>
                      <a:pt x="53" y="62"/>
                      <a:pt x="67" y="62"/>
                      <a:pt x="80" y="61"/>
                    </a:cubicBezTo>
                    <a:cubicBezTo>
                      <a:pt x="98" y="55"/>
                      <a:pt x="88" y="57"/>
                      <a:pt x="110" y="55"/>
                    </a:cubicBezTo>
                    <a:cubicBezTo>
                      <a:pt x="114" y="44"/>
                      <a:pt x="111" y="35"/>
                      <a:pt x="100" y="31"/>
                    </a:cubicBezTo>
                    <a:cubicBezTo>
                      <a:pt x="94" y="22"/>
                      <a:pt x="95" y="15"/>
                      <a:pt x="86" y="9"/>
                    </a:cubicBezTo>
                    <a:cubicBezTo>
                      <a:pt x="81" y="2"/>
                      <a:pt x="71" y="0"/>
                      <a:pt x="77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4" name="Freeform 38">
                <a:extLst>
                  <a:ext uri="{FF2B5EF4-FFF2-40B4-BE49-F238E27FC236}">
                    <a16:creationId xmlns:a16="http://schemas.microsoft.com/office/drawing/2014/main" id="{6F49ABF2-16D7-4150-AFEA-DD5C934DB5F1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5357813" y="3749675"/>
                <a:ext cx="244475" cy="144463"/>
              </a:xfrm>
              <a:custGeom>
                <a:avLst/>
                <a:gdLst>
                  <a:gd name="T0" fmla="*/ 3 w 151"/>
                  <a:gd name="T1" fmla="*/ 27 h 91"/>
                  <a:gd name="T2" fmla="*/ 17 w 151"/>
                  <a:gd name="T3" fmla="*/ 69 h 91"/>
                  <a:gd name="T4" fmla="*/ 39 w 151"/>
                  <a:gd name="T5" fmla="*/ 89 h 91"/>
                  <a:gd name="T6" fmla="*/ 52 w 151"/>
                  <a:gd name="T7" fmla="*/ 84 h 91"/>
                  <a:gd name="T8" fmla="*/ 84 w 151"/>
                  <a:gd name="T9" fmla="*/ 71 h 91"/>
                  <a:gd name="T10" fmla="*/ 108 w 151"/>
                  <a:gd name="T11" fmla="*/ 60 h 91"/>
                  <a:gd name="T12" fmla="*/ 129 w 151"/>
                  <a:gd name="T13" fmla="*/ 53 h 91"/>
                  <a:gd name="T14" fmla="*/ 138 w 151"/>
                  <a:gd name="T15" fmla="*/ 41 h 91"/>
                  <a:gd name="T16" fmla="*/ 148 w 151"/>
                  <a:gd name="T17" fmla="*/ 24 h 91"/>
                  <a:gd name="T18" fmla="*/ 129 w 151"/>
                  <a:gd name="T19" fmla="*/ 0 h 91"/>
                  <a:gd name="T20" fmla="*/ 115 w 151"/>
                  <a:gd name="T21" fmla="*/ 2 h 91"/>
                  <a:gd name="T22" fmla="*/ 88 w 151"/>
                  <a:gd name="T23" fmla="*/ 3 h 91"/>
                  <a:gd name="T24" fmla="*/ 73 w 151"/>
                  <a:gd name="T25" fmla="*/ 6 h 91"/>
                  <a:gd name="T26" fmla="*/ 54 w 151"/>
                  <a:gd name="T27" fmla="*/ 41 h 91"/>
                  <a:gd name="T28" fmla="*/ 40 w 151"/>
                  <a:gd name="T29" fmla="*/ 33 h 91"/>
                  <a:gd name="T30" fmla="*/ 22 w 151"/>
                  <a:gd name="T31" fmla="*/ 26 h 91"/>
                  <a:gd name="T32" fmla="*/ 10 w 151"/>
                  <a:gd name="T33" fmla="*/ 24 h 91"/>
                  <a:gd name="T34" fmla="*/ 3 w 151"/>
                  <a:gd name="T35" fmla="*/ 27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1" h="91">
                    <a:moveTo>
                      <a:pt x="3" y="27"/>
                    </a:moveTo>
                    <a:cubicBezTo>
                      <a:pt x="0" y="42"/>
                      <a:pt x="12" y="55"/>
                      <a:pt x="17" y="69"/>
                    </a:cubicBezTo>
                    <a:cubicBezTo>
                      <a:pt x="17" y="79"/>
                      <a:pt x="33" y="87"/>
                      <a:pt x="39" y="89"/>
                    </a:cubicBezTo>
                    <a:cubicBezTo>
                      <a:pt x="45" y="91"/>
                      <a:pt x="45" y="87"/>
                      <a:pt x="52" y="84"/>
                    </a:cubicBezTo>
                    <a:cubicBezTo>
                      <a:pt x="68" y="74"/>
                      <a:pt x="60" y="76"/>
                      <a:pt x="84" y="71"/>
                    </a:cubicBezTo>
                    <a:cubicBezTo>
                      <a:pt x="90" y="61"/>
                      <a:pt x="97" y="62"/>
                      <a:pt x="108" y="60"/>
                    </a:cubicBezTo>
                    <a:cubicBezTo>
                      <a:pt x="114" y="56"/>
                      <a:pt x="122" y="54"/>
                      <a:pt x="129" y="53"/>
                    </a:cubicBezTo>
                    <a:cubicBezTo>
                      <a:pt x="134" y="49"/>
                      <a:pt x="135" y="46"/>
                      <a:pt x="138" y="41"/>
                    </a:cubicBezTo>
                    <a:cubicBezTo>
                      <a:pt x="140" y="31"/>
                      <a:pt x="151" y="35"/>
                      <a:pt x="148" y="24"/>
                    </a:cubicBezTo>
                    <a:cubicBezTo>
                      <a:pt x="147" y="14"/>
                      <a:pt x="139" y="5"/>
                      <a:pt x="129" y="0"/>
                    </a:cubicBezTo>
                    <a:cubicBezTo>
                      <a:pt x="124" y="1"/>
                      <a:pt x="120" y="2"/>
                      <a:pt x="115" y="2"/>
                    </a:cubicBezTo>
                    <a:cubicBezTo>
                      <a:pt x="106" y="3"/>
                      <a:pt x="97" y="2"/>
                      <a:pt x="88" y="3"/>
                    </a:cubicBezTo>
                    <a:cubicBezTo>
                      <a:pt x="83" y="3"/>
                      <a:pt x="73" y="6"/>
                      <a:pt x="73" y="6"/>
                    </a:cubicBezTo>
                    <a:cubicBezTo>
                      <a:pt x="67" y="16"/>
                      <a:pt x="64" y="33"/>
                      <a:pt x="54" y="41"/>
                    </a:cubicBezTo>
                    <a:cubicBezTo>
                      <a:pt x="48" y="40"/>
                      <a:pt x="45" y="35"/>
                      <a:pt x="40" y="33"/>
                    </a:cubicBezTo>
                    <a:cubicBezTo>
                      <a:pt x="36" y="32"/>
                      <a:pt x="22" y="26"/>
                      <a:pt x="22" y="26"/>
                    </a:cubicBezTo>
                    <a:cubicBezTo>
                      <a:pt x="17" y="17"/>
                      <a:pt x="19" y="22"/>
                      <a:pt x="10" y="24"/>
                    </a:cubicBezTo>
                    <a:cubicBezTo>
                      <a:pt x="5" y="26"/>
                      <a:pt x="7" y="26"/>
                      <a:pt x="3" y="2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5" name="Freeform 39">
                <a:extLst>
                  <a:ext uri="{FF2B5EF4-FFF2-40B4-BE49-F238E27FC236}">
                    <a16:creationId xmlns:a16="http://schemas.microsoft.com/office/drawing/2014/main" id="{E8130BFE-82A8-4E79-9103-CAF5A1678921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5199063" y="3762375"/>
                <a:ext cx="168275" cy="165100"/>
              </a:xfrm>
              <a:custGeom>
                <a:avLst/>
                <a:gdLst>
                  <a:gd name="T0" fmla="*/ 31 w 106"/>
                  <a:gd name="T1" fmla="*/ 0 h 104"/>
                  <a:gd name="T2" fmla="*/ 55 w 106"/>
                  <a:gd name="T3" fmla="*/ 18 h 104"/>
                  <a:gd name="T4" fmla="*/ 87 w 106"/>
                  <a:gd name="T5" fmla="*/ 46 h 104"/>
                  <a:gd name="T6" fmla="*/ 105 w 106"/>
                  <a:gd name="T7" fmla="*/ 96 h 104"/>
                  <a:gd name="T8" fmla="*/ 90 w 106"/>
                  <a:gd name="T9" fmla="*/ 100 h 104"/>
                  <a:gd name="T10" fmla="*/ 80 w 106"/>
                  <a:gd name="T11" fmla="*/ 91 h 104"/>
                  <a:gd name="T12" fmla="*/ 83 w 106"/>
                  <a:gd name="T13" fmla="*/ 78 h 104"/>
                  <a:gd name="T14" fmla="*/ 77 w 106"/>
                  <a:gd name="T15" fmla="*/ 54 h 104"/>
                  <a:gd name="T16" fmla="*/ 12 w 106"/>
                  <a:gd name="T17" fmla="*/ 54 h 104"/>
                  <a:gd name="T18" fmla="*/ 7 w 106"/>
                  <a:gd name="T19" fmla="*/ 30 h 104"/>
                  <a:gd name="T20" fmla="*/ 31 w 106"/>
                  <a:gd name="T21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104">
                    <a:moveTo>
                      <a:pt x="31" y="0"/>
                    </a:moveTo>
                    <a:cubicBezTo>
                      <a:pt x="52" y="2"/>
                      <a:pt x="35" y="13"/>
                      <a:pt x="55" y="18"/>
                    </a:cubicBezTo>
                    <a:cubicBezTo>
                      <a:pt x="62" y="26"/>
                      <a:pt x="80" y="36"/>
                      <a:pt x="87" y="46"/>
                    </a:cubicBezTo>
                    <a:cubicBezTo>
                      <a:pt x="95" y="59"/>
                      <a:pt x="104" y="87"/>
                      <a:pt x="105" y="96"/>
                    </a:cubicBezTo>
                    <a:cubicBezTo>
                      <a:pt x="106" y="104"/>
                      <a:pt x="94" y="101"/>
                      <a:pt x="90" y="100"/>
                    </a:cubicBezTo>
                    <a:cubicBezTo>
                      <a:pt x="86" y="99"/>
                      <a:pt x="81" y="95"/>
                      <a:pt x="80" y="91"/>
                    </a:cubicBezTo>
                    <a:cubicBezTo>
                      <a:pt x="79" y="87"/>
                      <a:pt x="83" y="84"/>
                      <a:pt x="83" y="78"/>
                    </a:cubicBezTo>
                    <a:cubicBezTo>
                      <a:pt x="83" y="72"/>
                      <a:pt x="89" y="58"/>
                      <a:pt x="77" y="54"/>
                    </a:cubicBezTo>
                    <a:cubicBezTo>
                      <a:pt x="56" y="65"/>
                      <a:pt x="36" y="59"/>
                      <a:pt x="12" y="54"/>
                    </a:cubicBezTo>
                    <a:cubicBezTo>
                      <a:pt x="0" y="51"/>
                      <a:pt x="4" y="39"/>
                      <a:pt x="7" y="30"/>
                    </a:cubicBezTo>
                    <a:cubicBezTo>
                      <a:pt x="10" y="21"/>
                      <a:pt x="26" y="6"/>
                      <a:pt x="31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6" name="Freeform 40">
                <a:extLst>
                  <a:ext uri="{FF2B5EF4-FFF2-40B4-BE49-F238E27FC236}">
                    <a16:creationId xmlns:a16="http://schemas.microsoft.com/office/drawing/2014/main" id="{21E215B6-5E8D-4AD9-8B62-C56BA911C4CA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3933826" y="3544888"/>
                <a:ext cx="293688" cy="301625"/>
              </a:xfrm>
              <a:custGeom>
                <a:avLst/>
                <a:gdLst>
                  <a:gd name="T0" fmla="*/ 176 w 182"/>
                  <a:gd name="T1" fmla="*/ 26 h 190"/>
                  <a:gd name="T2" fmla="*/ 156 w 182"/>
                  <a:gd name="T3" fmla="*/ 28 h 190"/>
                  <a:gd name="T4" fmla="*/ 156 w 182"/>
                  <a:gd name="T5" fmla="*/ 82 h 190"/>
                  <a:gd name="T6" fmla="*/ 166 w 182"/>
                  <a:gd name="T7" fmla="*/ 174 h 190"/>
                  <a:gd name="T8" fmla="*/ 62 w 182"/>
                  <a:gd name="T9" fmla="*/ 178 h 190"/>
                  <a:gd name="T10" fmla="*/ 29 w 182"/>
                  <a:gd name="T11" fmla="*/ 161 h 190"/>
                  <a:gd name="T12" fmla="*/ 6 w 182"/>
                  <a:gd name="T13" fmla="*/ 160 h 190"/>
                  <a:gd name="T14" fmla="*/ 6 w 182"/>
                  <a:gd name="T15" fmla="*/ 128 h 190"/>
                  <a:gd name="T16" fmla="*/ 0 w 182"/>
                  <a:gd name="T17" fmla="*/ 104 h 190"/>
                  <a:gd name="T18" fmla="*/ 56 w 182"/>
                  <a:gd name="T19" fmla="*/ 84 h 190"/>
                  <a:gd name="T20" fmla="*/ 54 w 182"/>
                  <a:gd name="T21" fmla="*/ 62 h 190"/>
                  <a:gd name="T22" fmla="*/ 72 w 182"/>
                  <a:gd name="T23" fmla="*/ 48 h 190"/>
                  <a:gd name="T24" fmla="*/ 74 w 182"/>
                  <a:gd name="T25" fmla="*/ 12 h 190"/>
                  <a:gd name="T26" fmla="*/ 118 w 182"/>
                  <a:gd name="T27" fmla="*/ 12 h 190"/>
                  <a:gd name="T28" fmla="*/ 134 w 182"/>
                  <a:gd name="T29" fmla="*/ 0 h 190"/>
                  <a:gd name="T30" fmla="*/ 158 w 182"/>
                  <a:gd name="T31" fmla="*/ 14 h 190"/>
                  <a:gd name="T32" fmla="*/ 176 w 182"/>
                  <a:gd name="T33" fmla="*/ 26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2" h="190">
                    <a:moveTo>
                      <a:pt x="176" y="26"/>
                    </a:moveTo>
                    <a:cubicBezTo>
                      <a:pt x="169" y="27"/>
                      <a:pt x="162" y="26"/>
                      <a:pt x="156" y="28"/>
                    </a:cubicBezTo>
                    <a:cubicBezTo>
                      <a:pt x="139" y="34"/>
                      <a:pt x="155" y="64"/>
                      <a:pt x="156" y="82"/>
                    </a:cubicBezTo>
                    <a:cubicBezTo>
                      <a:pt x="150" y="98"/>
                      <a:pt x="182" y="158"/>
                      <a:pt x="166" y="174"/>
                    </a:cubicBezTo>
                    <a:cubicBezTo>
                      <a:pt x="150" y="190"/>
                      <a:pt x="85" y="180"/>
                      <a:pt x="62" y="178"/>
                    </a:cubicBezTo>
                    <a:cubicBezTo>
                      <a:pt x="52" y="175"/>
                      <a:pt x="41" y="162"/>
                      <a:pt x="29" y="161"/>
                    </a:cubicBezTo>
                    <a:cubicBezTo>
                      <a:pt x="20" y="160"/>
                      <a:pt x="15" y="161"/>
                      <a:pt x="6" y="160"/>
                    </a:cubicBezTo>
                    <a:cubicBezTo>
                      <a:pt x="8" y="144"/>
                      <a:pt x="11" y="143"/>
                      <a:pt x="6" y="128"/>
                    </a:cubicBezTo>
                    <a:cubicBezTo>
                      <a:pt x="3" y="120"/>
                      <a:pt x="0" y="104"/>
                      <a:pt x="0" y="104"/>
                    </a:cubicBezTo>
                    <a:cubicBezTo>
                      <a:pt x="4" y="75"/>
                      <a:pt x="19" y="87"/>
                      <a:pt x="56" y="84"/>
                    </a:cubicBezTo>
                    <a:cubicBezTo>
                      <a:pt x="61" y="74"/>
                      <a:pt x="60" y="71"/>
                      <a:pt x="54" y="62"/>
                    </a:cubicBezTo>
                    <a:cubicBezTo>
                      <a:pt x="57" y="50"/>
                      <a:pt x="60" y="50"/>
                      <a:pt x="72" y="48"/>
                    </a:cubicBezTo>
                    <a:cubicBezTo>
                      <a:pt x="73" y="36"/>
                      <a:pt x="65" y="19"/>
                      <a:pt x="74" y="12"/>
                    </a:cubicBezTo>
                    <a:cubicBezTo>
                      <a:pt x="81" y="4"/>
                      <a:pt x="104" y="12"/>
                      <a:pt x="118" y="12"/>
                    </a:cubicBezTo>
                    <a:cubicBezTo>
                      <a:pt x="128" y="10"/>
                      <a:pt x="127" y="0"/>
                      <a:pt x="134" y="0"/>
                    </a:cubicBezTo>
                    <a:cubicBezTo>
                      <a:pt x="141" y="0"/>
                      <a:pt x="151" y="10"/>
                      <a:pt x="158" y="14"/>
                    </a:cubicBezTo>
                    <a:cubicBezTo>
                      <a:pt x="163" y="22"/>
                      <a:pt x="167" y="24"/>
                      <a:pt x="176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7" name="Freeform 41">
                <a:extLst>
                  <a:ext uri="{FF2B5EF4-FFF2-40B4-BE49-F238E27FC236}">
                    <a16:creationId xmlns:a16="http://schemas.microsoft.com/office/drawing/2014/main" id="{08A0F983-EE3A-411C-A5AB-8CE0831043B7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5572126" y="3590925"/>
                <a:ext cx="190500" cy="207963"/>
              </a:xfrm>
              <a:custGeom>
                <a:avLst/>
                <a:gdLst>
                  <a:gd name="T0" fmla="*/ 53 w 120"/>
                  <a:gd name="T1" fmla="*/ 37 h 131"/>
                  <a:gd name="T2" fmla="*/ 69 w 120"/>
                  <a:gd name="T3" fmla="*/ 0 h 131"/>
                  <a:gd name="T4" fmla="*/ 113 w 120"/>
                  <a:gd name="T5" fmla="*/ 22 h 131"/>
                  <a:gd name="T6" fmla="*/ 120 w 120"/>
                  <a:gd name="T7" fmla="*/ 40 h 131"/>
                  <a:gd name="T8" fmla="*/ 111 w 120"/>
                  <a:gd name="T9" fmla="*/ 64 h 131"/>
                  <a:gd name="T10" fmla="*/ 90 w 120"/>
                  <a:gd name="T11" fmla="*/ 75 h 131"/>
                  <a:gd name="T12" fmla="*/ 75 w 120"/>
                  <a:gd name="T13" fmla="*/ 99 h 131"/>
                  <a:gd name="T14" fmla="*/ 51 w 120"/>
                  <a:gd name="T15" fmla="*/ 118 h 131"/>
                  <a:gd name="T16" fmla="*/ 30 w 120"/>
                  <a:gd name="T17" fmla="*/ 127 h 131"/>
                  <a:gd name="T18" fmla="*/ 14 w 120"/>
                  <a:gd name="T19" fmla="*/ 120 h 131"/>
                  <a:gd name="T20" fmla="*/ 3 w 120"/>
                  <a:gd name="T21" fmla="*/ 102 h 131"/>
                  <a:gd name="T22" fmla="*/ 26 w 120"/>
                  <a:gd name="T23" fmla="*/ 88 h 131"/>
                  <a:gd name="T24" fmla="*/ 41 w 120"/>
                  <a:gd name="T25" fmla="*/ 75 h 131"/>
                  <a:gd name="T26" fmla="*/ 53 w 120"/>
                  <a:gd name="T27" fmla="*/ 3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131">
                    <a:moveTo>
                      <a:pt x="53" y="37"/>
                    </a:moveTo>
                    <a:cubicBezTo>
                      <a:pt x="55" y="24"/>
                      <a:pt x="58" y="9"/>
                      <a:pt x="69" y="0"/>
                    </a:cubicBezTo>
                    <a:cubicBezTo>
                      <a:pt x="76" y="20"/>
                      <a:pt x="95" y="19"/>
                      <a:pt x="113" y="22"/>
                    </a:cubicBezTo>
                    <a:cubicBezTo>
                      <a:pt x="114" y="31"/>
                      <a:pt x="115" y="33"/>
                      <a:pt x="120" y="40"/>
                    </a:cubicBezTo>
                    <a:cubicBezTo>
                      <a:pt x="119" y="51"/>
                      <a:pt x="117" y="55"/>
                      <a:pt x="111" y="64"/>
                    </a:cubicBezTo>
                    <a:cubicBezTo>
                      <a:pt x="109" y="74"/>
                      <a:pt x="99" y="73"/>
                      <a:pt x="90" y="75"/>
                    </a:cubicBezTo>
                    <a:cubicBezTo>
                      <a:pt x="87" y="91"/>
                      <a:pt x="93" y="96"/>
                      <a:pt x="75" y="99"/>
                    </a:cubicBezTo>
                    <a:cubicBezTo>
                      <a:pt x="74" y="108"/>
                      <a:pt x="61" y="116"/>
                      <a:pt x="51" y="118"/>
                    </a:cubicBezTo>
                    <a:cubicBezTo>
                      <a:pt x="43" y="122"/>
                      <a:pt x="39" y="126"/>
                      <a:pt x="30" y="127"/>
                    </a:cubicBezTo>
                    <a:cubicBezTo>
                      <a:pt x="22" y="131"/>
                      <a:pt x="20" y="124"/>
                      <a:pt x="14" y="120"/>
                    </a:cubicBezTo>
                    <a:cubicBezTo>
                      <a:pt x="10" y="113"/>
                      <a:pt x="7" y="109"/>
                      <a:pt x="3" y="102"/>
                    </a:cubicBezTo>
                    <a:cubicBezTo>
                      <a:pt x="0" y="88"/>
                      <a:pt x="16" y="89"/>
                      <a:pt x="26" y="88"/>
                    </a:cubicBezTo>
                    <a:cubicBezTo>
                      <a:pt x="32" y="83"/>
                      <a:pt x="33" y="77"/>
                      <a:pt x="41" y="75"/>
                    </a:cubicBezTo>
                    <a:cubicBezTo>
                      <a:pt x="56" y="64"/>
                      <a:pt x="54" y="59"/>
                      <a:pt x="53" y="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9" name="Freeform 42">
                <a:extLst>
                  <a:ext uri="{FF2B5EF4-FFF2-40B4-BE49-F238E27FC236}">
                    <a16:creationId xmlns:a16="http://schemas.microsoft.com/office/drawing/2014/main" id="{5504DD16-600A-426D-A6F0-0B4F85FEEBFE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5561013" y="3540125"/>
                <a:ext cx="125413" cy="115888"/>
              </a:xfrm>
              <a:custGeom>
                <a:avLst/>
                <a:gdLst>
                  <a:gd name="T0" fmla="*/ 7 w 78"/>
                  <a:gd name="T1" fmla="*/ 44 h 73"/>
                  <a:gd name="T2" fmla="*/ 43 w 78"/>
                  <a:gd name="T3" fmla="*/ 39 h 73"/>
                  <a:gd name="T4" fmla="*/ 59 w 78"/>
                  <a:gd name="T5" fmla="*/ 18 h 73"/>
                  <a:gd name="T6" fmla="*/ 74 w 78"/>
                  <a:gd name="T7" fmla="*/ 0 h 73"/>
                  <a:gd name="T8" fmla="*/ 76 w 78"/>
                  <a:gd name="T9" fmla="*/ 32 h 73"/>
                  <a:gd name="T10" fmla="*/ 67 w 78"/>
                  <a:gd name="T11" fmla="*/ 38 h 73"/>
                  <a:gd name="T12" fmla="*/ 64 w 78"/>
                  <a:gd name="T13" fmla="*/ 54 h 73"/>
                  <a:gd name="T14" fmla="*/ 53 w 78"/>
                  <a:gd name="T15" fmla="*/ 69 h 73"/>
                  <a:gd name="T16" fmla="*/ 14 w 78"/>
                  <a:gd name="T17" fmla="*/ 66 h 73"/>
                  <a:gd name="T18" fmla="*/ 5 w 78"/>
                  <a:gd name="T19" fmla="*/ 57 h 73"/>
                  <a:gd name="T20" fmla="*/ 4 w 78"/>
                  <a:gd name="T21" fmla="*/ 47 h 73"/>
                  <a:gd name="T22" fmla="*/ 7 w 78"/>
                  <a:gd name="T23" fmla="*/ 4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8" h="73">
                    <a:moveTo>
                      <a:pt x="7" y="44"/>
                    </a:moveTo>
                    <a:cubicBezTo>
                      <a:pt x="21" y="34"/>
                      <a:pt x="3" y="46"/>
                      <a:pt x="43" y="39"/>
                    </a:cubicBezTo>
                    <a:cubicBezTo>
                      <a:pt x="47" y="38"/>
                      <a:pt x="55" y="21"/>
                      <a:pt x="59" y="18"/>
                    </a:cubicBezTo>
                    <a:cubicBezTo>
                      <a:pt x="65" y="19"/>
                      <a:pt x="76" y="3"/>
                      <a:pt x="74" y="0"/>
                    </a:cubicBezTo>
                    <a:cubicBezTo>
                      <a:pt x="75" y="1"/>
                      <a:pt x="76" y="31"/>
                      <a:pt x="76" y="32"/>
                    </a:cubicBezTo>
                    <a:cubicBezTo>
                      <a:pt x="72" y="48"/>
                      <a:pt x="78" y="36"/>
                      <a:pt x="67" y="38"/>
                    </a:cubicBezTo>
                    <a:cubicBezTo>
                      <a:pt x="65" y="42"/>
                      <a:pt x="66" y="49"/>
                      <a:pt x="64" y="54"/>
                    </a:cubicBezTo>
                    <a:cubicBezTo>
                      <a:pt x="62" y="59"/>
                      <a:pt x="61" y="67"/>
                      <a:pt x="53" y="69"/>
                    </a:cubicBezTo>
                    <a:cubicBezTo>
                      <a:pt x="45" y="73"/>
                      <a:pt x="22" y="68"/>
                      <a:pt x="14" y="66"/>
                    </a:cubicBezTo>
                    <a:cubicBezTo>
                      <a:pt x="6" y="64"/>
                      <a:pt x="7" y="60"/>
                      <a:pt x="5" y="57"/>
                    </a:cubicBezTo>
                    <a:cubicBezTo>
                      <a:pt x="3" y="53"/>
                      <a:pt x="0" y="51"/>
                      <a:pt x="4" y="47"/>
                    </a:cubicBezTo>
                    <a:cubicBezTo>
                      <a:pt x="7" y="44"/>
                      <a:pt x="9" y="46"/>
                      <a:pt x="7" y="4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0" name="Freeform 43">
                <a:extLst>
                  <a:ext uri="{FF2B5EF4-FFF2-40B4-BE49-F238E27FC236}">
                    <a16:creationId xmlns:a16="http://schemas.microsoft.com/office/drawing/2014/main" id="{76EA6A36-5ECC-40C6-B218-B530768E0BCE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5529263" y="3554413"/>
                <a:ext cx="49213" cy="50800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1" name="Freeform 45">
                <a:extLst>
                  <a:ext uri="{FF2B5EF4-FFF2-40B4-BE49-F238E27FC236}">
                    <a16:creationId xmlns:a16="http://schemas.microsoft.com/office/drawing/2014/main" id="{23635747-CCBF-43F4-8940-0DD41DEA6EB4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4618038" y="4329113"/>
                <a:ext cx="295275" cy="301625"/>
              </a:xfrm>
              <a:custGeom>
                <a:avLst/>
                <a:gdLst>
                  <a:gd name="T0" fmla="*/ 0 w 183"/>
                  <a:gd name="T1" fmla="*/ 174 h 190"/>
                  <a:gd name="T2" fmla="*/ 10 w 183"/>
                  <a:gd name="T3" fmla="*/ 129 h 190"/>
                  <a:gd name="T4" fmla="*/ 15 w 183"/>
                  <a:gd name="T5" fmla="*/ 112 h 190"/>
                  <a:gd name="T6" fmla="*/ 28 w 183"/>
                  <a:gd name="T7" fmla="*/ 97 h 190"/>
                  <a:gd name="T8" fmla="*/ 22 w 183"/>
                  <a:gd name="T9" fmla="*/ 69 h 190"/>
                  <a:gd name="T10" fmla="*/ 22 w 183"/>
                  <a:gd name="T11" fmla="*/ 34 h 190"/>
                  <a:gd name="T12" fmla="*/ 12 w 183"/>
                  <a:gd name="T13" fmla="*/ 16 h 190"/>
                  <a:gd name="T14" fmla="*/ 30 w 183"/>
                  <a:gd name="T15" fmla="*/ 4 h 190"/>
                  <a:gd name="T16" fmla="*/ 60 w 183"/>
                  <a:gd name="T17" fmla="*/ 1 h 190"/>
                  <a:gd name="T18" fmla="*/ 70 w 183"/>
                  <a:gd name="T19" fmla="*/ 3 h 190"/>
                  <a:gd name="T20" fmla="*/ 79 w 183"/>
                  <a:gd name="T21" fmla="*/ 28 h 190"/>
                  <a:gd name="T22" fmla="*/ 103 w 183"/>
                  <a:gd name="T23" fmla="*/ 31 h 190"/>
                  <a:gd name="T24" fmla="*/ 123 w 183"/>
                  <a:gd name="T25" fmla="*/ 25 h 190"/>
                  <a:gd name="T26" fmla="*/ 144 w 183"/>
                  <a:gd name="T27" fmla="*/ 30 h 190"/>
                  <a:gd name="T28" fmla="*/ 151 w 183"/>
                  <a:gd name="T29" fmla="*/ 42 h 190"/>
                  <a:gd name="T30" fmla="*/ 150 w 183"/>
                  <a:gd name="T31" fmla="*/ 58 h 190"/>
                  <a:gd name="T32" fmla="*/ 157 w 183"/>
                  <a:gd name="T33" fmla="*/ 78 h 190"/>
                  <a:gd name="T34" fmla="*/ 180 w 183"/>
                  <a:gd name="T35" fmla="*/ 81 h 190"/>
                  <a:gd name="T36" fmla="*/ 175 w 183"/>
                  <a:gd name="T37" fmla="*/ 103 h 190"/>
                  <a:gd name="T38" fmla="*/ 151 w 183"/>
                  <a:gd name="T39" fmla="*/ 109 h 190"/>
                  <a:gd name="T40" fmla="*/ 145 w 183"/>
                  <a:gd name="T41" fmla="*/ 139 h 190"/>
                  <a:gd name="T42" fmla="*/ 151 w 183"/>
                  <a:gd name="T43" fmla="*/ 178 h 190"/>
                  <a:gd name="T44" fmla="*/ 97 w 183"/>
                  <a:gd name="T45" fmla="*/ 180 h 190"/>
                  <a:gd name="T46" fmla="*/ 37 w 183"/>
                  <a:gd name="T47" fmla="*/ 183 h 190"/>
                  <a:gd name="T48" fmla="*/ 0 w 183"/>
                  <a:gd name="T49" fmla="*/ 17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3" h="190">
                    <a:moveTo>
                      <a:pt x="0" y="174"/>
                    </a:moveTo>
                    <a:cubicBezTo>
                      <a:pt x="1" y="156"/>
                      <a:pt x="0" y="143"/>
                      <a:pt x="10" y="129"/>
                    </a:cubicBezTo>
                    <a:cubicBezTo>
                      <a:pt x="8" y="120"/>
                      <a:pt x="6" y="118"/>
                      <a:pt x="15" y="112"/>
                    </a:cubicBezTo>
                    <a:cubicBezTo>
                      <a:pt x="19" y="107"/>
                      <a:pt x="23" y="101"/>
                      <a:pt x="28" y="97"/>
                    </a:cubicBezTo>
                    <a:cubicBezTo>
                      <a:pt x="26" y="87"/>
                      <a:pt x="28" y="77"/>
                      <a:pt x="22" y="69"/>
                    </a:cubicBezTo>
                    <a:cubicBezTo>
                      <a:pt x="20" y="57"/>
                      <a:pt x="20" y="47"/>
                      <a:pt x="22" y="34"/>
                    </a:cubicBezTo>
                    <a:cubicBezTo>
                      <a:pt x="17" y="28"/>
                      <a:pt x="19" y="21"/>
                      <a:pt x="12" y="16"/>
                    </a:cubicBezTo>
                    <a:cubicBezTo>
                      <a:pt x="13" y="10"/>
                      <a:pt x="22" y="6"/>
                      <a:pt x="30" y="4"/>
                    </a:cubicBezTo>
                    <a:cubicBezTo>
                      <a:pt x="38" y="2"/>
                      <a:pt x="53" y="1"/>
                      <a:pt x="60" y="1"/>
                    </a:cubicBezTo>
                    <a:cubicBezTo>
                      <a:pt x="63" y="2"/>
                      <a:pt x="68" y="0"/>
                      <a:pt x="70" y="3"/>
                    </a:cubicBezTo>
                    <a:cubicBezTo>
                      <a:pt x="73" y="6"/>
                      <a:pt x="74" y="23"/>
                      <a:pt x="79" y="28"/>
                    </a:cubicBezTo>
                    <a:cubicBezTo>
                      <a:pt x="84" y="33"/>
                      <a:pt x="96" y="32"/>
                      <a:pt x="103" y="31"/>
                    </a:cubicBezTo>
                    <a:cubicBezTo>
                      <a:pt x="118" y="29"/>
                      <a:pt x="112" y="33"/>
                      <a:pt x="123" y="25"/>
                    </a:cubicBezTo>
                    <a:cubicBezTo>
                      <a:pt x="133" y="26"/>
                      <a:pt x="139" y="21"/>
                      <a:pt x="144" y="30"/>
                    </a:cubicBezTo>
                    <a:cubicBezTo>
                      <a:pt x="149" y="34"/>
                      <a:pt x="150" y="37"/>
                      <a:pt x="151" y="42"/>
                    </a:cubicBezTo>
                    <a:cubicBezTo>
                      <a:pt x="152" y="47"/>
                      <a:pt x="149" y="52"/>
                      <a:pt x="150" y="58"/>
                    </a:cubicBezTo>
                    <a:cubicBezTo>
                      <a:pt x="153" y="65"/>
                      <a:pt x="152" y="74"/>
                      <a:pt x="157" y="78"/>
                    </a:cubicBezTo>
                    <a:cubicBezTo>
                      <a:pt x="162" y="82"/>
                      <a:pt x="177" y="77"/>
                      <a:pt x="180" y="81"/>
                    </a:cubicBezTo>
                    <a:cubicBezTo>
                      <a:pt x="183" y="85"/>
                      <a:pt x="180" y="98"/>
                      <a:pt x="175" y="103"/>
                    </a:cubicBezTo>
                    <a:cubicBezTo>
                      <a:pt x="168" y="107"/>
                      <a:pt x="159" y="108"/>
                      <a:pt x="151" y="109"/>
                    </a:cubicBezTo>
                    <a:cubicBezTo>
                      <a:pt x="146" y="115"/>
                      <a:pt x="145" y="128"/>
                      <a:pt x="145" y="139"/>
                    </a:cubicBezTo>
                    <a:cubicBezTo>
                      <a:pt x="145" y="150"/>
                      <a:pt x="159" y="171"/>
                      <a:pt x="151" y="178"/>
                    </a:cubicBezTo>
                    <a:cubicBezTo>
                      <a:pt x="143" y="190"/>
                      <a:pt x="118" y="179"/>
                      <a:pt x="97" y="180"/>
                    </a:cubicBezTo>
                    <a:cubicBezTo>
                      <a:pt x="77" y="170"/>
                      <a:pt x="59" y="185"/>
                      <a:pt x="37" y="183"/>
                    </a:cubicBezTo>
                    <a:cubicBezTo>
                      <a:pt x="19" y="176"/>
                      <a:pt x="31" y="167"/>
                      <a:pt x="0" y="17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2" name="Freeform 46">
                <a:extLst>
                  <a:ext uri="{FF2B5EF4-FFF2-40B4-BE49-F238E27FC236}">
                    <a16:creationId xmlns:a16="http://schemas.microsoft.com/office/drawing/2014/main" id="{5820E49F-537C-4BF4-816C-EF9597015922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4546601" y="3921125"/>
                <a:ext cx="171450" cy="231775"/>
              </a:xfrm>
              <a:custGeom>
                <a:avLst/>
                <a:gdLst>
                  <a:gd name="T0" fmla="*/ 17 w 106"/>
                  <a:gd name="T1" fmla="*/ 143 h 146"/>
                  <a:gd name="T2" fmla="*/ 6 w 106"/>
                  <a:gd name="T3" fmla="*/ 119 h 146"/>
                  <a:gd name="T4" fmla="*/ 0 w 106"/>
                  <a:gd name="T5" fmla="*/ 96 h 146"/>
                  <a:gd name="T6" fmla="*/ 17 w 106"/>
                  <a:gd name="T7" fmla="*/ 77 h 146"/>
                  <a:gd name="T8" fmla="*/ 30 w 106"/>
                  <a:gd name="T9" fmla="*/ 68 h 146"/>
                  <a:gd name="T10" fmla="*/ 42 w 106"/>
                  <a:gd name="T11" fmla="*/ 72 h 146"/>
                  <a:gd name="T12" fmla="*/ 54 w 106"/>
                  <a:gd name="T13" fmla="*/ 47 h 146"/>
                  <a:gd name="T14" fmla="*/ 62 w 106"/>
                  <a:gd name="T15" fmla="*/ 33 h 146"/>
                  <a:gd name="T16" fmla="*/ 68 w 106"/>
                  <a:gd name="T17" fmla="*/ 18 h 146"/>
                  <a:gd name="T18" fmla="*/ 80 w 106"/>
                  <a:gd name="T19" fmla="*/ 2 h 146"/>
                  <a:gd name="T20" fmla="*/ 89 w 106"/>
                  <a:gd name="T21" fmla="*/ 6 h 146"/>
                  <a:gd name="T22" fmla="*/ 96 w 106"/>
                  <a:gd name="T23" fmla="*/ 18 h 146"/>
                  <a:gd name="T24" fmla="*/ 83 w 106"/>
                  <a:gd name="T25" fmla="*/ 27 h 146"/>
                  <a:gd name="T26" fmla="*/ 98 w 106"/>
                  <a:gd name="T27" fmla="*/ 60 h 146"/>
                  <a:gd name="T28" fmla="*/ 89 w 106"/>
                  <a:gd name="T29" fmla="*/ 72 h 146"/>
                  <a:gd name="T30" fmla="*/ 92 w 106"/>
                  <a:gd name="T31" fmla="*/ 98 h 146"/>
                  <a:gd name="T32" fmla="*/ 96 w 106"/>
                  <a:gd name="T33" fmla="*/ 113 h 146"/>
                  <a:gd name="T34" fmla="*/ 95 w 106"/>
                  <a:gd name="T35" fmla="*/ 120 h 146"/>
                  <a:gd name="T36" fmla="*/ 104 w 106"/>
                  <a:gd name="T37" fmla="*/ 126 h 146"/>
                  <a:gd name="T38" fmla="*/ 80 w 106"/>
                  <a:gd name="T39" fmla="*/ 140 h 146"/>
                  <a:gd name="T40" fmla="*/ 17 w 106"/>
                  <a:gd name="T41" fmla="*/ 143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6" h="146">
                    <a:moveTo>
                      <a:pt x="17" y="143"/>
                    </a:moveTo>
                    <a:cubicBezTo>
                      <a:pt x="15" y="127"/>
                      <a:pt x="20" y="122"/>
                      <a:pt x="6" y="119"/>
                    </a:cubicBezTo>
                    <a:cubicBezTo>
                      <a:pt x="2" y="112"/>
                      <a:pt x="0" y="96"/>
                      <a:pt x="0" y="96"/>
                    </a:cubicBezTo>
                    <a:cubicBezTo>
                      <a:pt x="2" y="78"/>
                      <a:pt x="0" y="79"/>
                      <a:pt x="17" y="77"/>
                    </a:cubicBezTo>
                    <a:cubicBezTo>
                      <a:pt x="21" y="70"/>
                      <a:pt x="22" y="69"/>
                      <a:pt x="30" y="68"/>
                    </a:cubicBezTo>
                    <a:cubicBezTo>
                      <a:pt x="36" y="72"/>
                      <a:pt x="36" y="77"/>
                      <a:pt x="42" y="72"/>
                    </a:cubicBezTo>
                    <a:cubicBezTo>
                      <a:pt x="47" y="57"/>
                      <a:pt x="42" y="56"/>
                      <a:pt x="54" y="47"/>
                    </a:cubicBezTo>
                    <a:cubicBezTo>
                      <a:pt x="57" y="40"/>
                      <a:pt x="55" y="37"/>
                      <a:pt x="62" y="33"/>
                    </a:cubicBezTo>
                    <a:cubicBezTo>
                      <a:pt x="63" y="27"/>
                      <a:pt x="66" y="24"/>
                      <a:pt x="68" y="18"/>
                    </a:cubicBezTo>
                    <a:cubicBezTo>
                      <a:pt x="69" y="1"/>
                      <a:pt x="69" y="9"/>
                      <a:pt x="80" y="2"/>
                    </a:cubicBezTo>
                    <a:cubicBezTo>
                      <a:pt x="84" y="0"/>
                      <a:pt x="86" y="3"/>
                      <a:pt x="89" y="6"/>
                    </a:cubicBezTo>
                    <a:cubicBezTo>
                      <a:pt x="92" y="9"/>
                      <a:pt x="97" y="15"/>
                      <a:pt x="96" y="18"/>
                    </a:cubicBezTo>
                    <a:cubicBezTo>
                      <a:pt x="90" y="21"/>
                      <a:pt x="90" y="26"/>
                      <a:pt x="83" y="27"/>
                    </a:cubicBezTo>
                    <a:cubicBezTo>
                      <a:pt x="83" y="34"/>
                      <a:pt x="97" y="53"/>
                      <a:pt x="98" y="60"/>
                    </a:cubicBezTo>
                    <a:cubicBezTo>
                      <a:pt x="99" y="67"/>
                      <a:pt x="90" y="66"/>
                      <a:pt x="89" y="72"/>
                    </a:cubicBezTo>
                    <a:cubicBezTo>
                      <a:pt x="87" y="80"/>
                      <a:pt x="92" y="92"/>
                      <a:pt x="92" y="98"/>
                    </a:cubicBezTo>
                    <a:cubicBezTo>
                      <a:pt x="93" y="105"/>
                      <a:pt x="96" y="109"/>
                      <a:pt x="96" y="113"/>
                    </a:cubicBezTo>
                    <a:cubicBezTo>
                      <a:pt x="97" y="121"/>
                      <a:pt x="94" y="118"/>
                      <a:pt x="95" y="120"/>
                    </a:cubicBezTo>
                    <a:cubicBezTo>
                      <a:pt x="96" y="122"/>
                      <a:pt x="106" y="123"/>
                      <a:pt x="104" y="126"/>
                    </a:cubicBezTo>
                    <a:cubicBezTo>
                      <a:pt x="101" y="146"/>
                      <a:pt x="100" y="141"/>
                      <a:pt x="80" y="140"/>
                    </a:cubicBezTo>
                    <a:cubicBezTo>
                      <a:pt x="57" y="131"/>
                      <a:pt x="77" y="138"/>
                      <a:pt x="17" y="14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3" name="Freeform 47">
                <a:extLst>
                  <a:ext uri="{FF2B5EF4-FFF2-40B4-BE49-F238E27FC236}">
                    <a16:creationId xmlns:a16="http://schemas.microsoft.com/office/drawing/2014/main" id="{CB2B5057-7A03-457A-A3C8-088D8E89A3E4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4395788" y="3871913"/>
                <a:ext cx="287338" cy="214313"/>
              </a:xfrm>
              <a:custGeom>
                <a:avLst/>
                <a:gdLst>
                  <a:gd name="T0" fmla="*/ 88 w 178"/>
                  <a:gd name="T1" fmla="*/ 130 h 135"/>
                  <a:gd name="T2" fmla="*/ 48 w 178"/>
                  <a:gd name="T3" fmla="*/ 132 h 135"/>
                  <a:gd name="T4" fmla="*/ 33 w 178"/>
                  <a:gd name="T5" fmla="*/ 109 h 135"/>
                  <a:gd name="T6" fmla="*/ 6 w 178"/>
                  <a:gd name="T7" fmla="*/ 102 h 135"/>
                  <a:gd name="T8" fmla="*/ 15 w 178"/>
                  <a:gd name="T9" fmla="*/ 61 h 135"/>
                  <a:gd name="T10" fmla="*/ 19 w 178"/>
                  <a:gd name="T11" fmla="*/ 24 h 135"/>
                  <a:gd name="T12" fmla="*/ 25 w 178"/>
                  <a:gd name="T13" fmla="*/ 6 h 135"/>
                  <a:gd name="T14" fmla="*/ 31 w 178"/>
                  <a:gd name="T15" fmla="*/ 3 h 135"/>
                  <a:gd name="T16" fmla="*/ 45 w 178"/>
                  <a:gd name="T17" fmla="*/ 0 h 135"/>
                  <a:gd name="T18" fmla="*/ 70 w 178"/>
                  <a:gd name="T19" fmla="*/ 4 h 135"/>
                  <a:gd name="T20" fmla="*/ 90 w 178"/>
                  <a:gd name="T21" fmla="*/ 9 h 135"/>
                  <a:gd name="T22" fmla="*/ 99 w 178"/>
                  <a:gd name="T23" fmla="*/ 9 h 135"/>
                  <a:gd name="T24" fmla="*/ 115 w 178"/>
                  <a:gd name="T25" fmla="*/ 4 h 135"/>
                  <a:gd name="T26" fmla="*/ 133 w 178"/>
                  <a:gd name="T27" fmla="*/ 3 h 135"/>
                  <a:gd name="T28" fmla="*/ 148 w 178"/>
                  <a:gd name="T29" fmla="*/ 6 h 135"/>
                  <a:gd name="T30" fmla="*/ 160 w 178"/>
                  <a:gd name="T31" fmla="*/ 4 h 135"/>
                  <a:gd name="T32" fmla="*/ 171 w 178"/>
                  <a:gd name="T33" fmla="*/ 13 h 135"/>
                  <a:gd name="T34" fmla="*/ 178 w 178"/>
                  <a:gd name="T35" fmla="*/ 27 h 135"/>
                  <a:gd name="T36" fmla="*/ 166 w 178"/>
                  <a:gd name="T37" fmla="*/ 37 h 135"/>
                  <a:gd name="T38" fmla="*/ 160 w 178"/>
                  <a:gd name="T39" fmla="*/ 52 h 135"/>
                  <a:gd name="T40" fmla="*/ 156 w 178"/>
                  <a:gd name="T41" fmla="*/ 63 h 135"/>
                  <a:gd name="T42" fmla="*/ 151 w 178"/>
                  <a:gd name="T43" fmla="*/ 78 h 135"/>
                  <a:gd name="T44" fmla="*/ 141 w 178"/>
                  <a:gd name="T45" fmla="*/ 85 h 135"/>
                  <a:gd name="T46" fmla="*/ 136 w 178"/>
                  <a:gd name="T47" fmla="*/ 100 h 135"/>
                  <a:gd name="T48" fmla="*/ 121 w 178"/>
                  <a:gd name="T49" fmla="*/ 103 h 135"/>
                  <a:gd name="T50" fmla="*/ 109 w 178"/>
                  <a:gd name="T51" fmla="*/ 105 h 135"/>
                  <a:gd name="T52" fmla="*/ 94 w 178"/>
                  <a:gd name="T53" fmla="*/ 112 h 135"/>
                  <a:gd name="T54" fmla="*/ 88 w 178"/>
                  <a:gd name="T55" fmla="*/ 13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8" h="135">
                    <a:moveTo>
                      <a:pt x="88" y="130"/>
                    </a:moveTo>
                    <a:cubicBezTo>
                      <a:pt x="65" y="135"/>
                      <a:pt x="78" y="133"/>
                      <a:pt x="48" y="132"/>
                    </a:cubicBezTo>
                    <a:cubicBezTo>
                      <a:pt x="46" y="113"/>
                      <a:pt x="49" y="113"/>
                      <a:pt x="33" y="109"/>
                    </a:cubicBezTo>
                    <a:cubicBezTo>
                      <a:pt x="26" y="100"/>
                      <a:pt x="18" y="103"/>
                      <a:pt x="6" y="102"/>
                    </a:cubicBezTo>
                    <a:cubicBezTo>
                      <a:pt x="7" y="82"/>
                      <a:pt x="0" y="70"/>
                      <a:pt x="15" y="61"/>
                    </a:cubicBezTo>
                    <a:cubicBezTo>
                      <a:pt x="24" y="50"/>
                      <a:pt x="14" y="37"/>
                      <a:pt x="19" y="24"/>
                    </a:cubicBezTo>
                    <a:cubicBezTo>
                      <a:pt x="21" y="15"/>
                      <a:pt x="21" y="10"/>
                      <a:pt x="25" y="6"/>
                    </a:cubicBezTo>
                    <a:cubicBezTo>
                      <a:pt x="27" y="3"/>
                      <a:pt x="28" y="4"/>
                      <a:pt x="31" y="3"/>
                    </a:cubicBezTo>
                    <a:cubicBezTo>
                      <a:pt x="34" y="2"/>
                      <a:pt x="39" y="0"/>
                      <a:pt x="45" y="0"/>
                    </a:cubicBezTo>
                    <a:cubicBezTo>
                      <a:pt x="52" y="0"/>
                      <a:pt x="63" y="3"/>
                      <a:pt x="70" y="4"/>
                    </a:cubicBezTo>
                    <a:cubicBezTo>
                      <a:pt x="77" y="6"/>
                      <a:pt x="85" y="8"/>
                      <a:pt x="90" y="9"/>
                    </a:cubicBezTo>
                    <a:cubicBezTo>
                      <a:pt x="95" y="10"/>
                      <a:pt x="95" y="10"/>
                      <a:pt x="99" y="9"/>
                    </a:cubicBezTo>
                    <a:cubicBezTo>
                      <a:pt x="103" y="9"/>
                      <a:pt x="109" y="4"/>
                      <a:pt x="115" y="4"/>
                    </a:cubicBezTo>
                    <a:cubicBezTo>
                      <a:pt x="121" y="3"/>
                      <a:pt x="128" y="3"/>
                      <a:pt x="133" y="3"/>
                    </a:cubicBezTo>
                    <a:cubicBezTo>
                      <a:pt x="141" y="2"/>
                      <a:pt x="144" y="6"/>
                      <a:pt x="148" y="6"/>
                    </a:cubicBezTo>
                    <a:cubicBezTo>
                      <a:pt x="152" y="6"/>
                      <a:pt x="156" y="3"/>
                      <a:pt x="160" y="4"/>
                    </a:cubicBezTo>
                    <a:cubicBezTo>
                      <a:pt x="164" y="5"/>
                      <a:pt x="168" y="9"/>
                      <a:pt x="171" y="13"/>
                    </a:cubicBezTo>
                    <a:cubicBezTo>
                      <a:pt x="172" y="20"/>
                      <a:pt x="172" y="23"/>
                      <a:pt x="178" y="27"/>
                    </a:cubicBezTo>
                    <a:cubicBezTo>
                      <a:pt x="174" y="32"/>
                      <a:pt x="171" y="34"/>
                      <a:pt x="166" y="37"/>
                    </a:cubicBezTo>
                    <a:cubicBezTo>
                      <a:pt x="165" y="43"/>
                      <a:pt x="164" y="47"/>
                      <a:pt x="160" y="52"/>
                    </a:cubicBezTo>
                    <a:cubicBezTo>
                      <a:pt x="159" y="59"/>
                      <a:pt x="162" y="59"/>
                      <a:pt x="156" y="63"/>
                    </a:cubicBezTo>
                    <a:cubicBezTo>
                      <a:pt x="155" y="69"/>
                      <a:pt x="153" y="73"/>
                      <a:pt x="151" y="78"/>
                    </a:cubicBezTo>
                    <a:cubicBezTo>
                      <a:pt x="149" y="83"/>
                      <a:pt x="143" y="81"/>
                      <a:pt x="141" y="85"/>
                    </a:cubicBezTo>
                    <a:cubicBezTo>
                      <a:pt x="139" y="89"/>
                      <a:pt x="139" y="97"/>
                      <a:pt x="136" y="100"/>
                    </a:cubicBezTo>
                    <a:cubicBezTo>
                      <a:pt x="131" y="110"/>
                      <a:pt x="136" y="106"/>
                      <a:pt x="121" y="103"/>
                    </a:cubicBezTo>
                    <a:cubicBezTo>
                      <a:pt x="115" y="99"/>
                      <a:pt x="116" y="104"/>
                      <a:pt x="109" y="105"/>
                    </a:cubicBezTo>
                    <a:cubicBezTo>
                      <a:pt x="108" y="112"/>
                      <a:pt x="101" y="111"/>
                      <a:pt x="94" y="112"/>
                    </a:cubicBezTo>
                    <a:cubicBezTo>
                      <a:pt x="93" y="125"/>
                      <a:pt x="92" y="124"/>
                      <a:pt x="88" y="13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4" name="Freeform 50">
                <a:extLst>
                  <a:ext uri="{FF2B5EF4-FFF2-40B4-BE49-F238E27FC236}">
                    <a16:creationId xmlns:a16="http://schemas.microsoft.com/office/drawing/2014/main" id="{41D23011-1FE0-4698-B229-30CC6BC53A86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gray">
              <a:xfrm>
                <a:off x="4246563" y="3925888"/>
                <a:ext cx="104775" cy="149225"/>
              </a:xfrm>
              <a:custGeom>
                <a:avLst/>
                <a:gdLst>
                  <a:gd name="T0" fmla="*/ 65 w 65"/>
                  <a:gd name="T1" fmla="*/ 0 h 94"/>
                  <a:gd name="T2" fmla="*/ 14 w 65"/>
                  <a:gd name="T3" fmla="*/ 6 h 94"/>
                  <a:gd name="T4" fmla="*/ 18 w 65"/>
                  <a:gd name="T5" fmla="*/ 48 h 94"/>
                  <a:gd name="T6" fmla="*/ 10 w 65"/>
                  <a:gd name="T7" fmla="*/ 70 h 94"/>
                  <a:gd name="T8" fmla="*/ 28 w 65"/>
                  <a:gd name="T9" fmla="*/ 94 h 94"/>
                  <a:gd name="T10" fmla="*/ 58 w 65"/>
                  <a:gd name="T11" fmla="*/ 86 h 94"/>
                  <a:gd name="T12" fmla="*/ 57 w 65"/>
                  <a:gd name="T13" fmla="*/ 50 h 94"/>
                  <a:gd name="T14" fmla="*/ 51 w 65"/>
                  <a:gd name="T15" fmla="*/ 23 h 94"/>
                  <a:gd name="T16" fmla="*/ 65 w 65"/>
                  <a:gd name="T17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94">
                    <a:moveTo>
                      <a:pt x="65" y="0"/>
                    </a:moveTo>
                    <a:cubicBezTo>
                      <a:pt x="48" y="1"/>
                      <a:pt x="31" y="3"/>
                      <a:pt x="14" y="6"/>
                    </a:cubicBezTo>
                    <a:cubicBezTo>
                      <a:pt x="0" y="8"/>
                      <a:pt x="18" y="48"/>
                      <a:pt x="18" y="48"/>
                    </a:cubicBezTo>
                    <a:cubicBezTo>
                      <a:pt x="15" y="56"/>
                      <a:pt x="12" y="61"/>
                      <a:pt x="10" y="70"/>
                    </a:cubicBezTo>
                    <a:cubicBezTo>
                      <a:pt x="12" y="83"/>
                      <a:pt x="16" y="90"/>
                      <a:pt x="28" y="94"/>
                    </a:cubicBezTo>
                    <a:cubicBezTo>
                      <a:pt x="44" y="92"/>
                      <a:pt x="45" y="90"/>
                      <a:pt x="58" y="86"/>
                    </a:cubicBezTo>
                    <a:cubicBezTo>
                      <a:pt x="63" y="79"/>
                      <a:pt x="58" y="60"/>
                      <a:pt x="57" y="50"/>
                    </a:cubicBezTo>
                    <a:cubicBezTo>
                      <a:pt x="56" y="40"/>
                      <a:pt x="50" y="31"/>
                      <a:pt x="51" y="23"/>
                    </a:cubicBezTo>
                    <a:cubicBezTo>
                      <a:pt x="53" y="16"/>
                      <a:pt x="62" y="6"/>
                      <a:pt x="65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5" name="Freeform 51">
                <a:extLst>
                  <a:ext uri="{FF2B5EF4-FFF2-40B4-BE49-F238E27FC236}">
                    <a16:creationId xmlns:a16="http://schemas.microsoft.com/office/drawing/2014/main" id="{55460489-BBDF-418E-9838-15E531D1DA7A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gray">
              <a:xfrm>
                <a:off x="4130676" y="3944938"/>
                <a:ext cx="153988" cy="142875"/>
              </a:xfrm>
              <a:custGeom>
                <a:avLst/>
                <a:gdLst>
                  <a:gd name="T0" fmla="*/ 75 w 95"/>
                  <a:gd name="T1" fmla="*/ 0 h 90"/>
                  <a:gd name="T2" fmla="*/ 62 w 95"/>
                  <a:gd name="T3" fmla="*/ 11 h 90"/>
                  <a:gd name="T4" fmla="*/ 51 w 95"/>
                  <a:gd name="T5" fmla="*/ 2 h 90"/>
                  <a:gd name="T6" fmla="*/ 18 w 95"/>
                  <a:gd name="T7" fmla="*/ 2 h 90"/>
                  <a:gd name="T8" fmla="*/ 6 w 95"/>
                  <a:gd name="T9" fmla="*/ 4 h 90"/>
                  <a:gd name="T10" fmla="*/ 9 w 95"/>
                  <a:gd name="T11" fmla="*/ 36 h 90"/>
                  <a:gd name="T12" fmla="*/ 0 w 95"/>
                  <a:gd name="T13" fmla="*/ 50 h 90"/>
                  <a:gd name="T14" fmla="*/ 12 w 95"/>
                  <a:gd name="T15" fmla="*/ 70 h 90"/>
                  <a:gd name="T16" fmla="*/ 24 w 95"/>
                  <a:gd name="T17" fmla="*/ 90 h 90"/>
                  <a:gd name="T18" fmla="*/ 64 w 95"/>
                  <a:gd name="T19" fmla="*/ 76 h 90"/>
                  <a:gd name="T20" fmla="*/ 82 w 95"/>
                  <a:gd name="T21" fmla="*/ 58 h 90"/>
                  <a:gd name="T22" fmla="*/ 89 w 95"/>
                  <a:gd name="T23" fmla="*/ 41 h 90"/>
                  <a:gd name="T24" fmla="*/ 90 w 95"/>
                  <a:gd name="T25" fmla="*/ 30 h 90"/>
                  <a:gd name="T26" fmla="*/ 83 w 95"/>
                  <a:gd name="T27" fmla="*/ 15 h 90"/>
                  <a:gd name="T28" fmla="*/ 75 w 95"/>
                  <a:gd name="T2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5" h="90">
                    <a:moveTo>
                      <a:pt x="75" y="0"/>
                    </a:moveTo>
                    <a:cubicBezTo>
                      <a:pt x="67" y="11"/>
                      <a:pt x="78" y="3"/>
                      <a:pt x="62" y="11"/>
                    </a:cubicBezTo>
                    <a:cubicBezTo>
                      <a:pt x="58" y="10"/>
                      <a:pt x="58" y="3"/>
                      <a:pt x="51" y="2"/>
                    </a:cubicBezTo>
                    <a:cubicBezTo>
                      <a:pt x="44" y="1"/>
                      <a:pt x="25" y="2"/>
                      <a:pt x="18" y="2"/>
                    </a:cubicBezTo>
                    <a:cubicBezTo>
                      <a:pt x="14" y="3"/>
                      <a:pt x="9" y="1"/>
                      <a:pt x="6" y="4"/>
                    </a:cubicBezTo>
                    <a:cubicBezTo>
                      <a:pt x="5" y="5"/>
                      <a:pt x="7" y="30"/>
                      <a:pt x="9" y="36"/>
                    </a:cubicBezTo>
                    <a:cubicBezTo>
                      <a:pt x="6" y="44"/>
                      <a:pt x="4" y="43"/>
                      <a:pt x="0" y="50"/>
                    </a:cubicBezTo>
                    <a:cubicBezTo>
                      <a:pt x="4" y="61"/>
                      <a:pt x="0" y="67"/>
                      <a:pt x="12" y="70"/>
                    </a:cubicBezTo>
                    <a:cubicBezTo>
                      <a:pt x="18" y="78"/>
                      <a:pt x="14" y="87"/>
                      <a:pt x="24" y="90"/>
                    </a:cubicBezTo>
                    <a:cubicBezTo>
                      <a:pt x="42" y="72"/>
                      <a:pt x="18" y="79"/>
                      <a:pt x="64" y="76"/>
                    </a:cubicBezTo>
                    <a:cubicBezTo>
                      <a:pt x="82" y="80"/>
                      <a:pt x="95" y="78"/>
                      <a:pt x="82" y="58"/>
                    </a:cubicBezTo>
                    <a:cubicBezTo>
                      <a:pt x="85" y="53"/>
                      <a:pt x="88" y="46"/>
                      <a:pt x="89" y="41"/>
                    </a:cubicBezTo>
                    <a:cubicBezTo>
                      <a:pt x="90" y="36"/>
                      <a:pt x="91" y="34"/>
                      <a:pt x="90" y="30"/>
                    </a:cubicBezTo>
                    <a:cubicBezTo>
                      <a:pt x="90" y="23"/>
                      <a:pt x="85" y="19"/>
                      <a:pt x="83" y="15"/>
                    </a:cubicBezTo>
                    <a:cubicBezTo>
                      <a:pt x="80" y="10"/>
                      <a:pt x="81" y="5"/>
                      <a:pt x="75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7" name="Freeform 52">
                <a:extLst>
                  <a:ext uri="{FF2B5EF4-FFF2-40B4-BE49-F238E27FC236}">
                    <a16:creationId xmlns:a16="http://schemas.microsoft.com/office/drawing/2014/main" id="{164939CF-D369-40E6-8DFC-2297C7F362AC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gray">
              <a:xfrm>
                <a:off x="4719638" y="4727575"/>
                <a:ext cx="393700" cy="352425"/>
              </a:xfrm>
              <a:custGeom>
                <a:avLst/>
                <a:gdLst>
                  <a:gd name="T0" fmla="*/ 15 w 244"/>
                  <a:gd name="T1" fmla="*/ 100 h 222"/>
                  <a:gd name="T2" fmla="*/ 16 w 244"/>
                  <a:gd name="T3" fmla="*/ 128 h 222"/>
                  <a:gd name="T4" fmla="*/ 30 w 244"/>
                  <a:gd name="T5" fmla="*/ 149 h 222"/>
                  <a:gd name="T6" fmla="*/ 37 w 244"/>
                  <a:gd name="T7" fmla="*/ 193 h 222"/>
                  <a:gd name="T8" fmla="*/ 51 w 244"/>
                  <a:gd name="T9" fmla="*/ 205 h 222"/>
                  <a:gd name="T10" fmla="*/ 84 w 244"/>
                  <a:gd name="T11" fmla="*/ 206 h 222"/>
                  <a:gd name="T12" fmla="*/ 144 w 244"/>
                  <a:gd name="T13" fmla="*/ 199 h 222"/>
                  <a:gd name="T14" fmla="*/ 166 w 244"/>
                  <a:gd name="T15" fmla="*/ 194 h 222"/>
                  <a:gd name="T16" fmla="*/ 177 w 244"/>
                  <a:gd name="T17" fmla="*/ 182 h 222"/>
                  <a:gd name="T18" fmla="*/ 192 w 244"/>
                  <a:gd name="T19" fmla="*/ 167 h 222"/>
                  <a:gd name="T20" fmla="*/ 207 w 244"/>
                  <a:gd name="T21" fmla="*/ 152 h 222"/>
                  <a:gd name="T22" fmla="*/ 216 w 244"/>
                  <a:gd name="T23" fmla="*/ 139 h 222"/>
                  <a:gd name="T24" fmla="*/ 243 w 244"/>
                  <a:gd name="T25" fmla="*/ 112 h 222"/>
                  <a:gd name="T26" fmla="*/ 244 w 244"/>
                  <a:gd name="T27" fmla="*/ 83 h 222"/>
                  <a:gd name="T28" fmla="*/ 235 w 244"/>
                  <a:gd name="T29" fmla="*/ 71 h 222"/>
                  <a:gd name="T30" fmla="*/ 241 w 244"/>
                  <a:gd name="T31" fmla="*/ 52 h 222"/>
                  <a:gd name="T32" fmla="*/ 231 w 244"/>
                  <a:gd name="T33" fmla="*/ 41 h 222"/>
                  <a:gd name="T34" fmla="*/ 231 w 244"/>
                  <a:gd name="T35" fmla="*/ 22 h 222"/>
                  <a:gd name="T36" fmla="*/ 223 w 244"/>
                  <a:gd name="T37" fmla="*/ 14 h 222"/>
                  <a:gd name="T38" fmla="*/ 213 w 244"/>
                  <a:gd name="T39" fmla="*/ 2 h 222"/>
                  <a:gd name="T40" fmla="*/ 191 w 244"/>
                  <a:gd name="T41" fmla="*/ 3 h 222"/>
                  <a:gd name="T42" fmla="*/ 169 w 244"/>
                  <a:gd name="T43" fmla="*/ 11 h 222"/>
                  <a:gd name="T44" fmla="*/ 163 w 244"/>
                  <a:gd name="T45" fmla="*/ 26 h 222"/>
                  <a:gd name="T46" fmla="*/ 156 w 244"/>
                  <a:gd name="T47" fmla="*/ 37 h 222"/>
                  <a:gd name="T48" fmla="*/ 157 w 244"/>
                  <a:gd name="T49" fmla="*/ 40 h 222"/>
                  <a:gd name="T50" fmla="*/ 145 w 244"/>
                  <a:gd name="T51" fmla="*/ 47 h 222"/>
                  <a:gd name="T52" fmla="*/ 132 w 244"/>
                  <a:gd name="T53" fmla="*/ 50 h 222"/>
                  <a:gd name="T54" fmla="*/ 115 w 244"/>
                  <a:gd name="T55" fmla="*/ 56 h 222"/>
                  <a:gd name="T56" fmla="*/ 91 w 244"/>
                  <a:gd name="T57" fmla="*/ 64 h 222"/>
                  <a:gd name="T58" fmla="*/ 70 w 244"/>
                  <a:gd name="T59" fmla="*/ 77 h 222"/>
                  <a:gd name="T60" fmla="*/ 64 w 244"/>
                  <a:gd name="T61" fmla="*/ 89 h 222"/>
                  <a:gd name="T62" fmla="*/ 52 w 244"/>
                  <a:gd name="T63" fmla="*/ 106 h 222"/>
                  <a:gd name="T64" fmla="*/ 36 w 244"/>
                  <a:gd name="T65" fmla="*/ 111 h 222"/>
                  <a:gd name="T66" fmla="*/ 24 w 244"/>
                  <a:gd name="T67" fmla="*/ 110 h 222"/>
                  <a:gd name="T68" fmla="*/ 15 w 244"/>
                  <a:gd name="T69" fmla="*/ 10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4" h="222">
                    <a:moveTo>
                      <a:pt x="15" y="100"/>
                    </a:moveTo>
                    <a:cubicBezTo>
                      <a:pt x="0" y="102"/>
                      <a:pt x="7" y="122"/>
                      <a:pt x="16" y="128"/>
                    </a:cubicBezTo>
                    <a:cubicBezTo>
                      <a:pt x="22" y="138"/>
                      <a:pt x="20" y="143"/>
                      <a:pt x="30" y="149"/>
                    </a:cubicBezTo>
                    <a:cubicBezTo>
                      <a:pt x="33" y="164"/>
                      <a:pt x="22" y="185"/>
                      <a:pt x="37" y="193"/>
                    </a:cubicBezTo>
                    <a:cubicBezTo>
                      <a:pt x="40" y="203"/>
                      <a:pt x="41" y="203"/>
                      <a:pt x="51" y="205"/>
                    </a:cubicBezTo>
                    <a:cubicBezTo>
                      <a:pt x="53" y="222"/>
                      <a:pt x="73" y="208"/>
                      <a:pt x="84" y="206"/>
                    </a:cubicBezTo>
                    <a:cubicBezTo>
                      <a:pt x="103" y="197"/>
                      <a:pt x="167" y="216"/>
                      <a:pt x="144" y="199"/>
                    </a:cubicBezTo>
                    <a:cubicBezTo>
                      <a:pt x="155" y="191"/>
                      <a:pt x="138" y="202"/>
                      <a:pt x="166" y="194"/>
                    </a:cubicBezTo>
                    <a:cubicBezTo>
                      <a:pt x="168" y="193"/>
                      <a:pt x="174" y="184"/>
                      <a:pt x="177" y="182"/>
                    </a:cubicBezTo>
                    <a:cubicBezTo>
                      <a:pt x="181" y="176"/>
                      <a:pt x="186" y="171"/>
                      <a:pt x="192" y="167"/>
                    </a:cubicBezTo>
                    <a:cubicBezTo>
                      <a:pt x="198" y="160"/>
                      <a:pt x="199" y="155"/>
                      <a:pt x="207" y="152"/>
                    </a:cubicBezTo>
                    <a:cubicBezTo>
                      <a:pt x="210" y="148"/>
                      <a:pt x="213" y="143"/>
                      <a:pt x="216" y="139"/>
                    </a:cubicBezTo>
                    <a:cubicBezTo>
                      <a:pt x="217" y="125"/>
                      <a:pt x="229" y="113"/>
                      <a:pt x="243" y="112"/>
                    </a:cubicBezTo>
                    <a:cubicBezTo>
                      <a:pt x="239" y="102"/>
                      <a:pt x="242" y="93"/>
                      <a:pt x="244" y="83"/>
                    </a:cubicBezTo>
                    <a:cubicBezTo>
                      <a:pt x="240" y="78"/>
                      <a:pt x="237" y="77"/>
                      <a:pt x="235" y="71"/>
                    </a:cubicBezTo>
                    <a:cubicBezTo>
                      <a:pt x="234" y="66"/>
                      <a:pt x="243" y="61"/>
                      <a:pt x="241" y="52"/>
                    </a:cubicBezTo>
                    <a:cubicBezTo>
                      <a:pt x="240" y="47"/>
                      <a:pt x="233" y="46"/>
                      <a:pt x="231" y="41"/>
                    </a:cubicBezTo>
                    <a:cubicBezTo>
                      <a:pt x="229" y="36"/>
                      <a:pt x="232" y="26"/>
                      <a:pt x="231" y="22"/>
                    </a:cubicBezTo>
                    <a:cubicBezTo>
                      <a:pt x="230" y="18"/>
                      <a:pt x="226" y="17"/>
                      <a:pt x="223" y="14"/>
                    </a:cubicBezTo>
                    <a:cubicBezTo>
                      <a:pt x="222" y="6"/>
                      <a:pt x="221" y="5"/>
                      <a:pt x="213" y="2"/>
                    </a:cubicBezTo>
                    <a:cubicBezTo>
                      <a:pt x="208" y="0"/>
                      <a:pt x="198" y="2"/>
                      <a:pt x="191" y="3"/>
                    </a:cubicBezTo>
                    <a:cubicBezTo>
                      <a:pt x="184" y="4"/>
                      <a:pt x="174" y="7"/>
                      <a:pt x="169" y="11"/>
                    </a:cubicBezTo>
                    <a:cubicBezTo>
                      <a:pt x="166" y="16"/>
                      <a:pt x="166" y="21"/>
                      <a:pt x="163" y="26"/>
                    </a:cubicBezTo>
                    <a:cubicBezTo>
                      <a:pt x="161" y="30"/>
                      <a:pt x="157" y="35"/>
                      <a:pt x="156" y="37"/>
                    </a:cubicBezTo>
                    <a:cubicBezTo>
                      <a:pt x="155" y="39"/>
                      <a:pt x="159" y="38"/>
                      <a:pt x="157" y="40"/>
                    </a:cubicBezTo>
                    <a:cubicBezTo>
                      <a:pt x="155" y="42"/>
                      <a:pt x="149" y="45"/>
                      <a:pt x="145" y="47"/>
                    </a:cubicBezTo>
                    <a:cubicBezTo>
                      <a:pt x="141" y="53"/>
                      <a:pt x="139" y="49"/>
                      <a:pt x="132" y="50"/>
                    </a:cubicBezTo>
                    <a:cubicBezTo>
                      <a:pt x="126" y="55"/>
                      <a:pt x="122" y="59"/>
                      <a:pt x="115" y="56"/>
                    </a:cubicBezTo>
                    <a:cubicBezTo>
                      <a:pt x="108" y="49"/>
                      <a:pt x="99" y="59"/>
                      <a:pt x="91" y="64"/>
                    </a:cubicBezTo>
                    <a:cubicBezTo>
                      <a:pt x="86" y="70"/>
                      <a:pt x="76" y="73"/>
                      <a:pt x="70" y="77"/>
                    </a:cubicBezTo>
                    <a:cubicBezTo>
                      <a:pt x="64" y="81"/>
                      <a:pt x="67" y="84"/>
                      <a:pt x="64" y="89"/>
                    </a:cubicBezTo>
                    <a:cubicBezTo>
                      <a:pt x="61" y="94"/>
                      <a:pt x="55" y="102"/>
                      <a:pt x="52" y="106"/>
                    </a:cubicBezTo>
                    <a:cubicBezTo>
                      <a:pt x="47" y="110"/>
                      <a:pt x="41" y="110"/>
                      <a:pt x="36" y="111"/>
                    </a:cubicBezTo>
                    <a:cubicBezTo>
                      <a:pt x="31" y="112"/>
                      <a:pt x="27" y="112"/>
                      <a:pt x="24" y="110"/>
                    </a:cubicBezTo>
                    <a:cubicBezTo>
                      <a:pt x="20" y="107"/>
                      <a:pt x="19" y="104"/>
                      <a:pt x="15" y="10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8" name="Freeform 53">
                <a:extLst>
                  <a:ext uri="{FF2B5EF4-FFF2-40B4-BE49-F238E27FC236}">
                    <a16:creationId xmlns:a16="http://schemas.microsoft.com/office/drawing/2014/main" id="{5486858C-729C-4A01-8EEB-CCB0EBAD6F24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gray">
              <a:xfrm>
                <a:off x="4972051" y="4892675"/>
                <a:ext cx="68263" cy="80963"/>
              </a:xfrm>
              <a:custGeom>
                <a:avLst/>
                <a:gdLst>
                  <a:gd name="T0" fmla="*/ 21 w 43"/>
                  <a:gd name="T1" fmla="*/ 5 h 51"/>
                  <a:gd name="T2" fmla="*/ 7 w 43"/>
                  <a:gd name="T3" fmla="*/ 12 h 51"/>
                  <a:gd name="T4" fmla="*/ 9 w 43"/>
                  <a:gd name="T5" fmla="*/ 23 h 51"/>
                  <a:gd name="T6" fmla="*/ 10 w 43"/>
                  <a:gd name="T7" fmla="*/ 39 h 51"/>
                  <a:gd name="T8" fmla="*/ 36 w 43"/>
                  <a:gd name="T9" fmla="*/ 27 h 51"/>
                  <a:gd name="T10" fmla="*/ 25 w 43"/>
                  <a:gd name="T11" fmla="*/ 0 h 51"/>
                  <a:gd name="T12" fmla="*/ 21 w 43"/>
                  <a:gd name="T13" fmla="*/ 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51">
                    <a:moveTo>
                      <a:pt x="21" y="5"/>
                    </a:moveTo>
                    <a:cubicBezTo>
                      <a:pt x="12" y="7"/>
                      <a:pt x="16" y="10"/>
                      <a:pt x="7" y="12"/>
                    </a:cubicBezTo>
                    <a:cubicBezTo>
                      <a:pt x="0" y="16"/>
                      <a:pt x="3" y="20"/>
                      <a:pt x="9" y="23"/>
                    </a:cubicBezTo>
                    <a:cubicBezTo>
                      <a:pt x="9" y="28"/>
                      <a:pt x="6" y="36"/>
                      <a:pt x="10" y="39"/>
                    </a:cubicBezTo>
                    <a:cubicBezTo>
                      <a:pt x="24" y="51"/>
                      <a:pt x="28" y="30"/>
                      <a:pt x="36" y="27"/>
                    </a:cubicBezTo>
                    <a:cubicBezTo>
                      <a:pt x="43" y="13"/>
                      <a:pt x="39" y="6"/>
                      <a:pt x="25" y="0"/>
                    </a:cubicBezTo>
                    <a:cubicBezTo>
                      <a:pt x="23" y="1"/>
                      <a:pt x="8" y="8"/>
                      <a:pt x="21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9" name="Freeform 54">
                <a:extLst>
                  <a:ext uri="{FF2B5EF4-FFF2-40B4-BE49-F238E27FC236}">
                    <a16:creationId xmlns:a16="http://schemas.microsoft.com/office/drawing/2014/main" id="{E182CC50-DC35-461F-858F-58B0B224ACFE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gray">
              <a:xfrm>
                <a:off x="4610101" y="4597400"/>
                <a:ext cx="247650" cy="307975"/>
              </a:xfrm>
              <a:custGeom>
                <a:avLst/>
                <a:gdLst>
                  <a:gd name="T0" fmla="*/ 75 w 154"/>
                  <a:gd name="T1" fmla="*/ 191 h 194"/>
                  <a:gd name="T2" fmla="*/ 60 w 154"/>
                  <a:gd name="T3" fmla="*/ 179 h 194"/>
                  <a:gd name="T4" fmla="*/ 53 w 154"/>
                  <a:gd name="T5" fmla="*/ 165 h 194"/>
                  <a:gd name="T6" fmla="*/ 47 w 154"/>
                  <a:gd name="T7" fmla="*/ 120 h 194"/>
                  <a:gd name="T8" fmla="*/ 24 w 154"/>
                  <a:gd name="T9" fmla="*/ 51 h 194"/>
                  <a:gd name="T10" fmla="*/ 8 w 154"/>
                  <a:gd name="T11" fmla="*/ 24 h 194"/>
                  <a:gd name="T12" fmla="*/ 0 w 154"/>
                  <a:gd name="T13" fmla="*/ 11 h 194"/>
                  <a:gd name="T14" fmla="*/ 24 w 154"/>
                  <a:gd name="T15" fmla="*/ 0 h 194"/>
                  <a:gd name="T16" fmla="*/ 39 w 154"/>
                  <a:gd name="T17" fmla="*/ 11 h 194"/>
                  <a:gd name="T18" fmla="*/ 101 w 154"/>
                  <a:gd name="T19" fmla="*/ 8 h 194"/>
                  <a:gd name="T20" fmla="*/ 107 w 154"/>
                  <a:gd name="T21" fmla="*/ 12 h 194"/>
                  <a:gd name="T22" fmla="*/ 141 w 154"/>
                  <a:gd name="T23" fmla="*/ 20 h 194"/>
                  <a:gd name="T24" fmla="*/ 125 w 154"/>
                  <a:gd name="T25" fmla="*/ 84 h 194"/>
                  <a:gd name="T26" fmla="*/ 128 w 154"/>
                  <a:gd name="T27" fmla="*/ 131 h 194"/>
                  <a:gd name="T28" fmla="*/ 137 w 154"/>
                  <a:gd name="T29" fmla="*/ 156 h 194"/>
                  <a:gd name="T30" fmla="*/ 131 w 154"/>
                  <a:gd name="T31" fmla="*/ 167 h 194"/>
                  <a:gd name="T32" fmla="*/ 111 w 154"/>
                  <a:gd name="T33" fmla="*/ 192 h 194"/>
                  <a:gd name="T34" fmla="*/ 81 w 154"/>
                  <a:gd name="T35" fmla="*/ 185 h 194"/>
                  <a:gd name="T36" fmla="*/ 75 w 154"/>
                  <a:gd name="T37" fmla="*/ 191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4" h="194">
                    <a:moveTo>
                      <a:pt x="75" y="191"/>
                    </a:moveTo>
                    <a:cubicBezTo>
                      <a:pt x="70" y="184"/>
                      <a:pt x="69" y="181"/>
                      <a:pt x="60" y="179"/>
                    </a:cubicBezTo>
                    <a:cubicBezTo>
                      <a:pt x="59" y="173"/>
                      <a:pt x="56" y="170"/>
                      <a:pt x="53" y="165"/>
                    </a:cubicBezTo>
                    <a:cubicBezTo>
                      <a:pt x="51" y="150"/>
                      <a:pt x="55" y="133"/>
                      <a:pt x="47" y="120"/>
                    </a:cubicBezTo>
                    <a:cubicBezTo>
                      <a:pt x="45" y="82"/>
                      <a:pt x="41" y="80"/>
                      <a:pt x="24" y="51"/>
                    </a:cubicBezTo>
                    <a:cubicBezTo>
                      <a:pt x="22" y="38"/>
                      <a:pt x="18" y="32"/>
                      <a:pt x="8" y="24"/>
                    </a:cubicBezTo>
                    <a:cubicBezTo>
                      <a:pt x="6" y="19"/>
                      <a:pt x="3" y="15"/>
                      <a:pt x="0" y="11"/>
                    </a:cubicBezTo>
                    <a:cubicBezTo>
                      <a:pt x="3" y="3"/>
                      <a:pt x="16" y="4"/>
                      <a:pt x="24" y="0"/>
                    </a:cubicBezTo>
                    <a:cubicBezTo>
                      <a:pt x="29" y="2"/>
                      <a:pt x="34" y="9"/>
                      <a:pt x="39" y="11"/>
                    </a:cubicBezTo>
                    <a:cubicBezTo>
                      <a:pt x="52" y="13"/>
                      <a:pt x="84" y="7"/>
                      <a:pt x="101" y="8"/>
                    </a:cubicBezTo>
                    <a:cubicBezTo>
                      <a:pt x="112" y="8"/>
                      <a:pt x="100" y="10"/>
                      <a:pt x="107" y="12"/>
                    </a:cubicBezTo>
                    <a:cubicBezTo>
                      <a:pt x="114" y="14"/>
                      <a:pt x="138" y="8"/>
                      <a:pt x="141" y="20"/>
                    </a:cubicBezTo>
                    <a:cubicBezTo>
                      <a:pt x="140" y="43"/>
                      <a:pt x="154" y="81"/>
                      <a:pt x="125" y="84"/>
                    </a:cubicBezTo>
                    <a:cubicBezTo>
                      <a:pt x="123" y="103"/>
                      <a:pt x="127" y="117"/>
                      <a:pt x="128" y="131"/>
                    </a:cubicBezTo>
                    <a:cubicBezTo>
                      <a:pt x="130" y="143"/>
                      <a:pt x="137" y="150"/>
                      <a:pt x="137" y="156"/>
                    </a:cubicBezTo>
                    <a:cubicBezTo>
                      <a:pt x="137" y="162"/>
                      <a:pt x="135" y="161"/>
                      <a:pt x="131" y="167"/>
                    </a:cubicBezTo>
                    <a:cubicBezTo>
                      <a:pt x="127" y="173"/>
                      <a:pt x="119" y="189"/>
                      <a:pt x="111" y="192"/>
                    </a:cubicBezTo>
                    <a:cubicBezTo>
                      <a:pt x="93" y="191"/>
                      <a:pt x="92" y="194"/>
                      <a:pt x="81" y="185"/>
                    </a:cubicBezTo>
                    <a:cubicBezTo>
                      <a:pt x="77" y="186"/>
                      <a:pt x="66" y="187"/>
                      <a:pt x="75" y="19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0" name="Freeform 55">
                <a:extLst>
                  <a:ext uri="{FF2B5EF4-FFF2-40B4-BE49-F238E27FC236}">
                    <a16:creationId xmlns:a16="http://schemas.microsoft.com/office/drawing/2014/main" id="{5F271EFB-4D84-4410-A219-700CEF0EBF5A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gray">
              <a:xfrm>
                <a:off x="4808538" y="4606925"/>
                <a:ext cx="239713" cy="255588"/>
              </a:xfrm>
              <a:custGeom>
                <a:avLst/>
                <a:gdLst>
                  <a:gd name="T0" fmla="*/ 20 w 149"/>
                  <a:gd name="T1" fmla="*/ 11 h 161"/>
                  <a:gd name="T2" fmla="*/ 20 w 149"/>
                  <a:gd name="T3" fmla="*/ 21 h 161"/>
                  <a:gd name="T4" fmla="*/ 20 w 149"/>
                  <a:gd name="T5" fmla="*/ 35 h 161"/>
                  <a:gd name="T6" fmla="*/ 20 w 149"/>
                  <a:gd name="T7" fmla="*/ 48 h 161"/>
                  <a:gd name="T8" fmla="*/ 18 w 149"/>
                  <a:gd name="T9" fmla="*/ 69 h 161"/>
                  <a:gd name="T10" fmla="*/ 3 w 149"/>
                  <a:gd name="T11" fmla="*/ 84 h 161"/>
                  <a:gd name="T12" fmla="*/ 2 w 149"/>
                  <a:gd name="T13" fmla="*/ 94 h 161"/>
                  <a:gd name="T14" fmla="*/ 3 w 149"/>
                  <a:gd name="T15" fmla="*/ 123 h 161"/>
                  <a:gd name="T16" fmla="*/ 14 w 149"/>
                  <a:gd name="T17" fmla="*/ 147 h 161"/>
                  <a:gd name="T18" fmla="*/ 32 w 149"/>
                  <a:gd name="T19" fmla="*/ 144 h 161"/>
                  <a:gd name="T20" fmla="*/ 47 w 149"/>
                  <a:gd name="T21" fmla="*/ 129 h 161"/>
                  <a:gd name="T22" fmla="*/ 66 w 149"/>
                  <a:gd name="T23" fmla="*/ 131 h 161"/>
                  <a:gd name="T24" fmla="*/ 80 w 149"/>
                  <a:gd name="T25" fmla="*/ 128 h 161"/>
                  <a:gd name="T26" fmla="*/ 98 w 149"/>
                  <a:gd name="T27" fmla="*/ 117 h 161"/>
                  <a:gd name="T28" fmla="*/ 107 w 149"/>
                  <a:gd name="T29" fmla="*/ 104 h 161"/>
                  <a:gd name="T30" fmla="*/ 116 w 149"/>
                  <a:gd name="T31" fmla="*/ 89 h 161"/>
                  <a:gd name="T32" fmla="*/ 134 w 149"/>
                  <a:gd name="T33" fmla="*/ 81 h 161"/>
                  <a:gd name="T34" fmla="*/ 138 w 149"/>
                  <a:gd name="T35" fmla="*/ 78 h 161"/>
                  <a:gd name="T36" fmla="*/ 137 w 149"/>
                  <a:gd name="T37" fmla="*/ 68 h 161"/>
                  <a:gd name="T38" fmla="*/ 114 w 149"/>
                  <a:gd name="T39" fmla="*/ 63 h 161"/>
                  <a:gd name="T40" fmla="*/ 99 w 149"/>
                  <a:gd name="T41" fmla="*/ 42 h 161"/>
                  <a:gd name="T42" fmla="*/ 84 w 149"/>
                  <a:gd name="T43" fmla="*/ 24 h 161"/>
                  <a:gd name="T44" fmla="*/ 74 w 149"/>
                  <a:gd name="T45" fmla="*/ 9 h 161"/>
                  <a:gd name="T46" fmla="*/ 36 w 149"/>
                  <a:gd name="T47" fmla="*/ 3 h 161"/>
                  <a:gd name="T48" fmla="*/ 24 w 149"/>
                  <a:gd name="T49" fmla="*/ 9 h 161"/>
                  <a:gd name="T50" fmla="*/ 20 w 149"/>
                  <a:gd name="T51" fmla="*/ 1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9" h="161">
                    <a:moveTo>
                      <a:pt x="20" y="11"/>
                    </a:moveTo>
                    <a:cubicBezTo>
                      <a:pt x="19" y="13"/>
                      <a:pt x="20" y="15"/>
                      <a:pt x="20" y="21"/>
                    </a:cubicBezTo>
                    <a:cubicBezTo>
                      <a:pt x="20" y="25"/>
                      <a:pt x="20" y="31"/>
                      <a:pt x="20" y="35"/>
                    </a:cubicBezTo>
                    <a:cubicBezTo>
                      <a:pt x="20" y="39"/>
                      <a:pt x="20" y="42"/>
                      <a:pt x="20" y="48"/>
                    </a:cubicBezTo>
                    <a:cubicBezTo>
                      <a:pt x="20" y="54"/>
                      <a:pt x="21" y="63"/>
                      <a:pt x="18" y="69"/>
                    </a:cubicBezTo>
                    <a:cubicBezTo>
                      <a:pt x="16" y="74"/>
                      <a:pt x="5" y="79"/>
                      <a:pt x="3" y="84"/>
                    </a:cubicBezTo>
                    <a:cubicBezTo>
                      <a:pt x="2" y="88"/>
                      <a:pt x="0" y="86"/>
                      <a:pt x="2" y="94"/>
                    </a:cubicBezTo>
                    <a:cubicBezTo>
                      <a:pt x="2" y="100"/>
                      <a:pt x="1" y="114"/>
                      <a:pt x="3" y="123"/>
                    </a:cubicBezTo>
                    <a:cubicBezTo>
                      <a:pt x="5" y="132"/>
                      <a:pt x="9" y="144"/>
                      <a:pt x="14" y="147"/>
                    </a:cubicBezTo>
                    <a:cubicBezTo>
                      <a:pt x="16" y="161"/>
                      <a:pt x="22" y="150"/>
                      <a:pt x="32" y="144"/>
                    </a:cubicBezTo>
                    <a:cubicBezTo>
                      <a:pt x="38" y="143"/>
                      <a:pt x="41" y="131"/>
                      <a:pt x="47" y="129"/>
                    </a:cubicBezTo>
                    <a:cubicBezTo>
                      <a:pt x="53" y="127"/>
                      <a:pt x="61" y="131"/>
                      <a:pt x="66" y="131"/>
                    </a:cubicBezTo>
                    <a:cubicBezTo>
                      <a:pt x="71" y="131"/>
                      <a:pt x="75" y="130"/>
                      <a:pt x="80" y="128"/>
                    </a:cubicBezTo>
                    <a:cubicBezTo>
                      <a:pt x="90" y="126"/>
                      <a:pt x="90" y="122"/>
                      <a:pt x="98" y="117"/>
                    </a:cubicBezTo>
                    <a:cubicBezTo>
                      <a:pt x="101" y="113"/>
                      <a:pt x="105" y="109"/>
                      <a:pt x="107" y="104"/>
                    </a:cubicBezTo>
                    <a:cubicBezTo>
                      <a:pt x="108" y="95"/>
                      <a:pt x="108" y="94"/>
                      <a:pt x="116" y="89"/>
                    </a:cubicBezTo>
                    <a:cubicBezTo>
                      <a:pt x="120" y="82"/>
                      <a:pt x="126" y="83"/>
                      <a:pt x="134" y="81"/>
                    </a:cubicBezTo>
                    <a:cubicBezTo>
                      <a:pt x="135" y="80"/>
                      <a:pt x="136" y="79"/>
                      <a:pt x="138" y="78"/>
                    </a:cubicBezTo>
                    <a:cubicBezTo>
                      <a:pt x="147" y="74"/>
                      <a:pt x="149" y="70"/>
                      <a:pt x="137" y="68"/>
                    </a:cubicBezTo>
                    <a:cubicBezTo>
                      <a:pt x="129" y="65"/>
                      <a:pt x="122" y="66"/>
                      <a:pt x="114" y="63"/>
                    </a:cubicBezTo>
                    <a:cubicBezTo>
                      <a:pt x="113" y="45"/>
                      <a:pt x="114" y="47"/>
                      <a:pt x="99" y="42"/>
                    </a:cubicBezTo>
                    <a:cubicBezTo>
                      <a:pt x="91" y="36"/>
                      <a:pt x="94" y="28"/>
                      <a:pt x="84" y="24"/>
                    </a:cubicBezTo>
                    <a:cubicBezTo>
                      <a:pt x="80" y="18"/>
                      <a:pt x="81" y="12"/>
                      <a:pt x="74" y="9"/>
                    </a:cubicBezTo>
                    <a:cubicBezTo>
                      <a:pt x="62" y="11"/>
                      <a:pt x="48" y="5"/>
                      <a:pt x="36" y="3"/>
                    </a:cubicBezTo>
                    <a:cubicBezTo>
                      <a:pt x="31" y="0"/>
                      <a:pt x="24" y="9"/>
                      <a:pt x="24" y="9"/>
                    </a:cubicBezTo>
                    <a:cubicBezTo>
                      <a:pt x="23" y="10"/>
                      <a:pt x="20" y="11"/>
                      <a:pt x="20" y="1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1" name="Freeform 56">
                <a:extLst>
                  <a:ext uri="{FF2B5EF4-FFF2-40B4-BE49-F238E27FC236}">
                    <a16:creationId xmlns:a16="http://schemas.microsoft.com/office/drawing/2014/main" id="{26A43914-00AD-45A5-864F-3D2FDFE560C9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gray">
              <a:xfrm>
                <a:off x="5365751" y="4473575"/>
                <a:ext cx="179388" cy="338138"/>
              </a:xfrm>
              <a:custGeom>
                <a:avLst/>
                <a:gdLst>
                  <a:gd name="T0" fmla="*/ 15 w 112"/>
                  <a:gd name="T1" fmla="*/ 204 h 213"/>
                  <a:gd name="T2" fmla="*/ 3 w 112"/>
                  <a:gd name="T3" fmla="*/ 179 h 213"/>
                  <a:gd name="T4" fmla="*/ 14 w 112"/>
                  <a:gd name="T5" fmla="*/ 140 h 213"/>
                  <a:gd name="T6" fmla="*/ 12 w 112"/>
                  <a:gd name="T7" fmla="*/ 98 h 213"/>
                  <a:gd name="T8" fmla="*/ 47 w 112"/>
                  <a:gd name="T9" fmla="*/ 56 h 213"/>
                  <a:gd name="T10" fmla="*/ 59 w 112"/>
                  <a:gd name="T11" fmla="*/ 44 h 213"/>
                  <a:gd name="T12" fmla="*/ 69 w 112"/>
                  <a:gd name="T13" fmla="*/ 32 h 213"/>
                  <a:gd name="T14" fmla="*/ 80 w 112"/>
                  <a:gd name="T15" fmla="*/ 18 h 213"/>
                  <a:gd name="T16" fmla="*/ 90 w 112"/>
                  <a:gd name="T17" fmla="*/ 0 h 213"/>
                  <a:gd name="T18" fmla="*/ 101 w 112"/>
                  <a:gd name="T19" fmla="*/ 17 h 213"/>
                  <a:gd name="T20" fmla="*/ 110 w 112"/>
                  <a:gd name="T21" fmla="*/ 56 h 213"/>
                  <a:gd name="T22" fmla="*/ 102 w 112"/>
                  <a:gd name="T23" fmla="*/ 68 h 213"/>
                  <a:gd name="T24" fmla="*/ 95 w 112"/>
                  <a:gd name="T25" fmla="*/ 90 h 213"/>
                  <a:gd name="T26" fmla="*/ 80 w 112"/>
                  <a:gd name="T27" fmla="*/ 129 h 213"/>
                  <a:gd name="T28" fmla="*/ 74 w 112"/>
                  <a:gd name="T29" fmla="*/ 159 h 213"/>
                  <a:gd name="T30" fmla="*/ 66 w 112"/>
                  <a:gd name="T31" fmla="*/ 186 h 213"/>
                  <a:gd name="T32" fmla="*/ 33 w 112"/>
                  <a:gd name="T33" fmla="*/ 210 h 213"/>
                  <a:gd name="T34" fmla="*/ 15 w 112"/>
                  <a:gd name="T35" fmla="*/ 20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213">
                    <a:moveTo>
                      <a:pt x="15" y="204"/>
                    </a:moveTo>
                    <a:cubicBezTo>
                      <a:pt x="9" y="195"/>
                      <a:pt x="12" y="181"/>
                      <a:pt x="3" y="179"/>
                    </a:cubicBezTo>
                    <a:cubicBezTo>
                      <a:pt x="0" y="163"/>
                      <a:pt x="0" y="148"/>
                      <a:pt x="14" y="140"/>
                    </a:cubicBezTo>
                    <a:cubicBezTo>
                      <a:pt x="21" y="128"/>
                      <a:pt x="18" y="110"/>
                      <a:pt x="12" y="98"/>
                    </a:cubicBezTo>
                    <a:cubicBezTo>
                      <a:pt x="16" y="66"/>
                      <a:pt x="15" y="61"/>
                      <a:pt x="47" y="56"/>
                    </a:cubicBezTo>
                    <a:cubicBezTo>
                      <a:pt x="52" y="52"/>
                      <a:pt x="54" y="48"/>
                      <a:pt x="59" y="44"/>
                    </a:cubicBezTo>
                    <a:cubicBezTo>
                      <a:pt x="62" y="39"/>
                      <a:pt x="64" y="36"/>
                      <a:pt x="69" y="32"/>
                    </a:cubicBezTo>
                    <a:cubicBezTo>
                      <a:pt x="73" y="25"/>
                      <a:pt x="72" y="21"/>
                      <a:pt x="80" y="18"/>
                    </a:cubicBezTo>
                    <a:cubicBezTo>
                      <a:pt x="85" y="12"/>
                      <a:pt x="83" y="5"/>
                      <a:pt x="90" y="0"/>
                    </a:cubicBezTo>
                    <a:cubicBezTo>
                      <a:pt x="99" y="3"/>
                      <a:pt x="96" y="9"/>
                      <a:pt x="101" y="17"/>
                    </a:cubicBezTo>
                    <a:cubicBezTo>
                      <a:pt x="103" y="31"/>
                      <a:pt x="105" y="43"/>
                      <a:pt x="110" y="56"/>
                    </a:cubicBezTo>
                    <a:cubicBezTo>
                      <a:pt x="112" y="66"/>
                      <a:pt x="107" y="60"/>
                      <a:pt x="102" y="68"/>
                    </a:cubicBezTo>
                    <a:cubicBezTo>
                      <a:pt x="105" y="78"/>
                      <a:pt x="103" y="84"/>
                      <a:pt x="95" y="90"/>
                    </a:cubicBezTo>
                    <a:cubicBezTo>
                      <a:pt x="94" y="103"/>
                      <a:pt x="91" y="120"/>
                      <a:pt x="80" y="129"/>
                    </a:cubicBezTo>
                    <a:cubicBezTo>
                      <a:pt x="79" y="140"/>
                      <a:pt x="81" y="150"/>
                      <a:pt x="74" y="159"/>
                    </a:cubicBezTo>
                    <a:cubicBezTo>
                      <a:pt x="72" y="169"/>
                      <a:pt x="71" y="177"/>
                      <a:pt x="66" y="186"/>
                    </a:cubicBezTo>
                    <a:cubicBezTo>
                      <a:pt x="64" y="211"/>
                      <a:pt x="57" y="206"/>
                      <a:pt x="33" y="210"/>
                    </a:cubicBezTo>
                    <a:cubicBezTo>
                      <a:pt x="25" y="213"/>
                      <a:pt x="20" y="209"/>
                      <a:pt x="15" y="20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2" name="Freeform 57">
                <a:extLst>
                  <a:ext uri="{FF2B5EF4-FFF2-40B4-BE49-F238E27FC236}">
                    <a16:creationId xmlns:a16="http://schemas.microsoft.com/office/drawing/2014/main" id="{99943C5E-61A4-4D3A-BAA3-8E170C4A6CE8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gray">
              <a:xfrm>
                <a:off x="5070476" y="4821238"/>
                <a:ext cx="47625" cy="39688"/>
              </a:xfrm>
              <a:custGeom>
                <a:avLst/>
                <a:gdLst>
                  <a:gd name="T0" fmla="*/ 18 w 30"/>
                  <a:gd name="T1" fmla="*/ 0 h 25"/>
                  <a:gd name="T2" fmla="*/ 5 w 30"/>
                  <a:gd name="T3" fmla="*/ 23 h 25"/>
                  <a:gd name="T4" fmla="*/ 20 w 30"/>
                  <a:gd name="T5" fmla="*/ 21 h 25"/>
                  <a:gd name="T6" fmla="*/ 18 w 30"/>
                  <a:gd name="T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25">
                    <a:moveTo>
                      <a:pt x="18" y="0"/>
                    </a:moveTo>
                    <a:cubicBezTo>
                      <a:pt x="0" y="3"/>
                      <a:pt x="3" y="3"/>
                      <a:pt x="5" y="23"/>
                    </a:cubicBezTo>
                    <a:cubicBezTo>
                      <a:pt x="10" y="22"/>
                      <a:pt x="17" y="25"/>
                      <a:pt x="20" y="21"/>
                    </a:cubicBezTo>
                    <a:cubicBezTo>
                      <a:pt x="30" y="7"/>
                      <a:pt x="9" y="6"/>
                      <a:pt x="18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3" name="Freeform 58">
                <a:extLst>
                  <a:ext uri="{FF2B5EF4-FFF2-40B4-BE49-F238E27FC236}">
                    <a16:creationId xmlns:a16="http://schemas.microsoft.com/office/drawing/2014/main" id="{905D299B-C676-41C3-AC21-449EE6F8ADFE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gray">
              <a:xfrm>
                <a:off x="4926013" y="3390900"/>
                <a:ext cx="282575" cy="292100"/>
              </a:xfrm>
              <a:custGeom>
                <a:avLst/>
                <a:gdLst>
                  <a:gd name="T0" fmla="*/ 8 w 175"/>
                  <a:gd name="T1" fmla="*/ 178 h 184"/>
                  <a:gd name="T2" fmla="*/ 151 w 175"/>
                  <a:gd name="T3" fmla="*/ 174 h 184"/>
                  <a:gd name="T4" fmla="*/ 157 w 175"/>
                  <a:gd name="T5" fmla="*/ 145 h 184"/>
                  <a:gd name="T6" fmla="*/ 149 w 175"/>
                  <a:gd name="T7" fmla="*/ 111 h 184"/>
                  <a:gd name="T8" fmla="*/ 131 w 175"/>
                  <a:gd name="T9" fmla="*/ 79 h 184"/>
                  <a:gd name="T10" fmla="*/ 119 w 175"/>
                  <a:gd name="T11" fmla="*/ 51 h 184"/>
                  <a:gd name="T12" fmla="*/ 122 w 175"/>
                  <a:gd name="T13" fmla="*/ 43 h 184"/>
                  <a:gd name="T14" fmla="*/ 127 w 175"/>
                  <a:gd name="T15" fmla="*/ 61 h 184"/>
                  <a:gd name="T16" fmla="*/ 136 w 175"/>
                  <a:gd name="T17" fmla="*/ 79 h 184"/>
                  <a:gd name="T18" fmla="*/ 145 w 175"/>
                  <a:gd name="T19" fmla="*/ 28 h 184"/>
                  <a:gd name="T20" fmla="*/ 115 w 175"/>
                  <a:gd name="T21" fmla="*/ 24 h 184"/>
                  <a:gd name="T22" fmla="*/ 100 w 175"/>
                  <a:gd name="T23" fmla="*/ 10 h 184"/>
                  <a:gd name="T24" fmla="*/ 70 w 175"/>
                  <a:gd name="T25" fmla="*/ 27 h 184"/>
                  <a:gd name="T26" fmla="*/ 41 w 175"/>
                  <a:gd name="T27" fmla="*/ 15 h 184"/>
                  <a:gd name="T28" fmla="*/ 7 w 175"/>
                  <a:gd name="T29" fmla="*/ 13 h 184"/>
                  <a:gd name="T30" fmla="*/ 1 w 175"/>
                  <a:gd name="T31" fmla="*/ 27 h 184"/>
                  <a:gd name="T32" fmla="*/ 5 w 175"/>
                  <a:gd name="T33" fmla="*/ 106 h 184"/>
                  <a:gd name="T34" fmla="*/ 4 w 175"/>
                  <a:gd name="T35" fmla="*/ 177 h 184"/>
                  <a:gd name="T36" fmla="*/ 8 w 175"/>
                  <a:gd name="T37" fmla="*/ 17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5" h="184">
                    <a:moveTo>
                      <a:pt x="8" y="178"/>
                    </a:moveTo>
                    <a:cubicBezTo>
                      <a:pt x="34" y="173"/>
                      <a:pt x="127" y="184"/>
                      <a:pt x="151" y="174"/>
                    </a:cubicBezTo>
                    <a:cubicBezTo>
                      <a:pt x="175" y="169"/>
                      <a:pt x="157" y="155"/>
                      <a:pt x="157" y="145"/>
                    </a:cubicBezTo>
                    <a:cubicBezTo>
                      <a:pt x="157" y="135"/>
                      <a:pt x="153" y="122"/>
                      <a:pt x="149" y="111"/>
                    </a:cubicBezTo>
                    <a:cubicBezTo>
                      <a:pt x="147" y="99"/>
                      <a:pt x="137" y="89"/>
                      <a:pt x="131" y="79"/>
                    </a:cubicBezTo>
                    <a:cubicBezTo>
                      <a:pt x="130" y="67"/>
                      <a:pt x="129" y="57"/>
                      <a:pt x="119" y="51"/>
                    </a:cubicBezTo>
                    <a:cubicBezTo>
                      <a:pt x="118" y="48"/>
                      <a:pt x="119" y="42"/>
                      <a:pt x="122" y="43"/>
                    </a:cubicBezTo>
                    <a:cubicBezTo>
                      <a:pt x="124" y="44"/>
                      <a:pt x="126" y="58"/>
                      <a:pt x="127" y="61"/>
                    </a:cubicBezTo>
                    <a:cubicBezTo>
                      <a:pt x="128" y="68"/>
                      <a:pt x="128" y="77"/>
                      <a:pt x="136" y="79"/>
                    </a:cubicBezTo>
                    <a:cubicBezTo>
                      <a:pt x="162" y="76"/>
                      <a:pt x="151" y="81"/>
                      <a:pt x="145" y="28"/>
                    </a:cubicBezTo>
                    <a:cubicBezTo>
                      <a:pt x="144" y="18"/>
                      <a:pt x="125" y="24"/>
                      <a:pt x="115" y="24"/>
                    </a:cubicBezTo>
                    <a:cubicBezTo>
                      <a:pt x="109" y="20"/>
                      <a:pt x="106" y="15"/>
                      <a:pt x="100" y="10"/>
                    </a:cubicBezTo>
                    <a:cubicBezTo>
                      <a:pt x="87" y="13"/>
                      <a:pt x="82" y="21"/>
                      <a:pt x="70" y="27"/>
                    </a:cubicBezTo>
                    <a:cubicBezTo>
                      <a:pt x="60" y="24"/>
                      <a:pt x="51" y="17"/>
                      <a:pt x="41" y="15"/>
                    </a:cubicBezTo>
                    <a:cubicBezTo>
                      <a:pt x="30" y="9"/>
                      <a:pt x="21" y="12"/>
                      <a:pt x="7" y="13"/>
                    </a:cubicBezTo>
                    <a:cubicBezTo>
                      <a:pt x="0" y="15"/>
                      <a:pt x="1" y="0"/>
                      <a:pt x="1" y="27"/>
                    </a:cubicBezTo>
                    <a:cubicBezTo>
                      <a:pt x="0" y="42"/>
                      <a:pt x="5" y="81"/>
                      <a:pt x="5" y="106"/>
                    </a:cubicBezTo>
                    <a:cubicBezTo>
                      <a:pt x="5" y="131"/>
                      <a:pt x="3" y="165"/>
                      <a:pt x="4" y="177"/>
                    </a:cubicBezTo>
                    <a:cubicBezTo>
                      <a:pt x="9" y="174"/>
                      <a:pt x="13" y="179"/>
                      <a:pt x="8" y="17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4" name="Freeform 59">
                <a:extLst>
                  <a:ext uri="{FF2B5EF4-FFF2-40B4-BE49-F238E27FC236}">
                    <a16:creationId xmlns:a16="http://schemas.microsoft.com/office/drawing/2014/main" id="{57B731C8-EBBB-4BE8-B4D1-54587FDC7888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gray">
              <a:xfrm>
                <a:off x="3930651" y="3509963"/>
                <a:ext cx="234950" cy="185738"/>
              </a:xfrm>
              <a:custGeom>
                <a:avLst/>
                <a:gdLst>
                  <a:gd name="T0" fmla="*/ 118 w 146"/>
                  <a:gd name="T1" fmla="*/ 0 h 117"/>
                  <a:gd name="T2" fmla="*/ 62 w 146"/>
                  <a:gd name="T3" fmla="*/ 2 h 117"/>
                  <a:gd name="T4" fmla="*/ 54 w 146"/>
                  <a:gd name="T5" fmla="*/ 4 h 117"/>
                  <a:gd name="T6" fmla="*/ 50 w 146"/>
                  <a:gd name="T7" fmla="*/ 24 h 117"/>
                  <a:gd name="T8" fmla="*/ 32 w 146"/>
                  <a:gd name="T9" fmla="*/ 30 h 117"/>
                  <a:gd name="T10" fmla="*/ 22 w 146"/>
                  <a:gd name="T11" fmla="*/ 60 h 117"/>
                  <a:gd name="T12" fmla="*/ 4 w 146"/>
                  <a:gd name="T13" fmla="*/ 92 h 117"/>
                  <a:gd name="T14" fmla="*/ 3 w 146"/>
                  <a:gd name="T15" fmla="*/ 114 h 117"/>
                  <a:gd name="T16" fmla="*/ 19 w 146"/>
                  <a:gd name="T17" fmla="*/ 108 h 117"/>
                  <a:gd name="T18" fmla="*/ 43 w 146"/>
                  <a:gd name="T19" fmla="*/ 106 h 117"/>
                  <a:gd name="T20" fmla="*/ 58 w 146"/>
                  <a:gd name="T21" fmla="*/ 108 h 117"/>
                  <a:gd name="T22" fmla="*/ 60 w 146"/>
                  <a:gd name="T23" fmla="*/ 90 h 117"/>
                  <a:gd name="T24" fmla="*/ 60 w 146"/>
                  <a:gd name="T25" fmla="*/ 76 h 117"/>
                  <a:gd name="T26" fmla="*/ 72 w 146"/>
                  <a:gd name="T27" fmla="*/ 72 h 117"/>
                  <a:gd name="T28" fmla="*/ 76 w 146"/>
                  <a:gd name="T29" fmla="*/ 66 h 117"/>
                  <a:gd name="T30" fmla="*/ 75 w 146"/>
                  <a:gd name="T31" fmla="*/ 52 h 117"/>
                  <a:gd name="T32" fmla="*/ 75 w 146"/>
                  <a:gd name="T33" fmla="*/ 46 h 117"/>
                  <a:gd name="T34" fmla="*/ 78 w 146"/>
                  <a:gd name="T35" fmla="*/ 33 h 117"/>
                  <a:gd name="T36" fmla="*/ 88 w 146"/>
                  <a:gd name="T37" fmla="*/ 30 h 117"/>
                  <a:gd name="T38" fmla="*/ 106 w 146"/>
                  <a:gd name="T39" fmla="*/ 34 h 117"/>
                  <a:gd name="T40" fmla="*/ 130 w 146"/>
                  <a:gd name="T41" fmla="*/ 30 h 117"/>
                  <a:gd name="T42" fmla="*/ 138 w 146"/>
                  <a:gd name="T43" fmla="*/ 21 h 117"/>
                  <a:gd name="T44" fmla="*/ 118 w 146"/>
                  <a:gd name="T4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6" h="117">
                    <a:moveTo>
                      <a:pt x="118" y="0"/>
                    </a:moveTo>
                    <a:cubicBezTo>
                      <a:pt x="99" y="1"/>
                      <a:pt x="81" y="1"/>
                      <a:pt x="62" y="2"/>
                    </a:cubicBezTo>
                    <a:cubicBezTo>
                      <a:pt x="59" y="2"/>
                      <a:pt x="56" y="2"/>
                      <a:pt x="54" y="4"/>
                    </a:cubicBezTo>
                    <a:cubicBezTo>
                      <a:pt x="50" y="10"/>
                      <a:pt x="55" y="20"/>
                      <a:pt x="50" y="24"/>
                    </a:cubicBezTo>
                    <a:cubicBezTo>
                      <a:pt x="45" y="28"/>
                      <a:pt x="32" y="30"/>
                      <a:pt x="32" y="30"/>
                    </a:cubicBezTo>
                    <a:cubicBezTo>
                      <a:pt x="28" y="42"/>
                      <a:pt x="35" y="56"/>
                      <a:pt x="22" y="60"/>
                    </a:cubicBezTo>
                    <a:cubicBezTo>
                      <a:pt x="15" y="71"/>
                      <a:pt x="11" y="81"/>
                      <a:pt x="4" y="92"/>
                    </a:cubicBezTo>
                    <a:cubicBezTo>
                      <a:pt x="0" y="98"/>
                      <a:pt x="3" y="114"/>
                      <a:pt x="3" y="114"/>
                    </a:cubicBezTo>
                    <a:cubicBezTo>
                      <a:pt x="6" y="117"/>
                      <a:pt x="12" y="109"/>
                      <a:pt x="19" y="108"/>
                    </a:cubicBezTo>
                    <a:cubicBezTo>
                      <a:pt x="26" y="107"/>
                      <a:pt x="37" y="106"/>
                      <a:pt x="43" y="106"/>
                    </a:cubicBezTo>
                    <a:cubicBezTo>
                      <a:pt x="49" y="106"/>
                      <a:pt x="55" y="111"/>
                      <a:pt x="58" y="108"/>
                    </a:cubicBezTo>
                    <a:cubicBezTo>
                      <a:pt x="63" y="94"/>
                      <a:pt x="63" y="100"/>
                      <a:pt x="60" y="90"/>
                    </a:cubicBezTo>
                    <a:cubicBezTo>
                      <a:pt x="61" y="85"/>
                      <a:pt x="57" y="80"/>
                      <a:pt x="60" y="76"/>
                    </a:cubicBezTo>
                    <a:cubicBezTo>
                      <a:pt x="62" y="73"/>
                      <a:pt x="68" y="74"/>
                      <a:pt x="72" y="72"/>
                    </a:cubicBezTo>
                    <a:cubicBezTo>
                      <a:pt x="73" y="67"/>
                      <a:pt x="75" y="68"/>
                      <a:pt x="76" y="66"/>
                    </a:cubicBezTo>
                    <a:cubicBezTo>
                      <a:pt x="76" y="62"/>
                      <a:pt x="75" y="57"/>
                      <a:pt x="75" y="52"/>
                    </a:cubicBezTo>
                    <a:cubicBezTo>
                      <a:pt x="75" y="49"/>
                      <a:pt x="75" y="49"/>
                      <a:pt x="75" y="46"/>
                    </a:cubicBezTo>
                    <a:cubicBezTo>
                      <a:pt x="75" y="43"/>
                      <a:pt x="76" y="36"/>
                      <a:pt x="78" y="33"/>
                    </a:cubicBezTo>
                    <a:cubicBezTo>
                      <a:pt x="80" y="30"/>
                      <a:pt x="83" y="30"/>
                      <a:pt x="88" y="30"/>
                    </a:cubicBezTo>
                    <a:cubicBezTo>
                      <a:pt x="93" y="30"/>
                      <a:pt x="99" y="34"/>
                      <a:pt x="106" y="34"/>
                    </a:cubicBezTo>
                    <a:cubicBezTo>
                      <a:pt x="113" y="34"/>
                      <a:pt x="125" y="32"/>
                      <a:pt x="130" y="30"/>
                    </a:cubicBezTo>
                    <a:cubicBezTo>
                      <a:pt x="133" y="21"/>
                      <a:pt x="146" y="27"/>
                      <a:pt x="138" y="21"/>
                    </a:cubicBezTo>
                    <a:cubicBezTo>
                      <a:pt x="133" y="13"/>
                      <a:pt x="121" y="8"/>
                      <a:pt x="118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6" name="Freeform 60">
                <a:extLst>
                  <a:ext uri="{FF2B5EF4-FFF2-40B4-BE49-F238E27FC236}">
                    <a16:creationId xmlns:a16="http://schemas.microsoft.com/office/drawing/2014/main" id="{0D4A429B-12BD-4184-B23E-F6AC014AD189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gray">
              <a:xfrm>
                <a:off x="4022726" y="3295650"/>
                <a:ext cx="279400" cy="219075"/>
              </a:xfrm>
              <a:custGeom>
                <a:avLst/>
                <a:gdLst>
                  <a:gd name="T0" fmla="*/ 0 w 173"/>
                  <a:gd name="T1" fmla="*/ 138 h 138"/>
                  <a:gd name="T2" fmla="*/ 27 w 173"/>
                  <a:gd name="T3" fmla="*/ 124 h 138"/>
                  <a:gd name="T4" fmla="*/ 39 w 173"/>
                  <a:gd name="T5" fmla="*/ 114 h 138"/>
                  <a:gd name="T6" fmla="*/ 54 w 173"/>
                  <a:gd name="T7" fmla="*/ 63 h 138"/>
                  <a:gd name="T8" fmla="*/ 72 w 173"/>
                  <a:gd name="T9" fmla="*/ 42 h 138"/>
                  <a:gd name="T10" fmla="*/ 90 w 173"/>
                  <a:gd name="T11" fmla="*/ 30 h 138"/>
                  <a:gd name="T12" fmla="*/ 102 w 173"/>
                  <a:gd name="T13" fmla="*/ 15 h 138"/>
                  <a:gd name="T14" fmla="*/ 108 w 173"/>
                  <a:gd name="T15" fmla="*/ 0 h 138"/>
                  <a:gd name="T16" fmla="*/ 144 w 173"/>
                  <a:gd name="T17" fmla="*/ 4 h 138"/>
                  <a:gd name="T18" fmla="*/ 168 w 173"/>
                  <a:gd name="T19" fmla="*/ 12 h 138"/>
                  <a:gd name="T20" fmla="*/ 171 w 173"/>
                  <a:gd name="T21" fmla="*/ 57 h 138"/>
                  <a:gd name="T22" fmla="*/ 154 w 173"/>
                  <a:gd name="T23" fmla="*/ 64 h 138"/>
                  <a:gd name="T24" fmla="*/ 145 w 173"/>
                  <a:gd name="T25" fmla="*/ 76 h 138"/>
                  <a:gd name="T26" fmla="*/ 133 w 173"/>
                  <a:gd name="T27" fmla="*/ 85 h 138"/>
                  <a:gd name="T28" fmla="*/ 118 w 173"/>
                  <a:gd name="T29" fmla="*/ 96 h 138"/>
                  <a:gd name="T30" fmla="*/ 104 w 173"/>
                  <a:gd name="T31" fmla="*/ 108 h 138"/>
                  <a:gd name="T32" fmla="*/ 85 w 173"/>
                  <a:gd name="T33" fmla="*/ 109 h 138"/>
                  <a:gd name="T34" fmla="*/ 61 w 173"/>
                  <a:gd name="T35" fmla="*/ 133 h 138"/>
                  <a:gd name="T36" fmla="*/ 0 w 173"/>
                  <a:gd name="T37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3" h="138">
                    <a:moveTo>
                      <a:pt x="0" y="138"/>
                    </a:moveTo>
                    <a:cubicBezTo>
                      <a:pt x="6" y="135"/>
                      <a:pt x="21" y="128"/>
                      <a:pt x="27" y="124"/>
                    </a:cubicBezTo>
                    <a:cubicBezTo>
                      <a:pt x="31" y="118"/>
                      <a:pt x="31" y="115"/>
                      <a:pt x="39" y="114"/>
                    </a:cubicBezTo>
                    <a:cubicBezTo>
                      <a:pt x="60" y="104"/>
                      <a:pt x="42" y="80"/>
                      <a:pt x="54" y="63"/>
                    </a:cubicBezTo>
                    <a:cubicBezTo>
                      <a:pt x="56" y="53"/>
                      <a:pt x="61" y="44"/>
                      <a:pt x="72" y="42"/>
                    </a:cubicBezTo>
                    <a:cubicBezTo>
                      <a:pt x="77" y="36"/>
                      <a:pt x="82" y="32"/>
                      <a:pt x="90" y="30"/>
                    </a:cubicBezTo>
                    <a:cubicBezTo>
                      <a:pt x="97" y="27"/>
                      <a:pt x="98" y="21"/>
                      <a:pt x="102" y="15"/>
                    </a:cubicBezTo>
                    <a:cubicBezTo>
                      <a:pt x="103" y="9"/>
                      <a:pt x="104" y="5"/>
                      <a:pt x="108" y="0"/>
                    </a:cubicBezTo>
                    <a:cubicBezTo>
                      <a:pt x="121" y="1"/>
                      <a:pt x="131" y="3"/>
                      <a:pt x="144" y="4"/>
                    </a:cubicBezTo>
                    <a:cubicBezTo>
                      <a:pt x="154" y="5"/>
                      <a:pt x="163" y="3"/>
                      <a:pt x="168" y="12"/>
                    </a:cubicBezTo>
                    <a:cubicBezTo>
                      <a:pt x="172" y="20"/>
                      <a:pt x="173" y="48"/>
                      <a:pt x="171" y="57"/>
                    </a:cubicBezTo>
                    <a:cubicBezTo>
                      <a:pt x="169" y="66"/>
                      <a:pt x="158" y="61"/>
                      <a:pt x="154" y="64"/>
                    </a:cubicBezTo>
                    <a:cubicBezTo>
                      <a:pt x="149" y="68"/>
                      <a:pt x="148" y="71"/>
                      <a:pt x="145" y="76"/>
                    </a:cubicBezTo>
                    <a:cubicBezTo>
                      <a:pt x="143" y="84"/>
                      <a:pt x="140" y="84"/>
                      <a:pt x="133" y="85"/>
                    </a:cubicBezTo>
                    <a:cubicBezTo>
                      <a:pt x="127" y="89"/>
                      <a:pt x="124" y="92"/>
                      <a:pt x="118" y="96"/>
                    </a:cubicBezTo>
                    <a:cubicBezTo>
                      <a:pt x="113" y="100"/>
                      <a:pt x="109" y="106"/>
                      <a:pt x="104" y="108"/>
                    </a:cubicBezTo>
                    <a:cubicBezTo>
                      <a:pt x="99" y="110"/>
                      <a:pt x="92" y="105"/>
                      <a:pt x="85" y="109"/>
                    </a:cubicBezTo>
                    <a:cubicBezTo>
                      <a:pt x="77" y="113"/>
                      <a:pt x="62" y="133"/>
                      <a:pt x="61" y="133"/>
                    </a:cubicBezTo>
                    <a:cubicBezTo>
                      <a:pt x="44" y="134"/>
                      <a:pt x="17" y="138"/>
                      <a:pt x="0" y="13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7" name="Freeform 61">
                <a:extLst>
                  <a:ext uri="{FF2B5EF4-FFF2-40B4-BE49-F238E27FC236}">
                    <a16:creationId xmlns:a16="http://schemas.microsoft.com/office/drawing/2014/main" id="{E0E86D95-29C9-4292-BDDD-CB1354C46752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gray">
              <a:xfrm>
                <a:off x="5168901" y="3395663"/>
                <a:ext cx="493713" cy="415925"/>
              </a:xfrm>
              <a:custGeom>
                <a:avLst/>
                <a:gdLst>
                  <a:gd name="T0" fmla="*/ 7 w 306"/>
                  <a:gd name="T1" fmla="*/ 45 h 262"/>
                  <a:gd name="T2" fmla="*/ 23 w 306"/>
                  <a:gd name="T3" fmla="*/ 45 h 262"/>
                  <a:gd name="T4" fmla="*/ 37 w 306"/>
                  <a:gd name="T5" fmla="*/ 36 h 262"/>
                  <a:gd name="T6" fmla="*/ 35 w 306"/>
                  <a:gd name="T7" fmla="*/ 15 h 262"/>
                  <a:gd name="T8" fmla="*/ 37 w 306"/>
                  <a:gd name="T9" fmla="*/ 6 h 262"/>
                  <a:gd name="T10" fmla="*/ 59 w 306"/>
                  <a:gd name="T11" fmla="*/ 3 h 262"/>
                  <a:gd name="T12" fmla="*/ 79 w 306"/>
                  <a:gd name="T13" fmla="*/ 1 h 262"/>
                  <a:gd name="T14" fmla="*/ 94 w 306"/>
                  <a:gd name="T15" fmla="*/ 7 h 262"/>
                  <a:gd name="T16" fmla="*/ 106 w 306"/>
                  <a:gd name="T17" fmla="*/ 18 h 262"/>
                  <a:gd name="T18" fmla="*/ 121 w 306"/>
                  <a:gd name="T19" fmla="*/ 24 h 262"/>
                  <a:gd name="T20" fmla="*/ 128 w 306"/>
                  <a:gd name="T21" fmla="*/ 36 h 262"/>
                  <a:gd name="T22" fmla="*/ 128 w 306"/>
                  <a:gd name="T23" fmla="*/ 39 h 262"/>
                  <a:gd name="T24" fmla="*/ 139 w 306"/>
                  <a:gd name="T25" fmla="*/ 43 h 262"/>
                  <a:gd name="T26" fmla="*/ 154 w 306"/>
                  <a:gd name="T27" fmla="*/ 48 h 262"/>
                  <a:gd name="T28" fmla="*/ 185 w 306"/>
                  <a:gd name="T29" fmla="*/ 52 h 262"/>
                  <a:gd name="T30" fmla="*/ 200 w 306"/>
                  <a:gd name="T31" fmla="*/ 58 h 262"/>
                  <a:gd name="T32" fmla="*/ 214 w 306"/>
                  <a:gd name="T33" fmla="*/ 81 h 262"/>
                  <a:gd name="T34" fmla="*/ 223 w 306"/>
                  <a:gd name="T35" fmla="*/ 94 h 262"/>
                  <a:gd name="T36" fmla="*/ 235 w 306"/>
                  <a:gd name="T37" fmla="*/ 111 h 262"/>
                  <a:gd name="T38" fmla="*/ 247 w 306"/>
                  <a:gd name="T39" fmla="*/ 129 h 262"/>
                  <a:gd name="T40" fmla="*/ 254 w 306"/>
                  <a:gd name="T41" fmla="*/ 156 h 262"/>
                  <a:gd name="T42" fmla="*/ 280 w 306"/>
                  <a:gd name="T43" fmla="*/ 162 h 262"/>
                  <a:gd name="T44" fmla="*/ 302 w 306"/>
                  <a:gd name="T45" fmla="*/ 163 h 262"/>
                  <a:gd name="T46" fmla="*/ 304 w 306"/>
                  <a:gd name="T47" fmla="*/ 177 h 262"/>
                  <a:gd name="T48" fmla="*/ 296 w 306"/>
                  <a:gd name="T49" fmla="*/ 193 h 262"/>
                  <a:gd name="T50" fmla="*/ 281 w 306"/>
                  <a:gd name="T51" fmla="*/ 204 h 262"/>
                  <a:gd name="T52" fmla="*/ 274 w 306"/>
                  <a:gd name="T53" fmla="*/ 210 h 262"/>
                  <a:gd name="T54" fmla="*/ 257 w 306"/>
                  <a:gd name="T55" fmla="*/ 214 h 262"/>
                  <a:gd name="T56" fmla="*/ 236 w 306"/>
                  <a:gd name="T57" fmla="*/ 223 h 262"/>
                  <a:gd name="T58" fmla="*/ 208 w 306"/>
                  <a:gd name="T59" fmla="*/ 224 h 262"/>
                  <a:gd name="T60" fmla="*/ 197 w 306"/>
                  <a:gd name="T61" fmla="*/ 228 h 262"/>
                  <a:gd name="T62" fmla="*/ 191 w 306"/>
                  <a:gd name="T63" fmla="*/ 231 h 262"/>
                  <a:gd name="T64" fmla="*/ 182 w 306"/>
                  <a:gd name="T65" fmla="*/ 249 h 262"/>
                  <a:gd name="T66" fmla="*/ 169 w 306"/>
                  <a:gd name="T67" fmla="*/ 262 h 262"/>
                  <a:gd name="T68" fmla="*/ 137 w 306"/>
                  <a:gd name="T69" fmla="*/ 246 h 262"/>
                  <a:gd name="T70" fmla="*/ 113 w 306"/>
                  <a:gd name="T71" fmla="*/ 247 h 262"/>
                  <a:gd name="T72" fmla="*/ 107 w 306"/>
                  <a:gd name="T73" fmla="*/ 238 h 262"/>
                  <a:gd name="T74" fmla="*/ 83 w 306"/>
                  <a:gd name="T75" fmla="*/ 208 h 262"/>
                  <a:gd name="T76" fmla="*/ 68 w 306"/>
                  <a:gd name="T77" fmla="*/ 192 h 262"/>
                  <a:gd name="T78" fmla="*/ 61 w 306"/>
                  <a:gd name="T79" fmla="*/ 154 h 262"/>
                  <a:gd name="T80" fmla="*/ 37 w 306"/>
                  <a:gd name="T81" fmla="*/ 127 h 262"/>
                  <a:gd name="T82" fmla="*/ 31 w 306"/>
                  <a:gd name="T83" fmla="*/ 120 h 262"/>
                  <a:gd name="T84" fmla="*/ 20 w 306"/>
                  <a:gd name="T85" fmla="*/ 96 h 262"/>
                  <a:gd name="T86" fmla="*/ 8 w 306"/>
                  <a:gd name="T87" fmla="*/ 78 h 262"/>
                  <a:gd name="T88" fmla="*/ 1 w 306"/>
                  <a:gd name="T89" fmla="*/ 60 h 262"/>
                  <a:gd name="T90" fmla="*/ 7 w 306"/>
                  <a:gd name="T91" fmla="*/ 45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6" h="262">
                    <a:moveTo>
                      <a:pt x="7" y="45"/>
                    </a:moveTo>
                    <a:cubicBezTo>
                      <a:pt x="14" y="46"/>
                      <a:pt x="17" y="49"/>
                      <a:pt x="23" y="45"/>
                    </a:cubicBezTo>
                    <a:cubicBezTo>
                      <a:pt x="27" y="38"/>
                      <a:pt x="29" y="37"/>
                      <a:pt x="37" y="36"/>
                    </a:cubicBezTo>
                    <a:cubicBezTo>
                      <a:pt x="48" y="30"/>
                      <a:pt x="44" y="20"/>
                      <a:pt x="35" y="15"/>
                    </a:cubicBezTo>
                    <a:cubicBezTo>
                      <a:pt x="34" y="12"/>
                      <a:pt x="32" y="7"/>
                      <a:pt x="37" y="6"/>
                    </a:cubicBezTo>
                    <a:cubicBezTo>
                      <a:pt x="44" y="4"/>
                      <a:pt x="59" y="3"/>
                      <a:pt x="59" y="3"/>
                    </a:cubicBezTo>
                    <a:cubicBezTo>
                      <a:pt x="67" y="0"/>
                      <a:pt x="71" y="0"/>
                      <a:pt x="79" y="1"/>
                    </a:cubicBezTo>
                    <a:cubicBezTo>
                      <a:pt x="84" y="4"/>
                      <a:pt x="88" y="6"/>
                      <a:pt x="94" y="7"/>
                    </a:cubicBezTo>
                    <a:cubicBezTo>
                      <a:pt x="100" y="10"/>
                      <a:pt x="106" y="18"/>
                      <a:pt x="106" y="18"/>
                    </a:cubicBezTo>
                    <a:cubicBezTo>
                      <a:pt x="109" y="24"/>
                      <a:pt x="115" y="20"/>
                      <a:pt x="121" y="24"/>
                    </a:cubicBezTo>
                    <a:cubicBezTo>
                      <a:pt x="122" y="31"/>
                      <a:pt x="122" y="33"/>
                      <a:pt x="128" y="36"/>
                    </a:cubicBezTo>
                    <a:cubicBezTo>
                      <a:pt x="129" y="38"/>
                      <a:pt x="126" y="38"/>
                      <a:pt x="128" y="39"/>
                    </a:cubicBezTo>
                    <a:cubicBezTo>
                      <a:pt x="130" y="40"/>
                      <a:pt x="135" y="42"/>
                      <a:pt x="139" y="43"/>
                    </a:cubicBezTo>
                    <a:cubicBezTo>
                      <a:pt x="144" y="45"/>
                      <a:pt x="149" y="46"/>
                      <a:pt x="154" y="48"/>
                    </a:cubicBezTo>
                    <a:cubicBezTo>
                      <a:pt x="166" y="57"/>
                      <a:pt x="152" y="48"/>
                      <a:pt x="185" y="52"/>
                    </a:cubicBezTo>
                    <a:cubicBezTo>
                      <a:pt x="190" y="53"/>
                      <a:pt x="195" y="57"/>
                      <a:pt x="200" y="58"/>
                    </a:cubicBezTo>
                    <a:cubicBezTo>
                      <a:pt x="202" y="70"/>
                      <a:pt x="203" y="76"/>
                      <a:pt x="214" y="81"/>
                    </a:cubicBezTo>
                    <a:cubicBezTo>
                      <a:pt x="222" y="91"/>
                      <a:pt x="219" y="87"/>
                      <a:pt x="223" y="94"/>
                    </a:cubicBezTo>
                    <a:cubicBezTo>
                      <a:pt x="224" y="107"/>
                      <a:pt x="224" y="106"/>
                      <a:pt x="235" y="111"/>
                    </a:cubicBezTo>
                    <a:cubicBezTo>
                      <a:pt x="239" y="118"/>
                      <a:pt x="241" y="125"/>
                      <a:pt x="247" y="129"/>
                    </a:cubicBezTo>
                    <a:cubicBezTo>
                      <a:pt x="250" y="137"/>
                      <a:pt x="245" y="151"/>
                      <a:pt x="254" y="156"/>
                    </a:cubicBezTo>
                    <a:cubicBezTo>
                      <a:pt x="259" y="161"/>
                      <a:pt x="272" y="161"/>
                      <a:pt x="280" y="162"/>
                    </a:cubicBezTo>
                    <a:cubicBezTo>
                      <a:pt x="288" y="163"/>
                      <a:pt x="298" y="160"/>
                      <a:pt x="302" y="163"/>
                    </a:cubicBezTo>
                    <a:cubicBezTo>
                      <a:pt x="306" y="166"/>
                      <a:pt x="305" y="172"/>
                      <a:pt x="304" y="177"/>
                    </a:cubicBezTo>
                    <a:cubicBezTo>
                      <a:pt x="303" y="182"/>
                      <a:pt x="300" y="188"/>
                      <a:pt x="296" y="193"/>
                    </a:cubicBezTo>
                    <a:cubicBezTo>
                      <a:pt x="293" y="201"/>
                      <a:pt x="286" y="201"/>
                      <a:pt x="281" y="204"/>
                    </a:cubicBezTo>
                    <a:cubicBezTo>
                      <a:pt x="277" y="207"/>
                      <a:pt x="278" y="208"/>
                      <a:pt x="274" y="210"/>
                    </a:cubicBezTo>
                    <a:cubicBezTo>
                      <a:pt x="270" y="212"/>
                      <a:pt x="263" y="212"/>
                      <a:pt x="257" y="214"/>
                    </a:cubicBezTo>
                    <a:cubicBezTo>
                      <a:pt x="245" y="223"/>
                      <a:pt x="254" y="222"/>
                      <a:pt x="236" y="223"/>
                    </a:cubicBezTo>
                    <a:cubicBezTo>
                      <a:pt x="227" y="225"/>
                      <a:pt x="214" y="223"/>
                      <a:pt x="208" y="224"/>
                    </a:cubicBezTo>
                    <a:cubicBezTo>
                      <a:pt x="202" y="225"/>
                      <a:pt x="200" y="227"/>
                      <a:pt x="197" y="228"/>
                    </a:cubicBezTo>
                    <a:cubicBezTo>
                      <a:pt x="194" y="231"/>
                      <a:pt x="193" y="228"/>
                      <a:pt x="191" y="231"/>
                    </a:cubicBezTo>
                    <a:cubicBezTo>
                      <a:pt x="189" y="234"/>
                      <a:pt x="186" y="244"/>
                      <a:pt x="182" y="249"/>
                    </a:cubicBezTo>
                    <a:cubicBezTo>
                      <a:pt x="179" y="254"/>
                      <a:pt x="174" y="259"/>
                      <a:pt x="169" y="262"/>
                    </a:cubicBezTo>
                    <a:cubicBezTo>
                      <a:pt x="154" y="259"/>
                      <a:pt x="149" y="248"/>
                      <a:pt x="137" y="246"/>
                    </a:cubicBezTo>
                    <a:cubicBezTo>
                      <a:pt x="129" y="246"/>
                      <a:pt x="121" y="248"/>
                      <a:pt x="113" y="247"/>
                    </a:cubicBezTo>
                    <a:cubicBezTo>
                      <a:pt x="112" y="247"/>
                      <a:pt x="107" y="238"/>
                      <a:pt x="107" y="238"/>
                    </a:cubicBezTo>
                    <a:cubicBezTo>
                      <a:pt x="101" y="228"/>
                      <a:pt x="93" y="214"/>
                      <a:pt x="83" y="208"/>
                    </a:cubicBezTo>
                    <a:cubicBezTo>
                      <a:pt x="80" y="201"/>
                      <a:pt x="75" y="196"/>
                      <a:pt x="68" y="192"/>
                    </a:cubicBezTo>
                    <a:cubicBezTo>
                      <a:pt x="58" y="175"/>
                      <a:pt x="64" y="186"/>
                      <a:pt x="61" y="154"/>
                    </a:cubicBezTo>
                    <a:cubicBezTo>
                      <a:pt x="60" y="142"/>
                      <a:pt x="45" y="133"/>
                      <a:pt x="37" y="127"/>
                    </a:cubicBezTo>
                    <a:cubicBezTo>
                      <a:pt x="36" y="124"/>
                      <a:pt x="32" y="123"/>
                      <a:pt x="31" y="120"/>
                    </a:cubicBezTo>
                    <a:cubicBezTo>
                      <a:pt x="27" y="107"/>
                      <a:pt x="34" y="98"/>
                      <a:pt x="20" y="96"/>
                    </a:cubicBezTo>
                    <a:cubicBezTo>
                      <a:pt x="18" y="88"/>
                      <a:pt x="14" y="83"/>
                      <a:pt x="8" y="78"/>
                    </a:cubicBezTo>
                    <a:cubicBezTo>
                      <a:pt x="7" y="72"/>
                      <a:pt x="5" y="65"/>
                      <a:pt x="1" y="60"/>
                    </a:cubicBezTo>
                    <a:cubicBezTo>
                      <a:pt x="1" y="55"/>
                      <a:pt x="0" y="45"/>
                      <a:pt x="7" y="4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8" name="Freeform 62">
                <a:extLst>
                  <a:ext uri="{FF2B5EF4-FFF2-40B4-BE49-F238E27FC236}">
                    <a16:creationId xmlns:a16="http://schemas.microsoft.com/office/drawing/2014/main" id="{D1E0CF6C-EDB5-4D50-98FA-2F5DF76F665B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gray">
              <a:xfrm>
                <a:off x="5153026" y="3360738"/>
                <a:ext cx="119063" cy="115888"/>
              </a:xfrm>
              <a:custGeom>
                <a:avLst/>
                <a:gdLst>
                  <a:gd name="T0" fmla="*/ 8 w 73"/>
                  <a:gd name="T1" fmla="*/ 70 h 73"/>
                  <a:gd name="T2" fmla="*/ 31 w 73"/>
                  <a:gd name="T3" fmla="*/ 67 h 73"/>
                  <a:gd name="T4" fmla="*/ 41 w 73"/>
                  <a:gd name="T5" fmla="*/ 56 h 73"/>
                  <a:gd name="T6" fmla="*/ 50 w 73"/>
                  <a:gd name="T7" fmla="*/ 58 h 73"/>
                  <a:gd name="T8" fmla="*/ 46 w 73"/>
                  <a:gd name="T9" fmla="*/ 37 h 73"/>
                  <a:gd name="T10" fmla="*/ 57 w 73"/>
                  <a:gd name="T11" fmla="*/ 26 h 73"/>
                  <a:gd name="T12" fmla="*/ 70 w 73"/>
                  <a:gd name="T13" fmla="*/ 28 h 73"/>
                  <a:gd name="T14" fmla="*/ 64 w 73"/>
                  <a:gd name="T15" fmla="*/ 17 h 73"/>
                  <a:gd name="T16" fmla="*/ 58 w 73"/>
                  <a:gd name="T17" fmla="*/ 2 h 73"/>
                  <a:gd name="T18" fmla="*/ 46 w 73"/>
                  <a:gd name="T19" fmla="*/ 5 h 73"/>
                  <a:gd name="T20" fmla="*/ 38 w 73"/>
                  <a:gd name="T21" fmla="*/ 14 h 73"/>
                  <a:gd name="T22" fmla="*/ 41 w 73"/>
                  <a:gd name="T23" fmla="*/ 14 h 73"/>
                  <a:gd name="T24" fmla="*/ 26 w 73"/>
                  <a:gd name="T25" fmla="*/ 11 h 73"/>
                  <a:gd name="T26" fmla="*/ 16 w 73"/>
                  <a:gd name="T27" fmla="*/ 22 h 73"/>
                  <a:gd name="T28" fmla="*/ 4 w 73"/>
                  <a:gd name="T29" fmla="*/ 44 h 73"/>
                  <a:gd name="T30" fmla="*/ 5 w 73"/>
                  <a:gd name="T31" fmla="*/ 65 h 73"/>
                  <a:gd name="T32" fmla="*/ 8 w 73"/>
                  <a:gd name="T33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73">
                    <a:moveTo>
                      <a:pt x="8" y="70"/>
                    </a:moveTo>
                    <a:cubicBezTo>
                      <a:pt x="22" y="64"/>
                      <a:pt x="0" y="73"/>
                      <a:pt x="31" y="67"/>
                    </a:cubicBezTo>
                    <a:cubicBezTo>
                      <a:pt x="36" y="66"/>
                      <a:pt x="38" y="57"/>
                      <a:pt x="41" y="56"/>
                    </a:cubicBezTo>
                    <a:cubicBezTo>
                      <a:pt x="44" y="55"/>
                      <a:pt x="49" y="61"/>
                      <a:pt x="50" y="58"/>
                    </a:cubicBezTo>
                    <a:cubicBezTo>
                      <a:pt x="53" y="51"/>
                      <a:pt x="51" y="43"/>
                      <a:pt x="46" y="37"/>
                    </a:cubicBezTo>
                    <a:cubicBezTo>
                      <a:pt x="47" y="32"/>
                      <a:pt x="53" y="27"/>
                      <a:pt x="57" y="26"/>
                    </a:cubicBezTo>
                    <a:cubicBezTo>
                      <a:pt x="61" y="25"/>
                      <a:pt x="69" y="29"/>
                      <a:pt x="70" y="28"/>
                    </a:cubicBezTo>
                    <a:cubicBezTo>
                      <a:pt x="73" y="24"/>
                      <a:pt x="66" y="21"/>
                      <a:pt x="64" y="17"/>
                    </a:cubicBezTo>
                    <a:cubicBezTo>
                      <a:pt x="62" y="13"/>
                      <a:pt x="61" y="4"/>
                      <a:pt x="58" y="2"/>
                    </a:cubicBezTo>
                    <a:cubicBezTo>
                      <a:pt x="55" y="0"/>
                      <a:pt x="49" y="3"/>
                      <a:pt x="46" y="5"/>
                    </a:cubicBezTo>
                    <a:cubicBezTo>
                      <a:pt x="44" y="6"/>
                      <a:pt x="39" y="12"/>
                      <a:pt x="38" y="14"/>
                    </a:cubicBezTo>
                    <a:cubicBezTo>
                      <a:pt x="37" y="17"/>
                      <a:pt x="43" y="11"/>
                      <a:pt x="41" y="14"/>
                    </a:cubicBezTo>
                    <a:cubicBezTo>
                      <a:pt x="41" y="14"/>
                      <a:pt x="27" y="12"/>
                      <a:pt x="26" y="11"/>
                    </a:cubicBezTo>
                    <a:cubicBezTo>
                      <a:pt x="21" y="14"/>
                      <a:pt x="19" y="17"/>
                      <a:pt x="16" y="22"/>
                    </a:cubicBezTo>
                    <a:cubicBezTo>
                      <a:pt x="14" y="38"/>
                      <a:pt x="18" y="42"/>
                      <a:pt x="4" y="44"/>
                    </a:cubicBezTo>
                    <a:cubicBezTo>
                      <a:pt x="4" y="51"/>
                      <a:pt x="4" y="58"/>
                      <a:pt x="5" y="65"/>
                    </a:cubicBezTo>
                    <a:cubicBezTo>
                      <a:pt x="5" y="67"/>
                      <a:pt x="8" y="70"/>
                      <a:pt x="8" y="7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1" name="Freeform 63">
                <a:extLst>
                  <a:ext uri="{FF2B5EF4-FFF2-40B4-BE49-F238E27FC236}">
                    <a16:creationId xmlns:a16="http://schemas.microsoft.com/office/drawing/2014/main" id="{AA272B41-D039-4C4B-BDE5-E8C901FB4C22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gray">
              <a:xfrm>
                <a:off x="4051301" y="3997325"/>
                <a:ext cx="119063" cy="84138"/>
              </a:xfrm>
              <a:custGeom>
                <a:avLst/>
                <a:gdLst>
                  <a:gd name="T0" fmla="*/ 51 w 73"/>
                  <a:gd name="T1" fmla="*/ 17 h 53"/>
                  <a:gd name="T2" fmla="*/ 47 w 73"/>
                  <a:gd name="T3" fmla="*/ 11 h 53"/>
                  <a:gd name="T4" fmla="*/ 36 w 73"/>
                  <a:gd name="T5" fmla="*/ 11 h 53"/>
                  <a:gd name="T6" fmla="*/ 18 w 73"/>
                  <a:gd name="T7" fmla="*/ 0 h 53"/>
                  <a:gd name="T8" fmla="*/ 7 w 73"/>
                  <a:gd name="T9" fmla="*/ 11 h 53"/>
                  <a:gd name="T10" fmla="*/ 1 w 73"/>
                  <a:gd name="T11" fmla="*/ 23 h 53"/>
                  <a:gd name="T12" fmla="*/ 15 w 73"/>
                  <a:gd name="T13" fmla="*/ 27 h 53"/>
                  <a:gd name="T14" fmla="*/ 27 w 73"/>
                  <a:gd name="T15" fmla="*/ 35 h 53"/>
                  <a:gd name="T16" fmla="*/ 43 w 73"/>
                  <a:gd name="T17" fmla="*/ 49 h 53"/>
                  <a:gd name="T18" fmla="*/ 55 w 73"/>
                  <a:gd name="T19" fmla="*/ 53 h 53"/>
                  <a:gd name="T20" fmla="*/ 55 w 73"/>
                  <a:gd name="T21" fmla="*/ 31 h 53"/>
                  <a:gd name="T22" fmla="*/ 51 w 73"/>
                  <a:gd name="T23" fmla="*/ 1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" h="53">
                    <a:moveTo>
                      <a:pt x="51" y="17"/>
                    </a:moveTo>
                    <a:cubicBezTo>
                      <a:pt x="50" y="15"/>
                      <a:pt x="49" y="11"/>
                      <a:pt x="47" y="11"/>
                    </a:cubicBezTo>
                    <a:cubicBezTo>
                      <a:pt x="44" y="9"/>
                      <a:pt x="41" y="13"/>
                      <a:pt x="36" y="11"/>
                    </a:cubicBezTo>
                    <a:cubicBezTo>
                      <a:pt x="31" y="9"/>
                      <a:pt x="23" y="0"/>
                      <a:pt x="18" y="0"/>
                    </a:cubicBezTo>
                    <a:cubicBezTo>
                      <a:pt x="13" y="0"/>
                      <a:pt x="10" y="7"/>
                      <a:pt x="7" y="11"/>
                    </a:cubicBezTo>
                    <a:cubicBezTo>
                      <a:pt x="7" y="12"/>
                      <a:pt x="0" y="21"/>
                      <a:pt x="1" y="23"/>
                    </a:cubicBezTo>
                    <a:cubicBezTo>
                      <a:pt x="4" y="27"/>
                      <a:pt x="11" y="25"/>
                      <a:pt x="15" y="27"/>
                    </a:cubicBezTo>
                    <a:cubicBezTo>
                      <a:pt x="19" y="29"/>
                      <a:pt x="27" y="35"/>
                      <a:pt x="27" y="35"/>
                    </a:cubicBezTo>
                    <a:cubicBezTo>
                      <a:pt x="29" y="38"/>
                      <a:pt x="40" y="47"/>
                      <a:pt x="43" y="49"/>
                    </a:cubicBezTo>
                    <a:cubicBezTo>
                      <a:pt x="47" y="51"/>
                      <a:pt x="55" y="53"/>
                      <a:pt x="55" y="53"/>
                    </a:cubicBezTo>
                    <a:cubicBezTo>
                      <a:pt x="73" y="49"/>
                      <a:pt x="65" y="38"/>
                      <a:pt x="55" y="31"/>
                    </a:cubicBezTo>
                    <a:cubicBezTo>
                      <a:pt x="52" y="22"/>
                      <a:pt x="54" y="27"/>
                      <a:pt x="51" y="1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2" name="Freeform 68">
                <a:extLst>
                  <a:ext uri="{FF2B5EF4-FFF2-40B4-BE49-F238E27FC236}">
                    <a16:creationId xmlns:a16="http://schemas.microsoft.com/office/drawing/2014/main" id="{FDA50CCD-DF9B-4673-A8AC-C830C34CD3C1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gray">
              <a:xfrm>
                <a:off x="4476751" y="2905125"/>
                <a:ext cx="122238" cy="76200"/>
              </a:xfrm>
              <a:custGeom>
                <a:avLst/>
                <a:gdLst>
                  <a:gd name="T0" fmla="*/ 13 w 76"/>
                  <a:gd name="T1" fmla="*/ 12 h 48"/>
                  <a:gd name="T2" fmla="*/ 47 w 76"/>
                  <a:gd name="T3" fmla="*/ 4 h 48"/>
                  <a:gd name="T4" fmla="*/ 67 w 76"/>
                  <a:gd name="T5" fmla="*/ 7 h 48"/>
                  <a:gd name="T6" fmla="*/ 76 w 76"/>
                  <a:gd name="T7" fmla="*/ 18 h 48"/>
                  <a:gd name="T8" fmla="*/ 64 w 76"/>
                  <a:gd name="T9" fmla="*/ 25 h 48"/>
                  <a:gd name="T10" fmla="*/ 56 w 76"/>
                  <a:gd name="T11" fmla="*/ 31 h 48"/>
                  <a:gd name="T12" fmla="*/ 41 w 76"/>
                  <a:gd name="T13" fmla="*/ 39 h 48"/>
                  <a:gd name="T14" fmla="*/ 29 w 76"/>
                  <a:gd name="T15" fmla="*/ 43 h 48"/>
                  <a:gd name="T16" fmla="*/ 4 w 76"/>
                  <a:gd name="T17" fmla="*/ 34 h 48"/>
                  <a:gd name="T18" fmla="*/ 2 w 76"/>
                  <a:gd name="T19" fmla="*/ 18 h 48"/>
                  <a:gd name="T20" fmla="*/ 13 w 76"/>
                  <a:gd name="T21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6" h="48">
                    <a:moveTo>
                      <a:pt x="13" y="12"/>
                    </a:moveTo>
                    <a:cubicBezTo>
                      <a:pt x="37" y="4"/>
                      <a:pt x="23" y="0"/>
                      <a:pt x="47" y="4"/>
                    </a:cubicBezTo>
                    <a:cubicBezTo>
                      <a:pt x="53" y="5"/>
                      <a:pt x="70" y="1"/>
                      <a:pt x="67" y="7"/>
                    </a:cubicBezTo>
                    <a:cubicBezTo>
                      <a:pt x="72" y="9"/>
                      <a:pt x="76" y="15"/>
                      <a:pt x="76" y="18"/>
                    </a:cubicBezTo>
                    <a:cubicBezTo>
                      <a:pt x="76" y="21"/>
                      <a:pt x="67" y="23"/>
                      <a:pt x="64" y="25"/>
                    </a:cubicBezTo>
                    <a:cubicBezTo>
                      <a:pt x="61" y="27"/>
                      <a:pt x="60" y="29"/>
                      <a:pt x="56" y="31"/>
                    </a:cubicBezTo>
                    <a:cubicBezTo>
                      <a:pt x="52" y="33"/>
                      <a:pt x="45" y="37"/>
                      <a:pt x="41" y="39"/>
                    </a:cubicBezTo>
                    <a:cubicBezTo>
                      <a:pt x="37" y="41"/>
                      <a:pt x="35" y="44"/>
                      <a:pt x="29" y="43"/>
                    </a:cubicBezTo>
                    <a:cubicBezTo>
                      <a:pt x="23" y="48"/>
                      <a:pt x="9" y="38"/>
                      <a:pt x="4" y="34"/>
                    </a:cubicBezTo>
                    <a:cubicBezTo>
                      <a:pt x="0" y="30"/>
                      <a:pt x="0" y="22"/>
                      <a:pt x="2" y="18"/>
                    </a:cubicBezTo>
                    <a:cubicBezTo>
                      <a:pt x="7" y="14"/>
                      <a:pt x="18" y="17"/>
                      <a:pt x="13" y="1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3" name="Freeform 69">
                <a:extLst>
                  <a:ext uri="{FF2B5EF4-FFF2-40B4-BE49-F238E27FC236}">
                    <a16:creationId xmlns:a16="http://schemas.microsoft.com/office/drawing/2014/main" id="{ABF69091-BB39-40FC-A6B2-38FCCC939E39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gray">
              <a:xfrm>
                <a:off x="4398963" y="2759075"/>
                <a:ext cx="82550" cy="93663"/>
              </a:xfrm>
              <a:custGeom>
                <a:avLst/>
                <a:gdLst>
                  <a:gd name="T0" fmla="*/ 20 w 51"/>
                  <a:gd name="T1" fmla="*/ 5 h 59"/>
                  <a:gd name="T2" fmla="*/ 47 w 51"/>
                  <a:gd name="T3" fmla="*/ 17 h 59"/>
                  <a:gd name="T4" fmla="*/ 50 w 51"/>
                  <a:gd name="T5" fmla="*/ 29 h 59"/>
                  <a:gd name="T6" fmla="*/ 48 w 51"/>
                  <a:gd name="T7" fmla="*/ 59 h 59"/>
                  <a:gd name="T8" fmla="*/ 26 w 51"/>
                  <a:gd name="T9" fmla="*/ 39 h 59"/>
                  <a:gd name="T10" fmla="*/ 6 w 51"/>
                  <a:gd name="T11" fmla="*/ 25 h 59"/>
                  <a:gd name="T12" fmla="*/ 10 w 51"/>
                  <a:gd name="T13" fmla="*/ 7 h 59"/>
                  <a:gd name="T14" fmla="*/ 12 w 51"/>
                  <a:gd name="T15" fmla="*/ 1 h 59"/>
                  <a:gd name="T16" fmla="*/ 22 w 51"/>
                  <a:gd name="T17" fmla="*/ 3 h 59"/>
                  <a:gd name="T18" fmla="*/ 28 w 51"/>
                  <a:gd name="T19" fmla="*/ 5 h 59"/>
                  <a:gd name="T20" fmla="*/ 20 w 51"/>
                  <a:gd name="T21" fmla="*/ 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9">
                    <a:moveTo>
                      <a:pt x="20" y="5"/>
                    </a:moveTo>
                    <a:cubicBezTo>
                      <a:pt x="27" y="7"/>
                      <a:pt x="40" y="15"/>
                      <a:pt x="47" y="17"/>
                    </a:cubicBezTo>
                    <a:cubicBezTo>
                      <a:pt x="51" y="24"/>
                      <a:pt x="47" y="21"/>
                      <a:pt x="50" y="29"/>
                    </a:cubicBezTo>
                    <a:cubicBezTo>
                      <a:pt x="47" y="38"/>
                      <a:pt x="49" y="50"/>
                      <a:pt x="48" y="59"/>
                    </a:cubicBezTo>
                    <a:cubicBezTo>
                      <a:pt x="26" y="55"/>
                      <a:pt x="42" y="49"/>
                      <a:pt x="26" y="39"/>
                    </a:cubicBezTo>
                    <a:cubicBezTo>
                      <a:pt x="23" y="31"/>
                      <a:pt x="14" y="28"/>
                      <a:pt x="6" y="25"/>
                    </a:cubicBezTo>
                    <a:cubicBezTo>
                      <a:pt x="0" y="16"/>
                      <a:pt x="3" y="14"/>
                      <a:pt x="10" y="7"/>
                    </a:cubicBezTo>
                    <a:cubicBezTo>
                      <a:pt x="11" y="5"/>
                      <a:pt x="10" y="2"/>
                      <a:pt x="12" y="1"/>
                    </a:cubicBezTo>
                    <a:cubicBezTo>
                      <a:pt x="15" y="0"/>
                      <a:pt x="19" y="2"/>
                      <a:pt x="22" y="3"/>
                    </a:cubicBezTo>
                    <a:cubicBezTo>
                      <a:pt x="24" y="4"/>
                      <a:pt x="29" y="4"/>
                      <a:pt x="28" y="5"/>
                    </a:cubicBezTo>
                    <a:cubicBezTo>
                      <a:pt x="26" y="7"/>
                      <a:pt x="23" y="5"/>
                      <a:pt x="20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4" name="Freeform 70">
                <a:extLst>
                  <a:ext uri="{FF2B5EF4-FFF2-40B4-BE49-F238E27FC236}">
                    <a16:creationId xmlns:a16="http://schemas.microsoft.com/office/drawing/2014/main" id="{3C61B4D2-0429-4AC0-BCA1-9D11AE93B6C6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gray">
              <a:xfrm>
                <a:off x="5591176" y="3071813"/>
                <a:ext cx="330200" cy="234950"/>
              </a:xfrm>
              <a:custGeom>
                <a:avLst/>
                <a:gdLst>
                  <a:gd name="T0" fmla="*/ 16 w 205"/>
                  <a:gd name="T1" fmla="*/ 112 h 148"/>
                  <a:gd name="T2" fmla="*/ 13 w 205"/>
                  <a:gd name="T3" fmla="*/ 72 h 148"/>
                  <a:gd name="T4" fmla="*/ 1 w 205"/>
                  <a:gd name="T5" fmla="*/ 55 h 148"/>
                  <a:gd name="T6" fmla="*/ 10 w 205"/>
                  <a:gd name="T7" fmla="*/ 24 h 148"/>
                  <a:gd name="T8" fmla="*/ 35 w 205"/>
                  <a:gd name="T9" fmla="*/ 28 h 148"/>
                  <a:gd name="T10" fmla="*/ 48 w 205"/>
                  <a:gd name="T11" fmla="*/ 28 h 148"/>
                  <a:gd name="T12" fmla="*/ 61 w 205"/>
                  <a:gd name="T13" fmla="*/ 34 h 148"/>
                  <a:gd name="T14" fmla="*/ 72 w 205"/>
                  <a:gd name="T15" fmla="*/ 27 h 148"/>
                  <a:gd name="T16" fmla="*/ 85 w 205"/>
                  <a:gd name="T17" fmla="*/ 12 h 148"/>
                  <a:gd name="T18" fmla="*/ 108 w 205"/>
                  <a:gd name="T19" fmla="*/ 12 h 148"/>
                  <a:gd name="T20" fmla="*/ 112 w 205"/>
                  <a:gd name="T21" fmla="*/ 30 h 148"/>
                  <a:gd name="T22" fmla="*/ 133 w 205"/>
                  <a:gd name="T23" fmla="*/ 34 h 148"/>
                  <a:gd name="T24" fmla="*/ 144 w 205"/>
                  <a:gd name="T25" fmla="*/ 46 h 148"/>
                  <a:gd name="T26" fmla="*/ 145 w 205"/>
                  <a:gd name="T27" fmla="*/ 60 h 148"/>
                  <a:gd name="T28" fmla="*/ 171 w 205"/>
                  <a:gd name="T29" fmla="*/ 81 h 148"/>
                  <a:gd name="T30" fmla="*/ 195 w 205"/>
                  <a:gd name="T31" fmla="*/ 94 h 148"/>
                  <a:gd name="T32" fmla="*/ 205 w 205"/>
                  <a:gd name="T33" fmla="*/ 105 h 148"/>
                  <a:gd name="T34" fmla="*/ 186 w 205"/>
                  <a:gd name="T35" fmla="*/ 111 h 148"/>
                  <a:gd name="T36" fmla="*/ 177 w 205"/>
                  <a:gd name="T37" fmla="*/ 130 h 148"/>
                  <a:gd name="T38" fmla="*/ 163 w 205"/>
                  <a:gd name="T39" fmla="*/ 139 h 148"/>
                  <a:gd name="T40" fmla="*/ 151 w 205"/>
                  <a:gd name="T41" fmla="*/ 148 h 148"/>
                  <a:gd name="T42" fmla="*/ 130 w 205"/>
                  <a:gd name="T43" fmla="*/ 141 h 148"/>
                  <a:gd name="T44" fmla="*/ 112 w 205"/>
                  <a:gd name="T45" fmla="*/ 123 h 148"/>
                  <a:gd name="T46" fmla="*/ 100 w 205"/>
                  <a:gd name="T47" fmla="*/ 114 h 148"/>
                  <a:gd name="T48" fmla="*/ 82 w 205"/>
                  <a:gd name="T49" fmla="*/ 105 h 148"/>
                  <a:gd name="T50" fmla="*/ 59 w 205"/>
                  <a:gd name="T51" fmla="*/ 100 h 148"/>
                  <a:gd name="T52" fmla="*/ 39 w 205"/>
                  <a:gd name="T53" fmla="*/ 102 h 148"/>
                  <a:gd name="T54" fmla="*/ 24 w 205"/>
                  <a:gd name="T55" fmla="*/ 106 h 148"/>
                  <a:gd name="T56" fmla="*/ 16 w 205"/>
                  <a:gd name="T57" fmla="*/ 112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5" h="148">
                    <a:moveTo>
                      <a:pt x="16" y="112"/>
                    </a:moveTo>
                    <a:cubicBezTo>
                      <a:pt x="22" y="99"/>
                      <a:pt x="21" y="83"/>
                      <a:pt x="13" y="72"/>
                    </a:cubicBezTo>
                    <a:cubicBezTo>
                      <a:pt x="12" y="65"/>
                      <a:pt x="5" y="61"/>
                      <a:pt x="1" y="55"/>
                    </a:cubicBezTo>
                    <a:cubicBezTo>
                      <a:pt x="2" y="44"/>
                      <a:pt x="0" y="31"/>
                      <a:pt x="10" y="24"/>
                    </a:cubicBezTo>
                    <a:cubicBezTo>
                      <a:pt x="16" y="20"/>
                      <a:pt x="29" y="26"/>
                      <a:pt x="35" y="28"/>
                    </a:cubicBezTo>
                    <a:cubicBezTo>
                      <a:pt x="41" y="29"/>
                      <a:pt x="44" y="27"/>
                      <a:pt x="48" y="28"/>
                    </a:cubicBezTo>
                    <a:cubicBezTo>
                      <a:pt x="56" y="30"/>
                      <a:pt x="57" y="34"/>
                      <a:pt x="61" y="34"/>
                    </a:cubicBezTo>
                    <a:cubicBezTo>
                      <a:pt x="65" y="34"/>
                      <a:pt x="68" y="31"/>
                      <a:pt x="72" y="27"/>
                    </a:cubicBezTo>
                    <a:cubicBezTo>
                      <a:pt x="73" y="11"/>
                      <a:pt x="72" y="16"/>
                      <a:pt x="85" y="12"/>
                    </a:cubicBezTo>
                    <a:cubicBezTo>
                      <a:pt x="92" y="14"/>
                      <a:pt x="101" y="9"/>
                      <a:pt x="108" y="12"/>
                    </a:cubicBezTo>
                    <a:cubicBezTo>
                      <a:pt x="118" y="25"/>
                      <a:pt x="100" y="0"/>
                      <a:pt x="112" y="30"/>
                    </a:cubicBezTo>
                    <a:cubicBezTo>
                      <a:pt x="113" y="32"/>
                      <a:pt x="130" y="34"/>
                      <a:pt x="133" y="34"/>
                    </a:cubicBezTo>
                    <a:cubicBezTo>
                      <a:pt x="137" y="38"/>
                      <a:pt x="141" y="41"/>
                      <a:pt x="144" y="46"/>
                    </a:cubicBezTo>
                    <a:cubicBezTo>
                      <a:pt x="144" y="51"/>
                      <a:pt x="143" y="56"/>
                      <a:pt x="145" y="60"/>
                    </a:cubicBezTo>
                    <a:cubicBezTo>
                      <a:pt x="146" y="62"/>
                      <a:pt x="168" y="80"/>
                      <a:pt x="171" y="81"/>
                    </a:cubicBezTo>
                    <a:cubicBezTo>
                      <a:pt x="177" y="89"/>
                      <a:pt x="185" y="92"/>
                      <a:pt x="195" y="94"/>
                    </a:cubicBezTo>
                    <a:cubicBezTo>
                      <a:pt x="200" y="98"/>
                      <a:pt x="204" y="98"/>
                      <a:pt x="205" y="105"/>
                    </a:cubicBezTo>
                    <a:cubicBezTo>
                      <a:pt x="199" y="109"/>
                      <a:pt x="193" y="109"/>
                      <a:pt x="186" y="111"/>
                    </a:cubicBezTo>
                    <a:cubicBezTo>
                      <a:pt x="175" y="118"/>
                      <a:pt x="182" y="117"/>
                      <a:pt x="177" y="130"/>
                    </a:cubicBezTo>
                    <a:cubicBezTo>
                      <a:pt x="175" y="135"/>
                      <a:pt x="163" y="139"/>
                      <a:pt x="163" y="139"/>
                    </a:cubicBezTo>
                    <a:cubicBezTo>
                      <a:pt x="159" y="145"/>
                      <a:pt x="158" y="147"/>
                      <a:pt x="151" y="148"/>
                    </a:cubicBezTo>
                    <a:cubicBezTo>
                      <a:pt x="139" y="147"/>
                      <a:pt x="139" y="146"/>
                      <a:pt x="130" y="141"/>
                    </a:cubicBezTo>
                    <a:cubicBezTo>
                      <a:pt x="128" y="131"/>
                      <a:pt x="120" y="128"/>
                      <a:pt x="112" y="123"/>
                    </a:cubicBezTo>
                    <a:cubicBezTo>
                      <a:pt x="108" y="117"/>
                      <a:pt x="107" y="115"/>
                      <a:pt x="100" y="114"/>
                    </a:cubicBezTo>
                    <a:cubicBezTo>
                      <a:pt x="94" y="110"/>
                      <a:pt x="89" y="106"/>
                      <a:pt x="82" y="105"/>
                    </a:cubicBezTo>
                    <a:cubicBezTo>
                      <a:pt x="75" y="103"/>
                      <a:pt x="66" y="100"/>
                      <a:pt x="59" y="100"/>
                    </a:cubicBezTo>
                    <a:cubicBezTo>
                      <a:pt x="52" y="100"/>
                      <a:pt x="45" y="101"/>
                      <a:pt x="39" y="102"/>
                    </a:cubicBezTo>
                    <a:cubicBezTo>
                      <a:pt x="34" y="103"/>
                      <a:pt x="29" y="105"/>
                      <a:pt x="24" y="106"/>
                    </a:cubicBezTo>
                    <a:cubicBezTo>
                      <a:pt x="17" y="109"/>
                      <a:pt x="20" y="107"/>
                      <a:pt x="16" y="11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5" name="Freeform 71">
                <a:extLst>
                  <a:ext uri="{FF2B5EF4-FFF2-40B4-BE49-F238E27FC236}">
                    <a16:creationId xmlns:a16="http://schemas.microsoft.com/office/drawing/2014/main" id="{18C7CA59-82A3-4FC5-BDB7-5D23D458B66C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gray">
              <a:xfrm>
                <a:off x="4845051" y="2503488"/>
                <a:ext cx="177800" cy="114300"/>
              </a:xfrm>
              <a:custGeom>
                <a:avLst/>
                <a:gdLst>
                  <a:gd name="T0" fmla="*/ 46 w 110"/>
                  <a:gd name="T1" fmla="*/ 8 h 72"/>
                  <a:gd name="T2" fmla="*/ 34 w 110"/>
                  <a:gd name="T3" fmla="*/ 29 h 72"/>
                  <a:gd name="T4" fmla="*/ 13 w 110"/>
                  <a:gd name="T5" fmla="*/ 22 h 72"/>
                  <a:gd name="T6" fmla="*/ 0 w 110"/>
                  <a:gd name="T7" fmla="*/ 50 h 72"/>
                  <a:gd name="T8" fmla="*/ 52 w 110"/>
                  <a:gd name="T9" fmla="*/ 49 h 72"/>
                  <a:gd name="T10" fmla="*/ 81 w 110"/>
                  <a:gd name="T11" fmla="*/ 70 h 72"/>
                  <a:gd name="T12" fmla="*/ 100 w 110"/>
                  <a:gd name="T13" fmla="*/ 61 h 72"/>
                  <a:gd name="T14" fmla="*/ 100 w 110"/>
                  <a:gd name="T15" fmla="*/ 11 h 72"/>
                  <a:gd name="T16" fmla="*/ 87 w 110"/>
                  <a:gd name="T17" fmla="*/ 17 h 72"/>
                  <a:gd name="T18" fmla="*/ 66 w 110"/>
                  <a:gd name="T19" fmla="*/ 10 h 72"/>
                  <a:gd name="T20" fmla="*/ 46 w 110"/>
                  <a:gd name="T21" fmla="*/ 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72">
                    <a:moveTo>
                      <a:pt x="46" y="8"/>
                    </a:moveTo>
                    <a:cubicBezTo>
                      <a:pt x="45" y="21"/>
                      <a:pt x="47" y="26"/>
                      <a:pt x="34" y="29"/>
                    </a:cubicBezTo>
                    <a:cubicBezTo>
                      <a:pt x="26" y="28"/>
                      <a:pt x="21" y="23"/>
                      <a:pt x="13" y="22"/>
                    </a:cubicBezTo>
                    <a:cubicBezTo>
                      <a:pt x="0" y="15"/>
                      <a:pt x="7" y="40"/>
                      <a:pt x="0" y="50"/>
                    </a:cubicBezTo>
                    <a:cubicBezTo>
                      <a:pt x="6" y="56"/>
                      <a:pt x="35" y="47"/>
                      <a:pt x="52" y="49"/>
                    </a:cubicBezTo>
                    <a:cubicBezTo>
                      <a:pt x="65" y="52"/>
                      <a:pt x="73" y="68"/>
                      <a:pt x="81" y="70"/>
                    </a:cubicBezTo>
                    <a:cubicBezTo>
                      <a:pt x="89" y="72"/>
                      <a:pt x="97" y="71"/>
                      <a:pt x="100" y="61"/>
                    </a:cubicBezTo>
                    <a:cubicBezTo>
                      <a:pt x="109" y="46"/>
                      <a:pt x="110" y="27"/>
                      <a:pt x="100" y="11"/>
                    </a:cubicBezTo>
                    <a:cubicBezTo>
                      <a:pt x="95" y="13"/>
                      <a:pt x="91" y="14"/>
                      <a:pt x="87" y="17"/>
                    </a:cubicBezTo>
                    <a:cubicBezTo>
                      <a:pt x="77" y="16"/>
                      <a:pt x="73" y="17"/>
                      <a:pt x="66" y="10"/>
                    </a:cubicBezTo>
                    <a:cubicBezTo>
                      <a:pt x="62" y="0"/>
                      <a:pt x="55" y="5"/>
                      <a:pt x="46" y="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6" name="Freeform 72">
                <a:extLst>
                  <a:ext uri="{FF2B5EF4-FFF2-40B4-BE49-F238E27FC236}">
                    <a16:creationId xmlns:a16="http://schemas.microsoft.com/office/drawing/2014/main" id="{254B5F6B-1429-416F-9FFD-2C8AB3802651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gray">
              <a:xfrm>
                <a:off x="4837113" y="2581275"/>
                <a:ext cx="139700" cy="100013"/>
              </a:xfrm>
              <a:custGeom>
                <a:avLst/>
                <a:gdLst>
                  <a:gd name="T0" fmla="*/ 8 w 86"/>
                  <a:gd name="T1" fmla="*/ 4 h 63"/>
                  <a:gd name="T2" fmla="*/ 5 w 86"/>
                  <a:gd name="T3" fmla="*/ 25 h 63"/>
                  <a:gd name="T4" fmla="*/ 26 w 86"/>
                  <a:gd name="T5" fmla="*/ 45 h 63"/>
                  <a:gd name="T6" fmla="*/ 30 w 86"/>
                  <a:gd name="T7" fmla="*/ 58 h 63"/>
                  <a:gd name="T8" fmla="*/ 47 w 86"/>
                  <a:gd name="T9" fmla="*/ 63 h 63"/>
                  <a:gd name="T10" fmla="*/ 66 w 86"/>
                  <a:gd name="T11" fmla="*/ 58 h 63"/>
                  <a:gd name="T12" fmla="*/ 72 w 86"/>
                  <a:gd name="T13" fmla="*/ 46 h 63"/>
                  <a:gd name="T14" fmla="*/ 86 w 86"/>
                  <a:gd name="T15" fmla="*/ 28 h 63"/>
                  <a:gd name="T16" fmla="*/ 78 w 86"/>
                  <a:gd name="T17" fmla="*/ 16 h 63"/>
                  <a:gd name="T18" fmla="*/ 63 w 86"/>
                  <a:gd name="T19" fmla="*/ 3 h 63"/>
                  <a:gd name="T20" fmla="*/ 41 w 86"/>
                  <a:gd name="T21" fmla="*/ 1 h 63"/>
                  <a:gd name="T22" fmla="*/ 8 w 86"/>
                  <a:gd name="T23" fmla="*/ 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63">
                    <a:moveTo>
                      <a:pt x="8" y="4"/>
                    </a:moveTo>
                    <a:cubicBezTo>
                      <a:pt x="0" y="7"/>
                      <a:pt x="2" y="18"/>
                      <a:pt x="5" y="25"/>
                    </a:cubicBezTo>
                    <a:cubicBezTo>
                      <a:pt x="8" y="32"/>
                      <a:pt x="22" y="40"/>
                      <a:pt x="26" y="45"/>
                    </a:cubicBezTo>
                    <a:cubicBezTo>
                      <a:pt x="31" y="51"/>
                      <a:pt x="24" y="54"/>
                      <a:pt x="30" y="58"/>
                    </a:cubicBezTo>
                    <a:cubicBezTo>
                      <a:pt x="33" y="61"/>
                      <a:pt x="41" y="63"/>
                      <a:pt x="47" y="63"/>
                    </a:cubicBezTo>
                    <a:cubicBezTo>
                      <a:pt x="53" y="63"/>
                      <a:pt x="62" y="61"/>
                      <a:pt x="66" y="58"/>
                    </a:cubicBezTo>
                    <a:cubicBezTo>
                      <a:pt x="70" y="56"/>
                      <a:pt x="71" y="50"/>
                      <a:pt x="72" y="46"/>
                    </a:cubicBezTo>
                    <a:cubicBezTo>
                      <a:pt x="73" y="40"/>
                      <a:pt x="83" y="33"/>
                      <a:pt x="86" y="28"/>
                    </a:cubicBezTo>
                    <a:cubicBezTo>
                      <a:pt x="83" y="22"/>
                      <a:pt x="84" y="20"/>
                      <a:pt x="78" y="16"/>
                    </a:cubicBezTo>
                    <a:cubicBezTo>
                      <a:pt x="74" y="11"/>
                      <a:pt x="68" y="6"/>
                      <a:pt x="63" y="3"/>
                    </a:cubicBezTo>
                    <a:cubicBezTo>
                      <a:pt x="57" y="1"/>
                      <a:pt x="50" y="0"/>
                      <a:pt x="41" y="1"/>
                    </a:cubicBezTo>
                    <a:cubicBezTo>
                      <a:pt x="32" y="1"/>
                      <a:pt x="15" y="3"/>
                      <a:pt x="8" y="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7" name="Freeform 73">
                <a:extLst>
                  <a:ext uri="{FF2B5EF4-FFF2-40B4-BE49-F238E27FC236}">
                    <a16:creationId xmlns:a16="http://schemas.microsoft.com/office/drawing/2014/main" id="{B298F113-FC7C-45B4-8728-837F14EDC405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gray">
              <a:xfrm>
                <a:off x="4892676" y="2597150"/>
                <a:ext cx="206375" cy="185738"/>
              </a:xfrm>
              <a:custGeom>
                <a:avLst/>
                <a:gdLst>
                  <a:gd name="T0" fmla="*/ 11 w 128"/>
                  <a:gd name="T1" fmla="*/ 54 h 117"/>
                  <a:gd name="T2" fmla="*/ 2 w 128"/>
                  <a:gd name="T3" fmla="*/ 92 h 117"/>
                  <a:gd name="T4" fmla="*/ 10 w 128"/>
                  <a:gd name="T5" fmla="*/ 114 h 117"/>
                  <a:gd name="T6" fmla="*/ 22 w 128"/>
                  <a:gd name="T7" fmla="*/ 110 h 117"/>
                  <a:gd name="T8" fmla="*/ 61 w 128"/>
                  <a:gd name="T9" fmla="*/ 110 h 117"/>
                  <a:gd name="T10" fmla="*/ 83 w 128"/>
                  <a:gd name="T11" fmla="*/ 114 h 117"/>
                  <a:gd name="T12" fmla="*/ 107 w 128"/>
                  <a:gd name="T13" fmla="*/ 109 h 117"/>
                  <a:gd name="T14" fmla="*/ 118 w 128"/>
                  <a:gd name="T15" fmla="*/ 102 h 117"/>
                  <a:gd name="T16" fmla="*/ 124 w 128"/>
                  <a:gd name="T17" fmla="*/ 84 h 117"/>
                  <a:gd name="T18" fmla="*/ 122 w 128"/>
                  <a:gd name="T19" fmla="*/ 68 h 117"/>
                  <a:gd name="T20" fmla="*/ 119 w 128"/>
                  <a:gd name="T21" fmla="*/ 51 h 117"/>
                  <a:gd name="T22" fmla="*/ 104 w 128"/>
                  <a:gd name="T23" fmla="*/ 23 h 117"/>
                  <a:gd name="T24" fmla="*/ 91 w 128"/>
                  <a:gd name="T25" fmla="*/ 6 h 117"/>
                  <a:gd name="T26" fmla="*/ 74 w 128"/>
                  <a:gd name="T27" fmla="*/ 2 h 117"/>
                  <a:gd name="T28" fmla="*/ 56 w 128"/>
                  <a:gd name="T29" fmla="*/ 15 h 117"/>
                  <a:gd name="T30" fmla="*/ 44 w 128"/>
                  <a:gd name="T31" fmla="*/ 26 h 117"/>
                  <a:gd name="T32" fmla="*/ 41 w 128"/>
                  <a:gd name="T33" fmla="*/ 37 h 117"/>
                  <a:gd name="T34" fmla="*/ 35 w 128"/>
                  <a:gd name="T35" fmla="*/ 48 h 117"/>
                  <a:gd name="T36" fmla="*/ 23 w 128"/>
                  <a:gd name="T37" fmla="*/ 53 h 117"/>
                  <a:gd name="T38" fmla="*/ 11 w 128"/>
                  <a:gd name="T39" fmla="*/ 5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17">
                    <a:moveTo>
                      <a:pt x="11" y="54"/>
                    </a:moveTo>
                    <a:cubicBezTo>
                      <a:pt x="8" y="67"/>
                      <a:pt x="14" y="85"/>
                      <a:pt x="2" y="92"/>
                    </a:cubicBezTo>
                    <a:cubicBezTo>
                      <a:pt x="2" y="100"/>
                      <a:pt x="0" y="111"/>
                      <a:pt x="10" y="114"/>
                    </a:cubicBezTo>
                    <a:cubicBezTo>
                      <a:pt x="13" y="117"/>
                      <a:pt x="14" y="111"/>
                      <a:pt x="22" y="110"/>
                    </a:cubicBezTo>
                    <a:cubicBezTo>
                      <a:pt x="30" y="109"/>
                      <a:pt x="51" y="109"/>
                      <a:pt x="61" y="110"/>
                    </a:cubicBezTo>
                    <a:cubicBezTo>
                      <a:pt x="68" y="114"/>
                      <a:pt x="76" y="109"/>
                      <a:pt x="83" y="114"/>
                    </a:cubicBezTo>
                    <a:cubicBezTo>
                      <a:pt x="91" y="114"/>
                      <a:pt x="101" y="111"/>
                      <a:pt x="107" y="109"/>
                    </a:cubicBezTo>
                    <a:cubicBezTo>
                      <a:pt x="113" y="107"/>
                      <a:pt x="115" y="106"/>
                      <a:pt x="118" y="102"/>
                    </a:cubicBezTo>
                    <a:cubicBezTo>
                      <a:pt x="119" y="94"/>
                      <a:pt x="128" y="89"/>
                      <a:pt x="124" y="84"/>
                    </a:cubicBezTo>
                    <a:cubicBezTo>
                      <a:pt x="122" y="76"/>
                      <a:pt x="118" y="75"/>
                      <a:pt x="122" y="68"/>
                    </a:cubicBezTo>
                    <a:cubicBezTo>
                      <a:pt x="119" y="62"/>
                      <a:pt x="121" y="57"/>
                      <a:pt x="119" y="51"/>
                    </a:cubicBezTo>
                    <a:cubicBezTo>
                      <a:pt x="117" y="40"/>
                      <a:pt x="116" y="25"/>
                      <a:pt x="104" y="23"/>
                    </a:cubicBezTo>
                    <a:cubicBezTo>
                      <a:pt x="98" y="19"/>
                      <a:pt x="91" y="6"/>
                      <a:pt x="91" y="6"/>
                    </a:cubicBezTo>
                    <a:cubicBezTo>
                      <a:pt x="87" y="0"/>
                      <a:pt x="81" y="3"/>
                      <a:pt x="74" y="2"/>
                    </a:cubicBezTo>
                    <a:cubicBezTo>
                      <a:pt x="67" y="6"/>
                      <a:pt x="64" y="14"/>
                      <a:pt x="56" y="15"/>
                    </a:cubicBezTo>
                    <a:cubicBezTo>
                      <a:pt x="53" y="20"/>
                      <a:pt x="47" y="21"/>
                      <a:pt x="44" y="26"/>
                    </a:cubicBezTo>
                    <a:cubicBezTo>
                      <a:pt x="42" y="30"/>
                      <a:pt x="42" y="33"/>
                      <a:pt x="41" y="37"/>
                    </a:cubicBezTo>
                    <a:cubicBezTo>
                      <a:pt x="40" y="41"/>
                      <a:pt x="38" y="45"/>
                      <a:pt x="35" y="48"/>
                    </a:cubicBezTo>
                    <a:cubicBezTo>
                      <a:pt x="26" y="47"/>
                      <a:pt x="27" y="52"/>
                      <a:pt x="23" y="53"/>
                    </a:cubicBezTo>
                    <a:cubicBezTo>
                      <a:pt x="19" y="54"/>
                      <a:pt x="13" y="54"/>
                      <a:pt x="11" y="5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8" name="Freeform 74">
                <a:extLst>
                  <a:ext uri="{FF2B5EF4-FFF2-40B4-BE49-F238E27FC236}">
                    <a16:creationId xmlns:a16="http://schemas.microsoft.com/office/drawing/2014/main" id="{5FB1B7D9-085F-404E-81C0-00070CCB9569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gray">
              <a:xfrm>
                <a:off x="4473576" y="2657475"/>
                <a:ext cx="207963" cy="265113"/>
              </a:xfrm>
              <a:custGeom>
                <a:avLst/>
                <a:gdLst>
                  <a:gd name="T0" fmla="*/ 3 w 129"/>
                  <a:gd name="T1" fmla="*/ 127 h 167"/>
                  <a:gd name="T2" fmla="*/ 4 w 129"/>
                  <a:gd name="T3" fmla="*/ 109 h 167"/>
                  <a:gd name="T4" fmla="*/ 3 w 129"/>
                  <a:gd name="T5" fmla="*/ 88 h 167"/>
                  <a:gd name="T6" fmla="*/ 7 w 129"/>
                  <a:gd name="T7" fmla="*/ 69 h 167"/>
                  <a:gd name="T8" fmla="*/ 15 w 129"/>
                  <a:gd name="T9" fmla="*/ 52 h 167"/>
                  <a:gd name="T10" fmla="*/ 24 w 129"/>
                  <a:gd name="T11" fmla="*/ 28 h 167"/>
                  <a:gd name="T12" fmla="*/ 52 w 129"/>
                  <a:gd name="T13" fmla="*/ 22 h 167"/>
                  <a:gd name="T14" fmla="*/ 57 w 129"/>
                  <a:gd name="T15" fmla="*/ 0 h 167"/>
                  <a:gd name="T16" fmla="*/ 75 w 129"/>
                  <a:gd name="T17" fmla="*/ 13 h 167"/>
                  <a:gd name="T18" fmla="*/ 87 w 129"/>
                  <a:gd name="T19" fmla="*/ 21 h 167"/>
                  <a:gd name="T20" fmla="*/ 114 w 129"/>
                  <a:gd name="T21" fmla="*/ 13 h 167"/>
                  <a:gd name="T22" fmla="*/ 123 w 129"/>
                  <a:gd name="T23" fmla="*/ 27 h 167"/>
                  <a:gd name="T24" fmla="*/ 129 w 129"/>
                  <a:gd name="T25" fmla="*/ 58 h 167"/>
                  <a:gd name="T26" fmla="*/ 126 w 129"/>
                  <a:gd name="T27" fmla="*/ 88 h 167"/>
                  <a:gd name="T28" fmla="*/ 111 w 129"/>
                  <a:gd name="T29" fmla="*/ 100 h 167"/>
                  <a:gd name="T30" fmla="*/ 97 w 129"/>
                  <a:gd name="T31" fmla="*/ 108 h 167"/>
                  <a:gd name="T32" fmla="*/ 97 w 129"/>
                  <a:gd name="T33" fmla="*/ 120 h 167"/>
                  <a:gd name="T34" fmla="*/ 111 w 129"/>
                  <a:gd name="T35" fmla="*/ 129 h 167"/>
                  <a:gd name="T36" fmla="*/ 103 w 129"/>
                  <a:gd name="T37" fmla="*/ 156 h 167"/>
                  <a:gd name="T38" fmla="*/ 96 w 129"/>
                  <a:gd name="T39" fmla="*/ 165 h 167"/>
                  <a:gd name="T40" fmla="*/ 76 w 129"/>
                  <a:gd name="T41" fmla="*/ 166 h 167"/>
                  <a:gd name="T42" fmla="*/ 28 w 129"/>
                  <a:gd name="T43" fmla="*/ 159 h 167"/>
                  <a:gd name="T44" fmla="*/ 30 w 129"/>
                  <a:gd name="T45" fmla="*/ 141 h 167"/>
                  <a:gd name="T46" fmla="*/ 16 w 129"/>
                  <a:gd name="T47" fmla="*/ 129 h 167"/>
                  <a:gd name="T48" fmla="*/ 3 w 129"/>
                  <a:gd name="T49" fmla="*/ 12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" h="167">
                    <a:moveTo>
                      <a:pt x="3" y="127"/>
                    </a:moveTo>
                    <a:cubicBezTo>
                      <a:pt x="0" y="123"/>
                      <a:pt x="3" y="119"/>
                      <a:pt x="4" y="109"/>
                    </a:cubicBezTo>
                    <a:cubicBezTo>
                      <a:pt x="4" y="103"/>
                      <a:pt x="2" y="95"/>
                      <a:pt x="3" y="88"/>
                    </a:cubicBezTo>
                    <a:cubicBezTo>
                      <a:pt x="4" y="81"/>
                      <a:pt x="5" y="75"/>
                      <a:pt x="7" y="69"/>
                    </a:cubicBezTo>
                    <a:cubicBezTo>
                      <a:pt x="8" y="59"/>
                      <a:pt x="10" y="58"/>
                      <a:pt x="15" y="52"/>
                    </a:cubicBezTo>
                    <a:cubicBezTo>
                      <a:pt x="18" y="45"/>
                      <a:pt x="18" y="33"/>
                      <a:pt x="24" y="28"/>
                    </a:cubicBezTo>
                    <a:cubicBezTo>
                      <a:pt x="28" y="17"/>
                      <a:pt x="39" y="24"/>
                      <a:pt x="52" y="22"/>
                    </a:cubicBezTo>
                    <a:cubicBezTo>
                      <a:pt x="54" y="14"/>
                      <a:pt x="46" y="2"/>
                      <a:pt x="57" y="0"/>
                    </a:cubicBezTo>
                    <a:cubicBezTo>
                      <a:pt x="70" y="1"/>
                      <a:pt x="68" y="4"/>
                      <a:pt x="75" y="13"/>
                    </a:cubicBezTo>
                    <a:cubicBezTo>
                      <a:pt x="77" y="22"/>
                      <a:pt x="78" y="22"/>
                      <a:pt x="87" y="21"/>
                    </a:cubicBezTo>
                    <a:cubicBezTo>
                      <a:pt x="95" y="8"/>
                      <a:pt x="92" y="12"/>
                      <a:pt x="114" y="13"/>
                    </a:cubicBezTo>
                    <a:cubicBezTo>
                      <a:pt x="115" y="20"/>
                      <a:pt x="120" y="20"/>
                      <a:pt x="123" y="27"/>
                    </a:cubicBezTo>
                    <a:cubicBezTo>
                      <a:pt x="124" y="37"/>
                      <a:pt x="124" y="49"/>
                      <a:pt x="129" y="58"/>
                    </a:cubicBezTo>
                    <a:cubicBezTo>
                      <a:pt x="129" y="69"/>
                      <a:pt x="129" y="81"/>
                      <a:pt x="126" y="88"/>
                    </a:cubicBezTo>
                    <a:cubicBezTo>
                      <a:pt x="123" y="95"/>
                      <a:pt x="116" y="97"/>
                      <a:pt x="111" y="100"/>
                    </a:cubicBezTo>
                    <a:cubicBezTo>
                      <a:pt x="104" y="105"/>
                      <a:pt x="102" y="100"/>
                      <a:pt x="97" y="108"/>
                    </a:cubicBezTo>
                    <a:cubicBezTo>
                      <a:pt x="96" y="111"/>
                      <a:pt x="95" y="116"/>
                      <a:pt x="97" y="120"/>
                    </a:cubicBezTo>
                    <a:cubicBezTo>
                      <a:pt x="99" y="124"/>
                      <a:pt x="110" y="123"/>
                      <a:pt x="111" y="129"/>
                    </a:cubicBezTo>
                    <a:cubicBezTo>
                      <a:pt x="113" y="142"/>
                      <a:pt x="108" y="145"/>
                      <a:pt x="103" y="156"/>
                    </a:cubicBezTo>
                    <a:cubicBezTo>
                      <a:pt x="100" y="162"/>
                      <a:pt x="100" y="163"/>
                      <a:pt x="96" y="165"/>
                    </a:cubicBezTo>
                    <a:cubicBezTo>
                      <a:pt x="92" y="167"/>
                      <a:pt x="87" y="167"/>
                      <a:pt x="76" y="166"/>
                    </a:cubicBezTo>
                    <a:cubicBezTo>
                      <a:pt x="60" y="154"/>
                      <a:pt x="59" y="160"/>
                      <a:pt x="28" y="159"/>
                    </a:cubicBezTo>
                    <a:cubicBezTo>
                      <a:pt x="20" y="155"/>
                      <a:pt x="32" y="146"/>
                      <a:pt x="30" y="141"/>
                    </a:cubicBezTo>
                    <a:cubicBezTo>
                      <a:pt x="28" y="136"/>
                      <a:pt x="20" y="131"/>
                      <a:pt x="16" y="129"/>
                    </a:cubicBezTo>
                    <a:cubicBezTo>
                      <a:pt x="11" y="126"/>
                      <a:pt x="3" y="131"/>
                      <a:pt x="3" y="12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9" name="Freeform 75">
                <a:extLst>
                  <a:ext uri="{FF2B5EF4-FFF2-40B4-BE49-F238E27FC236}">
                    <a16:creationId xmlns:a16="http://schemas.microsoft.com/office/drawing/2014/main" id="{FF489137-BF00-42BB-8600-5D324DC9E53A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gray">
              <a:xfrm>
                <a:off x="4427538" y="2686050"/>
                <a:ext cx="90488" cy="100013"/>
              </a:xfrm>
              <a:custGeom>
                <a:avLst/>
                <a:gdLst>
                  <a:gd name="T0" fmla="*/ 7 w 56"/>
                  <a:gd name="T1" fmla="*/ 52 h 63"/>
                  <a:gd name="T2" fmla="*/ 10 w 56"/>
                  <a:gd name="T3" fmla="*/ 35 h 63"/>
                  <a:gd name="T4" fmla="*/ 14 w 56"/>
                  <a:gd name="T5" fmla="*/ 17 h 63"/>
                  <a:gd name="T6" fmla="*/ 50 w 56"/>
                  <a:gd name="T7" fmla="*/ 9 h 63"/>
                  <a:gd name="T8" fmla="*/ 44 w 56"/>
                  <a:gd name="T9" fmla="*/ 27 h 63"/>
                  <a:gd name="T10" fmla="*/ 38 w 56"/>
                  <a:gd name="T11" fmla="*/ 46 h 63"/>
                  <a:gd name="T12" fmla="*/ 28 w 56"/>
                  <a:gd name="T13" fmla="*/ 63 h 63"/>
                  <a:gd name="T14" fmla="*/ 7 w 56"/>
                  <a:gd name="T15" fmla="*/ 5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63">
                    <a:moveTo>
                      <a:pt x="7" y="52"/>
                    </a:moveTo>
                    <a:cubicBezTo>
                      <a:pt x="12" y="38"/>
                      <a:pt x="0" y="41"/>
                      <a:pt x="10" y="35"/>
                    </a:cubicBezTo>
                    <a:cubicBezTo>
                      <a:pt x="15" y="28"/>
                      <a:pt x="17" y="25"/>
                      <a:pt x="14" y="17"/>
                    </a:cubicBezTo>
                    <a:cubicBezTo>
                      <a:pt x="20" y="0"/>
                      <a:pt x="32" y="8"/>
                      <a:pt x="50" y="9"/>
                    </a:cubicBezTo>
                    <a:cubicBezTo>
                      <a:pt x="56" y="11"/>
                      <a:pt x="46" y="21"/>
                      <a:pt x="44" y="27"/>
                    </a:cubicBezTo>
                    <a:cubicBezTo>
                      <a:pt x="42" y="33"/>
                      <a:pt x="33" y="40"/>
                      <a:pt x="38" y="46"/>
                    </a:cubicBezTo>
                    <a:cubicBezTo>
                      <a:pt x="33" y="54"/>
                      <a:pt x="37" y="60"/>
                      <a:pt x="28" y="63"/>
                    </a:cubicBezTo>
                    <a:cubicBezTo>
                      <a:pt x="18" y="60"/>
                      <a:pt x="14" y="59"/>
                      <a:pt x="7" y="5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0" name="Freeform 77">
                <a:extLst>
                  <a:ext uri="{FF2B5EF4-FFF2-40B4-BE49-F238E27FC236}">
                    <a16:creationId xmlns:a16="http://schemas.microsoft.com/office/drawing/2014/main" id="{09656D58-0E67-4AAD-AE92-69D4AC2B8758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gray">
              <a:xfrm>
                <a:off x="4798847" y="3116263"/>
                <a:ext cx="157329" cy="181187"/>
              </a:xfrm>
              <a:custGeom>
                <a:avLst/>
                <a:gdLst/>
                <a:ahLst/>
                <a:cxnLst/>
                <a:rect l="l" t="t" r="r" b="b"/>
                <a:pathLst>
                  <a:path w="157329" h="181187">
                    <a:moveTo>
                      <a:pt x="93201" y="149225"/>
                    </a:moveTo>
                    <a:cubicBezTo>
                      <a:pt x="128471" y="153988"/>
                      <a:pt x="114043" y="166688"/>
                      <a:pt x="157329" y="171450"/>
                    </a:cubicBezTo>
                    <a:cubicBezTo>
                      <a:pt x="136488" y="185738"/>
                      <a:pt x="133281" y="180976"/>
                      <a:pt x="102820" y="177801"/>
                    </a:cubicBezTo>
                    <a:cubicBezTo>
                      <a:pt x="91598" y="169863"/>
                      <a:pt x="85185" y="171450"/>
                      <a:pt x="80375" y="158750"/>
                    </a:cubicBezTo>
                    <a:cubicBezTo>
                      <a:pt x="91598" y="155575"/>
                      <a:pt x="88391" y="158750"/>
                      <a:pt x="93201" y="149225"/>
                    </a:cubicBezTo>
                    <a:close/>
                    <a:moveTo>
                      <a:pt x="112439" y="0"/>
                    </a:moveTo>
                    <a:cubicBezTo>
                      <a:pt x="96407" y="15875"/>
                      <a:pt x="110836" y="-3175"/>
                      <a:pt x="115645" y="12700"/>
                    </a:cubicBezTo>
                    <a:cubicBezTo>
                      <a:pt x="110836" y="30162"/>
                      <a:pt x="67548" y="46037"/>
                      <a:pt x="56326" y="65087"/>
                    </a:cubicBezTo>
                    <a:cubicBezTo>
                      <a:pt x="46707" y="80962"/>
                      <a:pt x="57929" y="103187"/>
                      <a:pt x="56326" y="112712"/>
                    </a:cubicBezTo>
                    <a:cubicBezTo>
                      <a:pt x="54723" y="122237"/>
                      <a:pt x="49913" y="130175"/>
                      <a:pt x="41897" y="120650"/>
                    </a:cubicBezTo>
                    <a:cubicBezTo>
                      <a:pt x="13039" y="101600"/>
                      <a:pt x="9833" y="92075"/>
                      <a:pt x="3420" y="57150"/>
                    </a:cubicBezTo>
                    <a:cubicBezTo>
                      <a:pt x="1817" y="50800"/>
                      <a:pt x="-187" y="48815"/>
                      <a:pt x="13" y="47823"/>
                    </a:cubicBezTo>
                    <a:lnTo>
                      <a:pt x="9833" y="44450"/>
                    </a:lnTo>
                    <a:cubicBezTo>
                      <a:pt x="16246" y="42862"/>
                      <a:pt x="30674" y="50800"/>
                      <a:pt x="38691" y="46037"/>
                    </a:cubicBezTo>
                    <a:cubicBezTo>
                      <a:pt x="46707" y="41275"/>
                      <a:pt x="54723" y="19050"/>
                      <a:pt x="61136" y="14287"/>
                    </a:cubicBezTo>
                    <a:cubicBezTo>
                      <a:pt x="61136" y="14287"/>
                      <a:pt x="67548" y="9525"/>
                      <a:pt x="73961" y="6350"/>
                    </a:cubicBezTo>
                    <a:cubicBezTo>
                      <a:pt x="85184" y="0"/>
                      <a:pt x="99613" y="4762"/>
                      <a:pt x="11243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1" name="Freeform 79">
                <a:extLst>
                  <a:ext uri="{FF2B5EF4-FFF2-40B4-BE49-F238E27FC236}">
                    <a16:creationId xmlns:a16="http://schemas.microsoft.com/office/drawing/2014/main" id="{211E355F-7CC5-4B02-B057-B6863AFAD2B2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gray">
              <a:xfrm>
                <a:off x="5943601" y="3146425"/>
                <a:ext cx="195263" cy="128588"/>
              </a:xfrm>
              <a:custGeom>
                <a:avLst/>
                <a:gdLst>
                  <a:gd name="T0" fmla="*/ 98 w 121"/>
                  <a:gd name="T1" fmla="*/ 26 h 81"/>
                  <a:gd name="T2" fmla="*/ 98 w 121"/>
                  <a:gd name="T3" fmla="*/ 40 h 81"/>
                  <a:gd name="T4" fmla="*/ 109 w 121"/>
                  <a:gd name="T5" fmla="*/ 34 h 81"/>
                  <a:gd name="T6" fmla="*/ 113 w 121"/>
                  <a:gd name="T7" fmla="*/ 46 h 81"/>
                  <a:gd name="T8" fmla="*/ 119 w 121"/>
                  <a:gd name="T9" fmla="*/ 62 h 81"/>
                  <a:gd name="T10" fmla="*/ 101 w 121"/>
                  <a:gd name="T11" fmla="*/ 68 h 81"/>
                  <a:gd name="T12" fmla="*/ 80 w 121"/>
                  <a:gd name="T13" fmla="*/ 74 h 81"/>
                  <a:gd name="T14" fmla="*/ 64 w 121"/>
                  <a:gd name="T15" fmla="*/ 77 h 81"/>
                  <a:gd name="T16" fmla="*/ 62 w 121"/>
                  <a:gd name="T17" fmla="*/ 52 h 81"/>
                  <a:gd name="T18" fmla="*/ 58 w 121"/>
                  <a:gd name="T19" fmla="*/ 40 h 81"/>
                  <a:gd name="T20" fmla="*/ 44 w 121"/>
                  <a:gd name="T21" fmla="*/ 58 h 81"/>
                  <a:gd name="T22" fmla="*/ 32 w 121"/>
                  <a:gd name="T23" fmla="*/ 64 h 81"/>
                  <a:gd name="T24" fmla="*/ 11 w 121"/>
                  <a:gd name="T25" fmla="*/ 67 h 81"/>
                  <a:gd name="T26" fmla="*/ 8 w 121"/>
                  <a:gd name="T27" fmla="*/ 53 h 81"/>
                  <a:gd name="T28" fmla="*/ 8 w 121"/>
                  <a:gd name="T29" fmla="*/ 39 h 81"/>
                  <a:gd name="T30" fmla="*/ 2 w 121"/>
                  <a:gd name="T31" fmla="*/ 25 h 81"/>
                  <a:gd name="T32" fmla="*/ 20 w 121"/>
                  <a:gd name="T33" fmla="*/ 11 h 81"/>
                  <a:gd name="T34" fmla="*/ 28 w 121"/>
                  <a:gd name="T35" fmla="*/ 1 h 81"/>
                  <a:gd name="T36" fmla="*/ 37 w 121"/>
                  <a:gd name="T37" fmla="*/ 4 h 81"/>
                  <a:gd name="T38" fmla="*/ 50 w 121"/>
                  <a:gd name="T39" fmla="*/ 19 h 81"/>
                  <a:gd name="T40" fmla="*/ 52 w 121"/>
                  <a:gd name="T41" fmla="*/ 32 h 81"/>
                  <a:gd name="T42" fmla="*/ 58 w 121"/>
                  <a:gd name="T43" fmla="*/ 23 h 81"/>
                  <a:gd name="T44" fmla="*/ 79 w 121"/>
                  <a:gd name="T45" fmla="*/ 26 h 81"/>
                  <a:gd name="T46" fmla="*/ 98 w 121"/>
                  <a:gd name="T47" fmla="*/ 2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1" h="81">
                    <a:moveTo>
                      <a:pt x="98" y="26"/>
                    </a:moveTo>
                    <a:cubicBezTo>
                      <a:pt x="101" y="28"/>
                      <a:pt x="96" y="39"/>
                      <a:pt x="98" y="40"/>
                    </a:cubicBezTo>
                    <a:cubicBezTo>
                      <a:pt x="100" y="41"/>
                      <a:pt x="107" y="33"/>
                      <a:pt x="109" y="34"/>
                    </a:cubicBezTo>
                    <a:cubicBezTo>
                      <a:pt x="111" y="35"/>
                      <a:pt x="111" y="41"/>
                      <a:pt x="113" y="46"/>
                    </a:cubicBezTo>
                    <a:cubicBezTo>
                      <a:pt x="115" y="51"/>
                      <a:pt x="121" y="58"/>
                      <a:pt x="119" y="62"/>
                    </a:cubicBezTo>
                    <a:cubicBezTo>
                      <a:pt x="117" y="66"/>
                      <a:pt x="107" y="66"/>
                      <a:pt x="101" y="68"/>
                    </a:cubicBezTo>
                    <a:cubicBezTo>
                      <a:pt x="95" y="70"/>
                      <a:pt x="86" y="73"/>
                      <a:pt x="80" y="74"/>
                    </a:cubicBezTo>
                    <a:cubicBezTo>
                      <a:pt x="74" y="75"/>
                      <a:pt x="67" y="81"/>
                      <a:pt x="64" y="77"/>
                    </a:cubicBezTo>
                    <a:cubicBezTo>
                      <a:pt x="61" y="73"/>
                      <a:pt x="63" y="58"/>
                      <a:pt x="62" y="52"/>
                    </a:cubicBezTo>
                    <a:cubicBezTo>
                      <a:pt x="61" y="46"/>
                      <a:pt x="61" y="39"/>
                      <a:pt x="58" y="40"/>
                    </a:cubicBezTo>
                    <a:cubicBezTo>
                      <a:pt x="55" y="41"/>
                      <a:pt x="48" y="54"/>
                      <a:pt x="44" y="58"/>
                    </a:cubicBezTo>
                    <a:cubicBezTo>
                      <a:pt x="40" y="62"/>
                      <a:pt x="37" y="63"/>
                      <a:pt x="32" y="64"/>
                    </a:cubicBezTo>
                    <a:cubicBezTo>
                      <a:pt x="27" y="65"/>
                      <a:pt x="15" y="69"/>
                      <a:pt x="11" y="67"/>
                    </a:cubicBezTo>
                    <a:cubicBezTo>
                      <a:pt x="7" y="65"/>
                      <a:pt x="8" y="58"/>
                      <a:pt x="8" y="53"/>
                    </a:cubicBezTo>
                    <a:cubicBezTo>
                      <a:pt x="8" y="48"/>
                      <a:pt x="9" y="44"/>
                      <a:pt x="8" y="39"/>
                    </a:cubicBezTo>
                    <a:cubicBezTo>
                      <a:pt x="7" y="34"/>
                      <a:pt x="0" y="30"/>
                      <a:pt x="2" y="25"/>
                    </a:cubicBezTo>
                    <a:cubicBezTo>
                      <a:pt x="4" y="20"/>
                      <a:pt x="16" y="15"/>
                      <a:pt x="20" y="11"/>
                    </a:cubicBezTo>
                    <a:cubicBezTo>
                      <a:pt x="24" y="7"/>
                      <a:pt x="25" y="2"/>
                      <a:pt x="28" y="1"/>
                    </a:cubicBezTo>
                    <a:cubicBezTo>
                      <a:pt x="31" y="0"/>
                      <a:pt x="33" y="1"/>
                      <a:pt x="37" y="4"/>
                    </a:cubicBezTo>
                    <a:cubicBezTo>
                      <a:pt x="41" y="7"/>
                      <a:pt x="48" y="14"/>
                      <a:pt x="50" y="19"/>
                    </a:cubicBezTo>
                    <a:cubicBezTo>
                      <a:pt x="52" y="24"/>
                      <a:pt x="51" y="31"/>
                      <a:pt x="52" y="32"/>
                    </a:cubicBezTo>
                    <a:cubicBezTo>
                      <a:pt x="53" y="33"/>
                      <a:pt x="54" y="24"/>
                      <a:pt x="58" y="23"/>
                    </a:cubicBezTo>
                    <a:cubicBezTo>
                      <a:pt x="62" y="22"/>
                      <a:pt x="73" y="26"/>
                      <a:pt x="79" y="26"/>
                    </a:cubicBezTo>
                    <a:cubicBezTo>
                      <a:pt x="85" y="26"/>
                      <a:pt x="95" y="24"/>
                      <a:pt x="98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2" name="Freeform 80">
                <a:extLst>
                  <a:ext uri="{FF2B5EF4-FFF2-40B4-BE49-F238E27FC236}">
                    <a16:creationId xmlns:a16="http://schemas.microsoft.com/office/drawing/2014/main" id="{4FA1F184-208F-442F-8C5F-B1C68F99BFFD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gray">
              <a:xfrm>
                <a:off x="4056063" y="2622550"/>
                <a:ext cx="123825" cy="174625"/>
              </a:xfrm>
              <a:custGeom>
                <a:avLst/>
                <a:gdLst>
                  <a:gd name="T0" fmla="*/ 40 w 76"/>
                  <a:gd name="T1" fmla="*/ 41 h 110"/>
                  <a:gd name="T2" fmla="*/ 66 w 76"/>
                  <a:gd name="T3" fmla="*/ 55 h 110"/>
                  <a:gd name="T4" fmla="*/ 73 w 76"/>
                  <a:gd name="T5" fmla="*/ 91 h 110"/>
                  <a:gd name="T6" fmla="*/ 51 w 76"/>
                  <a:gd name="T7" fmla="*/ 103 h 110"/>
                  <a:gd name="T8" fmla="*/ 36 w 76"/>
                  <a:gd name="T9" fmla="*/ 103 h 110"/>
                  <a:gd name="T10" fmla="*/ 16 w 76"/>
                  <a:gd name="T11" fmla="*/ 91 h 110"/>
                  <a:gd name="T12" fmla="*/ 15 w 76"/>
                  <a:gd name="T13" fmla="*/ 82 h 110"/>
                  <a:gd name="T14" fmla="*/ 28 w 76"/>
                  <a:gd name="T15" fmla="*/ 64 h 110"/>
                  <a:gd name="T16" fmla="*/ 12 w 76"/>
                  <a:gd name="T17" fmla="*/ 53 h 110"/>
                  <a:gd name="T18" fmla="*/ 3 w 76"/>
                  <a:gd name="T19" fmla="*/ 37 h 110"/>
                  <a:gd name="T20" fmla="*/ 30 w 76"/>
                  <a:gd name="T21" fmla="*/ 25 h 110"/>
                  <a:gd name="T22" fmla="*/ 21 w 76"/>
                  <a:gd name="T23" fmla="*/ 8 h 110"/>
                  <a:gd name="T24" fmla="*/ 55 w 76"/>
                  <a:gd name="T25" fmla="*/ 2 h 110"/>
                  <a:gd name="T26" fmla="*/ 43 w 76"/>
                  <a:gd name="T27" fmla="*/ 19 h 110"/>
                  <a:gd name="T28" fmla="*/ 40 w 76"/>
                  <a:gd name="T29" fmla="*/ 4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110">
                    <a:moveTo>
                      <a:pt x="40" y="41"/>
                    </a:moveTo>
                    <a:cubicBezTo>
                      <a:pt x="46" y="45"/>
                      <a:pt x="61" y="47"/>
                      <a:pt x="66" y="55"/>
                    </a:cubicBezTo>
                    <a:cubicBezTo>
                      <a:pt x="71" y="63"/>
                      <a:pt x="76" y="83"/>
                      <a:pt x="73" y="91"/>
                    </a:cubicBezTo>
                    <a:cubicBezTo>
                      <a:pt x="66" y="94"/>
                      <a:pt x="59" y="101"/>
                      <a:pt x="51" y="103"/>
                    </a:cubicBezTo>
                    <a:cubicBezTo>
                      <a:pt x="50" y="110"/>
                      <a:pt x="42" y="100"/>
                      <a:pt x="36" y="103"/>
                    </a:cubicBezTo>
                    <a:cubicBezTo>
                      <a:pt x="13" y="99"/>
                      <a:pt x="23" y="104"/>
                      <a:pt x="16" y="91"/>
                    </a:cubicBezTo>
                    <a:cubicBezTo>
                      <a:pt x="15" y="84"/>
                      <a:pt x="6" y="84"/>
                      <a:pt x="15" y="82"/>
                    </a:cubicBezTo>
                    <a:cubicBezTo>
                      <a:pt x="21" y="72"/>
                      <a:pt x="18" y="72"/>
                      <a:pt x="28" y="64"/>
                    </a:cubicBezTo>
                    <a:cubicBezTo>
                      <a:pt x="26" y="52"/>
                      <a:pt x="17" y="62"/>
                      <a:pt x="12" y="53"/>
                    </a:cubicBezTo>
                    <a:cubicBezTo>
                      <a:pt x="10" y="48"/>
                      <a:pt x="0" y="42"/>
                      <a:pt x="3" y="37"/>
                    </a:cubicBezTo>
                    <a:cubicBezTo>
                      <a:pt x="6" y="32"/>
                      <a:pt x="27" y="30"/>
                      <a:pt x="30" y="25"/>
                    </a:cubicBezTo>
                    <a:cubicBezTo>
                      <a:pt x="33" y="20"/>
                      <a:pt x="17" y="12"/>
                      <a:pt x="21" y="8"/>
                    </a:cubicBezTo>
                    <a:cubicBezTo>
                      <a:pt x="25" y="4"/>
                      <a:pt x="52" y="0"/>
                      <a:pt x="55" y="2"/>
                    </a:cubicBezTo>
                    <a:cubicBezTo>
                      <a:pt x="58" y="4"/>
                      <a:pt x="45" y="13"/>
                      <a:pt x="43" y="19"/>
                    </a:cubicBezTo>
                    <a:cubicBezTo>
                      <a:pt x="41" y="25"/>
                      <a:pt x="31" y="37"/>
                      <a:pt x="40" y="4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4" name="Freeform 86">
                <a:extLst>
                  <a:ext uri="{FF2B5EF4-FFF2-40B4-BE49-F238E27FC236}">
                    <a16:creationId xmlns:a16="http://schemas.microsoft.com/office/drawing/2014/main" id="{110F50BE-742F-496D-85D3-4912750E5501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gray">
              <a:xfrm>
                <a:off x="4124326" y="3049588"/>
                <a:ext cx="295275" cy="234950"/>
              </a:xfrm>
              <a:custGeom>
                <a:avLst/>
                <a:gdLst>
                  <a:gd name="T0" fmla="*/ 9 w 183"/>
                  <a:gd name="T1" fmla="*/ 5 h 148"/>
                  <a:gd name="T2" fmla="*/ 54 w 183"/>
                  <a:gd name="T3" fmla="*/ 3 h 148"/>
                  <a:gd name="T4" fmla="*/ 81 w 183"/>
                  <a:gd name="T5" fmla="*/ 3 h 148"/>
                  <a:gd name="T6" fmla="*/ 156 w 183"/>
                  <a:gd name="T7" fmla="*/ 17 h 148"/>
                  <a:gd name="T8" fmla="*/ 175 w 183"/>
                  <a:gd name="T9" fmla="*/ 27 h 148"/>
                  <a:gd name="T10" fmla="*/ 175 w 183"/>
                  <a:gd name="T11" fmla="*/ 39 h 148"/>
                  <a:gd name="T12" fmla="*/ 154 w 183"/>
                  <a:gd name="T13" fmla="*/ 48 h 148"/>
                  <a:gd name="T14" fmla="*/ 139 w 183"/>
                  <a:gd name="T15" fmla="*/ 62 h 148"/>
                  <a:gd name="T16" fmla="*/ 129 w 183"/>
                  <a:gd name="T17" fmla="*/ 77 h 148"/>
                  <a:gd name="T18" fmla="*/ 132 w 183"/>
                  <a:gd name="T19" fmla="*/ 96 h 148"/>
                  <a:gd name="T20" fmla="*/ 130 w 183"/>
                  <a:gd name="T21" fmla="*/ 102 h 148"/>
                  <a:gd name="T22" fmla="*/ 123 w 183"/>
                  <a:gd name="T23" fmla="*/ 104 h 148"/>
                  <a:gd name="T24" fmla="*/ 112 w 183"/>
                  <a:gd name="T25" fmla="*/ 119 h 148"/>
                  <a:gd name="T26" fmla="*/ 91 w 183"/>
                  <a:gd name="T27" fmla="*/ 134 h 148"/>
                  <a:gd name="T28" fmla="*/ 55 w 183"/>
                  <a:gd name="T29" fmla="*/ 141 h 148"/>
                  <a:gd name="T30" fmla="*/ 43 w 183"/>
                  <a:gd name="T31" fmla="*/ 146 h 148"/>
                  <a:gd name="T32" fmla="*/ 28 w 183"/>
                  <a:gd name="T33" fmla="*/ 131 h 148"/>
                  <a:gd name="T34" fmla="*/ 21 w 183"/>
                  <a:gd name="T35" fmla="*/ 119 h 148"/>
                  <a:gd name="T36" fmla="*/ 27 w 183"/>
                  <a:gd name="T37" fmla="*/ 83 h 148"/>
                  <a:gd name="T38" fmla="*/ 37 w 183"/>
                  <a:gd name="T39" fmla="*/ 42 h 148"/>
                  <a:gd name="T40" fmla="*/ 16 w 183"/>
                  <a:gd name="T41" fmla="*/ 35 h 148"/>
                  <a:gd name="T42" fmla="*/ 4 w 183"/>
                  <a:gd name="T43" fmla="*/ 29 h 148"/>
                  <a:gd name="T44" fmla="*/ 0 w 183"/>
                  <a:gd name="T45" fmla="*/ 12 h 148"/>
                  <a:gd name="T46" fmla="*/ 9 w 183"/>
                  <a:gd name="T47" fmla="*/ 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3" h="148">
                    <a:moveTo>
                      <a:pt x="9" y="5"/>
                    </a:moveTo>
                    <a:cubicBezTo>
                      <a:pt x="13" y="0"/>
                      <a:pt x="48" y="3"/>
                      <a:pt x="54" y="3"/>
                    </a:cubicBezTo>
                    <a:cubicBezTo>
                      <a:pt x="62" y="9"/>
                      <a:pt x="72" y="7"/>
                      <a:pt x="81" y="3"/>
                    </a:cubicBezTo>
                    <a:cubicBezTo>
                      <a:pt x="113" y="5"/>
                      <a:pt x="122" y="15"/>
                      <a:pt x="156" y="17"/>
                    </a:cubicBezTo>
                    <a:cubicBezTo>
                      <a:pt x="167" y="25"/>
                      <a:pt x="155" y="25"/>
                      <a:pt x="175" y="27"/>
                    </a:cubicBezTo>
                    <a:cubicBezTo>
                      <a:pt x="177" y="34"/>
                      <a:pt x="183" y="37"/>
                      <a:pt x="175" y="39"/>
                    </a:cubicBezTo>
                    <a:cubicBezTo>
                      <a:pt x="171" y="46"/>
                      <a:pt x="162" y="47"/>
                      <a:pt x="154" y="48"/>
                    </a:cubicBezTo>
                    <a:cubicBezTo>
                      <a:pt x="148" y="53"/>
                      <a:pt x="147" y="59"/>
                      <a:pt x="139" y="62"/>
                    </a:cubicBezTo>
                    <a:cubicBezTo>
                      <a:pt x="135" y="68"/>
                      <a:pt x="136" y="74"/>
                      <a:pt x="129" y="77"/>
                    </a:cubicBezTo>
                    <a:cubicBezTo>
                      <a:pt x="123" y="84"/>
                      <a:pt x="125" y="91"/>
                      <a:pt x="132" y="96"/>
                    </a:cubicBezTo>
                    <a:cubicBezTo>
                      <a:pt x="131" y="98"/>
                      <a:pt x="132" y="101"/>
                      <a:pt x="130" y="102"/>
                    </a:cubicBezTo>
                    <a:cubicBezTo>
                      <a:pt x="128" y="104"/>
                      <a:pt x="125" y="102"/>
                      <a:pt x="123" y="104"/>
                    </a:cubicBezTo>
                    <a:cubicBezTo>
                      <a:pt x="115" y="114"/>
                      <a:pt x="125" y="111"/>
                      <a:pt x="112" y="119"/>
                    </a:cubicBezTo>
                    <a:cubicBezTo>
                      <a:pt x="105" y="129"/>
                      <a:pt x="102" y="130"/>
                      <a:pt x="91" y="134"/>
                    </a:cubicBezTo>
                    <a:cubicBezTo>
                      <a:pt x="78" y="144"/>
                      <a:pt x="78" y="140"/>
                      <a:pt x="55" y="141"/>
                    </a:cubicBezTo>
                    <a:cubicBezTo>
                      <a:pt x="48" y="145"/>
                      <a:pt x="52" y="148"/>
                      <a:pt x="43" y="146"/>
                    </a:cubicBezTo>
                    <a:cubicBezTo>
                      <a:pt x="39" y="140"/>
                      <a:pt x="35" y="132"/>
                      <a:pt x="28" y="131"/>
                    </a:cubicBezTo>
                    <a:cubicBezTo>
                      <a:pt x="25" y="126"/>
                      <a:pt x="24" y="124"/>
                      <a:pt x="21" y="119"/>
                    </a:cubicBezTo>
                    <a:cubicBezTo>
                      <a:pt x="28" y="108"/>
                      <a:pt x="21" y="95"/>
                      <a:pt x="27" y="83"/>
                    </a:cubicBezTo>
                    <a:cubicBezTo>
                      <a:pt x="30" y="67"/>
                      <a:pt x="29" y="56"/>
                      <a:pt x="37" y="42"/>
                    </a:cubicBezTo>
                    <a:cubicBezTo>
                      <a:pt x="31" y="34"/>
                      <a:pt x="27" y="36"/>
                      <a:pt x="16" y="35"/>
                    </a:cubicBezTo>
                    <a:cubicBezTo>
                      <a:pt x="11" y="33"/>
                      <a:pt x="9" y="32"/>
                      <a:pt x="4" y="29"/>
                    </a:cubicBezTo>
                    <a:cubicBezTo>
                      <a:pt x="3" y="24"/>
                      <a:pt x="1" y="17"/>
                      <a:pt x="0" y="12"/>
                    </a:cubicBezTo>
                    <a:cubicBezTo>
                      <a:pt x="3" y="10"/>
                      <a:pt x="9" y="8"/>
                      <a:pt x="9" y="8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5" name="Freeform 87">
                <a:extLst>
                  <a:ext uri="{FF2B5EF4-FFF2-40B4-BE49-F238E27FC236}">
                    <a16:creationId xmlns:a16="http://schemas.microsoft.com/office/drawing/2014/main" id="{F8EDEC9D-69AD-4B54-854B-E43210A3AEA2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gray">
              <a:xfrm>
                <a:off x="5400676" y="3170238"/>
                <a:ext cx="446088" cy="415925"/>
              </a:xfrm>
              <a:custGeom>
                <a:avLst/>
                <a:gdLst>
                  <a:gd name="T0" fmla="*/ 5 w 277"/>
                  <a:gd name="T1" fmla="*/ 5 h 262"/>
                  <a:gd name="T2" fmla="*/ 1 w 277"/>
                  <a:gd name="T3" fmla="*/ 37 h 262"/>
                  <a:gd name="T4" fmla="*/ 2 w 277"/>
                  <a:gd name="T5" fmla="*/ 53 h 262"/>
                  <a:gd name="T6" fmla="*/ 15 w 277"/>
                  <a:gd name="T7" fmla="*/ 67 h 262"/>
                  <a:gd name="T8" fmla="*/ 26 w 277"/>
                  <a:gd name="T9" fmla="*/ 77 h 262"/>
                  <a:gd name="T10" fmla="*/ 14 w 277"/>
                  <a:gd name="T11" fmla="*/ 100 h 262"/>
                  <a:gd name="T12" fmla="*/ 28 w 277"/>
                  <a:gd name="T13" fmla="*/ 121 h 262"/>
                  <a:gd name="T14" fmla="*/ 46 w 277"/>
                  <a:gd name="T15" fmla="*/ 139 h 262"/>
                  <a:gd name="T16" fmla="*/ 53 w 277"/>
                  <a:gd name="T17" fmla="*/ 173 h 262"/>
                  <a:gd name="T18" fmla="*/ 85 w 277"/>
                  <a:gd name="T19" fmla="*/ 182 h 262"/>
                  <a:gd name="T20" fmla="*/ 94 w 277"/>
                  <a:gd name="T21" fmla="*/ 208 h 262"/>
                  <a:gd name="T22" fmla="*/ 115 w 277"/>
                  <a:gd name="T23" fmla="*/ 218 h 262"/>
                  <a:gd name="T24" fmla="*/ 119 w 277"/>
                  <a:gd name="T25" fmla="*/ 220 h 262"/>
                  <a:gd name="T26" fmla="*/ 130 w 277"/>
                  <a:gd name="T27" fmla="*/ 221 h 262"/>
                  <a:gd name="T28" fmla="*/ 145 w 277"/>
                  <a:gd name="T29" fmla="*/ 233 h 262"/>
                  <a:gd name="T30" fmla="*/ 173 w 277"/>
                  <a:gd name="T31" fmla="*/ 215 h 262"/>
                  <a:gd name="T32" fmla="*/ 193 w 277"/>
                  <a:gd name="T33" fmla="*/ 221 h 262"/>
                  <a:gd name="T34" fmla="*/ 202 w 277"/>
                  <a:gd name="T35" fmla="*/ 251 h 262"/>
                  <a:gd name="T36" fmla="*/ 236 w 277"/>
                  <a:gd name="T37" fmla="*/ 257 h 262"/>
                  <a:gd name="T38" fmla="*/ 256 w 277"/>
                  <a:gd name="T39" fmla="*/ 241 h 262"/>
                  <a:gd name="T40" fmla="*/ 268 w 277"/>
                  <a:gd name="T41" fmla="*/ 233 h 262"/>
                  <a:gd name="T42" fmla="*/ 277 w 277"/>
                  <a:gd name="T43" fmla="*/ 230 h 262"/>
                  <a:gd name="T44" fmla="*/ 269 w 277"/>
                  <a:gd name="T45" fmla="*/ 208 h 262"/>
                  <a:gd name="T46" fmla="*/ 253 w 277"/>
                  <a:gd name="T47" fmla="*/ 199 h 262"/>
                  <a:gd name="T48" fmla="*/ 248 w 277"/>
                  <a:gd name="T49" fmla="*/ 176 h 262"/>
                  <a:gd name="T50" fmla="*/ 251 w 277"/>
                  <a:gd name="T51" fmla="*/ 164 h 262"/>
                  <a:gd name="T52" fmla="*/ 243 w 277"/>
                  <a:gd name="T53" fmla="*/ 146 h 262"/>
                  <a:gd name="T54" fmla="*/ 239 w 277"/>
                  <a:gd name="T55" fmla="*/ 127 h 262"/>
                  <a:gd name="T56" fmla="*/ 247 w 277"/>
                  <a:gd name="T57" fmla="*/ 80 h 262"/>
                  <a:gd name="T58" fmla="*/ 227 w 277"/>
                  <a:gd name="T59" fmla="*/ 61 h 262"/>
                  <a:gd name="T60" fmla="*/ 209 w 277"/>
                  <a:gd name="T61" fmla="*/ 49 h 262"/>
                  <a:gd name="T62" fmla="*/ 185 w 277"/>
                  <a:gd name="T63" fmla="*/ 40 h 262"/>
                  <a:gd name="T64" fmla="*/ 165 w 277"/>
                  <a:gd name="T65" fmla="*/ 38 h 262"/>
                  <a:gd name="T66" fmla="*/ 146 w 277"/>
                  <a:gd name="T67" fmla="*/ 44 h 262"/>
                  <a:gd name="T68" fmla="*/ 128 w 277"/>
                  <a:gd name="T69" fmla="*/ 52 h 262"/>
                  <a:gd name="T70" fmla="*/ 97 w 277"/>
                  <a:gd name="T71" fmla="*/ 61 h 262"/>
                  <a:gd name="T72" fmla="*/ 73 w 277"/>
                  <a:gd name="T73" fmla="*/ 41 h 262"/>
                  <a:gd name="T74" fmla="*/ 53 w 277"/>
                  <a:gd name="T75" fmla="*/ 19 h 262"/>
                  <a:gd name="T76" fmla="*/ 43 w 277"/>
                  <a:gd name="T77" fmla="*/ 8 h 262"/>
                  <a:gd name="T78" fmla="*/ 31 w 277"/>
                  <a:gd name="T79" fmla="*/ 10 h 262"/>
                  <a:gd name="T80" fmla="*/ 17 w 277"/>
                  <a:gd name="T81" fmla="*/ 8 h 262"/>
                  <a:gd name="T82" fmla="*/ 5 w 277"/>
                  <a:gd name="T83" fmla="*/ 5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7" h="262">
                    <a:moveTo>
                      <a:pt x="5" y="5"/>
                    </a:moveTo>
                    <a:cubicBezTo>
                      <a:pt x="0" y="9"/>
                      <a:pt x="1" y="28"/>
                      <a:pt x="1" y="37"/>
                    </a:cubicBezTo>
                    <a:cubicBezTo>
                      <a:pt x="1" y="45"/>
                      <a:pt x="0" y="48"/>
                      <a:pt x="2" y="53"/>
                    </a:cubicBezTo>
                    <a:cubicBezTo>
                      <a:pt x="4" y="58"/>
                      <a:pt x="11" y="63"/>
                      <a:pt x="15" y="67"/>
                    </a:cubicBezTo>
                    <a:cubicBezTo>
                      <a:pt x="19" y="71"/>
                      <a:pt x="26" y="72"/>
                      <a:pt x="26" y="77"/>
                    </a:cubicBezTo>
                    <a:cubicBezTo>
                      <a:pt x="18" y="85"/>
                      <a:pt x="25" y="96"/>
                      <a:pt x="14" y="100"/>
                    </a:cubicBezTo>
                    <a:cubicBezTo>
                      <a:pt x="12" y="110"/>
                      <a:pt x="19" y="117"/>
                      <a:pt x="28" y="121"/>
                    </a:cubicBezTo>
                    <a:cubicBezTo>
                      <a:pt x="34" y="129"/>
                      <a:pt x="37" y="135"/>
                      <a:pt x="46" y="139"/>
                    </a:cubicBezTo>
                    <a:cubicBezTo>
                      <a:pt x="54" y="149"/>
                      <a:pt x="45" y="163"/>
                      <a:pt x="53" y="173"/>
                    </a:cubicBezTo>
                    <a:cubicBezTo>
                      <a:pt x="67" y="170"/>
                      <a:pt x="78" y="169"/>
                      <a:pt x="85" y="182"/>
                    </a:cubicBezTo>
                    <a:cubicBezTo>
                      <a:pt x="87" y="192"/>
                      <a:pt x="90" y="199"/>
                      <a:pt x="94" y="208"/>
                    </a:cubicBezTo>
                    <a:cubicBezTo>
                      <a:pt x="96" y="221"/>
                      <a:pt x="104" y="216"/>
                      <a:pt x="115" y="218"/>
                    </a:cubicBezTo>
                    <a:cubicBezTo>
                      <a:pt x="116" y="219"/>
                      <a:pt x="118" y="220"/>
                      <a:pt x="119" y="220"/>
                    </a:cubicBezTo>
                    <a:cubicBezTo>
                      <a:pt x="123" y="221"/>
                      <a:pt x="127" y="220"/>
                      <a:pt x="130" y="221"/>
                    </a:cubicBezTo>
                    <a:cubicBezTo>
                      <a:pt x="136" y="224"/>
                      <a:pt x="134" y="231"/>
                      <a:pt x="145" y="233"/>
                    </a:cubicBezTo>
                    <a:cubicBezTo>
                      <a:pt x="153" y="237"/>
                      <a:pt x="166" y="220"/>
                      <a:pt x="173" y="215"/>
                    </a:cubicBezTo>
                    <a:cubicBezTo>
                      <a:pt x="178" y="216"/>
                      <a:pt x="189" y="218"/>
                      <a:pt x="193" y="221"/>
                    </a:cubicBezTo>
                    <a:cubicBezTo>
                      <a:pt x="198" y="224"/>
                      <a:pt x="190" y="249"/>
                      <a:pt x="202" y="251"/>
                    </a:cubicBezTo>
                    <a:cubicBezTo>
                      <a:pt x="224" y="262"/>
                      <a:pt x="198" y="256"/>
                      <a:pt x="236" y="257"/>
                    </a:cubicBezTo>
                    <a:cubicBezTo>
                      <a:pt x="274" y="255"/>
                      <a:pt x="241" y="262"/>
                      <a:pt x="256" y="241"/>
                    </a:cubicBezTo>
                    <a:cubicBezTo>
                      <a:pt x="262" y="241"/>
                      <a:pt x="266" y="233"/>
                      <a:pt x="268" y="233"/>
                    </a:cubicBezTo>
                    <a:cubicBezTo>
                      <a:pt x="271" y="230"/>
                      <a:pt x="277" y="234"/>
                      <a:pt x="277" y="230"/>
                    </a:cubicBezTo>
                    <a:cubicBezTo>
                      <a:pt x="277" y="226"/>
                      <a:pt x="273" y="213"/>
                      <a:pt x="269" y="208"/>
                    </a:cubicBezTo>
                    <a:cubicBezTo>
                      <a:pt x="268" y="201"/>
                      <a:pt x="258" y="204"/>
                      <a:pt x="253" y="199"/>
                    </a:cubicBezTo>
                    <a:cubicBezTo>
                      <a:pt x="248" y="186"/>
                      <a:pt x="247" y="198"/>
                      <a:pt x="248" y="176"/>
                    </a:cubicBezTo>
                    <a:cubicBezTo>
                      <a:pt x="247" y="170"/>
                      <a:pt x="252" y="168"/>
                      <a:pt x="251" y="164"/>
                    </a:cubicBezTo>
                    <a:cubicBezTo>
                      <a:pt x="250" y="159"/>
                      <a:pt x="245" y="152"/>
                      <a:pt x="243" y="146"/>
                    </a:cubicBezTo>
                    <a:cubicBezTo>
                      <a:pt x="237" y="138"/>
                      <a:pt x="238" y="136"/>
                      <a:pt x="239" y="127"/>
                    </a:cubicBezTo>
                    <a:cubicBezTo>
                      <a:pt x="239" y="117"/>
                      <a:pt x="249" y="91"/>
                      <a:pt x="247" y="80"/>
                    </a:cubicBezTo>
                    <a:cubicBezTo>
                      <a:pt x="245" y="69"/>
                      <a:pt x="233" y="66"/>
                      <a:pt x="227" y="61"/>
                    </a:cubicBezTo>
                    <a:cubicBezTo>
                      <a:pt x="223" y="54"/>
                      <a:pt x="218" y="50"/>
                      <a:pt x="209" y="49"/>
                    </a:cubicBezTo>
                    <a:cubicBezTo>
                      <a:pt x="202" y="46"/>
                      <a:pt x="192" y="41"/>
                      <a:pt x="185" y="40"/>
                    </a:cubicBezTo>
                    <a:cubicBezTo>
                      <a:pt x="177" y="38"/>
                      <a:pt x="171" y="37"/>
                      <a:pt x="165" y="38"/>
                    </a:cubicBezTo>
                    <a:cubicBezTo>
                      <a:pt x="159" y="39"/>
                      <a:pt x="152" y="42"/>
                      <a:pt x="146" y="44"/>
                    </a:cubicBezTo>
                    <a:cubicBezTo>
                      <a:pt x="141" y="48"/>
                      <a:pt x="135" y="51"/>
                      <a:pt x="128" y="52"/>
                    </a:cubicBezTo>
                    <a:cubicBezTo>
                      <a:pt x="120" y="53"/>
                      <a:pt x="106" y="63"/>
                      <a:pt x="97" y="61"/>
                    </a:cubicBezTo>
                    <a:cubicBezTo>
                      <a:pt x="88" y="59"/>
                      <a:pt x="80" y="48"/>
                      <a:pt x="73" y="41"/>
                    </a:cubicBezTo>
                    <a:cubicBezTo>
                      <a:pt x="69" y="35"/>
                      <a:pt x="57" y="24"/>
                      <a:pt x="53" y="19"/>
                    </a:cubicBezTo>
                    <a:cubicBezTo>
                      <a:pt x="48" y="13"/>
                      <a:pt x="50" y="11"/>
                      <a:pt x="43" y="8"/>
                    </a:cubicBezTo>
                    <a:cubicBezTo>
                      <a:pt x="38" y="11"/>
                      <a:pt x="36" y="6"/>
                      <a:pt x="31" y="10"/>
                    </a:cubicBezTo>
                    <a:cubicBezTo>
                      <a:pt x="27" y="4"/>
                      <a:pt x="24" y="11"/>
                      <a:pt x="17" y="8"/>
                    </a:cubicBezTo>
                    <a:cubicBezTo>
                      <a:pt x="11" y="0"/>
                      <a:pt x="12" y="9"/>
                      <a:pt x="5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6" name="Freeform 88">
                <a:extLst>
                  <a:ext uri="{FF2B5EF4-FFF2-40B4-BE49-F238E27FC236}">
                    <a16:creationId xmlns:a16="http://schemas.microsoft.com/office/drawing/2014/main" id="{B58258AA-FB8C-481D-8B09-60A5F404CAA6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gray">
              <a:xfrm>
                <a:off x="5245101" y="3249613"/>
                <a:ext cx="241300" cy="228600"/>
              </a:xfrm>
              <a:custGeom>
                <a:avLst/>
                <a:gdLst>
                  <a:gd name="T0" fmla="*/ 92 w 149"/>
                  <a:gd name="T1" fmla="*/ 3 h 144"/>
                  <a:gd name="T2" fmla="*/ 76 w 149"/>
                  <a:gd name="T3" fmla="*/ 8 h 144"/>
                  <a:gd name="T4" fmla="*/ 49 w 149"/>
                  <a:gd name="T5" fmla="*/ 5 h 144"/>
                  <a:gd name="T6" fmla="*/ 41 w 149"/>
                  <a:gd name="T7" fmla="*/ 40 h 144"/>
                  <a:gd name="T8" fmla="*/ 32 w 149"/>
                  <a:gd name="T9" fmla="*/ 51 h 144"/>
                  <a:gd name="T10" fmla="*/ 22 w 149"/>
                  <a:gd name="T11" fmla="*/ 66 h 144"/>
                  <a:gd name="T12" fmla="*/ 7 w 149"/>
                  <a:gd name="T13" fmla="*/ 71 h 144"/>
                  <a:gd name="T14" fmla="*/ 20 w 149"/>
                  <a:gd name="T15" fmla="*/ 95 h 144"/>
                  <a:gd name="T16" fmla="*/ 34 w 149"/>
                  <a:gd name="T17" fmla="*/ 95 h 144"/>
                  <a:gd name="T18" fmla="*/ 49 w 149"/>
                  <a:gd name="T19" fmla="*/ 102 h 144"/>
                  <a:gd name="T20" fmla="*/ 58 w 149"/>
                  <a:gd name="T21" fmla="*/ 107 h 144"/>
                  <a:gd name="T22" fmla="*/ 71 w 149"/>
                  <a:gd name="T23" fmla="*/ 117 h 144"/>
                  <a:gd name="T24" fmla="*/ 83 w 149"/>
                  <a:gd name="T25" fmla="*/ 131 h 144"/>
                  <a:gd name="T26" fmla="*/ 97 w 149"/>
                  <a:gd name="T27" fmla="*/ 134 h 144"/>
                  <a:gd name="T28" fmla="*/ 110 w 149"/>
                  <a:gd name="T29" fmla="*/ 143 h 144"/>
                  <a:gd name="T30" fmla="*/ 128 w 149"/>
                  <a:gd name="T31" fmla="*/ 140 h 144"/>
                  <a:gd name="T32" fmla="*/ 146 w 149"/>
                  <a:gd name="T33" fmla="*/ 125 h 144"/>
                  <a:gd name="T34" fmla="*/ 147 w 149"/>
                  <a:gd name="T35" fmla="*/ 114 h 144"/>
                  <a:gd name="T36" fmla="*/ 145 w 149"/>
                  <a:gd name="T37" fmla="*/ 93 h 144"/>
                  <a:gd name="T38" fmla="*/ 122 w 149"/>
                  <a:gd name="T39" fmla="*/ 71 h 144"/>
                  <a:gd name="T40" fmla="*/ 110 w 149"/>
                  <a:gd name="T41" fmla="*/ 59 h 144"/>
                  <a:gd name="T42" fmla="*/ 119 w 149"/>
                  <a:gd name="T43" fmla="*/ 45 h 144"/>
                  <a:gd name="T44" fmla="*/ 119 w 149"/>
                  <a:gd name="T45" fmla="*/ 35 h 144"/>
                  <a:gd name="T46" fmla="*/ 121 w 149"/>
                  <a:gd name="T47" fmla="*/ 23 h 144"/>
                  <a:gd name="T48" fmla="*/ 113 w 149"/>
                  <a:gd name="T49" fmla="*/ 18 h 144"/>
                  <a:gd name="T50" fmla="*/ 103 w 149"/>
                  <a:gd name="T51" fmla="*/ 14 h 144"/>
                  <a:gd name="T52" fmla="*/ 95 w 149"/>
                  <a:gd name="T53" fmla="*/ 6 h 144"/>
                  <a:gd name="T54" fmla="*/ 92 w 149"/>
                  <a:gd name="T55" fmla="*/ 3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9" h="144">
                    <a:moveTo>
                      <a:pt x="92" y="3"/>
                    </a:moveTo>
                    <a:cubicBezTo>
                      <a:pt x="89" y="2"/>
                      <a:pt x="83" y="8"/>
                      <a:pt x="76" y="8"/>
                    </a:cubicBezTo>
                    <a:cubicBezTo>
                      <a:pt x="69" y="8"/>
                      <a:pt x="55" y="0"/>
                      <a:pt x="49" y="5"/>
                    </a:cubicBezTo>
                    <a:cubicBezTo>
                      <a:pt x="41" y="12"/>
                      <a:pt x="44" y="32"/>
                      <a:pt x="41" y="40"/>
                    </a:cubicBezTo>
                    <a:cubicBezTo>
                      <a:pt x="38" y="48"/>
                      <a:pt x="35" y="47"/>
                      <a:pt x="32" y="51"/>
                    </a:cubicBezTo>
                    <a:cubicBezTo>
                      <a:pt x="28" y="55"/>
                      <a:pt x="26" y="63"/>
                      <a:pt x="22" y="66"/>
                    </a:cubicBezTo>
                    <a:cubicBezTo>
                      <a:pt x="18" y="69"/>
                      <a:pt x="7" y="66"/>
                      <a:pt x="7" y="71"/>
                    </a:cubicBezTo>
                    <a:cubicBezTo>
                      <a:pt x="0" y="85"/>
                      <a:pt x="8" y="93"/>
                      <a:pt x="20" y="95"/>
                    </a:cubicBezTo>
                    <a:cubicBezTo>
                      <a:pt x="24" y="100"/>
                      <a:pt x="29" y="94"/>
                      <a:pt x="34" y="95"/>
                    </a:cubicBezTo>
                    <a:cubicBezTo>
                      <a:pt x="39" y="96"/>
                      <a:pt x="45" y="100"/>
                      <a:pt x="49" y="102"/>
                    </a:cubicBezTo>
                    <a:cubicBezTo>
                      <a:pt x="53" y="104"/>
                      <a:pt x="54" y="105"/>
                      <a:pt x="58" y="107"/>
                    </a:cubicBezTo>
                    <a:cubicBezTo>
                      <a:pt x="61" y="110"/>
                      <a:pt x="67" y="113"/>
                      <a:pt x="71" y="117"/>
                    </a:cubicBezTo>
                    <a:cubicBezTo>
                      <a:pt x="75" y="121"/>
                      <a:pt x="79" y="128"/>
                      <a:pt x="83" y="131"/>
                    </a:cubicBezTo>
                    <a:cubicBezTo>
                      <a:pt x="89" y="135"/>
                      <a:pt x="90" y="133"/>
                      <a:pt x="97" y="134"/>
                    </a:cubicBezTo>
                    <a:cubicBezTo>
                      <a:pt x="102" y="135"/>
                      <a:pt x="105" y="142"/>
                      <a:pt x="110" y="143"/>
                    </a:cubicBezTo>
                    <a:cubicBezTo>
                      <a:pt x="115" y="144"/>
                      <a:pt x="122" y="143"/>
                      <a:pt x="128" y="140"/>
                    </a:cubicBezTo>
                    <a:cubicBezTo>
                      <a:pt x="134" y="137"/>
                      <a:pt x="147" y="136"/>
                      <a:pt x="146" y="125"/>
                    </a:cubicBezTo>
                    <a:cubicBezTo>
                      <a:pt x="149" y="121"/>
                      <a:pt x="147" y="119"/>
                      <a:pt x="147" y="114"/>
                    </a:cubicBezTo>
                    <a:cubicBezTo>
                      <a:pt x="147" y="109"/>
                      <a:pt x="149" y="100"/>
                      <a:pt x="145" y="93"/>
                    </a:cubicBezTo>
                    <a:cubicBezTo>
                      <a:pt x="141" y="86"/>
                      <a:pt x="128" y="77"/>
                      <a:pt x="122" y="71"/>
                    </a:cubicBezTo>
                    <a:cubicBezTo>
                      <a:pt x="118" y="65"/>
                      <a:pt x="114" y="64"/>
                      <a:pt x="110" y="59"/>
                    </a:cubicBezTo>
                    <a:cubicBezTo>
                      <a:pt x="108" y="54"/>
                      <a:pt x="118" y="49"/>
                      <a:pt x="119" y="45"/>
                    </a:cubicBezTo>
                    <a:cubicBezTo>
                      <a:pt x="120" y="41"/>
                      <a:pt x="119" y="39"/>
                      <a:pt x="119" y="35"/>
                    </a:cubicBezTo>
                    <a:cubicBezTo>
                      <a:pt x="120" y="29"/>
                      <a:pt x="124" y="26"/>
                      <a:pt x="121" y="23"/>
                    </a:cubicBezTo>
                    <a:cubicBezTo>
                      <a:pt x="120" y="20"/>
                      <a:pt x="116" y="20"/>
                      <a:pt x="113" y="18"/>
                    </a:cubicBezTo>
                    <a:cubicBezTo>
                      <a:pt x="110" y="16"/>
                      <a:pt x="106" y="16"/>
                      <a:pt x="103" y="14"/>
                    </a:cubicBezTo>
                    <a:cubicBezTo>
                      <a:pt x="99" y="7"/>
                      <a:pt x="102" y="11"/>
                      <a:pt x="95" y="6"/>
                    </a:cubicBezTo>
                    <a:cubicBezTo>
                      <a:pt x="90" y="3"/>
                      <a:pt x="89" y="3"/>
                      <a:pt x="92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7" name="Freeform 89">
                <a:extLst>
                  <a:ext uri="{FF2B5EF4-FFF2-40B4-BE49-F238E27FC236}">
                    <a16:creationId xmlns:a16="http://schemas.microsoft.com/office/drawing/2014/main" id="{400E6D5D-B976-4317-998F-A7B6A440A563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gray">
              <a:xfrm>
                <a:off x="4602163" y="4108450"/>
                <a:ext cx="173038" cy="207963"/>
              </a:xfrm>
              <a:custGeom>
                <a:avLst/>
                <a:gdLst>
                  <a:gd name="T0" fmla="*/ 67 w 107"/>
                  <a:gd name="T1" fmla="*/ 14 h 131"/>
                  <a:gd name="T2" fmla="*/ 70 w 107"/>
                  <a:gd name="T3" fmla="*/ 16 h 131"/>
                  <a:gd name="T4" fmla="*/ 86 w 107"/>
                  <a:gd name="T5" fmla="*/ 1 h 131"/>
                  <a:gd name="T6" fmla="*/ 103 w 107"/>
                  <a:gd name="T7" fmla="*/ 2 h 131"/>
                  <a:gd name="T8" fmla="*/ 106 w 107"/>
                  <a:gd name="T9" fmla="*/ 29 h 131"/>
                  <a:gd name="T10" fmla="*/ 98 w 107"/>
                  <a:gd name="T11" fmla="*/ 43 h 131"/>
                  <a:gd name="T12" fmla="*/ 100 w 107"/>
                  <a:gd name="T13" fmla="*/ 64 h 131"/>
                  <a:gd name="T14" fmla="*/ 86 w 107"/>
                  <a:gd name="T15" fmla="*/ 73 h 131"/>
                  <a:gd name="T16" fmla="*/ 77 w 107"/>
                  <a:gd name="T17" fmla="*/ 86 h 131"/>
                  <a:gd name="T18" fmla="*/ 71 w 107"/>
                  <a:gd name="T19" fmla="*/ 101 h 131"/>
                  <a:gd name="T20" fmla="*/ 65 w 107"/>
                  <a:gd name="T21" fmla="*/ 113 h 131"/>
                  <a:gd name="T22" fmla="*/ 50 w 107"/>
                  <a:gd name="T23" fmla="*/ 119 h 131"/>
                  <a:gd name="T24" fmla="*/ 39 w 107"/>
                  <a:gd name="T25" fmla="*/ 119 h 131"/>
                  <a:gd name="T26" fmla="*/ 25 w 107"/>
                  <a:gd name="T27" fmla="*/ 121 h 131"/>
                  <a:gd name="T28" fmla="*/ 11 w 107"/>
                  <a:gd name="T29" fmla="*/ 130 h 131"/>
                  <a:gd name="T30" fmla="*/ 1 w 107"/>
                  <a:gd name="T31" fmla="*/ 115 h 131"/>
                  <a:gd name="T32" fmla="*/ 16 w 107"/>
                  <a:gd name="T33" fmla="*/ 103 h 131"/>
                  <a:gd name="T34" fmla="*/ 16 w 107"/>
                  <a:gd name="T35" fmla="*/ 88 h 131"/>
                  <a:gd name="T36" fmla="*/ 26 w 107"/>
                  <a:gd name="T37" fmla="*/ 80 h 131"/>
                  <a:gd name="T38" fmla="*/ 49 w 107"/>
                  <a:gd name="T39" fmla="*/ 85 h 131"/>
                  <a:gd name="T40" fmla="*/ 53 w 107"/>
                  <a:gd name="T41" fmla="*/ 71 h 131"/>
                  <a:gd name="T42" fmla="*/ 46 w 107"/>
                  <a:gd name="T43" fmla="*/ 50 h 131"/>
                  <a:gd name="T44" fmla="*/ 47 w 107"/>
                  <a:gd name="T45" fmla="*/ 37 h 131"/>
                  <a:gd name="T46" fmla="*/ 35 w 107"/>
                  <a:gd name="T47" fmla="*/ 37 h 131"/>
                  <a:gd name="T48" fmla="*/ 28 w 107"/>
                  <a:gd name="T49" fmla="*/ 20 h 131"/>
                  <a:gd name="T50" fmla="*/ 58 w 107"/>
                  <a:gd name="T51" fmla="*/ 22 h 131"/>
                  <a:gd name="T52" fmla="*/ 73 w 107"/>
                  <a:gd name="T53" fmla="*/ 1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7" h="131">
                    <a:moveTo>
                      <a:pt x="67" y="14"/>
                    </a:moveTo>
                    <a:cubicBezTo>
                      <a:pt x="76" y="18"/>
                      <a:pt x="67" y="23"/>
                      <a:pt x="70" y="16"/>
                    </a:cubicBezTo>
                    <a:cubicBezTo>
                      <a:pt x="67" y="7"/>
                      <a:pt x="76" y="2"/>
                      <a:pt x="86" y="1"/>
                    </a:cubicBezTo>
                    <a:cubicBezTo>
                      <a:pt x="92" y="1"/>
                      <a:pt x="98" y="0"/>
                      <a:pt x="103" y="2"/>
                    </a:cubicBezTo>
                    <a:cubicBezTo>
                      <a:pt x="106" y="6"/>
                      <a:pt x="107" y="22"/>
                      <a:pt x="106" y="29"/>
                    </a:cubicBezTo>
                    <a:cubicBezTo>
                      <a:pt x="105" y="36"/>
                      <a:pt x="99" y="37"/>
                      <a:pt x="98" y="43"/>
                    </a:cubicBezTo>
                    <a:cubicBezTo>
                      <a:pt x="97" y="53"/>
                      <a:pt x="102" y="59"/>
                      <a:pt x="100" y="64"/>
                    </a:cubicBezTo>
                    <a:cubicBezTo>
                      <a:pt x="98" y="69"/>
                      <a:pt x="90" y="69"/>
                      <a:pt x="86" y="73"/>
                    </a:cubicBezTo>
                    <a:cubicBezTo>
                      <a:pt x="85" y="81"/>
                      <a:pt x="81" y="80"/>
                      <a:pt x="77" y="86"/>
                    </a:cubicBezTo>
                    <a:cubicBezTo>
                      <a:pt x="75" y="92"/>
                      <a:pt x="73" y="97"/>
                      <a:pt x="71" y="101"/>
                    </a:cubicBezTo>
                    <a:cubicBezTo>
                      <a:pt x="69" y="105"/>
                      <a:pt x="68" y="110"/>
                      <a:pt x="65" y="113"/>
                    </a:cubicBezTo>
                    <a:cubicBezTo>
                      <a:pt x="60" y="117"/>
                      <a:pt x="56" y="118"/>
                      <a:pt x="50" y="119"/>
                    </a:cubicBezTo>
                    <a:cubicBezTo>
                      <a:pt x="46" y="120"/>
                      <a:pt x="43" y="119"/>
                      <a:pt x="39" y="119"/>
                    </a:cubicBezTo>
                    <a:cubicBezTo>
                      <a:pt x="35" y="119"/>
                      <a:pt x="30" y="119"/>
                      <a:pt x="25" y="121"/>
                    </a:cubicBezTo>
                    <a:cubicBezTo>
                      <a:pt x="19" y="121"/>
                      <a:pt x="15" y="131"/>
                      <a:pt x="11" y="130"/>
                    </a:cubicBezTo>
                    <a:cubicBezTo>
                      <a:pt x="7" y="129"/>
                      <a:pt x="0" y="119"/>
                      <a:pt x="1" y="115"/>
                    </a:cubicBezTo>
                    <a:cubicBezTo>
                      <a:pt x="0" y="109"/>
                      <a:pt x="14" y="107"/>
                      <a:pt x="16" y="103"/>
                    </a:cubicBezTo>
                    <a:cubicBezTo>
                      <a:pt x="18" y="99"/>
                      <a:pt x="14" y="92"/>
                      <a:pt x="16" y="88"/>
                    </a:cubicBezTo>
                    <a:cubicBezTo>
                      <a:pt x="18" y="84"/>
                      <a:pt x="21" y="80"/>
                      <a:pt x="26" y="80"/>
                    </a:cubicBezTo>
                    <a:cubicBezTo>
                      <a:pt x="31" y="80"/>
                      <a:pt x="45" y="86"/>
                      <a:pt x="49" y="85"/>
                    </a:cubicBezTo>
                    <a:cubicBezTo>
                      <a:pt x="53" y="84"/>
                      <a:pt x="53" y="77"/>
                      <a:pt x="53" y="71"/>
                    </a:cubicBezTo>
                    <a:cubicBezTo>
                      <a:pt x="53" y="65"/>
                      <a:pt x="47" y="56"/>
                      <a:pt x="46" y="50"/>
                    </a:cubicBezTo>
                    <a:cubicBezTo>
                      <a:pt x="45" y="44"/>
                      <a:pt x="49" y="39"/>
                      <a:pt x="47" y="37"/>
                    </a:cubicBezTo>
                    <a:cubicBezTo>
                      <a:pt x="45" y="35"/>
                      <a:pt x="38" y="40"/>
                      <a:pt x="35" y="37"/>
                    </a:cubicBezTo>
                    <a:cubicBezTo>
                      <a:pt x="32" y="34"/>
                      <a:pt x="24" y="22"/>
                      <a:pt x="28" y="20"/>
                    </a:cubicBezTo>
                    <a:cubicBezTo>
                      <a:pt x="32" y="18"/>
                      <a:pt x="51" y="23"/>
                      <a:pt x="58" y="22"/>
                    </a:cubicBezTo>
                    <a:cubicBezTo>
                      <a:pt x="65" y="21"/>
                      <a:pt x="70" y="13"/>
                      <a:pt x="73" y="11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8" name="Freeform 90">
                <a:extLst>
                  <a:ext uri="{FF2B5EF4-FFF2-40B4-BE49-F238E27FC236}">
                    <a16:creationId xmlns:a16="http://schemas.microsoft.com/office/drawing/2014/main" id="{1C19D4A5-FE63-4F69-98E5-D91C2FD850DD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gray">
              <a:xfrm>
                <a:off x="4552951" y="4140200"/>
                <a:ext cx="134938" cy="152400"/>
              </a:xfrm>
              <a:custGeom>
                <a:avLst/>
                <a:gdLst>
                  <a:gd name="T0" fmla="*/ 4 w 83"/>
                  <a:gd name="T1" fmla="*/ 24 h 96"/>
                  <a:gd name="T2" fmla="*/ 32 w 83"/>
                  <a:gd name="T3" fmla="*/ 17 h 96"/>
                  <a:gd name="T4" fmla="*/ 37 w 83"/>
                  <a:gd name="T5" fmla="*/ 0 h 96"/>
                  <a:gd name="T6" fmla="*/ 55 w 83"/>
                  <a:gd name="T7" fmla="*/ 2 h 96"/>
                  <a:gd name="T8" fmla="*/ 65 w 83"/>
                  <a:gd name="T9" fmla="*/ 17 h 96"/>
                  <a:gd name="T10" fmla="*/ 80 w 83"/>
                  <a:gd name="T11" fmla="*/ 21 h 96"/>
                  <a:gd name="T12" fmla="*/ 79 w 83"/>
                  <a:gd name="T13" fmla="*/ 26 h 96"/>
                  <a:gd name="T14" fmla="*/ 77 w 83"/>
                  <a:gd name="T15" fmla="*/ 32 h 96"/>
                  <a:gd name="T16" fmla="*/ 77 w 83"/>
                  <a:gd name="T17" fmla="*/ 41 h 96"/>
                  <a:gd name="T18" fmla="*/ 81 w 83"/>
                  <a:gd name="T19" fmla="*/ 49 h 96"/>
                  <a:gd name="T20" fmla="*/ 79 w 83"/>
                  <a:gd name="T21" fmla="*/ 65 h 96"/>
                  <a:gd name="T22" fmla="*/ 56 w 83"/>
                  <a:gd name="T23" fmla="*/ 59 h 96"/>
                  <a:gd name="T24" fmla="*/ 49 w 83"/>
                  <a:gd name="T25" fmla="*/ 69 h 96"/>
                  <a:gd name="T26" fmla="*/ 29 w 83"/>
                  <a:gd name="T27" fmla="*/ 96 h 96"/>
                  <a:gd name="T28" fmla="*/ 8 w 83"/>
                  <a:gd name="T29" fmla="*/ 77 h 96"/>
                  <a:gd name="T30" fmla="*/ 4 w 83"/>
                  <a:gd name="T31" fmla="*/ 2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3" h="96">
                    <a:moveTo>
                      <a:pt x="4" y="24"/>
                    </a:moveTo>
                    <a:cubicBezTo>
                      <a:pt x="13" y="24"/>
                      <a:pt x="24" y="22"/>
                      <a:pt x="32" y="17"/>
                    </a:cubicBezTo>
                    <a:cubicBezTo>
                      <a:pt x="37" y="14"/>
                      <a:pt x="37" y="0"/>
                      <a:pt x="37" y="0"/>
                    </a:cubicBezTo>
                    <a:cubicBezTo>
                      <a:pt x="44" y="1"/>
                      <a:pt x="49" y="0"/>
                      <a:pt x="55" y="2"/>
                    </a:cubicBezTo>
                    <a:cubicBezTo>
                      <a:pt x="60" y="3"/>
                      <a:pt x="59" y="14"/>
                      <a:pt x="65" y="17"/>
                    </a:cubicBezTo>
                    <a:cubicBezTo>
                      <a:pt x="72" y="14"/>
                      <a:pt x="76" y="15"/>
                      <a:pt x="80" y="21"/>
                    </a:cubicBezTo>
                    <a:cubicBezTo>
                      <a:pt x="80" y="23"/>
                      <a:pt x="80" y="25"/>
                      <a:pt x="79" y="26"/>
                    </a:cubicBezTo>
                    <a:cubicBezTo>
                      <a:pt x="77" y="27"/>
                      <a:pt x="78" y="30"/>
                      <a:pt x="77" y="32"/>
                    </a:cubicBezTo>
                    <a:cubicBezTo>
                      <a:pt x="77" y="34"/>
                      <a:pt x="78" y="35"/>
                      <a:pt x="77" y="41"/>
                    </a:cubicBezTo>
                    <a:cubicBezTo>
                      <a:pt x="78" y="44"/>
                      <a:pt x="81" y="45"/>
                      <a:pt x="81" y="49"/>
                    </a:cubicBezTo>
                    <a:cubicBezTo>
                      <a:pt x="81" y="53"/>
                      <a:pt x="83" y="63"/>
                      <a:pt x="79" y="65"/>
                    </a:cubicBezTo>
                    <a:cubicBezTo>
                      <a:pt x="69" y="64"/>
                      <a:pt x="62" y="67"/>
                      <a:pt x="56" y="59"/>
                    </a:cubicBezTo>
                    <a:cubicBezTo>
                      <a:pt x="46" y="60"/>
                      <a:pt x="55" y="61"/>
                      <a:pt x="49" y="69"/>
                    </a:cubicBezTo>
                    <a:cubicBezTo>
                      <a:pt x="51" y="79"/>
                      <a:pt x="38" y="89"/>
                      <a:pt x="29" y="96"/>
                    </a:cubicBezTo>
                    <a:cubicBezTo>
                      <a:pt x="20" y="93"/>
                      <a:pt x="16" y="83"/>
                      <a:pt x="8" y="77"/>
                    </a:cubicBezTo>
                    <a:cubicBezTo>
                      <a:pt x="4" y="65"/>
                      <a:pt x="0" y="34"/>
                      <a:pt x="4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9" name="Freeform 91">
                <a:extLst>
                  <a:ext uri="{FF2B5EF4-FFF2-40B4-BE49-F238E27FC236}">
                    <a16:creationId xmlns:a16="http://schemas.microsoft.com/office/drawing/2014/main" id="{C0BEF9C7-EBFD-4C3C-8564-BEBB6D811B5B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5065713" y="4440238"/>
                <a:ext cx="258763" cy="396875"/>
              </a:xfrm>
              <a:custGeom>
                <a:avLst/>
                <a:gdLst>
                  <a:gd name="T0" fmla="*/ 38 w 161"/>
                  <a:gd name="T1" fmla="*/ 237 h 250"/>
                  <a:gd name="T2" fmla="*/ 63 w 161"/>
                  <a:gd name="T3" fmla="*/ 221 h 250"/>
                  <a:gd name="T4" fmla="*/ 77 w 161"/>
                  <a:gd name="T5" fmla="*/ 204 h 250"/>
                  <a:gd name="T6" fmla="*/ 75 w 161"/>
                  <a:gd name="T7" fmla="*/ 173 h 250"/>
                  <a:gd name="T8" fmla="*/ 65 w 161"/>
                  <a:gd name="T9" fmla="*/ 150 h 250"/>
                  <a:gd name="T10" fmla="*/ 77 w 161"/>
                  <a:gd name="T11" fmla="*/ 134 h 250"/>
                  <a:gd name="T12" fmla="*/ 87 w 161"/>
                  <a:gd name="T13" fmla="*/ 123 h 250"/>
                  <a:gd name="T14" fmla="*/ 96 w 161"/>
                  <a:gd name="T15" fmla="*/ 116 h 250"/>
                  <a:gd name="T16" fmla="*/ 134 w 161"/>
                  <a:gd name="T17" fmla="*/ 102 h 250"/>
                  <a:gd name="T18" fmla="*/ 149 w 161"/>
                  <a:gd name="T19" fmla="*/ 71 h 250"/>
                  <a:gd name="T20" fmla="*/ 140 w 161"/>
                  <a:gd name="T21" fmla="*/ 0 h 250"/>
                  <a:gd name="T22" fmla="*/ 120 w 161"/>
                  <a:gd name="T23" fmla="*/ 15 h 250"/>
                  <a:gd name="T24" fmla="*/ 99 w 161"/>
                  <a:gd name="T25" fmla="*/ 23 h 250"/>
                  <a:gd name="T26" fmla="*/ 65 w 161"/>
                  <a:gd name="T27" fmla="*/ 24 h 250"/>
                  <a:gd name="T28" fmla="*/ 68 w 161"/>
                  <a:gd name="T29" fmla="*/ 47 h 250"/>
                  <a:gd name="T30" fmla="*/ 74 w 161"/>
                  <a:gd name="T31" fmla="*/ 62 h 250"/>
                  <a:gd name="T32" fmla="*/ 71 w 161"/>
                  <a:gd name="T33" fmla="*/ 99 h 250"/>
                  <a:gd name="T34" fmla="*/ 57 w 161"/>
                  <a:gd name="T35" fmla="*/ 86 h 250"/>
                  <a:gd name="T36" fmla="*/ 45 w 161"/>
                  <a:gd name="T37" fmla="*/ 63 h 250"/>
                  <a:gd name="T38" fmla="*/ 32 w 161"/>
                  <a:gd name="T39" fmla="*/ 54 h 250"/>
                  <a:gd name="T40" fmla="*/ 18 w 161"/>
                  <a:gd name="T41" fmla="*/ 63 h 250"/>
                  <a:gd name="T42" fmla="*/ 5 w 161"/>
                  <a:gd name="T43" fmla="*/ 72 h 250"/>
                  <a:gd name="T44" fmla="*/ 8 w 161"/>
                  <a:gd name="T45" fmla="*/ 84 h 250"/>
                  <a:gd name="T46" fmla="*/ 17 w 161"/>
                  <a:gd name="T47" fmla="*/ 87 h 250"/>
                  <a:gd name="T48" fmla="*/ 35 w 161"/>
                  <a:gd name="T49" fmla="*/ 99 h 250"/>
                  <a:gd name="T50" fmla="*/ 35 w 161"/>
                  <a:gd name="T51" fmla="*/ 138 h 250"/>
                  <a:gd name="T52" fmla="*/ 30 w 161"/>
                  <a:gd name="T53" fmla="*/ 158 h 250"/>
                  <a:gd name="T54" fmla="*/ 27 w 161"/>
                  <a:gd name="T55" fmla="*/ 174 h 250"/>
                  <a:gd name="T56" fmla="*/ 6 w 161"/>
                  <a:gd name="T57" fmla="*/ 189 h 250"/>
                  <a:gd name="T58" fmla="*/ 17 w 161"/>
                  <a:gd name="T59" fmla="*/ 206 h 250"/>
                  <a:gd name="T60" fmla="*/ 24 w 161"/>
                  <a:gd name="T61" fmla="*/ 230 h 250"/>
                  <a:gd name="T62" fmla="*/ 29 w 161"/>
                  <a:gd name="T63" fmla="*/ 249 h 250"/>
                  <a:gd name="T64" fmla="*/ 38 w 161"/>
                  <a:gd name="T65" fmla="*/ 237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1" h="250">
                    <a:moveTo>
                      <a:pt x="38" y="237"/>
                    </a:moveTo>
                    <a:cubicBezTo>
                      <a:pt x="40" y="223"/>
                      <a:pt x="51" y="222"/>
                      <a:pt x="63" y="221"/>
                    </a:cubicBezTo>
                    <a:cubicBezTo>
                      <a:pt x="70" y="218"/>
                      <a:pt x="73" y="211"/>
                      <a:pt x="77" y="204"/>
                    </a:cubicBezTo>
                    <a:cubicBezTo>
                      <a:pt x="79" y="194"/>
                      <a:pt x="80" y="183"/>
                      <a:pt x="75" y="173"/>
                    </a:cubicBezTo>
                    <a:cubicBezTo>
                      <a:pt x="73" y="164"/>
                      <a:pt x="70" y="158"/>
                      <a:pt x="65" y="150"/>
                    </a:cubicBezTo>
                    <a:cubicBezTo>
                      <a:pt x="66" y="135"/>
                      <a:pt x="65" y="136"/>
                      <a:pt x="77" y="134"/>
                    </a:cubicBezTo>
                    <a:cubicBezTo>
                      <a:pt x="87" y="129"/>
                      <a:pt x="82" y="129"/>
                      <a:pt x="87" y="123"/>
                    </a:cubicBezTo>
                    <a:cubicBezTo>
                      <a:pt x="89" y="120"/>
                      <a:pt x="96" y="116"/>
                      <a:pt x="96" y="116"/>
                    </a:cubicBezTo>
                    <a:cubicBezTo>
                      <a:pt x="104" y="102"/>
                      <a:pt x="119" y="104"/>
                      <a:pt x="134" y="102"/>
                    </a:cubicBezTo>
                    <a:cubicBezTo>
                      <a:pt x="135" y="89"/>
                      <a:pt x="143" y="82"/>
                      <a:pt x="149" y="71"/>
                    </a:cubicBezTo>
                    <a:cubicBezTo>
                      <a:pt x="148" y="50"/>
                      <a:pt x="161" y="15"/>
                      <a:pt x="140" y="0"/>
                    </a:cubicBezTo>
                    <a:cubicBezTo>
                      <a:pt x="134" y="7"/>
                      <a:pt x="129" y="14"/>
                      <a:pt x="120" y="15"/>
                    </a:cubicBezTo>
                    <a:cubicBezTo>
                      <a:pt x="107" y="13"/>
                      <a:pt x="109" y="22"/>
                      <a:pt x="99" y="23"/>
                    </a:cubicBezTo>
                    <a:cubicBezTo>
                      <a:pt x="88" y="24"/>
                      <a:pt x="76" y="24"/>
                      <a:pt x="65" y="24"/>
                    </a:cubicBezTo>
                    <a:cubicBezTo>
                      <a:pt x="62" y="33"/>
                      <a:pt x="59" y="42"/>
                      <a:pt x="68" y="47"/>
                    </a:cubicBezTo>
                    <a:cubicBezTo>
                      <a:pt x="72" y="52"/>
                      <a:pt x="72" y="56"/>
                      <a:pt x="74" y="62"/>
                    </a:cubicBezTo>
                    <a:cubicBezTo>
                      <a:pt x="76" y="74"/>
                      <a:pt x="83" y="90"/>
                      <a:pt x="71" y="99"/>
                    </a:cubicBezTo>
                    <a:cubicBezTo>
                      <a:pt x="60" y="97"/>
                      <a:pt x="61" y="94"/>
                      <a:pt x="57" y="86"/>
                    </a:cubicBezTo>
                    <a:cubicBezTo>
                      <a:pt x="56" y="62"/>
                      <a:pt x="60" y="68"/>
                      <a:pt x="45" y="63"/>
                    </a:cubicBezTo>
                    <a:cubicBezTo>
                      <a:pt x="41" y="58"/>
                      <a:pt x="38" y="56"/>
                      <a:pt x="32" y="54"/>
                    </a:cubicBezTo>
                    <a:cubicBezTo>
                      <a:pt x="28" y="61"/>
                      <a:pt x="26" y="62"/>
                      <a:pt x="18" y="63"/>
                    </a:cubicBezTo>
                    <a:cubicBezTo>
                      <a:pt x="14" y="70"/>
                      <a:pt x="11" y="68"/>
                      <a:pt x="5" y="72"/>
                    </a:cubicBezTo>
                    <a:cubicBezTo>
                      <a:pt x="1" y="78"/>
                      <a:pt x="0" y="82"/>
                      <a:pt x="8" y="84"/>
                    </a:cubicBezTo>
                    <a:cubicBezTo>
                      <a:pt x="11" y="85"/>
                      <a:pt x="14" y="85"/>
                      <a:pt x="17" y="87"/>
                    </a:cubicBezTo>
                    <a:cubicBezTo>
                      <a:pt x="24" y="92"/>
                      <a:pt x="25" y="97"/>
                      <a:pt x="35" y="99"/>
                    </a:cubicBezTo>
                    <a:cubicBezTo>
                      <a:pt x="38" y="107"/>
                      <a:pt x="36" y="128"/>
                      <a:pt x="35" y="138"/>
                    </a:cubicBezTo>
                    <a:cubicBezTo>
                      <a:pt x="34" y="148"/>
                      <a:pt x="31" y="152"/>
                      <a:pt x="30" y="158"/>
                    </a:cubicBezTo>
                    <a:cubicBezTo>
                      <a:pt x="29" y="165"/>
                      <a:pt x="33" y="170"/>
                      <a:pt x="27" y="174"/>
                    </a:cubicBezTo>
                    <a:cubicBezTo>
                      <a:pt x="24" y="182"/>
                      <a:pt x="13" y="185"/>
                      <a:pt x="6" y="189"/>
                    </a:cubicBezTo>
                    <a:cubicBezTo>
                      <a:pt x="8" y="194"/>
                      <a:pt x="15" y="201"/>
                      <a:pt x="17" y="206"/>
                    </a:cubicBezTo>
                    <a:cubicBezTo>
                      <a:pt x="18" y="222"/>
                      <a:pt x="16" y="220"/>
                      <a:pt x="24" y="230"/>
                    </a:cubicBezTo>
                    <a:cubicBezTo>
                      <a:pt x="26" y="243"/>
                      <a:pt x="18" y="247"/>
                      <a:pt x="29" y="249"/>
                    </a:cubicBezTo>
                    <a:cubicBezTo>
                      <a:pt x="31" y="250"/>
                      <a:pt x="32" y="242"/>
                      <a:pt x="38" y="2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0" name="Freeform 92">
                <a:extLst>
                  <a:ext uri="{FF2B5EF4-FFF2-40B4-BE49-F238E27FC236}">
                    <a16:creationId xmlns:a16="http://schemas.microsoft.com/office/drawing/2014/main" id="{FEEC7013-EE85-4D43-B98C-61C4D4C84350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gray">
              <a:xfrm>
                <a:off x="5024438" y="4252913"/>
                <a:ext cx="47625" cy="49213"/>
              </a:xfrm>
              <a:custGeom>
                <a:avLst/>
                <a:gdLst>
                  <a:gd name="T0" fmla="*/ 25 w 29"/>
                  <a:gd name="T1" fmla="*/ 0 h 31"/>
                  <a:gd name="T2" fmla="*/ 3 w 29"/>
                  <a:gd name="T3" fmla="*/ 7 h 31"/>
                  <a:gd name="T4" fmla="*/ 4 w 29"/>
                  <a:gd name="T5" fmla="*/ 28 h 31"/>
                  <a:gd name="T6" fmla="*/ 18 w 29"/>
                  <a:gd name="T7" fmla="*/ 25 h 31"/>
                  <a:gd name="T8" fmla="*/ 27 w 29"/>
                  <a:gd name="T9" fmla="*/ 18 h 31"/>
                  <a:gd name="T10" fmla="*/ 25 w 29"/>
                  <a:gd name="T11" fmla="*/ 7 h 31"/>
                  <a:gd name="T12" fmla="*/ 25 w 29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1">
                    <a:moveTo>
                      <a:pt x="25" y="0"/>
                    </a:moveTo>
                    <a:cubicBezTo>
                      <a:pt x="16" y="1"/>
                      <a:pt x="9" y="0"/>
                      <a:pt x="3" y="7"/>
                    </a:cubicBezTo>
                    <a:cubicBezTo>
                      <a:pt x="0" y="11"/>
                      <a:pt x="2" y="25"/>
                      <a:pt x="4" y="28"/>
                    </a:cubicBezTo>
                    <a:cubicBezTo>
                      <a:pt x="6" y="31"/>
                      <a:pt x="14" y="27"/>
                      <a:pt x="18" y="25"/>
                    </a:cubicBezTo>
                    <a:cubicBezTo>
                      <a:pt x="21" y="23"/>
                      <a:pt x="26" y="21"/>
                      <a:pt x="27" y="18"/>
                    </a:cubicBezTo>
                    <a:cubicBezTo>
                      <a:pt x="28" y="15"/>
                      <a:pt x="25" y="10"/>
                      <a:pt x="25" y="7"/>
                    </a:cubicBezTo>
                    <a:cubicBezTo>
                      <a:pt x="25" y="4"/>
                      <a:pt x="29" y="0"/>
                      <a:pt x="25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1" name="Freeform 93">
                <a:extLst>
                  <a:ext uri="{FF2B5EF4-FFF2-40B4-BE49-F238E27FC236}">
                    <a16:creationId xmlns:a16="http://schemas.microsoft.com/office/drawing/2014/main" id="{91236902-3B77-4176-9761-6272DB7BFA8D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gray">
              <a:xfrm>
                <a:off x="5027613" y="4217988"/>
                <a:ext cx="273050" cy="265113"/>
              </a:xfrm>
              <a:custGeom>
                <a:avLst/>
                <a:gdLst>
                  <a:gd name="T0" fmla="*/ 10 w 169"/>
                  <a:gd name="T1" fmla="*/ 2 h 167"/>
                  <a:gd name="T2" fmla="*/ 53 w 169"/>
                  <a:gd name="T3" fmla="*/ 2 h 167"/>
                  <a:gd name="T4" fmla="*/ 77 w 169"/>
                  <a:gd name="T5" fmla="*/ 5 h 167"/>
                  <a:gd name="T6" fmla="*/ 103 w 169"/>
                  <a:gd name="T7" fmla="*/ 13 h 167"/>
                  <a:gd name="T8" fmla="*/ 128 w 169"/>
                  <a:gd name="T9" fmla="*/ 37 h 167"/>
                  <a:gd name="T10" fmla="*/ 149 w 169"/>
                  <a:gd name="T11" fmla="*/ 49 h 167"/>
                  <a:gd name="T12" fmla="*/ 154 w 169"/>
                  <a:gd name="T13" fmla="*/ 106 h 167"/>
                  <a:gd name="T14" fmla="*/ 157 w 169"/>
                  <a:gd name="T15" fmla="*/ 122 h 167"/>
                  <a:gd name="T16" fmla="*/ 155 w 169"/>
                  <a:gd name="T17" fmla="*/ 151 h 167"/>
                  <a:gd name="T18" fmla="*/ 136 w 169"/>
                  <a:gd name="T19" fmla="*/ 155 h 167"/>
                  <a:gd name="T20" fmla="*/ 124 w 169"/>
                  <a:gd name="T21" fmla="*/ 163 h 167"/>
                  <a:gd name="T22" fmla="*/ 106 w 169"/>
                  <a:gd name="T23" fmla="*/ 164 h 167"/>
                  <a:gd name="T24" fmla="*/ 89 w 169"/>
                  <a:gd name="T25" fmla="*/ 160 h 167"/>
                  <a:gd name="T26" fmla="*/ 38 w 169"/>
                  <a:gd name="T27" fmla="*/ 121 h 167"/>
                  <a:gd name="T28" fmla="*/ 20 w 169"/>
                  <a:gd name="T29" fmla="*/ 109 h 167"/>
                  <a:gd name="T30" fmla="*/ 23 w 169"/>
                  <a:gd name="T31" fmla="*/ 92 h 167"/>
                  <a:gd name="T32" fmla="*/ 10 w 169"/>
                  <a:gd name="T33" fmla="*/ 85 h 167"/>
                  <a:gd name="T34" fmla="*/ 1 w 169"/>
                  <a:gd name="T35" fmla="*/ 73 h 167"/>
                  <a:gd name="T36" fmla="*/ 2 w 169"/>
                  <a:gd name="T37" fmla="*/ 53 h 167"/>
                  <a:gd name="T38" fmla="*/ 12 w 169"/>
                  <a:gd name="T39" fmla="*/ 52 h 167"/>
                  <a:gd name="T40" fmla="*/ 26 w 169"/>
                  <a:gd name="T41" fmla="*/ 38 h 167"/>
                  <a:gd name="T42" fmla="*/ 23 w 169"/>
                  <a:gd name="T43" fmla="*/ 23 h 167"/>
                  <a:gd name="T44" fmla="*/ 25 w 169"/>
                  <a:gd name="T45" fmla="*/ 13 h 167"/>
                  <a:gd name="T46" fmla="*/ 10 w 169"/>
                  <a:gd name="T47" fmla="*/ 2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9" h="167">
                    <a:moveTo>
                      <a:pt x="10" y="2"/>
                    </a:moveTo>
                    <a:cubicBezTo>
                      <a:pt x="15" y="0"/>
                      <a:pt x="38" y="0"/>
                      <a:pt x="53" y="2"/>
                    </a:cubicBezTo>
                    <a:cubicBezTo>
                      <a:pt x="64" y="2"/>
                      <a:pt x="69" y="3"/>
                      <a:pt x="77" y="5"/>
                    </a:cubicBezTo>
                    <a:cubicBezTo>
                      <a:pt x="85" y="7"/>
                      <a:pt x="95" y="8"/>
                      <a:pt x="103" y="13"/>
                    </a:cubicBezTo>
                    <a:cubicBezTo>
                      <a:pt x="113" y="20"/>
                      <a:pt x="117" y="32"/>
                      <a:pt x="128" y="37"/>
                    </a:cubicBezTo>
                    <a:cubicBezTo>
                      <a:pt x="136" y="48"/>
                      <a:pt x="136" y="45"/>
                      <a:pt x="149" y="49"/>
                    </a:cubicBezTo>
                    <a:cubicBezTo>
                      <a:pt x="138" y="64"/>
                      <a:pt x="147" y="89"/>
                      <a:pt x="154" y="106"/>
                    </a:cubicBezTo>
                    <a:cubicBezTo>
                      <a:pt x="155" y="113"/>
                      <a:pt x="153" y="117"/>
                      <a:pt x="157" y="122"/>
                    </a:cubicBezTo>
                    <a:cubicBezTo>
                      <a:pt x="159" y="134"/>
                      <a:pt x="169" y="149"/>
                      <a:pt x="155" y="151"/>
                    </a:cubicBezTo>
                    <a:cubicBezTo>
                      <a:pt x="152" y="157"/>
                      <a:pt x="141" y="153"/>
                      <a:pt x="136" y="155"/>
                    </a:cubicBezTo>
                    <a:cubicBezTo>
                      <a:pt x="131" y="157"/>
                      <a:pt x="129" y="162"/>
                      <a:pt x="124" y="163"/>
                    </a:cubicBezTo>
                    <a:cubicBezTo>
                      <a:pt x="119" y="164"/>
                      <a:pt x="112" y="164"/>
                      <a:pt x="106" y="164"/>
                    </a:cubicBezTo>
                    <a:cubicBezTo>
                      <a:pt x="100" y="167"/>
                      <a:pt x="95" y="161"/>
                      <a:pt x="89" y="160"/>
                    </a:cubicBezTo>
                    <a:cubicBezTo>
                      <a:pt x="87" y="131"/>
                      <a:pt x="64" y="122"/>
                      <a:pt x="38" y="121"/>
                    </a:cubicBezTo>
                    <a:cubicBezTo>
                      <a:pt x="32" y="117"/>
                      <a:pt x="26" y="113"/>
                      <a:pt x="20" y="109"/>
                    </a:cubicBezTo>
                    <a:cubicBezTo>
                      <a:pt x="17" y="105"/>
                      <a:pt x="25" y="96"/>
                      <a:pt x="23" y="92"/>
                    </a:cubicBezTo>
                    <a:cubicBezTo>
                      <a:pt x="21" y="88"/>
                      <a:pt x="14" y="88"/>
                      <a:pt x="10" y="85"/>
                    </a:cubicBezTo>
                    <a:cubicBezTo>
                      <a:pt x="8" y="78"/>
                      <a:pt x="2" y="78"/>
                      <a:pt x="1" y="73"/>
                    </a:cubicBezTo>
                    <a:cubicBezTo>
                      <a:pt x="0" y="68"/>
                      <a:pt x="0" y="56"/>
                      <a:pt x="2" y="53"/>
                    </a:cubicBezTo>
                    <a:cubicBezTo>
                      <a:pt x="4" y="50"/>
                      <a:pt x="8" y="54"/>
                      <a:pt x="12" y="52"/>
                    </a:cubicBezTo>
                    <a:cubicBezTo>
                      <a:pt x="16" y="50"/>
                      <a:pt x="24" y="43"/>
                      <a:pt x="26" y="38"/>
                    </a:cubicBezTo>
                    <a:cubicBezTo>
                      <a:pt x="25" y="32"/>
                      <a:pt x="26" y="29"/>
                      <a:pt x="23" y="23"/>
                    </a:cubicBezTo>
                    <a:cubicBezTo>
                      <a:pt x="25" y="20"/>
                      <a:pt x="24" y="16"/>
                      <a:pt x="25" y="13"/>
                    </a:cubicBezTo>
                    <a:cubicBezTo>
                      <a:pt x="29" y="2"/>
                      <a:pt x="15" y="3"/>
                      <a:pt x="10" y="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2" name="Freeform 94">
                <a:extLst>
                  <a:ext uri="{FF2B5EF4-FFF2-40B4-BE49-F238E27FC236}">
                    <a16:creationId xmlns:a16="http://schemas.microsoft.com/office/drawing/2014/main" id="{9CB9D838-D9B6-4220-968A-5CCF5DF71DAA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gray">
              <a:xfrm>
                <a:off x="5030788" y="4221163"/>
                <a:ext cx="52388" cy="39688"/>
              </a:xfrm>
              <a:custGeom>
                <a:avLst/>
                <a:gdLst>
                  <a:gd name="T0" fmla="*/ 11 w 32"/>
                  <a:gd name="T1" fmla="*/ 2 h 25"/>
                  <a:gd name="T2" fmla="*/ 21 w 32"/>
                  <a:gd name="T3" fmla="*/ 14 h 25"/>
                  <a:gd name="T4" fmla="*/ 0 w 32"/>
                  <a:gd name="T5" fmla="*/ 24 h 25"/>
                  <a:gd name="T6" fmla="*/ 6 w 32"/>
                  <a:gd name="T7" fmla="*/ 8 h 25"/>
                  <a:gd name="T8" fmla="*/ 11 w 32"/>
                  <a:gd name="T9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5">
                    <a:moveTo>
                      <a:pt x="11" y="2"/>
                    </a:moveTo>
                    <a:cubicBezTo>
                      <a:pt x="23" y="0"/>
                      <a:pt x="32" y="10"/>
                      <a:pt x="21" y="14"/>
                    </a:cubicBezTo>
                    <a:cubicBezTo>
                      <a:pt x="16" y="21"/>
                      <a:pt x="8" y="25"/>
                      <a:pt x="0" y="24"/>
                    </a:cubicBezTo>
                    <a:cubicBezTo>
                      <a:pt x="1" y="16"/>
                      <a:pt x="0" y="13"/>
                      <a:pt x="6" y="8"/>
                    </a:cubicBezTo>
                    <a:cubicBezTo>
                      <a:pt x="9" y="2"/>
                      <a:pt x="7" y="2"/>
                      <a:pt x="11" y="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3" name="Freeform 95">
                <a:extLst>
                  <a:ext uri="{FF2B5EF4-FFF2-40B4-BE49-F238E27FC236}">
                    <a16:creationId xmlns:a16="http://schemas.microsoft.com/office/drawing/2014/main" id="{41DD8470-F826-45B4-A33D-2327E58972EB}"/>
                  </a:ext>
                </a:extLst>
              </p:cNvPr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gray">
              <a:xfrm>
                <a:off x="5116513" y="4421188"/>
                <a:ext cx="76200" cy="176213"/>
              </a:xfrm>
              <a:custGeom>
                <a:avLst/>
                <a:gdLst>
                  <a:gd name="T0" fmla="*/ 7 w 47"/>
                  <a:gd name="T1" fmla="*/ 0 h 111"/>
                  <a:gd name="T2" fmla="*/ 33 w 47"/>
                  <a:gd name="T3" fmla="*/ 20 h 111"/>
                  <a:gd name="T4" fmla="*/ 34 w 47"/>
                  <a:gd name="T5" fmla="*/ 33 h 111"/>
                  <a:gd name="T6" fmla="*/ 31 w 47"/>
                  <a:gd name="T7" fmla="*/ 54 h 111"/>
                  <a:gd name="T8" fmla="*/ 45 w 47"/>
                  <a:gd name="T9" fmla="*/ 78 h 111"/>
                  <a:gd name="T10" fmla="*/ 45 w 47"/>
                  <a:gd name="T11" fmla="*/ 101 h 111"/>
                  <a:gd name="T12" fmla="*/ 30 w 47"/>
                  <a:gd name="T13" fmla="*/ 108 h 111"/>
                  <a:gd name="T14" fmla="*/ 24 w 47"/>
                  <a:gd name="T15" fmla="*/ 80 h 111"/>
                  <a:gd name="T16" fmla="*/ 9 w 47"/>
                  <a:gd name="T17" fmla="*/ 68 h 111"/>
                  <a:gd name="T18" fmla="*/ 1 w 47"/>
                  <a:gd name="T19" fmla="*/ 56 h 111"/>
                  <a:gd name="T20" fmla="*/ 12 w 47"/>
                  <a:gd name="T21" fmla="*/ 35 h 111"/>
                  <a:gd name="T22" fmla="*/ 7 w 47"/>
                  <a:gd name="T2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111">
                    <a:moveTo>
                      <a:pt x="7" y="0"/>
                    </a:moveTo>
                    <a:cubicBezTo>
                      <a:pt x="21" y="2"/>
                      <a:pt x="28" y="6"/>
                      <a:pt x="33" y="20"/>
                    </a:cubicBezTo>
                    <a:cubicBezTo>
                      <a:pt x="37" y="26"/>
                      <a:pt x="34" y="27"/>
                      <a:pt x="34" y="33"/>
                    </a:cubicBezTo>
                    <a:cubicBezTo>
                      <a:pt x="34" y="39"/>
                      <a:pt x="29" y="47"/>
                      <a:pt x="31" y="54"/>
                    </a:cubicBezTo>
                    <a:cubicBezTo>
                      <a:pt x="35" y="60"/>
                      <a:pt x="43" y="71"/>
                      <a:pt x="45" y="78"/>
                    </a:cubicBezTo>
                    <a:cubicBezTo>
                      <a:pt x="47" y="86"/>
                      <a:pt x="47" y="96"/>
                      <a:pt x="45" y="101"/>
                    </a:cubicBezTo>
                    <a:cubicBezTo>
                      <a:pt x="43" y="106"/>
                      <a:pt x="33" y="111"/>
                      <a:pt x="30" y="108"/>
                    </a:cubicBezTo>
                    <a:cubicBezTo>
                      <a:pt x="26" y="100"/>
                      <a:pt x="26" y="88"/>
                      <a:pt x="24" y="80"/>
                    </a:cubicBezTo>
                    <a:cubicBezTo>
                      <a:pt x="22" y="73"/>
                      <a:pt x="14" y="72"/>
                      <a:pt x="9" y="68"/>
                    </a:cubicBezTo>
                    <a:cubicBezTo>
                      <a:pt x="6" y="63"/>
                      <a:pt x="2" y="62"/>
                      <a:pt x="1" y="56"/>
                    </a:cubicBezTo>
                    <a:cubicBezTo>
                      <a:pt x="0" y="50"/>
                      <a:pt x="11" y="44"/>
                      <a:pt x="12" y="35"/>
                    </a:cubicBezTo>
                    <a:cubicBezTo>
                      <a:pt x="13" y="26"/>
                      <a:pt x="8" y="7"/>
                      <a:pt x="7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4" name="Freeform 96">
                <a:extLst>
                  <a:ext uri="{FF2B5EF4-FFF2-40B4-BE49-F238E27FC236}">
                    <a16:creationId xmlns:a16="http://schemas.microsoft.com/office/drawing/2014/main" id="{51054DC9-01D5-4322-9EFD-1781A6CB473C}"/>
                  </a:ext>
                </a:extLst>
              </p:cNvPr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gray">
              <a:xfrm>
                <a:off x="4521201" y="3248025"/>
                <a:ext cx="96838" cy="177800"/>
              </a:xfrm>
              <a:custGeom>
                <a:avLst/>
                <a:gdLst>
                  <a:gd name="T0" fmla="*/ 19 w 60"/>
                  <a:gd name="T1" fmla="*/ 9 h 112"/>
                  <a:gd name="T2" fmla="*/ 39 w 60"/>
                  <a:gd name="T3" fmla="*/ 4 h 112"/>
                  <a:gd name="T4" fmla="*/ 48 w 60"/>
                  <a:gd name="T5" fmla="*/ 34 h 112"/>
                  <a:gd name="T6" fmla="*/ 37 w 60"/>
                  <a:gd name="T7" fmla="*/ 51 h 112"/>
                  <a:gd name="T8" fmla="*/ 51 w 60"/>
                  <a:gd name="T9" fmla="*/ 73 h 112"/>
                  <a:gd name="T10" fmla="*/ 54 w 60"/>
                  <a:gd name="T11" fmla="*/ 90 h 112"/>
                  <a:gd name="T12" fmla="*/ 41 w 60"/>
                  <a:gd name="T13" fmla="*/ 99 h 112"/>
                  <a:gd name="T14" fmla="*/ 34 w 60"/>
                  <a:gd name="T15" fmla="*/ 103 h 112"/>
                  <a:gd name="T16" fmla="*/ 27 w 60"/>
                  <a:gd name="T17" fmla="*/ 109 h 112"/>
                  <a:gd name="T18" fmla="*/ 7 w 60"/>
                  <a:gd name="T19" fmla="*/ 87 h 112"/>
                  <a:gd name="T20" fmla="*/ 0 w 60"/>
                  <a:gd name="T21" fmla="*/ 73 h 112"/>
                  <a:gd name="T22" fmla="*/ 9 w 60"/>
                  <a:gd name="T23" fmla="*/ 34 h 112"/>
                  <a:gd name="T24" fmla="*/ 19 w 60"/>
                  <a:gd name="T25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0" h="112">
                    <a:moveTo>
                      <a:pt x="19" y="9"/>
                    </a:moveTo>
                    <a:cubicBezTo>
                      <a:pt x="24" y="0"/>
                      <a:pt x="29" y="3"/>
                      <a:pt x="39" y="4"/>
                    </a:cubicBezTo>
                    <a:cubicBezTo>
                      <a:pt x="49" y="12"/>
                      <a:pt x="43" y="23"/>
                      <a:pt x="48" y="34"/>
                    </a:cubicBezTo>
                    <a:cubicBezTo>
                      <a:pt x="50" y="44"/>
                      <a:pt x="47" y="48"/>
                      <a:pt x="37" y="51"/>
                    </a:cubicBezTo>
                    <a:cubicBezTo>
                      <a:pt x="35" y="64"/>
                      <a:pt x="38" y="70"/>
                      <a:pt x="51" y="73"/>
                    </a:cubicBezTo>
                    <a:cubicBezTo>
                      <a:pt x="55" y="80"/>
                      <a:pt x="60" y="86"/>
                      <a:pt x="54" y="90"/>
                    </a:cubicBezTo>
                    <a:cubicBezTo>
                      <a:pt x="52" y="94"/>
                      <a:pt x="44" y="97"/>
                      <a:pt x="41" y="99"/>
                    </a:cubicBezTo>
                    <a:cubicBezTo>
                      <a:pt x="38" y="101"/>
                      <a:pt x="36" y="101"/>
                      <a:pt x="34" y="103"/>
                    </a:cubicBezTo>
                    <a:cubicBezTo>
                      <a:pt x="32" y="105"/>
                      <a:pt x="32" y="112"/>
                      <a:pt x="27" y="109"/>
                    </a:cubicBezTo>
                    <a:cubicBezTo>
                      <a:pt x="25" y="100"/>
                      <a:pt x="15" y="92"/>
                      <a:pt x="7" y="87"/>
                    </a:cubicBezTo>
                    <a:cubicBezTo>
                      <a:pt x="4" y="82"/>
                      <a:pt x="1" y="79"/>
                      <a:pt x="0" y="73"/>
                    </a:cubicBezTo>
                    <a:cubicBezTo>
                      <a:pt x="1" y="61"/>
                      <a:pt x="3" y="45"/>
                      <a:pt x="9" y="34"/>
                    </a:cubicBezTo>
                    <a:cubicBezTo>
                      <a:pt x="9" y="28"/>
                      <a:pt x="8" y="9"/>
                      <a:pt x="19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5" name="Freeform 100">
                <a:extLst>
                  <a:ext uri="{FF2B5EF4-FFF2-40B4-BE49-F238E27FC236}">
                    <a16:creationId xmlns:a16="http://schemas.microsoft.com/office/drawing/2014/main" id="{6F217CB7-3901-4FFE-8F42-AD3156E99B14}"/>
                  </a:ext>
                </a:extLst>
              </p:cNvPr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gray">
              <a:xfrm>
                <a:off x="4660901" y="2652713"/>
                <a:ext cx="250825" cy="203200"/>
              </a:xfrm>
              <a:custGeom>
                <a:avLst/>
                <a:gdLst>
                  <a:gd name="T0" fmla="*/ 0 w 155"/>
                  <a:gd name="T1" fmla="*/ 18 h 128"/>
                  <a:gd name="T2" fmla="*/ 33 w 155"/>
                  <a:gd name="T3" fmla="*/ 15 h 128"/>
                  <a:gd name="T4" fmla="*/ 54 w 155"/>
                  <a:gd name="T5" fmla="*/ 0 h 128"/>
                  <a:gd name="T6" fmla="*/ 87 w 155"/>
                  <a:gd name="T7" fmla="*/ 4 h 128"/>
                  <a:gd name="T8" fmla="*/ 96 w 155"/>
                  <a:gd name="T9" fmla="*/ 16 h 128"/>
                  <a:gd name="T10" fmla="*/ 120 w 155"/>
                  <a:gd name="T11" fmla="*/ 15 h 128"/>
                  <a:gd name="T12" fmla="*/ 147 w 155"/>
                  <a:gd name="T13" fmla="*/ 19 h 128"/>
                  <a:gd name="T14" fmla="*/ 153 w 155"/>
                  <a:gd name="T15" fmla="*/ 39 h 128"/>
                  <a:gd name="T16" fmla="*/ 145 w 155"/>
                  <a:gd name="T17" fmla="*/ 57 h 128"/>
                  <a:gd name="T18" fmla="*/ 150 w 155"/>
                  <a:gd name="T19" fmla="*/ 76 h 128"/>
                  <a:gd name="T20" fmla="*/ 153 w 155"/>
                  <a:gd name="T21" fmla="*/ 99 h 128"/>
                  <a:gd name="T22" fmla="*/ 136 w 155"/>
                  <a:gd name="T23" fmla="*/ 118 h 128"/>
                  <a:gd name="T24" fmla="*/ 123 w 155"/>
                  <a:gd name="T25" fmla="*/ 124 h 128"/>
                  <a:gd name="T26" fmla="*/ 94 w 155"/>
                  <a:gd name="T27" fmla="*/ 127 h 128"/>
                  <a:gd name="T28" fmla="*/ 73 w 155"/>
                  <a:gd name="T29" fmla="*/ 121 h 128"/>
                  <a:gd name="T30" fmla="*/ 39 w 155"/>
                  <a:gd name="T31" fmla="*/ 96 h 128"/>
                  <a:gd name="T32" fmla="*/ 12 w 155"/>
                  <a:gd name="T33" fmla="*/ 88 h 128"/>
                  <a:gd name="T34" fmla="*/ 10 w 155"/>
                  <a:gd name="T35" fmla="*/ 52 h 128"/>
                  <a:gd name="T36" fmla="*/ 0 w 155"/>
                  <a:gd name="T37" fmla="*/ 1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5" h="128">
                    <a:moveTo>
                      <a:pt x="0" y="18"/>
                    </a:moveTo>
                    <a:cubicBezTo>
                      <a:pt x="5" y="17"/>
                      <a:pt x="33" y="15"/>
                      <a:pt x="33" y="15"/>
                    </a:cubicBezTo>
                    <a:cubicBezTo>
                      <a:pt x="42" y="10"/>
                      <a:pt x="42" y="2"/>
                      <a:pt x="54" y="0"/>
                    </a:cubicBezTo>
                    <a:cubicBezTo>
                      <a:pt x="78" y="1"/>
                      <a:pt x="63" y="0"/>
                      <a:pt x="87" y="4"/>
                    </a:cubicBezTo>
                    <a:cubicBezTo>
                      <a:pt x="91" y="5"/>
                      <a:pt x="96" y="16"/>
                      <a:pt x="96" y="16"/>
                    </a:cubicBezTo>
                    <a:cubicBezTo>
                      <a:pt x="100" y="18"/>
                      <a:pt x="112" y="15"/>
                      <a:pt x="120" y="15"/>
                    </a:cubicBezTo>
                    <a:cubicBezTo>
                      <a:pt x="128" y="15"/>
                      <a:pt x="142" y="15"/>
                      <a:pt x="147" y="19"/>
                    </a:cubicBezTo>
                    <a:cubicBezTo>
                      <a:pt x="153" y="23"/>
                      <a:pt x="153" y="33"/>
                      <a:pt x="153" y="39"/>
                    </a:cubicBezTo>
                    <a:cubicBezTo>
                      <a:pt x="153" y="45"/>
                      <a:pt x="145" y="51"/>
                      <a:pt x="145" y="57"/>
                    </a:cubicBezTo>
                    <a:cubicBezTo>
                      <a:pt x="148" y="73"/>
                      <a:pt x="146" y="67"/>
                      <a:pt x="150" y="76"/>
                    </a:cubicBezTo>
                    <a:cubicBezTo>
                      <a:pt x="151" y="83"/>
                      <a:pt x="155" y="92"/>
                      <a:pt x="153" y="99"/>
                    </a:cubicBezTo>
                    <a:cubicBezTo>
                      <a:pt x="151" y="106"/>
                      <a:pt x="141" y="114"/>
                      <a:pt x="136" y="118"/>
                    </a:cubicBezTo>
                    <a:cubicBezTo>
                      <a:pt x="131" y="120"/>
                      <a:pt x="127" y="121"/>
                      <a:pt x="123" y="124"/>
                    </a:cubicBezTo>
                    <a:cubicBezTo>
                      <a:pt x="117" y="125"/>
                      <a:pt x="102" y="128"/>
                      <a:pt x="94" y="127"/>
                    </a:cubicBezTo>
                    <a:cubicBezTo>
                      <a:pt x="86" y="126"/>
                      <a:pt x="82" y="126"/>
                      <a:pt x="73" y="121"/>
                    </a:cubicBezTo>
                    <a:cubicBezTo>
                      <a:pt x="61" y="120"/>
                      <a:pt x="52" y="99"/>
                      <a:pt x="39" y="96"/>
                    </a:cubicBezTo>
                    <a:cubicBezTo>
                      <a:pt x="28" y="88"/>
                      <a:pt x="25" y="92"/>
                      <a:pt x="12" y="88"/>
                    </a:cubicBezTo>
                    <a:cubicBezTo>
                      <a:pt x="6" y="80"/>
                      <a:pt x="11" y="64"/>
                      <a:pt x="10" y="52"/>
                    </a:cubicBezTo>
                    <a:cubicBezTo>
                      <a:pt x="8" y="40"/>
                      <a:pt x="1" y="25"/>
                      <a:pt x="0" y="1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6" name="Freeform 102">
                <a:extLst>
                  <a:ext uri="{FF2B5EF4-FFF2-40B4-BE49-F238E27FC236}">
                    <a16:creationId xmlns:a16="http://schemas.microsoft.com/office/drawing/2014/main" id="{95D692CB-25C8-461B-A248-66551AE7418C}"/>
                  </a:ext>
                </a:extLst>
              </p:cNvPr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gray">
              <a:xfrm>
                <a:off x="4524464" y="2525711"/>
                <a:ext cx="173435" cy="158852"/>
              </a:xfrm>
              <a:custGeom>
                <a:avLst/>
                <a:gdLst/>
                <a:ahLst/>
                <a:cxnLst/>
                <a:rect l="l" t="t" r="r" b="b"/>
                <a:pathLst>
                  <a:path w="173435" h="158852">
                    <a:moveTo>
                      <a:pt x="161866" y="104174"/>
                    </a:moveTo>
                    <a:cubicBezTo>
                      <a:pt x="177799" y="106608"/>
                      <a:pt x="177890" y="118745"/>
                      <a:pt x="158299" y="114301"/>
                    </a:cubicBezTo>
                    <a:close/>
                    <a:moveTo>
                      <a:pt x="158299" y="103189"/>
                    </a:moveTo>
                    <a:cubicBezTo>
                      <a:pt x="161692" y="103189"/>
                      <a:pt x="162413" y="102751"/>
                      <a:pt x="161866" y="104174"/>
                    </a:cubicBezTo>
                    <a:close/>
                    <a:moveTo>
                      <a:pt x="51691" y="0"/>
                    </a:moveTo>
                    <a:cubicBezTo>
                      <a:pt x="61383" y="3175"/>
                      <a:pt x="74297" y="22223"/>
                      <a:pt x="74297" y="22223"/>
                    </a:cubicBezTo>
                    <a:cubicBezTo>
                      <a:pt x="71074" y="39684"/>
                      <a:pt x="59766" y="44446"/>
                      <a:pt x="64606" y="57145"/>
                    </a:cubicBezTo>
                    <a:cubicBezTo>
                      <a:pt x="56531" y="79368"/>
                      <a:pt x="51691" y="74605"/>
                      <a:pt x="67840" y="79368"/>
                    </a:cubicBezTo>
                    <a:lnTo>
                      <a:pt x="78619" y="73638"/>
                    </a:lnTo>
                    <a:cubicBezTo>
                      <a:pt x="82783" y="68355"/>
                      <a:pt x="73087" y="65081"/>
                      <a:pt x="103383" y="69843"/>
                    </a:cubicBezTo>
                    <a:cubicBezTo>
                      <a:pt x="109840" y="87320"/>
                      <a:pt x="100148" y="109543"/>
                      <a:pt x="96914" y="127004"/>
                    </a:cubicBezTo>
                    <a:cubicBezTo>
                      <a:pt x="72691" y="119067"/>
                      <a:pt x="82383" y="125417"/>
                      <a:pt x="67840" y="111131"/>
                    </a:cubicBezTo>
                    <a:cubicBezTo>
                      <a:pt x="59766" y="134941"/>
                      <a:pt x="67840" y="128591"/>
                      <a:pt x="45223" y="133353"/>
                    </a:cubicBezTo>
                    <a:cubicBezTo>
                      <a:pt x="42000" y="136528"/>
                      <a:pt x="32297" y="133353"/>
                      <a:pt x="30692" y="138115"/>
                    </a:cubicBezTo>
                    <a:cubicBezTo>
                      <a:pt x="27457" y="142877"/>
                      <a:pt x="37149" y="160338"/>
                      <a:pt x="32297" y="158751"/>
                    </a:cubicBezTo>
                    <a:cubicBezTo>
                      <a:pt x="12914" y="155576"/>
                      <a:pt x="9692" y="109543"/>
                      <a:pt x="9692" y="98432"/>
                    </a:cubicBezTo>
                    <a:lnTo>
                      <a:pt x="9692" y="123829"/>
                    </a:lnTo>
                    <a:cubicBezTo>
                      <a:pt x="8074" y="115893"/>
                      <a:pt x="8074" y="106368"/>
                      <a:pt x="6457" y="98432"/>
                    </a:cubicBezTo>
                    <a:cubicBezTo>
                      <a:pt x="4840" y="92082"/>
                      <a:pt x="0" y="79368"/>
                      <a:pt x="0" y="79368"/>
                    </a:cubicBezTo>
                    <a:cubicBezTo>
                      <a:pt x="3223" y="44446"/>
                      <a:pt x="-4852" y="36509"/>
                      <a:pt x="32297" y="31747"/>
                    </a:cubicBezTo>
                    <a:cubicBezTo>
                      <a:pt x="43606" y="20636"/>
                      <a:pt x="48457" y="14286"/>
                      <a:pt x="51691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7" name="Freeform 105">
                <a:extLst>
                  <a:ext uri="{FF2B5EF4-FFF2-40B4-BE49-F238E27FC236}">
                    <a16:creationId xmlns:a16="http://schemas.microsoft.com/office/drawing/2014/main" id="{58AB7867-FC69-47A4-BC2B-8CCEE43420A9}"/>
                  </a:ext>
                </a:extLst>
              </p:cNvPr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gray">
              <a:xfrm>
                <a:off x="5783263" y="3203575"/>
                <a:ext cx="265113" cy="266700"/>
              </a:xfrm>
              <a:custGeom>
                <a:avLst/>
                <a:gdLst>
                  <a:gd name="T0" fmla="*/ 165 w 165"/>
                  <a:gd name="T1" fmla="*/ 37 h 168"/>
                  <a:gd name="T2" fmla="*/ 159 w 165"/>
                  <a:gd name="T3" fmla="*/ 45 h 168"/>
                  <a:gd name="T4" fmla="*/ 159 w 165"/>
                  <a:gd name="T5" fmla="*/ 70 h 168"/>
                  <a:gd name="T6" fmla="*/ 159 w 165"/>
                  <a:gd name="T7" fmla="*/ 81 h 168"/>
                  <a:gd name="T8" fmla="*/ 147 w 165"/>
                  <a:gd name="T9" fmla="*/ 85 h 168"/>
                  <a:gd name="T10" fmla="*/ 133 w 165"/>
                  <a:gd name="T11" fmla="*/ 85 h 168"/>
                  <a:gd name="T12" fmla="*/ 144 w 165"/>
                  <a:gd name="T13" fmla="*/ 96 h 168"/>
                  <a:gd name="T14" fmla="*/ 132 w 165"/>
                  <a:gd name="T15" fmla="*/ 103 h 168"/>
                  <a:gd name="T16" fmla="*/ 130 w 165"/>
                  <a:gd name="T17" fmla="*/ 123 h 168"/>
                  <a:gd name="T18" fmla="*/ 112 w 165"/>
                  <a:gd name="T19" fmla="*/ 127 h 168"/>
                  <a:gd name="T20" fmla="*/ 84 w 165"/>
                  <a:gd name="T21" fmla="*/ 138 h 168"/>
                  <a:gd name="T22" fmla="*/ 84 w 165"/>
                  <a:gd name="T23" fmla="*/ 157 h 168"/>
                  <a:gd name="T24" fmla="*/ 70 w 165"/>
                  <a:gd name="T25" fmla="*/ 163 h 168"/>
                  <a:gd name="T26" fmla="*/ 58 w 165"/>
                  <a:gd name="T27" fmla="*/ 160 h 168"/>
                  <a:gd name="T28" fmla="*/ 48 w 165"/>
                  <a:gd name="T29" fmla="*/ 166 h 168"/>
                  <a:gd name="T30" fmla="*/ 7 w 165"/>
                  <a:gd name="T31" fmla="*/ 165 h 168"/>
                  <a:gd name="T32" fmla="*/ 14 w 165"/>
                  <a:gd name="T33" fmla="*/ 149 h 168"/>
                  <a:gd name="T34" fmla="*/ 10 w 165"/>
                  <a:gd name="T35" fmla="*/ 134 h 168"/>
                  <a:gd name="T36" fmla="*/ 10 w 165"/>
                  <a:gd name="T37" fmla="*/ 127 h 168"/>
                  <a:gd name="T38" fmla="*/ 0 w 165"/>
                  <a:gd name="T39" fmla="*/ 120 h 168"/>
                  <a:gd name="T40" fmla="*/ 7 w 165"/>
                  <a:gd name="T41" fmla="*/ 88 h 168"/>
                  <a:gd name="T42" fmla="*/ 10 w 165"/>
                  <a:gd name="T43" fmla="*/ 79 h 168"/>
                  <a:gd name="T44" fmla="*/ 10 w 165"/>
                  <a:gd name="T45" fmla="*/ 73 h 168"/>
                  <a:gd name="T46" fmla="*/ 9 w 165"/>
                  <a:gd name="T47" fmla="*/ 58 h 168"/>
                  <a:gd name="T48" fmla="*/ 25 w 165"/>
                  <a:gd name="T49" fmla="*/ 61 h 168"/>
                  <a:gd name="T50" fmla="*/ 35 w 165"/>
                  <a:gd name="T51" fmla="*/ 67 h 168"/>
                  <a:gd name="T52" fmla="*/ 46 w 165"/>
                  <a:gd name="T53" fmla="*/ 55 h 168"/>
                  <a:gd name="T54" fmla="*/ 58 w 165"/>
                  <a:gd name="T55" fmla="*/ 50 h 168"/>
                  <a:gd name="T56" fmla="*/ 67 w 165"/>
                  <a:gd name="T57" fmla="*/ 28 h 168"/>
                  <a:gd name="T58" fmla="*/ 79 w 165"/>
                  <a:gd name="T59" fmla="*/ 21 h 168"/>
                  <a:gd name="T60" fmla="*/ 94 w 165"/>
                  <a:gd name="T61" fmla="*/ 32 h 168"/>
                  <a:gd name="T62" fmla="*/ 112 w 165"/>
                  <a:gd name="T63" fmla="*/ 28 h 168"/>
                  <a:gd name="T64" fmla="*/ 136 w 165"/>
                  <a:gd name="T65" fmla="*/ 28 h 168"/>
                  <a:gd name="T66" fmla="*/ 149 w 165"/>
                  <a:gd name="T67" fmla="*/ 16 h 168"/>
                  <a:gd name="T68" fmla="*/ 153 w 165"/>
                  <a:gd name="T69" fmla="*/ 1 h 168"/>
                  <a:gd name="T70" fmla="*/ 162 w 165"/>
                  <a:gd name="T71" fmla="*/ 9 h 168"/>
                  <a:gd name="T72" fmla="*/ 165 w 165"/>
                  <a:gd name="T73" fmla="*/ 37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5" h="168">
                    <a:moveTo>
                      <a:pt x="165" y="37"/>
                    </a:moveTo>
                    <a:cubicBezTo>
                      <a:pt x="165" y="43"/>
                      <a:pt x="160" y="40"/>
                      <a:pt x="159" y="45"/>
                    </a:cubicBezTo>
                    <a:cubicBezTo>
                      <a:pt x="158" y="50"/>
                      <a:pt x="159" y="64"/>
                      <a:pt x="159" y="70"/>
                    </a:cubicBezTo>
                    <a:cubicBezTo>
                      <a:pt x="159" y="76"/>
                      <a:pt x="161" y="78"/>
                      <a:pt x="159" y="81"/>
                    </a:cubicBezTo>
                    <a:cubicBezTo>
                      <a:pt x="157" y="84"/>
                      <a:pt x="151" y="84"/>
                      <a:pt x="147" y="85"/>
                    </a:cubicBezTo>
                    <a:cubicBezTo>
                      <a:pt x="143" y="86"/>
                      <a:pt x="133" y="83"/>
                      <a:pt x="133" y="85"/>
                    </a:cubicBezTo>
                    <a:cubicBezTo>
                      <a:pt x="133" y="87"/>
                      <a:pt x="144" y="93"/>
                      <a:pt x="144" y="96"/>
                    </a:cubicBezTo>
                    <a:cubicBezTo>
                      <a:pt x="144" y="99"/>
                      <a:pt x="134" y="99"/>
                      <a:pt x="132" y="103"/>
                    </a:cubicBezTo>
                    <a:cubicBezTo>
                      <a:pt x="130" y="107"/>
                      <a:pt x="133" y="119"/>
                      <a:pt x="130" y="123"/>
                    </a:cubicBezTo>
                    <a:cubicBezTo>
                      <a:pt x="127" y="127"/>
                      <a:pt x="120" y="124"/>
                      <a:pt x="112" y="127"/>
                    </a:cubicBezTo>
                    <a:cubicBezTo>
                      <a:pt x="104" y="130"/>
                      <a:pt x="89" y="133"/>
                      <a:pt x="84" y="138"/>
                    </a:cubicBezTo>
                    <a:cubicBezTo>
                      <a:pt x="79" y="143"/>
                      <a:pt x="86" y="153"/>
                      <a:pt x="84" y="157"/>
                    </a:cubicBezTo>
                    <a:cubicBezTo>
                      <a:pt x="82" y="161"/>
                      <a:pt x="74" y="163"/>
                      <a:pt x="70" y="163"/>
                    </a:cubicBezTo>
                    <a:cubicBezTo>
                      <a:pt x="66" y="163"/>
                      <a:pt x="62" y="159"/>
                      <a:pt x="58" y="160"/>
                    </a:cubicBezTo>
                    <a:cubicBezTo>
                      <a:pt x="54" y="161"/>
                      <a:pt x="56" y="165"/>
                      <a:pt x="48" y="166"/>
                    </a:cubicBezTo>
                    <a:cubicBezTo>
                      <a:pt x="40" y="167"/>
                      <a:pt x="13" y="168"/>
                      <a:pt x="7" y="165"/>
                    </a:cubicBezTo>
                    <a:cubicBezTo>
                      <a:pt x="1" y="162"/>
                      <a:pt x="14" y="154"/>
                      <a:pt x="14" y="149"/>
                    </a:cubicBezTo>
                    <a:cubicBezTo>
                      <a:pt x="14" y="144"/>
                      <a:pt x="11" y="138"/>
                      <a:pt x="10" y="134"/>
                    </a:cubicBezTo>
                    <a:cubicBezTo>
                      <a:pt x="9" y="130"/>
                      <a:pt x="12" y="129"/>
                      <a:pt x="10" y="127"/>
                    </a:cubicBezTo>
                    <a:cubicBezTo>
                      <a:pt x="8" y="125"/>
                      <a:pt x="0" y="126"/>
                      <a:pt x="0" y="120"/>
                    </a:cubicBezTo>
                    <a:cubicBezTo>
                      <a:pt x="0" y="114"/>
                      <a:pt x="5" y="95"/>
                      <a:pt x="7" y="88"/>
                    </a:cubicBezTo>
                    <a:cubicBezTo>
                      <a:pt x="9" y="81"/>
                      <a:pt x="10" y="81"/>
                      <a:pt x="10" y="79"/>
                    </a:cubicBezTo>
                    <a:cubicBezTo>
                      <a:pt x="10" y="77"/>
                      <a:pt x="10" y="76"/>
                      <a:pt x="10" y="73"/>
                    </a:cubicBezTo>
                    <a:cubicBezTo>
                      <a:pt x="10" y="70"/>
                      <a:pt x="6" y="60"/>
                      <a:pt x="9" y="58"/>
                    </a:cubicBezTo>
                    <a:cubicBezTo>
                      <a:pt x="12" y="56"/>
                      <a:pt x="21" y="60"/>
                      <a:pt x="25" y="61"/>
                    </a:cubicBezTo>
                    <a:cubicBezTo>
                      <a:pt x="29" y="62"/>
                      <a:pt x="32" y="68"/>
                      <a:pt x="35" y="67"/>
                    </a:cubicBezTo>
                    <a:cubicBezTo>
                      <a:pt x="38" y="66"/>
                      <a:pt x="42" y="58"/>
                      <a:pt x="46" y="55"/>
                    </a:cubicBezTo>
                    <a:cubicBezTo>
                      <a:pt x="50" y="52"/>
                      <a:pt x="55" y="54"/>
                      <a:pt x="58" y="50"/>
                    </a:cubicBezTo>
                    <a:cubicBezTo>
                      <a:pt x="61" y="46"/>
                      <a:pt x="64" y="33"/>
                      <a:pt x="67" y="28"/>
                    </a:cubicBezTo>
                    <a:cubicBezTo>
                      <a:pt x="70" y="23"/>
                      <a:pt x="75" y="20"/>
                      <a:pt x="79" y="21"/>
                    </a:cubicBezTo>
                    <a:cubicBezTo>
                      <a:pt x="83" y="22"/>
                      <a:pt x="89" y="31"/>
                      <a:pt x="94" y="32"/>
                    </a:cubicBezTo>
                    <a:cubicBezTo>
                      <a:pt x="99" y="33"/>
                      <a:pt x="105" y="29"/>
                      <a:pt x="112" y="28"/>
                    </a:cubicBezTo>
                    <a:cubicBezTo>
                      <a:pt x="119" y="27"/>
                      <a:pt x="130" y="30"/>
                      <a:pt x="136" y="28"/>
                    </a:cubicBezTo>
                    <a:cubicBezTo>
                      <a:pt x="142" y="26"/>
                      <a:pt x="146" y="20"/>
                      <a:pt x="149" y="16"/>
                    </a:cubicBezTo>
                    <a:cubicBezTo>
                      <a:pt x="152" y="12"/>
                      <a:pt x="151" y="2"/>
                      <a:pt x="153" y="1"/>
                    </a:cubicBezTo>
                    <a:cubicBezTo>
                      <a:pt x="155" y="0"/>
                      <a:pt x="161" y="3"/>
                      <a:pt x="162" y="9"/>
                    </a:cubicBezTo>
                    <a:cubicBezTo>
                      <a:pt x="163" y="15"/>
                      <a:pt x="165" y="31"/>
                      <a:pt x="165" y="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8" name="Freeform 106">
                <a:extLst>
                  <a:ext uri="{FF2B5EF4-FFF2-40B4-BE49-F238E27FC236}">
                    <a16:creationId xmlns:a16="http://schemas.microsoft.com/office/drawing/2014/main" id="{4AACAAE3-7819-4DDD-9458-FB12093DBF9A}"/>
                  </a:ext>
                </a:extLst>
              </p:cNvPr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gray">
              <a:xfrm>
                <a:off x="5802313" y="3255963"/>
                <a:ext cx="331788" cy="355600"/>
              </a:xfrm>
              <a:custGeom>
                <a:avLst/>
                <a:gdLst>
                  <a:gd name="T0" fmla="*/ 3 w 206"/>
                  <a:gd name="T1" fmla="*/ 133 h 224"/>
                  <a:gd name="T2" fmla="*/ 6 w 206"/>
                  <a:gd name="T3" fmla="*/ 145 h 224"/>
                  <a:gd name="T4" fmla="*/ 19 w 206"/>
                  <a:gd name="T5" fmla="*/ 150 h 224"/>
                  <a:gd name="T6" fmla="*/ 25 w 206"/>
                  <a:gd name="T7" fmla="*/ 165 h 224"/>
                  <a:gd name="T8" fmla="*/ 28 w 206"/>
                  <a:gd name="T9" fmla="*/ 177 h 224"/>
                  <a:gd name="T10" fmla="*/ 16 w 206"/>
                  <a:gd name="T11" fmla="*/ 178 h 224"/>
                  <a:gd name="T12" fmla="*/ 7 w 206"/>
                  <a:gd name="T13" fmla="*/ 188 h 224"/>
                  <a:gd name="T14" fmla="*/ 7 w 206"/>
                  <a:gd name="T15" fmla="*/ 202 h 224"/>
                  <a:gd name="T16" fmla="*/ 25 w 206"/>
                  <a:gd name="T17" fmla="*/ 199 h 224"/>
                  <a:gd name="T18" fmla="*/ 37 w 206"/>
                  <a:gd name="T19" fmla="*/ 196 h 224"/>
                  <a:gd name="T20" fmla="*/ 55 w 206"/>
                  <a:gd name="T21" fmla="*/ 201 h 224"/>
                  <a:gd name="T22" fmla="*/ 64 w 206"/>
                  <a:gd name="T23" fmla="*/ 190 h 224"/>
                  <a:gd name="T24" fmla="*/ 75 w 206"/>
                  <a:gd name="T25" fmla="*/ 199 h 224"/>
                  <a:gd name="T26" fmla="*/ 88 w 206"/>
                  <a:gd name="T27" fmla="*/ 208 h 224"/>
                  <a:gd name="T28" fmla="*/ 94 w 206"/>
                  <a:gd name="T29" fmla="*/ 222 h 224"/>
                  <a:gd name="T30" fmla="*/ 108 w 206"/>
                  <a:gd name="T31" fmla="*/ 219 h 224"/>
                  <a:gd name="T32" fmla="*/ 143 w 206"/>
                  <a:gd name="T33" fmla="*/ 218 h 224"/>
                  <a:gd name="T34" fmla="*/ 149 w 206"/>
                  <a:gd name="T35" fmla="*/ 206 h 224"/>
                  <a:gd name="T36" fmla="*/ 130 w 206"/>
                  <a:gd name="T37" fmla="*/ 180 h 224"/>
                  <a:gd name="T38" fmla="*/ 123 w 206"/>
                  <a:gd name="T39" fmla="*/ 166 h 224"/>
                  <a:gd name="T40" fmla="*/ 135 w 206"/>
                  <a:gd name="T41" fmla="*/ 161 h 224"/>
                  <a:gd name="T42" fmla="*/ 165 w 206"/>
                  <a:gd name="T43" fmla="*/ 164 h 224"/>
                  <a:gd name="T44" fmla="*/ 165 w 206"/>
                  <a:gd name="T45" fmla="*/ 143 h 224"/>
                  <a:gd name="T46" fmla="*/ 180 w 206"/>
                  <a:gd name="T47" fmla="*/ 130 h 224"/>
                  <a:gd name="T48" fmla="*/ 202 w 206"/>
                  <a:gd name="T49" fmla="*/ 100 h 224"/>
                  <a:gd name="T50" fmla="*/ 204 w 206"/>
                  <a:gd name="T51" fmla="*/ 78 h 224"/>
                  <a:gd name="T52" fmla="*/ 187 w 206"/>
                  <a:gd name="T53" fmla="*/ 66 h 224"/>
                  <a:gd name="T54" fmla="*/ 181 w 206"/>
                  <a:gd name="T55" fmla="*/ 57 h 224"/>
                  <a:gd name="T56" fmla="*/ 180 w 206"/>
                  <a:gd name="T57" fmla="*/ 45 h 224"/>
                  <a:gd name="T58" fmla="*/ 186 w 206"/>
                  <a:gd name="T59" fmla="*/ 30 h 224"/>
                  <a:gd name="T60" fmla="*/ 168 w 206"/>
                  <a:gd name="T61" fmla="*/ 15 h 224"/>
                  <a:gd name="T62" fmla="*/ 165 w 206"/>
                  <a:gd name="T63" fmla="*/ 0 h 224"/>
                  <a:gd name="T64" fmla="*/ 145 w 206"/>
                  <a:gd name="T65" fmla="*/ 16 h 224"/>
                  <a:gd name="T66" fmla="*/ 147 w 206"/>
                  <a:gd name="T67" fmla="*/ 30 h 224"/>
                  <a:gd name="T68" fmla="*/ 147 w 206"/>
                  <a:gd name="T69" fmla="*/ 49 h 224"/>
                  <a:gd name="T70" fmla="*/ 135 w 206"/>
                  <a:gd name="T71" fmla="*/ 51 h 224"/>
                  <a:gd name="T72" fmla="*/ 131 w 206"/>
                  <a:gd name="T73" fmla="*/ 58 h 224"/>
                  <a:gd name="T74" fmla="*/ 121 w 206"/>
                  <a:gd name="T75" fmla="*/ 67 h 224"/>
                  <a:gd name="T76" fmla="*/ 117 w 206"/>
                  <a:gd name="T77" fmla="*/ 88 h 224"/>
                  <a:gd name="T78" fmla="*/ 97 w 206"/>
                  <a:gd name="T79" fmla="*/ 96 h 224"/>
                  <a:gd name="T80" fmla="*/ 76 w 206"/>
                  <a:gd name="T81" fmla="*/ 100 h 224"/>
                  <a:gd name="T82" fmla="*/ 72 w 206"/>
                  <a:gd name="T83" fmla="*/ 117 h 224"/>
                  <a:gd name="T84" fmla="*/ 69 w 206"/>
                  <a:gd name="T85" fmla="*/ 129 h 224"/>
                  <a:gd name="T86" fmla="*/ 58 w 206"/>
                  <a:gd name="T87" fmla="*/ 130 h 224"/>
                  <a:gd name="T88" fmla="*/ 48 w 206"/>
                  <a:gd name="T89" fmla="*/ 129 h 224"/>
                  <a:gd name="T90" fmla="*/ 27 w 206"/>
                  <a:gd name="T91" fmla="*/ 133 h 224"/>
                  <a:gd name="T92" fmla="*/ 3 w 206"/>
                  <a:gd name="T93" fmla="*/ 13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06" h="224">
                    <a:moveTo>
                      <a:pt x="3" y="133"/>
                    </a:moveTo>
                    <a:cubicBezTo>
                      <a:pt x="0" y="135"/>
                      <a:pt x="3" y="142"/>
                      <a:pt x="6" y="145"/>
                    </a:cubicBezTo>
                    <a:cubicBezTo>
                      <a:pt x="9" y="148"/>
                      <a:pt x="16" y="147"/>
                      <a:pt x="19" y="150"/>
                    </a:cubicBezTo>
                    <a:cubicBezTo>
                      <a:pt x="22" y="153"/>
                      <a:pt x="24" y="161"/>
                      <a:pt x="25" y="165"/>
                    </a:cubicBezTo>
                    <a:cubicBezTo>
                      <a:pt x="26" y="169"/>
                      <a:pt x="29" y="175"/>
                      <a:pt x="28" y="177"/>
                    </a:cubicBezTo>
                    <a:cubicBezTo>
                      <a:pt x="27" y="179"/>
                      <a:pt x="19" y="176"/>
                      <a:pt x="16" y="178"/>
                    </a:cubicBezTo>
                    <a:cubicBezTo>
                      <a:pt x="13" y="180"/>
                      <a:pt x="8" y="184"/>
                      <a:pt x="7" y="188"/>
                    </a:cubicBezTo>
                    <a:cubicBezTo>
                      <a:pt x="6" y="192"/>
                      <a:pt x="4" y="200"/>
                      <a:pt x="7" y="202"/>
                    </a:cubicBezTo>
                    <a:cubicBezTo>
                      <a:pt x="10" y="204"/>
                      <a:pt x="20" y="200"/>
                      <a:pt x="25" y="199"/>
                    </a:cubicBezTo>
                    <a:cubicBezTo>
                      <a:pt x="30" y="198"/>
                      <a:pt x="32" y="196"/>
                      <a:pt x="37" y="196"/>
                    </a:cubicBezTo>
                    <a:cubicBezTo>
                      <a:pt x="42" y="196"/>
                      <a:pt x="51" y="202"/>
                      <a:pt x="55" y="201"/>
                    </a:cubicBezTo>
                    <a:cubicBezTo>
                      <a:pt x="59" y="200"/>
                      <a:pt x="61" y="190"/>
                      <a:pt x="64" y="190"/>
                    </a:cubicBezTo>
                    <a:cubicBezTo>
                      <a:pt x="67" y="190"/>
                      <a:pt x="71" y="196"/>
                      <a:pt x="75" y="199"/>
                    </a:cubicBezTo>
                    <a:cubicBezTo>
                      <a:pt x="79" y="202"/>
                      <a:pt x="85" y="204"/>
                      <a:pt x="88" y="208"/>
                    </a:cubicBezTo>
                    <a:cubicBezTo>
                      <a:pt x="91" y="212"/>
                      <a:pt x="91" y="220"/>
                      <a:pt x="94" y="222"/>
                    </a:cubicBezTo>
                    <a:cubicBezTo>
                      <a:pt x="97" y="224"/>
                      <a:pt x="100" y="220"/>
                      <a:pt x="108" y="219"/>
                    </a:cubicBezTo>
                    <a:cubicBezTo>
                      <a:pt x="116" y="218"/>
                      <a:pt x="136" y="220"/>
                      <a:pt x="143" y="218"/>
                    </a:cubicBezTo>
                    <a:cubicBezTo>
                      <a:pt x="150" y="216"/>
                      <a:pt x="151" y="212"/>
                      <a:pt x="149" y="206"/>
                    </a:cubicBezTo>
                    <a:cubicBezTo>
                      <a:pt x="147" y="200"/>
                      <a:pt x="134" y="187"/>
                      <a:pt x="130" y="180"/>
                    </a:cubicBezTo>
                    <a:cubicBezTo>
                      <a:pt x="126" y="173"/>
                      <a:pt x="122" y="169"/>
                      <a:pt x="123" y="166"/>
                    </a:cubicBezTo>
                    <a:cubicBezTo>
                      <a:pt x="124" y="163"/>
                      <a:pt x="128" y="161"/>
                      <a:pt x="135" y="161"/>
                    </a:cubicBezTo>
                    <a:cubicBezTo>
                      <a:pt x="142" y="161"/>
                      <a:pt x="160" y="167"/>
                      <a:pt x="165" y="164"/>
                    </a:cubicBezTo>
                    <a:cubicBezTo>
                      <a:pt x="170" y="161"/>
                      <a:pt x="163" y="149"/>
                      <a:pt x="165" y="143"/>
                    </a:cubicBezTo>
                    <a:cubicBezTo>
                      <a:pt x="167" y="137"/>
                      <a:pt x="174" y="137"/>
                      <a:pt x="180" y="130"/>
                    </a:cubicBezTo>
                    <a:cubicBezTo>
                      <a:pt x="186" y="123"/>
                      <a:pt x="198" y="109"/>
                      <a:pt x="202" y="100"/>
                    </a:cubicBezTo>
                    <a:cubicBezTo>
                      <a:pt x="206" y="91"/>
                      <a:pt x="206" y="84"/>
                      <a:pt x="204" y="78"/>
                    </a:cubicBezTo>
                    <a:cubicBezTo>
                      <a:pt x="202" y="72"/>
                      <a:pt x="191" y="69"/>
                      <a:pt x="187" y="66"/>
                    </a:cubicBezTo>
                    <a:cubicBezTo>
                      <a:pt x="183" y="63"/>
                      <a:pt x="182" y="60"/>
                      <a:pt x="181" y="57"/>
                    </a:cubicBezTo>
                    <a:cubicBezTo>
                      <a:pt x="180" y="54"/>
                      <a:pt x="179" y="49"/>
                      <a:pt x="180" y="45"/>
                    </a:cubicBezTo>
                    <a:cubicBezTo>
                      <a:pt x="181" y="41"/>
                      <a:pt x="188" y="35"/>
                      <a:pt x="186" y="30"/>
                    </a:cubicBezTo>
                    <a:cubicBezTo>
                      <a:pt x="184" y="25"/>
                      <a:pt x="171" y="20"/>
                      <a:pt x="168" y="15"/>
                    </a:cubicBezTo>
                    <a:cubicBezTo>
                      <a:pt x="165" y="10"/>
                      <a:pt x="169" y="0"/>
                      <a:pt x="165" y="0"/>
                    </a:cubicBezTo>
                    <a:cubicBezTo>
                      <a:pt x="161" y="0"/>
                      <a:pt x="148" y="11"/>
                      <a:pt x="145" y="16"/>
                    </a:cubicBezTo>
                    <a:cubicBezTo>
                      <a:pt x="142" y="21"/>
                      <a:pt x="147" y="25"/>
                      <a:pt x="147" y="30"/>
                    </a:cubicBezTo>
                    <a:cubicBezTo>
                      <a:pt x="147" y="35"/>
                      <a:pt x="149" y="46"/>
                      <a:pt x="147" y="49"/>
                    </a:cubicBezTo>
                    <a:cubicBezTo>
                      <a:pt x="145" y="52"/>
                      <a:pt x="138" y="50"/>
                      <a:pt x="135" y="51"/>
                    </a:cubicBezTo>
                    <a:cubicBezTo>
                      <a:pt x="132" y="52"/>
                      <a:pt x="133" y="55"/>
                      <a:pt x="131" y="58"/>
                    </a:cubicBezTo>
                    <a:cubicBezTo>
                      <a:pt x="129" y="61"/>
                      <a:pt x="123" y="62"/>
                      <a:pt x="121" y="67"/>
                    </a:cubicBezTo>
                    <a:cubicBezTo>
                      <a:pt x="119" y="72"/>
                      <a:pt x="121" y="83"/>
                      <a:pt x="117" y="88"/>
                    </a:cubicBezTo>
                    <a:cubicBezTo>
                      <a:pt x="113" y="93"/>
                      <a:pt x="104" y="94"/>
                      <a:pt x="97" y="96"/>
                    </a:cubicBezTo>
                    <a:cubicBezTo>
                      <a:pt x="90" y="98"/>
                      <a:pt x="80" y="97"/>
                      <a:pt x="76" y="100"/>
                    </a:cubicBezTo>
                    <a:cubicBezTo>
                      <a:pt x="72" y="103"/>
                      <a:pt x="73" y="112"/>
                      <a:pt x="72" y="117"/>
                    </a:cubicBezTo>
                    <a:cubicBezTo>
                      <a:pt x="71" y="122"/>
                      <a:pt x="71" y="127"/>
                      <a:pt x="69" y="129"/>
                    </a:cubicBezTo>
                    <a:cubicBezTo>
                      <a:pt x="67" y="131"/>
                      <a:pt x="61" y="130"/>
                      <a:pt x="58" y="130"/>
                    </a:cubicBezTo>
                    <a:cubicBezTo>
                      <a:pt x="55" y="130"/>
                      <a:pt x="53" y="129"/>
                      <a:pt x="48" y="129"/>
                    </a:cubicBezTo>
                    <a:cubicBezTo>
                      <a:pt x="43" y="129"/>
                      <a:pt x="33" y="132"/>
                      <a:pt x="27" y="133"/>
                    </a:cubicBezTo>
                    <a:cubicBezTo>
                      <a:pt x="21" y="134"/>
                      <a:pt x="6" y="131"/>
                      <a:pt x="3" y="13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9" name="Freeform 107">
                <a:extLst>
                  <a:ext uri="{FF2B5EF4-FFF2-40B4-BE49-F238E27FC236}">
                    <a16:creationId xmlns:a16="http://schemas.microsoft.com/office/drawing/2014/main" id="{C9CE7D7A-CC91-4B29-AC56-067FEFE26F39}"/>
                  </a:ext>
                </a:extLst>
              </p:cNvPr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gray">
              <a:xfrm>
                <a:off x="4583113" y="2867025"/>
                <a:ext cx="160338" cy="96838"/>
              </a:xfrm>
              <a:custGeom>
                <a:avLst/>
                <a:gdLst>
                  <a:gd name="T0" fmla="*/ 12 w 100"/>
                  <a:gd name="T1" fmla="*/ 37 h 61"/>
                  <a:gd name="T2" fmla="*/ 20 w 100"/>
                  <a:gd name="T3" fmla="*/ 31 h 61"/>
                  <a:gd name="T4" fmla="*/ 30 w 100"/>
                  <a:gd name="T5" fmla="*/ 29 h 61"/>
                  <a:gd name="T6" fmla="*/ 49 w 100"/>
                  <a:gd name="T7" fmla="*/ 7 h 61"/>
                  <a:gd name="T8" fmla="*/ 73 w 100"/>
                  <a:gd name="T9" fmla="*/ 0 h 61"/>
                  <a:gd name="T10" fmla="*/ 92 w 100"/>
                  <a:gd name="T11" fmla="*/ 6 h 61"/>
                  <a:gd name="T12" fmla="*/ 98 w 100"/>
                  <a:gd name="T13" fmla="*/ 21 h 61"/>
                  <a:gd name="T14" fmla="*/ 97 w 100"/>
                  <a:gd name="T15" fmla="*/ 33 h 61"/>
                  <a:gd name="T16" fmla="*/ 91 w 100"/>
                  <a:gd name="T17" fmla="*/ 34 h 61"/>
                  <a:gd name="T18" fmla="*/ 71 w 100"/>
                  <a:gd name="T19" fmla="*/ 52 h 61"/>
                  <a:gd name="T20" fmla="*/ 61 w 100"/>
                  <a:gd name="T21" fmla="*/ 60 h 61"/>
                  <a:gd name="T22" fmla="*/ 34 w 100"/>
                  <a:gd name="T23" fmla="*/ 51 h 61"/>
                  <a:gd name="T24" fmla="*/ 16 w 100"/>
                  <a:gd name="T25" fmla="*/ 51 h 61"/>
                  <a:gd name="T26" fmla="*/ 7 w 100"/>
                  <a:gd name="T27" fmla="*/ 51 h 61"/>
                  <a:gd name="T28" fmla="*/ 2 w 100"/>
                  <a:gd name="T29" fmla="*/ 49 h 61"/>
                  <a:gd name="T30" fmla="*/ 12 w 100"/>
                  <a:gd name="T31" fmla="*/ 3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" h="61">
                    <a:moveTo>
                      <a:pt x="12" y="37"/>
                    </a:moveTo>
                    <a:cubicBezTo>
                      <a:pt x="10" y="34"/>
                      <a:pt x="17" y="32"/>
                      <a:pt x="20" y="31"/>
                    </a:cubicBezTo>
                    <a:cubicBezTo>
                      <a:pt x="23" y="30"/>
                      <a:pt x="25" y="33"/>
                      <a:pt x="30" y="29"/>
                    </a:cubicBezTo>
                    <a:cubicBezTo>
                      <a:pt x="35" y="25"/>
                      <a:pt x="42" y="12"/>
                      <a:pt x="49" y="7"/>
                    </a:cubicBezTo>
                    <a:cubicBezTo>
                      <a:pt x="55" y="2"/>
                      <a:pt x="65" y="2"/>
                      <a:pt x="73" y="0"/>
                    </a:cubicBezTo>
                    <a:cubicBezTo>
                      <a:pt x="80" y="1"/>
                      <a:pt x="85" y="4"/>
                      <a:pt x="92" y="6"/>
                    </a:cubicBezTo>
                    <a:cubicBezTo>
                      <a:pt x="95" y="11"/>
                      <a:pt x="95" y="16"/>
                      <a:pt x="98" y="21"/>
                    </a:cubicBezTo>
                    <a:cubicBezTo>
                      <a:pt x="98" y="25"/>
                      <a:pt x="99" y="29"/>
                      <a:pt x="97" y="33"/>
                    </a:cubicBezTo>
                    <a:cubicBezTo>
                      <a:pt x="96" y="35"/>
                      <a:pt x="92" y="32"/>
                      <a:pt x="91" y="34"/>
                    </a:cubicBezTo>
                    <a:cubicBezTo>
                      <a:pt x="80" y="50"/>
                      <a:pt x="100" y="49"/>
                      <a:pt x="71" y="52"/>
                    </a:cubicBezTo>
                    <a:cubicBezTo>
                      <a:pt x="70" y="59"/>
                      <a:pt x="67" y="57"/>
                      <a:pt x="61" y="60"/>
                    </a:cubicBezTo>
                    <a:cubicBezTo>
                      <a:pt x="53" y="61"/>
                      <a:pt x="44" y="52"/>
                      <a:pt x="34" y="51"/>
                    </a:cubicBezTo>
                    <a:cubicBezTo>
                      <a:pt x="27" y="50"/>
                      <a:pt x="20" y="51"/>
                      <a:pt x="16" y="51"/>
                    </a:cubicBezTo>
                    <a:cubicBezTo>
                      <a:pt x="12" y="51"/>
                      <a:pt x="9" y="51"/>
                      <a:pt x="7" y="51"/>
                    </a:cubicBezTo>
                    <a:cubicBezTo>
                      <a:pt x="7" y="47"/>
                      <a:pt x="0" y="53"/>
                      <a:pt x="2" y="49"/>
                    </a:cubicBezTo>
                    <a:cubicBezTo>
                      <a:pt x="4" y="45"/>
                      <a:pt x="12" y="44"/>
                      <a:pt x="12" y="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0" name="Freeform 108">
                <a:extLst>
                  <a:ext uri="{FF2B5EF4-FFF2-40B4-BE49-F238E27FC236}">
                    <a16:creationId xmlns:a16="http://schemas.microsoft.com/office/drawing/2014/main" id="{BE3F8267-1DD4-4FBA-A4DE-D9661566F2DC}"/>
                  </a:ext>
                </a:extLst>
              </p:cNvPr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gray">
              <a:xfrm>
                <a:off x="4645026" y="2944813"/>
                <a:ext cx="79375" cy="49213"/>
              </a:xfrm>
              <a:custGeom>
                <a:avLst/>
                <a:gdLst>
                  <a:gd name="T0" fmla="*/ 46 w 49"/>
                  <a:gd name="T1" fmla="*/ 2 h 31"/>
                  <a:gd name="T2" fmla="*/ 25 w 49"/>
                  <a:gd name="T3" fmla="*/ 12 h 31"/>
                  <a:gd name="T4" fmla="*/ 2 w 49"/>
                  <a:gd name="T5" fmla="*/ 9 h 31"/>
                  <a:gd name="T6" fmla="*/ 17 w 49"/>
                  <a:gd name="T7" fmla="*/ 27 h 31"/>
                  <a:gd name="T8" fmla="*/ 32 w 49"/>
                  <a:gd name="T9" fmla="*/ 27 h 31"/>
                  <a:gd name="T10" fmla="*/ 44 w 49"/>
                  <a:gd name="T11" fmla="*/ 15 h 31"/>
                  <a:gd name="T12" fmla="*/ 46 w 49"/>
                  <a:gd name="T13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1">
                    <a:moveTo>
                      <a:pt x="46" y="2"/>
                    </a:moveTo>
                    <a:cubicBezTo>
                      <a:pt x="43" y="0"/>
                      <a:pt x="32" y="11"/>
                      <a:pt x="25" y="12"/>
                    </a:cubicBezTo>
                    <a:cubicBezTo>
                      <a:pt x="18" y="13"/>
                      <a:pt x="3" y="7"/>
                      <a:pt x="2" y="9"/>
                    </a:cubicBezTo>
                    <a:cubicBezTo>
                      <a:pt x="0" y="19"/>
                      <a:pt x="6" y="26"/>
                      <a:pt x="17" y="27"/>
                    </a:cubicBezTo>
                    <a:cubicBezTo>
                      <a:pt x="22" y="31"/>
                      <a:pt x="25" y="26"/>
                      <a:pt x="32" y="27"/>
                    </a:cubicBezTo>
                    <a:cubicBezTo>
                      <a:pt x="36" y="22"/>
                      <a:pt x="39" y="18"/>
                      <a:pt x="44" y="15"/>
                    </a:cubicBezTo>
                    <a:cubicBezTo>
                      <a:pt x="49" y="8"/>
                      <a:pt x="44" y="16"/>
                      <a:pt x="46" y="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1" name="Freeform 109">
                <a:extLst>
                  <a:ext uri="{FF2B5EF4-FFF2-40B4-BE49-F238E27FC236}">
                    <a16:creationId xmlns:a16="http://schemas.microsoft.com/office/drawing/2014/main" id="{20CCF407-20B0-4AAB-8FBE-CD653E8E4DDF}"/>
                  </a:ext>
                </a:extLst>
              </p:cNvPr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gray">
              <a:xfrm>
                <a:off x="5156201" y="3330575"/>
                <a:ext cx="49213" cy="88900"/>
              </a:xfrm>
              <a:custGeom>
                <a:avLst/>
                <a:gdLst>
                  <a:gd name="T0" fmla="*/ 29 w 30"/>
                  <a:gd name="T1" fmla="*/ 0 h 56"/>
                  <a:gd name="T2" fmla="*/ 15 w 30"/>
                  <a:gd name="T3" fmla="*/ 15 h 56"/>
                  <a:gd name="T4" fmla="*/ 3 w 30"/>
                  <a:gd name="T5" fmla="*/ 35 h 56"/>
                  <a:gd name="T6" fmla="*/ 2 w 30"/>
                  <a:gd name="T7" fmla="*/ 56 h 56"/>
                  <a:gd name="T8" fmla="*/ 20 w 30"/>
                  <a:gd name="T9" fmla="*/ 30 h 56"/>
                  <a:gd name="T10" fmla="*/ 29 w 30"/>
                  <a:gd name="T11" fmla="*/ 17 h 56"/>
                  <a:gd name="T12" fmla="*/ 29 w 30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56">
                    <a:moveTo>
                      <a:pt x="29" y="0"/>
                    </a:moveTo>
                    <a:cubicBezTo>
                      <a:pt x="17" y="3"/>
                      <a:pt x="20" y="6"/>
                      <a:pt x="15" y="15"/>
                    </a:cubicBezTo>
                    <a:cubicBezTo>
                      <a:pt x="13" y="24"/>
                      <a:pt x="12" y="32"/>
                      <a:pt x="3" y="35"/>
                    </a:cubicBezTo>
                    <a:cubicBezTo>
                      <a:pt x="1" y="45"/>
                      <a:pt x="0" y="44"/>
                      <a:pt x="2" y="56"/>
                    </a:cubicBezTo>
                    <a:cubicBezTo>
                      <a:pt x="17" y="52"/>
                      <a:pt x="8" y="37"/>
                      <a:pt x="20" y="30"/>
                    </a:cubicBezTo>
                    <a:cubicBezTo>
                      <a:pt x="23" y="26"/>
                      <a:pt x="26" y="21"/>
                      <a:pt x="29" y="17"/>
                    </a:cubicBezTo>
                    <a:cubicBezTo>
                      <a:pt x="30" y="11"/>
                      <a:pt x="29" y="6"/>
                      <a:pt x="2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2" name="Freeform 110">
                <a:extLst>
                  <a:ext uri="{FF2B5EF4-FFF2-40B4-BE49-F238E27FC236}">
                    <a16:creationId xmlns:a16="http://schemas.microsoft.com/office/drawing/2014/main" id="{4D2405A5-9FC9-4CF9-92F0-4792CFD59FAF}"/>
                  </a:ext>
                </a:extLst>
              </p:cNvPr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gray">
              <a:xfrm>
                <a:off x="5140326" y="3406775"/>
                <a:ext cx="50800" cy="49213"/>
              </a:xfrm>
              <a:custGeom>
                <a:avLst/>
                <a:gdLst>
                  <a:gd name="T0" fmla="*/ 22 w 31"/>
                  <a:gd name="T1" fmla="*/ 0 h 31"/>
                  <a:gd name="T2" fmla="*/ 12 w 31"/>
                  <a:gd name="T3" fmla="*/ 29 h 31"/>
                  <a:gd name="T4" fmla="*/ 15 w 31"/>
                  <a:gd name="T5" fmla="*/ 2 h 31"/>
                  <a:gd name="T6" fmla="*/ 22 w 31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31">
                    <a:moveTo>
                      <a:pt x="22" y="0"/>
                    </a:moveTo>
                    <a:cubicBezTo>
                      <a:pt x="24" y="18"/>
                      <a:pt x="31" y="31"/>
                      <a:pt x="12" y="29"/>
                    </a:cubicBezTo>
                    <a:cubicBezTo>
                      <a:pt x="7" y="20"/>
                      <a:pt x="0" y="4"/>
                      <a:pt x="15" y="2"/>
                    </a:cubicBezTo>
                    <a:cubicBezTo>
                      <a:pt x="23" y="3"/>
                      <a:pt x="22" y="5"/>
                      <a:pt x="22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3" name="Freeform 111">
                <a:extLst>
                  <a:ext uri="{FF2B5EF4-FFF2-40B4-BE49-F238E27FC236}">
                    <a16:creationId xmlns:a16="http://schemas.microsoft.com/office/drawing/2014/main" id="{03FF5D64-487C-46DD-A415-B717C4414C27}"/>
                  </a:ext>
                </a:extLst>
              </p:cNvPr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gray">
              <a:xfrm>
                <a:off x="4552951" y="4146550"/>
                <a:ext cx="65088" cy="34925"/>
              </a:xfrm>
              <a:custGeom>
                <a:avLst/>
                <a:gdLst>
                  <a:gd name="T0" fmla="*/ 10 w 40"/>
                  <a:gd name="T1" fmla="*/ 5 h 22"/>
                  <a:gd name="T2" fmla="*/ 2 w 40"/>
                  <a:gd name="T3" fmla="*/ 22 h 22"/>
                  <a:gd name="T4" fmla="*/ 35 w 40"/>
                  <a:gd name="T5" fmla="*/ 14 h 22"/>
                  <a:gd name="T6" fmla="*/ 29 w 40"/>
                  <a:gd name="T7" fmla="*/ 1 h 22"/>
                  <a:gd name="T8" fmla="*/ 10 w 40"/>
                  <a:gd name="T9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2">
                    <a:moveTo>
                      <a:pt x="10" y="5"/>
                    </a:moveTo>
                    <a:cubicBezTo>
                      <a:pt x="6" y="12"/>
                      <a:pt x="0" y="13"/>
                      <a:pt x="2" y="22"/>
                    </a:cubicBezTo>
                    <a:cubicBezTo>
                      <a:pt x="11" y="21"/>
                      <a:pt x="28" y="19"/>
                      <a:pt x="35" y="14"/>
                    </a:cubicBezTo>
                    <a:cubicBezTo>
                      <a:pt x="40" y="11"/>
                      <a:pt x="33" y="2"/>
                      <a:pt x="29" y="1"/>
                    </a:cubicBezTo>
                    <a:cubicBezTo>
                      <a:pt x="25" y="0"/>
                      <a:pt x="14" y="4"/>
                      <a:pt x="10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4" name="Freeform 112">
                <a:extLst>
                  <a:ext uri="{FF2B5EF4-FFF2-40B4-BE49-F238E27FC236}">
                    <a16:creationId xmlns:a16="http://schemas.microsoft.com/office/drawing/2014/main" id="{7C8BE7BB-EAA8-4AC9-8099-75EC8194C8AB}"/>
                  </a:ext>
                </a:extLst>
              </p:cNvPr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gray">
              <a:xfrm>
                <a:off x="4832351" y="1851025"/>
                <a:ext cx="255588" cy="568325"/>
              </a:xfrm>
              <a:custGeom>
                <a:avLst/>
                <a:gdLst>
                  <a:gd name="T0" fmla="*/ 123 w 158"/>
                  <a:gd name="T1" fmla="*/ 16 h 358"/>
                  <a:gd name="T2" fmla="*/ 117 w 158"/>
                  <a:gd name="T3" fmla="*/ 41 h 358"/>
                  <a:gd name="T4" fmla="*/ 111 w 158"/>
                  <a:gd name="T5" fmla="*/ 49 h 358"/>
                  <a:gd name="T6" fmla="*/ 129 w 158"/>
                  <a:gd name="T7" fmla="*/ 92 h 358"/>
                  <a:gd name="T8" fmla="*/ 129 w 158"/>
                  <a:gd name="T9" fmla="*/ 131 h 358"/>
                  <a:gd name="T10" fmla="*/ 132 w 158"/>
                  <a:gd name="T11" fmla="*/ 154 h 358"/>
                  <a:gd name="T12" fmla="*/ 141 w 158"/>
                  <a:gd name="T13" fmla="*/ 188 h 358"/>
                  <a:gd name="T14" fmla="*/ 143 w 158"/>
                  <a:gd name="T15" fmla="*/ 256 h 358"/>
                  <a:gd name="T16" fmla="*/ 152 w 158"/>
                  <a:gd name="T17" fmla="*/ 271 h 358"/>
                  <a:gd name="T18" fmla="*/ 153 w 158"/>
                  <a:gd name="T19" fmla="*/ 298 h 358"/>
                  <a:gd name="T20" fmla="*/ 140 w 158"/>
                  <a:gd name="T21" fmla="*/ 308 h 358"/>
                  <a:gd name="T22" fmla="*/ 140 w 158"/>
                  <a:gd name="T23" fmla="*/ 323 h 358"/>
                  <a:gd name="T24" fmla="*/ 129 w 158"/>
                  <a:gd name="T25" fmla="*/ 331 h 358"/>
                  <a:gd name="T26" fmla="*/ 111 w 158"/>
                  <a:gd name="T27" fmla="*/ 329 h 358"/>
                  <a:gd name="T28" fmla="*/ 104 w 158"/>
                  <a:gd name="T29" fmla="*/ 346 h 358"/>
                  <a:gd name="T30" fmla="*/ 71 w 158"/>
                  <a:gd name="T31" fmla="*/ 349 h 358"/>
                  <a:gd name="T32" fmla="*/ 54 w 158"/>
                  <a:gd name="T33" fmla="*/ 353 h 358"/>
                  <a:gd name="T34" fmla="*/ 41 w 158"/>
                  <a:gd name="T35" fmla="*/ 358 h 358"/>
                  <a:gd name="T36" fmla="*/ 12 w 158"/>
                  <a:gd name="T37" fmla="*/ 334 h 358"/>
                  <a:gd name="T38" fmla="*/ 5 w 158"/>
                  <a:gd name="T39" fmla="*/ 265 h 358"/>
                  <a:gd name="T40" fmla="*/ 27 w 158"/>
                  <a:gd name="T41" fmla="*/ 247 h 358"/>
                  <a:gd name="T42" fmla="*/ 39 w 158"/>
                  <a:gd name="T43" fmla="*/ 221 h 358"/>
                  <a:gd name="T44" fmla="*/ 53 w 158"/>
                  <a:gd name="T45" fmla="*/ 211 h 358"/>
                  <a:gd name="T46" fmla="*/ 47 w 158"/>
                  <a:gd name="T47" fmla="*/ 175 h 358"/>
                  <a:gd name="T48" fmla="*/ 50 w 158"/>
                  <a:gd name="T49" fmla="*/ 116 h 358"/>
                  <a:gd name="T50" fmla="*/ 42 w 158"/>
                  <a:gd name="T51" fmla="*/ 88 h 358"/>
                  <a:gd name="T52" fmla="*/ 36 w 158"/>
                  <a:gd name="T53" fmla="*/ 76 h 358"/>
                  <a:gd name="T54" fmla="*/ 33 w 158"/>
                  <a:gd name="T55" fmla="*/ 71 h 358"/>
                  <a:gd name="T56" fmla="*/ 24 w 158"/>
                  <a:gd name="T57" fmla="*/ 62 h 358"/>
                  <a:gd name="T58" fmla="*/ 35 w 158"/>
                  <a:gd name="T59" fmla="*/ 55 h 358"/>
                  <a:gd name="T60" fmla="*/ 51 w 158"/>
                  <a:gd name="T61" fmla="*/ 55 h 358"/>
                  <a:gd name="T62" fmla="*/ 66 w 158"/>
                  <a:gd name="T63" fmla="*/ 64 h 358"/>
                  <a:gd name="T64" fmla="*/ 75 w 158"/>
                  <a:gd name="T65" fmla="*/ 38 h 358"/>
                  <a:gd name="T66" fmla="*/ 74 w 158"/>
                  <a:gd name="T67" fmla="*/ 25 h 358"/>
                  <a:gd name="T68" fmla="*/ 77 w 158"/>
                  <a:gd name="T69" fmla="*/ 13 h 358"/>
                  <a:gd name="T70" fmla="*/ 98 w 158"/>
                  <a:gd name="T71" fmla="*/ 10 h 358"/>
                  <a:gd name="T72" fmla="*/ 123 w 158"/>
                  <a:gd name="T73" fmla="*/ 16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358">
                    <a:moveTo>
                      <a:pt x="123" y="16"/>
                    </a:moveTo>
                    <a:cubicBezTo>
                      <a:pt x="122" y="24"/>
                      <a:pt x="121" y="33"/>
                      <a:pt x="117" y="41"/>
                    </a:cubicBezTo>
                    <a:cubicBezTo>
                      <a:pt x="116" y="44"/>
                      <a:pt x="111" y="46"/>
                      <a:pt x="111" y="49"/>
                    </a:cubicBezTo>
                    <a:cubicBezTo>
                      <a:pt x="109" y="74"/>
                      <a:pt x="119" y="75"/>
                      <a:pt x="129" y="92"/>
                    </a:cubicBezTo>
                    <a:cubicBezTo>
                      <a:pt x="131" y="105"/>
                      <a:pt x="135" y="119"/>
                      <a:pt x="129" y="131"/>
                    </a:cubicBezTo>
                    <a:cubicBezTo>
                      <a:pt x="131" y="138"/>
                      <a:pt x="130" y="147"/>
                      <a:pt x="132" y="154"/>
                    </a:cubicBezTo>
                    <a:cubicBezTo>
                      <a:pt x="133" y="167"/>
                      <a:pt x="140" y="175"/>
                      <a:pt x="141" y="188"/>
                    </a:cubicBezTo>
                    <a:cubicBezTo>
                      <a:pt x="141" y="211"/>
                      <a:pt x="134" y="229"/>
                      <a:pt x="143" y="256"/>
                    </a:cubicBezTo>
                    <a:cubicBezTo>
                      <a:pt x="146" y="262"/>
                      <a:pt x="149" y="263"/>
                      <a:pt x="152" y="271"/>
                    </a:cubicBezTo>
                    <a:cubicBezTo>
                      <a:pt x="153" y="280"/>
                      <a:pt x="158" y="290"/>
                      <a:pt x="153" y="298"/>
                    </a:cubicBezTo>
                    <a:cubicBezTo>
                      <a:pt x="152" y="305"/>
                      <a:pt x="145" y="304"/>
                      <a:pt x="140" y="308"/>
                    </a:cubicBezTo>
                    <a:cubicBezTo>
                      <a:pt x="137" y="311"/>
                      <a:pt x="142" y="319"/>
                      <a:pt x="140" y="323"/>
                    </a:cubicBezTo>
                    <a:cubicBezTo>
                      <a:pt x="138" y="327"/>
                      <a:pt x="134" y="330"/>
                      <a:pt x="129" y="331"/>
                    </a:cubicBezTo>
                    <a:cubicBezTo>
                      <a:pt x="126" y="334"/>
                      <a:pt x="111" y="329"/>
                      <a:pt x="111" y="329"/>
                    </a:cubicBezTo>
                    <a:cubicBezTo>
                      <a:pt x="109" y="337"/>
                      <a:pt x="113" y="345"/>
                      <a:pt x="104" y="346"/>
                    </a:cubicBezTo>
                    <a:cubicBezTo>
                      <a:pt x="93" y="347"/>
                      <a:pt x="71" y="349"/>
                      <a:pt x="71" y="349"/>
                    </a:cubicBezTo>
                    <a:cubicBezTo>
                      <a:pt x="65" y="350"/>
                      <a:pt x="60" y="352"/>
                      <a:pt x="54" y="353"/>
                    </a:cubicBezTo>
                    <a:cubicBezTo>
                      <a:pt x="50" y="355"/>
                      <a:pt x="45" y="356"/>
                      <a:pt x="41" y="358"/>
                    </a:cubicBezTo>
                    <a:cubicBezTo>
                      <a:pt x="29" y="353"/>
                      <a:pt x="22" y="342"/>
                      <a:pt x="12" y="334"/>
                    </a:cubicBezTo>
                    <a:cubicBezTo>
                      <a:pt x="0" y="311"/>
                      <a:pt x="18" y="287"/>
                      <a:pt x="5" y="265"/>
                    </a:cubicBezTo>
                    <a:cubicBezTo>
                      <a:pt x="7" y="254"/>
                      <a:pt x="20" y="254"/>
                      <a:pt x="27" y="247"/>
                    </a:cubicBezTo>
                    <a:cubicBezTo>
                      <a:pt x="32" y="235"/>
                      <a:pt x="29" y="228"/>
                      <a:pt x="39" y="221"/>
                    </a:cubicBezTo>
                    <a:cubicBezTo>
                      <a:pt x="44" y="212"/>
                      <a:pt x="41" y="213"/>
                      <a:pt x="53" y="211"/>
                    </a:cubicBezTo>
                    <a:cubicBezTo>
                      <a:pt x="59" y="201"/>
                      <a:pt x="56" y="182"/>
                      <a:pt x="47" y="175"/>
                    </a:cubicBezTo>
                    <a:cubicBezTo>
                      <a:pt x="46" y="159"/>
                      <a:pt x="51" y="130"/>
                      <a:pt x="50" y="116"/>
                    </a:cubicBezTo>
                    <a:cubicBezTo>
                      <a:pt x="49" y="102"/>
                      <a:pt x="44" y="95"/>
                      <a:pt x="42" y="88"/>
                    </a:cubicBezTo>
                    <a:cubicBezTo>
                      <a:pt x="40" y="81"/>
                      <a:pt x="37" y="79"/>
                      <a:pt x="36" y="76"/>
                    </a:cubicBezTo>
                    <a:cubicBezTo>
                      <a:pt x="35" y="73"/>
                      <a:pt x="35" y="73"/>
                      <a:pt x="33" y="71"/>
                    </a:cubicBezTo>
                    <a:cubicBezTo>
                      <a:pt x="31" y="69"/>
                      <a:pt x="24" y="65"/>
                      <a:pt x="24" y="62"/>
                    </a:cubicBezTo>
                    <a:cubicBezTo>
                      <a:pt x="24" y="59"/>
                      <a:pt x="31" y="56"/>
                      <a:pt x="35" y="55"/>
                    </a:cubicBezTo>
                    <a:cubicBezTo>
                      <a:pt x="39" y="54"/>
                      <a:pt x="46" y="54"/>
                      <a:pt x="51" y="55"/>
                    </a:cubicBezTo>
                    <a:cubicBezTo>
                      <a:pt x="58" y="52"/>
                      <a:pt x="62" y="67"/>
                      <a:pt x="66" y="64"/>
                    </a:cubicBezTo>
                    <a:cubicBezTo>
                      <a:pt x="70" y="61"/>
                      <a:pt x="74" y="45"/>
                      <a:pt x="75" y="38"/>
                    </a:cubicBezTo>
                    <a:cubicBezTo>
                      <a:pt x="76" y="31"/>
                      <a:pt x="74" y="29"/>
                      <a:pt x="74" y="25"/>
                    </a:cubicBezTo>
                    <a:cubicBezTo>
                      <a:pt x="74" y="21"/>
                      <a:pt x="73" y="15"/>
                      <a:pt x="77" y="13"/>
                    </a:cubicBezTo>
                    <a:cubicBezTo>
                      <a:pt x="84" y="11"/>
                      <a:pt x="91" y="11"/>
                      <a:pt x="98" y="10"/>
                    </a:cubicBezTo>
                    <a:cubicBezTo>
                      <a:pt x="112" y="0"/>
                      <a:pt x="112" y="16"/>
                      <a:pt x="123" y="1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5" name="Freeform 115">
                <a:extLst>
                  <a:ext uri="{FF2B5EF4-FFF2-40B4-BE49-F238E27FC236}">
                    <a16:creationId xmlns:a16="http://schemas.microsoft.com/office/drawing/2014/main" id="{D767E436-1777-4CC9-9B59-87E73DAA36A5}"/>
                  </a:ext>
                </a:extLst>
              </p:cNvPr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gray">
              <a:xfrm>
                <a:off x="4612867" y="1928816"/>
                <a:ext cx="302034" cy="680289"/>
              </a:xfrm>
              <a:custGeom>
                <a:avLst/>
                <a:gdLst/>
                <a:ahLst/>
                <a:cxnLst/>
                <a:rect l="l" t="t" r="r" b="b"/>
                <a:pathLst>
                  <a:path w="302034" h="680289">
                    <a:moveTo>
                      <a:pt x="184297" y="582611"/>
                    </a:moveTo>
                    <a:lnTo>
                      <a:pt x="189135" y="586183"/>
                    </a:lnTo>
                    <a:lnTo>
                      <a:pt x="184297" y="592136"/>
                    </a:lnTo>
                    <a:cubicBezTo>
                      <a:pt x="174620" y="598486"/>
                      <a:pt x="171394" y="608011"/>
                      <a:pt x="169782" y="619124"/>
                    </a:cubicBezTo>
                    <a:cubicBezTo>
                      <a:pt x="158492" y="642936"/>
                      <a:pt x="156879" y="652461"/>
                      <a:pt x="155266" y="606424"/>
                    </a:cubicBezTo>
                    <a:cubicBezTo>
                      <a:pt x="158492" y="584199"/>
                      <a:pt x="160105" y="585786"/>
                      <a:pt x="184297" y="582611"/>
                    </a:cubicBezTo>
                    <a:close/>
                    <a:moveTo>
                      <a:pt x="184559" y="558798"/>
                    </a:moveTo>
                    <a:cubicBezTo>
                      <a:pt x="182972" y="563561"/>
                      <a:pt x="184559" y="569911"/>
                      <a:pt x="181384" y="573086"/>
                    </a:cubicBezTo>
                    <a:cubicBezTo>
                      <a:pt x="176621" y="577848"/>
                      <a:pt x="173446" y="558798"/>
                      <a:pt x="184559" y="558798"/>
                    </a:cubicBezTo>
                    <a:close/>
                    <a:moveTo>
                      <a:pt x="242362" y="0"/>
                    </a:moveTo>
                    <a:cubicBezTo>
                      <a:pt x="242121" y="2178"/>
                      <a:pt x="239917" y="9529"/>
                      <a:pt x="242362" y="9529"/>
                    </a:cubicBezTo>
                    <a:lnTo>
                      <a:pt x="248820" y="19059"/>
                    </a:lnTo>
                    <a:cubicBezTo>
                      <a:pt x="253641" y="28589"/>
                      <a:pt x="255248" y="27001"/>
                      <a:pt x="266558" y="28589"/>
                    </a:cubicBezTo>
                    <a:cubicBezTo>
                      <a:pt x="277838" y="33354"/>
                      <a:pt x="269772" y="47648"/>
                      <a:pt x="281082" y="49237"/>
                    </a:cubicBezTo>
                    <a:cubicBezTo>
                      <a:pt x="282689" y="57178"/>
                      <a:pt x="295576" y="72992"/>
                      <a:pt x="295576" y="72992"/>
                    </a:cubicBezTo>
                    <a:cubicBezTo>
                      <a:pt x="297183" y="82522"/>
                      <a:pt x="302034" y="93640"/>
                      <a:pt x="302034" y="101581"/>
                    </a:cubicBezTo>
                    <a:cubicBezTo>
                      <a:pt x="302034" y="109523"/>
                      <a:pt x="298820" y="117464"/>
                      <a:pt x="297183" y="125406"/>
                    </a:cubicBezTo>
                    <a:cubicBezTo>
                      <a:pt x="295576" y="133347"/>
                      <a:pt x="297183" y="144465"/>
                      <a:pt x="297183" y="152407"/>
                    </a:cubicBezTo>
                    <a:cubicBezTo>
                      <a:pt x="295576" y="161937"/>
                      <a:pt x="293969" y="161937"/>
                      <a:pt x="297183" y="171466"/>
                    </a:cubicBezTo>
                    <a:cubicBezTo>
                      <a:pt x="290755" y="211105"/>
                      <a:pt x="269772" y="176231"/>
                      <a:pt x="242362" y="196879"/>
                    </a:cubicBezTo>
                    <a:cubicBezTo>
                      <a:pt x="232689" y="222223"/>
                      <a:pt x="231082" y="247635"/>
                      <a:pt x="219773" y="273048"/>
                    </a:cubicBezTo>
                    <a:cubicBezTo>
                      <a:pt x="218165" y="285755"/>
                      <a:pt x="218165" y="288931"/>
                      <a:pt x="208493" y="296873"/>
                    </a:cubicBezTo>
                    <a:cubicBezTo>
                      <a:pt x="202035" y="307991"/>
                      <a:pt x="198820" y="309579"/>
                      <a:pt x="185904" y="311167"/>
                    </a:cubicBezTo>
                    <a:cubicBezTo>
                      <a:pt x="177838" y="325462"/>
                      <a:pt x="156886" y="325462"/>
                      <a:pt x="145576" y="339757"/>
                    </a:cubicBezTo>
                    <a:cubicBezTo>
                      <a:pt x="140755" y="353982"/>
                      <a:pt x="143969" y="368277"/>
                      <a:pt x="131083" y="377807"/>
                    </a:cubicBezTo>
                    <a:cubicBezTo>
                      <a:pt x="129476" y="398454"/>
                      <a:pt x="121410" y="434985"/>
                      <a:pt x="135904" y="454045"/>
                    </a:cubicBezTo>
                    <a:cubicBezTo>
                      <a:pt x="137511" y="465163"/>
                      <a:pt x="150428" y="469928"/>
                      <a:pt x="160100" y="476281"/>
                    </a:cubicBezTo>
                    <a:cubicBezTo>
                      <a:pt x="169773" y="495271"/>
                      <a:pt x="168166" y="517507"/>
                      <a:pt x="145576" y="520684"/>
                    </a:cubicBezTo>
                    <a:cubicBezTo>
                      <a:pt x="140755" y="530214"/>
                      <a:pt x="132690" y="547685"/>
                      <a:pt x="126231" y="552450"/>
                    </a:cubicBezTo>
                    <a:cubicBezTo>
                      <a:pt x="119773" y="557215"/>
                      <a:pt x="108493" y="544509"/>
                      <a:pt x="106886" y="547685"/>
                    </a:cubicBezTo>
                    <a:cubicBezTo>
                      <a:pt x="108493" y="557215"/>
                      <a:pt x="111707" y="566745"/>
                      <a:pt x="113345" y="576274"/>
                    </a:cubicBezTo>
                    <a:cubicBezTo>
                      <a:pt x="111707" y="595334"/>
                      <a:pt x="121410" y="601687"/>
                      <a:pt x="108493" y="611217"/>
                    </a:cubicBezTo>
                    <a:lnTo>
                      <a:pt x="105849" y="624662"/>
                    </a:lnTo>
                    <a:cubicBezTo>
                      <a:pt x="106079" y="629935"/>
                      <a:pt x="113345" y="617156"/>
                      <a:pt x="113345" y="644502"/>
                    </a:cubicBezTo>
                    <a:cubicBezTo>
                      <a:pt x="113345" y="663562"/>
                      <a:pt x="63345" y="671503"/>
                      <a:pt x="50428" y="676268"/>
                    </a:cubicBezTo>
                    <a:cubicBezTo>
                      <a:pt x="35904" y="687386"/>
                      <a:pt x="35904" y="673091"/>
                      <a:pt x="31083" y="661973"/>
                    </a:cubicBezTo>
                    <a:cubicBezTo>
                      <a:pt x="29476" y="641325"/>
                      <a:pt x="19773" y="625442"/>
                      <a:pt x="6887" y="609629"/>
                    </a:cubicBezTo>
                    <a:cubicBezTo>
                      <a:pt x="5279" y="601687"/>
                      <a:pt x="2035" y="595334"/>
                      <a:pt x="428" y="587392"/>
                    </a:cubicBezTo>
                    <a:cubicBezTo>
                      <a:pt x="-1179" y="574686"/>
                      <a:pt x="2035" y="542920"/>
                      <a:pt x="5279" y="528626"/>
                    </a:cubicBezTo>
                    <a:cubicBezTo>
                      <a:pt x="8494" y="514331"/>
                      <a:pt x="11738" y="512743"/>
                      <a:pt x="14952" y="506389"/>
                    </a:cubicBezTo>
                    <a:cubicBezTo>
                      <a:pt x="19773" y="500036"/>
                      <a:pt x="21410" y="493683"/>
                      <a:pt x="24624" y="485742"/>
                    </a:cubicBezTo>
                    <a:cubicBezTo>
                      <a:pt x="23017" y="460398"/>
                      <a:pt x="31083" y="428632"/>
                      <a:pt x="6887" y="414337"/>
                    </a:cubicBezTo>
                    <a:cubicBezTo>
                      <a:pt x="5279" y="404808"/>
                      <a:pt x="5279" y="398454"/>
                      <a:pt x="10101" y="390513"/>
                    </a:cubicBezTo>
                    <a:cubicBezTo>
                      <a:pt x="11738" y="355570"/>
                      <a:pt x="428" y="320697"/>
                      <a:pt x="31083" y="301637"/>
                    </a:cubicBezTo>
                    <a:cubicBezTo>
                      <a:pt x="34297" y="287343"/>
                      <a:pt x="50428" y="292108"/>
                      <a:pt x="63345" y="290519"/>
                    </a:cubicBezTo>
                    <a:cubicBezTo>
                      <a:pt x="69773" y="279401"/>
                      <a:pt x="68166" y="277813"/>
                      <a:pt x="58493" y="271460"/>
                    </a:cubicBezTo>
                    <a:cubicBezTo>
                      <a:pt x="56886" y="265107"/>
                      <a:pt x="48821" y="263518"/>
                      <a:pt x="48821" y="258754"/>
                    </a:cubicBezTo>
                    <a:cubicBezTo>
                      <a:pt x="48821" y="253989"/>
                      <a:pt x="52035" y="249224"/>
                      <a:pt x="55279" y="239694"/>
                    </a:cubicBezTo>
                    <a:cubicBezTo>
                      <a:pt x="58493" y="230164"/>
                      <a:pt x="66559" y="207928"/>
                      <a:pt x="69773" y="196879"/>
                    </a:cubicBezTo>
                    <a:cubicBezTo>
                      <a:pt x="73017" y="185761"/>
                      <a:pt x="68166" y="179408"/>
                      <a:pt x="73017" y="173055"/>
                    </a:cubicBezTo>
                    <a:cubicBezTo>
                      <a:pt x="76231" y="165113"/>
                      <a:pt x="82690" y="160348"/>
                      <a:pt x="87541" y="152407"/>
                    </a:cubicBezTo>
                    <a:cubicBezTo>
                      <a:pt x="93969" y="142877"/>
                      <a:pt x="102035" y="138112"/>
                      <a:pt x="106886" y="128582"/>
                    </a:cubicBezTo>
                    <a:cubicBezTo>
                      <a:pt x="108493" y="117464"/>
                      <a:pt x="113345" y="107935"/>
                      <a:pt x="116559" y="96816"/>
                    </a:cubicBezTo>
                    <a:cubicBezTo>
                      <a:pt x="119773" y="84110"/>
                      <a:pt x="119773" y="68227"/>
                      <a:pt x="127838" y="58766"/>
                    </a:cubicBezTo>
                    <a:cubicBezTo>
                      <a:pt x="135904" y="49237"/>
                      <a:pt x="148821" y="49237"/>
                      <a:pt x="161707" y="42883"/>
                    </a:cubicBezTo>
                    <a:cubicBezTo>
                      <a:pt x="192362" y="23824"/>
                      <a:pt x="140755" y="27001"/>
                      <a:pt x="203642" y="20647"/>
                    </a:cubicBezTo>
                    <a:cubicBezTo>
                      <a:pt x="213314" y="14294"/>
                      <a:pt x="213314" y="7941"/>
                      <a:pt x="219773" y="4764"/>
                    </a:cubicBezTo>
                    <a:cubicBezTo>
                      <a:pt x="226231" y="1588"/>
                      <a:pt x="239148" y="0"/>
                      <a:pt x="242362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6" name="Freeform 116">
                <a:extLst>
                  <a:ext uri="{FF2B5EF4-FFF2-40B4-BE49-F238E27FC236}">
                    <a16:creationId xmlns:a16="http://schemas.microsoft.com/office/drawing/2014/main" id="{BE77B3DB-9A3D-4CD6-9B19-BE354005AB6B}"/>
                  </a:ext>
                </a:extLst>
              </p:cNvPr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gray">
              <a:xfrm>
                <a:off x="4435476" y="1770063"/>
                <a:ext cx="650875" cy="744538"/>
              </a:xfrm>
              <a:custGeom>
                <a:avLst/>
                <a:gdLst>
                  <a:gd name="T0" fmla="*/ 369 w 403"/>
                  <a:gd name="T1" fmla="*/ 56 h 469"/>
                  <a:gd name="T2" fmla="*/ 398 w 403"/>
                  <a:gd name="T3" fmla="*/ 46 h 469"/>
                  <a:gd name="T4" fmla="*/ 380 w 403"/>
                  <a:gd name="T5" fmla="*/ 29 h 469"/>
                  <a:gd name="T6" fmla="*/ 330 w 403"/>
                  <a:gd name="T7" fmla="*/ 8 h 469"/>
                  <a:gd name="T8" fmla="*/ 266 w 403"/>
                  <a:gd name="T9" fmla="*/ 20 h 469"/>
                  <a:gd name="T10" fmla="*/ 246 w 403"/>
                  <a:gd name="T11" fmla="*/ 41 h 469"/>
                  <a:gd name="T12" fmla="*/ 213 w 403"/>
                  <a:gd name="T13" fmla="*/ 41 h 469"/>
                  <a:gd name="T14" fmla="*/ 188 w 403"/>
                  <a:gd name="T15" fmla="*/ 76 h 469"/>
                  <a:gd name="T16" fmla="*/ 171 w 403"/>
                  <a:gd name="T17" fmla="*/ 86 h 469"/>
                  <a:gd name="T18" fmla="*/ 144 w 403"/>
                  <a:gd name="T19" fmla="*/ 115 h 469"/>
                  <a:gd name="T20" fmla="*/ 111 w 403"/>
                  <a:gd name="T21" fmla="*/ 155 h 469"/>
                  <a:gd name="T22" fmla="*/ 155 w 403"/>
                  <a:gd name="T23" fmla="*/ 133 h 469"/>
                  <a:gd name="T24" fmla="*/ 134 w 403"/>
                  <a:gd name="T25" fmla="*/ 176 h 469"/>
                  <a:gd name="T26" fmla="*/ 108 w 403"/>
                  <a:gd name="T27" fmla="*/ 239 h 469"/>
                  <a:gd name="T28" fmla="*/ 90 w 403"/>
                  <a:gd name="T29" fmla="*/ 266 h 469"/>
                  <a:gd name="T30" fmla="*/ 60 w 403"/>
                  <a:gd name="T31" fmla="*/ 301 h 469"/>
                  <a:gd name="T32" fmla="*/ 5 w 403"/>
                  <a:gd name="T33" fmla="*/ 386 h 469"/>
                  <a:gd name="T34" fmla="*/ 11 w 403"/>
                  <a:gd name="T35" fmla="*/ 415 h 469"/>
                  <a:gd name="T36" fmla="*/ 24 w 403"/>
                  <a:gd name="T37" fmla="*/ 454 h 469"/>
                  <a:gd name="T38" fmla="*/ 65 w 403"/>
                  <a:gd name="T39" fmla="*/ 466 h 469"/>
                  <a:gd name="T40" fmla="*/ 78 w 403"/>
                  <a:gd name="T41" fmla="*/ 445 h 469"/>
                  <a:gd name="T42" fmla="*/ 92 w 403"/>
                  <a:gd name="T43" fmla="*/ 433 h 469"/>
                  <a:gd name="T44" fmla="*/ 113 w 403"/>
                  <a:gd name="T45" fmla="*/ 433 h 469"/>
                  <a:gd name="T46" fmla="*/ 122 w 403"/>
                  <a:gd name="T47" fmla="*/ 379 h 469"/>
                  <a:gd name="T48" fmla="*/ 119 w 403"/>
                  <a:gd name="T49" fmla="*/ 340 h 469"/>
                  <a:gd name="T50" fmla="*/ 119 w 403"/>
                  <a:gd name="T51" fmla="*/ 303 h 469"/>
                  <a:gd name="T52" fmla="*/ 143 w 403"/>
                  <a:gd name="T53" fmla="*/ 283 h 469"/>
                  <a:gd name="T54" fmla="*/ 140 w 403"/>
                  <a:gd name="T55" fmla="*/ 263 h 469"/>
                  <a:gd name="T56" fmla="*/ 153 w 403"/>
                  <a:gd name="T57" fmla="*/ 221 h 469"/>
                  <a:gd name="T58" fmla="*/ 177 w 403"/>
                  <a:gd name="T59" fmla="*/ 182 h 469"/>
                  <a:gd name="T60" fmla="*/ 192 w 403"/>
                  <a:gd name="T61" fmla="*/ 134 h 469"/>
                  <a:gd name="T62" fmla="*/ 215 w 403"/>
                  <a:gd name="T63" fmla="*/ 127 h 469"/>
                  <a:gd name="T64" fmla="*/ 221 w 403"/>
                  <a:gd name="T65" fmla="*/ 115 h 469"/>
                  <a:gd name="T66" fmla="*/ 240 w 403"/>
                  <a:gd name="T67" fmla="*/ 112 h 469"/>
                  <a:gd name="T68" fmla="*/ 254 w 403"/>
                  <a:gd name="T69" fmla="*/ 89 h 469"/>
                  <a:gd name="T70" fmla="*/ 269 w 403"/>
                  <a:gd name="T71" fmla="*/ 112 h 469"/>
                  <a:gd name="T72" fmla="*/ 293 w 403"/>
                  <a:gd name="T73" fmla="*/ 106 h 469"/>
                  <a:gd name="T74" fmla="*/ 320 w 403"/>
                  <a:gd name="T75" fmla="*/ 97 h 469"/>
                  <a:gd name="T76" fmla="*/ 342 w 403"/>
                  <a:gd name="T77" fmla="*/ 59 h 469"/>
                  <a:gd name="T78" fmla="*/ 368 w 403"/>
                  <a:gd name="T79" fmla="*/ 6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3" h="469">
                    <a:moveTo>
                      <a:pt x="368" y="68"/>
                    </a:moveTo>
                    <a:cubicBezTo>
                      <a:pt x="379" y="66"/>
                      <a:pt x="379" y="60"/>
                      <a:pt x="369" y="56"/>
                    </a:cubicBezTo>
                    <a:cubicBezTo>
                      <a:pt x="374" y="55"/>
                      <a:pt x="378" y="53"/>
                      <a:pt x="383" y="52"/>
                    </a:cubicBezTo>
                    <a:cubicBezTo>
                      <a:pt x="388" y="49"/>
                      <a:pt x="392" y="47"/>
                      <a:pt x="398" y="46"/>
                    </a:cubicBezTo>
                    <a:cubicBezTo>
                      <a:pt x="403" y="38"/>
                      <a:pt x="398" y="41"/>
                      <a:pt x="392" y="38"/>
                    </a:cubicBezTo>
                    <a:cubicBezTo>
                      <a:pt x="389" y="33"/>
                      <a:pt x="385" y="32"/>
                      <a:pt x="380" y="29"/>
                    </a:cubicBezTo>
                    <a:cubicBezTo>
                      <a:pt x="370" y="16"/>
                      <a:pt x="365" y="13"/>
                      <a:pt x="348" y="11"/>
                    </a:cubicBezTo>
                    <a:cubicBezTo>
                      <a:pt x="342" y="10"/>
                      <a:pt x="330" y="8"/>
                      <a:pt x="330" y="8"/>
                    </a:cubicBezTo>
                    <a:cubicBezTo>
                      <a:pt x="319" y="0"/>
                      <a:pt x="298" y="6"/>
                      <a:pt x="288" y="7"/>
                    </a:cubicBezTo>
                    <a:cubicBezTo>
                      <a:pt x="286" y="21"/>
                      <a:pt x="281" y="19"/>
                      <a:pt x="266" y="20"/>
                    </a:cubicBezTo>
                    <a:cubicBezTo>
                      <a:pt x="257" y="23"/>
                      <a:pt x="255" y="30"/>
                      <a:pt x="266" y="32"/>
                    </a:cubicBezTo>
                    <a:cubicBezTo>
                      <a:pt x="263" y="39"/>
                      <a:pt x="254" y="40"/>
                      <a:pt x="246" y="41"/>
                    </a:cubicBezTo>
                    <a:cubicBezTo>
                      <a:pt x="240" y="40"/>
                      <a:pt x="237" y="37"/>
                      <a:pt x="231" y="35"/>
                    </a:cubicBezTo>
                    <a:cubicBezTo>
                      <a:pt x="225" y="38"/>
                      <a:pt x="219" y="40"/>
                      <a:pt x="213" y="41"/>
                    </a:cubicBezTo>
                    <a:cubicBezTo>
                      <a:pt x="208" y="50"/>
                      <a:pt x="212" y="58"/>
                      <a:pt x="203" y="65"/>
                    </a:cubicBezTo>
                    <a:cubicBezTo>
                      <a:pt x="199" y="74"/>
                      <a:pt x="199" y="74"/>
                      <a:pt x="188" y="76"/>
                    </a:cubicBezTo>
                    <a:cubicBezTo>
                      <a:pt x="181" y="80"/>
                      <a:pt x="180" y="98"/>
                      <a:pt x="180" y="98"/>
                    </a:cubicBezTo>
                    <a:cubicBezTo>
                      <a:pt x="175" y="94"/>
                      <a:pt x="174" y="91"/>
                      <a:pt x="171" y="86"/>
                    </a:cubicBezTo>
                    <a:cubicBezTo>
                      <a:pt x="162" y="89"/>
                      <a:pt x="158" y="89"/>
                      <a:pt x="153" y="98"/>
                    </a:cubicBezTo>
                    <a:cubicBezTo>
                      <a:pt x="152" y="105"/>
                      <a:pt x="150" y="111"/>
                      <a:pt x="144" y="115"/>
                    </a:cubicBezTo>
                    <a:cubicBezTo>
                      <a:pt x="139" y="122"/>
                      <a:pt x="143" y="127"/>
                      <a:pt x="135" y="130"/>
                    </a:cubicBezTo>
                    <a:cubicBezTo>
                      <a:pt x="124" y="141"/>
                      <a:pt x="128" y="152"/>
                      <a:pt x="111" y="155"/>
                    </a:cubicBezTo>
                    <a:cubicBezTo>
                      <a:pt x="115" y="165"/>
                      <a:pt x="121" y="155"/>
                      <a:pt x="128" y="154"/>
                    </a:cubicBezTo>
                    <a:cubicBezTo>
                      <a:pt x="141" y="147"/>
                      <a:pt x="145" y="138"/>
                      <a:pt x="155" y="133"/>
                    </a:cubicBezTo>
                    <a:cubicBezTo>
                      <a:pt x="167" y="137"/>
                      <a:pt x="149" y="152"/>
                      <a:pt x="141" y="157"/>
                    </a:cubicBezTo>
                    <a:cubicBezTo>
                      <a:pt x="135" y="164"/>
                      <a:pt x="141" y="172"/>
                      <a:pt x="134" y="176"/>
                    </a:cubicBezTo>
                    <a:cubicBezTo>
                      <a:pt x="132" y="187"/>
                      <a:pt x="127" y="201"/>
                      <a:pt x="116" y="205"/>
                    </a:cubicBezTo>
                    <a:cubicBezTo>
                      <a:pt x="108" y="215"/>
                      <a:pt x="114" y="228"/>
                      <a:pt x="108" y="239"/>
                    </a:cubicBezTo>
                    <a:cubicBezTo>
                      <a:pt x="107" y="246"/>
                      <a:pt x="104" y="244"/>
                      <a:pt x="98" y="248"/>
                    </a:cubicBezTo>
                    <a:cubicBezTo>
                      <a:pt x="96" y="254"/>
                      <a:pt x="93" y="260"/>
                      <a:pt x="90" y="266"/>
                    </a:cubicBezTo>
                    <a:cubicBezTo>
                      <a:pt x="88" y="278"/>
                      <a:pt x="84" y="275"/>
                      <a:pt x="71" y="277"/>
                    </a:cubicBezTo>
                    <a:cubicBezTo>
                      <a:pt x="66" y="284"/>
                      <a:pt x="64" y="293"/>
                      <a:pt x="60" y="301"/>
                    </a:cubicBezTo>
                    <a:cubicBezTo>
                      <a:pt x="54" y="312"/>
                      <a:pt x="23" y="331"/>
                      <a:pt x="11" y="337"/>
                    </a:cubicBezTo>
                    <a:cubicBezTo>
                      <a:pt x="0" y="352"/>
                      <a:pt x="6" y="364"/>
                      <a:pt x="5" y="386"/>
                    </a:cubicBezTo>
                    <a:cubicBezTo>
                      <a:pt x="5" y="395"/>
                      <a:pt x="4" y="404"/>
                      <a:pt x="6" y="413"/>
                    </a:cubicBezTo>
                    <a:cubicBezTo>
                      <a:pt x="6" y="415"/>
                      <a:pt x="11" y="413"/>
                      <a:pt x="11" y="415"/>
                    </a:cubicBezTo>
                    <a:cubicBezTo>
                      <a:pt x="12" y="420"/>
                      <a:pt x="15" y="436"/>
                      <a:pt x="17" y="442"/>
                    </a:cubicBezTo>
                    <a:cubicBezTo>
                      <a:pt x="19" y="448"/>
                      <a:pt x="20" y="449"/>
                      <a:pt x="24" y="454"/>
                    </a:cubicBezTo>
                    <a:cubicBezTo>
                      <a:pt x="31" y="463"/>
                      <a:pt x="29" y="466"/>
                      <a:pt x="41" y="469"/>
                    </a:cubicBezTo>
                    <a:cubicBezTo>
                      <a:pt x="52" y="468"/>
                      <a:pt x="55" y="469"/>
                      <a:pt x="65" y="466"/>
                    </a:cubicBezTo>
                    <a:cubicBezTo>
                      <a:pt x="71" y="465"/>
                      <a:pt x="69" y="460"/>
                      <a:pt x="71" y="457"/>
                    </a:cubicBezTo>
                    <a:cubicBezTo>
                      <a:pt x="73" y="454"/>
                      <a:pt x="74" y="446"/>
                      <a:pt x="78" y="445"/>
                    </a:cubicBezTo>
                    <a:cubicBezTo>
                      <a:pt x="80" y="442"/>
                      <a:pt x="92" y="451"/>
                      <a:pt x="93" y="448"/>
                    </a:cubicBezTo>
                    <a:cubicBezTo>
                      <a:pt x="95" y="447"/>
                      <a:pt x="92" y="435"/>
                      <a:pt x="92" y="433"/>
                    </a:cubicBezTo>
                    <a:cubicBezTo>
                      <a:pt x="92" y="431"/>
                      <a:pt x="92" y="436"/>
                      <a:pt x="95" y="436"/>
                    </a:cubicBezTo>
                    <a:cubicBezTo>
                      <a:pt x="99" y="432"/>
                      <a:pt x="107" y="434"/>
                      <a:pt x="113" y="433"/>
                    </a:cubicBezTo>
                    <a:cubicBezTo>
                      <a:pt x="120" y="425"/>
                      <a:pt x="118" y="413"/>
                      <a:pt x="126" y="407"/>
                    </a:cubicBezTo>
                    <a:cubicBezTo>
                      <a:pt x="130" y="398"/>
                      <a:pt x="128" y="386"/>
                      <a:pt x="122" y="379"/>
                    </a:cubicBezTo>
                    <a:cubicBezTo>
                      <a:pt x="119" y="356"/>
                      <a:pt x="120" y="368"/>
                      <a:pt x="114" y="355"/>
                    </a:cubicBezTo>
                    <a:cubicBezTo>
                      <a:pt x="116" y="350"/>
                      <a:pt x="117" y="345"/>
                      <a:pt x="119" y="340"/>
                    </a:cubicBezTo>
                    <a:cubicBezTo>
                      <a:pt x="120" y="335"/>
                      <a:pt x="117" y="334"/>
                      <a:pt x="117" y="328"/>
                    </a:cubicBezTo>
                    <a:cubicBezTo>
                      <a:pt x="117" y="322"/>
                      <a:pt x="117" y="310"/>
                      <a:pt x="119" y="303"/>
                    </a:cubicBezTo>
                    <a:cubicBezTo>
                      <a:pt x="121" y="296"/>
                      <a:pt x="125" y="290"/>
                      <a:pt x="129" y="287"/>
                    </a:cubicBezTo>
                    <a:cubicBezTo>
                      <a:pt x="133" y="284"/>
                      <a:pt x="140" y="285"/>
                      <a:pt x="143" y="283"/>
                    </a:cubicBezTo>
                    <a:cubicBezTo>
                      <a:pt x="146" y="281"/>
                      <a:pt x="147" y="278"/>
                      <a:pt x="147" y="275"/>
                    </a:cubicBezTo>
                    <a:cubicBezTo>
                      <a:pt x="147" y="272"/>
                      <a:pt x="140" y="268"/>
                      <a:pt x="140" y="263"/>
                    </a:cubicBezTo>
                    <a:cubicBezTo>
                      <a:pt x="141" y="256"/>
                      <a:pt x="143" y="252"/>
                      <a:pt x="146" y="245"/>
                    </a:cubicBezTo>
                    <a:cubicBezTo>
                      <a:pt x="147" y="238"/>
                      <a:pt x="150" y="228"/>
                      <a:pt x="153" y="221"/>
                    </a:cubicBezTo>
                    <a:cubicBezTo>
                      <a:pt x="156" y="214"/>
                      <a:pt x="158" y="210"/>
                      <a:pt x="162" y="203"/>
                    </a:cubicBezTo>
                    <a:cubicBezTo>
                      <a:pt x="166" y="195"/>
                      <a:pt x="169" y="186"/>
                      <a:pt x="177" y="182"/>
                    </a:cubicBezTo>
                    <a:cubicBezTo>
                      <a:pt x="180" y="175"/>
                      <a:pt x="179" y="172"/>
                      <a:pt x="182" y="164"/>
                    </a:cubicBezTo>
                    <a:cubicBezTo>
                      <a:pt x="185" y="156"/>
                      <a:pt x="187" y="140"/>
                      <a:pt x="192" y="134"/>
                    </a:cubicBezTo>
                    <a:cubicBezTo>
                      <a:pt x="198" y="131"/>
                      <a:pt x="205" y="132"/>
                      <a:pt x="212" y="131"/>
                    </a:cubicBezTo>
                    <a:cubicBezTo>
                      <a:pt x="213" y="130"/>
                      <a:pt x="215" y="129"/>
                      <a:pt x="215" y="127"/>
                    </a:cubicBezTo>
                    <a:cubicBezTo>
                      <a:pt x="216" y="122"/>
                      <a:pt x="214" y="117"/>
                      <a:pt x="216" y="113"/>
                    </a:cubicBezTo>
                    <a:cubicBezTo>
                      <a:pt x="217" y="111"/>
                      <a:pt x="219" y="114"/>
                      <a:pt x="221" y="115"/>
                    </a:cubicBezTo>
                    <a:cubicBezTo>
                      <a:pt x="230" y="119"/>
                      <a:pt x="224" y="117"/>
                      <a:pt x="233" y="119"/>
                    </a:cubicBezTo>
                    <a:cubicBezTo>
                      <a:pt x="236" y="119"/>
                      <a:pt x="237" y="115"/>
                      <a:pt x="240" y="112"/>
                    </a:cubicBezTo>
                    <a:cubicBezTo>
                      <a:pt x="243" y="109"/>
                      <a:pt x="250" y="107"/>
                      <a:pt x="252" y="103"/>
                    </a:cubicBezTo>
                    <a:cubicBezTo>
                      <a:pt x="261" y="115"/>
                      <a:pt x="253" y="91"/>
                      <a:pt x="254" y="89"/>
                    </a:cubicBezTo>
                    <a:cubicBezTo>
                      <a:pt x="255" y="88"/>
                      <a:pt x="257" y="90"/>
                      <a:pt x="258" y="91"/>
                    </a:cubicBezTo>
                    <a:cubicBezTo>
                      <a:pt x="262" y="99"/>
                      <a:pt x="261" y="108"/>
                      <a:pt x="269" y="112"/>
                    </a:cubicBezTo>
                    <a:cubicBezTo>
                      <a:pt x="273" y="115"/>
                      <a:pt x="274" y="110"/>
                      <a:pt x="278" y="109"/>
                    </a:cubicBezTo>
                    <a:cubicBezTo>
                      <a:pt x="282" y="108"/>
                      <a:pt x="288" y="105"/>
                      <a:pt x="293" y="106"/>
                    </a:cubicBezTo>
                    <a:cubicBezTo>
                      <a:pt x="298" y="107"/>
                      <a:pt x="305" y="116"/>
                      <a:pt x="309" y="115"/>
                    </a:cubicBezTo>
                    <a:cubicBezTo>
                      <a:pt x="312" y="114"/>
                      <a:pt x="319" y="105"/>
                      <a:pt x="320" y="97"/>
                    </a:cubicBezTo>
                    <a:cubicBezTo>
                      <a:pt x="323" y="89"/>
                      <a:pt x="320" y="73"/>
                      <a:pt x="324" y="67"/>
                    </a:cubicBezTo>
                    <a:cubicBezTo>
                      <a:pt x="328" y="61"/>
                      <a:pt x="337" y="60"/>
                      <a:pt x="342" y="59"/>
                    </a:cubicBezTo>
                    <a:cubicBezTo>
                      <a:pt x="347" y="59"/>
                      <a:pt x="350" y="58"/>
                      <a:pt x="354" y="59"/>
                    </a:cubicBezTo>
                    <a:cubicBezTo>
                      <a:pt x="358" y="60"/>
                      <a:pt x="365" y="66"/>
                      <a:pt x="368" y="6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7" name="Freeform 117">
                <a:extLst>
                  <a:ext uri="{FF2B5EF4-FFF2-40B4-BE49-F238E27FC236}">
                    <a16:creationId xmlns:a16="http://schemas.microsoft.com/office/drawing/2014/main" id="{56E63D9D-FE30-48CE-9B0D-82F85B10FF06}"/>
                  </a:ext>
                </a:extLst>
              </p:cNvPr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gray">
              <a:xfrm>
                <a:off x="4856163" y="2435225"/>
                <a:ext cx="173038" cy="133350"/>
              </a:xfrm>
              <a:custGeom>
                <a:avLst/>
                <a:gdLst>
                  <a:gd name="T0" fmla="*/ 8 w 107"/>
                  <a:gd name="T1" fmla="*/ 26 h 84"/>
                  <a:gd name="T2" fmla="*/ 29 w 107"/>
                  <a:gd name="T3" fmla="*/ 17 h 84"/>
                  <a:gd name="T4" fmla="*/ 47 w 107"/>
                  <a:gd name="T5" fmla="*/ 6 h 84"/>
                  <a:gd name="T6" fmla="*/ 60 w 107"/>
                  <a:gd name="T7" fmla="*/ 0 h 84"/>
                  <a:gd name="T8" fmla="*/ 101 w 107"/>
                  <a:gd name="T9" fmla="*/ 8 h 84"/>
                  <a:gd name="T10" fmla="*/ 92 w 107"/>
                  <a:gd name="T11" fmla="*/ 42 h 84"/>
                  <a:gd name="T12" fmla="*/ 92 w 107"/>
                  <a:gd name="T13" fmla="*/ 59 h 84"/>
                  <a:gd name="T14" fmla="*/ 51 w 107"/>
                  <a:gd name="T15" fmla="*/ 45 h 84"/>
                  <a:gd name="T16" fmla="*/ 38 w 107"/>
                  <a:gd name="T17" fmla="*/ 54 h 84"/>
                  <a:gd name="T18" fmla="*/ 5 w 107"/>
                  <a:gd name="T19" fmla="*/ 63 h 84"/>
                  <a:gd name="T20" fmla="*/ 5 w 107"/>
                  <a:gd name="T21" fmla="*/ 51 h 84"/>
                  <a:gd name="T22" fmla="*/ 8 w 107"/>
                  <a:gd name="T23" fmla="*/ 2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7" h="84">
                    <a:moveTo>
                      <a:pt x="8" y="26"/>
                    </a:moveTo>
                    <a:cubicBezTo>
                      <a:pt x="16" y="22"/>
                      <a:pt x="19" y="19"/>
                      <a:pt x="29" y="17"/>
                    </a:cubicBezTo>
                    <a:cubicBezTo>
                      <a:pt x="35" y="7"/>
                      <a:pt x="34" y="8"/>
                      <a:pt x="47" y="6"/>
                    </a:cubicBezTo>
                    <a:cubicBezTo>
                      <a:pt x="51" y="3"/>
                      <a:pt x="55" y="2"/>
                      <a:pt x="60" y="0"/>
                    </a:cubicBezTo>
                    <a:cubicBezTo>
                      <a:pt x="74" y="2"/>
                      <a:pt x="88" y="0"/>
                      <a:pt x="101" y="8"/>
                    </a:cubicBezTo>
                    <a:cubicBezTo>
                      <a:pt x="107" y="14"/>
                      <a:pt x="94" y="34"/>
                      <a:pt x="92" y="42"/>
                    </a:cubicBezTo>
                    <a:cubicBezTo>
                      <a:pt x="90" y="51"/>
                      <a:pt x="99" y="59"/>
                      <a:pt x="92" y="59"/>
                    </a:cubicBezTo>
                    <a:cubicBezTo>
                      <a:pt x="54" y="58"/>
                      <a:pt x="71" y="57"/>
                      <a:pt x="51" y="45"/>
                    </a:cubicBezTo>
                    <a:cubicBezTo>
                      <a:pt x="35" y="48"/>
                      <a:pt x="47" y="50"/>
                      <a:pt x="38" y="54"/>
                    </a:cubicBezTo>
                    <a:cubicBezTo>
                      <a:pt x="35" y="84"/>
                      <a:pt x="26" y="66"/>
                      <a:pt x="5" y="63"/>
                    </a:cubicBezTo>
                    <a:cubicBezTo>
                      <a:pt x="0" y="55"/>
                      <a:pt x="1" y="60"/>
                      <a:pt x="5" y="51"/>
                    </a:cubicBezTo>
                    <a:cubicBezTo>
                      <a:pt x="7" y="42"/>
                      <a:pt x="6" y="36"/>
                      <a:pt x="8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8" name="Freeform 118">
                <a:extLst>
                  <a:ext uri="{FF2B5EF4-FFF2-40B4-BE49-F238E27FC236}">
                    <a16:creationId xmlns:a16="http://schemas.microsoft.com/office/drawing/2014/main" id="{EA93761D-BB4E-4595-8EAC-48F7706F3673}"/>
                  </a:ext>
                </a:extLst>
              </p:cNvPr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gray">
              <a:xfrm>
                <a:off x="4051301" y="3579813"/>
                <a:ext cx="387350" cy="369888"/>
              </a:xfrm>
              <a:custGeom>
                <a:avLst/>
                <a:gdLst>
                  <a:gd name="T0" fmla="*/ 1 w 240"/>
                  <a:gd name="T1" fmla="*/ 157 h 233"/>
                  <a:gd name="T2" fmla="*/ 82 w 240"/>
                  <a:gd name="T3" fmla="*/ 158 h 233"/>
                  <a:gd name="T4" fmla="*/ 96 w 240"/>
                  <a:gd name="T5" fmla="*/ 145 h 233"/>
                  <a:gd name="T6" fmla="*/ 85 w 240"/>
                  <a:gd name="T7" fmla="*/ 73 h 233"/>
                  <a:gd name="T8" fmla="*/ 73 w 240"/>
                  <a:gd name="T9" fmla="*/ 25 h 233"/>
                  <a:gd name="T10" fmla="*/ 82 w 240"/>
                  <a:gd name="T11" fmla="*/ 10 h 233"/>
                  <a:gd name="T12" fmla="*/ 99 w 240"/>
                  <a:gd name="T13" fmla="*/ 5 h 233"/>
                  <a:gd name="T14" fmla="*/ 120 w 240"/>
                  <a:gd name="T15" fmla="*/ 14 h 233"/>
                  <a:gd name="T16" fmla="*/ 133 w 240"/>
                  <a:gd name="T17" fmla="*/ 26 h 233"/>
                  <a:gd name="T18" fmla="*/ 147 w 240"/>
                  <a:gd name="T19" fmla="*/ 35 h 233"/>
                  <a:gd name="T20" fmla="*/ 165 w 240"/>
                  <a:gd name="T21" fmla="*/ 47 h 233"/>
                  <a:gd name="T22" fmla="*/ 178 w 240"/>
                  <a:gd name="T23" fmla="*/ 56 h 233"/>
                  <a:gd name="T24" fmla="*/ 186 w 240"/>
                  <a:gd name="T25" fmla="*/ 62 h 233"/>
                  <a:gd name="T26" fmla="*/ 201 w 240"/>
                  <a:gd name="T27" fmla="*/ 79 h 233"/>
                  <a:gd name="T28" fmla="*/ 210 w 240"/>
                  <a:gd name="T29" fmla="*/ 86 h 233"/>
                  <a:gd name="T30" fmla="*/ 235 w 240"/>
                  <a:gd name="T31" fmla="*/ 98 h 233"/>
                  <a:gd name="T32" fmla="*/ 237 w 240"/>
                  <a:gd name="T33" fmla="*/ 119 h 233"/>
                  <a:gd name="T34" fmla="*/ 237 w 240"/>
                  <a:gd name="T35" fmla="*/ 142 h 233"/>
                  <a:gd name="T36" fmla="*/ 226 w 240"/>
                  <a:gd name="T37" fmla="*/ 152 h 233"/>
                  <a:gd name="T38" fmla="*/ 202 w 240"/>
                  <a:gd name="T39" fmla="*/ 155 h 233"/>
                  <a:gd name="T40" fmla="*/ 172 w 240"/>
                  <a:gd name="T41" fmla="*/ 160 h 233"/>
                  <a:gd name="T42" fmla="*/ 148 w 240"/>
                  <a:gd name="T43" fmla="*/ 167 h 233"/>
                  <a:gd name="T44" fmla="*/ 127 w 240"/>
                  <a:gd name="T45" fmla="*/ 181 h 233"/>
                  <a:gd name="T46" fmla="*/ 115 w 240"/>
                  <a:gd name="T47" fmla="*/ 185 h 233"/>
                  <a:gd name="T48" fmla="*/ 102 w 240"/>
                  <a:gd name="T49" fmla="*/ 206 h 233"/>
                  <a:gd name="T50" fmla="*/ 93 w 240"/>
                  <a:gd name="T51" fmla="*/ 233 h 233"/>
                  <a:gd name="T52" fmla="*/ 49 w 240"/>
                  <a:gd name="T53" fmla="*/ 230 h 233"/>
                  <a:gd name="T54" fmla="*/ 28 w 240"/>
                  <a:gd name="T55" fmla="*/ 208 h 233"/>
                  <a:gd name="T56" fmla="*/ 6 w 240"/>
                  <a:gd name="T57" fmla="*/ 202 h 233"/>
                  <a:gd name="T58" fmla="*/ 1 w 240"/>
                  <a:gd name="T59" fmla="*/ 157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33">
                    <a:moveTo>
                      <a:pt x="1" y="157"/>
                    </a:moveTo>
                    <a:cubicBezTo>
                      <a:pt x="30" y="160"/>
                      <a:pt x="52" y="159"/>
                      <a:pt x="82" y="158"/>
                    </a:cubicBezTo>
                    <a:cubicBezTo>
                      <a:pt x="90" y="156"/>
                      <a:pt x="92" y="152"/>
                      <a:pt x="96" y="145"/>
                    </a:cubicBezTo>
                    <a:cubicBezTo>
                      <a:pt x="94" y="120"/>
                      <a:pt x="93" y="97"/>
                      <a:pt x="85" y="73"/>
                    </a:cubicBezTo>
                    <a:cubicBezTo>
                      <a:pt x="82" y="58"/>
                      <a:pt x="73" y="35"/>
                      <a:pt x="73" y="25"/>
                    </a:cubicBezTo>
                    <a:cubicBezTo>
                      <a:pt x="73" y="15"/>
                      <a:pt x="78" y="13"/>
                      <a:pt x="82" y="10"/>
                    </a:cubicBezTo>
                    <a:cubicBezTo>
                      <a:pt x="84" y="0"/>
                      <a:pt x="93" y="4"/>
                      <a:pt x="99" y="5"/>
                    </a:cubicBezTo>
                    <a:cubicBezTo>
                      <a:pt x="105" y="6"/>
                      <a:pt x="114" y="11"/>
                      <a:pt x="120" y="14"/>
                    </a:cubicBezTo>
                    <a:cubicBezTo>
                      <a:pt x="121" y="20"/>
                      <a:pt x="127" y="23"/>
                      <a:pt x="133" y="26"/>
                    </a:cubicBezTo>
                    <a:cubicBezTo>
                      <a:pt x="138" y="33"/>
                      <a:pt x="139" y="34"/>
                      <a:pt x="147" y="35"/>
                    </a:cubicBezTo>
                    <a:cubicBezTo>
                      <a:pt x="155" y="38"/>
                      <a:pt x="158" y="43"/>
                      <a:pt x="165" y="47"/>
                    </a:cubicBezTo>
                    <a:cubicBezTo>
                      <a:pt x="169" y="54"/>
                      <a:pt x="172" y="52"/>
                      <a:pt x="178" y="56"/>
                    </a:cubicBezTo>
                    <a:cubicBezTo>
                      <a:pt x="180" y="59"/>
                      <a:pt x="185" y="59"/>
                      <a:pt x="186" y="62"/>
                    </a:cubicBezTo>
                    <a:cubicBezTo>
                      <a:pt x="188" y="66"/>
                      <a:pt x="197" y="75"/>
                      <a:pt x="201" y="79"/>
                    </a:cubicBezTo>
                    <a:cubicBezTo>
                      <a:pt x="205" y="83"/>
                      <a:pt x="204" y="83"/>
                      <a:pt x="210" y="86"/>
                    </a:cubicBezTo>
                    <a:cubicBezTo>
                      <a:pt x="220" y="89"/>
                      <a:pt x="227" y="92"/>
                      <a:pt x="235" y="98"/>
                    </a:cubicBezTo>
                    <a:cubicBezTo>
                      <a:pt x="240" y="104"/>
                      <a:pt x="238" y="110"/>
                      <a:pt x="237" y="119"/>
                    </a:cubicBezTo>
                    <a:cubicBezTo>
                      <a:pt x="237" y="126"/>
                      <a:pt x="239" y="137"/>
                      <a:pt x="237" y="142"/>
                    </a:cubicBezTo>
                    <a:cubicBezTo>
                      <a:pt x="235" y="147"/>
                      <a:pt x="232" y="150"/>
                      <a:pt x="226" y="152"/>
                    </a:cubicBezTo>
                    <a:cubicBezTo>
                      <a:pt x="220" y="162"/>
                      <a:pt x="211" y="154"/>
                      <a:pt x="202" y="155"/>
                    </a:cubicBezTo>
                    <a:cubicBezTo>
                      <a:pt x="193" y="156"/>
                      <a:pt x="181" y="158"/>
                      <a:pt x="172" y="160"/>
                    </a:cubicBezTo>
                    <a:cubicBezTo>
                      <a:pt x="162" y="161"/>
                      <a:pt x="157" y="165"/>
                      <a:pt x="148" y="167"/>
                    </a:cubicBezTo>
                    <a:cubicBezTo>
                      <a:pt x="140" y="171"/>
                      <a:pt x="135" y="179"/>
                      <a:pt x="127" y="181"/>
                    </a:cubicBezTo>
                    <a:cubicBezTo>
                      <a:pt x="122" y="187"/>
                      <a:pt x="123" y="184"/>
                      <a:pt x="115" y="185"/>
                    </a:cubicBezTo>
                    <a:cubicBezTo>
                      <a:pt x="108" y="196"/>
                      <a:pt x="113" y="199"/>
                      <a:pt x="102" y="206"/>
                    </a:cubicBezTo>
                    <a:cubicBezTo>
                      <a:pt x="97" y="213"/>
                      <a:pt x="102" y="229"/>
                      <a:pt x="93" y="233"/>
                    </a:cubicBezTo>
                    <a:cubicBezTo>
                      <a:pt x="81" y="232"/>
                      <a:pt x="61" y="232"/>
                      <a:pt x="49" y="230"/>
                    </a:cubicBezTo>
                    <a:cubicBezTo>
                      <a:pt x="54" y="230"/>
                      <a:pt x="37" y="210"/>
                      <a:pt x="28" y="208"/>
                    </a:cubicBezTo>
                    <a:cubicBezTo>
                      <a:pt x="22" y="205"/>
                      <a:pt x="13" y="203"/>
                      <a:pt x="6" y="202"/>
                    </a:cubicBezTo>
                    <a:cubicBezTo>
                      <a:pt x="0" y="193"/>
                      <a:pt x="2" y="167"/>
                      <a:pt x="1" y="15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9" name="Freeform 119">
                <a:extLst>
                  <a:ext uri="{FF2B5EF4-FFF2-40B4-BE49-F238E27FC236}">
                    <a16:creationId xmlns:a16="http://schemas.microsoft.com/office/drawing/2014/main" id="{2D6F1F68-F09F-4B66-9778-41193050E720}"/>
                  </a:ext>
                </a:extLst>
              </p:cNvPr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gray">
              <a:xfrm>
                <a:off x="4935538" y="4554538"/>
                <a:ext cx="195263" cy="185738"/>
              </a:xfrm>
              <a:custGeom>
                <a:avLst/>
                <a:gdLst>
                  <a:gd name="T0" fmla="*/ 2 w 121"/>
                  <a:gd name="T1" fmla="*/ 42 h 117"/>
                  <a:gd name="T2" fmla="*/ 34 w 121"/>
                  <a:gd name="T3" fmla="*/ 36 h 117"/>
                  <a:gd name="T4" fmla="*/ 49 w 121"/>
                  <a:gd name="T5" fmla="*/ 20 h 117"/>
                  <a:gd name="T6" fmla="*/ 58 w 121"/>
                  <a:gd name="T7" fmla="*/ 11 h 117"/>
                  <a:gd name="T8" fmla="*/ 77 w 121"/>
                  <a:gd name="T9" fmla="*/ 0 h 117"/>
                  <a:gd name="T10" fmla="*/ 92 w 121"/>
                  <a:gd name="T11" fmla="*/ 12 h 117"/>
                  <a:gd name="T12" fmla="*/ 109 w 121"/>
                  <a:gd name="T13" fmla="*/ 21 h 117"/>
                  <a:gd name="T14" fmla="*/ 110 w 121"/>
                  <a:gd name="T15" fmla="*/ 92 h 117"/>
                  <a:gd name="T16" fmla="*/ 101 w 121"/>
                  <a:gd name="T17" fmla="*/ 108 h 117"/>
                  <a:gd name="T18" fmla="*/ 83 w 121"/>
                  <a:gd name="T19" fmla="*/ 114 h 117"/>
                  <a:gd name="T20" fmla="*/ 44 w 121"/>
                  <a:gd name="T21" fmla="*/ 98 h 117"/>
                  <a:gd name="T22" fmla="*/ 32 w 121"/>
                  <a:gd name="T23" fmla="*/ 89 h 117"/>
                  <a:gd name="T24" fmla="*/ 26 w 121"/>
                  <a:gd name="T25" fmla="*/ 78 h 117"/>
                  <a:gd name="T26" fmla="*/ 14 w 121"/>
                  <a:gd name="T27" fmla="*/ 71 h 117"/>
                  <a:gd name="T28" fmla="*/ 6 w 121"/>
                  <a:gd name="T29" fmla="*/ 59 h 117"/>
                  <a:gd name="T30" fmla="*/ 2 w 121"/>
                  <a:gd name="T31" fmla="*/ 51 h 117"/>
                  <a:gd name="T32" fmla="*/ 2 w 121"/>
                  <a:gd name="T33" fmla="*/ 4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1" h="117">
                    <a:moveTo>
                      <a:pt x="2" y="42"/>
                    </a:moveTo>
                    <a:cubicBezTo>
                      <a:pt x="22" y="41"/>
                      <a:pt x="22" y="43"/>
                      <a:pt x="34" y="36"/>
                    </a:cubicBezTo>
                    <a:cubicBezTo>
                      <a:pt x="27" y="23"/>
                      <a:pt x="39" y="21"/>
                      <a:pt x="49" y="20"/>
                    </a:cubicBezTo>
                    <a:cubicBezTo>
                      <a:pt x="53" y="14"/>
                      <a:pt x="51" y="12"/>
                      <a:pt x="58" y="11"/>
                    </a:cubicBezTo>
                    <a:cubicBezTo>
                      <a:pt x="64" y="8"/>
                      <a:pt x="71" y="3"/>
                      <a:pt x="77" y="0"/>
                    </a:cubicBezTo>
                    <a:cubicBezTo>
                      <a:pt x="88" y="4"/>
                      <a:pt x="80" y="10"/>
                      <a:pt x="92" y="12"/>
                    </a:cubicBezTo>
                    <a:cubicBezTo>
                      <a:pt x="99" y="15"/>
                      <a:pt x="101" y="19"/>
                      <a:pt x="109" y="21"/>
                    </a:cubicBezTo>
                    <a:cubicBezTo>
                      <a:pt x="120" y="40"/>
                      <a:pt x="121" y="71"/>
                      <a:pt x="110" y="92"/>
                    </a:cubicBezTo>
                    <a:cubicBezTo>
                      <a:pt x="109" y="99"/>
                      <a:pt x="108" y="107"/>
                      <a:pt x="101" y="108"/>
                    </a:cubicBezTo>
                    <a:cubicBezTo>
                      <a:pt x="95" y="117"/>
                      <a:pt x="95" y="116"/>
                      <a:pt x="83" y="114"/>
                    </a:cubicBezTo>
                    <a:cubicBezTo>
                      <a:pt x="79" y="111"/>
                      <a:pt x="50" y="99"/>
                      <a:pt x="44" y="98"/>
                    </a:cubicBezTo>
                    <a:cubicBezTo>
                      <a:pt x="39" y="95"/>
                      <a:pt x="35" y="94"/>
                      <a:pt x="32" y="89"/>
                    </a:cubicBezTo>
                    <a:cubicBezTo>
                      <a:pt x="29" y="85"/>
                      <a:pt x="29" y="81"/>
                      <a:pt x="26" y="78"/>
                    </a:cubicBezTo>
                    <a:cubicBezTo>
                      <a:pt x="23" y="75"/>
                      <a:pt x="17" y="74"/>
                      <a:pt x="14" y="71"/>
                    </a:cubicBezTo>
                    <a:cubicBezTo>
                      <a:pt x="9" y="66"/>
                      <a:pt x="8" y="62"/>
                      <a:pt x="6" y="59"/>
                    </a:cubicBezTo>
                    <a:cubicBezTo>
                      <a:pt x="4" y="56"/>
                      <a:pt x="3" y="54"/>
                      <a:pt x="2" y="51"/>
                    </a:cubicBezTo>
                    <a:cubicBezTo>
                      <a:pt x="1" y="44"/>
                      <a:pt x="0" y="47"/>
                      <a:pt x="2" y="4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0" name="Freeform 120">
                <a:extLst>
                  <a:ext uri="{FF2B5EF4-FFF2-40B4-BE49-F238E27FC236}">
                    <a16:creationId xmlns:a16="http://schemas.microsoft.com/office/drawing/2014/main" id="{28D1B29C-DA7B-4689-B7E1-408F4C12C0AE}"/>
                  </a:ext>
                </a:extLst>
              </p:cNvPr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gray">
              <a:xfrm>
                <a:off x="5370513" y="3125788"/>
                <a:ext cx="66675" cy="61913"/>
              </a:xfrm>
              <a:custGeom>
                <a:avLst/>
                <a:gdLst>
                  <a:gd name="T0" fmla="*/ 0 w 42"/>
                  <a:gd name="T1" fmla="*/ 3 h 39"/>
                  <a:gd name="T2" fmla="*/ 23 w 42"/>
                  <a:gd name="T3" fmla="*/ 0 h 39"/>
                  <a:gd name="T4" fmla="*/ 31 w 42"/>
                  <a:gd name="T5" fmla="*/ 16 h 39"/>
                  <a:gd name="T6" fmla="*/ 36 w 42"/>
                  <a:gd name="T7" fmla="*/ 27 h 39"/>
                  <a:gd name="T8" fmla="*/ 42 w 42"/>
                  <a:gd name="T9" fmla="*/ 38 h 39"/>
                  <a:gd name="T10" fmla="*/ 27 w 42"/>
                  <a:gd name="T11" fmla="*/ 33 h 39"/>
                  <a:gd name="T12" fmla="*/ 18 w 42"/>
                  <a:gd name="T13" fmla="*/ 39 h 39"/>
                  <a:gd name="T14" fmla="*/ 2 w 42"/>
                  <a:gd name="T15" fmla="*/ 17 h 39"/>
                  <a:gd name="T16" fmla="*/ 0 w 42"/>
                  <a:gd name="T17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39">
                    <a:moveTo>
                      <a:pt x="0" y="3"/>
                    </a:moveTo>
                    <a:lnTo>
                      <a:pt x="23" y="0"/>
                    </a:lnTo>
                    <a:lnTo>
                      <a:pt x="31" y="16"/>
                    </a:lnTo>
                    <a:lnTo>
                      <a:pt x="36" y="27"/>
                    </a:lnTo>
                    <a:lnTo>
                      <a:pt x="42" y="38"/>
                    </a:lnTo>
                    <a:lnTo>
                      <a:pt x="27" y="33"/>
                    </a:lnTo>
                    <a:lnTo>
                      <a:pt x="18" y="39"/>
                    </a:lnTo>
                    <a:lnTo>
                      <a:pt x="2" y="17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2" name="Freeform 127">
                <a:extLst>
                  <a:ext uri="{FF2B5EF4-FFF2-40B4-BE49-F238E27FC236}">
                    <a16:creationId xmlns:a16="http://schemas.microsoft.com/office/drawing/2014/main" id="{88BD5E37-B5BC-41DF-9717-961A151B4ED2}"/>
                  </a:ext>
                </a:extLst>
              </p:cNvPr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gray">
              <a:xfrm>
                <a:off x="3930651" y="3863975"/>
                <a:ext cx="96838" cy="34925"/>
              </a:xfrm>
              <a:custGeom>
                <a:avLst/>
                <a:gdLst>
                  <a:gd name="T0" fmla="*/ 0 w 60"/>
                  <a:gd name="T1" fmla="*/ 9 h 22"/>
                  <a:gd name="T2" fmla="*/ 27 w 60"/>
                  <a:gd name="T3" fmla="*/ 9 h 22"/>
                  <a:gd name="T4" fmla="*/ 39 w 60"/>
                  <a:gd name="T5" fmla="*/ 8 h 22"/>
                  <a:gd name="T6" fmla="*/ 48 w 60"/>
                  <a:gd name="T7" fmla="*/ 0 h 22"/>
                  <a:gd name="T8" fmla="*/ 60 w 60"/>
                  <a:gd name="T9" fmla="*/ 9 h 22"/>
                  <a:gd name="T10" fmla="*/ 49 w 60"/>
                  <a:gd name="T11" fmla="*/ 19 h 22"/>
                  <a:gd name="T12" fmla="*/ 40 w 60"/>
                  <a:gd name="T13" fmla="*/ 16 h 22"/>
                  <a:gd name="T14" fmla="*/ 30 w 60"/>
                  <a:gd name="T15" fmla="*/ 22 h 22"/>
                  <a:gd name="T16" fmla="*/ 3 w 60"/>
                  <a:gd name="T17" fmla="*/ 21 h 22"/>
                  <a:gd name="T18" fmla="*/ 0 w 60"/>
                  <a:gd name="T19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22">
                    <a:moveTo>
                      <a:pt x="0" y="9"/>
                    </a:moveTo>
                    <a:lnTo>
                      <a:pt x="27" y="9"/>
                    </a:lnTo>
                    <a:lnTo>
                      <a:pt x="39" y="8"/>
                    </a:lnTo>
                    <a:lnTo>
                      <a:pt x="48" y="0"/>
                    </a:lnTo>
                    <a:lnTo>
                      <a:pt x="60" y="9"/>
                    </a:lnTo>
                    <a:lnTo>
                      <a:pt x="49" y="19"/>
                    </a:lnTo>
                    <a:lnTo>
                      <a:pt x="40" y="16"/>
                    </a:lnTo>
                    <a:lnTo>
                      <a:pt x="30" y="22"/>
                    </a:lnTo>
                    <a:lnTo>
                      <a:pt x="3" y="2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3" name="Freeform 128">
                <a:extLst>
                  <a:ext uri="{FF2B5EF4-FFF2-40B4-BE49-F238E27FC236}">
                    <a16:creationId xmlns:a16="http://schemas.microsoft.com/office/drawing/2014/main" id="{F369A279-0CC5-4378-B31E-251E923A3BAE}"/>
                  </a:ext>
                </a:extLst>
              </p:cNvPr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gray">
              <a:xfrm>
                <a:off x="3932238" y="3892550"/>
                <a:ext cx="77788" cy="46038"/>
              </a:xfrm>
              <a:custGeom>
                <a:avLst/>
                <a:gdLst>
                  <a:gd name="T0" fmla="*/ 0 w 48"/>
                  <a:gd name="T1" fmla="*/ 23 h 29"/>
                  <a:gd name="T2" fmla="*/ 21 w 48"/>
                  <a:gd name="T3" fmla="*/ 29 h 29"/>
                  <a:gd name="T4" fmla="*/ 30 w 48"/>
                  <a:gd name="T5" fmla="*/ 21 h 29"/>
                  <a:gd name="T6" fmla="*/ 48 w 48"/>
                  <a:gd name="T7" fmla="*/ 0 h 29"/>
                  <a:gd name="T8" fmla="*/ 26 w 48"/>
                  <a:gd name="T9" fmla="*/ 3 h 29"/>
                  <a:gd name="T10" fmla="*/ 3 w 48"/>
                  <a:gd name="T11" fmla="*/ 3 h 29"/>
                  <a:gd name="T12" fmla="*/ 2 w 48"/>
                  <a:gd name="T13" fmla="*/ 14 h 29"/>
                  <a:gd name="T14" fmla="*/ 0 w 48"/>
                  <a:gd name="T15" fmla="*/ 2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29">
                    <a:moveTo>
                      <a:pt x="0" y="23"/>
                    </a:moveTo>
                    <a:lnTo>
                      <a:pt x="21" y="29"/>
                    </a:lnTo>
                    <a:lnTo>
                      <a:pt x="30" y="21"/>
                    </a:lnTo>
                    <a:lnTo>
                      <a:pt x="48" y="0"/>
                    </a:lnTo>
                    <a:lnTo>
                      <a:pt x="26" y="3"/>
                    </a:lnTo>
                    <a:lnTo>
                      <a:pt x="3" y="3"/>
                    </a:lnTo>
                    <a:lnTo>
                      <a:pt x="2" y="14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4" name="Freeform 129">
                <a:extLst>
                  <a:ext uri="{FF2B5EF4-FFF2-40B4-BE49-F238E27FC236}">
                    <a16:creationId xmlns:a16="http://schemas.microsoft.com/office/drawing/2014/main" id="{6B124A11-203E-431C-84C3-A0B801360B3F}"/>
                  </a:ext>
                </a:extLst>
              </p:cNvPr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gray">
              <a:xfrm>
                <a:off x="3925888" y="3795713"/>
                <a:ext cx="127000" cy="109538"/>
              </a:xfrm>
              <a:custGeom>
                <a:avLst/>
                <a:gdLst>
                  <a:gd name="T0" fmla="*/ 10 w 79"/>
                  <a:gd name="T1" fmla="*/ 4 h 69"/>
                  <a:gd name="T2" fmla="*/ 27 w 79"/>
                  <a:gd name="T3" fmla="*/ 0 h 69"/>
                  <a:gd name="T4" fmla="*/ 55 w 79"/>
                  <a:gd name="T5" fmla="*/ 10 h 69"/>
                  <a:gd name="T6" fmla="*/ 63 w 79"/>
                  <a:gd name="T7" fmla="*/ 21 h 69"/>
                  <a:gd name="T8" fmla="*/ 79 w 79"/>
                  <a:gd name="T9" fmla="*/ 22 h 69"/>
                  <a:gd name="T10" fmla="*/ 79 w 79"/>
                  <a:gd name="T11" fmla="*/ 51 h 69"/>
                  <a:gd name="T12" fmla="*/ 79 w 79"/>
                  <a:gd name="T13" fmla="*/ 69 h 69"/>
                  <a:gd name="T14" fmla="*/ 66 w 79"/>
                  <a:gd name="T15" fmla="*/ 64 h 69"/>
                  <a:gd name="T16" fmla="*/ 57 w 79"/>
                  <a:gd name="T17" fmla="*/ 58 h 69"/>
                  <a:gd name="T18" fmla="*/ 4 w 79"/>
                  <a:gd name="T19" fmla="*/ 67 h 69"/>
                  <a:gd name="T20" fmla="*/ 22 w 79"/>
                  <a:gd name="T21" fmla="*/ 63 h 69"/>
                  <a:gd name="T22" fmla="*/ 46 w 79"/>
                  <a:gd name="T23" fmla="*/ 61 h 69"/>
                  <a:gd name="T24" fmla="*/ 60 w 79"/>
                  <a:gd name="T25" fmla="*/ 54 h 69"/>
                  <a:gd name="T26" fmla="*/ 51 w 79"/>
                  <a:gd name="T27" fmla="*/ 43 h 69"/>
                  <a:gd name="T28" fmla="*/ 42 w 79"/>
                  <a:gd name="T29" fmla="*/ 52 h 69"/>
                  <a:gd name="T30" fmla="*/ 1 w 79"/>
                  <a:gd name="T31" fmla="*/ 54 h 69"/>
                  <a:gd name="T32" fmla="*/ 0 w 79"/>
                  <a:gd name="T33" fmla="*/ 28 h 69"/>
                  <a:gd name="T34" fmla="*/ 6 w 79"/>
                  <a:gd name="T35" fmla="*/ 16 h 69"/>
                  <a:gd name="T36" fmla="*/ 10 w 79"/>
                  <a:gd name="T37" fmla="*/ 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9" h="69">
                    <a:moveTo>
                      <a:pt x="10" y="4"/>
                    </a:moveTo>
                    <a:lnTo>
                      <a:pt x="27" y="0"/>
                    </a:lnTo>
                    <a:lnTo>
                      <a:pt x="55" y="10"/>
                    </a:lnTo>
                    <a:lnTo>
                      <a:pt x="63" y="21"/>
                    </a:lnTo>
                    <a:lnTo>
                      <a:pt x="79" y="22"/>
                    </a:lnTo>
                    <a:lnTo>
                      <a:pt x="79" y="51"/>
                    </a:lnTo>
                    <a:lnTo>
                      <a:pt x="79" y="69"/>
                    </a:lnTo>
                    <a:lnTo>
                      <a:pt x="66" y="64"/>
                    </a:lnTo>
                    <a:lnTo>
                      <a:pt x="57" y="58"/>
                    </a:lnTo>
                    <a:lnTo>
                      <a:pt x="4" y="67"/>
                    </a:lnTo>
                    <a:lnTo>
                      <a:pt x="22" y="63"/>
                    </a:lnTo>
                    <a:lnTo>
                      <a:pt x="46" y="61"/>
                    </a:lnTo>
                    <a:lnTo>
                      <a:pt x="60" y="54"/>
                    </a:lnTo>
                    <a:lnTo>
                      <a:pt x="51" y="43"/>
                    </a:lnTo>
                    <a:lnTo>
                      <a:pt x="42" y="52"/>
                    </a:lnTo>
                    <a:lnTo>
                      <a:pt x="1" y="54"/>
                    </a:lnTo>
                    <a:lnTo>
                      <a:pt x="0" y="28"/>
                    </a:lnTo>
                    <a:lnTo>
                      <a:pt x="6" y="16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6" name="Freeform 130">
                <a:extLst>
                  <a:ext uri="{FF2B5EF4-FFF2-40B4-BE49-F238E27FC236}">
                    <a16:creationId xmlns:a16="http://schemas.microsoft.com/office/drawing/2014/main" id="{B826A6D8-5949-4013-B0E0-5CDB0ED3DA3E}"/>
                  </a:ext>
                </a:extLst>
              </p:cNvPr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gray">
              <a:xfrm>
                <a:off x="5331622" y="3894932"/>
                <a:ext cx="47625" cy="50800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7" name="Freeform 131">
                <a:extLst>
                  <a:ext uri="{FF2B5EF4-FFF2-40B4-BE49-F238E27FC236}">
                    <a16:creationId xmlns:a16="http://schemas.microsoft.com/office/drawing/2014/main" id="{AD2B92EA-74F8-4F53-915A-2CFBC85CD8BA}"/>
                  </a:ext>
                </a:extLst>
              </p:cNvPr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gray">
              <a:xfrm>
                <a:off x="5416551" y="3433763"/>
                <a:ext cx="49213" cy="50800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8" name="Freeform 132">
                <a:extLst>
                  <a:ext uri="{FF2B5EF4-FFF2-40B4-BE49-F238E27FC236}">
                    <a16:creationId xmlns:a16="http://schemas.microsoft.com/office/drawing/2014/main" id="{176312B7-7B56-4DDC-AA8E-F698204D6861}"/>
                  </a:ext>
                </a:extLst>
              </p:cNvPr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gray">
              <a:xfrm>
                <a:off x="6011863" y="3071813"/>
                <a:ext cx="203200" cy="114300"/>
              </a:xfrm>
              <a:custGeom>
                <a:avLst/>
                <a:gdLst>
                  <a:gd name="T0" fmla="*/ 10 w 126"/>
                  <a:gd name="T1" fmla="*/ 15 h 72"/>
                  <a:gd name="T2" fmla="*/ 22 w 126"/>
                  <a:gd name="T3" fmla="*/ 7 h 72"/>
                  <a:gd name="T4" fmla="*/ 40 w 126"/>
                  <a:gd name="T5" fmla="*/ 15 h 72"/>
                  <a:gd name="T6" fmla="*/ 48 w 126"/>
                  <a:gd name="T7" fmla="*/ 7 h 72"/>
                  <a:gd name="T8" fmla="*/ 58 w 126"/>
                  <a:gd name="T9" fmla="*/ 0 h 72"/>
                  <a:gd name="T10" fmla="*/ 84 w 126"/>
                  <a:gd name="T11" fmla="*/ 9 h 72"/>
                  <a:gd name="T12" fmla="*/ 108 w 126"/>
                  <a:gd name="T13" fmla="*/ 6 h 72"/>
                  <a:gd name="T14" fmla="*/ 124 w 126"/>
                  <a:gd name="T15" fmla="*/ 9 h 72"/>
                  <a:gd name="T16" fmla="*/ 126 w 126"/>
                  <a:gd name="T17" fmla="*/ 19 h 72"/>
                  <a:gd name="T18" fmla="*/ 108 w 126"/>
                  <a:gd name="T19" fmla="*/ 39 h 72"/>
                  <a:gd name="T20" fmla="*/ 85 w 126"/>
                  <a:gd name="T21" fmla="*/ 52 h 72"/>
                  <a:gd name="T22" fmla="*/ 73 w 126"/>
                  <a:gd name="T23" fmla="*/ 55 h 72"/>
                  <a:gd name="T24" fmla="*/ 52 w 126"/>
                  <a:gd name="T25" fmla="*/ 60 h 72"/>
                  <a:gd name="T26" fmla="*/ 51 w 126"/>
                  <a:gd name="T27" fmla="*/ 72 h 72"/>
                  <a:gd name="T28" fmla="*/ 9 w 126"/>
                  <a:gd name="T29" fmla="*/ 70 h 72"/>
                  <a:gd name="T30" fmla="*/ 0 w 126"/>
                  <a:gd name="T31" fmla="*/ 51 h 72"/>
                  <a:gd name="T32" fmla="*/ 25 w 126"/>
                  <a:gd name="T33" fmla="*/ 51 h 72"/>
                  <a:gd name="T34" fmla="*/ 34 w 126"/>
                  <a:gd name="T35" fmla="*/ 36 h 72"/>
                  <a:gd name="T36" fmla="*/ 28 w 126"/>
                  <a:gd name="T37" fmla="*/ 28 h 72"/>
                  <a:gd name="T38" fmla="*/ 22 w 126"/>
                  <a:gd name="T39" fmla="*/ 2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72">
                    <a:moveTo>
                      <a:pt x="10" y="15"/>
                    </a:moveTo>
                    <a:lnTo>
                      <a:pt x="22" y="7"/>
                    </a:lnTo>
                    <a:lnTo>
                      <a:pt x="40" y="15"/>
                    </a:lnTo>
                    <a:lnTo>
                      <a:pt x="48" y="7"/>
                    </a:lnTo>
                    <a:lnTo>
                      <a:pt x="58" y="0"/>
                    </a:lnTo>
                    <a:lnTo>
                      <a:pt x="84" y="9"/>
                    </a:lnTo>
                    <a:lnTo>
                      <a:pt x="108" y="6"/>
                    </a:lnTo>
                    <a:lnTo>
                      <a:pt x="124" y="9"/>
                    </a:lnTo>
                    <a:lnTo>
                      <a:pt x="126" y="19"/>
                    </a:lnTo>
                    <a:lnTo>
                      <a:pt x="108" y="39"/>
                    </a:lnTo>
                    <a:lnTo>
                      <a:pt x="85" y="52"/>
                    </a:lnTo>
                    <a:lnTo>
                      <a:pt x="73" y="55"/>
                    </a:lnTo>
                    <a:lnTo>
                      <a:pt x="52" y="60"/>
                    </a:lnTo>
                    <a:lnTo>
                      <a:pt x="51" y="72"/>
                    </a:lnTo>
                    <a:lnTo>
                      <a:pt x="9" y="70"/>
                    </a:lnTo>
                    <a:lnTo>
                      <a:pt x="0" y="51"/>
                    </a:lnTo>
                    <a:lnTo>
                      <a:pt x="25" y="51"/>
                    </a:lnTo>
                    <a:lnTo>
                      <a:pt x="34" y="36"/>
                    </a:lnTo>
                    <a:lnTo>
                      <a:pt x="28" y="28"/>
                    </a:lnTo>
                    <a:lnTo>
                      <a:pt x="22" y="25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9" name="Freeform 133">
                <a:extLst>
                  <a:ext uri="{FF2B5EF4-FFF2-40B4-BE49-F238E27FC236}">
                    <a16:creationId xmlns:a16="http://schemas.microsoft.com/office/drawing/2014/main" id="{E2B06A95-9EB8-40C0-A537-570D8E556A25}"/>
                  </a:ext>
                </a:extLst>
              </p:cNvPr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gray">
              <a:xfrm>
                <a:off x="6248401" y="3446463"/>
                <a:ext cx="206375" cy="109538"/>
              </a:xfrm>
              <a:custGeom>
                <a:avLst/>
                <a:gdLst>
                  <a:gd name="T0" fmla="*/ 17 w 127"/>
                  <a:gd name="T1" fmla="*/ 1 h 69"/>
                  <a:gd name="T2" fmla="*/ 8 w 127"/>
                  <a:gd name="T3" fmla="*/ 16 h 69"/>
                  <a:gd name="T4" fmla="*/ 2 w 127"/>
                  <a:gd name="T5" fmla="*/ 25 h 69"/>
                  <a:gd name="T6" fmla="*/ 20 w 127"/>
                  <a:gd name="T7" fmla="*/ 29 h 69"/>
                  <a:gd name="T8" fmla="*/ 29 w 127"/>
                  <a:gd name="T9" fmla="*/ 38 h 69"/>
                  <a:gd name="T10" fmla="*/ 42 w 127"/>
                  <a:gd name="T11" fmla="*/ 41 h 69"/>
                  <a:gd name="T12" fmla="*/ 64 w 127"/>
                  <a:gd name="T13" fmla="*/ 53 h 69"/>
                  <a:gd name="T14" fmla="*/ 80 w 127"/>
                  <a:gd name="T15" fmla="*/ 61 h 69"/>
                  <a:gd name="T16" fmla="*/ 92 w 127"/>
                  <a:gd name="T17" fmla="*/ 59 h 69"/>
                  <a:gd name="T18" fmla="*/ 117 w 127"/>
                  <a:gd name="T19" fmla="*/ 67 h 69"/>
                  <a:gd name="T20" fmla="*/ 123 w 127"/>
                  <a:gd name="T21" fmla="*/ 47 h 69"/>
                  <a:gd name="T22" fmla="*/ 125 w 127"/>
                  <a:gd name="T23" fmla="*/ 37 h 69"/>
                  <a:gd name="T24" fmla="*/ 111 w 127"/>
                  <a:gd name="T25" fmla="*/ 37 h 69"/>
                  <a:gd name="T26" fmla="*/ 93 w 127"/>
                  <a:gd name="T27" fmla="*/ 29 h 69"/>
                  <a:gd name="T28" fmla="*/ 71 w 127"/>
                  <a:gd name="T29" fmla="*/ 19 h 69"/>
                  <a:gd name="T30" fmla="*/ 54 w 127"/>
                  <a:gd name="T31" fmla="*/ 11 h 69"/>
                  <a:gd name="T32" fmla="*/ 33 w 127"/>
                  <a:gd name="T33" fmla="*/ 2 h 69"/>
                  <a:gd name="T34" fmla="*/ 17 w 127"/>
                  <a:gd name="T35" fmla="*/ 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7" h="69">
                    <a:moveTo>
                      <a:pt x="17" y="1"/>
                    </a:moveTo>
                    <a:cubicBezTo>
                      <a:pt x="12" y="4"/>
                      <a:pt x="10" y="12"/>
                      <a:pt x="8" y="16"/>
                    </a:cubicBezTo>
                    <a:cubicBezTo>
                      <a:pt x="6" y="20"/>
                      <a:pt x="0" y="23"/>
                      <a:pt x="2" y="25"/>
                    </a:cubicBezTo>
                    <a:cubicBezTo>
                      <a:pt x="4" y="27"/>
                      <a:pt x="16" y="27"/>
                      <a:pt x="20" y="29"/>
                    </a:cubicBezTo>
                    <a:cubicBezTo>
                      <a:pt x="24" y="31"/>
                      <a:pt x="25" y="36"/>
                      <a:pt x="29" y="38"/>
                    </a:cubicBezTo>
                    <a:cubicBezTo>
                      <a:pt x="33" y="40"/>
                      <a:pt x="36" y="39"/>
                      <a:pt x="42" y="41"/>
                    </a:cubicBezTo>
                    <a:cubicBezTo>
                      <a:pt x="48" y="43"/>
                      <a:pt x="58" y="50"/>
                      <a:pt x="64" y="53"/>
                    </a:cubicBezTo>
                    <a:cubicBezTo>
                      <a:pt x="70" y="56"/>
                      <a:pt x="75" y="60"/>
                      <a:pt x="80" y="61"/>
                    </a:cubicBezTo>
                    <a:cubicBezTo>
                      <a:pt x="85" y="62"/>
                      <a:pt x="86" y="58"/>
                      <a:pt x="92" y="59"/>
                    </a:cubicBezTo>
                    <a:cubicBezTo>
                      <a:pt x="98" y="60"/>
                      <a:pt x="112" y="69"/>
                      <a:pt x="117" y="67"/>
                    </a:cubicBezTo>
                    <a:cubicBezTo>
                      <a:pt x="122" y="65"/>
                      <a:pt x="122" y="52"/>
                      <a:pt x="123" y="47"/>
                    </a:cubicBezTo>
                    <a:cubicBezTo>
                      <a:pt x="124" y="42"/>
                      <a:pt x="127" y="39"/>
                      <a:pt x="125" y="37"/>
                    </a:cubicBezTo>
                    <a:cubicBezTo>
                      <a:pt x="123" y="35"/>
                      <a:pt x="116" y="38"/>
                      <a:pt x="111" y="37"/>
                    </a:cubicBezTo>
                    <a:cubicBezTo>
                      <a:pt x="106" y="36"/>
                      <a:pt x="100" y="32"/>
                      <a:pt x="93" y="29"/>
                    </a:cubicBezTo>
                    <a:cubicBezTo>
                      <a:pt x="86" y="26"/>
                      <a:pt x="77" y="22"/>
                      <a:pt x="71" y="19"/>
                    </a:cubicBezTo>
                    <a:cubicBezTo>
                      <a:pt x="65" y="16"/>
                      <a:pt x="60" y="14"/>
                      <a:pt x="54" y="11"/>
                    </a:cubicBezTo>
                    <a:cubicBezTo>
                      <a:pt x="48" y="8"/>
                      <a:pt x="39" y="4"/>
                      <a:pt x="33" y="2"/>
                    </a:cubicBezTo>
                    <a:cubicBezTo>
                      <a:pt x="27" y="0"/>
                      <a:pt x="20" y="1"/>
                      <a:pt x="17" y="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0" name="Freeform 134">
                <a:extLst>
                  <a:ext uri="{FF2B5EF4-FFF2-40B4-BE49-F238E27FC236}">
                    <a16:creationId xmlns:a16="http://schemas.microsoft.com/office/drawing/2014/main" id="{D48B57AA-32FD-45E1-9C4C-C8538F25D3DE}"/>
                  </a:ext>
                </a:extLst>
              </p:cNvPr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gray">
              <a:xfrm>
                <a:off x="6088063" y="2697163"/>
                <a:ext cx="1493838" cy="1057275"/>
              </a:xfrm>
              <a:custGeom>
                <a:avLst/>
                <a:gdLst>
                  <a:gd name="T0" fmla="*/ 637 w 926"/>
                  <a:gd name="T1" fmla="*/ 140 h 666"/>
                  <a:gd name="T2" fmla="*/ 682 w 926"/>
                  <a:gd name="T3" fmla="*/ 137 h 666"/>
                  <a:gd name="T4" fmla="*/ 642 w 926"/>
                  <a:gd name="T5" fmla="*/ 170 h 666"/>
                  <a:gd name="T6" fmla="*/ 603 w 926"/>
                  <a:gd name="T7" fmla="*/ 201 h 666"/>
                  <a:gd name="T8" fmla="*/ 571 w 926"/>
                  <a:gd name="T9" fmla="*/ 213 h 666"/>
                  <a:gd name="T10" fmla="*/ 531 w 926"/>
                  <a:gd name="T11" fmla="*/ 243 h 666"/>
                  <a:gd name="T12" fmla="*/ 474 w 926"/>
                  <a:gd name="T13" fmla="*/ 264 h 666"/>
                  <a:gd name="T14" fmla="*/ 418 w 926"/>
                  <a:gd name="T15" fmla="*/ 243 h 666"/>
                  <a:gd name="T16" fmla="*/ 331 w 926"/>
                  <a:gd name="T17" fmla="*/ 219 h 666"/>
                  <a:gd name="T18" fmla="*/ 294 w 926"/>
                  <a:gd name="T19" fmla="*/ 197 h 666"/>
                  <a:gd name="T20" fmla="*/ 268 w 926"/>
                  <a:gd name="T21" fmla="*/ 155 h 666"/>
                  <a:gd name="T22" fmla="*/ 232 w 926"/>
                  <a:gd name="T23" fmla="*/ 117 h 666"/>
                  <a:gd name="T24" fmla="*/ 195 w 926"/>
                  <a:gd name="T25" fmla="*/ 156 h 666"/>
                  <a:gd name="T26" fmla="*/ 141 w 926"/>
                  <a:gd name="T27" fmla="*/ 179 h 666"/>
                  <a:gd name="T28" fmla="*/ 111 w 926"/>
                  <a:gd name="T29" fmla="*/ 194 h 666"/>
                  <a:gd name="T30" fmla="*/ 120 w 926"/>
                  <a:gd name="T31" fmla="*/ 249 h 666"/>
                  <a:gd name="T32" fmla="*/ 70 w 926"/>
                  <a:gd name="T33" fmla="*/ 272 h 666"/>
                  <a:gd name="T34" fmla="*/ 25 w 926"/>
                  <a:gd name="T35" fmla="*/ 287 h 666"/>
                  <a:gd name="T36" fmla="*/ 16 w 926"/>
                  <a:gd name="T37" fmla="*/ 327 h 666"/>
                  <a:gd name="T38" fmla="*/ 64 w 926"/>
                  <a:gd name="T39" fmla="*/ 374 h 666"/>
                  <a:gd name="T40" fmla="*/ 103 w 926"/>
                  <a:gd name="T41" fmla="*/ 396 h 666"/>
                  <a:gd name="T42" fmla="*/ 87 w 926"/>
                  <a:gd name="T43" fmla="*/ 437 h 666"/>
                  <a:gd name="T44" fmla="*/ 129 w 926"/>
                  <a:gd name="T45" fmla="*/ 474 h 666"/>
                  <a:gd name="T46" fmla="*/ 227 w 926"/>
                  <a:gd name="T47" fmla="*/ 503 h 666"/>
                  <a:gd name="T48" fmla="*/ 298 w 926"/>
                  <a:gd name="T49" fmla="*/ 498 h 666"/>
                  <a:gd name="T50" fmla="*/ 367 w 926"/>
                  <a:gd name="T51" fmla="*/ 498 h 666"/>
                  <a:gd name="T52" fmla="*/ 369 w 926"/>
                  <a:gd name="T53" fmla="*/ 578 h 666"/>
                  <a:gd name="T54" fmla="*/ 405 w 926"/>
                  <a:gd name="T55" fmla="*/ 615 h 666"/>
                  <a:gd name="T56" fmla="*/ 459 w 926"/>
                  <a:gd name="T57" fmla="*/ 600 h 666"/>
                  <a:gd name="T58" fmla="*/ 514 w 926"/>
                  <a:gd name="T59" fmla="*/ 618 h 666"/>
                  <a:gd name="T60" fmla="*/ 532 w 926"/>
                  <a:gd name="T61" fmla="*/ 665 h 666"/>
                  <a:gd name="T62" fmla="*/ 568 w 926"/>
                  <a:gd name="T63" fmla="*/ 624 h 666"/>
                  <a:gd name="T64" fmla="*/ 607 w 926"/>
                  <a:gd name="T65" fmla="*/ 606 h 666"/>
                  <a:gd name="T66" fmla="*/ 696 w 926"/>
                  <a:gd name="T67" fmla="*/ 537 h 666"/>
                  <a:gd name="T68" fmla="*/ 724 w 926"/>
                  <a:gd name="T69" fmla="*/ 456 h 666"/>
                  <a:gd name="T70" fmla="*/ 690 w 926"/>
                  <a:gd name="T71" fmla="*/ 392 h 666"/>
                  <a:gd name="T72" fmla="*/ 700 w 926"/>
                  <a:gd name="T73" fmla="*/ 347 h 666"/>
                  <a:gd name="T74" fmla="*/ 660 w 926"/>
                  <a:gd name="T75" fmla="*/ 314 h 666"/>
                  <a:gd name="T76" fmla="*/ 729 w 926"/>
                  <a:gd name="T77" fmla="*/ 279 h 666"/>
                  <a:gd name="T78" fmla="*/ 747 w 926"/>
                  <a:gd name="T79" fmla="*/ 296 h 666"/>
                  <a:gd name="T80" fmla="*/ 795 w 926"/>
                  <a:gd name="T81" fmla="*/ 264 h 666"/>
                  <a:gd name="T82" fmla="*/ 841 w 926"/>
                  <a:gd name="T83" fmla="*/ 236 h 666"/>
                  <a:gd name="T84" fmla="*/ 868 w 926"/>
                  <a:gd name="T85" fmla="*/ 197 h 666"/>
                  <a:gd name="T86" fmla="*/ 915 w 926"/>
                  <a:gd name="T87" fmla="*/ 153 h 666"/>
                  <a:gd name="T88" fmla="*/ 858 w 926"/>
                  <a:gd name="T89" fmla="*/ 128 h 666"/>
                  <a:gd name="T90" fmla="*/ 807 w 926"/>
                  <a:gd name="T91" fmla="*/ 59 h 666"/>
                  <a:gd name="T92" fmla="*/ 700 w 926"/>
                  <a:gd name="T93" fmla="*/ 14 h 666"/>
                  <a:gd name="T94" fmla="*/ 691 w 926"/>
                  <a:gd name="T95" fmla="*/ 87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26" h="666">
                    <a:moveTo>
                      <a:pt x="640" y="99"/>
                    </a:moveTo>
                    <a:cubicBezTo>
                      <a:pt x="637" y="101"/>
                      <a:pt x="635" y="112"/>
                      <a:pt x="634" y="116"/>
                    </a:cubicBezTo>
                    <a:cubicBezTo>
                      <a:pt x="633" y="120"/>
                      <a:pt x="636" y="122"/>
                      <a:pt x="636" y="126"/>
                    </a:cubicBezTo>
                    <a:cubicBezTo>
                      <a:pt x="636" y="130"/>
                      <a:pt x="636" y="139"/>
                      <a:pt x="637" y="140"/>
                    </a:cubicBezTo>
                    <a:cubicBezTo>
                      <a:pt x="638" y="141"/>
                      <a:pt x="641" y="132"/>
                      <a:pt x="645" y="132"/>
                    </a:cubicBezTo>
                    <a:cubicBezTo>
                      <a:pt x="649" y="132"/>
                      <a:pt x="657" y="142"/>
                      <a:pt x="661" y="141"/>
                    </a:cubicBezTo>
                    <a:cubicBezTo>
                      <a:pt x="665" y="140"/>
                      <a:pt x="667" y="129"/>
                      <a:pt x="670" y="128"/>
                    </a:cubicBezTo>
                    <a:cubicBezTo>
                      <a:pt x="673" y="127"/>
                      <a:pt x="679" y="132"/>
                      <a:pt x="682" y="137"/>
                    </a:cubicBezTo>
                    <a:cubicBezTo>
                      <a:pt x="685" y="142"/>
                      <a:pt x="694" y="154"/>
                      <a:pt x="691" y="158"/>
                    </a:cubicBezTo>
                    <a:cubicBezTo>
                      <a:pt x="688" y="162"/>
                      <a:pt x="672" y="160"/>
                      <a:pt x="666" y="161"/>
                    </a:cubicBezTo>
                    <a:cubicBezTo>
                      <a:pt x="660" y="162"/>
                      <a:pt x="658" y="163"/>
                      <a:pt x="654" y="164"/>
                    </a:cubicBezTo>
                    <a:cubicBezTo>
                      <a:pt x="650" y="165"/>
                      <a:pt x="645" y="167"/>
                      <a:pt x="642" y="170"/>
                    </a:cubicBezTo>
                    <a:cubicBezTo>
                      <a:pt x="639" y="173"/>
                      <a:pt x="638" y="182"/>
                      <a:pt x="634" y="185"/>
                    </a:cubicBezTo>
                    <a:cubicBezTo>
                      <a:pt x="630" y="188"/>
                      <a:pt x="624" y="185"/>
                      <a:pt x="621" y="186"/>
                    </a:cubicBezTo>
                    <a:cubicBezTo>
                      <a:pt x="618" y="187"/>
                      <a:pt x="616" y="192"/>
                      <a:pt x="613" y="194"/>
                    </a:cubicBezTo>
                    <a:cubicBezTo>
                      <a:pt x="610" y="196"/>
                      <a:pt x="607" y="201"/>
                      <a:pt x="603" y="201"/>
                    </a:cubicBezTo>
                    <a:cubicBezTo>
                      <a:pt x="599" y="201"/>
                      <a:pt x="593" y="196"/>
                      <a:pt x="589" y="195"/>
                    </a:cubicBezTo>
                    <a:cubicBezTo>
                      <a:pt x="585" y="194"/>
                      <a:pt x="579" y="191"/>
                      <a:pt x="576" y="192"/>
                    </a:cubicBezTo>
                    <a:cubicBezTo>
                      <a:pt x="573" y="193"/>
                      <a:pt x="571" y="197"/>
                      <a:pt x="570" y="200"/>
                    </a:cubicBezTo>
                    <a:cubicBezTo>
                      <a:pt x="569" y="203"/>
                      <a:pt x="571" y="208"/>
                      <a:pt x="571" y="213"/>
                    </a:cubicBezTo>
                    <a:cubicBezTo>
                      <a:pt x="571" y="218"/>
                      <a:pt x="570" y="224"/>
                      <a:pt x="568" y="228"/>
                    </a:cubicBezTo>
                    <a:cubicBezTo>
                      <a:pt x="566" y="232"/>
                      <a:pt x="563" y="233"/>
                      <a:pt x="559" y="236"/>
                    </a:cubicBezTo>
                    <a:cubicBezTo>
                      <a:pt x="555" y="239"/>
                      <a:pt x="549" y="245"/>
                      <a:pt x="544" y="246"/>
                    </a:cubicBezTo>
                    <a:cubicBezTo>
                      <a:pt x="539" y="247"/>
                      <a:pt x="536" y="242"/>
                      <a:pt x="531" y="243"/>
                    </a:cubicBezTo>
                    <a:cubicBezTo>
                      <a:pt x="526" y="244"/>
                      <a:pt x="521" y="248"/>
                      <a:pt x="516" y="249"/>
                    </a:cubicBezTo>
                    <a:cubicBezTo>
                      <a:pt x="511" y="250"/>
                      <a:pt x="503" y="248"/>
                      <a:pt x="498" y="249"/>
                    </a:cubicBezTo>
                    <a:cubicBezTo>
                      <a:pt x="493" y="250"/>
                      <a:pt x="490" y="252"/>
                      <a:pt x="486" y="255"/>
                    </a:cubicBezTo>
                    <a:cubicBezTo>
                      <a:pt x="482" y="258"/>
                      <a:pt x="479" y="263"/>
                      <a:pt x="474" y="264"/>
                    </a:cubicBezTo>
                    <a:cubicBezTo>
                      <a:pt x="469" y="265"/>
                      <a:pt x="462" y="262"/>
                      <a:pt x="457" y="261"/>
                    </a:cubicBezTo>
                    <a:cubicBezTo>
                      <a:pt x="452" y="260"/>
                      <a:pt x="448" y="257"/>
                      <a:pt x="444" y="255"/>
                    </a:cubicBezTo>
                    <a:cubicBezTo>
                      <a:pt x="440" y="253"/>
                      <a:pt x="439" y="248"/>
                      <a:pt x="435" y="246"/>
                    </a:cubicBezTo>
                    <a:cubicBezTo>
                      <a:pt x="431" y="244"/>
                      <a:pt x="424" y="243"/>
                      <a:pt x="418" y="243"/>
                    </a:cubicBezTo>
                    <a:cubicBezTo>
                      <a:pt x="412" y="243"/>
                      <a:pt x="409" y="243"/>
                      <a:pt x="400" y="243"/>
                    </a:cubicBezTo>
                    <a:cubicBezTo>
                      <a:pt x="391" y="243"/>
                      <a:pt x="372" y="244"/>
                      <a:pt x="364" y="243"/>
                    </a:cubicBezTo>
                    <a:cubicBezTo>
                      <a:pt x="356" y="242"/>
                      <a:pt x="357" y="243"/>
                      <a:pt x="352" y="239"/>
                    </a:cubicBezTo>
                    <a:cubicBezTo>
                      <a:pt x="347" y="235"/>
                      <a:pt x="334" y="224"/>
                      <a:pt x="331" y="219"/>
                    </a:cubicBezTo>
                    <a:cubicBezTo>
                      <a:pt x="328" y="214"/>
                      <a:pt x="336" y="208"/>
                      <a:pt x="334" y="206"/>
                    </a:cubicBezTo>
                    <a:cubicBezTo>
                      <a:pt x="332" y="204"/>
                      <a:pt x="324" y="208"/>
                      <a:pt x="321" y="206"/>
                    </a:cubicBezTo>
                    <a:cubicBezTo>
                      <a:pt x="318" y="204"/>
                      <a:pt x="316" y="196"/>
                      <a:pt x="312" y="195"/>
                    </a:cubicBezTo>
                    <a:cubicBezTo>
                      <a:pt x="308" y="194"/>
                      <a:pt x="299" y="198"/>
                      <a:pt x="294" y="197"/>
                    </a:cubicBezTo>
                    <a:cubicBezTo>
                      <a:pt x="289" y="196"/>
                      <a:pt x="286" y="192"/>
                      <a:pt x="282" y="191"/>
                    </a:cubicBezTo>
                    <a:cubicBezTo>
                      <a:pt x="278" y="190"/>
                      <a:pt x="272" y="194"/>
                      <a:pt x="270" y="191"/>
                    </a:cubicBezTo>
                    <a:cubicBezTo>
                      <a:pt x="268" y="188"/>
                      <a:pt x="267" y="179"/>
                      <a:pt x="267" y="173"/>
                    </a:cubicBezTo>
                    <a:cubicBezTo>
                      <a:pt x="267" y="167"/>
                      <a:pt x="269" y="160"/>
                      <a:pt x="268" y="155"/>
                    </a:cubicBezTo>
                    <a:cubicBezTo>
                      <a:pt x="267" y="150"/>
                      <a:pt x="264" y="147"/>
                      <a:pt x="261" y="143"/>
                    </a:cubicBezTo>
                    <a:cubicBezTo>
                      <a:pt x="258" y="139"/>
                      <a:pt x="256" y="131"/>
                      <a:pt x="252" y="129"/>
                    </a:cubicBezTo>
                    <a:cubicBezTo>
                      <a:pt x="248" y="127"/>
                      <a:pt x="241" y="131"/>
                      <a:pt x="238" y="129"/>
                    </a:cubicBezTo>
                    <a:cubicBezTo>
                      <a:pt x="235" y="127"/>
                      <a:pt x="234" y="120"/>
                      <a:pt x="232" y="117"/>
                    </a:cubicBezTo>
                    <a:cubicBezTo>
                      <a:pt x="230" y="114"/>
                      <a:pt x="227" y="108"/>
                      <a:pt x="223" y="108"/>
                    </a:cubicBezTo>
                    <a:cubicBezTo>
                      <a:pt x="219" y="108"/>
                      <a:pt x="215" y="117"/>
                      <a:pt x="210" y="120"/>
                    </a:cubicBezTo>
                    <a:cubicBezTo>
                      <a:pt x="205" y="123"/>
                      <a:pt x="194" y="119"/>
                      <a:pt x="192" y="125"/>
                    </a:cubicBezTo>
                    <a:cubicBezTo>
                      <a:pt x="190" y="131"/>
                      <a:pt x="197" y="152"/>
                      <a:pt x="195" y="156"/>
                    </a:cubicBezTo>
                    <a:cubicBezTo>
                      <a:pt x="193" y="160"/>
                      <a:pt x="186" y="150"/>
                      <a:pt x="180" y="149"/>
                    </a:cubicBezTo>
                    <a:cubicBezTo>
                      <a:pt x="174" y="148"/>
                      <a:pt x="165" y="149"/>
                      <a:pt x="160" y="150"/>
                    </a:cubicBezTo>
                    <a:cubicBezTo>
                      <a:pt x="155" y="151"/>
                      <a:pt x="151" y="148"/>
                      <a:pt x="148" y="153"/>
                    </a:cubicBezTo>
                    <a:cubicBezTo>
                      <a:pt x="145" y="158"/>
                      <a:pt x="142" y="171"/>
                      <a:pt x="141" y="179"/>
                    </a:cubicBezTo>
                    <a:cubicBezTo>
                      <a:pt x="140" y="187"/>
                      <a:pt x="146" y="202"/>
                      <a:pt x="145" y="203"/>
                    </a:cubicBezTo>
                    <a:cubicBezTo>
                      <a:pt x="144" y="204"/>
                      <a:pt x="138" y="188"/>
                      <a:pt x="136" y="186"/>
                    </a:cubicBezTo>
                    <a:cubicBezTo>
                      <a:pt x="134" y="184"/>
                      <a:pt x="136" y="188"/>
                      <a:pt x="132" y="189"/>
                    </a:cubicBezTo>
                    <a:cubicBezTo>
                      <a:pt x="128" y="190"/>
                      <a:pt x="115" y="192"/>
                      <a:pt x="111" y="194"/>
                    </a:cubicBezTo>
                    <a:cubicBezTo>
                      <a:pt x="107" y="196"/>
                      <a:pt x="107" y="198"/>
                      <a:pt x="108" y="204"/>
                    </a:cubicBezTo>
                    <a:cubicBezTo>
                      <a:pt x="109" y="210"/>
                      <a:pt x="118" y="228"/>
                      <a:pt x="118" y="233"/>
                    </a:cubicBezTo>
                    <a:cubicBezTo>
                      <a:pt x="118" y="238"/>
                      <a:pt x="109" y="234"/>
                      <a:pt x="109" y="237"/>
                    </a:cubicBezTo>
                    <a:cubicBezTo>
                      <a:pt x="109" y="240"/>
                      <a:pt x="120" y="246"/>
                      <a:pt x="120" y="249"/>
                    </a:cubicBezTo>
                    <a:cubicBezTo>
                      <a:pt x="120" y="252"/>
                      <a:pt x="116" y="256"/>
                      <a:pt x="111" y="258"/>
                    </a:cubicBezTo>
                    <a:cubicBezTo>
                      <a:pt x="106" y="260"/>
                      <a:pt x="96" y="262"/>
                      <a:pt x="91" y="264"/>
                    </a:cubicBezTo>
                    <a:cubicBezTo>
                      <a:pt x="86" y="266"/>
                      <a:pt x="84" y="268"/>
                      <a:pt x="81" y="269"/>
                    </a:cubicBezTo>
                    <a:cubicBezTo>
                      <a:pt x="78" y="270"/>
                      <a:pt x="74" y="271"/>
                      <a:pt x="70" y="272"/>
                    </a:cubicBezTo>
                    <a:cubicBezTo>
                      <a:pt x="66" y="273"/>
                      <a:pt x="61" y="273"/>
                      <a:pt x="57" y="276"/>
                    </a:cubicBezTo>
                    <a:cubicBezTo>
                      <a:pt x="53" y="279"/>
                      <a:pt x="51" y="288"/>
                      <a:pt x="48" y="290"/>
                    </a:cubicBezTo>
                    <a:cubicBezTo>
                      <a:pt x="45" y="292"/>
                      <a:pt x="40" y="287"/>
                      <a:pt x="36" y="287"/>
                    </a:cubicBezTo>
                    <a:cubicBezTo>
                      <a:pt x="32" y="287"/>
                      <a:pt x="30" y="285"/>
                      <a:pt x="25" y="287"/>
                    </a:cubicBezTo>
                    <a:cubicBezTo>
                      <a:pt x="20" y="289"/>
                      <a:pt x="6" y="295"/>
                      <a:pt x="3" y="299"/>
                    </a:cubicBezTo>
                    <a:cubicBezTo>
                      <a:pt x="0" y="303"/>
                      <a:pt x="7" y="307"/>
                      <a:pt x="7" y="311"/>
                    </a:cubicBezTo>
                    <a:cubicBezTo>
                      <a:pt x="7" y="315"/>
                      <a:pt x="2" y="318"/>
                      <a:pt x="4" y="321"/>
                    </a:cubicBezTo>
                    <a:cubicBezTo>
                      <a:pt x="6" y="324"/>
                      <a:pt x="12" y="325"/>
                      <a:pt x="16" y="327"/>
                    </a:cubicBezTo>
                    <a:cubicBezTo>
                      <a:pt x="20" y="329"/>
                      <a:pt x="27" y="330"/>
                      <a:pt x="30" y="335"/>
                    </a:cubicBezTo>
                    <a:cubicBezTo>
                      <a:pt x="33" y="340"/>
                      <a:pt x="33" y="351"/>
                      <a:pt x="37" y="356"/>
                    </a:cubicBezTo>
                    <a:cubicBezTo>
                      <a:pt x="41" y="361"/>
                      <a:pt x="51" y="360"/>
                      <a:pt x="55" y="363"/>
                    </a:cubicBezTo>
                    <a:cubicBezTo>
                      <a:pt x="59" y="366"/>
                      <a:pt x="58" y="373"/>
                      <a:pt x="64" y="374"/>
                    </a:cubicBezTo>
                    <a:cubicBezTo>
                      <a:pt x="70" y="375"/>
                      <a:pt x="84" y="372"/>
                      <a:pt x="89" y="371"/>
                    </a:cubicBezTo>
                    <a:cubicBezTo>
                      <a:pt x="94" y="370"/>
                      <a:pt x="94" y="365"/>
                      <a:pt x="97" y="366"/>
                    </a:cubicBezTo>
                    <a:cubicBezTo>
                      <a:pt x="100" y="367"/>
                      <a:pt x="105" y="375"/>
                      <a:pt x="106" y="380"/>
                    </a:cubicBezTo>
                    <a:cubicBezTo>
                      <a:pt x="107" y="385"/>
                      <a:pt x="105" y="391"/>
                      <a:pt x="103" y="396"/>
                    </a:cubicBezTo>
                    <a:cubicBezTo>
                      <a:pt x="101" y="401"/>
                      <a:pt x="92" y="409"/>
                      <a:pt x="91" y="413"/>
                    </a:cubicBezTo>
                    <a:cubicBezTo>
                      <a:pt x="90" y="417"/>
                      <a:pt x="96" y="416"/>
                      <a:pt x="97" y="419"/>
                    </a:cubicBezTo>
                    <a:cubicBezTo>
                      <a:pt x="98" y="422"/>
                      <a:pt x="101" y="426"/>
                      <a:pt x="99" y="429"/>
                    </a:cubicBezTo>
                    <a:cubicBezTo>
                      <a:pt x="97" y="432"/>
                      <a:pt x="88" y="433"/>
                      <a:pt x="87" y="437"/>
                    </a:cubicBezTo>
                    <a:cubicBezTo>
                      <a:pt x="86" y="441"/>
                      <a:pt x="88" y="448"/>
                      <a:pt x="90" y="452"/>
                    </a:cubicBezTo>
                    <a:cubicBezTo>
                      <a:pt x="92" y="456"/>
                      <a:pt x="94" y="458"/>
                      <a:pt x="99" y="462"/>
                    </a:cubicBezTo>
                    <a:cubicBezTo>
                      <a:pt x="104" y="466"/>
                      <a:pt x="113" y="471"/>
                      <a:pt x="118" y="473"/>
                    </a:cubicBezTo>
                    <a:cubicBezTo>
                      <a:pt x="123" y="475"/>
                      <a:pt x="124" y="472"/>
                      <a:pt x="129" y="474"/>
                    </a:cubicBezTo>
                    <a:cubicBezTo>
                      <a:pt x="134" y="476"/>
                      <a:pt x="136" y="478"/>
                      <a:pt x="148" y="483"/>
                    </a:cubicBezTo>
                    <a:cubicBezTo>
                      <a:pt x="160" y="488"/>
                      <a:pt x="192" y="500"/>
                      <a:pt x="203" y="504"/>
                    </a:cubicBezTo>
                    <a:cubicBezTo>
                      <a:pt x="214" y="508"/>
                      <a:pt x="213" y="510"/>
                      <a:pt x="217" y="510"/>
                    </a:cubicBezTo>
                    <a:cubicBezTo>
                      <a:pt x="221" y="510"/>
                      <a:pt x="222" y="504"/>
                      <a:pt x="227" y="503"/>
                    </a:cubicBezTo>
                    <a:cubicBezTo>
                      <a:pt x="232" y="502"/>
                      <a:pt x="242" y="506"/>
                      <a:pt x="249" y="506"/>
                    </a:cubicBezTo>
                    <a:cubicBezTo>
                      <a:pt x="256" y="506"/>
                      <a:pt x="263" y="504"/>
                      <a:pt x="268" y="506"/>
                    </a:cubicBezTo>
                    <a:cubicBezTo>
                      <a:pt x="273" y="508"/>
                      <a:pt x="274" y="517"/>
                      <a:pt x="279" y="516"/>
                    </a:cubicBezTo>
                    <a:cubicBezTo>
                      <a:pt x="284" y="515"/>
                      <a:pt x="291" y="502"/>
                      <a:pt x="298" y="498"/>
                    </a:cubicBezTo>
                    <a:cubicBezTo>
                      <a:pt x="305" y="494"/>
                      <a:pt x="314" y="494"/>
                      <a:pt x="319" y="492"/>
                    </a:cubicBezTo>
                    <a:cubicBezTo>
                      <a:pt x="324" y="490"/>
                      <a:pt x="324" y="488"/>
                      <a:pt x="328" y="488"/>
                    </a:cubicBezTo>
                    <a:cubicBezTo>
                      <a:pt x="332" y="488"/>
                      <a:pt x="339" y="490"/>
                      <a:pt x="345" y="492"/>
                    </a:cubicBezTo>
                    <a:cubicBezTo>
                      <a:pt x="351" y="494"/>
                      <a:pt x="361" y="494"/>
                      <a:pt x="367" y="498"/>
                    </a:cubicBezTo>
                    <a:cubicBezTo>
                      <a:pt x="373" y="502"/>
                      <a:pt x="378" y="508"/>
                      <a:pt x="381" y="516"/>
                    </a:cubicBezTo>
                    <a:cubicBezTo>
                      <a:pt x="384" y="524"/>
                      <a:pt x="386" y="539"/>
                      <a:pt x="384" y="546"/>
                    </a:cubicBezTo>
                    <a:cubicBezTo>
                      <a:pt x="382" y="553"/>
                      <a:pt x="371" y="556"/>
                      <a:pt x="369" y="561"/>
                    </a:cubicBezTo>
                    <a:cubicBezTo>
                      <a:pt x="367" y="566"/>
                      <a:pt x="367" y="576"/>
                      <a:pt x="369" y="578"/>
                    </a:cubicBezTo>
                    <a:cubicBezTo>
                      <a:pt x="371" y="580"/>
                      <a:pt x="376" y="571"/>
                      <a:pt x="379" y="573"/>
                    </a:cubicBezTo>
                    <a:cubicBezTo>
                      <a:pt x="382" y="575"/>
                      <a:pt x="385" y="586"/>
                      <a:pt x="388" y="590"/>
                    </a:cubicBezTo>
                    <a:cubicBezTo>
                      <a:pt x="391" y="594"/>
                      <a:pt x="391" y="595"/>
                      <a:pt x="394" y="599"/>
                    </a:cubicBezTo>
                    <a:cubicBezTo>
                      <a:pt x="397" y="603"/>
                      <a:pt x="401" y="612"/>
                      <a:pt x="405" y="615"/>
                    </a:cubicBezTo>
                    <a:cubicBezTo>
                      <a:pt x="409" y="618"/>
                      <a:pt x="415" y="618"/>
                      <a:pt x="420" y="615"/>
                    </a:cubicBezTo>
                    <a:cubicBezTo>
                      <a:pt x="425" y="612"/>
                      <a:pt x="431" y="600"/>
                      <a:pt x="435" y="596"/>
                    </a:cubicBezTo>
                    <a:cubicBezTo>
                      <a:pt x="439" y="592"/>
                      <a:pt x="440" y="589"/>
                      <a:pt x="444" y="590"/>
                    </a:cubicBezTo>
                    <a:cubicBezTo>
                      <a:pt x="448" y="591"/>
                      <a:pt x="453" y="600"/>
                      <a:pt x="459" y="600"/>
                    </a:cubicBezTo>
                    <a:cubicBezTo>
                      <a:pt x="465" y="600"/>
                      <a:pt x="474" y="589"/>
                      <a:pt x="480" y="588"/>
                    </a:cubicBezTo>
                    <a:cubicBezTo>
                      <a:pt x="486" y="587"/>
                      <a:pt x="490" y="591"/>
                      <a:pt x="495" y="594"/>
                    </a:cubicBezTo>
                    <a:cubicBezTo>
                      <a:pt x="500" y="597"/>
                      <a:pt x="505" y="604"/>
                      <a:pt x="508" y="608"/>
                    </a:cubicBezTo>
                    <a:cubicBezTo>
                      <a:pt x="511" y="612"/>
                      <a:pt x="511" y="616"/>
                      <a:pt x="514" y="618"/>
                    </a:cubicBezTo>
                    <a:cubicBezTo>
                      <a:pt x="517" y="620"/>
                      <a:pt x="524" y="618"/>
                      <a:pt x="529" y="621"/>
                    </a:cubicBezTo>
                    <a:cubicBezTo>
                      <a:pt x="534" y="624"/>
                      <a:pt x="543" y="633"/>
                      <a:pt x="543" y="638"/>
                    </a:cubicBezTo>
                    <a:cubicBezTo>
                      <a:pt x="543" y="643"/>
                      <a:pt x="533" y="650"/>
                      <a:pt x="531" y="654"/>
                    </a:cubicBezTo>
                    <a:cubicBezTo>
                      <a:pt x="529" y="658"/>
                      <a:pt x="529" y="664"/>
                      <a:pt x="532" y="665"/>
                    </a:cubicBezTo>
                    <a:cubicBezTo>
                      <a:pt x="535" y="666"/>
                      <a:pt x="543" y="663"/>
                      <a:pt x="547" y="663"/>
                    </a:cubicBezTo>
                    <a:cubicBezTo>
                      <a:pt x="551" y="663"/>
                      <a:pt x="552" y="666"/>
                      <a:pt x="555" y="662"/>
                    </a:cubicBezTo>
                    <a:cubicBezTo>
                      <a:pt x="558" y="658"/>
                      <a:pt x="565" y="642"/>
                      <a:pt x="567" y="636"/>
                    </a:cubicBezTo>
                    <a:cubicBezTo>
                      <a:pt x="569" y="630"/>
                      <a:pt x="564" y="627"/>
                      <a:pt x="568" y="624"/>
                    </a:cubicBezTo>
                    <a:cubicBezTo>
                      <a:pt x="572" y="621"/>
                      <a:pt x="584" y="619"/>
                      <a:pt x="589" y="615"/>
                    </a:cubicBezTo>
                    <a:cubicBezTo>
                      <a:pt x="594" y="611"/>
                      <a:pt x="595" y="604"/>
                      <a:pt x="597" y="600"/>
                    </a:cubicBezTo>
                    <a:cubicBezTo>
                      <a:pt x="599" y="596"/>
                      <a:pt x="599" y="589"/>
                      <a:pt x="601" y="590"/>
                    </a:cubicBezTo>
                    <a:cubicBezTo>
                      <a:pt x="603" y="591"/>
                      <a:pt x="603" y="605"/>
                      <a:pt x="607" y="606"/>
                    </a:cubicBezTo>
                    <a:cubicBezTo>
                      <a:pt x="611" y="607"/>
                      <a:pt x="616" y="599"/>
                      <a:pt x="624" y="596"/>
                    </a:cubicBezTo>
                    <a:cubicBezTo>
                      <a:pt x="632" y="593"/>
                      <a:pt x="644" y="592"/>
                      <a:pt x="654" y="585"/>
                    </a:cubicBezTo>
                    <a:cubicBezTo>
                      <a:pt x="664" y="578"/>
                      <a:pt x="677" y="565"/>
                      <a:pt x="684" y="557"/>
                    </a:cubicBezTo>
                    <a:cubicBezTo>
                      <a:pt x="691" y="549"/>
                      <a:pt x="690" y="546"/>
                      <a:pt x="696" y="537"/>
                    </a:cubicBezTo>
                    <a:cubicBezTo>
                      <a:pt x="702" y="528"/>
                      <a:pt x="712" y="515"/>
                      <a:pt x="718" y="503"/>
                    </a:cubicBezTo>
                    <a:cubicBezTo>
                      <a:pt x="724" y="491"/>
                      <a:pt x="735" y="472"/>
                      <a:pt x="733" y="467"/>
                    </a:cubicBezTo>
                    <a:cubicBezTo>
                      <a:pt x="731" y="462"/>
                      <a:pt x="709" y="475"/>
                      <a:pt x="708" y="473"/>
                    </a:cubicBezTo>
                    <a:cubicBezTo>
                      <a:pt x="707" y="471"/>
                      <a:pt x="723" y="461"/>
                      <a:pt x="724" y="456"/>
                    </a:cubicBezTo>
                    <a:cubicBezTo>
                      <a:pt x="725" y="451"/>
                      <a:pt x="718" y="450"/>
                      <a:pt x="715" y="444"/>
                    </a:cubicBezTo>
                    <a:cubicBezTo>
                      <a:pt x="712" y="438"/>
                      <a:pt x="710" y="423"/>
                      <a:pt x="708" y="417"/>
                    </a:cubicBezTo>
                    <a:cubicBezTo>
                      <a:pt x="706" y="411"/>
                      <a:pt x="705" y="411"/>
                      <a:pt x="702" y="407"/>
                    </a:cubicBezTo>
                    <a:cubicBezTo>
                      <a:pt x="699" y="403"/>
                      <a:pt x="690" y="399"/>
                      <a:pt x="690" y="392"/>
                    </a:cubicBezTo>
                    <a:cubicBezTo>
                      <a:pt x="690" y="385"/>
                      <a:pt x="698" y="373"/>
                      <a:pt x="705" y="365"/>
                    </a:cubicBezTo>
                    <a:cubicBezTo>
                      <a:pt x="712" y="357"/>
                      <a:pt x="732" y="350"/>
                      <a:pt x="733" y="345"/>
                    </a:cubicBezTo>
                    <a:cubicBezTo>
                      <a:pt x="734" y="340"/>
                      <a:pt x="719" y="336"/>
                      <a:pt x="714" y="336"/>
                    </a:cubicBezTo>
                    <a:cubicBezTo>
                      <a:pt x="709" y="336"/>
                      <a:pt x="704" y="345"/>
                      <a:pt x="700" y="347"/>
                    </a:cubicBezTo>
                    <a:cubicBezTo>
                      <a:pt x="696" y="349"/>
                      <a:pt x="690" y="354"/>
                      <a:pt x="687" y="351"/>
                    </a:cubicBezTo>
                    <a:cubicBezTo>
                      <a:pt x="684" y="348"/>
                      <a:pt x="685" y="334"/>
                      <a:pt x="682" y="330"/>
                    </a:cubicBezTo>
                    <a:cubicBezTo>
                      <a:pt x="679" y="326"/>
                      <a:pt x="670" y="329"/>
                      <a:pt x="666" y="326"/>
                    </a:cubicBezTo>
                    <a:cubicBezTo>
                      <a:pt x="662" y="323"/>
                      <a:pt x="657" y="316"/>
                      <a:pt x="660" y="314"/>
                    </a:cubicBezTo>
                    <a:cubicBezTo>
                      <a:pt x="663" y="312"/>
                      <a:pt x="677" y="315"/>
                      <a:pt x="684" y="311"/>
                    </a:cubicBezTo>
                    <a:cubicBezTo>
                      <a:pt x="691" y="307"/>
                      <a:pt x="699" y="295"/>
                      <a:pt x="703" y="290"/>
                    </a:cubicBezTo>
                    <a:cubicBezTo>
                      <a:pt x="707" y="285"/>
                      <a:pt x="705" y="283"/>
                      <a:pt x="709" y="281"/>
                    </a:cubicBezTo>
                    <a:cubicBezTo>
                      <a:pt x="713" y="279"/>
                      <a:pt x="726" y="276"/>
                      <a:pt x="729" y="279"/>
                    </a:cubicBezTo>
                    <a:cubicBezTo>
                      <a:pt x="732" y="282"/>
                      <a:pt x="729" y="290"/>
                      <a:pt x="727" y="296"/>
                    </a:cubicBezTo>
                    <a:cubicBezTo>
                      <a:pt x="725" y="302"/>
                      <a:pt x="716" y="316"/>
                      <a:pt x="718" y="317"/>
                    </a:cubicBezTo>
                    <a:cubicBezTo>
                      <a:pt x="720" y="318"/>
                      <a:pt x="736" y="308"/>
                      <a:pt x="741" y="305"/>
                    </a:cubicBezTo>
                    <a:cubicBezTo>
                      <a:pt x="746" y="302"/>
                      <a:pt x="744" y="297"/>
                      <a:pt x="747" y="296"/>
                    </a:cubicBezTo>
                    <a:cubicBezTo>
                      <a:pt x="750" y="295"/>
                      <a:pt x="756" y="297"/>
                      <a:pt x="760" y="296"/>
                    </a:cubicBezTo>
                    <a:cubicBezTo>
                      <a:pt x="764" y="295"/>
                      <a:pt x="766" y="291"/>
                      <a:pt x="769" y="288"/>
                    </a:cubicBezTo>
                    <a:cubicBezTo>
                      <a:pt x="772" y="285"/>
                      <a:pt x="776" y="279"/>
                      <a:pt x="780" y="275"/>
                    </a:cubicBezTo>
                    <a:cubicBezTo>
                      <a:pt x="784" y="271"/>
                      <a:pt x="790" y="266"/>
                      <a:pt x="795" y="264"/>
                    </a:cubicBezTo>
                    <a:cubicBezTo>
                      <a:pt x="800" y="262"/>
                      <a:pt x="806" y="266"/>
                      <a:pt x="810" y="264"/>
                    </a:cubicBezTo>
                    <a:cubicBezTo>
                      <a:pt x="814" y="262"/>
                      <a:pt x="813" y="257"/>
                      <a:pt x="817" y="255"/>
                    </a:cubicBezTo>
                    <a:cubicBezTo>
                      <a:pt x="821" y="253"/>
                      <a:pt x="830" y="254"/>
                      <a:pt x="834" y="251"/>
                    </a:cubicBezTo>
                    <a:cubicBezTo>
                      <a:pt x="838" y="248"/>
                      <a:pt x="837" y="238"/>
                      <a:pt x="841" y="236"/>
                    </a:cubicBezTo>
                    <a:cubicBezTo>
                      <a:pt x="845" y="234"/>
                      <a:pt x="854" y="238"/>
                      <a:pt x="858" y="236"/>
                    </a:cubicBezTo>
                    <a:cubicBezTo>
                      <a:pt x="862" y="234"/>
                      <a:pt x="863" y="231"/>
                      <a:pt x="864" y="227"/>
                    </a:cubicBezTo>
                    <a:cubicBezTo>
                      <a:pt x="865" y="223"/>
                      <a:pt x="863" y="215"/>
                      <a:pt x="864" y="210"/>
                    </a:cubicBezTo>
                    <a:cubicBezTo>
                      <a:pt x="865" y="205"/>
                      <a:pt x="866" y="199"/>
                      <a:pt x="868" y="197"/>
                    </a:cubicBezTo>
                    <a:cubicBezTo>
                      <a:pt x="870" y="195"/>
                      <a:pt x="875" y="195"/>
                      <a:pt x="879" y="195"/>
                    </a:cubicBezTo>
                    <a:cubicBezTo>
                      <a:pt x="883" y="195"/>
                      <a:pt x="890" y="199"/>
                      <a:pt x="895" y="195"/>
                    </a:cubicBezTo>
                    <a:cubicBezTo>
                      <a:pt x="900" y="191"/>
                      <a:pt x="906" y="178"/>
                      <a:pt x="909" y="171"/>
                    </a:cubicBezTo>
                    <a:cubicBezTo>
                      <a:pt x="912" y="164"/>
                      <a:pt x="913" y="160"/>
                      <a:pt x="915" y="153"/>
                    </a:cubicBezTo>
                    <a:cubicBezTo>
                      <a:pt x="917" y="146"/>
                      <a:pt x="926" y="130"/>
                      <a:pt x="922" y="128"/>
                    </a:cubicBezTo>
                    <a:cubicBezTo>
                      <a:pt x="918" y="126"/>
                      <a:pt x="900" y="136"/>
                      <a:pt x="892" y="140"/>
                    </a:cubicBezTo>
                    <a:cubicBezTo>
                      <a:pt x="884" y="144"/>
                      <a:pt x="877" y="152"/>
                      <a:pt x="871" y="150"/>
                    </a:cubicBezTo>
                    <a:cubicBezTo>
                      <a:pt x="865" y="148"/>
                      <a:pt x="861" y="134"/>
                      <a:pt x="858" y="128"/>
                    </a:cubicBezTo>
                    <a:cubicBezTo>
                      <a:pt x="855" y="122"/>
                      <a:pt x="857" y="116"/>
                      <a:pt x="852" y="113"/>
                    </a:cubicBezTo>
                    <a:cubicBezTo>
                      <a:pt x="847" y="110"/>
                      <a:pt x="834" y="112"/>
                      <a:pt x="828" y="107"/>
                    </a:cubicBezTo>
                    <a:cubicBezTo>
                      <a:pt x="822" y="102"/>
                      <a:pt x="818" y="91"/>
                      <a:pt x="814" y="83"/>
                    </a:cubicBezTo>
                    <a:cubicBezTo>
                      <a:pt x="810" y="75"/>
                      <a:pt x="811" y="67"/>
                      <a:pt x="807" y="59"/>
                    </a:cubicBezTo>
                    <a:cubicBezTo>
                      <a:pt x="803" y="51"/>
                      <a:pt x="796" y="43"/>
                      <a:pt x="792" y="35"/>
                    </a:cubicBezTo>
                    <a:cubicBezTo>
                      <a:pt x="788" y="27"/>
                      <a:pt x="790" y="17"/>
                      <a:pt x="783" y="11"/>
                    </a:cubicBezTo>
                    <a:cubicBezTo>
                      <a:pt x="776" y="5"/>
                      <a:pt x="761" y="0"/>
                      <a:pt x="747" y="0"/>
                    </a:cubicBezTo>
                    <a:cubicBezTo>
                      <a:pt x="733" y="0"/>
                      <a:pt x="706" y="7"/>
                      <a:pt x="700" y="14"/>
                    </a:cubicBezTo>
                    <a:cubicBezTo>
                      <a:pt x="694" y="21"/>
                      <a:pt x="708" y="36"/>
                      <a:pt x="708" y="45"/>
                    </a:cubicBezTo>
                    <a:cubicBezTo>
                      <a:pt x="708" y="54"/>
                      <a:pt x="702" y="61"/>
                      <a:pt x="700" y="66"/>
                    </a:cubicBezTo>
                    <a:cubicBezTo>
                      <a:pt x="698" y="71"/>
                      <a:pt x="695" y="71"/>
                      <a:pt x="694" y="74"/>
                    </a:cubicBezTo>
                    <a:cubicBezTo>
                      <a:pt x="693" y="77"/>
                      <a:pt x="694" y="83"/>
                      <a:pt x="691" y="87"/>
                    </a:cubicBezTo>
                    <a:cubicBezTo>
                      <a:pt x="688" y="91"/>
                      <a:pt x="685" y="96"/>
                      <a:pt x="679" y="98"/>
                    </a:cubicBezTo>
                    <a:cubicBezTo>
                      <a:pt x="673" y="100"/>
                      <a:pt x="661" y="100"/>
                      <a:pt x="655" y="101"/>
                    </a:cubicBezTo>
                    <a:cubicBezTo>
                      <a:pt x="649" y="102"/>
                      <a:pt x="643" y="97"/>
                      <a:pt x="640" y="9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1" name="Freeform 135">
                <a:extLst>
                  <a:ext uri="{FF2B5EF4-FFF2-40B4-BE49-F238E27FC236}">
                    <a16:creationId xmlns:a16="http://schemas.microsoft.com/office/drawing/2014/main" id="{4AA86A09-A609-413E-AAC2-5229C25BC745}"/>
                  </a:ext>
                </a:extLst>
              </p:cNvPr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gray">
              <a:xfrm>
                <a:off x="6451601" y="2773363"/>
                <a:ext cx="760413" cy="346075"/>
              </a:xfrm>
              <a:custGeom>
                <a:avLst/>
                <a:gdLst>
                  <a:gd name="T0" fmla="*/ 4 w 472"/>
                  <a:gd name="T1" fmla="*/ 66 h 218"/>
                  <a:gd name="T2" fmla="*/ 7 w 472"/>
                  <a:gd name="T3" fmla="*/ 78 h 218"/>
                  <a:gd name="T4" fmla="*/ 28 w 472"/>
                  <a:gd name="T5" fmla="*/ 81 h 218"/>
                  <a:gd name="T6" fmla="*/ 45 w 472"/>
                  <a:gd name="T7" fmla="*/ 113 h 218"/>
                  <a:gd name="T8" fmla="*/ 43 w 472"/>
                  <a:gd name="T9" fmla="*/ 123 h 218"/>
                  <a:gd name="T10" fmla="*/ 40 w 472"/>
                  <a:gd name="T11" fmla="*/ 141 h 218"/>
                  <a:gd name="T12" fmla="*/ 57 w 472"/>
                  <a:gd name="T13" fmla="*/ 147 h 218"/>
                  <a:gd name="T14" fmla="*/ 88 w 472"/>
                  <a:gd name="T15" fmla="*/ 149 h 218"/>
                  <a:gd name="T16" fmla="*/ 103 w 472"/>
                  <a:gd name="T17" fmla="*/ 161 h 218"/>
                  <a:gd name="T18" fmla="*/ 118 w 472"/>
                  <a:gd name="T19" fmla="*/ 185 h 218"/>
                  <a:gd name="T20" fmla="*/ 133 w 472"/>
                  <a:gd name="T21" fmla="*/ 197 h 218"/>
                  <a:gd name="T22" fmla="*/ 156 w 472"/>
                  <a:gd name="T23" fmla="*/ 197 h 218"/>
                  <a:gd name="T24" fmla="*/ 199 w 472"/>
                  <a:gd name="T25" fmla="*/ 197 h 218"/>
                  <a:gd name="T26" fmla="*/ 238 w 472"/>
                  <a:gd name="T27" fmla="*/ 215 h 218"/>
                  <a:gd name="T28" fmla="*/ 252 w 472"/>
                  <a:gd name="T29" fmla="*/ 213 h 218"/>
                  <a:gd name="T30" fmla="*/ 271 w 472"/>
                  <a:gd name="T31" fmla="*/ 204 h 218"/>
                  <a:gd name="T32" fmla="*/ 282 w 472"/>
                  <a:gd name="T33" fmla="*/ 200 h 218"/>
                  <a:gd name="T34" fmla="*/ 297 w 472"/>
                  <a:gd name="T35" fmla="*/ 200 h 218"/>
                  <a:gd name="T36" fmla="*/ 322 w 472"/>
                  <a:gd name="T37" fmla="*/ 195 h 218"/>
                  <a:gd name="T38" fmla="*/ 342 w 472"/>
                  <a:gd name="T39" fmla="*/ 183 h 218"/>
                  <a:gd name="T40" fmla="*/ 349 w 472"/>
                  <a:gd name="T41" fmla="*/ 168 h 218"/>
                  <a:gd name="T42" fmla="*/ 349 w 472"/>
                  <a:gd name="T43" fmla="*/ 150 h 218"/>
                  <a:gd name="T44" fmla="*/ 354 w 472"/>
                  <a:gd name="T45" fmla="*/ 141 h 218"/>
                  <a:gd name="T46" fmla="*/ 385 w 472"/>
                  <a:gd name="T47" fmla="*/ 153 h 218"/>
                  <a:gd name="T48" fmla="*/ 393 w 472"/>
                  <a:gd name="T49" fmla="*/ 144 h 218"/>
                  <a:gd name="T50" fmla="*/ 400 w 472"/>
                  <a:gd name="T51" fmla="*/ 135 h 218"/>
                  <a:gd name="T52" fmla="*/ 417 w 472"/>
                  <a:gd name="T53" fmla="*/ 131 h 218"/>
                  <a:gd name="T54" fmla="*/ 430 w 472"/>
                  <a:gd name="T55" fmla="*/ 113 h 218"/>
                  <a:gd name="T56" fmla="*/ 469 w 472"/>
                  <a:gd name="T57" fmla="*/ 110 h 218"/>
                  <a:gd name="T58" fmla="*/ 451 w 472"/>
                  <a:gd name="T59" fmla="*/ 81 h 218"/>
                  <a:gd name="T60" fmla="*/ 436 w 472"/>
                  <a:gd name="T61" fmla="*/ 90 h 218"/>
                  <a:gd name="T62" fmla="*/ 420 w 472"/>
                  <a:gd name="T63" fmla="*/ 83 h 218"/>
                  <a:gd name="T64" fmla="*/ 412 w 472"/>
                  <a:gd name="T65" fmla="*/ 92 h 218"/>
                  <a:gd name="T66" fmla="*/ 415 w 472"/>
                  <a:gd name="T67" fmla="*/ 78 h 218"/>
                  <a:gd name="T68" fmla="*/ 408 w 472"/>
                  <a:gd name="T69" fmla="*/ 66 h 218"/>
                  <a:gd name="T70" fmla="*/ 418 w 472"/>
                  <a:gd name="T71" fmla="*/ 47 h 218"/>
                  <a:gd name="T72" fmla="*/ 403 w 472"/>
                  <a:gd name="T73" fmla="*/ 47 h 218"/>
                  <a:gd name="T74" fmla="*/ 391 w 472"/>
                  <a:gd name="T75" fmla="*/ 44 h 218"/>
                  <a:gd name="T76" fmla="*/ 352 w 472"/>
                  <a:gd name="T77" fmla="*/ 65 h 218"/>
                  <a:gd name="T78" fmla="*/ 334 w 472"/>
                  <a:gd name="T79" fmla="*/ 66 h 218"/>
                  <a:gd name="T80" fmla="*/ 316 w 472"/>
                  <a:gd name="T81" fmla="*/ 69 h 218"/>
                  <a:gd name="T82" fmla="*/ 303 w 472"/>
                  <a:gd name="T83" fmla="*/ 66 h 218"/>
                  <a:gd name="T84" fmla="*/ 294 w 472"/>
                  <a:gd name="T85" fmla="*/ 56 h 218"/>
                  <a:gd name="T86" fmla="*/ 286 w 472"/>
                  <a:gd name="T87" fmla="*/ 44 h 218"/>
                  <a:gd name="T88" fmla="*/ 267 w 472"/>
                  <a:gd name="T89" fmla="*/ 38 h 218"/>
                  <a:gd name="T90" fmla="*/ 226 w 472"/>
                  <a:gd name="T91" fmla="*/ 41 h 218"/>
                  <a:gd name="T92" fmla="*/ 207 w 472"/>
                  <a:gd name="T93" fmla="*/ 17 h 218"/>
                  <a:gd name="T94" fmla="*/ 162 w 472"/>
                  <a:gd name="T95" fmla="*/ 3 h 218"/>
                  <a:gd name="T96" fmla="*/ 148 w 472"/>
                  <a:gd name="T97" fmla="*/ 35 h 218"/>
                  <a:gd name="T98" fmla="*/ 147 w 472"/>
                  <a:gd name="T99" fmla="*/ 48 h 218"/>
                  <a:gd name="T100" fmla="*/ 142 w 472"/>
                  <a:gd name="T101" fmla="*/ 48 h 218"/>
                  <a:gd name="T102" fmla="*/ 136 w 472"/>
                  <a:gd name="T103" fmla="*/ 56 h 218"/>
                  <a:gd name="T104" fmla="*/ 112 w 472"/>
                  <a:gd name="T105" fmla="*/ 53 h 218"/>
                  <a:gd name="T106" fmla="*/ 100 w 472"/>
                  <a:gd name="T107" fmla="*/ 47 h 218"/>
                  <a:gd name="T108" fmla="*/ 85 w 472"/>
                  <a:gd name="T109" fmla="*/ 36 h 218"/>
                  <a:gd name="T110" fmla="*/ 73 w 472"/>
                  <a:gd name="T111" fmla="*/ 30 h 218"/>
                  <a:gd name="T112" fmla="*/ 55 w 472"/>
                  <a:gd name="T113" fmla="*/ 29 h 218"/>
                  <a:gd name="T114" fmla="*/ 42 w 472"/>
                  <a:gd name="T115" fmla="*/ 37 h 218"/>
                  <a:gd name="T116" fmla="*/ 33 w 472"/>
                  <a:gd name="T117" fmla="*/ 47 h 218"/>
                  <a:gd name="T118" fmla="*/ 16 w 472"/>
                  <a:gd name="T119" fmla="*/ 54 h 218"/>
                  <a:gd name="T120" fmla="*/ 4 w 472"/>
                  <a:gd name="T121" fmla="*/ 6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2" h="218">
                    <a:moveTo>
                      <a:pt x="4" y="66"/>
                    </a:moveTo>
                    <a:cubicBezTo>
                      <a:pt x="0" y="71"/>
                      <a:pt x="3" y="76"/>
                      <a:pt x="7" y="78"/>
                    </a:cubicBezTo>
                    <a:cubicBezTo>
                      <a:pt x="11" y="80"/>
                      <a:pt x="22" y="75"/>
                      <a:pt x="28" y="81"/>
                    </a:cubicBezTo>
                    <a:cubicBezTo>
                      <a:pt x="34" y="87"/>
                      <a:pt x="43" y="106"/>
                      <a:pt x="45" y="113"/>
                    </a:cubicBezTo>
                    <a:cubicBezTo>
                      <a:pt x="47" y="120"/>
                      <a:pt x="44" y="118"/>
                      <a:pt x="43" y="123"/>
                    </a:cubicBezTo>
                    <a:cubicBezTo>
                      <a:pt x="42" y="128"/>
                      <a:pt x="38" y="137"/>
                      <a:pt x="40" y="141"/>
                    </a:cubicBezTo>
                    <a:cubicBezTo>
                      <a:pt x="42" y="145"/>
                      <a:pt x="49" y="146"/>
                      <a:pt x="57" y="147"/>
                    </a:cubicBezTo>
                    <a:cubicBezTo>
                      <a:pt x="65" y="148"/>
                      <a:pt x="80" y="147"/>
                      <a:pt x="88" y="149"/>
                    </a:cubicBezTo>
                    <a:cubicBezTo>
                      <a:pt x="96" y="151"/>
                      <a:pt x="98" y="155"/>
                      <a:pt x="103" y="161"/>
                    </a:cubicBezTo>
                    <a:cubicBezTo>
                      <a:pt x="108" y="167"/>
                      <a:pt x="113" y="179"/>
                      <a:pt x="118" y="185"/>
                    </a:cubicBezTo>
                    <a:cubicBezTo>
                      <a:pt x="123" y="191"/>
                      <a:pt x="127" y="195"/>
                      <a:pt x="133" y="197"/>
                    </a:cubicBezTo>
                    <a:cubicBezTo>
                      <a:pt x="139" y="199"/>
                      <a:pt x="145" y="197"/>
                      <a:pt x="156" y="197"/>
                    </a:cubicBezTo>
                    <a:cubicBezTo>
                      <a:pt x="167" y="197"/>
                      <a:pt x="185" y="194"/>
                      <a:pt x="199" y="197"/>
                    </a:cubicBezTo>
                    <a:cubicBezTo>
                      <a:pt x="213" y="200"/>
                      <a:pt x="229" y="212"/>
                      <a:pt x="238" y="215"/>
                    </a:cubicBezTo>
                    <a:cubicBezTo>
                      <a:pt x="247" y="218"/>
                      <a:pt x="247" y="215"/>
                      <a:pt x="252" y="213"/>
                    </a:cubicBezTo>
                    <a:cubicBezTo>
                      <a:pt x="257" y="211"/>
                      <a:pt x="266" y="206"/>
                      <a:pt x="271" y="204"/>
                    </a:cubicBezTo>
                    <a:cubicBezTo>
                      <a:pt x="276" y="202"/>
                      <a:pt x="278" y="201"/>
                      <a:pt x="282" y="200"/>
                    </a:cubicBezTo>
                    <a:cubicBezTo>
                      <a:pt x="286" y="199"/>
                      <a:pt x="290" y="201"/>
                      <a:pt x="297" y="200"/>
                    </a:cubicBezTo>
                    <a:cubicBezTo>
                      <a:pt x="304" y="199"/>
                      <a:pt x="315" y="198"/>
                      <a:pt x="322" y="195"/>
                    </a:cubicBezTo>
                    <a:cubicBezTo>
                      <a:pt x="329" y="192"/>
                      <a:pt x="338" y="187"/>
                      <a:pt x="342" y="183"/>
                    </a:cubicBezTo>
                    <a:cubicBezTo>
                      <a:pt x="346" y="179"/>
                      <a:pt x="348" y="173"/>
                      <a:pt x="349" y="168"/>
                    </a:cubicBezTo>
                    <a:cubicBezTo>
                      <a:pt x="350" y="163"/>
                      <a:pt x="348" y="154"/>
                      <a:pt x="349" y="150"/>
                    </a:cubicBezTo>
                    <a:cubicBezTo>
                      <a:pt x="350" y="146"/>
                      <a:pt x="348" y="140"/>
                      <a:pt x="354" y="141"/>
                    </a:cubicBezTo>
                    <a:cubicBezTo>
                      <a:pt x="360" y="142"/>
                      <a:pt x="379" y="153"/>
                      <a:pt x="385" y="153"/>
                    </a:cubicBezTo>
                    <a:cubicBezTo>
                      <a:pt x="391" y="153"/>
                      <a:pt x="391" y="147"/>
                      <a:pt x="393" y="144"/>
                    </a:cubicBezTo>
                    <a:cubicBezTo>
                      <a:pt x="395" y="141"/>
                      <a:pt x="396" y="137"/>
                      <a:pt x="400" y="135"/>
                    </a:cubicBezTo>
                    <a:cubicBezTo>
                      <a:pt x="404" y="133"/>
                      <a:pt x="412" y="135"/>
                      <a:pt x="417" y="131"/>
                    </a:cubicBezTo>
                    <a:cubicBezTo>
                      <a:pt x="422" y="127"/>
                      <a:pt x="421" y="116"/>
                      <a:pt x="430" y="113"/>
                    </a:cubicBezTo>
                    <a:cubicBezTo>
                      <a:pt x="439" y="110"/>
                      <a:pt x="466" y="115"/>
                      <a:pt x="469" y="110"/>
                    </a:cubicBezTo>
                    <a:cubicBezTo>
                      <a:pt x="472" y="105"/>
                      <a:pt x="456" y="84"/>
                      <a:pt x="451" y="81"/>
                    </a:cubicBezTo>
                    <a:cubicBezTo>
                      <a:pt x="446" y="78"/>
                      <a:pt x="441" y="90"/>
                      <a:pt x="436" y="90"/>
                    </a:cubicBezTo>
                    <a:cubicBezTo>
                      <a:pt x="431" y="90"/>
                      <a:pt x="424" y="83"/>
                      <a:pt x="420" y="83"/>
                    </a:cubicBezTo>
                    <a:cubicBezTo>
                      <a:pt x="416" y="83"/>
                      <a:pt x="413" y="93"/>
                      <a:pt x="412" y="92"/>
                    </a:cubicBezTo>
                    <a:cubicBezTo>
                      <a:pt x="411" y="91"/>
                      <a:pt x="416" y="82"/>
                      <a:pt x="415" y="78"/>
                    </a:cubicBezTo>
                    <a:cubicBezTo>
                      <a:pt x="414" y="74"/>
                      <a:pt x="408" y="71"/>
                      <a:pt x="408" y="66"/>
                    </a:cubicBezTo>
                    <a:cubicBezTo>
                      <a:pt x="408" y="61"/>
                      <a:pt x="419" y="50"/>
                      <a:pt x="418" y="47"/>
                    </a:cubicBezTo>
                    <a:cubicBezTo>
                      <a:pt x="417" y="44"/>
                      <a:pt x="407" y="47"/>
                      <a:pt x="403" y="47"/>
                    </a:cubicBezTo>
                    <a:cubicBezTo>
                      <a:pt x="399" y="47"/>
                      <a:pt x="399" y="41"/>
                      <a:pt x="391" y="44"/>
                    </a:cubicBezTo>
                    <a:cubicBezTo>
                      <a:pt x="383" y="47"/>
                      <a:pt x="361" y="61"/>
                      <a:pt x="352" y="65"/>
                    </a:cubicBezTo>
                    <a:cubicBezTo>
                      <a:pt x="343" y="69"/>
                      <a:pt x="340" y="65"/>
                      <a:pt x="334" y="66"/>
                    </a:cubicBezTo>
                    <a:cubicBezTo>
                      <a:pt x="328" y="67"/>
                      <a:pt x="321" y="69"/>
                      <a:pt x="316" y="69"/>
                    </a:cubicBezTo>
                    <a:cubicBezTo>
                      <a:pt x="311" y="69"/>
                      <a:pt x="307" y="68"/>
                      <a:pt x="303" y="66"/>
                    </a:cubicBezTo>
                    <a:cubicBezTo>
                      <a:pt x="299" y="64"/>
                      <a:pt x="297" y="60"/>
                      <a:pt x="294" y="56"/>
                    </a:cubicBezTo>
                    <a:cubicBezTo>
                      <a:pt x="291" y="52"/>
                      <a:pt x="290" y="47"/>
                      <a:pt x="286" y="44"/>
                    </a:cubicBezTo>
                    <a:cubicBezTo>
                      <a:pt x="282" y="41"/>
                      <a:pt x="277" y="38"/>
                      <a:pt x="267" y="38"/>
                    </a:cubicBezTo>
                    <a:cubicBezTo>
                      <a:pt x="257" y="38"/>
                      <a:pt x="236" y="44"/>
                      <a:pt x="226" y="41"/>
                    </a:cubicBezTo>
                    <a:cubicBezTo>
                      <a:pt x="216" y="38"/>
                      <a:pt x="218" y="23"/>
                      <a:pt x="207" y="17"/>
                    </a:cubicBezTo>
                    <a:cubicBezTo>
                      <a:pt x="196" y="11"/>
                      <a:pt x="172" y="0"/>
                      <a:pt x="162" y="3"/>
                    </a:cubicBezTo>
                    <a:cubicBezTo>
                      <a:pt x="152" y="6"/>
                      <a:pt x="150" y="28"/>
                      <a:pt x="148" y="35"/>
                    </a:cubicBezTo>
                    <a:cubicBezTo>
                      <a:pt x="146" y="42"/>
                      <a:pt x="148" y="46"/>
                      <a:pt x="147" y="48"/>
                    </a:cubicBezTo>
                    <a:cubicBezTo>
                      <a:pt x="146" y="50"/>
                      <a:pt x="144" y="47"/>
                      <a:pt x="142" y="48"/>
                    </a:cubicBezTo>
                    <a:cubicBezTo>
                      <a:pt x="140" y="49"/>
                      <a:pt x="141" y="55"/>
                      <a:pt x="136" y="56"/>
                    </a:cubicBezTo>
                    <a:cubicBezTo>
                      <a:pt x="131" y="57"/>
                      <a:pt x="118" y="54"/>
                      <a:pt x="112" y="53"/>
                    </a:cubicBezTo>
                    <a:cubicBezTo>
                      <a:pt x="106" y="52"/>
                      <a:pt x="104" y="50"/>
                      <a:pt x="100" y="47"/>
                    </a:cubicBezTo>
                    <a:cubicBezTo>
                      <a:pt x="96" y="44"/>
                      <a:pt x="89" y="39"/>
                      <a:pt x="85" y="36"/>
                    </a:cubicBezTo>
                    <a:cubicBezTo>
                      <a:pt x="81" y="33"/>
                      <a:pt x="78" y="31"/>
                      <a:pt x="73" y="30"/>
                    </a:cubicBezTo>
                    <a:cubicBezTo>
                      <a:pt x="68" y="29"/>
                      <a:pt x="60" y="28"/>
                      <a:pt x="55" y="29"/>
                    </a:cubicBezTo>
                    <a:cubicBezTo>
                      <a:pt x="50" y="30"/>
                      <a:pt x="46" y="34"/>
                      <a:pt x="42" y="37"/>
                    </a:cubicBezTo>
                    <a:cubicBezTo>
                      <a:pt x="38" y="40"/>
                      <a:pt x="37" y="44"/>
                      <a:pt x="33" y="47"/>
                    </a:cubicBezTo>
                    <a:cubicBezTo>
                      <a:pt x="29" y="50"/>
                      <a:pt x="21" y="51"/>
                      <a:pt x="16" y="54"/>
                    </a:cubicBezTo>
                    <a:cubicBezTo>
                      <a:pt x="11" y="57"/>
                      <a:pt x="6" y="64"/>
                      <a:pt x="4" y="6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2" name="Freeform 136">
                <a:extLst>
                  <a:ext uri="{FF2B5EF4-FFF2-40B4-BE49-F238E27FC236}">
                    <a16:creationId xmlns:a16="http://schemas.microsoft.com/office/drawing/2014/main" id="{A464D849-E3F4-467F-BBE8-AC6072F34A38}"/>
                  </a:ext>
                </a:extLst>
              </p:cNvPr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gray">
              <a:xfrm>
                <a:off x="6446838" y="3552825"/>
                <a:ext cx="103188" cy="122238"/>
              </a:xfrm>
              <a:custGeom>
                <a:avLst/>
                <a:gdLst>
                  <a:gd name="T0" fmla="*/ 36 w 63"/>
                  <a:gd name="T1" fmla="*/ 73 h 77"/>
                  <a:gd name="T2" fmla="*/ 48 w 63"/>
                  <a:gd name="T3" fmla="*/ 42 h 77"/>
                  <a:gd name="T4" fmla="*/ 63 w 63"/>
                  <a:gd name="T5" fmla="*/ 34 h 77"/>
                  <a:gd name="T6" fmla="*/ 54 w 63"/>
                  <a:gd name="T7" fmla="*/ 21 h 77"/>
                  <a:gd name="T8" fmla="*/ 24 w 63"/>
                  <a:gd name="T9" fmla="*/ 15 h 77"/>
                  <a:gd name="T10" fmla="*/ 6 w 63"/>
                  <a:gd name="T11" fmla="*/ 0 h 77"/>
                  <a:gd name="T12" fmla="*/ 11 w 63"/>
                  <a:gd name="T13" fmla="*/ 10 h 77"/>
                  <a:gd name="T14" fmla="*/ 0 w 63"/>
                  <a:gd name="T15" fmla="*/ 28 h 77"/>
                  <a:gd name="T16" fmla="*/ 11 w 63"/>
                  <a:gd name="T17" fmla="*/ 33 h 77"/>
                  <a:gd name="T18" fmla="*/ 17 w 63"/>
                  <a:gd name="T19" fmla="*/ 67 h 77"/>
                  <a:gd name="T20" fmla="*/ 21 w 63"/>
                  <a:gd name="T21" fmla="*/ 75 h 77"/>
                  <a:gd name="T22" fmla="*/ 33 w 63"/>
                  <a:gd name="T23" fmla="*/ 69 h 77"/>
                  <a:gd name="T24" fmla="*/ 30 w 63"/>
                  <a:gd name="T25" fmla="*/ 73 h 77"/>
                  <a:gd name="T26" fmla="*/ 36 w 63"/>
                  <a:gd name="T27" fmla="*/ 7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77">
                    <a:moveTo>
                      <a:pt x="36" y="73"/>
                    </a:moveTo>
                    <a:cubicBezTo>
                      <a:pt x="39" y="30"/>
                      <a:pt x="32" y="54"/>
                      <a:pt x="48" y="42"/>
                    </a:cubicBezTo>
                    <a:cubicBezTo>
                      <a:pt x="51" y="34"/>
                      <a:pt x="56" y="37"/>
                      <a:pt x="63" y="34"/>
                    </a:cubicBezTo>
                    <a:cubicBezTo>
                      <a:pt x="62" y="26"/>
                      <a:pt x="63" y="22"/>
                      <a:pt x="54" y="21"/>
                    </a:cubicBezTo>
                    <a:cubicBezTo>
                      <a:pt x="44" y="16"/>
                      <a:pt x="36" y="16"/>
                      <a:pt x="24" y="15"/>
                    </a:cubicBezTo>
                    <a:cubicBezTo>
                      <a:pt x="22" y="6"/>
                      <a:pt x="15" y="2"/>
                      <a:pt x="6" y="0"/>
                    </a:cubicBezTo>
                    <a:cubicBezTo>
                      <a:pt x="1" y="7"/>
                      <a:pt x="4" y="9"/>
                      <a:pt x="11" y="10"/>
                    </a:cubicBezTo>
                    <a:cubicBezTo>
                      <a:pt x="9" y="23"/>
                      <a:pt x="10" y="22"/>
                      <a:pt x="0" y="28"/>
                    </a:cubicBezTo>
                    <a:cubicBezTo>
                      <a:pt x="3" y="30"/>
                      <a:pt x="10" y="29"/>
                      <a:pt x="11" y="33"/>
                    </a:cubicBezTo>
                    <a:cubicBezTo>
                      <a:pt x="15" y="44"/>
                      <a:pt x="11" y="56"/>
                      <a:pt x="17" y="67"/>
                    </a:cubicBezTo>
                    <a:cubicBezTo>
                      <a:pt x="17" y="71"/>
                      <a:pt x="18" y="73"/>
                      <a:pt x="21" y="75"/>
                    </a:cubicBezTo>
                    <a:cubicBezTo>
                      <a:pt x="22" y="77"/>
                      <a:pt x="31" y="69"/>
                      <a:pt x="33" y="69"/>
                    </a:cubicBezTo>
                    <a:cubicBezTo>
                      <a:pt x="34" y="69"/>
                      <a:pt x="30" y="72"/>
                      <a:pt x="30" y="73"/>
                    </a:cubicBezTo>
                    <a:cubicBezTo>
                      <a:pt x="30" y="74"/>
                      <a:pt x="35" y="73"/>
                      <a:pt x="36" y="7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3" name="Freeform 137">
                <a:extLst>
                  <a:ext uri="{FF2B5EF4-FFF2-40B4-BE49-F238E27FC236}">
                    <a16:creationId xmlns:a16="http://schemas.microsoft.com/office/drawing/2014/main" id="{AC07D103-21C5-4BBB-834C-71F436D27571}"/>
                  </a:ext>
                </a:extLst>
              </p:cNvPr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gray">
              <a:xfrm>
                <a:off x="6473826" y="3494088"/>
                <a:ext cx="76200" cy="46038"/>
              </a:xfrm>
              <a:custGeom>
                <a:avLst/>
                <a:gdLst>
                  <a:gd name="T0" fmla="*/ 4 w 47"/>
                  <a:gd name="T1" fmla="*/ 26 h 29"/>
                  <a:gd name="T2" fmla="*/ 28 w 47"/>
                  <a:gd name="T3" fmla="*/ 26 h 29"/>
                  <a:gd name="T4" fmla="*/ 43 w 47"/>
                  <a:gd name="T5" fmla="*/ 26 h 29"/>
                  <a:gd name="T6" fmla="*/ 46 w 47"/>
                  <a:gd name="T7" fmla="*/ 16 h 29"/>
                  <a:gd name="T8" fmla="*/ 38 w 47"/>
                  <a:gd name="T9" fmla="*/ 16 h 29"/>
                  <a:gd name="T10" fmla="*/ 29 w 47"/>
                  <a:gd name="T11" fmla="*/ 2 h 29"/>
                  <a:gd name="T12" fmla="*/ 16 w 47"/>
                  <a:gd name="T13" fmla="*/ 2 h 29"/>
                  <a:gd name="T14" fmla="*/ 2 w 47"/>
                  <a:gd name="T15" fmla="*/ 10 h 29"/>
                  <a:gd name="T16" fmla="*/ 4 w 47"/>
                  <a:gd name="T17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29">
                    <a:moveTo>
                      <a:pt x="4" y="26"/>
                    </a:moveTo>
                    <a:cubicBezTo>
                      <a:pt x="9" y="29"/>
                      <a:pt x="22" y="26"/>
                      <a:pt x="28" y="26"/>
                    </a:cubicBezTo>
                    <a:cubicBezTo>
                      <a:pt x="34" y="26"/>
                      <a:pt x="40" y="28"/>
                      <a:pt x="43" y="26"/>
                    </a:cubicBezTo>
                    <a:cubicBezTo>
                      <a:pt x="46" y="24"/>
                      <a:pt x="47" y="18"/>
                      <a:pt x="46" y="16"/>
                    </a:cubicBezTo>
                    <a:cubicBezTo>
                      <a:pt x="45" y="14"/>
                      <a:pt x="41" y="18"/>
                      <a:pt x="38" y="16"/>
                    </a:cubicBezTo>
                    <a:cubicBezTo>
                      <a:pt x="35" y="14"/>
                      <a:pt x="33" y="4"/>
                      <a:pt x="29" y="2"/>
                    </a:cubicBezTo>
                    <a:cubicBezTo>
                      <a:pt x="25" y="0"/>
                      <a:pt x="20" y="1"/>
                      <a:pt x="16" y="2"/>
                    </a:cubicBezTo>
                    <a:cubicBezTo>
                      <a:pt x="12" y="3"/>
                      <a:pt x="4" y="6"/>
                      <a:pt x="2" y="10"/>
                    </a:cubicBezTo>
                    <a:cubicBezTo>
                      <a:pt x="0" y="14"/>
                      <a:pt x="4" y="23"/>
                      <a:pt x="4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4" name="Freeform 138">
                <a:extLst>
                  <a:ext uri="{FF2B5EF4-FFF2-40B4-BE49-F238E27FC236}">
                    <a16:creationId xmlns:a16="http://schemas.microsoft.com/office/drawing/2014/main" id="{C4F3EEA8-C417-432E-9275-489D3F0B37FC}"/>
                  </a:ext>
                </a:extLst>
              </p:cNvPr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gray">
              <a:xfrm>
                <a:off x="6543676" y="3500438"/>
                <a:ext cx="200025" cy="319088"/>
              </a:xfrm>
              <a:custGeom>
                <a:avLst/>
                <a:gdLst>
                  <a:gd name="T0" fmla="*/ 2 w 124"/>
                  <a:gd name="T1" fmla="*/ 106 h 201"/>
                  <a:gd name="T2" fmla="*/ 6 w 124"/>
                  <a:gd name="T3" fmla="*/ 117 h 201"/>
                  <a:gd name="T4" fmla="*/ 24 w 124"/>
                  <a:gd name="T5" fmla="*/ 141 h 201"/>
                  <a:gd name="T6" fmla="*/ 33 w 124"/>
                  <a:gd name="T7" fmla="*/ 153 h 201"/>
                  <a:gd name="T8" fmla="*/ 36 w 124"/>
                  <a:gd name="T9" fmla="*/ 192 h 201"/>
                  <a:gd name="T10" fmla="*/ 65 w 124"/>
                  <a:gd name="T11" fmla="*/ 183 h 201"/>
                  <a:gd name="T12" fmla="*/ 71 w 124"/>
                  <a:gd name="T13" fmla="*/ 175 h 201"/>
                  <a:gd name="T14" fmla="*/ 80 w 124"/>
                  <a:gd name="T15" fmla="*/ 183 h 201"/>
                  <a:gd name="T16" fmla="*/ 86 w 124"/>
                  <a:gd name="T17" fmla="*/ 199 h 201"/>
                  <a:gd name="T18" fmla="*/ 98 w 124"/>
                  <a:gd name="T19" fmla="*/ 195 h 201"/>
                  <a:gd name="T20" fmla="*/ 86 w 124"/>
                  <a:gd name="T21" fmla="*/ 175 h 201"/>
                  <a:gd name="T22" fmla="*/ 81 w 124"/>
                  <a:gd name="T23" fmla="*/ 165 h 201"/>
                  <a:gd name="T24" fmla="*/ 83 w 124"/>
                  <a:gd name="T25" fmla="*/ 145 h 201"/>
                  <a:gd name="T26" fmla="*/ 90 w 124"/>
                  <a:gd name="T27" fmla="*/ 132 h 201"/>
                  <a:gd name="T28" fmla="*/ 105 w 124"/>
                  <a:gd name="T29" fmla="*/ 132 h 201"/>
                  <a:gd name="T30" fmla="*/ 116 w 124"/>
                  <a:gd name="T31" fmla="*/ 123 h 201"/>
                  <a:gd name="T32" fmla="*/ 122 w 124"/>
                  <a:gd name="T33" fmla="*/ 114 h 201"/>
                  <a:gd name="T34" fmla="*/ 105 w 124"/>
                  <a:gd name="T35" fmla="*/ 84 h 201"/>
                  <a:gd name="T36" fmla="*/ 98 w 124"/>
                  <a:gd name="T37" fmla="*/ 70 h 201"/>
                  <a:gd name="T38" fmla="*/ 86 w 124"/>
                  <a:gd name="T39" fmla="*/ 72 h 201"/>
                  <a:gd name="T40" fmla="*/ 83 w 124"/>
                  <a:gd name="T41" fmla="*/ 57 h 201"/>
                  <a:gd name="T42" fmla="*/ 98 w 124"/>
                  <a:gd name="T43" fmla="*/ 40 h 201"/>
                  <a:gd name="T44" fmla="*/ 99 w 124"/>
                  <a:gd name="T45" fmla="*/ 16 h 201"/>
                  <a:gd name="T46" fmla="*/ 89 w 124"/>
                  <a:gd name="T47" fmla="*/ 0 h 201"/>
                  <a:gd name="T48" fmla="*/ 60 w 124"/>
                  <a:gd name="T49" fmla="*/ 19 h 201"/>
                  <a:gd name="T50" fmla="*/ 47 w 124"/>
                  <a:gd name="T51" fmla="*/ 21 h 201"/>
                  <a:gd name="T52" fmla="*/ 47 w 124"/>
                  <a:gd name="T53" fmla="*/ 46 h 201"/>
                  <a:gd name="T54" fmla="*/ 33 w 124"/>
                  <a:gd name="T55" fmla="*/ 75 h 201"/>
                  <a:gd name="T56" fmla="*/ 18 w 124"/>
                  <a:gd name="T57" fmla="*/ 70 h 201"/>
                  <a:gd name="T58" fmla="*/ 21 w 124"/>
                  <a:gd name="T59" fmla="*/ 97 h 201"/>
                  <a:gd name="T60" fmla="*/ 2 w 124"/>
                  <a:gd name="T61" fmla="*/ 106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4" h="201">
                    <a:moveTo>
                      <a:pt x="2" y="106"/>
                    </a:moveTo>
                    <a:cubicBezTo>
                      <a:pt x="0" y="109"/>
                      <a:pt x="2" y="111"/>
                      <a:pt x="6" y="117"/>
                    </a:cubicBezTo>
                    <a:cubicBezTo>
                      <a:pt x="10" y="123"/>
                      <a:pt x="19" y="135"/>
                      <a:pt x="24" y="141"/>
                    </a:cubicBezTo>
                    <a:cubicBezTo>
                      <a:pt x="29" y="147"/>
                      <a:pt x="31" y="145"/>
                      <a:pt x="33" y="153"/>
                    </a:cubicBezTo>
                    <a:cubicBezTo>
                      <a:pt x="35" y="161"/>
                      <a:pt x="31" y="187"/>
                      <a:pt x="36" y="192"/>
                    </a:cubicBezTo>
                    <a:cubicBezTo>
                      <a:pt x="41" y="197"/>
                      <a:pt x="59" y="186"/>
                      <a:pt x="65" y="183"/>
                    </a:cubicBezTo>
                    <a:cubicBezTo>
                      <a:pt x="71" y="180"/>
                      <a:pt x="69" y="175"/>
                      <a:pt x="71" y="175"/>
                    </a:cubicBezTo>
                    <a:cubicBezTo>
                      <a:pt x="73" y="175"/>
                      <a:pt x="77" y="179"/>
                      <a:pt x="80" y="183"/>
                    </a:cubicBezTo>
                    <a:cubicBezTo>
                      <a:pt x="83" y="187"/>
                      <a:pt x="83" y="197"/>
                      <a:pt x="86" y="199"/>
                    </a:cubicBezTo>
                    <a:cubicBezTo>
                      <a:pt x="89" y="201"/>
                      <a:pt x="98" y="199"/>
                      <a:pt x="98" y="195"/>
                    </a:cubicBezTo>
                    <a:cubicBezTo>
                      <a:pt x="98" y="191"/>
                      <a:pt x="89" y="180"/>
                      <a:pt x="86" y="175"/>
                    </a:cubicBezTo>
                    <a:cubicBezTo>
                      <a:pt x="83" y="170"/>
                      <a:pt x="81" y="170"/>
                      <a:pt x="81" y="165"/>
                    </a:cubicBezTo>
                    <a:cubicBezTo>
                      <a:pt x="81" y="160"/>
                      <a:pt x="82" y="150"/>
                      <a:pt x="83" y="145"/>
                    </a:cubicBezTo>
                    <a:cubicBezTo>
                      <a:pt x="84" y="140"/>
                      <a:pt x="86" y="134"/>
                      <a:pt x="90" y="132"/>
                    </a:cubicBezTo>
                    <a:cubicBezTo>
                      <a:pt x="94" y="130"/>
                      <a:pt x="101" y="133"/>
                      <a:pt x="105" y="132"/>
                    </a:cubicBezTo>
                    <a:cubicBezTo>
                      <a:pt x="109" y="131"/>
                      <a:pt x="113" y="126"/>
                      <a:pt x="116" y="123"/>
                    </a:cubicBezTo>
                    <a:cubicBezTo>
                      <a:pt x="119" y="120"/>
                      <a:pt x="124" y="120"/>
                      <a:pt x="122" y="114"/>
                    </a:cubicBezTo>
                    <a:cubicBezTo>
                      <a:pt x="120" y="108"/>
                      <a:pt x="109" y="91"/>
                      <a:pt x="105" y="84"/>
                    </a:cubicBezTo>
                    <a:cubicBezTo>
                      <a:pt x="101" y="77"/>
                      <a:pt x="101" y="72"/>
                      <a:pt x="98" y="70"/>
                    </a:cubicBezTo>
                    <a:cubicBezTo>
                      <a:pt x="95" y="68"/>
                      <a:pt x="88" y="74"/>
                      <a:pt x="86" y="72"/>
                    </a:cubicBezTo>
                    <a:cubicBezTo>
                      <a:pt x="84" y="70"/>
                      <a:pt x="81" y="62"/>
                      <a:pt x="83" y="57"/>
                    </a:cubicBezTo>
                    <a:cubicBezTo>
                      <a:pt x="85" y="52"/>
                      <a:pt x="95" y="47"/>
                      <a:pt x="98" y="40"/>
                    </a:cubicBezTo>
                    <a:cubicBezTo>
                      <a:pt x="101" y="33"/>
                      <a:pt x="100" y="23"/>
                      <a:pt x="99" y="16"/>
                    </a:cubicBezTo>
                    <a:cubicBezTo>
                      <a:pt x="98" y="9"/>
                      <a:pt x="95" y="0"/>
                      <a:pt x="89" y="0"/>
                    </a:cubicBezTo>
                    <a:cubicBezTo>
                      <a:pt x="83" y="0"/>
                      <a:pt x="67" y="16"/>
                      <a:pt x="60" y="19"/>
                    </a:cubicBezTo>
                    <a:cubicBezTo>
                      <a:pt x="53" y="22"/>
                      <a:pt x="49" y="17"/>
                      <a:pt x="47" y="21"/>
                    </a:cubicBezTo>
                    <a:cubicBezTo>
                      <a:pt x="45" y="25"/>
                      <a:pt x="49" y="37"/>
                      <a:pt x="47" y="46"/>
                    </a:cubicBezTo>
                    <a:cubicBezTo>
                      <a:pt x="45" y="55"/>
                      <a:pt x="38" y="71"/>
                      <a:pt x="33" y="75"/>
                    </a:cubicBezTo>
                    <a:cubicBezTo>
                      <a:pt x="28" y="79"/>
                      <a:pt x="20" y="66"/>
                      <a:pt x="18" y="70"/>
                    </a:cubicBezTo>
                    <a:cubicBezTo>
                      <a:pt x="16" y="74"/>
                      <a:pt x="23" y="91"/>
                      <a:pt x="21" y="97"/>
                    </a:cubicBezTo>
                    <a:cubicBezTo>
                      <a:pt x="19" y="103"/>
                      <a:pt x="4" y="103"/>
                      <a:pt x="2" y="10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5" name="Freeform 139">
                <a:extLst>
                  <a:ext uri="{FF2B5EF4-FFF2-40B4-BE49-F238E27FC236}">
                    <a16:creationId xmlns:a16="http://schemas.microsoft.com/office/drawing/2014/main" id="{899BC69B-FB3E-4671-81AD-448C019DDCA5}"/>
                  </a:ext>
                </a:extLst>
              </p:cNvPr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gray">
              <a:xfrm>
                <a:off x="6248401" y="3967163"/>
                <a:ext cx="49213" cy="90488"/>
              </a:xfrm>
              <a:custGeom>
                <a:avLst/>
                <a:gdLst>
                  <a:gd name="T0" fmla="*/ 6 w 30"/>
                  <a:gd name="T1" fmla="*/ 52 h 57"/>
                  <a:gd name="T2" fmla="*/ 29 w 30"/>
                  <a:gd name="T3" fmla="*/ 43 h 57"/>
                  <a:gd name="T4" fmla="*/ 24 w 30"/>
                  <a:gd name="T5" fmla="*/ 22 h 57"/>
                  <a:gd name="T6" fmla="*/ 17 w 30"/>
                  <a:gd name="T7" fmla="*/ 7 h 57"/>
                  <a:gd name="T8" fmla="*/ 6 w 30"/>
                  <a:gd name="T9" fmla="*/ 3 h 57"/>
                  <a:gd name="T10" fmla="*/ 0 w 30"/>
                  <a:gd name="T11" fmla="*/ 27 h 57"/>
                  <a:gd name="T12" fmla="*/ 2 w 30"/>
                  <a:gd name="T13" fmla="*/ 51 h 57"/>
                  <a:gd name="T14" fmla="*/ 6 w 30"/>
                  <a:gd name="T15" fmla="*/ 5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57">
                    <a:moveTo>
                      <a:pt x="6" y="52"/>
                    </a:moveTo>
                    <a:cubicBezTo>
                      <a:pt x="18" y="57"/>
                      <a:pt x="23" y="53"/>
                      <a:pt x="29" y="43"/>
                    </a:cubicBezTo>
                    <a:cubicBezTo>
                      <a:pt x="30" y="34"/>
                      <a:pt x="29" y="30"/>
                      <a:pt x="24" y="22"/>
                    </a:cubicBezTo>
                    <a:cubicBezTo>
                      <a:pt x="27" y="0"/>
                      <a:pt x="27" y="15"/>
                      <a:pt x="17" y="7"/>
                    </a:cubicBezTo>
                    <a:cubicBezTo>
                      <a:pt x="14" y="1"/>
                      <a:pt x="12" y="0"/>
                      <a:pt x="6" y="3"/>
                    </a:cubicBezTo>
                    <a:cubicBezTo>
                      <a:pt x="1" y="10"/>
                      <a:pt x="3" y="19"/>
                      <a:pt x="0" y="27"/>
                    </a:cubicBezTo>
                    <a:cubicBezTo>
                      <a:pt x="1" y="35"/>
                      <a:pt x="0" y="43"/>
                      <a:pt x="2" y="51"/>
                    </a:cubicBezTo>
                    <a:cubicBezTo>
                      <a:pt x="2" y="52"/>
                      <a:pt x="6" y="53"/>
                      <a:pt x="6" y="5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6" name="Freeform 146">
                <a:extLst>
                  <a:ext uri="{FF2B5EF4-FFF2-40B4-BE49-F238E27FC236}">
                    <a16:creationId xmlns:a16="http://schemas.microsoft.com/office/drawing/2014/main" id="{0DABADE8-2F4D-42BC-A7ED-08C6BA5C3F9E}"/>
                  </a:ext>
                </a:extLst>
              </p:cNvPr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gray">
              <a:xfrm>
                <a:off x="5978882" y="3257162"/>
                <a:ext cx="706099" cy="778080"/>
              </a:xfrm>
              <a:custGeom>
                <a:avLst/>
                <a:gdLst/>
                <a:ahLst/>
                <a:cxnLst/>
                <a:rect l="l" t="t" r="r" b="b"/>
                <a:pathLst>
                  <a:path w="706099" h="778080">
                    <a:moveTo>
                      <a:pt x="599618" y="738575"/>
                    </a:moveTo>
                    <a:cubicBezTo>
                      <a:pt x="602843" y="757625"/>
                      <a:pt x="604456" y="757625"/>
                      <a:pt x="612519" y="771913"/>
                    </a:cubicBezTo>
                    <a:cubicBezTo>
                      <a:pt x="607681" y="781438"/>
                      <a:pt x="602843" y="778263"/>
                      <a:pt x="593167" y="773501"/>
                    </a:cubicBezTo>
                    <a:cubicBezTo>
                      <a:pt x="596392" y="748100"/>
                      <a:pt x="577040" y="756038"/>
                      <a:pt x="599618" y="738575"/>
                    </a:cubicBezTo>
                    <a:close/>
                    <a:moveTo>
                      <a:pt x="575428" y="711588"/>
                    </a:moveTo>
                    <a:cubicBezTo>
                      <a:pt x="580266" y="713176"/>
                      <a:pt x="585104" y="711588"/>
                      <a:pt x="588329" y="714763"/>
                    </a:cubicBezTo>
                    <a:cubicBezTo>
                      <a:pt x="591554" y="719526"/>
                      <a:pt x="577040" y="725876"/>
                      <a:pt x="573815" y="721113"/>
                    </a:cubicBezTo>
                    <a:cubicBezTo>
                      <a:pt x="572202" y="717938"/>
                      <a:pt x="575428" y="714763"/>
                      <a:pt x="575428" y="711588"/>
                    </a:cubicBezTo>
                    <a:close/>
                    <a:moveTo>
                      <a:pt x="578250" y="683212"/>
                    </a:moveTo>
                    <a:cubicBezTo>
                      <a:pt x="581476" y="684601"/>
                      <a:pt x="582685" y="688569"/>
                      <a:pt x="580266" y="695713"/>
                    </a:cubicBezTo>
                    <a:cubicBezTo>
                      <a:pt x="573815" y="694126"/>
                      <a:pt x="564139" y="686188"/>
                      <a:pt x="564139" y="686188"/>
                    </a:cubicBezTo>
                    <a:cubicBezTo>
                      <a:pt x="569784" y="683013"/>
                      <a:pt x="575025" y="681823"/>
                      <a:pt x="578250" y="683212"/>
                    </a:cubicBezTo>
                    <a:close/>
                    <a:moveTo>
                      <a:pt x="580266" y="616338"/>
                    </a:moveTo>
                    <a:cubicBezTo>
                      <a:pt x="601231" y="630626"/>
                      <a:pt x="610907" y="660788"/>
                      <a:pt x="580266" y="667138"/>
                    </a:cubicBezTo>
                    <a:cubicBezTo>
                      <a:pt x="567364" y="657613"/>
                      <a:pt x="570590" y="648088"/>
                      <a:pt x="573815" y="633801"/>
                    </a:cubicBezTo>
                    <a:cubicBezTo>
                      <a:pt x="568977" y="624276"/>
                      <a:pt x="570590" y="621101"/>
                      <a:pt x="580266" y="616338"/>
                    </a:cubicBezTo>
                    <a:close/>
                    <a:moveTo>
                      <a:pt x="589942" y="592525"/>
                    </a:moveTo>
                    <a:lnTo>
                      <a:pt x="599417" y="597089"/>
                    </a:lnTo>
                    <a:cubicBezTo>
                      <a:pt x="600425" y="598081"/>
                      <a:pt x="600425" y="599669"/>
                      <a:pt x="602844" y="605225"/>
                    </a:cubicBezTo>
                    <a:lnTo>
                      <a:pt x="597426" y="609715"/>
                    </a:lnTo>
                    <a:cubicBezTo>
                      <a:pt x="593571" y="609789"/>
                      <a:pt x="593571" y="598478"/>
                      <a:pt x="589942" y="592525"/>
                    </a:cubicBezTo>
                    <a:close/>
                    <a:moveTo>
                      <a:pt x="483499" y="235374"/>
                    </a:moveTo>
                    <a:cubicBezTo>
                      <a:pt x="488335" y="232147"/>
                      <a:pt x="496372" y="249589"/>
                      <a:pt x="498007" y="262343"/>
                    </a:cubicBezTo>
                    <a:lnTo>
                      <a:pt x="496612" y="281584"/>
                    </a:lnTo>
                    <a:cubicBezTo>
                      <a:pt x="487515" y="281701"/>
                      <a:pt x="478649" y="281924"/>
                      <a:pt x="471855" y="282419"/>
                    </a:cubicBezTo>
                    <a:cubicBezTo>
                      <a:pt x="472068" y="282114"/>
                      <a:pt x="472131" y="281764"/>
                      <a:pt x="472191" y="281398"/>
                    </a:cubicBezTo>
                    <a:cubicBezTo>
                      <a:pt x="473827" y="271871"/>
                      <a:pt x="478663" y="238524"/>
                      <a:pt x="483499" y="235374"/>
                    </a:cubicBezTo>
                    <a:close/>
                    <a:moveTo>
                      <a:pt x="656036" y="216319"/>
                    </a:moveTo>
                    <a:cubicBezTo>
                      <a:pt x="668980" y="219469"/>
                      <a:pt x="704469" y="232147"/>
                      <a:pt x="706033" y="240061"/>
                    </a:cubicBezTo>
                    <a:cubicBezTo>
                      <a:pt x="707669" y="248052"/>
                      <a:pt x="678652" y="259116"/>
                      <a:pt x="670544" y="263880"/>
                    </a:cubicBezTo>
                    <a:cubicBezTo>
                      <a:pt x="662508" y="268644"/>
                      <a:pt x="660872" y="268644"/>
                      <a:pt x="656036" y="271871"/>
                    </a:cubicBezTo>
                    <a:cubicBezTo>
                      <a:pt x="651200" y="275021"/>
                      <a:pt x="639963" y="276635"/>
                      <a:pt x="638327" y="281398"/>
                    </a:cubicBezTo>
                    <a:cubicBezTo>
                      <a:pt x="636691" y="286162"/>
                      <a:pt x="644799" y="295690"/>
                      <a:pt x="643163" y="305217"/>
                    </a:cubicBezTo>
                    <a:cubicBezTo>
                      <a:pt x="641527" y="314745"/>
                      <a:pt x="636691" y="332186"/>
                      <a:pt x="631855" y="340100"/>
                    </a:cubicBezTo>
                    <a:cubicBezTo>
                      <a:pt x="627019" y="348014"/>
                      <a:pt x="620618" y="352778"/>
                      <a:pt x="614146" y="354392"/>
                    </a:cubicBezTo>
                    <a:cubicBezTo>
                      <a:pt x="607674" y="356005"/>
                      <a:pt x="596366" y="340100"/>
                      <a:pt x="594802" y="348014"/>
                    </a:cubicBezTo>
                    <a:cubicBezTo>
                      <a:pt x="593166" y="356005"/>
                      <a:pt x="602838" y="389351"/>
                      <a:pt x="602838" y="400416"/>
                    </a:cubicBezTo>
                    <a:cubicBezTo>
                      <a:pt x="602838" y="411557"/>
                      <a:pt x="596366" y="408407"/>
                      <a:pt x="591530" y="411557"/>
                    </a:cubicBezTo>
                    <a:cubicBezTo>
                      <a:pt x="586694" y="414707"/>
                      <a:pt x="573821" y="419471"/>
                      <a:pt x="570621" y="414707"/>
                    </a:cubicBezTo>
                    <a:cubicBezTo>
                      <a:pt x="567349" y="409943"/>
                      <a:pt x="573821" y="387738"/>
                      <a:pt x="570621" y="382974"/>
                    </a:cubicBezTo>
                    <a:cubicBezTo>
                      <a:pt x="567349" y="378210"/>
                      <a:pt x="556041" y="381361"/>
                      <a:pt x="549640" y="382974"/>
                    </a:cubicBezTo>
                    <a:cubicBezTo>
                      <a:pt x="543169" y="384588"/>
                      <a:pt x="533496" y="397266"/>
                      <a:pt x="530296" y="397266"/>
                    </a:cubicBezTo>
                    <a:cubicBezTo>
                      <a:pt x="527024" y="397266"/>
                      <a:pt x="527024" y="387738"/>
                      <a:pt x="530296" y="381361"/>
                    </a:cubicBezTo>
                    <a:cubicBezTo>
                      <a:pt x="533496" y="375060"/>
                      <a:pt x="544804" y="362306"/>
                      <a:pt x="551205" y="357542"/>
                    </a:cubicBezTo>
                    <a:cubicBezTo>
                      <a:pt x="557677" y="352778"/>
                      <a:pt x="564149" y="352778"/>
                      <a:pt x="567349" y="348014"/>
                    </a:cubicBezTo>
                    <a:cubicBezTo>
                      <a:pt x="570621" y="343250"/>
                      <a:pt x="575457" y="333800"/>
                      <a:pt x="570621" y="329036"/>
                    </a:cubicBezTo>
                    <a:cubicBezTo>
                      <a:pt x="565785" y="324272"/>
                      <a:pt x="548005" y="322659"/>
                      <a:pt x="536697" y="319508"/>
                    </a:cubicBezTo>
                    <a:cubicBezTo>
                      <a:pt x="525460" y="316281"/>
                      <a:pt x="504479" y="319508"/>
                      <a:pt x="498007" y="309981"/>
                    </a:cubicBezTo>
                    <a:cubicBezTo>
                      <a:pt x="494097" y="304225"/>
                      <a:pt x="495509" y="292664"/>
                      <a:pt x="496612" y="281584"/>
                    </a:cubicBezTo>
                    <a:lnTo>
                      <a:pt x="530296" y="281398"/>
                    </a:lnTo>
                    <a:cubicBezTo>
                      <a:pt x="548005" y="281398"/>
                      <a:pt x="564149" y="284549"/>
                      <a:pt x="570621" y="281398"/>
                    </a:cubicBezTo>
                    <a:cubicBezTo>
                      <a:pt x="577022" y="278171"/>
                      <a:pt x="570621" y="268644"/>
                      <a:pt x="570621" y="262343"/>
                    </a:cubicBezTo>
                    <a:cubicBezTo>
                      <a:pt x="570621" y="255966"/>
                      <a:pt x="570621" y="249589"/>
                      <a:pt x="573821" y="244825"/>
                    </a:cubicBezTo>
                    <a:cubicBezTo>
                      <a:pt x="577022" y="240061"/>
                      <a:pt x="580293" y="233761"/>
                      <a:pt x="588330" y="230610"/>
                    </a:cubicBezTo>
                    <a:cubicBezTo>
                      <a:pt x="596366" y="227383"/>
                      <a:pt x="612510" y="222620"/>
                      <a:pt x="623819" y="221083"/>
                    </a:cubicBezTo>
                    <a:cubicBezTo>
                      <a:pt x="635127" y="219469"/>
                      <a:pt x="643163" y="213092"/>
                      <a:pt x="656036" y="216319"/>
                    </a:cubicBezTo>
                    <a:close/>
                    <a:moveTo>
                      <a:pt x="154942" y="0"/>
                    </a:moveTo>
                    <a:cubicBezTo>
                      <a:pt x="155351" y="393"/>
                      <a:pt x="155351" y="1181"/>
                      <a:pt x="157769" y="1949"/>
                    </a:cubicBezTo>
                    <a:lnTo>
                      <a:pt x="178679" y="6713"/>
                    </a:lnTo>
                    <a:cubicBezTo>
                      <a:pt x="185151" y="9940"/>
                      <a:pt x="194823" y="14704"/>
                      <a:pt x="201295" y="19468"/>
                    </a:cubicBezTo>
                    <a:cubicBezTo>
                      <a:pt x="207767" y="24231"/>
                      <a:pt x="210967" y="32146"/>
                      <a:pt x="215803" y="33759"/>
                    </a:cubicBezTo>
                    <a:cubicBezTo>
                      <a:pt x="220639" y="35296"/>
                      <a:pt x="227111" y="32146"/>
                      <a:pt x="235148" y="30532"/>
                    </a:cubicBezTo>
                    <a:cubicBezTo>
                      <a:pt x="243185" y="28995"/>
                      <a:pt x="257693" y="16241"/>
                      <a:pt x="265801" y="21004"/>
                    </a:cubicBezTo>
                    <a:cubicBezTo>
                      <a:pt x="273837" y="25768"/>
                      <a:pt x="280309" y="49587"/>
                      <a:pt x="280309" y="59115"/>
                    </a:cubicBezTo>
                    <a:cubicBezTo>
                      <a:pt x="280309" y="68642"/>
                      <a:pt x="267436" y="70256"/>
                      <a:pt x="264165" y="76556"/>
                    </a:cubicBezTo>
                    <a:cubicBezTo>
                      <a:pt x="260965" y="82933"/>
                      <a:pt x="259329" y="90847"/>
                      <a:pt x="259329" y="97225"/>
                    </a:cubicBezTo>
                    <a:cubicBezTo>
                      <a:pt x="259329" y="103602"/>
                      <a:pt x="270637" y="111516"/>
                      <a:pt x="269001" y="116280"/>
                    </a:cubicBezTo>
                    <a:cubicBezTo>
                      <a:pt x="267436" y="121044"/>
                      <a:pt x="257693" y="121044"/>
                      <a:pt x="254493" y="125807"/>
                    </a:cubicBezTo>
                    <a:cubicBezTo>
                      <a:pt x="251292" y="130571"/>
                      <a:pt x="246456" y="136948"/>
                      <a:pt x="249656" y="144862"/>
                    </a:cubicBezTo>
                    <a:cubicBezTo>
                      <a:pt x="252857" y="152776"/>
                      <a:pt x="262529" y="165454"/>
                      <a:pt x="270637" y="171832"/>
                    </a:cubicBezTo>
                    <a:cubicBezTo>
                      <a:pt x="278673" y="178209"/>
                      <a:pt x="298018" y="176595"/>
                      <a:pt x="299654" y="186123"/>
                    </a:cubicBezTo>
                    <a:cubicBezTo>
                      <a:pt x="301290" y="195650"/>
                      <a:pt x="280309" y="217856"/>
                      <a:pt x="280309" y="225847"/>
                    </a:cubicBezTo>
                    <a:cubicBezTo>
                      <a:pt x="280309" y="233761"/>
                      <a:pt x="293182" y="232147"/>
                      <a:pt x="299654" y="235374"/>
                    </a:cubicBezTo>
                    <a:cubicBezTo>
                      <a:pt x="306126" y="238524"/>
                      <a:pt x="315798" y="243288"/>
                      <a:pt x="322199" y="248052"/>
                    </a:cubicBezTo>
                    <a:cubicBezTo>
                      <a:pt x="328671" y="252816"/>
                      <a:pt x="335143" y="255966"/>
                      <a:pt x="341615" y="259116"/>
                    </a:cubicBezTo>
                    <a:cubicBezTo>
                      <a:pt x="348015" y="262343"/>
                      <a:pt x="357688" y="265493"/>
                      <a:pt x="367360" y="268644"/>
                    </a:cubicBezTo>
                    <a:cubicBezTo>
                      <a:pt x="377032" y="271871"/>
                      <a:pt x="388340" y="279785"/>
                      <a:pt x="396448" y="282935"/>
                    </a:cubicBezTo>
                    <a:cubicBezTo>
                      <a:pt x="404485" y="286162"/>
                      <a:pt x="406120" y="284549"/>
                      <a:pt x="414157" y="286162"/>
                    </a:cubicBezTo>
                    <a:cubicBezTo>
                      <a:pt x="422193" y="287699"/>
                      <a:pt x="441609" y="292463"/>
                      <a:pt x="449646" y="292463"/>
                    </a:cubicBezTo>
                    <a:cubicBezTo>
                      <a:pt x="457682" y="292463"/>
                      <a:pt x="451282" y="284549"/>
                      <a:pt x="464154" y="282935"/>
                    </a:cubicBezTo>
                    <a:cubicBezTo>
                      <a:pt x="466201" y="282691"/>
                      <a:pt x="468820" y="282485"/>
                      <a:pt x="471855" y="282419"/>
                    </a:cubicBezTo>
                    <a:cubicBezTo>
                      <a:pt x="470382" y="290816"/>
                      <a:pt x="467418" y="289616"/>
                      <a:pt x="468990" y="297226"/>
                    </a:cubicBezTo>
                    <a:cubicBezTo>
                      <a:pt x="470626" y="305217"/>
                      <a:pt x="483499" y="319508"/>
                      <a:pt x="483499" y="325809"/>
                    </a:cubicBezTo>
                    <a:cubicBezTo>
                      <a:pt x="483499" y="332186"/>
                      <a:pt x="467355" y="335336"/>
                      <a:pt x="467355" y="338487"/>
                    </a:cubicBezTo>
                    <a:cubicBezTo>
                      <a:pt x="467355" y="341714"/>
                      <a:pt x="481863" y="344864"/>
                      <a:pt x="486699" y="348014"/>
                    </a:cubicBezTo>
                    <a:cubicBezTo>
                      <a:pt x="491535" y="351241"/>
                      <a:pt x="493171" y="352778"/>
                      <a:pt x="493171" y="362306"/>
                    </a:cubicBezTo>
                    <a:cubicBezTo>
                      <a:pt x="493171" y="371833"/>
                      <a:pt x="493171" y="397266"/>
                      <a:pt x="488335" y="405180"/>
                    </a:cubicBezTo>
                    <a:cubicBezTo>
                      <a:pt x="483499" y="413170"/>
                      <a:pt x="465790" y="406793"/>
                      <a:pt x="459318" y="411557"/>
                    </a:cubicBezTo>
                    <a:cubicBezTo>
                      <a:pt x="452846" y="416321"/>
                      <a:pt x="454482" y="432149"/>
                      <a:pt x="448010" y="438526"/>
                    </a:cubicBezTo>
                    <a:cubicBezTo>
                      <a:pt x="441609" y="444903"/>
                      <a:pt x="433502" y="448053"/>
                      <a:pt x="423829" y="454431"/>
                    </a:cubicBezTo>
                    <a:cubicBezTo>
                      <a:pt x="414157" y="460731"/>
                      <a:pt x="393177" y="465495"/>
                      <a:pt x="385140" y="473486"/>
                    </a:cubicBezTo>
                    <a:cubicBezTo>
                      <a:pt x="377032" y="481400"/>
                      <a:pt x="380304" y="492541"/>
                      <a:pt x="372196" y="500455"/>
                    </a:cubicBezTo>
                    <a:cubicBezTo>
                      <a:pt x="364160" y="508369"/>
                      <a:pt x="344815" y="513133"/>
                      <a:pt x="338343" y="521124"/>
                    </a:cubicBezTo>
                    <a:cubicBezTo>
                      <a:pt x="331942" y="529038"/>
                      <a:pt x="336778" y="543329"/>
                      <a:pt x="331942" y="548093"/>
                    </a:cubicBezTo>
                    <a:cubicBezTo>
                      <a:pt x="327106" y="552856"/>
                      <a:pt x="320634" y="544866"/>
                      <a:pt x="312526" y="548093"/>
                    </a:cubicBezTo>
                    <a:cubicBezTo>
                      <a:pt x="304490" y="551243"/>
                      <a:pt x="288346" y="557620"/>
                      <a:pt x="283510" y="567148"/>
                    </a:cubicBezTo>
                    <a:cubicBezTo>
                      <a:pt x="278673" y="576675"/>
                      <a:pt x="283510" y="587740"/>
                      <a:pt x="283510" y="602031"/>
                    </a:cubicBezTo>
                    <a:cubicBezTo>
                      <a:pt x="283510" y="616322"/>
                      <a:pt x="286781" y="636991"/>
                      <a:pt x="283510" y="652819"/>
                    </a:cubicBezTo>
                    <a:cubicBezTo>
                      <a:pt x="280309" y="668724"/>
                      <a:pt x="269001" y="686165"/>
                      <a:pt x="260965" y="700456"/>
                    </a:cubicBezTo>
                    <a:cubicBezTo>
                      <a:pt x="252857" y="714748"/>
                      <a:pt x="244820" y="727426"/>
                      <a:pt x="236784" y="735416"/>
                    </a:cubicBezTo>
                    <a:cubicBezTo>
                      <a:pt x="230703" y="741352"/>
                      <a:pt x="228303" y="756234"/>
                      <a:pt x="220672" y="753936"/>
                    </a:cubicBezTo>
                    <a:lnTo>
                      <a:pt x="210967" y="744944"/>
                    </a:lnTo>
                    <a:cubicBezTo>
                      <a:pt x="194823" y="722662"/>
                      <a:pt x="157769" y="643291"/>
                      <a:pt x="139989" y="597267"/>
                    </a:cubicBezTo>
                    <a:cubicBezTo>
                      <a:pt x="122281" y="551243"/>
                      <a:pt x="112608" y="495691"/>
                      <a:pt x="104501" y="463958"/>
                    </a:cubicBezTo>
                    <a:cubicBezTo>
                      <a:pt x="96464" y="432149"/>
                      <a:pt x="101300" y="414707"/>
                      <a:pt x="94828" y="409943"/>
                    </a:cubicBezTo>
                    <a:cubicBezTo>
                      <a:pt x="88427" y="405180"/>
                      <a:pt x="77119" y="436912"/>
                      <a:pt x="65811" y="438526"/>
                    </a:cubicBezTo>
                    <a:cubicBezTo>
                      <a:pt x="54503" y="440139"/>
                      <a:pt x="28758" y="425848"/>
                      <a:pt x="22286" y="419471"/>
                    </a:cubicBezTo>
                    <a:cubicBezTo>
                      <a:pt x="15814" y="413170"/>
                      <a:pt x="17450" y="402029"/>
                      <a:pt x="22286" y="397266"/>
                    </a:cubicBezTo>
                    <a:cubicBezTo>
                      <a:pt x="27122" y="392502"/>
                      <a:pt x="54503" y="389351"/>
                      <a:pt x="51303" y="387738"/>
                    </a:cubicBezTo>
                    <a:cubicBezTo>
                      <a:pt x="48102" y="386124"/>
                      <a:pt x="12614" y="387738"/>
                      <a:pt x="4506" y="382974"/>
                    </a:cubicBezTo>
                    <a:cubicBezTo>
                      <a:pt x="-3531" y="378210"/>
                      <a:pt x="1306" y="367069"/>
                      <a:pt x="2941" y="362306"/>
                    </a:cubicBezTo>
                    <a:lnTo>
                      <a:pt x="19014" y="349628"/>
                    </a:lnTo>
                    <a:cubicBezTo>
                      <a:pt x="27122" y="348014"/>
                      <a:pt x="44831" y="351241"/>
                      <a:pt x="52939" y="349628"/>
                    </a:cubicBezTo>
                    <a:cubicBezTo>
                      <a:pt x="60975" y="348014"/>
                      <a:pt x="64176" y="343250"/>
                      <a:pt x="65811" y="338487"/>
                    </a:cubicBezTo>
                    <a:lnTo>
                      <a:pt x="65811" y="319508"/>
                    </a:lnTo>
                    <a:cubicBezTo>
                      <a:pt x="64176" y="314745"/>
                      <a:pt x="54503" y="316281"/>
                      <a:pt x="51303" y="311518"/>
                    </a:cubicBezTo>
                    <a:cubicBezTo>
                      <a:pt x="48102" y="306754"/>
                      <a:pt x="46467" y="294076"/>
                      <a:pt x="41631" y="287699"/>
                    </a:cubicBezTo>
                    <a:cubicBezTo>
                      <a:pt x="36794" y="281398"/>
                      <a:pt x="20650" y="273407"/>
                      <a:pt x="22286" y="268644"/>
                    </a:cubicBezTo>
                    <a:cubicBezTo>
                      <a:pt x="23851" y="263880"/>
                      <a:pt x="46467" y="259116"/>
                      <a:pt x="56139" y="257579"/>
                    </a:cubicBezTo>
                    <a:cubicBezTo>
                      <a:pt x="65811" y="255966"/>
                      <a:pt x="77119" y="263880"/>
                      <a:pt x="85156" y="257579"/>
                    </a:cubicBezTo>
                    <a:cubicBezTo>
                      <a:pt x="93264" y="251202"/>
                      <a:pt x="89992" y="233761"/>
                      <a:pt x="99664" y="221083"/>
                    </a:cubicBezTo>
                    <a:cubicBezTo>
                      <a:pt x="109337" y="208328"/>
                      <a:pt x="133518" y="192500"/>
                      <a:pt x="143190" y="178209"/>
                    </a:cubicBezTo>
                    <a:cubicBezTo>
                      <a:pt x="152933" y="163918"/>
                      <a:pt x="164170" y="141712"/>
                      <a:pt x="162606" y="130571"/>
                    </a:cubicBezTo>
                    <a:cubicBezTo>
                      <a:pt x="160970" y="119430"/>
                      <a:pt x="136789" y="124194"/>
                      <a:pt x="130317" y="114666"/>
                    </a:cubicBezTo>
                    <a:cubicBezTo>
                      <a:pt x="123845" y="105139"/>
                      <a:pt x="123845" y="82933"/>
                      <a:pt x="122281" y="76556"/>
                    </a:cubicBezTo>
                    <a:cubicBezTo>
                      <a:pt x="121076" y="71917"/>
                      <a:pt x="117250" y="74110"/>
                      <a:pt x="115809" y="73406"/>
                    </a:cubicBezTo>
                    <a:cubicBezTo>
                      <a:pt x="117444" y="70256"/>
                      <a:pt x="127117" y="57501"/>
                      <a:pt x="128681" y="52737"/>
                    </a:cubicBezTo>
                    <a:cubicBezTo>
                      <a:pt x="130317" y="47974"/>
                      <a:pt x="128681" y="46437"/>
                      <a:pt x="123845" y="43287"/>
                    </a:cubicBezTo>
                    <a:cubicBezTo>
                      <a:pt x="119009" y="40060"/>
                      <a:pt x="102936" y="33759"/>
                      <a:pt x="99664" y="28995"/>
                    </a:cubicBezTo>
                    <a:cubicBezTo>
                      <a:pt x="96464" y="24231"/>
                      <a:pt x="99664" y="14704"/>
                      <a:pt x="104501" y="9940"/>
                    </a:cubicBezTo>
                    <a:cubicBezTo>
                      <a:pt x="109337" y="5176"/>
                      <a:pt x="125481" y="3563"/>
                      <a:pt x="128681" y="1949"/>
                    </a:cubicBezTo>
                    <a:lnTo>
                      <a:pt x="125706" y="4890"/>
                    </a:lnTo>
                    <a:lnTo>
                      <a:pt x="106136" y="9940"/>
                    </a:lnTo>
                    <a:cubicBezTo>
                      <a:pt x="99664" y="13090"/>
                      <a:pt x="106136" y="21004"/>
                      <a:pt x="106136" y="24231"/>
                    </a:cubicBezTo>
                    <a:lnTo>
                      <a:pt x="125706" y="4890"/>
                    </a:lnTo>
                    <a:cubicBezTo>
                      <a:pt x="135262" y="2946"/>
                      <a:pt x="145405" y="1227"/>
                      <a:pt x="149662" y="4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7" name="Freeform 147">
                <a:extLst>
                  <a:ext uri="{FF2B5EF4-FFF2-40B4-BE49-F238E27FC236}">
                    <a16:creationId xmlns:a16="http://schemas.microsoft.com/office/drawing/2014/main" id="{97E8A1C0-F2B3-463E-B919-AAAAAF62354A}"/>
                  </a:ext>
                </a:extLst>
              </p:cNvPr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gray">
              <a:xfrm>
                <a:off x="6667501" y="3700463"/>
                <a:ext cx="201613" cy="363538"/>
              </a:xfrm>
              <a:custGeom>
                <a:avLst/>
                <a:gdLst>
                  <a:gd name="T0" fmla="*/ 65 w 125"/>
                  <a:gd name="T1" fmla="*/ 217 h 229"/>
                  <a:gd name="T2" fmla="*/ 50 w 125"/>
                  <a:gd name="T3" fmla="*/ 208 h 229"/>
                  <a:gd name="T4" fmla="*/ 46 w 125"/>
                  <a:gd name="T5" fmla="*/ 192 h 229"/>
                  <a:gd name="T6" fmla="*/ 43 w 125"/>
                  <a:gd name="T7" fmla="*/ 180 h 229"/>
                  <a:gd name="T8" fmla="*/ 46 w 125"/>
                  <a:gd name="T9" fmla="*/ 168 h 229"/>
                  <a:gd name="T10" fmla="*/ 34 w 125"/>
                  <a:gd name="T11" fmla="*/ 171 h 229"/>
                  <a:gd name="T12" fmla="*/ 28 w 125"/>
                  <a:gd name="T13" fmla="*/ 157 h 229"/>
                  <a:gd name="T14" fmla="*/ 41 w 125"/>
                  <a:gd name="T15" fmla="*/ 142 h 229"/>
                  <a:gd name="T16" fmla="*/ 43 w 125"/>
                  <a:gd name="T17" fmla="*/ 127 h 229"/>
                  <a:gd name="T18" fmla="*/ 44 w 125"/>
                  <a:gd name="T19" fmla="*/ 112 h 229"/>
                  <a:gd name="T20" fmla="*/ 53 w 125"/>
                  <a:gd name="T21" fmla="*/ 108 h 229"/>
                  <a:gd name="T22" fmla="*/ 58 w 125"/>
                  <a:gd name="T23" fmla="*/ 124 h 229"/>
                  <a:gd name="T24" fmla="*/ 71 w 125"/>
                  <a:gd name="T25" fmla="*/ 126 h 229"/>
                  <a:gd name="T26" fmla="*/ 82 w 125"/>
                  <a:gd name="T27" fmla="*/ 139 h 229"/>
                  <a:gd name="T28" fmla="*/ 91 w 125"/>
                  <a:gd name="T29" fmla="*/ 153 h 229"/>
                  <a:gd name="T30" fmla="*/ 101 w 125"/>
                  <a:gd name="T31" fmla="*/ 157 h 229"/>
                  <a:gd name="T32" fmla="*/ 112 w 125"/>
                  <a:gd name="T33" fmla="*/ 159 h 229"/>
                  <a:gd name="T34" fmla="*/ 100 w 125"/>
                  <a:gd name="T35" fmla="*/ 147 h 229"/>
                  <a:gd name="T36" fmla="*/ 83 w 125"/>
                  <a:gd name="T37" fmla="*/ 126 h 229"/>
                  <a:gd name="T38" fmla="*/ 83 w 125"/>
                  <a:gd name="T39" fmla="*/ 100 h 229"/>
                  <a:gd name="T40" fmla="*/ 106 w 125"/>
                  <a:gd name="T41" fmla="*/ 99 h 229"/>
                  <a:gd name="T42" fmla="*/ 122 w 125"/>
                  <a:gd name="T43" fmla="*/ 94 h 229"/>
                  <a:gd name="T44" fmla="*/ 124 w 125"/>
                  <a:gd name="T45" fmla="*/ 73 h 229"/>
                  <a:gd name="T46" fmla="*/ 113 w 125"/>
                  <a:gd name="T47" fmla="*/ 63 h 229"/>
                  <a:gd name="T48" fmla="*/ 115 w 125"/>
                  <a:gd name="T49" fmla="*/ 46 h 229"/>
                  <a:gd name="T50" fmla="*/ 97 w 125"/>
                  <a:gd name="T51" fmla="*/ 33 h 229"/>
                  <a:gd name="T52" fmla="*/ 83 w 125"/>
                  <a:gd name="T53" fmla="*/ 39 h 229"/>
                  <a:gd name="T54" fmla="*/ 68 w 125"/>
                  <a:gd name="T55" fmla="*/ 36 h 229"/>
                  <a:gd name="T56" fmla="*/ 58 w 125"/>
                  <a:gd name="T57" fmla="*/ 46 h 229"/>
                  <a:gd name="T58" fmla="*/ 62 w 125"/>
                  <a:gd name="T59" fmla="*/ 19 h 229"/>
                  <a:gd name="T60" fmla="*/ 50 w 125"/>
                  <a:gd name="T61" fmla="*/ 9 h 229"/>
                  <a:gd name="T62" fmla="*/ 43 w 125"/>
                  <a:gd name="T63" fmla="*/ 0 h 229"/>
                  <a:gd name="T64" fmla="*/ 17 w 125"/>
                  <a:gd name="T65" fmla="*/ 7 h 229"/>
                  <a:gd name="T66" fmla="*/ 5 w 125"/>
                  <a:gd name="T67" fmla="*/ 18 h 229"/>
                  <a:gd name="T68" fmla="*/ 5 w 125"/>
                  <a:gd name="T69" fmla="*/ 37 h 229"/>
                  <a:gd name="T70" fmla="*/ 17 w 125"/>
                  <a:gd name="T71" fmla="*/ 57 h 229"/>
                  <a:gd name="T72" fmla="*/ 16 w 125"/>
                  <a:gd name="T73" fmla="*/ 73 h 229"/>
                  <a:gd name="T74" fmla="*/ 3 w 125"/>
                  <a:gd name="T75" fmla="*/ 63 h 229"/>
                  <a:gd name="T76" fmla="*/ 1 w 125"/>
                  <a:gd name="T77" fmla="*/ 57 h 229"/>
                  <a:gd name="T78" fmla="*/ 7 w 125"/>
                  <a:gd name="T79" fmla="*/ 90 h 229"/>
                  <a:gd name="T80" fmla="*/ 8 w 125"/>
                  <a:gd name="T81" fmla="*/ 100 h 229"/>
                  <a:gd name="T82" fmla="*/ 17 w 125"/>
                  <a:gd name="T83" fmla="*/ 111 h 229"/>
                  <a:gd name="T84" fmla="*/ 5 w 125"/>
                  <a:gd name="T85" fmla="*/ 117 h 229"/>
                  <a:gd name="T86" fmla="*/ 2 w 125"/>
                  <a:gd name="T87" fmla="*/ 124 h 229"/>
                  <a:gd name="T88" fmla="*/ 14 w 125"/>
                  <a:gd name="T89" fmla="*/ 150 h 229"/>
                  <a:gd name="T90" fmla="*/ 14 w 125"/>
                  <a:gd name="T91" fmla="*/ 163 h 229"/>
                  <a:gd name="T92" fmla="*/ 25 w 125"/>
                  <a:gd name="T93" fmla="*/ 192 h 229"/>
                  <a:gd name="T94" fmla="*/ 38 w 125"/>
                  <a:gd name="T95" fmla="*/ 213 h 229"/>
                  <a:gd name="T96" fmla="*/ 58 w 125"/>
                  <a:gd name="T97" fmla="*/ 229 h 229"/>
                  <a:gd name="T98" fmla="*/ 65 w 125"/>
                  <a:gd name="T99" fmla="*/ 217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5" h="229">
                    <a:moveTo>
                      <a:pt x="65" y="217"/>
                    </a:moveTo>
                    <a:cubicBezTo>
                      <a:pt x="64" y="214"/>
                      <a:pt x="53" y="212"/>
                      <a:pt x="50" y="208"/>
                    </a:cubicBezTo>
                    <a:cubicBezTo>
                      <a:pt x="47" y="204"/>
                      <a:pt x="47" y="197"/>
                      <a:pt x="46" y="192"/>
                    </a:cubicBezTo>
                    <a:cubicBezTo>
                      <a:pt x="45" y="187"/>
                      <a:pt x="43" y="184"/>
                      <a:pt x="43" y="180"/>
                    </a:cubicBezTo>
                    <a:cubicBezTo>
                      <a:pt x="43" y="176"/>
                      <a:pt x="47" y="169"/>
                      <a:pt x="46" y="168"/>
                    </a:cubicBezTo>
                    <a:cubicBezTo>
                      <a:pt x="45" y="167"/>
                      <a:pt x="37" y="173"/>
                      <a:pt x="34" y="171"/>
                    </a:cubicBezTo>
                    <a:cubicBezTo>
                      <a:pt x="31" y="169"/>
                      <a:pt x="27" y="162"/>
                      <a:pt x="28" y="157"/>
                    </a:cubicBezTo>
                    <a:cubicBezTo>
                      <a:pt x="29" y="152"/>
                      <a:pt x="39" y="147"/>
                      <a:pt x="41" y="142"/>
                    </a:cubicBezTo>
                    <a:cubicBezTo>
                      <a:pt x="43" y="137"/>
                      <a:pt x="43" y="132"/>
                      <a:pt x="43" y="127"/>
                    </a:cubicBezTo>
                    <a:cubicBezTo>
                      <a:pt x="43" y="122"/>
                      <a:pt x="42" y="115"/>
                      <a:pt x="44" y="112"/>
                    </a:cubicBezTo>
                    <a:cubicBezTo>
                      <a:pt x="46" y="109"/>
                      <a:pt x="51" y="106"/>
                      <a:pt x="53" y="108"/>
                    </a:cubicBezTo>
                    <a:cubicBezTo>
                      <a:pt x="55" y="110"/>
                      <a:pt x="55" y="121"/>
                      <a:pt x="58" y="124"/>
                    </a:cubicBezTo>
                    <a:cubicBezTo>
                      <a:pt x="61" y="127"/>
                      <a:pt x="67" y="124"/>
                      <a:pt x="71" y="126"/>
                    </a:cubicBezTo>
                    <a:cubicBezTo>
                      <a:pt x="75" y="128"/>
                      <a:pt x="79" y="134"/>
                      <a:pt x="82" y="139"/>
                    </a:cubicBezTo>
                    <a:cubicBezTo>
                      <a:pt x="85" y="144"/>
                      <a:pt x="88" y="150"/>
                      <a:pt x="91" y="153"/>
                    </a:cubicBezTo>
                    <a:cubicBezTo>
                      <a:pt x="94" y="156"/>
                      <a:pt x="97" y="156"/>
                      <a:pt x="101" y="157"/>
                    </a:cubicBezTo>
                    <a:cubicBezTo>
                      <a:pt x="105" y="158"/>
                      <a:pt x="112" y="161"/>
                      <a:pt x="112" y="159"/>
                    </a:cubicBezTo>
                    <a:cubicBezTo>
                      <a:pt x="112" y="157"/>
                      <a:pt x="105" y="152"/>
                      <a:pt x="100" y="147"/>
                    </a:cubicBezTo>
                    <a:cubicBezTo>
                      <a:pt x="95" y="142"/>
                      <a:pt x="86" y="134"/>
                      <a:pt x="83" y="126"/>
                    </a:cubicBezTo>
                    <a:cubicBezTo>
                      <a:pt x="80" y="118"/>
                      <a:pt x="79" y="104"/>
                      <a:pt x="83" y="100"/>
                    </a:cubicBezTo>
                    <a:cubicBezTo>
                      <a:pt x="87" y="96"/>
                      <a:pt x="100" y="100"/>
                      <a:pt x="106" y="99"/>
                    </a:cubicBezTo>
                    <a:cubicBezTo>
                      <a:pt x="112" y="98"/>
                      <a:pt x="119" y="98"/>
                      <a:pt x="122" y="94"/>
                    </a:cubicBezTo>
                    <a:cubicBezTo>
                      <a:pt x="125" y="90"/>
                      <a:pt x="125" y="78"/>
                      <a:pt x="124" y="73"/>
                    </a:cubicBezTo>
                    <a:cubicBezTo>
                      <a:pt x="123" y="68"/>
                      <a:pt x="114" y="67"/>
                      <a:pt x="113" y="63"/>
                    </a:cubicBezTo>
                    <a:cubicBezTo>
                      <a:pt x="112" y="59"/>
                      <a:pt x="118" y="51"/>
                      <a:pt x="115" y="46"/>
                    </a:cubicBezTo>
                    <a:cubicBezTo>
                      <a:pt x="112" y="41"/>
                      <a:pt x="102" y="34"/>
                      <a:pt x="97" y="33"/>
                    </a:cubicBezTo>
                    <a:cubicBezTo>
                      <a:pt x="92" y="32"/>
                      <a:pt x="88" y="39"/>
                      <a:pt x="83" y="39"/>
                    </a:cubicBezTo>
                    <a:cubicBezTo>
                      <a:pt x="78" y="39"/>
                      <a:pt x="72" y="35"/>
                      <a:pt x="68" y="36"/>
                    </a:cubicBezTo>
                    <a:cubicBezTo>
                      <a:pt x="64" y="37"/>
                      <a:pt x="59" y="49"/>
                      <a:pt x="58" y="46"/>
                    </a:cubicBezTo>
                    <a:cubicBezTo>
                      <a:pt x="57" y="43"/>
                      <a:pt x="63" y="25"/>
                      <a:pt x="62" y="19"/>
                    </a:cubicBezTo>
                    <a:cubicBezTo>
                      <a:pt x="61" y="13"/>
                      <a:pt x="53" y="12"/>
                      <a:pt x="50" y="9"/>
                    </a:cubicBezTo>
                    <a:cubicBezTo>
                      <a:pt x="47" y="6"/>
                      <a:pt x="48" y="0"/>
                      <a:pt x="43" y="0"/>
                    </a:cubicBezTo>
                    <a:cubicBezTo>
                      <a:pt x="38" y="0"/>
                      <a:pt x="23" y="4"/>
                      <a:pt x="17" y="7"/>
                    </a:cubicBezTo>
                    <a:cubicBezTo>
                      <a:pt x="11" y="10"/>
                      <a:pt x="7" y="13"/>
                      <a:pt x="5" y="18"/>
                    </a:cubicBezTo>
                    <a:cubicBezTo>
                      <a:pt x="3" y="23"/>
                      <a:pt x="3" y="30"/>
                      <a:pt x="5" y="37"/>
                    </a:cubicBezTo>
                    <a:cubicBezTo>
                      <a:pt x="7" y="44"/>
                      <a:pt x="15" y="51"/>
                      <a:pt x="17" y="57"/>
                    </a:cubicBezTo>
                    <a:cubicBezTo>
                      <a:pt x="19" y="63"/>
                      <a:pt x="18" y="72"/>
                      <a:pt x="16" y="73"/>
                    </a:cubicBezTo>
                    <a:cubicBezTo>
                      <a:pt x="14" y="74"/>
                      <a:pt x="5" y="66"/>
                      <a:pt x="3" y="63"/>
                    </a:cubicBezTo>
                    <a:cubicBezTo>
                      <a:pt x="1" y="60"/>
                      <a:pt x="0" y="53"/>
                      <a:pt x="1" y="57"/>
                    </a:cubicBezTo>
                    <a:cubicBezTo>
                      <a:pt x="2" y="61"/>
                      <a:pt x="6" y="83"/>
                      <a:pt x="7" y="90"/>
                    </a:cubicBezTo>
                    <a:cubicBezTo>
                      <a:pt x="8" y="97"/>
                      <a:pt x="6" y="97"/>
                      <a:pt x="8" y="100"/>
                    </a:cubicBezTo>
                    <a:cubicBezTo>
                      <a:pt x="10" y="103"/>
                      <a:pt x="17" y="108"/>
                      <a:pt x="17" y="111"/>
                    </a:cubicBezTo>
                    <a:cubicBezTo>
                      <a:pt x="17" y="114"/>
                      <a:pt x="7" y="115"/>
                      <a:pt x="5" y="117"/>
                    </a:cubicBezTo>
                    <a:cubicBezTo>
                      <a:pt x="3" y="119"/>
                      <a:pt x="1" y="119"/>
                      <a:pt x="2" y="124"/>
                    </a:cubicBezTo>
                    <a:cubicBezTo>
                      <a:pt x="3" y="129"/>
                      <a:pt x="12" y="144"/>
                      <a:pt x="14" y="150"/>
                    </a:cubicBezTo>
                    <a:cubicBezTo>
                      <a:pt x="16" y="156"/>
                      <a:pt x="12" y="156"/>
                      <a:pt x="14" y="163"/>
                    </a:cubicBezTo>
                    <a:cubicBezTo>
                      <a:pt x="16" y="170"/>
                      <a:pt x="21" y="184"/>
                      <a:pt x="25" y="192"/>
                    </a:cubicBezTo>
                    <a:cubicBezTo>
                      <a:pt x="29" y="200"/>
                      <a:pt x="33" y="207"/>
                      <a:pt x="38" y="213"/>
                    </a:cubicBezTo>
                    <a:cubicBezTo>
                      <a:pt x="43" y="219"/>
                      <a:pt x="53" y="229"/>
                      <a:pt x="58" y="229"/>
                    </a:cubicBezTo>
                    <a:cubicBezTo>
                      <a:pt x="63" y="229"/>
                      <a:pt x="66" y="220"/>
                      <a:pt x="65" y="21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8" name="Freeform 148">
                <a:extLst>
                  <a:ext uri="{FF2B5EF4-FFF2-40B4-BE49-F238E27FC236}">
                    <a16:creationId xmlns:a16="http://schemas.microsoft.com/office/drawing/2014/main" id="{81E78942-AD19-47A0-962C-F187480EBC7F}"/>
                  </a:ext>
                </a:extLst>
              </p:cNvPr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gray">
              <a:xfrm>
                <a:off x="6789738" y="3622675"/>
                <a:ext cx="176213" cy="373063"/>
              </a:xfrm>
              <a:custGeom>
                <a:avLst/>
                <a:gdLst>
                  <a:gd name="T0" fmla="*/ 33 w 109"/>
                  <a:gd name="T1" fmla="*/ 202 h 235"/>
                  <a:gd name="T2" fmla="*/ 49 w 109"/>
                  <a:gd name="T3" fmla="*/ 187 h 235"/>
                  <a:gd name="T4" fmla="*/ 75 w 109"/>
                  <a:gd name="T5" fmla="*/ 176 h 235"/>
                  <a:gd name="T6" fmla="*/ 75 w 109"/>
                  <a:gd name="T7" fmla="*/ 148 h 235"/>
                  <a:gd name="T8" fmla="*/ 54 w 109"/>
                  <a:gd name="T9" fmla="*/ 143 h 235"/>
                  <a:gd name="T10" fmla="*/ 76 w 109"/>
                  <a:gd name="T11" fmla="*/ 139 h 235"/>
                  <a:gd name="T12" fmla="*/ 64 w 109"/>
                  <a:gd name="T13" fmla="*/ 110 h 235"/>
                  <a:gd name="T14" fmla="*/ 45 w 109"/>
                  <a:gd name="T15" fmla="*/ 86 h 235"/>
                  <a:gd name="T16" fmla="*/ 25 w 109"/>
                  <a:gd name="T17" fmla="*/ 70 h 235"/>
                  <a:gd name="T18" fmla="*/ 39 w 109"/>
                  <a:gd name="T19" fmla="*/ 53 h 235"/>
                  <a:gd name="T20" fmla="*/ 27 w 109"/>
                  <a:gd name="T21" fmla="*/ 45 h 235"/>
                  <a:gd name="T22" fmla="*/ 20 w 109"/>
                  <a:gd name="T23" fmla="*/ 38 h 235"/>
                  <a:gd name="T24" fmla="*/ 6 w 109"/>
                  <a:gd name="T25" fmla="*/ 28 h 235"/>
                  <a:gd name="T26" fmla="*/ 0 w 109"/>
                  <a:gd name="T27" fmla="*/ 16 h 235"/>
                  <a:gd name="T28" fmla="*/ 6 w 109"/>
                  <a:gd name="T29" fmla="*/ 7 h 235"/>
                  <a:gd name="T30" fmla="*/ 19 w 109"/>
                  <a:gd name="T31" fmla="*/ 16 h 235"/>
                  <a:gd name="T32" fmla="*/ 34 w 109"/>
                  <a:gd name="T33" fmla="*/ 10 h 235"/>
                  <a:gd name="T34" fmla="*/ 45 w 109"/>
                  <a:gd name="T35" fmla="*/ 4 h 235"/>
                  <a:gd name="T36" fmla="*/ 81 w 109"/>
                  <a:gd name="T37" fmla="*/ 32 h 235"/>
                  <a:gd name="T38" fmla="*/ 63 w 109"/>
                  <a:gd name="T39" fmla="*/ 49 h 235"/>
                  <a:gd name="T40" fmla="*/ 51 w 109"/>
                  <a:gd name="T41" fmla="*/ 65 h 235"/>
                  <a:gd name="T42" fmla="*/ 55 w 109"/>
                  <a:gd name="T43" fmla="*/ 82 h 235"/>
                  <a:gd name="T44" fmla="*/ 79 w 109"/>
                  <a:gd name="T45" fmla="*/ 110 h 235"/>
                  <a:gd name="T46" fmla="*/ 94 w 109"/>
                  <a:gd name="T47" fmla="*/ 130 h 235"/>
                  <a:gd name="T48" fmla="*/ 105 w 109"/>
                  <a:gd name="T49" fmla="*/ 154 h 235"/>
                  <a:gd name="T50" fmla="*/ 105 w 109"/>
                  <a:gd name="T51" fmla="*/ 193 h 235"/>
                  <a:gd name="T52" fmla="*/ 81 w 109"/>
                  <a:gd name="T53" fmla="*/ 197 h 235"/>
                  <a:gd name="T54" fmla="*/ 64 w 109"/>
                  <a:gd name="T55" fmla="*/ 209 h 235"/>
                  <a:gd name="T56" fmla="*/ 61 w 109"/>
                  <a:gd name="T57" fmla="*/ 221 h 235"/>
                  <a:gd name="T58" fmla="*/ 43 w 109"/>
                  <a:gd name="T59" fmla="*/ 235 h 235"/>
                  <a:gd name="T60" fmla="*/ 36 w 109"/>
                  <a:gd name="T61" fmla="*/ 220 h 235"/>
                  <a:gd name="T62" fmla="*/ 33 w 109"/>
                  <a:gd name="T63" fmla="*/ 20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9" h="235">
                    <a:moveTo>
                      <a:pt x="33" y="202"/>
                    </a:moveTo>
                    <a:cubicBezTo>
                      <a:pt x="35" y="197"/>
                      <a:pt x="42" y="191"/>
                      <a:pt x="49" y="187"/>
                    </a:cubicBezTo>
                    <a:cubicBezTo>
                      <a:pt x="56" y="183"/>
                      <a:pt x="71" y="182"/>
                      <a:pt x="75" y="176"/>
                    </a:cubicBezTo>
                    <a:cubicBezTo>
                      <a:pt x="79" y="170"/>
                      <a:pt x="78" y="153"/>
                      <a:pt x="75" y="148"/>
                    </a:cubicBezTo>
                    <a:cubicBezTo>
                      <a:pt x="72" y="143"/>
                      <a:pt x="54" y="144"/>
                      <a:pt x="54" y="143"/>
                    </a:cubicBezTo>
                    <a:cubicBezTo>
                      <a:pt x="54" y="142"/>
                      <a:pt x="74" y="144"/>
                      <a:pt x="76" y="139"/>
                    </a:cubicBezTo>
                    <a:cubicBezTo>
                      <a:pt x="78" y="134"/>
                      <a:pt x="69" y="119"/>
                      <a:pt x="64" y="110"/>
                    </a:cubicBezTo>
                    <a:cubicBezTo>
                      <a:pt x="59" y="101"/>
                      <a:pt x="51" y="93"/>
                      <a:pt x="45" y="86"/>
                    </a:cubicBezTo>
                    <a:cubicBezTo>
                      <a:pt x="39" y="79"/>
                      <a:pt x="26" y="75"/>
                      <a:pt x="25" y="70"/>
                    </a:cubicBezTo>
                    <a:cubicBezTo>
                      <a:pt x="24" y="65"/>
                      <a:pt x="39" y="57"/>
                      <a:pt x="39" y="53"/>
                    </a:cubicBezTo>
                    <a:cubicBezTo>
                      <a:pt x="39" y="49"/>
                      <a:pt x="30" y="47"/>
                      <a:pt x="27" y="45"/>
                    </a:cubicBezTo>
                    <a:cubicBezTo>
                      <a:pt x="24" y="43"/>
                      <a:pt x="23" y="41"/>
                      <a:pt x="20" y="38"/>
                    </a:cubicBezTo>
                    <a:cubicBezTo>
                      <a:pt x="17" y="35"/>
                      <a:pt x="9" y="32"/>
                      <a:pt x="6" y="28"/>
                    </a:cubicBezTo>
                    <a:cubicBezTo>
                      <a:pt x="3" y="24"/>
                      <a:pt x="0" y="19"/>
                      <a:pt x="0" y="16"/>
                    </a:cubicBezTo>
                    <a:cubicBezTo>
                      <a:pt x="0" y="13"/>
                      <a:pt x="3" y="7"/>
                      <a:pt x="6" y="7"/>
                    </a:cubicBezTo>
                    <a:cubicBezTo>
                      <a:pt x="9" y="7"/>
                      <a:pt x="14" y="15"/>
                      <a:pt x="19" y="16"/>
                    </a:cubicBezTo>
                    <a:cubicBezTo>
                      <a:pt x="24" y="17"/>
                      <a:pt x="30" y="12"/>
                      <a:pt x="34" y="10"/>
                    </a:cubicBezTo>
                    <a:cubicBezTo>
                      <a:pt x="38" y="8"/>
                      <a:pt x="37" y="0"/>
                      <a:pt x="45" y="4"/>
                    </a:cubicBezTo>
                    <a:cubicBezTo>
                      <a:pt x="53" y="8"/>
                      <a:pt x="78" y="25"/>
                      <a:pt x="81" y="32"/>
                    </a:cubicBezTo>
                    <a:cubicBezTo>
                      <a:pt x="84" y="39"/>
                      <a:pt x="68" y="43"/>
                      <a:pt x="63" y="49"/>
                    </a:cubicBezTo>
                    <a:cubicBezTo>
                      <a:pt x="58" y="55"/>
                      <a:pt x="52" y="60"/>
                      <a:pt x="51" y="65"/>
                    </a:cubicBezTo>
                    <a:cubicBezTo>
                      <a:pt x="50" y="70"/>
                      <a:pt x="50" y="75"/>
                      <a:pt x="55" y="82"/>
                    </a:cubicBezTo>
                    <a:cubicBezTo>
                      <a:pt x="60" y="89"/>
                      <a:pt x="72" y="102"/>
                      <a:pt x="79" y="110"/>
                    </a:cubicBezTo>
                    <a:cubicBezTo>
                      <a:pt x="86" y="118"/>
                      <a:pt x="90" y="123"/>
                      <a:pt x="94" y="130"/>
                    </a:cubicBezTo>
                    <a:cubicBezTo>
                      <a:pt x="98" y="137"/>
                      <a:pt x="103" y="144"/>
                      <a:pt x="105" y="154"/>
                    </a:cubicBezTo>
                    <a:cubicBezTo>
                      <a:pt x="107" y="164"/>
                      <a:pt x="109" y="186"/>
                      <a:pt x="105" y="193"/>
                    </a:cubicBezTo>
                    <a:cubicBezTo>
                      <a:pt x="101" y="200"/>
                      <a:pt x="88" y="194"/>
                      <a:pt x="81" y="197"/>
                    </a:cubicBezTo>
                    <a:cubicBezTo>
                      <a:pt x="74" y="200"/>
                      <a:pt x="67" y="205"/>
                      <a:pt x="64" y="209"/>
                    </a:cubicBezTo>
                    <a:cubicBezTo>
                      <a:pt x="61" y="213"/>
                      <a:pt x="65" y="217"/>
                      <a:pt x="61" y="221"/>
                    </a:cubicBezTo>
                    <a:cubicBezTo>
                      <a:pt x="57" y="225"/>
                      <a:pt x="47" y="235"/>
                      <a:pt x="43" y="235"/>
                    </a:cubicBezTo>
                    <a:cubicBezTo>
                      <a:pt x="39" y="235"/>
                      <a:pt x="37" y="225"/>
                      <a:pt x="36" y="220"/>
                    </a:cubicBezTo>
                    <a:cubicBezTo>
                      <a:pt x="35" y="215"/>
                      <a:pt x="31" y="207"/>
                      <a:pt x="33" y="20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9" name="Freeform 154">
                <a:extLst>
                  <a:ext uri="{FF2B5EF4-FFF2-40B4-BE49-F238E27FC236}">
                    <a16:creationId xmlns:a16="http://schemas.microsoft.com/office/drawing/2014/main" id="{BDE03789-A6DE-41A7-BD3C-234557680CFD}"/>
                  </a:ext>
                </a:extLst>
              </p:cNvPr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gray">
              <a:xfrm>
                <a:off x="8318501" y="5086350"/>
                <a:ext cx="290513" cy="414338"/>
              </a:xfrm>
              <a:custGeom>
                <a:avLst/>
                <a:gdLst>
                  <a:gd name="T0" fmla="*/ 36 w 180"/>
                  <a:gd name="T1" fmla="*/ 244 h 261"/>
                  <a:gd name="T2" fmla="*/ 55 w 180"/>
                  <a:gd name="T3" fmla="*/ 237 h 261"/>
                  <a:gd name="T4" fmla="*/ 66 w 180"/>
                  <a:gd name="T5" fmla="*/ 214 h 261"/>
                  <a:gd name="T6" fmla="*/ 81 w 180"/>
                  <a:gd name="T7" fmla="*/ 198 h 261"/>
                  <a:gd name="T8" fmla="*/ 85 w 180"/>
                  <a:gd name="T9" fmla="*/ 186 h 261"/>
                  <a:gd name="T10" fmla="*/ 108 w 180"/>
                  <a:gd name="T11" fmla="*/ 186 h 261"/>
                  <a:gd name="T12" fmla="*/ 96 w 180"/>
                  <a:gd name="T13" fmla="*/ 172 h 261"/>
                  <a:gd name="T14" fmla="*/ 105 w 180"/>
                  <a:gd name="T15" fmla="*/ 156 h 261"/>
                  <a:gd name="T16" fmla="*/ 121 w 180"/>
                  <a:gd name="T17" fmla="*/ 136 h 261"/>
                  <a:gd name="T18" fmla="*/ 129 w 180"/>
                  <a:gd name="T19" fmla="*/ 129 h 261"/>
                  <a:gd name="T20" fmla="*/ 142 w 180"/>
                  <a:gd name="T21" fmla="*/ 135 h 261"/>
                  <a:gd name="T22" fmla="*/ 156 w 180"/>
                  <a:gd name="T23" fmla="*/ 108 h 261"/>
                  <a:gd name="T24" fmla="*/ 162 w 180"/>
                  <a:gd name="T25" fmla="*/ 97 h 261"/>
                  <a:gd name="T26" fmla="*/ 175 w 180"/>
                  <a:gd name="T27" fmla="*/ 82 h 261"/>
                  <a:gd name="T28" fmla="*/ 178 w 180"/>
                  <a:gd name="T29" fmla="*/ 64 h 261"/>
                  <a:gd name="T30" fmla="*/ 162 w 180"/>
                  <a:gd name="T31" fmla="*/ 69 h 261"/>
                  <a:gd name="T32" fmla="*/ 147 w 180"/>
                  <a:gd name="T33" fmla="*/ 60 h 261"/>
                  <a:gd name="T34" fmla="*/ 144 w 180"/>
                  <a:gd name="T35" fmla="*/ 34 h 261"/>
                  <a:gd name="T36" fmla="*/ 135 w 180"/>
                  <a:gd name="T37" fmla="*/ 27 h 261"/>
                  <a:gd name="T38" fmla="*/ 124 w 180"/>
                  <a:gd name="T39" fmla="*/ 19 h 261"/>
                  <a:gd name="T40" fmla="*/ 112 w 180"/>
                  <a:gd name="T41" fmla="*/ 9 h 261"/>
                  <a:gd name="T42" fmla="*/ 100 w 180"/>
                  <a:gd name="T43" fmla="*/ 3 h 261"/>
                  <a:gd name="T44" fmla="*/ 103 w 180"/>
                  <a:gd name="T45" fmla="*/ 27 h 261"/>
                  <a:gd name="T46" fmla="*/ 121 w 180"/>
                  <a:gd name="T47" fmla="*/ 52 h 261"/>
                  <a:gd name="T48" fmla="*/ 130 w 180"/>
                  <a:gd name="T49" fmla="*/ 72 h 261"/>
                  <a:gd name="T50" fmla="*/ 123 w 180"/>
                  <a:gd name="T51" fmla="*/ 84 h 261"/>
                  <a:gd name="T52" fmla="*/ 114 w 180"/>
                  <a:gd name="T53" fmla="*/ 91 h 261"/>
                  <a:gd name="T54" fmla="*/ 136 w 180"/>
                  <a:gd name="T55" fmla="*/ 115 h 261"/>
                  <a:gd name="T56" fmla="*/ 121 w 180"/>
                  <a:gd name="T57" fmla="*/ 132 h 261"/>
                  <a:gd name="T58" fmla="*/ 103 w 180"/>
                  <a:gd name="T59" fmla="*/ 129 h 261"/>
                  <a:gd name="T60" fmla="*/ 99 w 180"/>
                  <a:gd name="T61" fmla="*/ 117 h 261"/>
                  <a:gd name="T62" fmla="*/ 79 w 180"/>
                  <a:gd name="T63" fmla="*/ 129 h 261"/>
                  <a:gd name="T64" fmla="*/ 79 w 180"/>
                  <a:gd name="T65" fmla="*/ 142 h 261"/>
                  <a:gd name="T66" fmla="*/ 75 w 180"/>
                  <a:gd name="T67" fmla="*/ 157 h 261"/>
                  <a:gd name="T68" fmla="*/ 45 w 180"/>
                  <a:gd name="T69" fmla="*/ 186 h 261"/>
                  <a:gd name="T70" fmla="*/ 28 w 180"/>
                  <a:gd name="T71" fmla="*/ 189 h 261"/>
                  <a:gd name="T72" fmla="*/ 4 w 180"/>
                  <a:gd name="T73" fmla="*/ 210 h 261"/>
                  <a:gd name="T74" fmla="*/ 3 w 180"/>
                  <a:gd name="T75" fmla="*/ 229 h 261"/>
                  <a:gd name="T76" fmla="*/ 15 w 180"/>
                  <a:gd name="T77" fmla="*/ 237 h 261"/>
                  <a:gd name="T78" fmla="*/ 19 w 180"/>
                  <a:gd name="T79" fmla="*/ 258 h 261"/>
                  <a:gd name="T80" fmla="*/ 33 w 180"/>
                  <a:gd name="T81" fmla="*/ 256 h 261"/>
                  <a:gd name="T82" fmla="*/ 36 w 180"/>
                  <a:gd name="T83" fmla="*/ 244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0" h="261">
                    <a:moveTo>
                      <a:pt x="36" y="244"/>
                    </a:moveTo>
                    <a:cubicBezTo>
                      <a:pt x="40" y="241"/>
                      <a:pt x="50" y="242"/>
                      <a:pt x="55" y="237"/>
                    </a:cubicBezTo>
                    <a:cubicBezTo>
                      <a:pt x="60" y="232"/>
                      <a:pt x="62" y="220"/>
                      <a:pt x="66" y="214"/>
                    </a:cubicBezTo>
                    <a:cubicBezTo>
                      <a:pt x="70" y="208"/>
                      <a:pt x="78" y="203"/>
                      <a:pt x="81" y="198"/>
                    </a:cubicBezTo>
                    <a:cubicBezTo>
                      <a:pt x="84" y="193"/>
                      <a:pt x="81" y="188"/>
                      <a:pt x="85" y="186"/>
                    </a:cubicBezTo>
                    <a:cubicBezTo>
                      <a:pt x="89" y="184"/>
                      <a:pt x="106" y="188"/>
                      <a:pt x="108" y="186"/>
                    </a:cubicBezTo>
                    <a:cubicBezTo>
                      <a:pt x="110" y="184"/>
                      <a:pt x="97" y="177"/>
                      <a:pt x="96" y="172"/>
                    </a:cubicBezTo>
                    <a:cubicBezTo>
                      <a:pt x="95" y="167"/>
                      <a:pt x="101" y="162"/>
                      <a:pt x="105" y="156"/>
                    </a:cubicBezTo>
                    <a:cubicBezTo>
                      <a:pt x="109" y="150"/>
                      <a:pt x="117" y="141"/>
                      <a:pt x="121" y="136"/>
                    </a:cubicBezTo>
                    <a:cubicBezTo>
                      <a:pt x="125" y="131"/>
                      <a:pt x="126" y="129"/>
                      <a:pt x="129" y="129"/>
                    </a:cubicBezTo>
                    <a:cubicBezTo>
                      <a:pt x="132" y="129"/>
                      <a:pt x="138" y="138"/>
                      <a:pt x="142" y="135"/>
                    </a:cubicBezTo>
                    <a:cubicBezTo>
                      <a:pt x="146" y="132"/>
                      <a:pt x="153" y="114"/>
                      <a:pt x="156" y="108"/>
                    </a:cubicBezTo>
                    <a:cubicBezTo>
                      <a:pt x="159" y="102"/>
                      <a:pt x="159" y="101"/>
                      <a:pt x="162" y="97"/>
                    </a:cubicBezTo>
                    <a:cubicBezTo>
                      <a:pt x="165" y="93"/>
                      <a:pt x="172" y="87"/>
                      <a:pt x="175" y="82"/>
                    </a:cubicBezTo>
                    <a:cubicBezTo>
                      <a:pt x="178" y="77"/>
                      <a:pt x="180" y="66"/>
                      <a:pt x="178" y="64"/>
                    </a:cubicBezTo>
                    <a:cubicBezTo>
                      <a:pt x="176" y="62"/>
                      <a:pt x="167" y="70"/>
                      <a:pt x="162" y="69"/>
                    </a:cubicBezTo>
                    <a:cubicBezTo>
                      <a:pt x="157" y="68"/>
                      <a:pt x="150" y="66"/>
                      <a:pt x="147" y="60"/>
                    </a:cubicBezTo>
                    <a:cubicBezTo>
                      <a:pt x="144" y="54"/>
                      <a:pt x="146" y="39"/>
                      <a:pt x="144" y="34"/>
                    </a:cubicBezTo>
                    <a:cubicBezTo>
                      <a:pt x="142" y="29"/>
                      <a:pt x="138" y="29"/>
                      <a:pt x="135" y="27"/>
                    </a:cubicBezTo>
                    <a:cubicBezTo>
                      <a:pt x="132" y="25"/>
                      <a:pt x="128" y="22"/>
                      <a:pt x="124" y="19"/>
                    </a:cubicBezTo>
                    <a:cubicBezTo>
                      <a:pt x="120" y="16"/>
                      <a:pt x="116" y="12"/>
                      <a:pt x="112" y="9"/>
                    </a:cubicBezTo>
                    <a:cubicBezTo>
                      <a:pt x="108" y="6"/>
                      <a:pt x="101" y="0"/>
                      <a:pt x="100" y="3"/>
                    </a:cubicBezTo>
                    <a:cubicBezTo>
                      <a:pt x="99" y="6"/>
                      <a:pt x="100" y="19"/>
                      <a:pt x="103" y="27"/>
                    </a:cubicBezTo>
                    <a:cubicBezTo>
                      <a:pt x="106" y="35"/>
                      <a:pt x="117" y="45"/>
                      <a:pt x="121" y="52"/>
                    </a:cubicBezTo>
                    <a:cubicBezTo>
                      <a:pt x="125" y="59"/>
                      <a:pt x="130" y="67"/>
                      <a:pt x="130" y="72"/>
                    </a:cubicBezTo>
                    <a:cubicBezTo>
                      <a:pt x="130" y="77"/>
                      <a:pt x="126" y="81"/>
                      <a:pt x="123" y="84"/>
                    </a:cubicBezTo>
                    <a:cubicBezTo>
                      <a:pt x="120" y="87"/>
                      <a:pt x="112" y="86"/>
                      <a:pt x="114" y="91"/>
                    </a:cubicBezTo>
                    <a:cubicBezTo>
                      <a:pt x="116" y="96"/>
                      <a:pt x="135" y="108"/>
                      <a:pt x="136" y="115"/>
                    </a:cubicBezTo>
                    <a:cubicBezTo>
                      <a:pt x="137" y="122"/>
                      <a:pt x="126" y="130"/>
                      <a:pt x="121" y="132"/>
                    </a:cubicBezTo>
                    <a:cubicBezTo>
                      <a:pt x="116" y="134"/>
                      <a:pt x="107" y="131"/>
                      <a:pt x="103" y="129"/>
                    </a:cubicBezTo>
                    <a:cubicBezTo>
                      <a:pt x="99" y="127"/>
                      <a:pt x="103" y="117"/>
                      <a:pt x="99" y="117"/>
                    </a:cubicBezTo>
                    <a:cubicBezTo>
                      <a:pt x="95" y="117"/>
                      <a:pt x="82" y="125"/>
                      <a:pt x="79" y="129"/>
                    </a:cubicBezTo>
                    <a:cubicBezTo>
                      <a:pt x="76" y="133"/>
                      <a:pt x="80" y="137"/>
                      <a:pt x="79" y="142"/>
                    </a:cubicBezTo>
                    <a:cubicBezTo>
                      <a:pt x="78" y="147"/>
                      <a:pt x="81" y="150"/>
                      <a:pt x="75" y="157"/>
                    </a:cubicBezTo>
                    <a:cubicBezTo>
                      <a:pt x="69" y="164"/>
                      <a:pt x="53" y="181"/>
                      <a:pt x="45" y="186"/>
                    </a:cubicBezTo>
                    <a:cubicBezTo>
                      <a:pt x="37" y="191"/>
                      <a:pt x="35" y="185"/>
                      <a:pt x="28" y="189"/>
                    </a:cubicBezTo>
                    <a:cubicBezTo>
                      <a:pt x="21" y="193"/>
                      <a:pt x="8" y="203"/>
                      <a:pt x="4" y="210"/>
                    </a:cubicBezTo>
                    <a:cubicBezTo>
                      <a:pt x="0" y="217"/>
                      <a:pt x="1" y="225"/>
                      <a:pt x="3" y="229"/>
                    </a:cubicBezTo>
                    <a:cubicBezTo>
                      <a:pt x="5" y="233"/>
                      <a:pt x="12" y="232"/>
                      <a:pt x="15" y="237"/>
                    </a:cubicBezTo>
                    <a:cubicBezTo>
                      <a:pt x="18" y="242"/>
                      <a:pt x="16" y="255"/>
                      <a:pt x="19" y="258"/>
                    </a:cubicBezTo>
                    <a:cubicBezTo>
                      <a:pt x="22" y="261"/>
                      <a:pt x="30" y="258"/>
                      <a:pt x="33" y="256"/>
                    </a:cubicBezTo>
                    <a:cubicBezTo>
                      <a:pt x="36" y="254"/>
                      <a:pt x="32" y="247"/>
                      <a:pt x="36" y="24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0" name="Freeform 164">
                <a:extLst>
                  <a:ext uri="{FF2B5EF4-FFF2-40B4-BE49-F238E27FC236}">
                    <a16:creationId xmlns:a16="http://schemas.microsoft.com/office/drawing/2014/main" id="{ACB8C08C-701A-4424-B587-555F86A77086}"/>
                  </a:ext>
                </a:extLst>
              </p:cNvPr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gray">
              <a:xfrm>
                <a:off x="7200900" y="3687763"/>
                <a:ext cx="179388" cy="371381"/>
              </a:xfrm>
              <a:custGeom>
                <a:avLst/>
                <a:gdLst/>
                <a:ahLst/>
                <a:cxnLst/>
                <a:rect l="l" t="t" r="r" b="b"/>
                <a:pathLst>
                  <a:path w="179388" h="371381">
                    <a:moveTo>
                      <a:pt x="84324" y="270723"/>
                    </a:moveTo>
                    <a:lnTo>
                      <a:pt x="84038" y="271462"/>
                    </a:lnTo>
                    <a:cubicBezTo>
                      <a:pt x="78442" y="272731"/>
                      <a:pt x="79725" y="272085"/>
                      <a:pt x="84324" y="270723"/>
                    </a:cubicBezTo>
                    <a:close/>
                    <a:moveTo>
                      <a:pt x="54140" y="47625"/>
                    </a:moveTo>
                    <a:cubicBezTo>
                      <a:pt x="58584" y="47228"/>
                      <a:pt x="62220" y="48418"/>
                      <a:pt x="67877" y="53975"/>
                    </a:cubicBezTo>
                    <a:cubicBezTo>
                      <a:pt x="69493" y="65087"/>
                      <a:pt x="69493" y="74612"/>
                      <a:pt x="64645" y="84137"/>
                    </a:cubicBezTo>
                    <a:cubicBezTo>
                      <a:pt x="72725" y="103187"/>
                      <a:pt x="71109" y="115887"/>
                      <a:pt x="50099" y="120650"/>
                    </a:cubicBezTo>
                    <a:cubicBezTo>
                      <a:pt x="32322" y="142875"/>
                      <a:pt x="48483" y="144462"/>
                      <a:pt x="72725" y="146050"/>
                    </a:cubicBezTo>
                    <a:cubicBezTo>
                      <a:pt x="79190" y="174625"/>
                      <a:pt x="79190" y="168275"/>
                      <a:pt x="117976" y="169862"/>
                    </a:cubicBezTo>
                    <a:cubicBezTo>
                      <a:pt x="113128" y="193675"/>
                      <a:pt x="121208" y="201612"/>
                      <a:pt x="142218" y="211137"/>
                    </a:cubicBezTo>
                    <a:cubicBezTo>
                      <a:pt x="145450" y="236537"/>
                      <a:pt x="148682" y="239712"/>
                      <a:pt x="159995" y="258762"/>
                    </a:cubicBezTo>
                    <a:cubicBezTo>
                      <a:pt x="161611" y="290513"/>
                      <a:pt x="161611" y="303213"/>
                      <a:pt x="179388" y="327025"/>
                    </a:cubicBezTo>
                    <a:cubicBezTo>
                      <a:pt x="156763" y="341313"/>
                      <a:pt x="176156" y="352425"/>
                      <a:pt x="142218" y="355600"/>
                    </a:cubicBezTo>
                    <a:lnTo>
                      <a:pt x="137370" y="371078"/>
                    </a:lnTo>
                    <a:cubicBezTo>
                      <a:pt x="134945" y="372269"/>
                      <a:pt x="130905" y="369888"/>
                      <a:pt x="122824" y="365125"/>
                    </a:cubicBezTo>
                    <a:cubicBezTo>
                      <a:pt x="114744" y="354013"/>
                      <a:pt x="105047" y="346075"/>
                      <a:pt x="98583" y="331788"/>
                    </a:cubicBezTo>
                    <a:cubicBezTo>
                      <a:pt x="98583" y="315913"/>
                      <a:pt x="124441" y="276225"/>
                      <a:pt x="122824" y="266700"/>
                    </a:cubicBezTo>
                    <a:cubicBezTo>
                      <a:pt x="122554" y="260449"/>
                      <a:pt x="94803" y="267516"/>
                      <a:pt x="84324" y="270723"/>
                    </a:cubicBezTo>
                    <a:cubicBezTo>
                      <a:pt x="100983" y="262770"/>
                      <a:pt x="61496" y="226831"/>
                      <a:pt x="69493" y="209550"/>
                    </a:cubicBezTo>
                    <a:cubicBezTo>
                      <a:pt x="59796" y="200025"/>
                      <a:pt x="32322" y="215900"/>
                      <a:pt x="25857" y="212725"/>
                    </a:cubicBezTo>
                    <a:cubicBezTo>
                      <a:pt x="33938" y="207962"/>
                      <a:pt x="40402" y="207962"/>
                      <a:pt x="30706" y="193675"/>
                    </a:cubicBezTo>
                    <a:cubicBezTo>
                      <a:pt x="27474" y="188912"/>
                      <a:pt x="16161" y="182562"/>
                      <a:pt x="16161" y="182562"/>
                    </a:cubicBezTo>
                    <a:cubicBezTo>
                      <a:pt x="21009" y="155575"/>
                      <a:pt x="12929" y="147637"/>
                      <a:pt x="0" y="127000"/>
                    </a:cubicBezTo>
                    <a:cubicBezTo>
                      <a:pt x="4848" y="117475"/>
                      <a:pt x="9696" y="114300"/>
                      <a:pt x="14545" y="106362"/>
                    </a:cubicBezTo>
                    <a:cubicBezTo>
                      <a:pt x="14545" y="93662"/>
                      <a:pt x="12929" y="80962"/>
                      <a:pt x="16161" y="69850"/>
                    </a:cubicBezTo>
                    <a:cubicBezTo>
                      <a:pt x="17777" y="61912"/>
                      <a:pt x="35554" y="60325"/>
                      <a:pt x="35554" y="50800"/>
                    </a:cubicBezTo>
                    <a:cubicBezTo>
                      <a:pt x="44443" y="50006"/>
                      <a:pt x="49695" y="48022"/>
                      <a:pt x="54140" y="47625"/>
                    </a:cubicBezTo>
                    <a:close/>
                    <a:moveTo>
                      <a:pt x="55562" y="0"/>
                    </a:moveTo>
                    <a:cubicBezTo>
                      <a:pt x="60325" y="12700"/>
                      <a:pt x="53975" y="22225"/>
                      <a:pt x="69850" y="26988"/>
                    </a:cubicBezTo>
                    <a:cubicBezTo>
                      <a:pt x="58738" y="41275"/>
                      <a:pt x="53975" y="26988"/>
                      <a:pt x="46037" y="17463"/>
                    </a:cubicBezTo>
                    <a:cubicBezTo>
                      <a:pt x="49212" y="1588"/>
                      <a:pt x="46037" y="7938"/>
                      <a:pt x="55562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1" name="Freeform 166">
                <a:extLst>
                  <a:ext uri="{FF2B5EF4-FFF2-40B4-BE49-F238E27FC236}">
                    <a16:creationId xmlns:a16="http://schemas.microsoft.com/office/drawing/2014/main" id="{CF318421-6062-41E8-8D42-D43D943DB307}"/>
                  </a:ext>
                </a:extLst>
              </p:cNvPr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gray">
              <a:xfrm>
                <a:off x="7316788" y="3076575"/>
                <a:ext cx="147638" cy="150813"/>
              </a:xfrm>
              <a:custGeom>
                <a:avLst/>
                <a:gdLst>
                  <a:gd name="T0" fmla="*/ 1 w 91"/>
                  <a:gd name="T1" fmla="*/ 61 h 95"/>
                  <a:gd name="T2" fmla="*/ 12 w 91"/>
                  <a:gd name="T3" fmla="*/ 63 h 95"/>
                  <a:gd name="T4" fmla="*/ 9 w 91"/>
                  <a:gd name="T5" fmla="*/ 84 h 95"/>
                  <a:gd name="T6" fmla="*/ 4 w 91"/>
                  <a:gd name="T7" fmla="*/ 94 h 95"/>
                  <a:gd name="T8" fmla="*/ 24 w 91"/>
                  <a:gd name="T9" fmla="*/ 90 h 95"/>
                  <a:gd name="T10" fmla="*/ 51 w 91"/>
                  <a:gd name="T11" fmla="*/ 69 h 95"/>
                  <a:gd name="T12" fmla="*/ 58 w 91"/>
                  <a:gd name="T13" fmla="*/ 52 h 95"/>
                  <a:gd name="T14" fmla="*/ 79 w 91"/>
                  <a:gd name="T15" fmla="*/ 37 h 95"/>
                  <a:gd name="T16" fmla="*/ 91 w 91"/>
                  <a:gd name="T17" fmla="*/ 13 h 95"/>
                  <a:gd name="T18" fmla="*/ 78 w 91"/>
                  <a:gd name="T19" fmla="*/ 1 h 95"/>
                  <a:gd name="T20" fmla="*/ 72 w 91"/>
                  <a:gd name="T21" fmla="*/ 9 h 95"/>
                  <a:gd name="T22" fmla="*/ 55 w 91"/>
                  <a:gd name="T23" fmla="*/ 13 h 95"/>
                  <a:gd name="T24" fmla="*/ 46 w 91"/>
                  <a:gd name="T25" fmla="*/ 24 h 95"/>
                  <a:gd name="T26" fmla="*/ 31 w 91"/>
                  <a:gd name="T27" fmla="*/ 28 h 95"/>
                  <a:gd name="T28" fmla="*/ 6 w 91"/>
                  <a:gd name="T29" fmla="*/ 46 h 95"/>
                  <a:gd name="T30" fmla="*/ 1 w 91"/>
                  <a:gd name="T31" fmla="*/ 6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1" h="95">
                    <a:moveTo>
                      <a:pt x="1" y="61"/>
                    </a:moveTo>
                    <a:cubicBezTo>
                      <a:pt x="2" y="64"/>
                      <a:pt x="11" y="59"/>
                      <a:pt x="12" y="63"/>
                    </a:cubicBezTo>
                    <a:cubicBezTo>
                      <a:pt x="13" y="67"/>
                      <a:pt x="10" y="79"/>
                      <a:pt x="9" y="84"/>
                    </a:cubicBezTo>
                    <a:cubicBezTo>
                      <a:pt x="8" y="89"/>
                      <a:pt x="2" y="93"/>
                      <a:pt x="4" y="94"/>
                    </a:cubicBezTo>
                    <a:cubicBezTo>
                      <a:pt x="6" y="95"/>
                      <a:pt x="16" y="94"/>
                      <a:pt x="24" y="90"/>
                    </a:cubicBezTo>
                    <a:cubicBezTo>
                      <a:pt x="32" y="86"/>
                      <a:pt x="45" y="75"/>
                      <a:pt x="51" y="69"/>
                    </a:cubicBezTo>
                    <a:cubicBezTo>
                      <a:pt x="57" y="63"/>
                      <a:pt x="53" y="57"/>
                      <a:pt x="58" y="52"/>
                    </a:cubicBezTo>
                    <a:cubicBezTo>
                      <a:pt x="63" y="47"/>
                      <a:pt x="74" y="43"/>
                      <a:pt x="79" y="37"/>
                    </a:cubicBezTo>
                    <a:cubicBezTo>
                      <a:pt x="84" y="31"/>
                      <a:pt x="91" y="19"/>
                      <a:pt x="91" y="13"/>
                    </a:cubicBezTo>
                    <a:cubicBezTo>
                      <a:pt x="91" y="7"/>
                      <a:pt x="81" y="2"/>
                      <a:pt x="78" y="1"/>
                    </a:cubicBezTo>
                    <a:cubicBezTo>
                      <a:pt x="75" y="0"/>
                      <a:pt x="76" y="7"/>
                      <a:pt x="72" y="9"/>
                    </a:cubicBezTo>
                    <a:cubicBezTo>
                      <a:pt x="68" y="11"/>
                      <a:pt x="59" y="10"/>
                      <a:pt x="55" y="13"/>
                    </a:cubicBezTo>
                    <a:cubicBezTo>
                      <a:pt x="51" y="16"/>
                      <a:pt x="50" y="21"/>
                      <a:pt x="46" y="24"/>
                    </a:cubicBezTo>
                    <a:cubicBezTo>
                      <a:pt x="42" y="27"/>
                      <a:pt x="38" y="24"/>
                      <a:pt x="31" y="28"/>
                    </a:cubicBezTo>
                    <a:cubicBezTo>
                      <a:pt x="24" y="32"/>
                      <a:pt x="11" y="42"/>
                      <a:pt x="6" y="46"/>
                    </a:cubicBezTo>
                    <a:cubicBezTo>
                      <a:pt x="1" y="50"/>
                      <a:pt x="0" y="58"/>
                      <a:pt x="1" y="6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2" name="Freeform 168">
                <a:extLst>
                  <a:ext uri="{FF2B5EF4-FFF2-40B4-BE49-F238E27FC236}">
                    <a16:creationId xmlns:a16="http://schemas.microsoft.com/office/drawing/2014/main" id="{BAD4F399-DD13-4FC6-A8DA-312381615D32}"/>
                  </a:ext>
                </a:extLst>
              </p:cNvPr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gray">
              <a:xfrm>
                <a:off x="7331076" y="3186113"/>
                <a:ext cx="112713" cy="153988"/>
              </a:xfrm>
              <a:custGeom>
                <a:avLst/>
                <a:gdLst>
                  <a:gd name="T0" fmla="*/ 0 w 69"/>
                  <a:gd name="T1" fmla="*/ 24 h 97"/>
                  <a:gd name="T2" fmla="*/ 24 w 69"/>
                  <a:gd name="T3" fmla="*/ 15 h 97"/>
                  <a:gd name="T4" fmla="*/ 39 w 69"/>
                  <a:gd name="T5" fmla="*/ 0 h 97"/>
                  <a:gd name="T6" fmla="*/ 58 w 69"/>
                  <a:gd name="T7" fmla="*/ 21 h 97"/>
                  <a:gd name="T8" fmla="*/ 69 w 69"/>
                  <a:gd name="T9" fmla="*/ 45 h 97"/>
                  <a:gd name="T10" fmla="*/ 34 w 69"/>
                  <a:gd name="T11" fmla="*/ 87 h 97"/>
                  <a:gd name="T12" fmla="*/ 22 w 69"/>
                  <a:gd name="T13" fmla="*/ 94 h 97"/>
                  <a:gd name="T14" fmla="*/ 21 w 69"/>
                  <a:gd name="T15" fmla="*/ 54 h 97"/>
                  <a:gd name="T16" fmla="*/ 7 w 69"/>
                  <a:gd name="T17" fmla="*/ 30 h 97"/>
                  <a:gd name="T18" fmla="*/ 0 w 69"/>
                  <a:gd name="T19" fmla="*/ 2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97">
                    <a:moveTo>
                      <a:pt x="0" y="24"/>
                    </a:moveTo>
                    <a:cubicBezTo>
                      <a:pt x="19" y="21"/>
                      <a:pt x="11" y="25"/>
                      <a:pt x="24" y="15"/>
                    </a:cubicBezTo>
                    <a:cubicBezTo>
                      <a:pt x="32" y="9"/>
                      <a:pt x="28" y="2"/>
                      <a:pt x="39" y="0"/>
                    </a:cubicBezTo>
                    <a:cubicBezTo>
                      <a:pt x="49" y="2"/>
                      <a:pt x="48" y="16"/>
                      <a:pt x="58" y="21"/>
                    </a:cubicBezTo>
                    <a:cubicBezTo>
                      <a:pt x="64" y="28"/>
                      <a:pt x="64" y="37"/>
                      <a:pt x="69" y="45"/>
                    </a:cubicBezTo>
                    <a:cubicBezTo>
                      <a:pt x="66" y="74"/>
                      <a:pt x="65" y="83"/>
                      <a:pt x="34" y="87"/>
                    </a:cubicBezTo>
                    <a:cubicBezTo>
                      <a:pt x="26" y="91"/>
                      <a:pt x="30" y="97"/>
                      <a:pt x="22" y="94"/>
                    </a:cubicBezTo>
                    <a:cubicBezTo>
                      <a:pt x="20" y="81"/>
                      <a:pt x="13" y="69"/>
                      <a:pt x="21" y="54"/>
                    </a:cubicBezTo>
                    <a:cubicBezTo>
                      <a:pt x="19" y="42"/>
                      <a:pt x="20" y="33"/>
                      <a:pt x="7" y="30"/>
                    </a:cubicBezTo>
                    <a:cubicBezTo>
                      <a:pt x="2" y="26"/>
                      <a:pt x="4" y="28"/>
                      <a:pt x="0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3" name="Freeform 169">
                <a:extLst>
                  <a:ext uri="{FF2B5EF4-FFF2-40B4-BE49-F238E27FC236}">
                    <a16:creationId xmlns:a16="http://schemas.microsoft.com/office/drawing/2014/main" id="{6314FAD0-ED26-437C-A7E0-2BDEDB773BD7}"/>
                  </a:ext>
                </a:extLst>
              </p:cNvPr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gray">
              <a:xfrm>
                <a:off x="6792913" y="3843338"/>
                <a:ext cx="123825" cy="107950"/>
              </a:xfrm>
              <a:custGeom>
                <a:avLst/>
                <a:gdLst>
                  <a:gd name="T0" fmla="*/ 47 w 77"/>
                  <a:gd name="T1" fmla="*/ 3 h 68"/>
                  <a:gd name="T2" fmla="*/ 76 w 77"/>
                  <a:gd name="T3" fmla="*/ 10 h 68"/>
                  <a:gd name="T4" fmla="*/ 68 w 77"/>
                  <a:gd name="T5" fmla="*/ 37 h 68"/>
                  <a:gd name="T6" fmla="*/ 56 w 77"/>
                  <a:gd name="T7" fmla="*/ 46 h 68"/>
                  <a:gd name="T8" fmla="*/ 44 w 77"/>
                  <a:gd name="T9" fmla="*/ 48 h 68"/>
                  <a:gd name="T10" fmla="*/ 35 w 77"/>
                  <a:gd name="T11" fmla="*/ 61 h 68"/>
                  <a:gd name="T12" fmla="*/ 23 w 77"/>
                  <a:gd name="T13" fmla="*/ 61 h 68"/>
                  <a:gd name="T14" fmla="*/ 8 w 77"/>
                  <a:gd name="T15" fmla="*/ 39 h 68"/>
                  <a:gd name="T16" fmla="*/ 44 w 77"/>
                  <a:gd name="T17" fmla="*/ 7 h 68"/>
                  <a:gd name="T18" fmla="*/ 47 w 77"/>
                  <a:gd name="T19" fmla="*/ 3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68">
                    <a:moveTo>
                      <a:pt x="47" y="3"/>
                    </a:moveTo>
                    <a:cubicBezTo>
                      <a:pt x="57" y="5"/>
                      <a:pt x="67" y="3"/>
                      <a:pt x="76" y="10"/>
                    </a:cubicBezTo>
                    <a:cubicBezTo>
                      <a:pt x="75" y="20"/>
                      <a:pt x="77" y="32"/>
                      <a:pt x="68" y="37"/>
                    </a:cubicBezTo>
                    <a:cubicBezTo>
                      <a:pt x="64" y="43"/>
                      <a:pt x="63" y="45"/>
                      <a:pt x="56" y="46"/>
                    </a:cubicBezTo>
                    <a:cubicBezTo>
                      <a:pt x="52" y="49"/>
                      <a:pt x="47" y="46"/>
                      <a:pt x="44" y="48"/>
                    </a:cubicBezTo>
                    <a:cubicBezTo>
                      <a:pt x="41" y="50"/>
                      <a:pt x="38" y="59"/>
                      <a:pt x="35" y="61"/>
                    </a:cubicBezTo>
                    <a:cubicBezTo>
                      <a:pt x="31" y="68"/>
                      <a:pt x="30" y="65"/>
                      <a:pt x="23" y="61"/>
                    </a:cubicBezTo>
                    <a:cubicBezTo>
                      <a:pt x="18" y="54"/>
                      <a:pt x="13" y="46"/>
                      <a:pt x="8" y="39"/>
                    </a:cubicBezTo>
                    <a:cubicBezTo>
                      <a:pt x="0" y="0"/>
                      <a:pt x="1" y="10"/>
                      <a:pt x="44" y="7"/>
                    </a:cubicBezTo>
                    <a:cubicBezTo>
                      <a:pt x="50" y="4"/>
                      <a:pt x="51" y="5"/>
                      <a:pt x="47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4" name="Freeform 170">
                <a:extLst>
                  <a:ext uri="{FF2B5EF4-FFF2-40B4-BE49-F238E27FC236}">
                    <a16:creationId xmlns:a16="http://schemas.microsoft.com/office/drawing/2014/main" id="{4D3019EF-35CA-4C07-AF9D-5EE09ACF473F}"/>
                  </a:ext>
                </a:extLst>
              </p:cNvPr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gray">
              <a:xfrm>
                <a:off x="6727826" y="3652838"/>
                <a:ext cx="185738" cy="201613"/>
              </a:xfrm>
              <a:custGeom>
                <a:avLst/>
                <a:gdLst>
                  <a:gd name="T0" fmla="*/ 11 w 115"/>
                  <a:gd name="T1" fmla="*/ 15 h 127"/>
                  <a:gd name="T2" fmla="*/ 35 w 115"/>
                  <a:gd name="T3" fmla="*/ 6 h 127"/>
                  <a:gd name="T4" fmla="*/ 38 w 115"/>
                  <a:gd name="T5" fmla="*/ 1 h 127"/>
                  <a:gd name="T6" fmla="*/ 44 w 115"/>
                  <a:gd name="T7" fmla="*/ 9 h 127"/>
                  <a:gd name="T8" fmla="*/ 65 w 115"/>
                  <a:gd name="T9" fmla="*/ 22 h 127"/>
                  <a:gd name="T10" fmla="*/ 75 w 115"/>
                  <a:gd name="T11" fmla="*/ 33 h 127"/>
                  <a:gd name="T12" fmla="*/ 63 w 115"/>
                  <a:gd name="T13" fmla="*/ 48 h 127"/>
                  <a:gd name="T14" fmla="*/ 89 w 115"/>
                  <a:gd name="T15" fmla="*/ 70 h 127"/>
                  <a:gd name="T16" fmla="*/ 96 w 115"/>
                  <a:gd name="T17" fmla="*/ 85 h 127"/>
                  <a:gd name="T18" fmla="*/ 108 w 115"/>
                  <a:gd name="T19" fmla="*/ 99 h 127"/>
                  <a:gd name="T20" fmla="*/ 115 w 115"/>
                  <a:gd name="T21" fmla="*/ 111 h 127"/>
                  <a:gd name="T22" fmla="*/ 110 w 115"/>
                  <a:gd name="T23" fmla="*/ 124 h 127"/>
                  <a:gd name="T24" fmla="*/ 90 w 115"/>
                  <a:gd name="T25" fmla="*/ 123 h 127"/>
                  <a:gd name="T26" fmla="*/ 83 w 115"/>
                  <a:gd name="T27" fmla="*/ 103 h 127"/>
                  <a:gd name="T28" fmla="*/ 75 w 115"/>
                  <a:gd name="T29" fmla="*/ 73 h 127"/>
                  <a:gd name="T30" fmla="*/ 59 w 115"/>
                  <a:gd name="T31" fmla="*/ 61 h 127"/>
                  <a:gd name="T32" fmla="*/ 44 w 115"/>
                  <a:gd name="T33" fmla="*/ 69 h 127"/>
                  <a:gd name="T34" fmla="*/ 24 w 115"/>
                  <a:gd name="T35" fmla="*/ 69 h 127"/>
                  <a:gd name="T36" fmla="*/ 27 w 115"/>
                  <a:gd name="T37" fmla="*/ 51 h 127"/>
                  <a:gd name="T38" fmla="*/ 9 w 115"/>
                  <a:gd name="T39" fmla="*/ 36 h 127"/>
                  <a:gd name="T40" fmla="*/ 8 w 115"/>
                  <a:gd name="T41" fmla="*/ 25 h 127"/>
                  <a:gd name="T42" fmla="*/ 11 w 115"/>
                  <a:gd name="T43" fmla="*/ 1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5" h="127">
                    <a:moveTo>
                      <a:pt x="11" y="15"/>
                    </a:moveTo>
                    <a:cubicBezTo>
                      <a:pt x="31" y="11"/>
                      <a:pt x="23" y="8"/>
                      <a:pt x="35" y="6"/>
                    </a:cubicBezTo>
                    <a:cubicBezTo>
                      <a:pt x="36" y="4"/>
                      <a:pt x="36" y="2"/>
                      <a:pt x="38" y="1"/>
                    </a:cubicBezTo>
                    <a:cubicBezTo>
                      <a:pt x="42" y="0"/>
                      <a:pt x="43" y="8"/>
                      <a:pt x="44" y="9"/>
                    </a:cubicBezTo>
                    <a:cubicBezTo>
                      <a:pt x="49" y="16"/>
                      <a:pt x="57" y="20"/>
                      <a:pt x="65" y="22"/>
                    </a:cubicBezTo>
                    <a:cubicBezTo>
                      <a:pt x="71" y="27"/>
                      <a:pt x="74" y="25"/>
                      <a:pt x="75" y="33"/>
                    </a:cubicBezTo>
                    <a:cubicBezTo>
                      <a:pt x="73" y="43"/>
                      <a:pt x="71" y="43"/>
                      <a:pt x="63" y="48"/>
                    </a:cubicBezTo>
                    <a:cubicBezTo>
                      <a:pt x="69" y="59"/>
                      <a:pt x="76" y="67"/>
                      <a:pt x="89" y="70"/>
                    </a:cubicBezTo>
                    <a:cubicBezTo>
                      <a:pt x="94" y="76"/>
                      <a:pt x="93" y="80"/>
                      <a:pt x="96" y="85"/>
                    </a:cubicBezTo>
                    <a:cubicBezTo>
                      <a:pt x="99" y="90"/>
                      <a:pt x="105" y="95"/>
                      <a:pt x="108" y="99"/>
                    </a:cubicBezTo>
                    <a:cubicBezTo>
                      <a:pt x="110" y="103"/>
                      <a:pt x="115" y="107"/>
                      <a:pt x="115" y="111"/>
                    </a:cubicBezTo>
                    <a:cubicBezTo>
                      <a:pt x="115" y="115"/>
                      <a:pt x="114" y="122"/>
                      <a:pt x="110" y="124"/>
                    </a:cubicBezTo>
                    <a:cubicBezTo>
                      <a:pt x="103" y="124"/>
                      <a:pt x="95" y="127"/>
                      <a:pt x="90" y="123"/>
                    </a:cubicBezTo>
                    <a:cubicBezTo>
                      <a:pt x="81" y="117"/>
                      <a:pt x="94" y="108"/>
                      <a:pt x="83" y="103"/>
                    </a:cubicBezTo>
                    <a:cubicBezTo>
                      <a:pt x="74" y="91"/>
                      <a:pt x="80" y="92"/>
                      <a:pt x="75" y="73"/>
                    </a:cubicBezTo>
                    <a:cubicBezTo>
                      <a:pt x="74" y="68"/>
                      <a:pt x="63" y="64"/>
                      <a:pt x="59" y="61"/>
                    </a:cubicBezTo>
                    <a:cubicBezTo>
                      <a:pt x="54" y="60"/>
                      <a:pt x="50" y="68"/>
                      <a:pt x="44" y="69"/>
                    </a:cubicBezTo>
                    <a:cubicBezTo>
                      <a:pt x="38" y="70"/>
                      <a:pt x="27" y="72"/>
                      <a:pt x="24" y="69"/>
                    </a:cubicBezTo>
                    <a:cubicBezTo>
                      <a:pt x="17" y="68"/>
                      <a:pt x="29" y="56"/>
                      <a:pt x="27" y="51"/>
                    </a:cubicBezTo>
                    <a:cubicBezTo>
                      <a:pt x="25" y="46"/>
                      <a:pt x="12" y="40"/>
                      <a:pt x="9" y="36"/>
                    </a:cubicBezTo>
                    <a:cubicBezTo>
                      <a:pt x="5" y="30"/>
                      <a:pt x="0" y="28"/>
                      <a:pt x="8" y="25"/>
                    </a:cubicBezTo>
                    <a:cubicBezTo>
                      <a:pt x="9" y="18"/>
                      <a:pt x="8" y="21"/>
                      <a:pt x="11" y="1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5" name="Freeform 171">
                <a:extLst>
                  <a:ext uri="{FF2B5EF4-FFF2-40B4-BE49-F238E27FC236}">
                    <a16:creationId xmlns:a16="http://schemas.microsoft.com/office/drawing/2014/main" id="{368B4B6F-A625-4AA2-88F1-B3D239628102}"/>
                  </a:ext>
                </a:extLst>
              </p:cNvPr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gray">
              <a:xfrm>
                <a:off x="7069138" y="4079875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14 w 17"/>
                  <a:gd name="T3" fmla="*/ 13 h 18"/>
                  <a:gd name="T4" fmla="*/ 6 w 17"/>
                  <a:gd name="T5" fmla="*/ 3 h 18"/>
                  <a:gd name="T6" fmla="*/ 0 w 17"/>
                  <a:gd name="T7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cubicBezTo>
                      <a:pt x="3" y="18"/>
                      <a:pt x="6" y="18"/>
                      <a:pt x="14" y="13"/>
                    </a:cubicBezTo>
                    <a:cubicBezTo>
                      <a:pt x="17" y="3"/>
                      <a:pt x="17" y="0"/>
                      <a:pt x="6" y="3"/>
                    </a:cubicBezTo>
                    <a:cubicBezTo>
                      <a:pt x="2" y="10"/>
                      <a:pt x="4" y="9"/>
                      <a:pt x="0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6" name="Freeform 172">
                <a:extLst>
                  <a:ext uri="{FF2B5EF4-FFF2-40B4-BE49-F238E27FC236}">
                    <a16:creationId xmlns:a16="http://schemas.microsoft.com/office/drawing/2014/main" id="{64BB63CE-5F0F-4DA6-987D-B92080E60589}"/>
                  </a:ext>
                </a:extLst>
              </p:cNvPr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gray">
              <a:xfrm>
                <a:off x="7189788" y="3581400"/>
                <a:ext cx="80963" cy="92075"/>
              </a:xfrm>
              <a:custGeom>
                <a:avLst/>
                <a:gdLst>
                  <a:gd name="T0" fmla="*/ 4 w 50"/>
                  <a:gd name="T1" fmla="*/ 24 h 58"/>
                  <a:gd name="T2" fmla="*/ 16 w 50"/>
                  <a:gd name="T3" fmla="*/ 22 h 58"/>
                  <a:gd name="T4" fmla="*/ 22 w 50"/>
                  <a:gd name="T5" fmla="*/ 12 h 58"/>
                  <a:gd name="T6" fmla="*/ 37 w 50"/>
                  <a:gd name="T7" fmla="*/ 0 h 58"/>
                  <a:gd name="T8" fmla="*/ 38 w 50"/>
                  <a:gd name="T9" fmla="*/ 22 h 58"/>
                  <a:gd name="T10" fmla="*/ 25 w 50"/>
                  <a:gd name="T11" fmla="*/ 39 h 58"/>
                  <a:gd name="T12" fmla="*/ 17 w 50"/>
                  <a:gd name="T13" fmla="*/ 46 h 58"/>
                  <a:gd name="T14" fmla="*/ 4 w 50"/>
                  <a:gd name="T15" fmla="*/ 30 h 58"/>
                  <a:gd name="T16" fmla="*/ 4 w 50"/>
                  <a:gd name="T17" fmla="*/ 2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58">
                    <a:moveTo>
                      <a:pt x="4" y="24"/>
                    </a:moveTo>
                    <a:cubicBezTo>
                      <a:pt x="8" y="23"/>
                      <a:pt x="13" y="25"/>
                      <a:pt x="16" y="22"/>
                    </a:cubicBezTo>
                    <a:cubicBezTo>
                      <a:pt x="32" y="8"/>
                      <a:pt x="6" y="15"/>
                      <a:pt x="22" y="12"/>
                    </a:cubicBezTo>
                    <a:cubicBezTo>
                      <a:pt x="29" y="7"/>
                      <a:pt x="28" y="2"/>
                      <a:pt x="37" y="0"/>
                    </a:cubicBezTo>
                    <a:cubicBezTo>
                      <a:pt x="50" y="2"/>
                      <a:pt x="44" y="14"/>
                      <a:pt x="38" y="22"/>
                    </a:cubicBezTo>
                    <a:cubicBezTo>
                      <a:pt x="34" y="40"/>
                      <a:pt x="40" y="36"/>
                      <a:pt x="25" y="39"/>
                    </a:cubicBezTo>
                    <a:cubicBezTo>
                      <a:pt x="24" y="45"/>
                      <a:pt x="22" y="58"/>
                      <a:pt x="17" y="46"/>
                    </a:cubicBezTo>
                    <a:cubicBezTo>
                      <a:pt x="15" y="37"/>
                      <a:pt x="11" y="35"/>
                      <a:pt x="4" y="30"/>
                    </a:cubicBezTo>
                    <a:cubicBezTo>
                      <a:pt x="2" y="24"/>
                      <a:pt x="0" y="26"/>
                      <a:pt x="4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7" name="Freeform 205">
                <a:extLst>
                  <a:ext uri="{FF2B5EF4-FFF2-40B4-BE49-F238E27FC236}">
                    <a16:creationId xmlns:a16="http://schemas.microsoft.com/office/drawing/2014/main" id="{1C32217C-D2C3-4CF6-9420-AD76C0F27B55}"/>
                  </a:ext>
                </a:extLst>
              </p:cNvPr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gray">
              <a:xfrm>
                <a:off x="8030093" y="4440238"/>
                <a:ext cx="49867" cy="38100"/>
              </a:xfrm>
              <a:custGeom>
                <a:avLst/>
                <a:gdLst>
                  <a:gd name="T0" fmla="*/ 1 w 31"/>
                  <a:gd name="T1" fmla="*/ 0 h 24"/>
                  <a:gd name="T2" fmla="*/ 12 w 31"/>
                  <a:gd name="T3" fmla="*/ 3 h 24"/>
                  <a:gd name="T4" fmla="*/ 31 w 31"/>
                  <a:gd name="T5" fmla="*/ 14 h 24"/>
                  <a:gd name="T6" fmla="*/ 3 w 31"/>
                  <a:gd name="T7" fmla="*/ 14 h 24"/>
                  <a:gd name="T8" fmla="*/ 1 w 31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4">
                    <a:moveTo>
                      <a:pt x="1" y="0"/>
                    </a:moveTo>
                    <a:cubicBezTo>
                      <a:pt x="5" y="1"/>
                      <a:pt x="9" y="1"/>
                      <a:pt x="12" y="3"/>
                    </a:cubicBezTo>
                    <a:cubicBezTo>
                      <a:pt x="25" y="11"/>
                      <a:pt x="8" y="10"/>
                      <a:pt x="31" y="14"/>
                    </a:cubicBezTo>
                    <a:cubicBezTo>
                      <a:pt x="24" y="24"/>
                      <a:pt x="12" y="16"/>
                      <a:pt x="3" y="14"/>
                    </a:cubicBezTo>
                    <a:cubicBezTo>
                      <a:pt x="0" y="7"/>
                      <a:pt x="4" y="7"/>
                      <a:pt x="1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8" name="Freeform 206">
                <a:extLst>
                  <a:ext uri="{FF2B5EF4-FFF2-40B4-BE49-F238E27FC236}">
                    <a16:creationId xmlns:a16="http://schemas.microsoft.com/office/drawing/2014/main" id="{6ED7BE45-95E0-4EFA-A6FB-4E9570252426}"/>
                  </a:ext>
                </a:extLst>
              </p:cNvPr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gray">
              <a:xfrm>
                <a:off x="7748588" y="4256088"/>
                <a:ext cx="236464" cy="201613"/>
              </a:xfrm>
              <a:custGeom>
                <a:avLst/>
                <a:gdLst>
                  <a:gd name="T0" fmla="*/ 0 w 123"/>
                  <a:gd name="T1" fmla="*/ 80 h 106"/>
                  <a:gd name="T2" fmla="*/ 0 w 123"/>
                  <a:gd name="T3" fmla="*/ 33 h 106"/>
                  <a:gd name="T4" fmla="*/ 0 w 123"/>
                  <a:gd name="T5" fmla="*/ 0 h 106"/>
                  <a:gd name="T6" fmla="*/ 32 w 123"/>
                  <a:gd name="T7" fmla="*/ 9 h 106"/>
                  <a:gd name="T8" fmla="*/ 57 w 123"/>
                  <a:gd name="T9" fmla="*/ 25 h 106"/>
                  <a:gd name="T10" fmla="*/ 57 w 123"/>
                  <a:gd name="T11" fmla="*/ 33 h 106"/>
                  <a:gd name="T12" fmla="*/ 88 w 123"/>
                  <a:gd name="T13" fmla="*/ 49 h 106"/>
                  <a:gd name="T14" fmla="*/ 72 w 123"/>
                  <a:gd name="T15" fmla="*/ 57 h 106"/>
                  <a:gd name="T16" fmla="*/ 81 w 123"/>
                  <a:gd name="T17" fmla="*/ 57 h 106"/>
                  <a:gd name="T18" fmla="*/ 88 w 123"/>
                  <a:gd name="T19" fmla="*/ 65 h 106"/>
                  <a:gd name="T20" fmla="*/ 97 w 123"/>
                  <a:gd name="T21" fmla="*/ 80 h 106"/>
                  <a:gd name="T22" fmla="*/ 104 w 123"/>
                  <a:gd name="T23" fmla="*/ 80 h 106"/>
                  <a:gd name="T24" fmla="*/ 104 w 123"/>
                  <a:gd name="T25" fmla="*/ 90 h 106"/>
                  <a:gd name="T26" fmla="*/ 122 w 123"/>
                  <a:gd name="T27" fmla="*/ 99 h 106"/>
                  <a:gd name="T28" fmla="*/ 122 w 123"/>
                  <a:gd name="T29" fmla="*/ 105 h 106"/>
                  <a:gd name="T30" fmla="*/ 81 w 123"/>
                  <a:gd name="T31" fmla="*/ 99 h 106"/>
                  <a:gd name="T32" fmla="*/ 63 w 123"/>
                  <a:gd name="T33" fmla="*/ 65 h 106"/>
                  <a:gd name="T34" fmla="*/ 47 w 123"/>
                  <a:gd name="T35" fmla="*/ 65 h 106"/>
                  <a:gd name="T36" fmla="*/ 40 w 123"/>
                  <a:gd name="T37" fmla="*/ 65 h 106"/>
                  <a:gd name="T38" fmla="*/ 23 w 123"/>
                  <a:gd name="T39" fmla="*/ 74 h 106"/>
                  <a:gd name="T40" fmla="*/ 32 w 123"/>
                  <a:gd name="T41" fmla="*/ 80 h 106"/>
                  <a:gd name="T42" fmla="*/ 15 w 123"/>
                  <a:gd name="T43" fmla="*/ 80 h 106"/>
                  <a:gd name="T44" fmla="*/ 0 w 123"/>
                  <a:gd name="T4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23" h="106">
                    <a:moveTo>
                      <a:pt x="0" y="8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2" y="9"/>
                    </a:lnTo>
                    <a:lnTo>
                      <a:pt x="57" y="25"/>
                    </a:lnTo>
                    <a:lnTo>
                      <a:pt x="57" y="33"/>
                    </a:lnTo>
                    <a:lnTo>
                      <a:pt x="88" y="49"/>
                    </a:lnTo>
                    <a:lnTo>
                      <a:pt x="72" y="57"/>
                    </a:lnTo>
                    <a:lnTo>
                      <a:pt x="81" y="57"/>
                    </a:lnTo>
                    <a:lnTo>
                      <a:pt x="88" y="65"/>
                    </a:lnTo>
                    <a:lnTo>
                      <a:pt x="97" y="80"/>
                    </a:lnTo>
                    <a:lnTo>
                      <a:pt x="104" y="80"/>
                    </a:lnTo>
                    <a:lnTo>
                      <a:pt x="104" y="90"/>
                    </a:lnTo>
                    <a:lnTo>
                      <a:pt x="122" y="99"/>
                    </a:lnTo>
                    <a:lnTo>
                      <a:pt x="122" y="105"/>
                    </a:lnTo>
                    <a:lnTo>
                      <a:pt x="81" y="99"/>
                    </a:lnTo>
                    <a:lnTo>
                      <a:pt x="63" y="65"/>
                    </a:lnTo>
                    <a:lnTo>
                      <a:pt x="47" y="65"/>
                    </a:lnTo>
                    <a:lnTo>
                      <a:pt x="40" y="65"/>
                    </a:lnTo>
                    <a:lnTo>
                      <a:pt x="23" y="74"/>
                    </a:lnTo>
                    <a:lnTo>
                      <a:pt x="32" y="80"/>
                    </a:lnTo>
                    <a:lnTo>
                      <a:pt x="15" y="80"/>
                    </a:lnTo>
                    <a:lnTo>
                      <a:pt x="0" y="8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9" name="Freeform 207">
                <a:extLst>
                  <a:ext uri="{FF2B5EF4-FFF2-40B4-BE49-F238E27FC236}">
                    <a16:creationId xmlns:a16="http://schemas.microsoft.com/office/drawing/2014/main" id="{C692BD55-EE3D-407A-819D-755F9640BAB0}"/>
                  </a:ext>
                </a:extLst>
              </p:cNvPr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gray">
              <a:xfrm>
                <a:off x="7919099" y="4286251"/>
                <a:ext cx="109385" cy="63500"/>
              </a:xfrm>
              <a:custGeom>
                <a:avLst/>
                <a:gdLst>
                  <a:gd name="T0" fmla="*/ 0 w 57"/>
                  <a:gd name="T1" fmla="*/ 16 h 33"/>
                  <a:gd name="T2" fmla="*/ 16 w 57"/>
                  <a:gd name="T3" fmla="*/ 32 h 33"/>
                  <a:gd name="T4" fmla="*/ 34 w 57"/>
                  <a:gd name="T5" fmla="*/ 32 h 33"/>
                  <a:gd name="T6" fmla="*/ 49 w 57"/>
                  <a:gd name="T7" fmla="*/ 23 h 33"/>
                  <a:gd name="T8" fmla="*/ 56 w 57"/>
                  <a:gd name="T9" fmla="*/ 8 h 33"/>
                  <a:gd name="T10" fmla="*/ 56 w 57"/>
                  <a:gd name="T11" fmla="*/ 0 h 33"/>
                  <a:gd name="T12" fmla="*/ 49 w 57"/>
                  <a:gd name="T13" fmla="*/ 0 h 33"/>
                  <a:gd name="T14" fmla="*/ 49 w 57"/>
                  <a:gd name="T15" fmla="*/ 16 h 33"/>
                  <a:gd name="T16" fmla="*/ 41 w 57"/>
                  <a:gd name="T17" fmla="*/ 16 h 33"/>
                  <a:gd name="T18" fmla="*/ 34 w 57"/>
                  <a:gd name="T19" fmla="*/ 16 h 33"/>
                  <a:gd name="T20" fmla="*/ 0 w 57"/>
                  <a:gd name="T21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" h="33">
                    <a:moveTo>
                      <a:pt x="0" y="16"/>
                    </a:moveTo>
                    <a:lnTo>
                      <a:pt x="16" y="32"/>
                    </a:lnTo>
                    <a:lnTo>
                      <a:pt x="34" y="32"/>
                    </a:lnTo>
                    <a:lnTo>
                      <a:pt x="49" y="23"/>
                    </a:lnTo>
                    <a:lnTo>
                      <a:pt x="56" y="8"/>
                    </a:lnTo>
                    <a:lnTo>
                      <a:pt x="56" y="0"/>
                    </a:lnTo>
                    <a:lnTo>
                      <a:pt x="49" y="0"/>
                    </a:lnTo>
                    <a:lnTo>
                      <a:pt x="49" y="16"/>
                    </a:lnTo>
                    <a:lnTo>
                      <a:pt x="41" y="16"/>
                    </a:lnTo>
                    <a:lnTo>
                      <a:pt x="34" y="16"/>
                    </a:lnTo>
                    <a:lnTo>
                      <a:pt x="0" y="16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0" name="Freeform 208">
                <a:extLst>
                  <a:ext uri="{FF2B5EF4-FFF2-40B4-BE49-F238E27FC236}">
                    <a16:creationId xmlns:a16="http://schemas.microsoft.com/office/drawing/2014/main" id="{FF539BE0-F704-4AFD-8F68-CCF8D986F2F4}"/>
                  </a:ext>
                </a:extLst>
              </p:cNvPr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gray">
              <a:xfrm>
                <a:off x="7997921" y="4273551"/>
                <a:ext cx="48258" cy="31750"/>
              </a:xfrm>
              <a:custGeom>
                <a:avLst/>
                <a:gdLst>
                  <a:gd name="T0" fmla="*/ 0 w 25"/>
                  <a:gd name="T1" fmla="*/ 0 h 17"/>
                  <a:gd name="T2" fmla="*/ 15 w 25"/>
                  <a:gd name="T3" fmla="*/ 8 h 17"/>
                  <a:gd name="T4" fmla="*/ 24 w 25"/>
                  <a:gd name="T5" fmla="*/ 16 h 17"/>
                  <a:gd name="T6" fmla="*/ 24 w 25"/>
                  <a:gd name="T7" fmla="*/ 8 h 17"/>
                  <a:gd name="T8" fmla="*/ 0 w 2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7">
                    <a:moveTo>
                      <a:pt x="0" y="0"/>
                    </a:moveTo>
                    <a:lnTo>
                      <a:pt x="15" y="8"/>
                    </a:lnTo>
                    <a:lnTo>
                      <a:pt x="24" y="16"/>
                    </a:lnTo>
                    <a:lnTo>
                      <a:pt x="24" y="8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1" name="Freeform 209">
                <a:extLst>
                  <a:ext uri="{FF2B5EF4-FFF2-40B4-BE49-F238E27FC236}">
                    <a16:creationId xmlns:a16="http://schemas.microsoft.com/office/drawing/2014/main" id="{4B98F7D7-6202-4022-BE8B-B2C8487988AE}"/>
                  </a:ext>
                </a:extLst>
              </p:cNvPr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gray">
              <a:xfrm>
                <a:off x="8091219" y="4318001"/>
                <a:ext cx="35389" cy="46038"/>
              </a:xfrm>
              <a:custGeom>
                <a:avLst/>
                <a:gdLst>
                  <a:gd name="T0" fmla="*/ 0 w 18"/>
                  <a:gd name="T1" fmla="*/ 0 h 25"/>
                  <a:gd name="T2" fmla="*/ 8 w 18"/>
                  <a:gd name="T3" fmla="*/ 24 h 25"/>
                  <a:gd name="T4" fmla="*/ 17 w 18"/>
                  <a:gd name="T5" fmla="*/ 16 h 25"/>
                  <a:gd name="T6" fmla="*/ 0 w 18"/>
                  <a:gd name="T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5">
                    <a:moveTo>
                      <a:pt x="0" y="0"/>
                    </a:moveTo>
                    <a:lnTo>
                      <a:pt x="8" y="24"/>
                    </a:lnTo>
                    <a:lnTo>
                      <a:pt x="17" y="16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2" name="Freeform 210">
                <a:extLst>
                  <a:ext uri="{FF2B5EF4-FFF2-40B4-BE49-F238E27FC236}">
                    <a16:creationId xmlns:a16="http://schemas.microsoft.com/office/drawing/2014/main" id="{0B4EDB31-211B-47A5-82E5-0095D1727086}"/>
                  </a:ext>
                </a:extLst>
              </p:cNvPr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gray">
              <a:xfrm>
                <a:off x="8200604" y="4406901"/>
                <a:ext cx="32172" cy="31750"/>
              </a:xfrm>
              <a:custGeom>
                <a:avLst/>
                <a:gdLst>
                  <a:gd name="T0" fmla="*/ 0 w 17"/>
                  <a:gd name="T1" fmla="*/ 0 h 17"/>
                  <a:gd name="T2" fmla="*/ 0 w 17"/>
                  <a:gd name="T3" fmla="*/ 16 h 17"/>
                  <a:gd name="T4" fmla="*/ 16 w 17"/>
                  <a:gd name="T5" fmla="*/ 16 h 17"/>
                  <a:gd name="T6" fmla="*/ 0 w 17"/>
                  <a:gd name="T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7">
                    <a:moveTo>
                      <a:pt x="0" y="0"/>
                    </a:moveTo>
                    <a:lnTo>
                      <a:pt x="0" y="16"/>
                    </a:lnTo>
                    <a:lnTo>
                      <a:pt x="16" y="16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3" name="Freeform 213">
                <a:extLst>
                  <a:ext uri="{FF2B5EF4-FFF2-40B4-BE49-F238E27FC236}">
                    <a16:creationId xmlns:a16="http://schemas.microsoft.com/office/drawing/2014/main" id="{EF9B4F3D-FFEB-4293-98C7-E50092A5CEE2}"/>
                  </a:ext>
                </a:extLst>
              </p:cNvPr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gray">
              <a:xfrm>
                <a:off x="6742113" y="4021138"/>
                <a:ext cx="471173" cy="137842"/>
              </a:xfrm>
              <a:custGeom>
                <a:avLst/>
                <a:gdLst/>
                <a:ahLst/>
                <a:cxnLst/>
                <a:rect l="l" t="t" r="r" b="b"/>
                <a:pathLst>
                  <a:path w="471173" h="137842">
                    <a:moveTo>
                      <a:pt x="406205" y="0"/>
                    </a:moveTo>
                    <a:lnTo>
                      <a:pt x="423398" y="16764"/>
                    </a:lnTo>
                    <a:lnTo>
                      <a:pt x="423398" y="33528"/>
                    </a:lnTo>
                    <a:lnTo>
                      <a:pt x="471173" y="46562"/>
                    </a:lnTo>
                    <a:lnTo>
                      <a:pt x="436787" y="46562"/>
                    </a:lnTo>
                    <a:lnTo>
                      <a:pt x="452053" y="63326"/>
                    </a:lnTo>
                    <a:lnTo>
                      <a:pt x="436787" y="63326"/>
                    </a:lnTo>
                    <a:lnTo>
                      <a:pt x="392841" y="63326"/>
                    </a:lnTo>
                    <a:lnTo>
                      <a:pt x="346993" y="121078"/>
                    </a:lnTo>
                    <a:lnTo>
                      <a:pt x="329800" y="137842"/>
                    </a:lnTo>
                    <a:lnTo>
                      <a:pt x="299218" y="121078"/>
                    </a:lnTo>
                    <a:lnTo>
                      <a:pt x="282025" y="137842"/>
                    </a:lnTo>
                    <a:lnTo>
                      <a:pt x="251468" y="137842"/>
                    </a:lnTo>
                    <a:lnTo>
                      <a:pt x="222813" y="121078"/>
                    </a:lnTo>
                    <a:lnTo>
                      <a:pt x="270563" y="121078"/>
                    </a:lnTo>
                    <a:lnTo>
                      <a:pt x="270563" y="93138"/>
                    </a:lnTo>
                    <a:lnTo>
                      <a:pt x="299218" y="93138"/>
                    </a:lnTo>
                    <a:lnTo>
                      <a:pt x="329800" y="63326"/>
                    </a:lnTo>
                    <a:lnTo>
                      <a:pt x="346993" y="63326"/>
                    </a:lnTo>
                    <a:lnTo>
                      <a:pt x="358455" y="63326"/>
                    </a:lnTo>
                    <a:lnTo>
                      <a:pt x="375648" y="46562"/>
                    </a:lnTo>
                    <a:lnTo>
                      <a:pt x="358455" y="46562"/>
                    </a:lnTo>
                    <a:lnTo>
                      <a:pt x="375648" y="33528"/>
                    </a:lnTo>
                    <a:close/>
                    <a:moveTo>
                      <a:pt x="0" y="0"/>
                    </a:moveTo>
                    <a:lnTo>
                      <a:pt x="17728" y="16764"/>
                    </a:lnTo>
                    <a:lnTo>
                      <a:pt x="35457" y="33528"/>
                    </a:lnTo>
                    <a:lnTo>
                      <a:pt x="47275" y="16764"/>
                    </a:lnTo>
                    <a:lnTo>
                      <a:pt x="84701" y="46562"/>
                    </a:lnTo>
                    <a:lnTo>
                      <a:pt x="84701" y="93138"/>
                    </a:lnTo>
                    <a:lnTo>
                      <a:pt x="96520" y="137842"/>
                    </a:lnTo>
                    <a:lnTo>
                      <a:pt x="84701" y="137842"/>
                    </a:lnTo>
                    <a:lnTo>
                      <a:pt x="35457" y="93138"/>
                    </a:lnTo>
                    <a:lnTo>
                      <a:pt x="0" y="63326"/>
                    </a:lnTo>
                    <a:lnTo>
                      <a:pt x="0" y="1676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4" name="Freeform 215">
                <a:extLst>
                  <a:ext uri="{FF2B5EF4-FFF2-40B4-BE49-F238E27FC236}">
                    <a16:creationId xmlns:a16="http://schemas.microsoft.com/office/drawing/2014/main" id="{6155DB5E-44EF-4A6B-832E-6AA1B8F778BD}"/>
                  </a:ext>
                </a:extLst>
              </p:cNvPr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gray">
              <a:xfrm>
                <a:off x="7073104" y="4067176"/>
                <a:ext cx="48438" cy="31750"/>
              </a:xfrm>
              <a:custGeom>
                <a:avLst/>
                <a:gdLst>
                  <a:gd name="T0" fmla="*/ 0 w 25"/>
                  <a:gd name="T1" fmla="*/ 16 h 17"/>
                  <a:gd name="T2" fmla="*/ 9 w 25"/>
                  <a:gd name="T3" fmla="*/ 16 h 17"/>
                  <a:gd name="T4" fmla="*/ 15 w 25"/>
                  <a:gd name="T5" fmla="*/ 16 h 17"/>
                  <a:gd name="T6" fmla="*/ 24 w 25"/>
                  <a:gd name="T7" fmla="*/ 0 h 17"/>
                  <a:gd name="T8" fmla="*/ 15 w 25"/>
                  <a:gd name="T9" fmla="*/ 0 h 17"/>
                  <a:gd name="T10" fmla="*/ 0 w 25"/>
                  <a:gd name="T11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7">
                    <a:moveTo>
                      <a:pt x="0" y="16"/>
                    </a:moveTo>
                    <a:lnTo>
                      <a:pt x="9" y="16"/>
                    </a:lnTo>
                    <a:lnTo>
                      <a:pt x="15" y="16"/>
                    </a:lnTo>
                    <a:lnTo>
                      <a:pt x="24" y="0"/>
                    </a:lnTo>
                    <a:lnTo>
                      <a:pt x="15" y="0"/>
                    </a:lnTo>
                    <a:lnTo>
                      <a:pt x="0" y="16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5" name="Oval 216">
                <a:extLst>
                  <a:ext uri="{FF2B5EF4-FFF2-40B4-BE49-F238E27FC236}">
                    <a16:creationId xmlns:a16="http://schemas.microsoft.com/office/drawing/2014/main" id="{03894CD2-6610-48F4-BCD9-FE2B3D3F2F8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5"/>
                </p:custDataLst>
              </p:nvPr>
            </p:nvSpPr>
            <p:spPr bwMode="gray">
              <a:xfrm>
                <a:off x="6809926" y="4129088"/>
                <a:ext cx="27448" cy="26988"/>
              </a:xfrm>
              <a:prstGeom prst="ellipse">
                <a:avLst/>
              </a:pr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grpSp>
            <p:nvGrpSpPr>
              <p:cNvPr id="376" name="Group 233">
                <a:extLst>
                  <a:ext uri="{FF2B5EF4-FFF2-40B4-BE49-F238E27FC236}">
                    <a16:creationId xmlns:a16="http://schemas.microsoft.com/office/drawing/2014/main" id="{750AD937-4601-4DC0-ACCC-EAB22EA303FF}"/>
                  </a:ext>
                </a:extLst>
              </p:cNvPr>
              <p:cNvGrpSpPr>
                <a:grpSpLocks/>
              </p:cNvGrpSpPr>
              <p:nvPr>
                <p:custDataLst>
                  <p:tags r:id="rId146"/>
                </p:custDataLst>
              </p:nvPr>
            </p:nvGrpSpPr>
            <p:grpSpPr bwMode="auto">
              <a:xfrm>
                <a:off x="5432426" y="2643188"/>
                <a:ext cx="1014413" cy="495300"/>
                <a:chOff x="3419" y="1862"/>
                <a:chExt cx="629" cy="312"/>
              </a:xfrm>
              <a:grpFill/>
            </p:grpSpPr>
            <p:sp>
              <p:nvSpPr>
                <p:cNvPr id="429" name="Freeform 234">
                  <a:extLst>
                    <a:ext uri="{FF2B5EF4-FFF2-40B4-BE49-F238E27FC236}">
                      <a16:creationId xmlns:a16="http://schemas.microsoft.com/office/drawing/2014/main" id="{3CD63019-E519-4E1E-B4EB-07D3F7D33B38}"/>
                    </a:ext>
                  </a:extLst>
                </p:cNvPr>
                <p:cNvSpPr>
                  <a:spLocks/>
                </p:cNvSpPr>
                <p:nvPr>
                  <p:custDataLst>
                    <p:tags r:id="rId194"/>
                  </p:custDataLst>
                </p:nvPr>
              </p:nvSpPr>
              <p:spPr bwMode="gray">
                <a:xfrm>
                  <a:off x="3692" y="1862"/>
                  <a:ext cx="356" cy="312"/>
                </a:xfrm>
                <a:custGeom>
                  <a:avLst/>
                  <a:gdLst>
                    <a:gd name="T0" fmla="*/ 0 w 356"/>
                    <a:gd name="T1" fmla="*/ 25 h 312"/>
                    <a:gd name="T2" fmla="*/ 75 w 356"/>
                    <a:gd name="T3" fmla="*/ 0 h 312"/>
                    <a:gd name="T4" fmla="*/ 99 w 356"/>
                    <a:gd name="T5" fmla="*/ 27 h 312"/>
                    <a:gd name="T6" fmla="*/ 114 w 356"/>
                    <a:gd name="T7" fmla="*/ 12 h 312"/>
                    <a:gd name="T8" fmla="*/ 154 w 356"/>
                    <a:gd name="T9" fmla="*/ 40 h 312"/>
                    <a:gd name="T10" fmla="*/ 160 w 356"/>
                    <a:gd name="T11" fmla="*/ 42 h 312"/>
                    <a:gd name="T12" fmla="*/ 187 w 356"/>
                    <a:gd name="T13" fmla="*/ 30 h 312"/>
                    <a:gd name="T14" fmla="*/ 191 w 356"/>
                    <a:gd name="T15" fmla="*/ 28 h 312"/>
                    <a:gd name="T16" fmla="*/ 196 w 356"/>
                    <a:gd name="T17" fmla="*/ 42 h 312"/>
                    <a:gd name="T18" fmla="*/ 214 w 356"/>
                    <a:gd name="T19" fmla="*/ 54 h 312"/>
                    <a:gd name="T20" fmla="*/ 226 w 356"/>
                    <a:gd name="T21" fmla="*/ 70 h 312"/>
                    <a:gd name="T22" fmla="*/ 233 w 356"/>
                    <a:gd name="T23" fmla="*/ 85 h 312"/>
                    <a:gd name="T24" fmla="*/ 232 w 356"/>
                    <a:gd name="T25" fmla="*/ 100 h 312"/>
                    <a:gd name="T26" fmla="*/ 236 w 356"/>
                    <a:gd name="T27" fmla="*/ 103 h 312"/>
                    <a:gd name="T28" fmla="*/ 248 w 356"/>
                    <a:gd name="T29" fmla="*/ 108 h 312"/>
                    <a:gd name="T30" fmla="*/ 265 w 356"/>
                    <a:gd name="T31" fmla="*/ 105 h 312"/>
                    <a:gd name="T32" fmla="*/ 277 w 356"/>
                    <a:gd name="T33" fmla="*/ 112 h 312"/>
                    <a:gd name="T34" fmla="*/ 287 w 356"/>
                    <a:gd name="T35" fmla="*/ 108 h 312"/>
                    <a:gd name="T36" fmla="*/ 302 w 356"/>
                    <a:gd name="T37" fmla="*/ 114 h 312"/>
                    <a:gd name="T38" fmla="*/ 320 w 356"/>
                    <a:gd name="T39" fmla="*/ 130 h 312"/>
                    <a:gd name="T40" fmla="*/ 353 w 356"/>
                    <a:gd name="T41" fmla="*/ 138 h 312"/>
                    <a:gd name="T42" fmla="*/ 340 w 356"/>
                    <a:gd name="T43" fmla="*/ 152 h 312"/>
                    <a:gd name="T44" fmla="*/ 329 w 356"/>
                    <a:gd name="T45" fmla="*/ 157 h 312"/>
                    <a:gd name="T46" fmla="*/ 328 w 356"/>
                    <a:gd name="T47" fmla="*/ 175 h 312"/>
                    <a:gd name="T48" fmla="*/ 323 w 356"/>
                    <a:gd name="T49" fmla="*/ 195 h 312"/>
                    <a:gd name="T50" fmla="*/ 319 w 356"/>
                    <a:gd name="T51" fmla="*/ 192 h 312"/>
                    <a:gd name="T52" fmla="*/ 305 w 356"/>
                    <a:gd name="T53" fmla="*/ 183 h 312"/>
                    <a:gd name="T54" fmla="*/ 281 w 356"/>
                    <a:gd name="T55" fmla="*/ 195 h 312"/>
                    <a:gd name="T56" fmla="*/ 274 w 356"/>
                    <a:gd name="T57" fmla="*/ 214 h 312"/>
                    <a:gd name="T58" fmla="*/ 278 w 356"/>
                    <a:gd name="T59" fmla="*/ 234 h 312"/>
                    <a:gd name="T60" fmla="*/ 268 w 356"/>
                    <a:gd name="T61" fmla="*/ 226 h 312"/>
                    <a:gd name="T62" fmla="*/ 241 w 356"/>
                    <a:gd name="T63" fmla="*/ 232 h 312"/>
                    <a:gd name="T64" fmla="*/ 247 w 356"/>
                    <a:gd name="T65" fmla="*/ 261 h 312"/>
                    <a:gd name="T66" fmla="*/ 245 w 356"/>
                    <a:gd name="T67" fmla="*/ 274 h 312"/>
                    <a:gd name="T68" fmla="*/ 254 w 356"/>
                    <a:gd name="T69" fmla="*/ 283 h 312"/>
                    <a:gd name="T70" fmla="*/ 242 w 356"/>
                    <a:gd name="T71" fmla="*/ 287 h 312"/>
                    <a:gd name="T72" fmla="*/ 196 w 356"/>
                    <a:gd name="T73" fmla="*/ 309 h 312"/>
                    <a:gd name="T74" fmla="*/ 208 w 356"/>
                    <a:gd name="T75" fmla="*/ 282 h 312"/>
                    <a:gd name="T76" fmla="*/ 172 w 356"/>
                    <a:gd name="T77" fmla="*/ 279 h 312"/>
                    <a:gd name="T78" fmla="*/ 144 w 356"/>
                    <a:gd name="T79" fmla="*/ 270 h 312"/>
                    <a:gd name="T80" fmla="*/ 124 w 356"/>
                    <a:gd name="T81" fmla="*/ 283 h 312"/>
                    <a:gd name="T82" fmla="*/ 109 w 356"/>
                    <a:gd name="T83" fmla="*/ 279 h 312"/>
                    <a:gd name="T84" fmla="*/ 79 w 356"/>
                    <a:gd name="T85" fmla="*/ 292 h 312"/>
                    <a:gd name="T86" fmla="*/ 51 w 356"/>
                    <a:gd name="T87" fmla="*/ 312 h 3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56" h="312">
                      <a:moveTo>
                        <a:pt x="0" y="25"/>
                      </a:moveTo>
                      <a:cubicBezTo>
                        <a:pt x="10" y="28"/>
                        <a:pt x="59" y="0"/>
                        <a:pt x="75" y="0"/>
                      </a:cubicBezTo>
                      <a:cubicBezTo>
                        <a:pt x="91" y="0"/>
                        <a:pt x="92" y="25"/>
                        <a:pt x="99" y="27"/>
                      </a:cubicBezTo>
                      <a:cubicBezTo>
                        <a:pt x="106" y="29"/>
                        <a:pt x="105" y="10"/>
                        <a:pt x="114" y="12"/>
                      </a:cubicBezTo>
                      <a:cubicBezTo>
                        <a:pt x="123" y="14"/>
                        <a:pt x="146" y="35"/>
                        <a:pt x="154" y="40"/>
                      </a:cubicBezTo>
                      <a:cubicBezTo>
                        <a:pt x="162" y="45"/>
                        <a:pt x="155" y="44"/>
                        <a:pt x="160" y="42"/>
                      </a:cubicBezTo>
                      <a:cubicBezTo>
                        <a:pt x="166" y="32"/>
                        <a:pt x="176" y="31"/>
                        <a:pt x="187" y="30"/>
                      </a:cubicBezTo>
                      <a:cubicBezTo>
                        <a:pt x="188" y="29"/>
                        <a:pt x="190" y="27"/>
                        <a:pt x="191" y="28"/>
                      </a:cubicBezTo>
                      <a:cubicBezTo>
                        <a:pt x="194" y="29"/>
                        <a:pt x="195" y="41"/>
                        <a:pt x="196" y="42"/>
                      </a:cubicBezTo>
                      <a:cubicBezTo>
                        <a:pt x="198" y="46"/>
                        <a:pt x="210" y="52"/>
                        <a:pt x="214" y="54"/>
                      </a:cubicBezTo>
                      <a:cubicBezTo>
                        <a:pt x="218" y="60"/>
                        <a:pt x="222" y="64"/>
                        <a:pt x="226" y="70"/>
                      </a:cubicBezTo>
                      <a:cubicBezTo>
                        <a:pt x="228" y="76"/>
                        <a:pt x="232" y="80"/>
                        <a:pt x="233" y="85"/>
                      </a:cubicBezTo>
                      <a:cubicBezTo>
                        <a:pt x="234" y="90"/>
                        <a:pt x="231" y="97"/>
                        <a:pt x="232" y="100"/>
                      </a:cubicBezTo>
                      <a:cubicBezTo>
                        <a:pt x="233" y="106"/>
                        <a:pt x="233" y="102"/>
                        <a:pt x="236" y="103"/>
                      </a:cubicBezTo>
                      <a:cubicBezTo>
                        <a:pt x="239" y="104"/>
                        <a:pt x="243" y="108"/>
                        <a:pt x="248" y="108"/>
                      </a:cubicBezTo>
                      <a:cubicBezTo>
                        <a:pt x="254" y="104"/>
                        <a:pt x="258" y="106"/>
                        <a:pt x="265" y="105"/>
                      </a:cubicBezTo>
                      <a:cubicBezTo>
                        <a:pt x="269" y="110"/>
                        <a:pt x="271" y="111"/>
                        <a:pt x="277" y="112"/>
                      </a:cubicBezTo>
                      <a:cubicBezTo>
                        <a:pt x="281" y="111"/>
                        <a:pt x="283" y="108"/>
                        <a:pt x="287" y="108"/>
                      </a:cubicBezTo>
                      <a:cubicBezTo>
                        <a:pt x="291" y="108"/>
                        <a:pt x="299" y="111"/>
                        <a:pt x="302" y="114"/>
                      </a:cubicBezTo>
                      <a:cubicBezTo>
                        <a:pt x="306" y="120"/>
                        <a:pt x="314" y="127"/>
                        <a:pt x="320" y="130"/>
                      </a:cubicBezTo>
                      <a:cubicBezTo>
                        <a:pt x="329" y="141"/>
                        <a:pt x="338" y="136"/>
                        <a:pt x="353" y="138"/>
                      </a:cubicBezTo>
                      <a:cubicBezTo>
                        <a:pt x="356" y="142"/>
                        <a:pt x="344" y="149"/>
                        <a:pt x="340" y="152"/>
                      </a:cubicBezTo>
                      <a:cubicBezTo>
                        <a:pt x="336" y="155"/>
                        <a:pt x="331" y="153"/>
                        <a:pt x="329" y="157"/>
                      </a:cubicBezTo>
                      <a:cubicBezTo>
                        <a:pt x="325" y="162"/>
                        <a:pt x="329" y="169"/>
                        <a:pt x="328" y="175"/>
                      </a:cubicBezTo>
                      <a:cubicBezTo>
                        <a:pt x="327" y="181"/>
                        <a:pt x="324" y="192"/>
                        <a:pt x="323" y="195"/>
                      </a:cubicBezTo>
                      <a:cubicBezTo>
                        <a:pt x="323" y="197"/>
                        <a:pt x="320" y="193"/>
                        <a:pt x="319" y="192"/>
                      </a:cubicBezTo>
                      <a:cubicBezTo>
                        <a:pt x="314" y="189"/>
                        <a:pt x="310" y="186"/>
                        <a:pt x="305" y="183"/>
                      </a:cubicBezTo>
                      <a:cubicBezTo>
                        <a:pt x="287" y="186"/>
                        <a:pt x="286" y="182"/>
                        <a:pt x="281" y="195"/>
                      </a:cubicBezTo>
                      <a:cubicBezTo>
                        <a:pt x="277" y="200"/>
                        <a:pt x="275" y="207"/>
                        <a:pt x="274" y="214"/>
                      </a:cubicBezTo>
                      <a:cubicBezTo>
                        <a:pt x="274" y="220"/>
                        <a:pt x="279" y="232"/>
                        <a:pt x="278" y="234"/>
                      </a:cubicBezTo>
                      <a:cubicBezTo>
                        <a:pt x="274" y="230"/>
                        <a:pt x="273" y="229"/>
                        <a:pt x="268" y="226"/>
                      </a:cubicBezTo>
                      <a:cubicBezTo>
                        <a:pt x="263" y="226"/>
                        <a:pt x="244" y="226"/>
                        <a:pt x="241" y="232"/>
                      </a:cubicBezTo>
                      <a:cubicBezTo>
                        <a:pt x="238" y="238"/>
                        <a:pt x="246" y="254"/>
                        <a:pt x="247" y="261"/>
                      </a:cubicBezTo>
                      <a:cubicBezTo>
                        <a:pt x="246" y="265"/>
                        <a:pt x="244" y="270"/>
                        <a:pt x="245" y="274"/>
                      </a:cubicBezTo>
                      <a:cubicBezTo>
                        <a:pt x="246" y="278"/>
                        <a:pt x="254" y="283"/>
                        <a:pt x="254" y="283"/>
                      </a:cubicBezTo>
                      <a:cubicBezTo>
                        <a:pt x="254" y="285"/>
                        <a:pt x="248" y="284"/>
                        <a:pt x="242" y="287"/>
                      </a:cubicBezTo>
                      <a:cubicBezTo>
                        <a:pt x="232" y="291"/>
                        <a:pt x="202" y="310"/>
                        <a:pt x="196" y="309"/>
                      </a:cubicBezTo>
                      <a:cubicBezTo>
                        <a:pt x="190" y="308"/>
                        <a:pt x="212" y="287"/>
                        <a:pt x="208" y="282"/>
                      </a:cubicBezTo>
                      <a:cubicBezTo>
                        <a:pt x="204" y="277"/>
                        <a:pt x="183" y="281"/>
                        <a:pt x="172" y="279"/>
                      </a:cubicBezTo>
                      <a:cubicBezTo>
                        <a:pt x="161" y="277"/>
                        <a:pt x="152" y="269"/>
                        <a:pt x="144" y="270"/>
                      </a:cubicBezTo>
                      <a:cubicBezTo>
                        <a:pt x="136" y="271"/>
                        <a:pt x="130" y="282"/>
                        <a:pt x="124" y="283"/>
                      </a:cubicBezTo>
                      <a:cubicBezTo>
                        <a:pt x="118" y="284"/>
                        <a:pt x="116" y="278"/>
                        <a:pt x="109" y="279"/>
                      </a:cubicBezTo>
                      <a:cubicBezTo>
                        <a:pt x="102" y="280"/>
                        <a:pt x="89" y="287"/>
                        <a:pt x="79" y="292"/>
                      </a:cubicBezTo>
                      <a:cubicBezTo>
                        <a:pt x="69" y="297"/>
                        <a:pt x="57" y="308"/>
                        <a:pt x="51" y="312"/>
                      </a:cubicBezTo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30" name="Freeform 235">
                  <a:extLst>
                    <a:ext uri="{FF2B5EF4-FFF2-40B4-BE49-F238E27FC236}">
                      <a16:creationId xmlns:a16="http://schemas.microsoft.com/office/drawing/2014/main" id="{BF2D7AB3-6C18-4945-8BCC-1C00A89B3CA5}"/>
                    </a:ext>
                  </a:extLst>
                </p:cNvPr>
                <p:cNvSpPr>
                  <a:spLocks/>
                </p:cNvSpPr>
                <p:nvPr>
                  <p:custDataLst>
                    <p:tags r:id="rId195"/>
                  </p:custDataLst>
                </p:nvPr>
              </p:nvSpPr>
              <p:spPr bwMode="gray">
                <a:xfrm>
                  <a:off x="3419" y="1864"/>
                  <a:ext cx="339" cy="308"/>
                </a:xfrm>
                <a:custGeom>
                  <a:avLst/>
                  <a:gdLst>
                    <a:gd name="T0" fmla="*/ 339 w 339"/>
                    <a:gd name="T1" fmla="*/ 0 h 308"/>
                    <a:gd name="T2" fmla="*/ 273 w 339"/>
                    <a:gd name="T3" fmla="*/ 23 h 308"/>
                    <a:gd name="T4" fmla="*/ 252 w 339"/>
                    <a:gd name="T5" fmla="*/ 31 h 308"/>
                    <a:gd name="T6" fmla="*/ 233 w 339"/>
                    <a:gd name="T7" fmla="*/ 34 h 308"/>
                    <a:gd name="T8" fmla="*/ 226 w 339"/>
                    <a:gd name="T9" fmla="*/ 55 h 308"/>
                    <a:gd name="T10" fmla="*/ 216 w 339"/>
                    <a:gd name="T11" fmla="*/ 74 h 308"/>
                    <a:gd name="T12" fmla="*/ 221 w 339"/>
                    <a:gd name="T13" fmla="*/ 92 h 308"/>
                    <a:gd name="T14" fmla="*/ 228 w 339"/>
                    <a:gd name="T15" fmla="*/ 103 h 308"/>
                    <a:gd name="T16" fmla="*/ 221 w 339"/>
                    <a:gd name="T17" fmla="*/ 112 h 308"/>
                    <a:gd name="T18" fmla="*/ 194 w 339"/>
                    <a:gd name="T19" fmla="*/ 109 h 308"/>
                    <a:gd name="T20" fmla="*/ 180 w 339"/>
                    <a:gd name="T21" fmla="*/ 101 h 308"/>
                    <a:gd name="T22" fmla="*/ 164 w 339"/>
                    <a:gd name="T23" fmla="*/ 100 h 308"/>
                    <a:gd name="T24" fmla="*/ 147 w 339"/>
                    <a:gd name="T25" fmla="*/ 110 h 308"/>
                    <a:gd name="T26" fmla="*/ 101 w 339"/>
                    <a:gd name="T27" fmla="*/ 86 h 308"/>
                    <a:gd name="T28" fmla="*/ 66 w 339"/>
                    <a:gd name="T29" fmla="*/ 88 h 308"/>
                    <a:gd name="T30" fmla="*/ 54 w 339"/>
                    <a:gd name="T31" fmla="*/ 97 h 308"/>
                    <a:gd name="T32" fmla="*/ 36 w 339"/>
                    <a:gd name="T33" fmla="*/ 116 h 308"/>
                    <a:gd name="T34" fmla="*/ 23 w 339"/>
                    <a:gd name="T35" fmla="*/ 118 h 308"/>
                    <a:gd name="T36" fmla="*/ 12 w 339"/>
                    <a:gd name="T37" fmla="*/ 142 h 308"/>
                    <a:gd name="T38" fmla="*/ 5 w 339"/>
                    <a:gd name="T39" fmla="*/ 155 h 308"/>
                    <a:gd name="T40" fmla="*/ 12 w 339"/>
                    <a:gd name="T41" fmla="*/ 173 h 308"/>
                    <a:gd name="T42" fmla="*/ 26 w 339"/>
                    <a:gd name="T43" fmla="*/ 181 h 308"/>
                    <a:gd name="T44" fmla="*/ 41 w 339"/>
                    <a:gd name="T45" fmla="*/ 202 h 308"/>
                    <a:gd name="T46" fmla="*/ 47 w 339"/>
                    <a:gd name="T47" fmla="*/ 211 h 308"/>
                    <a:gd name="T48" fmla="*/ 48 w 339"/>
                    <a:gd name="T49" fmla="*/ 206 h 308"/>
                    <a:gd name="T50" fmla="*/ 57 w 339"/>
                    <a:gd name="T51" fmla="*/ 200 h 308"/>
                    <a:gd name="T52" fmla="*/ 89 w 339"/>
                    <a:gd name="T53" fmla="*/ 197 h 308"/>
                    <a:gd name="T54" fmla="*/ 108 w 339"/>
                    <a:gd name="T55" fmla="*/ 211 h 308"/>
                    <a:gd name="T56" fmla="*/ 108 w 339"/>
                    <a:gd name="T57" fmla="*/ 221 h 308"/>
                    <a:gd name="T58" fmla="*/ 125 w 339"/>
                    <a:gd name="T59" fmla="*/ 227 h 308"/>
                    <a:gd name="T60" fmla="*/ 113 w 339"/>
                    <a:gd name="T61" fmla="*/ 247 h 308"/>
                    <a:gd name="T62" fmla="*/ 99 w 339"/>
                    <a:gd name="T63" fmla="*/ 233 h 308"/>
                    <a:gd name="T64" fmla="*/ 87 w 339"/>
                    <a:gd name="T65" fmla="*/ 238 h 308"/>
                    <a:gd name="T66" fmla="*/ 74 w 339"/>
                    <a:gd name="T67" fmla="*/ 248 h 308"/>
                    <a:gd name="T68" fmla="*/ 77 w 339"/>
                    <a:gd name="T69" fmla="*/ 265 h 308"/>
                    <a:gd name="T70" fmla="*/ 87 w 339"/>
                    <a:gd name="T71" fmla="*/ 279 h 308"/>
                    <a:gd name="T72" fmla="*/ 102 w 339"/>
                    <a:gd name="T73" fmla="*/ 295 h 308"/>
                    <a:gd name="T74" fmla="*/ 134 w 339"/>
                    <a:gd name="T75" fmla="*/ 293 h 308"/>
                    <a:gd name="T76" fmla="*/ 152 w 339"/>
                    <a:gd name="T77" fmla="*/ 302 h 308"/>
                    <a:gd name="T78" fmla="*/ 153 w 339"/>
                    <a:gd name="T79" fmla="*/ 242 h 308"/>
                    <a:gd name="T80" fmla="*/ 170 w 339"/>
                    <a:gd name="T81" fmla="*/ 235 h 308"/>
                    <a:gd name="T82" fmla="*/ 188 w 339"/>
                    <a:gd name="T83" fmla="*/ 226 h 308"/>
                    <a:gd name="T84" fmla="*/ 206 w 339"/>
                    <a:gd name="T85" fmla="*/ 230 h 308"/>
                    <a:gd name="T86" fmla="*/ 230 w 339"/>
                    <a:gd name="T87" fmla="*/ 253 h 308"/>
                    <a:gd name="T88" fmla="*/ 254 w 339"/>
                    <a:gd name="T89" fmla="*/ 269 h 308"/>
                    <a:gd name="T90" fmla="*/ 287 w 339"/>
                    <a:gd name="T91" fmla="*/ 269 h 308"/>
                    <a:gd name="T92" fmla="*/ 303 w 339"/>
                    <a:gd name="T93" fmla="*/ 287 h 308"/>
                    <a:gd name="T94" fmla="*/ 321 w 339"/>
                    <a:gd name="T95" fmla="*/ 308 h 3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39" h="308">
                      <a:moveTo>
                        <a:pt x="339" y="0"/>
                      </a:moveTo>
                      <a:cubicBezTo>
                        <a:pt x="328" y="3"/>
                        <a:pt x="287" y="18"/>
                        <a:pt x="273" y="23"/>
                      </a:cubicBezTo>
                      <a:cubicBezTo>
                        <a:pt x="262" y="26"/>
                        <a:pt x="259" y="29"/>
                        <a:pt x="252" y="31"/>
                      </a:cubicBezTo>
                      <a:cubicBezTo>
                        <a:pt x="245" y="33"/>
                        <a:pt x="237" y="30"/>
                        <a:pt x="233" y="34"/>
                      </a:cubicBezTo>
                      <a:cubicBezTo>
                        <a:pt x="225" y="39"/>
                        <a:pt x="229" y="48"/>
                        <a:pt x="226" y="55"/>
                      </a:cubicBezTo>
                      <a:cubicBezTo>
                        <a:pt x="223" y="62"/>
                        <a:pt x="217" y="68"/>
                        <a:pt x="216" y="74"/>
                      </a:cubicBezTo>
                      <a:cubicBezTo>
                        <a:pt x="211" y="82"/>
                        <a:pt x="216" y="85"/>
                        <a:pt x="221" y="92"/>
                      </a:cubicBezTo>
                      <a:cubicBezTo>
                        <a:pt x="223" y="101"/>
                        <a:pt x="226" y="94"/>
                        <a:pt x="228" y="103"/>
                      </a:cubicBezTo>
                      <a:cubicBezTo>
                        <a:pt x="227" y="105"/>
                        <a:pt x="225" y="112"/>
                        <a:pt x="221" y="112"/>
                      </a:cubicBezTo>
                      <a:cubicBezTo>
                        <a:pt x="212" y="112"/>
                        <a:pt x="194" y="109"/>
                        <a:pt x="194" y="109"/>
                      </a:cubicBezTo>
                      <a:cubicBezTo>
                        <a:pt x="189" y="107"/>
                        <a:pt x="185" y="104"/>
                        <a:pt x="180" y="101"/>
                      </a:cubicBezTo>
                      <a:cubicBezTo>
                        <a:pt x="175" y="100"/>
                        <a:pt x="169" y="99"/>
                        <a:pt x="164" y="100"/>
                      </a:cubicBezTo>
                      <a:cubicBezTo>
                        <a:pt x="159" y="101"/>
                        <a:pt x="157" y="112"/>
                        <a:pt x="147" y="110"/>
                      </a:cubicBezTo>
                      <a:cubicBezTo>
                        <a:pt x="133" y="108"/>
                        <a:pt x="114" y="90"/>
                        <a:pt x="101" y="86"/>
                      </a:cubicBezTo>
                      <a:cubicBezTo>
                        <a:pt x="88" y="82"/>
                        <a:pt x="74" y="86"/>
                        <a:pt x="66" y="88"/>
                      </a:cubicBezTo>
                      <a:cubicBezTo>
                        <a:pt x="62" y="93"/>
                        <a:pt x="59" y="94"/>
                        <a:pt x="54" y="97"/>
                      </a:cubicBezTo>
                      <a:cubicBezTo>
                        <a:pt x="53" y="105"/>
                        <a:pt x="43" y="112"/>
                        <a:pt x="36" y="116"/>
                      </a:cubicBezTo>
                      <a:cubicBezTo>
                        <a:pt x="35" y="127"/>
                        <a:pt x="32" y="122"/>
                        <a:pt x="23" y="118"/>
                      </a:cubicBezTo>
                      <a:cubicBezTo>
                        <a:pt x="17" y="112"/>
                        <a:pt x="18" y="136"/>
                        <a:pt x="12" y="142"/>
                      </a:cubicBezTo>
                      <a:cubicBezTo>
                        <a:pt x="11" y="149"/>
                        <a:pt x="10" y="151"/>
                        <a:pt x="5" y="155"/>
                      </a:cubicBezTo>
                      <a:cubicBezTo>
                        <a:pt x="0" y="164"/>
                        <a:pt x="2" y="172"/>
                        <a:pt x="12" y="173"/>
                      </a:cubicBezTo>
                      <a:cubicBezTo>
                        <a:pt x="17" y="175"/>
                        <a:pt x="21" y="178"/>
                        <a:pt x="26" y="181"/>
                      </a:cubicBezTo>
                      <a:cubicBezTo>
                        <a:pt x="32" y="189"/>
                        <a:pt x="31" y="198"/>
                        <a:pt x="41" y="202"/>
                      </a:cubicBezTo>
                      <a:cubicBezTo>
                        <a:pt x="41" y="204"/>
                        <a:pt x="41" y="213"/>
                        <a:pt x="47" y="211"/>
                      </a:cubicBezTo>
                      <a:cubicBezTo>
                        <a:pt x="49" y="210"/>
                        <a:pt x="47" y="207"/>
                        <a:pt x="48" y="206"/>
                      </a:cubicBezTo>
                      <a:cubicBezTo>
                        <a:pt x="50" y="203"/>
                        <a:pt x="54" y="201"/>
                        <a:pt x="57" y="200"/>
                      </a:cubicBezTo>
                      <a:cubicBezTo>
                        <a:pt x="67" y="196"/>
                        <a:pt x="78" y="198"/>
                        <a:pt x="89" y="197"/>
                      </a:cubicBezTo>
                      <a:cubicBezTo>
                        <a:pt x="103" y="195"/>
                        <a:pt x="102" y="200"/>
                        <a:pt x="108" y="211"/>
                      </a:cubicBezTo>
                      <a:cubicBezTo>
                        <a:pt x="113" y="214"/>
                        <a:pt x="105" y="218"/>
                        <a:pt x="108" y="221"/>
                      </a:cubicBezTo>
                      <a:cubicBezTo>
                        <a:pt x="111" y="224"/>
                        <a:pt x="124" y="223"/>
                        <a:pt x="125" y="227"/>
                      </a:cubicBezTo>
                      <a:cubicBezTo>
                        <a:pt x="123" y="236"/>
                        <a:pt x="121" y="243"/>
                        <a:pt x="113" y="247"/>
                      </a:cubicBezTo>
                      <a:cubicBezTo>
                        <a:pt x="106" y="243"/>
                        <a:pt x="108" y="236"/>
                        <a:pt x="99" y="233"/>
                      </a:cubicBezTo>
                      <a:cubicBezTo>
                        <a:pt x="78" y="238"/>
                        <a:pt x="95" y="228"/>
                        <a:pt x="87" y="238"/>
                      </a:cubicBezTo>
                      <a:cubicBezTo>
                        <a:pt x="85" y="241"/>
                        <a:pt x="74" y="248"/>
                        <a:pt x="74" y="248"/>
                      </a:cubicBezTo>
                      <a:cubicBezTo>
                        <a:pt x="70" y="255"/>
                        <a:pt x="66" y="263"/>
                        <a:pt x="77" y="265"/>
                      </a:cubicBezTo>
                      <a:cubicBezTo>
                        <a:pt x="79" y="270"/>
                        <a:pt x="83" y="274"/>
                        <a:pt x="87" y="279"/>
                      </a:cubicBezTo>
                      <a:cubicBezTo>
                        <a:pt x="91" y="284"/>
                        <a:pt x="94" y="293"/>
                        <a:pt x="102" y="295"/>
                      </a:cubicBezTo>
                      <a:cubicBezTo>
                        <a:pt x="113" y="290"/>
                        <a:pt x="120" y="292"/>
                        <a:pt x="134" y="293"/>
                      </a:cubicBezTo>
                      <a:cubicBezTo>
                        <a:pt x="140" y="296"/>
                        <a:pt x="146" y="298"/>
                        <a:pt x="152" y="302"/>
                      </a:cubicBezTo>
                      <a:cubicBezTo>
                        <a:pt x="156" y="293"/>
                        <a:pt x="150" y="253"/>
                        <a:pt x="153" y="242"/>
                      </a:cubicBezTo>
                      <a:cubicBezTo>
                        <a:pt x="156" y="231"/>
                        <a:pt x="164" y="238"/>
                        <a:pt x="170" y="235"/>
                      </a:cubicBezTo>
                      <a:cubicBezTo>
                        <a:pt x="176" y="231"/>
                        <a:pt x="181" y="227"/>
                        <a:pt x="188" y="226"/>
                      </a:cubicBezTo>
                      <a:cubicBezTo>
                        <a:pt x="194" y="227"/>
                        <a:pt x="200" y="229"/>
                        <a:pt x="206" y="230"/>
                      </a:cubicBezTo>
                      <a:cubicBezTo>
                        <a:pt x="217" y="238"/>
                        <a:pt x="214" y="250"/>
                        <a:pt x="230" y="253"/>
                      </a:cubicBezTo>
                      <a:cubicBezTo>
                        <a:pt x="238" y="258"/>
                        <a:pt x="245" y="267"/>
                        <a:pt x="254" y="269"/>
                      </a:cubicBezTo>
                      <a:cubicBezTo>
                        <a:pt x="263" y="272"/>
                        <a:pt x="279" y="266"/>
                        <a:pt x="287" y="269"/>
                      </a:cubicBezTo>
                      <a:cubicBezTo>
                        <a:pt x="295" y="274"/>
                        <a:pt x="295" y="282"/>
                        <a:pt x="303" y="287"/>
                      </a:cubicBezTo>
                      <a:cubicBezTo>
                        <a:pt x="304" y="300"/>
                        <a:pt x="310" y="301"/>
                        <a:pt x="321" y="308"/>
                      </a:cubicBezTo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</p:grpSp>
          <p:sp>
            <p:nvSpPr>
              <p:cNvPr id="377" name="Freeform 236">
                <a:extLst>
                  <a:ext uri="{FF2B5EF4-FFF2-40B4-BE49-F238E27FC236}">
                    <a16:creationId xmlns:a16="http://schemas.microsoft.com/office/drawing/2014/main" id="{3C2614A1-80A1-40D3-BA17-343DD7E0755E}"/>
                  </a:ext>
                </a:extLst>
              </p:cNvPr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gray">
              <a:xfrm>
                <a:off x="3895726" y="1398588"/>
                <a:ext cx="31750" cy="33338"/>
              </a:xfrm>
              <a:custGeom>
                <a:avLst/>
                <a:gdLst>
                  <a:gd name="T0" fmla="*/ 0 w 17"/>
                  <a:gd name="T1" fmla="*/ 0 h 18"/>
                  <a:gd name="T2" fmla="*/ 0 w 17"/>
                  <a:gd name="T3" fmla="*/ 17 h 18"/>
                  <a:gd name="T4" fmla="*/ 16 w 17"/>
                  <a:gd name="T5" fmla="*/ 17 h 18"/>
                  <a:gd name="T6" fmla="*/ 0 w 17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0"/>
                    </a:moveTo>
                    <a:lnTo>
                      <a:pt x="0" y="17"/>
                    </a:lnTo>
                    <a:lnTo>
                      <a:pt x="16" y="17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8" name="Freeform 237">
                <a:extLst>
                  <a:ext uri="{FF2B5EF4-FFF2-40B4-BE49-F238E27FC236}">
                    <a16:creationId xmlns:a16="http://schemas.microsoft.com/office/drawing/2014/main" id="{FCCC00A0-B15A-4F89-9F97-EA88A8D8E1B2}"/>
                  </a:ext>
                </a:extLst>
              </p:cNvPr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gray">
              <a:xfrm>
                <a:off x="3895726" y="1398588"/>
                <a:ext cx="31750" cy="33338"/>
              </a:xfrm>
              <a:custGeom>
                <a:avLst/>
                <a:gdLst>
                  <a:gd name="T0" fmla="*/ 0 w 17"/>
                  <a:gd name="T1" fmla="*/ 0 h 18"/>
                  <a:gd name="T2" fmla="*/ 0 w 17"/>
                  <a:gd name="T3" fmla="*/ 17 h 18"/>
                  <a:gd name="T4" fmla="*/ 16 w 17"/>
                  <a:gd name="T5" fmla="*/ 17 h 18"/>
                  <a:gd name="T6" fmla="*/ 0 w 17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0"/>
                    </a:moveTo>
                    <a:lnTo>
                      <a:pt x="0" y="17"/>
                    </a:lnTo>
                    <a:lnTo>
                      <a:pt x="16" y="17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9" name="Freeform 311">
                <a:extLst>
                  <a:ext uri="{FF2B5EF4-FFF2-40B4-BE49-F238E27FC236}">
                    <a16:creationId xmlns:a16="http://schemas.microsoft.com/office/drawing/2014/main" id="{737385A8-76CB-4294-87E4-E799FA11CD85}"/>
                  </a:ext>
                </a:extLst>
              </p:cNvPr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gray">
              <a:xfrm>
                <a:off x="3740151" y="2073276"/>
                <a:ext cx="273050" cy="179388"/>
              </a:xfrm>
              <a:custGeom>
                <a:avLst/>
                <a:gdLst>
                  <a:gd name="T0" fmla="*/ 32 w 169"/>
                  <a:gd name="T1" fmla="*/ 1 h 113"/>
                  <a:gd name="T2" fmla="*/ 50 w 169"/>
                  <a:gd name="T3" fmla="*/ 17 h 113"/>
                  <a:gd name="T4" fmla="*/ 60 w 169"/>
                  <a:gd name="T5" fmla="*/ 31 h 113"/>
                  <a:gd name="T6" fmla="*/ 72 w 169"/>
                  <a:gd name="T7" fmla="*/ 25 h 113"/>
                  <a:gd name="T8" fmla="*/ 114 w 169"/>
                  <a:gd name="T9" fmla="*/ 13 h 113"/>
                  <a:gd name="T10" fmla="*/ 152 w 169"/>
                  <a:gd name="T11" fmla="*/ 11 h 113"/>
                  <a:gd name="T12" fmla="*/ 148 w 169"/>
                  <a:gd name="T13" fmla="*/ 23 h 113"/>
                  <a:gd name="T14" fmla="*/ 166 w 169"/>
                  <a:gd name="T15" fmla="*/ 45 h 113"/>
                  <a:gd name="T16" fmla="*/ 158 w 169"/>
                  <a:gd name="T17" fmla="*/ 67 h 113"/>
                  <a:gd name="T18" fmla="*/ 134 w 169"/>
                  <a:gd name="T19" fmla="*/ 87 h 113"/>
                  <a:gd name="T20" fmla="*/ 116 w 169"/>
                  <a:gd name="T21" fmla="*/ 95 h 113"/>
                  <a:gd name="T22" fmla="*/ 112 w 169"/>
                  <a:gd name="T23" fmla="*/ 107 h 113"/>
                  <a:gd name="T24" fmla="*/ 94 w 169"/>
                  <a:gd name="T25" fmla="*/ 113 h 113"/>
                  <a:gd name="T26" fmla="*/ 54 w 169"/>
                  <a:gd name="T27" fmla="*/ 97 h 113"/>
                  <a:gd name="T28" fmla="*/ 24 w 169"/>
                  <a:gd name="T29" fmla="*/ 107 h 113"/>
                  <a:gd name="T30" fmla="*/ 38 w 169"/>
                  <a:gd name="T31" fmla="*/ 85 h 113"/>
                  <a:gd name="T32" fmla="*/ 16 w 169"/>
                  <a:gd name="T33" fmla="*/ 69 h 113"/>
                  <a:gd name="T34" fmla="*/ 2 w 169"/>
                  <a:gd name="T35" fmla="*/ 55 h 113"/>
                  <a:gd name="T36" fmla="*/ 26 w 169"/>
                  <a:gd name="T37" fmla="*/ 53 h 113"/>
                  <a:gd name="T38" fmla="*/ 24 w 169"/>
                  <a:gd name="T39" fmla="*/ 47 h 113"/>
                  <a:gd name="T40" fmla="*/ 0 w 169"/>
                  <a:gd name="T41" fmla="*/ 41 h 113"/>
                  <a:gd name="T42" fmla="*/ 4 w 169"/>
                  <a:gd name="T43" fmla="*/ 29 h 113"/>
                  <a:gd name="T44" fmla="*/ 16 w 169"/>
                  <a:gd name="T45" fmla="*/ 21 h 113"/>
                  <a:gd name="T46" fmla="*/ 28 w 169"/>
                  <a:gd name="T47" fmla="*/ 5 h 113"/>
                  <a:gd name="T48" fmla="*/ 32 w 169"/>
                  <a:gd name="T49" fmla="*/ 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9" h="113">
                    <a:moveTo>
                      <a:pt x="32" y="1"/>
                    </a:moveTo>
                    <a:cubicBezTo>
                      <a:pt x="35" y="6"/>
                      <a:pt x="45" y="15"/>
                      <a:pt x="50" y="17"/>
                    </a:cubicBezTo>
                    <a:cubicBezTo>
                      <a:pt x="53" y="45"/>
                      <a:pt x="50" y="43"/>
                      <a:pt x="60" y="31"/>
                    </a:cubicBezTo>
                    <a:cubicBezTo>
                      <a:pt x="63" y="27"/>
                      <a:pt x="68" y="26"/>
                      <a:pt x="72" y="25"/>
                    </a:cubicBezTo>
                    <a:cubicBezTo>
                      <a:pt x="81" y="11"/>
                      <a:pt x="99" y="14"/>
                      <a:pt x="114" y="13"/>
                    </a:cubicBezTo>
                    <a:cubicBezTo>
                      <a:pt x="126" y="5"/>
                      <a:pt x="131" y="0"/>
                      <a:pt x="152" y="11"/>
                    </a:cubicBezTo>
                    <a:cubicBezTo>
                      <a:pt x="156" y="13"/>
                      <a:pt x="148" y="23"/>
                      <a:pt x="148" y="23"/>
                    </a:cubicBezTo>
                    <a:cubicBezTo>
                      <a:pt x="157" y="29"/>
                      <a:pt x="158" y="37"/>
                      <a:pt x="166" y="45"/>
                    </a:cubicBezTo>
                    <a:cubicBezTo>
                      <a:pt x="169" y="54"/>
                      <a:pt x="168" y="64"/>
                      <a:pt x="158" y="67"/>
                    </a:cubicBezTo>
                    <a:cubicBezTo>
                      <a:pt x="147" y="84"/>
                      <a:pt x="161" y="84"/>
                      <a:pt x="134" y="87"/>
                    </a:cubicBezTo>
                    <a:cubicBezTo>
                      <a:pt x="127" y="89"/>
                      <a:pt x="123" y="93"/>
                      <a:pt x="116" y="95"/>
                    </a:cubicBezTo>
                    <a:cubicBezTo>
                      <a:pt x="115" y="99"/>
                      <a:pt x="113" y="103"/>
                      <a:pt x="112" y="107"/>
                    </a:cubicBezTo>
                    <a:cubicBezTo>
                      <a:pt x="110" y="113"/>
                      <a:pt x="94" y="113"/>
                      <a:pt x="94" y="113"/>
                    </a:cubicBezTo>
                    <a:cubicBezTo>
                      <a:pt x="77" y="111"/>
                      <a:pt x="69" y="102"/>
                      <a:pt x="54" y="97"/>
                    </a:cubicBezTo>
                    <a:cubicBezTo>
                      <a:pt x="26" y="100"/>
                      <a:pt x="41" y="101"/>
                      <a:pt x="24" y="107"/>
                    </a:cubicBezTo>
                    <a:cubicBezTo>
                      <a:pt x="21" y="98"/>
                      <a:pt x="32" y="93"/>
                      <a:pt x="38" y="85"/>
                    </a:cubicBezTo>
                    <a:cubicBezTo>
                      <a:pt x="28" y="79"/>
                      <a:pt x="29" y="72"/>
                      <a:pt x="16" y="69"/>
                    </a:cubicBezTo>
                    <a:cubicBezTo>
                      <a:pt x="9" y="64"/>
                      <a:pt x="9" y="60"/>
                      <a:pt x="2" y="55"/>
                    </a:cubicBezTo>
                    <a:cubicBezTo>
                      <a:pt x="10" y="54"/>
                      <a:pt x="18" y="56"/>
                      <a:pt x="26" y="53"/>
                    </a:cubicBezTo>
                    <a:cubicBezTo>
                      <a:pt x="28" y="52"/>
                      <a:pt x="26" y="48"/>
                      <a:pt x="24" y="47"/>
                    </a:cubicBezTo>
                    <a:cubicBezTo>
                      <a:pt x="17" y="43"/>
                      <a:pt x="0" y="41"/>
                      <a:pt x="0" y="41"/>
                    </a:cubicBezTo>
                    <a:cubicBezTo>
                      <a:pt x="1" y="37"/>
                      <a:pt x="0" y="31"/>
                      <a:pt x="4" y="29"/>
                    </a:cubicBezTo>
                    <a:cubicBezTo>
                      <a:pt x="8" y="26"/>
                      <a:pt x="16" y="21"/>
                      <a:pt x="16" y="21"/>
                    </a:cubicBezTo>
                    <a:cubicBezTo>
                      <a:pt x="19" y="13"/>
                      <a:pt x="21" y="10"/>
                      <a:pt x="28" y="5"/>
                    </a:cubicBezTo>
                    <a:cubicBezTo>
                      <a:pt x="38" y="8"/>
                      <a:pt x="38" y="9"/>
                      <a:pt x="32" y="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0" name="Freeform 312">
                <a:extLst>
                  <a:ext uri="{FF2B5EF4-FFF2-40B4-BE49-F238E27FC236}">
                    <a16:creationId xmlns:a16="http://schemas.microsoft.com/office/drawing/2014/main" id="{6248024C-268E-425E-8BF1-D99AD7CC4DAC}"/>
                  </a:ext>
                </a:extLst>
              </p:cNvPr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gray">
              <a:xfrm>
                <a:off x="2681288" y="1274763"/>
                <a:ext cx="1211263" cy="1139825"/>
              </a:xfrm>
              <a:custGeom>
                <a:avLst/>
                <a:gdLst>
                  <a:gd name="T0" fmla="*/ 188 w 763"/>
                  <a:gd name="T1" fmla="*/ 119 h 718"/>
                  <a:gd name="T2" fmla="*/ 209 w 763"/>
                  <a:gd name="T3" fmla="*/ 172 h 718"/>
                  <a:gd name="T4" fmla="*/ 210 w 763"/>
                  <a:gd name="T5" fmla="*/ 248 h 718"/>
                  <a:gd name="T6" fmla="*/ 228 w 763"/>
                  <a:gd name="T7" fmla="*/ 287 h 718"/>
                  <a:gd name="T8" fmla="*/ 248 w 763"/>
                  <a:gd name="T9" fmla="*/ 299 h 718"/>
                  <a:gd name="T10" fmla="*/ 276 w 763"/>
                  <a:gd name="T11" fmla="*/ 324 h 718"/>
                  <a:gd name="T12" fmla="*/ 222 w 763"/>
                  <a:gd name="T13" fmla="*/ 332 h 718"/>
                  <a:gd name="T14" fmla="*/ 238 w 763"/>
                  <a:gd name="T15" fmla="*/ 380 h 718"/>
                  <a:gd name="T16" fmla="*/ 276 w 763"/>
                  <a:gd name="T17" fmla="*/ 354 h 718"/>
                  <a:gd name="T18" fmla="*/ 276 w 763"/>
                  <a:gd name="T19" fmla="*/ 410 h 718"/>
                  <a:gd name="T20" fmla="*/ 237 w 763"/>
                  <a:gd name="T21" fmla="*/ 427 h 718"/>
                  <a:gd name="T22" fmla="*/ 256 w 763"/>
                  <a:gd name="T23" fmla="*/ 525 h 718"/>
                  <a:gd name="T24" fmla="*/ 303 w 763"/>
                  <a:gd name="T25" fmla="*/ 669 h 718"/>
                  <a:gd name="T26" fmla="*/ 353 w 763"/>
                  <a:gd name="T27" fmla="*/ 690 h 718"/>
                  <a:gd name="T28" fmla="*/ 392 w 763"/>
                  <a:gd name="T29" fmla="*/ 707 h 718"/>
                  <a:gd name="T30" fmla="*/ 411 w 763"/>
                  <a:gd name="T31" fmla="*/ 629 h 718"/>
                  <a:gd name="T32" fmla="*/ 440 w 763"/>
                  <a:gd name="T33" fmla="*/ 559 h 718"/>
                  <a:gd name="T34" fmla="*/ 442 w 763"/>
                  <a:gd name="T35" fmla="*/ 542 h 718"/>
                  <a:gd name="T36" fmla="*/ 486 w 763"/>
                  <a:gd name="T37" fmla="*/ 525 h 718"/>
                  <a:gd name="T38" fmla="*/ 591 w 763"/>
                  <a:gd name="T39" fmla="*/ 429 h 718"/>
                  <a:gd name="T40" fmla="*/ 698 w 763"/>
                  <a:gd name="T41" fmla="*/ 361 h 718"/>
                  <a:gd name="T42" fmla="*/ 672 w 763"/>
                  <a:gd name="T43" fmla="*/ 337 h 718"/>
                  <a:gd name="T44" fmla="*/ 670 w 763"/>
                  <a:gd name="T45" fmla="*/ 315 h 718"/>
                  <a:gd name="T46" fmla="*/ 679 w 763"/>
                  <a:gd name="T47" fmla="*/ 284 h 718"/>
                  <a:gd name="T48" fmla="*/ 697 w 763"/>
                  <a:gd name="T49" fmla="*/ 337 h 718"/>
                  <a:gd name="T50" fmla="*/ 722 w 763"/>
                  <a:gd name="T51" fmla="*/ 283 h 718"/>
                  <a:gd name="T52" fmla="*/ 720 w 763"/>
                  <a:gd name="T53" fmla="*/ 248 h 718"/>
                  <a:gd name="T54" fmla="*/ 698 w 763"/>
                  <a:gd name="T55" fmla="*/ 200 h 718"/>
                  <a:gd name="T56" fmla="*/ 737 w 763"/>
                  <a:gd name="T57" fmla="*/ 159 h 718"/>
                  <a:gd name="T58" fmla="*/ 756 w 763"/>
                  <a:gd name="T59" fmla="*/ 143 h 718"/>
                  <a:gd name="T60" fmla="*/ 746 w 763"/>
                  <a:gd name="T61" fmla="*/ 112 h 718"/>
                  <a:gd name="T62" fmla="*/ 751 w 763"/>
                  <a:gd name="T63" fmla="*/ 65 h 718"/>
                  <a:gd name="T64" fmla="*/ 727 w 763"/>
                  <a:gd name="T65" fmla="*/ 19 h 718"/>
                  <a:gd name="T66" fmla="*/ 4 w 763"/>
                  <a:gd name="T67" fmla="*/ 0 h 718"/>
                  <a:gd name="T68" fmla="*/ 4 w 763"/>
                  <a:gd name="T69" fmla="*/ 33 h 718"/>
                  <a:gd name="T70" fmla="*/ 57 w 763"/>
                  <a:gd name="T71" fmla="*/ 30 h 718"/>
                  <a:gd name="T72" fmla="*/ 172 w 763"/>
                  <a:gd name="T73" fmla="*/ 61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3" h="718">
                    <a:moveTo>
                      <a:pt x="172" y="71"/>
                    </a:moveTo>
                    <a:lnTo>
                      <a:pt x="188" y="119"/>
                    </a:lnTo>
                    <a:lnTo>
                      <a:pt x="191" y="150"/>
                    </a:lnTo>
                    <a:lnTo>
                      <a:pt x="209" y="172"/>
                    </a:lnTo>
                    <a:lnTo>
                      <a:pt x="203" y="230"/>
                    </a:lnTo>
                    <a:lnTo>
                      <a:pt x="210" y="248"/>
                    </a:lnTo>
                    <a:lnTo>
                      <a:pt x="210" y="290"/>
                    </a:lnTo>
                    <a:lnTo>
                      <a:pt x="228" y="287"/>
                    </a:lnTo>
                    <a:lnTo>
                      <a:pt x="237" y="265"/>
                    </a:lnTo>
                    <a:lnTo>
                      <a:pt x="248" y="299"/>
                    </a:lnTo>
                    <a:lnTo>
                      <a:pt x="266" y="305"/>
                    </a:lnTo>
                    <a:lnTo>
                      <a:pt x="276" y="324"/>
                    </a:lnTo>
                    <a:lnTo>
                      <a:pt x="231" y="314"/>
                    </a:lnTo>
                    <a:lnTo>
                      <a:pt x="222" y="332"/>
                    </a:lnTo>
                    <a:lnTo>
                      <a:pt x="220" y="361"/>
                    </a:lnTo>
                    <a:lnTo>
                      <a:pt x="238" y="380"/>
                    </a:lnTo>
                    <a:lnTo>
                      <a:pt x="257" y="373"/>
                    </a:lnTo>
                    <a:lnTo>
                      <a:pt x="276" y="354"/>
                    </a:lnTo>
                    <a:lnTo>
                      <a:pt x="287" y="380"/>
                    </a:lnTo>
                    <a:lnTo>
                      <a:pt x="276" y="410"/>
                    </a:lnTo>
                    <a:lnTo>
                      <a:pt x="260" y="410"/>
                    </a:lnTo>
                    <a:lnTo>
                      <a:pt x="237" y="427"/>
                    </a:lnTo>
                    <a:lnTo>
                      <a:pt x="238" y="510"/>
                    </a:lnTo>
                    <a:lnTo>
                      <a:pt x="256" y="525"/>
                    </a:lnTo>
                    <a:lnTo>
                      <a:pt x="268" y="575"/>
                    </a:lnTo>
                    <a:lnTo>
                      <a:pt x="303" y="669"/>
                    </a:lnTo>
                    <a:lnTo>
                      <a:pt x="324" y="690"/>
                    </a:lnTo>
                    <a:lnTo>
                      <a:pt x="353" y="690"/>
                    </a:lnTo>
                    <a:lnTo>
                      <a:pt x="381" y="718"/>
                    </a:lnTo>
                    <a:lnTo>
                      <a:pt x="392" y="707"/>
                    </a:lnTo>
                    <a:lnTo>
                      <a:pt x="411" y="646"/>
                    </a:lnTo>
                    <a:lnTo>
                      <a:pt x="411" y="629"/>
                    </a:lnTo>
                    <a:lnTo>
                      <a:pt x="430" y="603"/>
                    </a:lnTo>
                    <a:lnTo>
                      <a:pt x="440" y="559"/>
                    </a:lnTo>
                    <a:lnTo>
                      <a:pt x="430" y="545"/>
                    </a:lnTo>
                    <a:lnTo>
                      <a:pt x="442" y="542"/>
                    </a:lnTo>
                    <a:lnTo>
                      <a:pt x="446" y="523"/>
                    </a:lnTo>
                    <a:lnTo>
                      <a:pt x="486" y="525"/>
                    </a:lnTo>
                    <a:lnTo>
                      <a:pt x="574" y="427"/>
                    </a:lnTo>
                    <a:lnTo>
                      <a:pt x="591" y="429"/>
                    </a:lnTo>
                    <a:lnTo>
                      <a:pt x="635" y="408"/>
                    </a:lnTo>
                    <a:lnTo>
                      <a:pt x="698" y="361"/>
                    </a:lnTo>
                    <a:lnTo>
                      <a:pt x="709" y="343"/>
                    </a:lnTo>
                    <a:lnTo>
                      <a:pt x="672" y="337"/>
                    </a:lnTo>
                    <a:lnTo>
                      <a:pt x="647" y="343"/>
                    </a:lnTo>
                    <a:lnTo>
                      <a:pt x="670" y="315"/>
                    </a:lnTo>
                    <a:lnTo>
                      <a:pt x="661" y="293"/>
                    </a:lnTo>
                    <a:lnTo>
                      <a:pt x="679" y="284"/>
                    </a:lnTo>
                    <a:lnTo>
                      <a:pt x="688" y="326"/>
                    </a:lnTo>
                    <a:lnTo>
                      <a:pt x="697" y="337"/>
                    </a:lnTo>
                    <a:lnTo>
                      <a:pt x="720" y="326"/>
                    </a:lnTo>
                    <a:lnTo>
                      <a:pt x="722" y="283"/>
                    </a:lnTo>
                    <a:lnTo>
                      <a:pt x="678" y="230"/>
                    </a:lnTo>
                    <a:lnTo>
                      <a:pt x="720" y="248"/>
                    </a:lnTo>
                    <a:lnTo>
                      <a:pt x="720" y="208"/>
                    </a:lnTo>
                    <a:lnTo>
                      <a:pt x="698" y="200"/>
                    </a:lnTo>
                    <a:lnTo>
                      <a:pt x="737" y="178"/>
                    </a:lnTo>
                    <a:lnTo>
                      <a:pt x="737" y="159"/>
                    </a:lnTo>
                    <a:lnTo>
                      <a:pt x="726" y="152"/>
                    </a:lnTo>
                    <a:lnTo>
                      <a:pt x="756" y="143"/>
                    </a:lnTo>
                    <a:lnTo>
                      <a:pt x="763" y="115"/>
                    </a:lnTo>
                    <a:lnTo>
                      <a:pt x="746" y="112"/>
                    </a:lnTo>
                    <a:lnTo>
                      <a:pt x="757" y="87"/>
                    </a:lnTo>
                    <a:lnTo>
                      <a:pt x="751" y="65"/>
                    </a:lnTo>
                    <a:lnTo>
                      <a:pt x="747" y="33"/>
                    </a:lnTo>
                    <a:lnTo>
                      <a:pt x="727" y="19"/>
                    </a:lnTo>
                    <a:lnTo>
                      <a:pt x="727" y="3"/>
                    </a:lnTo>
                    <a:lnTo>
                      <a:pt x="4" y="0"/>
                    </a:lnTo>
                    <a:lnTo>
                      <a:pt x="0" y="15"/>
                    </a:lnTo>
                    <a:lnTo>
                      <a:pt x="4" y="33"/>
                    </a:lnTo>
                    <a:lnTo>
                      <a:pt x="49" y="42"/>
                    </a:lnTo>
                    <a:lnTo>
                      <a:pt x="57" y="30"/>
                    </a:lnTo>
                    <a:lnTo>
                      <a:pt x="118" y="34"/>
                    </a:lnTo>
                    <a:lnTo>
                      <a:pt x="172" y="61"/>
                    </a:lnTo>
                    <a:lnTo>
                      <a:pt x="172" y="7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1" name="Freeform 320">
                <a:extLst>
                  <a:ext uri="{FF2B5EF4-FFF2-40B4-BE49-F238E27FC236}">
                    <a16:creationId xmlns:a16="http://schemas.microsoft.com/office/drawing/2014/main" id="{F6EE662A-156E-4367-985F-F3EB270393D9}"/>
                  </a:ext>
                </a:extLst>
              </p:cNvPr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gray">
              <a:xfrm>
                <a:off x="4113213" y="3079750"/>
                <a:ext cx="79375" cy="171450"/>
              </a:xfrm>
              <a:custGeom>
                <a:avLst/>
                <a:gdLst>
                  <a:gd name="T0" fmla="*/ 9 w 50"/>
                  <a:gd name="T1" fmla="*/ 0 h 111"/>
                  <a:gd name="T2" fmla="*/ 25 w 50"/>
                  <a:gd name="T3" fmla="*/ 17 h 111"/>
                  <a:gd name="T4" fmla="*/ 46 w 50"/>
                  <a:gd name="T5" fmla="*/ 20 h 111"/>
                  <a:gd name="T6" fmla="*/ 46 w 50"/>
                  <a:gd name="T7" fmla="*/ 33 h 111"/>
                  <a:gd name="T8" fmla="*/ 40 w 50"/>
                  <a:gd name="T9" fmla="*/ 47 h 111"/>
                  <a:gd name="T10" fmla="*/ 28 w 50"/>
                  <a:gd name="T11" fmla="*/ 111 h 111"/>
                  <a:gd name="T12" fmla="*/ 4 w 50"/>
                  <a:gd name="T13" fmla="*/ 86 h 111"/>
                  <a:gd name="T14" fmla="*/ 9 w 50"/>
                  <a:gd name="T15" fmla="*/ 63 h 111"/>
                  <a:gd name="T16" fmla="*/ 7 w 50"/>
                  <a:gd name="T17" fmla="*/ 12 h 111"/>
                  <a:gd name="T18" fmla="*/ 9 w 50"/>
                  <a:gd name="T1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111">
                    <a:moveTo>
                      <a:pt x="9" y="0"/>
                    </a:moveTo>
                    <a:cubicBezTo>
                      <a:pt x="12" y="1"/>
                      <a:pt x="19" y="14"/>
                      <a:pt x="25" y="17"/>
                    </a:cubicBezTo>
                    <a:cubicBezTo>
                      <a:pt x="31" y="20"/>
                      <a:pt x="42" y="17"/>
                      <a:pt x="46" y="20"/>
                    </a:cubicBezTo>
                    <a:cubicBezTo>
                      <a:pt x="50" y="25"/>
                      <a:pt x="49" y="27"/>
                      <a:pt x="46" y="33"/>
                    </a:cubicBezTo>
                    <a:cubicBezTo>
                      <a:pt x="45" y="39"/>
                      <a:pt x="43" y="42"/>
                      <a:pt x="40" y="47"/>
                    </a:cubicBezTo>
                    <a:cubicBezTo>
                      <a:pt x="38" y="68"/>
                      <a:pt x="41" y="93"/>
                      <a:pt x="28" y="111"/>
                    </a:cubicBezTo>
                    <a:cubicBezTo>
                      <a:pt x="3" y="109"/>
                      <a:pt x="16" y="103"/>
                      <a:pt x="4" y="86"/>
                    </a:cubicBezTo>
                    <a:cubicBezTo>
                      <a:pt x="2" y="77"/>
                      <a:pt x="0" y="68"/>
                      <a:pt x="9" y="63"/>
                    </a:cubicBezTo>
                    <a:cubicBezTo>
                      <a:pt x="10" y="41"/>
                      <a:pt x="15" y="31"/>
                      <a:pt x="7" y="12"/>
                    </a:cubicBezTo>
                    <a:cubicBezTo>
                      <a:pt x="8" y="8"/>
                      <a:pt x="9" y="0"/>
                      <a:pt x="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2" name="Freeform 331">
                <a:extLst>
                  <a:ext uri="{FF2B5EF4-FFF2-40B4-BE49-F238E27FC236}">
                    <a16:creationId xmlns:a16="http://schemas.microsoft.com/office/drawing/2014/main" id="{73D7F6A0-412E-4FC5-9839-FF3FF36B19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64376" y="4445423"/>
                <a:ext cx="929381" cy="826665"/>
              </a:xfrm>
              <a:custGeom>
                <a:avLst/>
                <a:gdLst/>
                <a:ahLst/>
                <a:cxnLst/>
                <a:rect l="l" t="t" r="r" b="b"/>
                <a:pathLst>
                  <a:path w="929381" h="826665">
                    <a:moveTo>
                      <a:pt x="693000" y="752264"/>
                    </a:moveTo>
                    <a:cubicBezTo>
                      <a:pt x="698193" y="754675"/>
                      <a:pt x="703711" y="759498"/>
                      <a:pt x="709229" y="760531"/>
                    </a:cubicBezTo>
                    <a:cubicBezTo>
                      <a:pt x="711826" y="761909"/>
                      <a:pt x="717993" y="762598"/>
                      <a:pt x="717993" y="762598"/>
                    </a:cubicBezTo>
                    <a:cubicBezTo>
                      <a:pt x="721239" y="764320"/>
                      <a:pt x="725459" y="763975"/>
                      <a:pt x="729029" y="764664"/>
                    </a:cubicBezTo>
                    <a:cubicBezTo>
                      <a:pt x="734547" y="767075"/>
                      <a:pt x="739741" y="765353"/>
                      <a:pt x="746233" y="765353"/>
                    </a:cubicBezTo>
                    <a:cubicBezTo>
                      <a:pt x="747856" y="764320"/>
                      <a:pt x="749154" y="763631"/>
                      <a:pt x="751102" y="763287"/>
                    </a:cubicBezTo>
                    <a:cubicBezTo>
                      <a:pt x="753049" y="761564"/>
                      <a:pt x="756295" y="759842"/>
                      <a:pt x="758892" y="759153"/>
                    </a:cubicBezTo>
                    <a:cubicBezTo>
                      <a:pt x="762138" y="757431"/>
                      <a:pt x="766033" y="758120"/>
                      <a:pt x="769603" y="758464"/>
                    </a:cubicBezTo>
                    <a:cubicBezTo>
                      <a:pt x="770577" y="763287"/>
                      <a:pt x="771226" y="768109"/>
                      <a:pt x="768954" y="772931"/>
                    </a:cubicBezTo>
                    <a:cubicBezTo>
                      <a:pt x="768305" y="776720"/>
                      <a:pt x="768305" y="780509"/>
                      <a:pt x="767007" y="783954"/>
                    </a:cubicBezTo>
                    <a:cubicBezTo>
                      <a:pt x="766682" y="786709"/>
                      <a:pt x="765059" y="788776"/>
                      <a:pt x="763111" y="790498"/>
                    </a:cubicBezTo>
                    <a:cubicBezTo>
                      <a:pt x="761813" y="792909"/>
                      <a:pt x="761489" y="795320"/>
                      <a:pt x="760190" y="797731"/>
                    </a:cubicBezTo>
                    <a:cubicBezTo>
                      <a:pt x="759866" y="799798"/>
                      <a:pt x="758892" y="800832"/>
                      <a:pt x="758243" y="802554"/>
                    </a:cubicBezTo>
                    <a:cubicBezTo>
                      <a:pt x="757593" y="805654"/>
                      <a:pt x="758892" y="809443"/>
                      <a:pt x="755321" y="810132"/>
                    </a:cubicBezTo>
                    <a:cubicBezTo>
                      <a:pt x="752238" y="811337"/>
                      <a:pt x="750777" y="810993"/>
                      <a:pt x="745584" y="811854"/>
                    </a:cubicBezTo>
                    <a:lnTo>
                      <a:pt x="740390" y="815987"/>
                    </a:lnTo>
                    <a:cubicBezTo>
                      <a:pt x="739416" y="817021"/>
                      <a:pt x="739416" y="816676"/>
                      <a:pt x="737793" y="818054"/>
                    </a:cubicBezTo>
                    <a:cubicBezTo>
                      <a:pt x="736170" y="819432"/>
                      <a:pt x="735521" y="822187"/>
                      <a:pt x="733574" y="823565"/>
                    </a:cubicBezTo>
                    <a:cubicBezTo>
                      <a:pt x="732600" y="825632"/>
                      <a:pt x="732275" y="826321"/>
                      <a:pt x="730003" y="826665"/>
                    </a:cubicBezTo>
                    <a:cubicBezTo>
                      <a:pt x="719292" y="826321"/>
                      <a:pt x="720915" y="826665"/>
                      <a:pt x="714423" y="822532"/>
                    </a:cubicBezTo>
                    <a:cubicBezTo>
                      <a:pt x="712800" y="820121"/>
                      <a:pt x="711826" y="818743"/>
                      <a:pt x="709554" y="817365"/>
                    </a:cubicBezTo>
                    <a:cubicBezTo>
                      <a:pt x="707931" y="814954"/>
                      <a:pt x="707606" y="813576"/>
                      <a:pt x="704685" y="812887"/>
                    </a:cubicBezTo>
                    <a:cubicBezTo>
                      <a:pt x="702088" y="810821"/>
                      <a:pt x="699167" y="806343"/>
                      <a:pt x="697869" y="802898"/>
                    </a:cubicBezTo>
                    <a:cubicBezTo>
                      <a:pt x="697544" y="799454"/>
                      <a:pt x="696570" y="794976"/>
                      <a:pt x="700465" y="794287"/>
                    </a:cubicBezTo>
                    <a:cubicBezTo>
                      <a:pt x="702413" y="793254"/>
                      <a:pt x="701764" y="792220"/>
                      <a:pt x="700790" y="790154"/>
                    </a:cubicBezTo>
                    <a:cubicBezTo>
                      <a:pt x="700465" y="787742"/>
                      <a:pt x="699167" y="785676"/>
                      <a:pt x="697544" y="783954"/>
                    </a:cubicBezTo>
                    <a:cubicBezTo>
                      <a:pt x="696570" y="781542"/>
                      <a:pt x="695272" y="779820"/>
                      <a:pt x="693974" y="777753"/>
                    </a:cubicBezTo>
                    <a:cubicBezTo>
                      <a:pt x="693649" y="775342"/>
                      <a:pt x="693000" y="774998"/>
                      <a:pt x="691052" y="773964"/>
                    </a:cubicBezTo>
                    <a:cubicBezTo>
                      <a:pt x="690728" y="771553"/>
                      <a:pt x="690403" y="770864"/>
                      <a:pt x="688780" y="769487"/>
                    </a:cubicBezTo>
                    <a:cubicBezTo>
                      <a:pt x="687806" y="767075"/>
                      <a:pt x="687482" y="764664"/>
                      <a:pt x="687157" y="762253"/>
                    </a:cubicBezTo>
                    <a:cubicBezTo>
                      <a:pt x="687806" y="758464"/>
                      <a:pt x="687157" y="756053"/>
                      <a:pt x="689754" y="753986"/>
                    </a:cubicBezTo>
                    <a:cubicBezTo>
                      <a:pt x="691052" y="751575"/>
                      <a:pt x="690079" y="752264"/>
                      <a:pt x="693000" y="752264"/>
                    </a:cubicBezTo>
                    <a:close/>
                    <a:moveTo>
                      <a:pt x="0" y="395067"/>
                    </a:moveTo>
                    <a:cubicBezTo>
                      <a:pt x="1288" y="397374"/>
                      <a:pt x="2497" y="399746"/>
                      <a:pt x="3037" y="402446"/>
                    </a:cubicBezTo>
                    <a:cubicBezTo>
                      <a:pt x="891" y="400845"/>
                      <a:pt x="184" y="395849"/>
                      <a:pt x="0" y="395067"/>
                    </a:cubicBezTo>
                    <a:close/>
                    <a:moveTo>
                      <a:pt x="681395" y="757"/>
                    </a:moveTo>
                    <a:cubicBezTo>
                      <a:pt x="682613" y="-1224"/>
                      <a:pt x="686183" y="671"/>
                      <a:pt x="694623" y="6526"/>
                    </a:cubicBezTo>
                    <a:cubicBezTo>
                      <a:pt x="698193" y="12382"/>
                      <a:pt x="697869" y="15826"/>
                      <a:pt x="704036" y="18237"/>
                    </a:cubicBezTo>
                    <a:cubicBezTo>
                      <a:pt x="705984" y="38216"/>
                      <a:pt x="704036" y="29604"/>
                      <a:pt x="708905" y="44760"/>
                    </a:cubicBezTo>
                    <a:cubicBezTo>
                      <a:pt x="710528" y="49582"/>
                      <a:pt x="713449" y="59572"/>
                      <a:pt x="713449" y="59572"/>
                    </a:cubicBezTo>
                    <a:cubicBezTo>
                      <a:pt x="715072" y="70938"/>
                      <a:pt x="713774" y="91606"/>
                      <a:pt x="725784" y="96083"/>
                    </a:cubicBezTo>
                    <a:cubicBezTo>
                      <a:pt x="736820" y="91950"/>
                      <a:pt x="731951" y="88161"/>
                      <a:pt x="740065" y="90917"/>
                    </a:cubicBezTo>
                    <a:cubicBezTo>
                      <a:pt x="743636" y="97117"/>
                      <a:pt x="747206" y="96428"/>
                      <a:pt x="750777" y="102628"/>
                    </a:cubicBezTo>
                    <a:cubicBezTo>
                      <a:pt x="751426" y="108484"/>
                      <a:pt x="751426" y="114684"/>
                      <a:pt x="752400" y="120539"/>
                    </a:cubicBezTo>
                    <a:cubicBezTo>
                      <a:pt x="753049" y="123984"/>
                      <a:pt x="755646" y="130529"/>
                      <a:pt x="755646" y="130529"/>
                    </a:cubicBezTo>
                    <a:cubicBezTo>
                      <a:pt x="756295" y="136384"/>
                      <a:pt x="758892" y="146718"/>
                      <a:pt x="760839" y="152573"/>
                    </a:cubicBezTo>
                    <a:cubicBezTo>
                      <a:pt x="762787" y="158429"/>
                      <a:pt x="766357" y="162907"/>
                      <a:pt x="767980" y="167040"/>
                    </a:cubicBezTo>
                    <a:cubicBezTo>
                      <a:pt x="768954" y="170485"/>
                      <a:pt x="771226" y="173585"/>
                      <a:pt x="771226" y="177029"/>
                    </a:cubicBezTo>
                    <a:cubicBezTo>
                      <a:pt x="771551" y="187363"/>
                      <a:pt x="770577" y="198041"/>
                      <a:pt x="772524" y="208374"/>
                    </a:cubicBezTo>
                    <a:cubicBezTo>
                      <a:pt x="772849" y="210441"/>
                      <a:pt x="775770" y="210441"/>
                      <a:pt x="777393" y="211475"/>
                    </a:cubicBezTo>
                    <a:cubicBezTo>
                      <a:pt x="784859" y="216641"/>
                      <a:pt x="792649" y="218708"/>
                      <a:pt x="800764" y="221464"/>
                    </a:cubicBezTo>
                    <a:cubicBezTo>
                      <a:pt x="803685" y="223875"/>
                      <a:pt x="807580" y="225253"/>
                      <a:pt x="810177" y="228008"/>
                    </a:cubicBezTo>
                    <a:lnTo>
                      <a:pt x="813098" y="233132"/>
                    </a:lnTo>
                    <a:cubicBezTo>
                      <a:pt x="812855" y="233433"/>
                      <a:pt x="812936" y="233175"/>
                      <a:pt x="817967" y="234897"/>
                    </a:cubicBezTo>
                    <a:cubicBezTo>
                      <a:pt x="821538" y="240753"/>
                      <a:pt x="824134" y="242820"/>
                      <a:pt x="830302" y="244542"/>
                    </a:cubicBezTo>
                    <a:cubicBezTo>
                      <a:pt x="837118" y="249709"/>
                      <a:pt x="834521" y="251431"/>
                      <a:pt x="830302" y="257975"/>
                    </a:cubicBezTo>
                    <a:cubicBezTo>
                      <a:pt x="834846" y="262798"/>
                      <a:pt x="837442" y="267620"/>
                      <a:pt x="842636" y="271065"/>
                    </a:cubicBezTo>
                    <a:cubicBezTo>
                      <a:pt x="843610" y="282087"/>
                      <a:pt x="840364" y="293798"/>
                      <a:pt x="850426" y="297587"/>
                    </a:cubicBezTo>
                    <a:cubicBezTo>
                      <a:pt x="859190" y="294487"/>
                      <a:pt x="862761" y="299999"/>
                      <a:pt x="870875" y="302410"/>
                    </a:cubicBezTo>
                    <a:cubicBezTo>
                      <a:pt x="875744" y="305165"/>
                      <a:pt x="869901" y="315499"/>
                      <a:pt x="876718" y="325488"/>
                    </a:cubicBezTo>
                    <a:cubicBezTo>
                      <a:pt x="883534" y="335477"/>
                      <a:pt x="904957" y="354422"/>
                      <a:pt x="911449" y="362000"/>
                    </a:cubicBezTo>
                    <a:cubicBezTo>
                      <a:pt x="917616" y="369233"/>
                      <a:pt x="912423" y="360966"/>
                      <a:pt x="915020" y="370955"/>
                    </a:cubicBezTo>
                    <a:cubicBezTo>
                      <a:pt x="917941" y="370267"/>
                      <a:pt x="928328" y="356488"/>
                      <a:pt x="929301" y="358211"/>
                    </a:cubicBezTo>
                    <a:cubicBezTo>
                      <a:pt x="930275" y="359933"/>
                      <a:pt x="922160" y="371300"/>
                      <a:pt x="920538" y="381289"/>
                    </a:cubicBezTo>
                    <a:cubicBezTo>
                      <a:pt x="918915" y="391278"/>
                      <a:pt x="918590" y="406089"/>
                      <a:pt x="919564" y="417456"/>
                    </a:cubicBezTo>
                    <a:cubicBezTo>
                      <a:pt x="920538" y="428823"/>
                      <a:pt x="926380" y="437090"/>
                      <a:pt x="925406" y="450179"/>
                    </a:cubicBezTo>
                    <a:cubicBezTo>
                      <a:pt x="924108" y="463268"/>
                      <a:pt x="914046" y="483247"/>
                      <a:pt x="912747" y="495991"/>
                    </a:cubicBezTo>
                    <a:cubicBezTo>
                      <a:pt x="908528" y="509425"/>
                      <a:pt x="903983" y="523547"/>
                      <a:pt x="900413" y="530781"/>
                    </a:cubicBezTo>
                    <a:cubicBezTo>
                      <a:pt x="897816" y="534225"/>
                      <a:pt x="893921" y="535948"/>
                      <a:pt x="891000" y="539048"/>
                    </a:cubicBezTo>
                    <a:cubicBezTo>
                      <a:pt x="888728" y="545592"/>
                      <a:pt x="890675" y="551103"/>
                      <a:pt x="884833" y="553515"/>
                    </a:cubicBezTo>
                    <a:cubicBezTo>
                      <a:pt x="880613" y="560059"/>
                      <a:pt x="871849" y="562126"/>
                      <a:pt x="867629" y="568670"/>
                    </a:cubicBezTo>
                    <a:cubicBezTo>
                      <a:pt x="865357" y="576248"/>
                      <a:pt x="863734" y="576248"/>
                      <a:pt x="857242" y="578660"/>
                    </a:cubicBezTo>
                    <a:cubicBezTo>
                      <a:pt x="854321" y="582104"/>
                      <a:pt x="854970" y="587271"/>
                      <a:pt x="852698" y="592093"/>
                    </a:cubicBezTo>
                    <a:cubicBezTo>
                      <a:pt x="850426" y="596915"/>
                      <a:pt x="847505" y="601738"/>
                      <a:pt x="844259" y="606905"/>
                    </a:cubicBezTo>
                    <a:cubicBezTo>
                      <a:pt x="841987" y="614138"/>
                      <a:pt x="841013" y="620683"/>
                      <a:pt x="833547" y="623438"/>
                    </a:cubicBezTo>
                    <a:cubicBezTo>
                      <a:pt x="830626" y="627572"/>
                      <a:pt x="828354" y="623094"/>
                      <a:pt x="825757" y="631705"/>
                    </a:cubicBezTo>
                    <a:cubicBezTo>
                      <a:pt x="823810" y="639627"/>
                      <a:pt x="823161" y="667528"/>
                      <a:pt x="817967" y="676139"/>
                    </a:cubicBezTo>
                    <a:cubicBezTo>
                      <a:pt x="816020" y="684062"/>
                      <a:pt x="798167" y="683717"/>
                      <a:pt x="794597" y="684406"/>
                    </a:cubicBezTo>
                    <a:cubicBezTo>
                      <a:pt x="787131" y="686817"/>
                      <a:pt x="777069" y="684062"/>
                      <a:pt x="769603" y="686817"/>
                    </a:cubicBezTo>
                    <a:cubicBezTo>
                      <a:pt x="762138" y="689573"/>
                      <a:pt x="755321" y="697151"/>
                      <a:pt x="749154" y="700940"/>
                    </a:cubicBezTo>
                    <a:cubicBezTo>
                      <a:pt x="741688" y="706451"/>
                      <a:pt x="742662" y="707140"/>
                      <a:pt x="732924" y="710584"/>
                    </a:cubicBezTo>
                    <a:cubicBezTo>
                      <a:pt x="727731" y="710929"/>
                      <a:pt x="722862" y="706106"/>
                      <a:pt x="717993" y="702662"/>
                    </a:cubicBezTo>
                    <a:lnTo>
                      <a:pt x="710406" y="693921"/>
                    </a:lnTo>
                    <a:cubicBezTo>
                      <a:pt x="709310" y="692759"/>
                      <a:pt x="708418" y="692328"/>
                      <a:pt x="704036" y="689573"/>
                    </a:cubicBezTo>
                    <a:cubicBezTo>
                      <a:pt x="698031" y="691360"/>
                      <a:pt x="704360" y="689487"/>
                      <a:pt x="694623" y="694395"/>
                    </a:cubicBezTo>
                    <a:cubicBezTo>
                      <a:pt x="688131" y="697495"/>
                      <a:pt x="672550" y="706795"/>
                      <a:pt x="665085" y="707484"/>
                    </a:cubicBezTo>
                    <a:cubicBezTo>
                      <a:pt x="655347" y="705418"/>
                      <a:pt x="660540" y="707484"/>
                      <a:pt x="649504" y="699217"/>
                    </a:cubicBezTo>
                    <a:cubicBezTo>
                      <a:pt x="639442" y="696117"/>
                      <a:pt x="646583" y="697840"/>
                      <a:pt x="627757" y="696117"/>
                    </a:cubicBezTo>
                    <a:cubicBezTo>
                      <a:pt x="621914" y="691640"/>
                      <a:pt x="615747" y="690262"/>
                      <a:pt x="608931" y="687851"/>
                    </a:cubicBezTo>
                    <a:cubicBezTo>
                      <a:pt x="602439" y="683028"/>
                      <a:pt x="600816" y="675106"/>
                      <a:pt x="593350" y="673039"/>
                    </a:cubicBezTo>
                    <a:lnTo>
                      <a:pt x="590683" y="668637"/>
                    </a:lnTo>
                    <a:cubicBezTo>
                      <a:pt x="589496" y="666602"/>
                      <a:pt x="592052" y="669509"/>
                      <a:pt x="592052" y="657883"/>
                    </a:cubicBezTo>
                    <a:cubicBezTo>
                      <a:pt x="592052" y="646516"/>
                      <a:pt x="582963" y="633772"/>
                      <a:pt x="573226" y="629983"/>
                    </a:cubicBezTo>
                    <a:cubicBezTo>
                      <a:pt x="572252" y="628260"/>
                      <a:pt x="571927" y="625505"/>
                      <a:pt x="569980" y="624816"/>
                    </a:cubicBezTo>
                    <a:cubicBezTo>
                      <a:pt x="566085" y="623094"/>
                      <a:pt x="561216" y="630672"/>
                      <a:pt x="557645" y="628260"/>
                    </a:cubicBezTo>
                    <a:cubicBezTo>
                      <a:pt x="555049" y="626538"/>
                      <a:pt x="561865" y="617583"/>
                      <a:pt x="565436" y="615171"/>
                    </a:cubicBezTo>
                    <a:cubicBezTo>
                      <a:pt x="564137" y="606905"/>
                      <a:pt x="561865" y="602771"/>
                      <a:pt x="559268" y="595193"/>
                    </a:cubicBezTo>
                    <a:cubicBezTo>
                      <a:pt x="558295" y="596915"/>
                      <a:pt x="557321" y="598638"/>
                      <a:pt x="556022" y="600015"/>
                    </a:cubicBezTo>
                    <a:cubicBezTo>
                      <a:pt x="554724" y="601049"/>
                      <a:pt x="552452" y="600360"/>
                      <a:pt x="551478" y="601738"/>
                    </a:cubicBezTo>
                    <a:cubicBezTo>
                      <a:pt x="544013" y="610005"/>
                      <a:pt x="556347" y="604838"/>
                      <a:pt x="545311" y="608282"/>
                    </a:cubicBezTo>
                    <a:lnTo>
                      <a:pt x="543688" y="616549"/>
                    </a:lnTo>
                    <a:lnTo>
                      <a:pt x="532693" y="617927"/>
                    </a:lnTo>
                    <a:cubicBezTo>
                      <a:pt x="530948" y="616377"/>
                      <a:pt x="530542" y="613277"/>
                      <a:pt x="529731" y="610005"/>
                    </a:cubicBezTo>
                    <a:cubicBezTo>
                      <a:pt x="534275" y="608282"/>
                      <a:pt x="541091" y="611382"/>
                      <a:pt x="543688" y="606905"/>
                    </a:cubicBezTo>
                    <a:cubicBezTo>
                      <a:pt x="546934" y="603804"/>
                      <a:pt x="543039" y="599327"/>
                      <a:pt x="545636" y="591749"/>
                    </a:cubicBezTo>
                    <a:cubicBezTo>
                      <a:pt x="547259" y="586582"/>
                      <a:pt x="552127" y="581071"/>
                      <a:pt x="554400" y="576248"/>
                    </a:cubicBezTo>
                    <a:lnTo>
                      <a:pt x="559268" y="562126"/>
                    </a:lnTo>
                    <a:lnTo>
                      <a:pt x="556469" y="552352"/>
                    </a:lnTo>
                    <a:cubicBezTo>
                      <a:pt x="555860" y="551706"/>
                      <a:pt x="554887" y="553515"/>
                      <a:pt x="551478" y="557304"/>
                    </a:cubicBezTo>
                    <a:lnTo>
                      <a:pt x="548800" y="566044"/>
                    </a:lnTo>
                    <a:cubicBezTo>
                      <a:pt x="548232" y="567206"/>
                      <a:pt x="547259" y="567637"/>
                      <a:pt x="543688" y="570393"/>
                    </a:cubicBezTo>
                    <a:cubicBezTo>
                      <a:pt x="541091" y="577626"/>
                      <a:pt x="538495" y="576937"/>
                      <a:pt x="532652" y="580382"/>
                    </a:cubicBezTo>
                    <a:cubicBezTo>
                      <a:pt x="529406" y="582448"/>
                      <a:pt x="523239" y="586926"/>
                      <a:pt x="523239" y="586926"/>
                    </a:cubicBezTo>
                    <a:cubicBezTo>
                      <a:pt x="516422" y="597604"/>
                      <a:pt x="518045" y="596915"/>
                      <a:pt x="507659" y="600015"/>
                    </a:cubicBezTo>
                    <a:cubicBezTo>
                      <a:pt x="503114" y="608282"/>
                      <a:pt x="500193" y="608627"/>
                      <a:pt x="493701" y="601738"/>
                    </a:cubicBezTo>
                    <a:cubicBezTo>
                      <a:pt x="490780" y="587615"/>
                      <a:pt x="490780" y="572115"/>
                      <a:pt x="476498" y="566948"/>
                    </a:cubicBezTo>
                    <a:cubicBezTo>
                      <a:pt x="471304" y="561437"/>
                      <a:pt x="468059" y="559715"/>
                      <a:pt x="470331" y="552137"/>
                    </a:cubicBezTo>
                    <a:cubicBezTo>
                      <a:pt x="466760" y="541803"/>
                      <a:pt x="470655" y="548348"/>
                      <a:pt x="453127" y="545592"/>
                    </a:cubicBezTo>
                    <a:cubicBezTo>
                      <a:pt x="447934" y="543870"/>
                      <a:pt x="445013" y="538703"/>
                      <a:pt x="439819" y="537325"/>
                    </a:cubicBezTo>
                    <a:cubicBezTo>
                      <a:pt x="434626" y="535948"/>
                      <a:pt x="426836" y="539392"/>
                      <a:pt x="421967" y="537325"/>
                    </a:cubicBezTo>
                    <a:cubicBezTo>
                      <a:pt x="419045" y="532503"/>
                      <a:pt x="409632" y="525614"/>
                      <a:pt x="409632" y="525614"/>
                    </a:cubicBezTo>
                    <a:cubicBezTo>
                      <a:pt x="390482" y="526303"/>
                      <a:pt x="369708" y="521136"/>
                      <a:pt x="351855" y="529059"/>
                    </a:cubicBezTo>
                    <a:cubicBezTo>
                      <a:pt x="348609" y="530436"/>
                      <a:pt x="346337" y="534225"/>
                      <a:pt x="342767" y="535603"/>
                    </a:cubicBezTo>
                    <a:cubicBezTo>
                      <a:pt x="339521" y="536636"/>
                      <a:pt x="336600" y="538014"/>
                      <a:pt x="333354" y="539048"/>
                    </a:cubicBezTo>
                    <a:cubicBezTo>
                      <a:pt x="320046" y="543870"/>
                      <a:pt x="291157" y="545592"/>
                      <a:pt x="291157" y="545592"/>
                    </a:cubicBezTo>
                    <a:cubicBezTo>
                      <a:pt x="283367" y="548348"/>
                      <a:pt x="273954" y="550415"/>
                      <a:pt x="267462" y="555926"/>
                    </a:cubicBezTo>
                    <a:cubicBezTo>
                      <a:pt x="259347" y="560059"/>
                      <a:pt x="249934" y="558337"/>
                      <a:pt x="243767" y="563159"/>
                    </a:cubicBezTo>
                    <a:cubicBezTo>
                      <a:pt x="242469" y="565226"/>
                      <a:pt x="234029" y="583137"/>
                      <a:pt x="230459" y="585204"/>
                    </a:cubicBezTo>
                    <a:cubicBezTo>
                      <a:pt x="214878" y="588993"/>
                      <a:pt x="167813" y="583137"/>
                      <a:pt x="149311" y="585204"/>
                    </a:cubicBezTo>
                    <a:cubicBezTo>
                      <a:pt x="132757" y="585893"/>
                      <a:pt x="136003" y="596227"/>
                      <a:pt x="131134" y="598293"/>
                    </a:cubicBezTo>
                    <a:cubicBezTo>
                      <a:pt x="126265" y="600360"/>
                      <a:pt x="124967" y="596227"/>
                      <a:pt x="119773" y="598638"/>
                    </a:cubicBezTo>
                    <a:cubicBezTo>
                      <a:pt x="114255" y="599671"/>
                      <a:pt x="109062" y="611038"/>
                      <a:pt x="99649" y="613449"/>
                    </a:cubicBezTo>
                    <a:cubicBezTo>
                      <a:pt x="90236" y="615860"/>
                      <a:pt x="72059" y="614827"/>
                      <a:pt x="63619" y="613449"/>
                    </a:cubicBezTo>
                    <a:cubicBezTo>
                      <a:pt x="53233" y="605871"/>
                      <a:pt x="58101" y="608282"/>
                      <a:pt x="49662" y="605182"/>
                    </a:cubicBezTo>
                    <a:cubicBezTo>
                      <a:pt x="45442" y="597604"/>
                      <a:pt x="42521" y="596915"/>
                      <a:pt x="34082" y="595193"/>
                    </a:cubicBezTo>
                    <a:cubicBezTo>
                      <a:pt x="33108" y="592093"/>
                      <a:pt x="28564" y="583482"/>
                      <a:pt x="32459" y="580382"/>
                    </a:cubicBezTo>
                    <a:cubicBezTo>
                      <a:pt x="36678" y="577282"/>
                      <a:pt x="42196" y="576593"/>
                      <a:pt x="46741" y="573837"/>
                    </a:cubicBezTo>
                    <a:lnTo>
                      <a:pt x="51285" y="563848"/>
                    </a:lnTo>
                    <a:cubicBezTo>
                      <a:pt x="50960" y="560404"/>
                      <a:pt x="48039" y="553859"/>
                      <a:pt x="48039" y="553859"/>
                    </a:cubicBezTo>
                    <a:cubicBezTo>
                      <a:pt x="50960" y="545592"/>
                      <a:pt x="52583" y="537325"/>
                      <a:pt x="49662" y="529059"/>
                    </a:cubicBezTo>
                    <a:cubicBezTo>
                      <a:pt x="47390" y="522514"/>
                      <a:pt x="45118" y="519069"/>
                      <a:pt x="40249" y="514247"/>
                    </a:cubicBezTo>
                    <a:cubicBezTo>
                      <a:pt x="39275" y="510803"/>
                      <a:pt x="36678" y="507703"/>
                      <a:pt x="35705" y="504258"/>
                    </a:cubicBezTo>
                    <a:cubicBezTo>
                      <a:pt x="32783" y="491169"/>
                      <a:pt x="35055" y="477391"/>
                      <a:pt x="31160" y="464646"/>
                    </a:cubicBezTo>
                    <a:cubicBezTo>
                      <a:pt x="28888" y="456724"/>
                      <a:pt x="22721" y="452246"/>
                      <a:pt x="20124" y="444668"/>
                    </a:cubicBezTo>
                    <a:cubicBezTo>
                      <a:pt x="17852" y="437435"/>
                      <a:pt x="16554" y="431234"/>
                      <a:pt x="12334" y="425034"/>
                    </a:cubicBezTo>
                    <a:lnTo>
                      <a:pt x="3037" y="402446"/>
                    </a:lnTo>
                    <a:cubicBezTo>
                      <a:pt x="4102" y="404212"/>
                      <a:pt x="6140" y="403876"/>
                      <a:pt x="9088" y="398512"/>
                    </a:cubicBezTo>
                    <a:cubicBezTo>
                      <a:pt x="10711" y="395756"/>
                      <a:pt x="8115" y="391967"/>
                      <a:pt x="7790" y="388522"/>
                    </a:cubicBezTo>
                    <a:cubicBezTo>
                      <a:pt x="11584" y="383571"/>
                      <a:pt x="12497" y="393000"/>
                      <a:pt x="13957" y="395067"/>
                    </a:cubicBezTo>
                    <a:cubicBezTo>
                      <a:pt x="14931" y="396445"/>
                      <a:pt x="16878" y="396100"/>
                      <a:pt x="18501" y="396789"/>
                    </a:cubicBezTo>
                    <a:cubicBezTo>
                      <a:pt x="28888" y="393000"/>
                      <a:pt x="23370" y="382667"/>
                      <a:pt x="18501" y="375433"/>
                    </a:cubicBezTo>
                    <a:cubicBezTo>
                      <a:pt x="16229" y="368544"/>
                      <a:pt x="13308" y="369233"/>
                      <a:pt x="7790" y="365444"/>
                    </a:cubicBezTo>
                    <a:cubicBezTo>
                      <a:pt x="7141" y="363722"/>
                      <a:pt x="6492" y="362000"/>
                      <a:pt x="6167" y="360277"/>
                    </a:cubicBezTo>
                    <a:cubicBezTo>
                      <a:pt x="5518" y="358211"/>
                      <a:pt x="5193" y="355800"/>
                      <a:pt x="4544" y="353733"/>
                    </a:cubicBezTo>
                    <a:cubicBezTo>
                      <a:pt x="3570" y="350288"/>
                      <a:pt x="1298" y="343744"/>
                      <a:pt x="1298" y="343744"/>
                    </a:cubicBezTo>
                    <a:cubicBezTo>
                      <a:pt x="2596" y="333066"/>
                      <a:pt x="5842" y="329277"/>
                      <a:pt x="11036" y="321010"/>
                    </a:cubicBezTo>
                    <a:cubicBezTo>
                      <a:pt x="13957" y="309988"/>
                      <a:pt x="8764" y="285187"/>
                      <a:pt x="20124" y="281054"/>
                    </a:cubicBezTo>
                    <a:cubicBezTo>
                      <a:pt x="17528" y="289665"/>
                      <a:pt x="12334" y="297243"/>
                      <a:pt x="23370" y="301032"/>
                    </a:cubicBezTo>
                    <a:cubicBezTo>
                      <a:pt x="29537" y="290009"/>
                      <a:pt x="33757" y="284154"/>
                      <a:pt x="44469" y="276576"/>
                    </a:cubicBezTo>
                    <a:cubicBezTo>
                      <a:pt x="49662" y="271065"/>
                      <a:pt x="51285" y="270376"/>
                      <a:pt x="54531" y="267965"/>
                    </a:cubicBezTo>
                    <a:cubicBezTo>
                      <a:pt x="57777" y="265898"/>
                      <a:pt x="63619" y="261076"/>
                      <a:pt x="63619" y="261076"/>
                    </a:cubicBezTo>
                    <a:cubicBezTo>
                      <a:pt x="65892" y="254531"/>
                      <a:pt x="70436" y="255564"/>
                      <a:pt x="76603" y="253842"/>
                    </a:cubicBezTo>
                    <a:cubicBezTo>
                      <a:pt x="83744" y="248331"/>
                      <a:pt x="88288" y="248331"/>
                      <a:pt x="96403" y="251431"/>
                    </a:cubicBezTo>
                    <a:cubicBezTo>
                      <a:pt x="99973" y="250742"/>
                      <a:pt x="103869" y="250742"/>
                      <a:pt x="107439" y="249709"/>
                    </a:cubicBezTo>
                    <a:cubicBezTo>
                      <a:pt x="109062" y="249020"/>
                      <a:pt x="110685" y="247642"/>
                      <a:pt x="111983" y="246264"/>
                    </a:cubicBezTo>
                    <a:cubicBezTo>
                      <a:pt x="113282" y="244886"/>
                      <a:pt x="113606" y="242131"/>
                      <a:pt x="115229" y="241442"/>
                    </a:cubicBezTo>
                    <a:cubicBezTo>
                      <a:pt x="120098" y="239720"/>
                      <a:pt x="125616" y="240408"/>
                      <a:pt x="130810" y="239720"/>
                    </a:cubicBezTo>
                    <a:cubicBezTo>
                      <a:pt x="136003" y="238342"/>
                      <a:pt x="140223" y="236275"/>
                      <a:pt x="146714" y="235242"/>
                    </a:cubicBezTo>
                    <a:cubicBezTo>
                      <a:pt x="153206" y="234208"/>
                      <a:pt x="163269" y="235242"/>
                      <a:pt x="169760" y="233175"/>
                    </a:cubicBezTo>
                    <a:cubicBezTo>
                      <a:pt x="178849" y="230419"/>
                      <a:pt x="181121" y="226975"/>
                      <a:pt x="185341" y="223186"/>
                    </a:cubicBezTo>
                    <a:cubicBezTo>
                      <a:pt x="190534" y="219397"/>
                      <a:pt x="192482" y="216297"/>
                      <a:pt x="194754" y="210097"/>
                    </a:cubicBezTo>
                    <a:cubicBezTo>
                      <a:pt x="198324" y="206308"/>
                      <a:pt x="198973" y="198730"/>
                      <a:pt x="202219" y="195285"/>
                    </a:cubicBezTo>
                    <a:cubicBezTo>
                      <a:pt x="205465" y="191841"/>
                      <a:pt x="213580" y="194596"/>
                      <a:pt x="214878" y="190119"/>
                    </a:cubicBezTo>
                    <a:cubicBezTo>
                      <a:pt x="216501" y="186330"/>
                      <a:pt x="209360" y="172896"/>
                      <a:pt x="210659" y="167385"/>
                    </a:cubicBezTo>
                    <a:cubicBezTo>
                      <a:pt x="211957" y="161874"/>
                      <a:pt x="218773" y="158429"/>
                      <a:pt x="222669" y="157051"/>
                    </a:cubicBezTo>
                    <a:lnTo>
                      <a:pt x="228389" y="147751"/>
                    </a:lnTo>
                    <a:cubicBezTo>
                      <a:pt x="230378" y="148354"/>
                      <a:pt x="232406" y="152229"/>
                      <a:pt x="234354" y="158085"/>
                    </a:cubicBezTo>
                    <a:cubicBezTo>
                      <a:pt x="235977" y="162907"/>
                      <a:pt x="240521" y="170485"/>
                      <a:pt x="242144" y="175307"/>
                    </a:cubicBezTo>
                    <a:cubicBezTo>
                      <a:pt x="244741" y="177718"/>
                      <a:pt x="244741" y="173240"/>
                      <a:pt x="246039" y="171174"/>
                    </a:cubicBezTo>
                    <a:cubicBezTo>
                      <a:pt x="247337" y="169107"/>
                      <a:pt x="249934" y="167040"/>
                      <a:pt x="249285" y="163596"/>
                    </a:cubicBezTo>
                    <a:cubicBezTo>
                      <a:pt x="254478" y="154985"/>
                      <a:pt x="249609" y="154985"/>
                      <a:pt x="242793" y="150507"/>
                    </a:cubicBezTo>
                    <a:lnTo>
                      <a:pt x="244391" y="143935"/>
                    </a:lnTo>
                    <a:cubicBezTo>
                      <a:pt x="245471" y="141142"/>
                      <a:pt x="246688" y="147407"/>
                      <a:pt x="263242" y="142240"/>
                    </a:cubicBezTo>
                    <a:cubicBezTo>
                      <a:pt x="268111" y="140862"/>
                      <a:pt x="269409" y="127428"/>
                      <a:pt x="269409" y="127428"/>
                    </a:cubicBezTo>
                    <a:lnTo>
                      <a:pt x="266164" y="122262"/>
                    </a:lnTo>
                    <a:cubicBezTo>
                      <a:pt x="267787" y="119851"/>
                      <a:pt x="271357" y="121573"/>
                      <a:pt x="273954" y="120539"/>
                    </a:cubicBezTo>
                    <a:cubicBezTo>
                      <a:pt x="275577" y="119851"/>
                      <a:pt x="277200" y="118473"/>
                      <a:pt x="278823" y="117439"/>
                    </a:cubicBezTo>
                    <a:cubicBezTo>
                      <a:pt x="280121" y="116750"/>
                      <a:pt x="281744" y="116406"/>
                      <a:pt x="283367" y="115717"/>
                    </a:cubicBezTo>
                    <a:cubicBezTo>
                      <a:pt x="284665" y="111584"/>
                      <a:pt x="284341" y="106417"/>
                      <a:pt x="286613" y="102628"/>
                    </a:cubicBezTo>
                    <a:cubicBezTo>
                      <a:pt x="288560" y="99528"/>
                      <a:pt x="293105" y="99528"/>
                      <a:pt x="296026" y="97461"/>
                    </a:cubicBezTo>
                    <a:cubicBezTo>
                      <a:pt x="298298" y="88850"/>
                      <a:pt x="304465" y="88505"/>
                      <a:pt x="311606" y="86094"/>
                    </a:cubicBezTo>
                    <a:cubicBezTo>
                      <a:pt x="314528" y="85061"/>
                      <a:pt x="320695" y="82650"/>
                      <a:pt x="320695" y="82650"/>
                    </a:cubicBezTo>
                    <a:cubicBezTo>
                      <a:pt x="325564" y="75416"/>
                      <a:pt x="324265" y="79894"/>
                      <a:pt x="331406" y="82650"/>
                    </a:cubicBezTo>
                    <a:cubicBezTo>
                      <a:pt x="339196" y="94361"/>
                      <a:pt x="351531" y="101250"/>
                      <a:pt x="364514" y="105728"/>
                    </a:cubicBezTo>
                    <a:cubicBezTo>
                      <a:pt x="372305" y="109517"/>
                      <a:pt x="381068" y="108828"/>
                      <a:pt x="384314" y="106072"/>
                    </a:cubicBezTo>
                    <a:cubicBezTo>
                      <a:pt x="387236" y="104350"/>
                      <a:pt x="382042" y="97806"/>
                      <a:pt x="382042" y="95050"/>
                    </a:cubicBezTo>
                    <a:cubicBezTo>
                      <a:pt x="382042" y="92294"/>
                      <a:pt x="383341" y="90917"/>
                      <a:pt x="384639" y="89194"/>
                    </a:cubicBezTo>
                    <a:cubicBezTo>
                      <a:pt x="385937" y="85750"/>
                      <a:pt x="385937" y="87472"/>
                      <a:pt x="389183" y="84372"/>
                    </a:cubicBezTo>
                    <a:lnTo>
                      <a:pt x="393727" y="73350"/>
                    </a:lnTo>
                    <a:cubicBezTo>
                      <a:pt x="396000" y="71283"/>
                      <a:pt x="401518" y="73350"/>
                      <a:pt x="403465" y="70938"/>
                    </a:cubicBezTo>
                    <a:lnTo>
                      <a:pt x="398840" y="61035"/>
                    </a:lnTo>
                    <a:cubicBezTo>
                      <a:pt x="398272" y="59658"/>
                      <a:pt x="399732" y="59399"/>
                      <a:pt x="406386" y="57849"/>
                    </a:cubicBezTo>
                    <a:cubicBezTo>
                      <a:pt x="409632" y="52683"/>
                      <a:pt x="415800" y="44760"/>
                      <a:pt x="420668" y="43038"/>
                    </a:cubicBezTo>
                    <a:cubicBezTo>
                      <a:pt x="422941" y="39249"/>
                      <a:pt x="422616" y="37182"/>
                      <a:pt x="427809" y="37871"/>
                    </a:cubicBezTo>
                    <a:lnTo>
                      <a:pt x="435600" y="42005"/>
                    </a:lnTo>
                    <a:cubicBezTo>
                      <a:pt x="442416" y="41316"/>
                      <a:pt x="453777" y="41316"/>
                      <a:pt x="459619" y="37871"/>
                    </a:cubicBezTo>
                    <a:cubicBezTo>
                      <a:pt x="462216" y="36149"/>
                      <a:pt x="460268" y="30638"/>
                      <a:pt x="457996" y="28227"/>
                    </a:cubicBezTo>
                    <a:cubicBezTo>
                      <a:pt x="455724" y="25815"/>
                      <a:pt x="451829" y="27193"/>
                      <a:pt x="448583" y="26504"/>
                    </a:cubicBezTo>
                    <a:lnTo>
                      <a:pt x="441630" y="20170"/>
                    </a:lnTo>
                    <a:cubicBezTo>
                      <a:pt x="438784" y="15762"/>
                      <a:pt x="447122" y="16343"/>
                      <a:pt x="456373" y="14793"/>
                    </a:cubicBezTo>
                    <a:cubicBezTo>
                      <a:pt x="461242" y="15826"/>
                      <a:pt x="467085" y="14793"/>
                      <a:pt x="470331" y="18237"/>
                    </a:cubicBezTo>
                    <a:cubicBezTo>
                      <a:pt x="472786" y="24179"/>
                      <a:pt x="466517" y="21079"/>
                      <a:pt x="476498" y="26504"/>
                    </a:cubicBezTo>
                    <a:cubicBezTo>
                      <a:pt x="481691" y="28571"/>
                      <a:pt x="489482" y="35804"/>
                      <a:pt x="498895" y="36838"/>
                    </a:cubicBezTo>
                    <a:cubicBezTo>
                      <a:pt x="506360" y="38905"/>
                      <a:pt x="515124" y="40627"/>
                      <a:pt x="520642" y="39938"/>
                    </a:cubicBezTo>
                    <a:cubicBezTo>
                      <a:pt x="526160" y="39249"/>
                      <a:pt x="529082" y="33738"/>
                      <a:pt x="532652" y="33049"/>
                    </a:cubicBezTo>
                    <a:cubicBezTo>
                      <a:pt x="536223" y="31671"/>
                      <a:pt x="537845" y="35460"/>
                      <a:pt x="541741" y="35804"/>
                    </a:cubicBezTo>
                    <a:cubicBezTo>
                      <a:pt x="545636" y="36149"/>
                      <a:pt x="554075" y="32360"/>
                      <a:pt x="556022" y="34771"/>
                    </a:cubicBezTo>
                    <a:cubicBezTo>
                      <a:pt x="559918" y="37527"/>
                      <a:pt x="555049" y="44760"/>
                      <a:pt x="554400" y="49582"/>
                    </a:cubicBezTo>
                    <a:cubicBezTo>
                      <a:pt x="553101" y="57849"/>
                      <a:pt x="551478" y="64738"/>
                      <a:pt x="545311" y="69561"/>
                    </a:cubicBezTo>
                    <a:lnTo>
                      <a:pt x="546822" y="76428"/>
                    </a:lnTo>
                    <a:cubicBezTo>
                      <a:pt x="548253" y="80045"/>
                      <a:pt x="549774" y="76105"/>
                      <a:pt x="554400" y="84372"/>
                    </a:cubicBezTo>
                    <a:cubicBezTo>
                      <a:pt x="554075" y="87817"/>
                      <a:pt x="555373" y="91950"/>
                      <a:pt x="553101" y="94361"/>
                    </a:cubicBezTo>
                    <a:cubicBezTo>
                      <a:pt x="546609" y="101250"/>
                      <a:pt x="545960" y="88161"/>
                      <a:pt x="545311" y="87472"/>
                    </a:cubicBezTo>
                    <a:cubicBezTo>
                      <a:pt x="544013" y="85750"/>
                      <a:pt x="542065" y="85405"/>
                      <a:pt x="540442" y="84372"/>
                    </a:cubicBezTo>
                    <a:cubicBezTo>
                      <a:pt x="535898" y="89194"/>
                      <a:pt x="531354" y="90917"/>
                      <a:pt x="529731" y="97461"/>
                    </a:cubicBezTo>
                    <a:cubicBezTo>
                      <a:pt x="528108" y="100906"/>
                      <a:pt x="524213" y="103661"/>
                      <a:pt x="524537" y="106417"/>
                    </a:cubicBezTo>
                    <a:cubicBezTo>
                      <a:pt x="524862" y="109173"/>
                      <a:pt x="527459" y="110895"/>
                      <a:pt x="531029" y="113995"/>
                    </a:cubicBezTo>
                    <a:cubicBezTo>
                      <a:pt x="532652" y="120195"/>
                      <a:pt x="545311" y="125706"/>
                      <a:pt x="545311" y="125706"/>
                    </a:cubicBezTo>
                    <a:cubicBezTo>
                      <a:pt x="550829" y="130184"/>
                      <a:pt x="555049" y="132940"/>
                      <a:pt x="565436" y="137418"/>
                    </a:cubicBezTo>
                    <a:cubicBezTo>
                      <a:pt x="572901" y="142240"/>
                      <a:pt x="582963" y="150507"/>
                      <a:pt x="590429" y="153951"/>
                    </a:cubicBezTo>
                    <a:cubicBezTo>
                      <a:pt x="597895" y="157396"/>
                      <a:pt x="606983" y="156362"/>
                      <a:pt x="610554" y="158774"/>
                    </a:cubicBezTo>
                    <a:cubicBezTo>
                      <a:pt x="611852" y="159807"/>
                      <a:pt x="610878" y="166696"/>
                      <a:pt x="612177" y="168074"/>
                    </a:cubicBezTo>
                    <a:cubicBezTo>
                      <a:pt x="614449" y="170485"/>
                      <a:pt x="616721" y="167040"/>
                      <a:pt x="618344" y="170140"/>
                    </a:cubicBezTo>
                    <a:cubicBezTo>
                      <a:pt x="621265" y="175996"/>
                      <a:pt x="621265" y="174963"/>
                      <a:pt x="626134" y="178407"/>
                    </a:cubicBezTo>
                    <a:cubicBezTo>
                      <a:pt x="637170" y="177718"/>
                      <a:pt x="647557" y="181507"/>
                      <a:pt x="651127" y="170140"/>
                    </a:cubicBezTo>
                    <a:cubicBezTo>
                      <a:pt x="652426" y="160496"/>
                      <a:pt x="655347" y="150162"/>
                      <a:pt x="660865" y="142240"/>
                    </a:cubicBezTo>
                    <a:cubicBezTo>
                      <a:pt x="664111" y="128117"/>
                      <a:pt x="664760" y="137073"/>
                      <a:pt x="667357" y="113306"/>
                    </a:cubicBezTo>
                    <a:cubicBezTo>
                      <a:pt x="668006" y="107106"/>
                      <a:pt x="666708" y="100906"/>
                      <a:pt x="666708" y="100906"/>
                    </a:cubicBezTo>
                    <a:cubicBezTo>
                      <a:pt x="668980" y="68527"/>
                      <a:pt x="665734" y="85061"/>
                      <a:pt x="669954" y="70938"/>
                    </a:cubicBezTo>
                    <a:cubicBezTo>
                      <a:pt x="671252" y="66116"/>
                      <a:pt x="674498" y="56127"/>
                      <a:pt x="674498" y="56127"/>
                    </a:cubicBezTo>
                    <a:cubicBezTo>
                      <a:pt x="675147" y="48549"/>
                      <a:pt x="674822" y="40627"/>
                      <a:pt x="676121" y="33049"/>
                    </a:cubicBezTo>
                    <a:cubicBezTo>
                      <a:pt x="677095" y="27882"/>
                      <a:pt x="682288" y="18237"/>
                      <a:pt x="682288" y="182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3" name="Freeform 339">
                <a:extLst>
                  <a:ext uri="{FF2B5EF4-FFF2-40B4-BE49-F238E27FC236}">
                    <a16:creationId xmlns:a16="http://schemas.microsoft.com/office/drawing/2014/main" id="{6495164A-EB41-4DC7-9604-04DD9CC4F7EE}"/>
                  </a:ext>
                </a:extLst>
              </p:cNvPr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gray">
              <a:xfrm>
                <a:off x="7436423" y="2984730"/>
                <a:ext cx="366140" cy="446343"/>
              </a:xfrm>
              <a:custGeom>
                <a:avLst/>
                <a:gdLst/>
                <a:ahLst/>
                <a:cxnLst/>
                <a:rect l="l" t="t" r="r" b="b"/>
                <a:pathLst>
                  <a:path w="366140" h="446343">
                    <a:moveTo>
                      <a:pt x="278678" y="132903"/>
                    </a:moveTo>
                    <a:cubicBezTo>
                      <a:pt x="281307" y="132784"/>
                      <a:pt x="283589" y="133643"/>
                      <a:pt x="285177" y="135934"/>
                    </a:cubicBezTo>
                    <a:cubicBezTo>
                      <a:pt x="291527" y="145098"/>
                      <a:pt x="294702" y="187863"/>
                      <a:pt x="296289" y="203136"/>
                    </a:cubicBezTo>
                    <a:cubicBezTo>
                      <a:pt x="297877" y="218409"/>
                      <a:pt x="299464" y="215354"/>
                      <a:pt x="296289" y="224518"/>
                    </a:cubicBezTo>
                    <a:cubicBezTo>
                      <a:pt x="293114" y="233682"/>
                      <a:pt x="286764" y="242846"/>
                      <a:pt x="282002" y="256592"/>
                    </a:cubicBezTo>
                    <a:cubicBezTo>
                      <a:pt x="275652" y="270338"/>
                      <a:pt x="269302" y="299356"/>
                      <a:pt x="262952" y="310048"/>
                    </a:cubicBezTo>
                    <a:cubicBezTo>
                      <a:pt x="256602" y="320739"/>
                      <a:pt x="250252" y="316157"/>
                      <a:pt x="243902" y="320739"/>
                    </a:cubicBezTo>
                    <a:cubicBezTo>
                      <a:pt x="237552" y="325321"/>
                      <a:pt x="228027" y="332957"/>
                      <a:pt x="226439" y="337539"/>
                    </a:cubicBezTo>
                    <a:cubicBezTo>
                      <a:pt x="224852" y="342121"/>
                      <a:pt x="239139" y="352812"/>
                      <a:pt x="235964" y="352812"/>
                    </a:cubicBezTo>
                    <a:cubicBezTo>
                      <a:pt x="232789" y="352812"/>
                      <a:pt x="218502" y="337539"/>
                      <a:pt x="210564" y="334485"/>
                    </a:cubicBezTo>
                    <a:cubicBezTo>
                      <a:pt x="202627" y="331430"/>
                      <a:pt x="189927" y="331430"/>
                      <a:pt x="183577" y="332957"/>
                    </a:cubicBezTo>
                    <a:cubicBezTo>
                      <a:pt x="177227" y="334485"/>
                      <a:pt x="172464" y="340594"/>
                      <a:pt x="167702" y="346703"/>
                    </a:cubicBezTo>
                    <a:cubicBezTo>
                      <a:pt x="162939" y="352812"/>
                      <a:pt x="161352" y="363504"/>
                      <a:pt x="155002" y="366558"/>
                    </a:cubicBezTo>
                    <a:cubicBezTo>
                      <a:pt x="148652" y="369613"/>
                      <a:pt x="137539" y="369613"/>
                      <a:pt x="129602" y="369613"/>
                    </a:cubicBezTo>
                    <a:cubicBezTo>
                      <a:pt x="121664" y="369613"/>
                      <a:pt x="113727" y="363504"/>
                      <a:pt x="105789" y="365031"/>
                    </a:cubicBezTo>
                    <a:cubicBezTo>
                      <a:pt x="97852" y="366558"/>
                      <a:pt x="93089" y="374195"/>
                      <a:pt x="85152" y="380304"/>
                    </a:cubicBezTo>
                    <a:cubicBezTo>
                      <a:pt x="77214" y="386413"/>
                      <a:pt x="62927" y="392523"/>
                      <a:pt x="56577" y="401686"/>
                    </a:cubicBezTo>
                    <a:cubicBezTo>
                      <a:pt x="50227" y="412378"/>
                      <a:pt x="50227" y="442924"/>
                      <a:pt x="42289" y="445979"/>
                    </a:cubicBezTo>
                    <a:cubicBezTo>
                      <a:pt x="34352" y="449033"/>
                      <a:pt x="10539" y="432233"/>
                      <a:pt x="4189" y="420014"/>
                    </a:cubicBezTo>
                    <a:cubicBezTo>
                      <a:pt x="-2161" y="407796"/>
                      <a:pt x="-573" y="386413"/>
                      <a:pt x="4189" y="374195"/>
                    </a:cubicBezTo>
                    <a:cubicBezTo>
                      <a:pt x="8952" y="361976"/>
                      <a:pt x="23239" y="351285"/>
                      <a:pt x="32764" y="343649"/>
                    </a:cubicBezTo>
                    <a:cubicBezTo>
                      <a:pt x="42289" y="336012"/>
                      <a:pt x="53402" y="337539"/>
                      <a:pt x="61339" y="332957"/>
                    </a:cubicBezTo>
                    <a:cubicBezTo>
                      <a:pt x="69277" y="328375"/>
                      <a:pt x="70864" y="314630"/>
                      <a:pt x="85152" y="311575"/>
                    </a:cubicBezTo>
                    <a:cubicBezTo>
                      <a:pt x="97852" y="308520"/>
                      <a:pt x="135952" y="314630"/>
                      <a:pt x="150239" y="310048"/>
                    </a:cubicBezTo>
                    <a:cubicBezTo>
                      <a:pt x="164527" y="305466"/>
                      <a:pt x="170877" y="294775"/>
                      <a:pt x="174052" y="288665"/>
                    </a:cubicBezTo>
                    <a:cubicBezTo>
                      <a:pt x="177227" y="281029"/>
                      <a:pt x="167702" y="264228"/>
                      <a:pt x="174052" y="261174"/>
                    </a:cubicBezTo>
                    <a:cubicBezTo>
                      <a:pt x="180402" y="258119"/>
                      <a:pt x="199452" y="270338"/>
                      <a:pt x="207389" y="267283"/>
                    </a:cubicBezTo>
                    <a:cubicBezTo>
                      <a:pt x="215327" y="264228"/>
                      <a:pt x="213739" y="244373"/>
                      <a:pt x="220089" y="238264"/>
                    </a:cubicBezTo>
                    <a:cubicBezTo>
                      <a:pt x="226439" y="232155"/>
                      <a:pt x="240727" y="242846"/>
                      <a:pt x="245489" y="233682"/>
                    </a:cubicBezTo>
                    <a:cubicBezTo>
                      <a:pt x="250252" y="224518"/>
                      <a:pt x="247077" y="198554"/>
                      <a:pt x="248664" y="184808"/>
                    </a:cubicBezTo>
                    <a:cubicBezTo>
                      <a:pt x="250252" y="172590"/>
                      <a:pt x="248664" y="155789"/>
                      <a:pt x="255014" y="148153"/>
                    </a:cubicBezTo>
                    <a:cubicBezTo>
                      <a:pt x="259777" y="142425"/>
                      <a:pt x="270790" y="133261"/>
                      <a:pt x="278678" y="132903"/>
                    </a:cubicBezTo>
                    <a:close/>
                    <a:moveTo>
                      <a:pt x="266560" y="2495"/>
                    </a:moveTo>
                    <a:lnTo>
                      <a:pt x="264539" y="2723"/>
                    </a:lnTo>
                    <a:cubicBezTo>
                      <a:pt x="263055" y="2723"/>
                      <a:pt x="264193" y="2574"/>
                      <a:pt x="266560" y="2495"/>
                    </a:cubicBezTo>
                    <a:close/>
                    <a:moveTo>
                      <a:pt x="285177" y="425"/>
                    </a:moveTo>
                    <a:cubicBezTo>
                      <a:pt x="294702" y="-341"/>
                      <a:pt x="305021" y="-341"/>
                      <a:pt x="310577" y="2723"/>
                    </a:cubicBezTo>
                    <a:cubicBezTo>
                      <a:pt x="321690" y="8852"/>
                      <a:pt x="324865" y="34898"/>
                      <a:pt x="334390" y="41027"/>
                    </a:cubicBezTo>
                    <a:cubicBezTo>
                      <a:pt x="343915" y="47155"/>
                      <a:pt x="361377" y="33366"/>
                      <a:pt x="366140" y="36430"/>
                    </a:cubicBezTo>
                    <a:cubicBezTo>
                      <a:pt x="370902" y="39494"/>
                      <a:pt x="370902" y="53284"/>
                      <a:pt x="366140" y="60944"/>
                    </a:cubicBezTo>
                    <a:cubicBezTo>
                      <a:pt x="361377" y="68605"/>
                      <a:pt x="347090" y="77798"/>
                      <a:pt x="339152" y="83926"/>
                    </a:cubicBezTo>
                    <a:cubicBezTo>
                      <a:pt x="331215" y="90055"/>
                      <a:pt x="329627" y="97715"/>
                      <a:pt x="320102" y="97715"/>
                    </a:cubicBezTo>
                    <a:cubicBezTo>
                      <a:pt x="310577" y="97715"/>
                      <a:pt x="283589" y="85458"/>
                      <a:pt x="277239" y="88523"/>
                    </a:cubicBezTo>
                    <a:cubicBezTo>
                      <a:pt x="272477" y="91587"/>
                      <a:pt x="285177" y="106908"/>
                      <a:pt x="280414" y="113037"/>
                    </a:cubicBezTo>
                    <a:cubicBezTo>
                      <a:pt x="275652" y="119165"/>
                      <a:pt x="258189" y="128358"/>
                      <a:pt x="250252" y="125294"/>
                    </a:cubicBezTo>
                    <a:cubicBezTo>
                      <a:pt x="242314" y="122229"/>
                      <a:pt x="232789" y="105376"/>
                      <a:pt x="234377" y="94651"/>
                    </a:cubicBezTo>
                    <a:cubicBezTo>
                      <a:pt x="235964" y="83926"/>
                      <a:pt x="255014" y="74733"/>
                      <a:pt x="262952" y="62476"/>
                    </a:cubicBezTo>
                    <a:cubicBezTo>
                      <a:pt x="270889" y="50219"/>
                      <a:pt x="278827" y="31834"/>
                      <a:pt x="282002" y="22641"/>
                    </a:cubicBezTo>
                    <a:cubicBezTo>
                      <a:pt x="285177" y="13448"/>
                      <a:pt x="288352" y="7320"/>
                      <a:pt x="285177" y="4256"/>
                    </a:cubicBezTo>
                    <a:cubicBezTo>
                      <a:pt x="282992" y="2147"/>
                      <a:pt x="271782" y="2215"/>
                      <a:pt x="266560" y="2495"/>
                    </a:cubicBezTo>
                    <a:cubicBezTo>
                      <a:pt x="270296" y="2164"/>
                      <a:pt x="277477" y="1044"/>
                      <a:pt x="285177" y="42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4" name="Freeform 404">
                <a:extLst>
                  <a:ext uri="{FF2B5EF4-FFF2-40B4-BE49-F238E27FC236}">
                    <a16:creationId xmlns:a16="http://schemas.microsoft.com/office/drawing/2014/main" id="{3B5A53DC-3825-4AC8-9833-EE9185F8B85D}"/>
                  </a:ext>
                </a:extLst>
              </p:cNvPr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gray">
              <a:xfrm>
                <a:off x="2578101" y="3917950"/>
                <a:ext cx="323850" cy="254000"/>
              </a:xfrm>
              <a:custGeom>
                <a:avLst/>
                <a:gdLst>
                  <a:gd name="T0" fmla="*/ 18 w 200"/>
                  <a:gd name="T1" fmla="*/ 4 h 160"/>
                  <a:gd name="T2" fmla="*/ 16 w 200"/>
                  <a:gd name="T3" fmla="*/ 25 h 160"/>
                  <a:gd name="T4" fmla="*/ 30 w 200"/>
                  <a:gd name="T5" fmla="*/ 36 h 160"/>
                  <a:gd name="T6" fmla="*/ 31 w 200"/>
                  <a:gd name="T7" fmla="*/ 13 h 160"/>
                  <a:gd name="T8" fmla="*/ 51 w 200"/>
                  <a:gd name="T9" fmla="*/ 9 h 160"/>
                  <a:gd name="T10" fmla="*/ 69 w 200"/>
                  <a:gd name="T11" fmla="*/ 3 h 160"/>
                  <a:gd name="T12" fmla="*/ 93 w 200"/>
                  <a:gd name="T13" fmla="*/ 16 h 160"/>
                  <a:gd name="T14" fmla="*/ 117 w 200"/>
                  <a:gd name="T15" fmla="*/ 21 h 160"/>
                  <a:gd name="T16" fmla="*/ 133 w 200"/>
                  <a:gd name="T17" fmla="*/ 12 h 160"/>
                  <a:gd name="T18" fmla="*/ 154 w 200"/>
                  <a:gd name="T19" fmla="*/ 18 h 160"/>
                  <a:gd name="T20" fmla="*/ 174 w 200"/>
                  <a:gd name="T21" fmla="*/ 27 h 160"/>
                  <a:gd name="T22" fmla="*/ 186 w 200"/>
                  <a:gd name="T23" fmla="*/ 37 h 160"/>
                  <a:gd name="T24" fmla="*/ 189 w 200"/>
                  <a:gd name="T25" fmla="*/ 57 h 160"/>
                  <a:gd name="T26" fmla="*/ 181 w 200"/>
                  <a:gd name="T27" fmla="*/ 72 h 160"/>
                  <a:gd name="T28" fmla="*/ 178 w 200"/>
                  <a:gd name="T29" fmla="*/ 87 h 160"/>
                  <a:gd name="T30" fmla="*/ 175 w 200"/>
                  <a:gd name="T31" fmla="*/ 100 h 160"/>
                  <a:gd name="T32" fmla="*/ 162 w 200"/>
                  <a:gd name="T33" fmla="*/ 115 h 160"/>
                  <a:gd name="T34" fmla="*/ 135 w 200"/>
                  <a:gd name="T35" fmla="*/ 120 h 160"/>
                  <a:gd name="T36" fmla="*/ 135 w 200"/>
                  <a:gd name="T37" fmla="*/ 135 h 160"/>
                  <a:gd name="T38" fmla="*/ 129 w 200"/>
                  <a:gd name="T39" fmla="*/ 151 h 160"/>
                  <a:gd name="T40" fmla="*/ 124 w 200"/>
                  <a:gd name="T41" fmla="*/ 157 h 160"/>
                  <a:gd name="T42" fmla="*/ 106 w 200"/>
                  <a:gd name="T43" fmla="*/ 159 h 160"/>
                  <a:gd name="T44" fmla="*/ 82 w 200"/>
                  <a:gd name="T45" fmla="*/ 148 h 160"/>
                  <a:gd name="T46" fmla="*/ 84 w 200"/>
                  <a:gd name="T47" fmla="*/ 136 h 160"/>
                  <a:gd name="T48" fmla="*/ 82 w 200"/>
                  <a:gd name="T49" fmla="*/ 87 h 160"/>
                  <a:gd name="T50" fmla="*/ 61 w 200"/>
                  <a:gd name="T51" fmla="*/ 82 h 160"/>
                  <a:gd name="T52" fmla="*/ 43 w 200"/>
                  <a:gd name="T53" fmla="*/ 73 h 160"/>
                  <a:gd name="T54" fmla="*/ 30 w 200"/>
                  <a:gd name="T55" fmla="*/ 63 h 160"/>
                  <a:gd name="T56" fmla="*/ 18 w 200"/>
                  <a:gd name="T57" fmla="*/ 57 h 160"/>
                  <a:gd name="T58" fmla="*/ 6 w 200"/>
                  <a:gd name="T59" fmla="*/ 37 h 160"/>
                  <a:gd name="T60" fmla="*/ 0 w 200"/>
                  <a:gd name="T61" fmla="*/ 22 h 160"/>
                  <a:gd name="T62" fmla="*/ 15 w 200"/>
                  <a:gd name="T63" fmla="*/ 6 h 160"/>
                  <a:gd name="T64" fmla="*/ 24 w 200"/>
                  <a:gd name="T65" fmla="*/ 1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0" h="160">
                    <a:moveTo>
                      <a:pt x="18" y="4"/>
                    </a:moveTo>
                    <a:cubicBezTo>
                      <a:pt x="23" y="12"/>
                      <a:pt x="31" y="23"/>
                      <a:pt x="16" y="25"/>
                    </a:cubicBezTo>
                    <a:cubicBezTo>
                      <a:pt x="13" y="39"/>
                      <a:pt x="15" y="37"/>
                      <a:pt x="30" y="36"/>
                    </a:cubicBezTo>
                    <a:cubicBezTo>
                      <a:pt x="30" y="28"/>
                      <a:pt x="27" y="20"/>
                      <a:pt x="31" y="13"/>
                    </a:cubicBezTo>
                    <a:cubicBezTo>
                      <a:pt x="35" y="7"/>
                      <a:pt x="51" y="9"/>
                      <a:pt x="51" y="9"/>
                    </a:cubicBezTo>
                    <a:cubicBezTo>
                      <a:pt x="59" y="3"/>
                      <a:pt x="57" y="0"/>
                      <a:pt x="69" y="3"/>
                    </a:cubicBezTo>
                    <a:cubicBezTo>
                      <a:pt x="71" y="22"/>
                      <a:pt x="73" y="18"/>
                      <a:pt x="93" y="16"/>
                    </a:cubicBezTo>
                    <a:cubicBezTo>
                      <a:pt x="111" y="20"/>
                      <a:pt x="103" y="18"/>
                      <a:pt x="117" y="21"/>
                    </a:cubicBezTo>
                    <a:cubicBezTo>
                      <a:pt x="127" y="19"/>
                      <a:pt x="126" y="17"/>
                      <a:pt x="133" y="12"/>
                    </a:cubicBezTo>
                    <a:cubicBezTo>
                      <a:pt x="143" y="13"/>
                      <a:pt x="147" y="12"/>
                      <a:pt x="154" y="18"/>
                    </a:cubicBezTo>
                    <a:cubicBezTo>
                      <a:pt x="158" y="26"/>
                      <a:pt x="166" y="25"/>
                      <a:pt x="174" y="27"/>
                    </a:cubicBezTo>
                    <a:cubicBezTo>
                      <a:pt x="175" y="35"/>
                      <a:pt x="178" y="36"/>
                      <a:pt x="186" y="37"/>
                    </a:cubicBezTo>
                    <a:cubicBezTo>
                      <a:pt x="196" y="42"/>
                      <a:pt x="200" y="55"/>
                      <a:pt x="189" y="57"/>
                    </a:cubicBezTo>
                    <a:cubicBezTo>
                      <a:pt x="188" y="75"/>
                      <a:pt x="189" y="62"/>
                      <a:pt x="181" y="72"/>
                    </a:cubicBezTo>
                    <a:cubicBezTo>
                      <a:pt x="179" y="77"/>
                      <a:pt x="179" y="82"/>
                      <a:pt x="178" y="87"/>
                    </a:cubicBezTo>
                    <a:cubicBezTo>
                      <a:pt x="177" y="92"/>
                      <a:pt x="178" y="95"/>
                      <a:pt x="175" y="100"/>
                    </a:cubicBezTo>
                    <a:cubicBezTo>
                      <a:pt x="172" y="105"/>
                      <a:pt x="169" y="112"/>
                      <a:pt x="162" y="115"/>
                    </a:cubicBezTo>
                    <a:cubicBezTo>
                      <a:pt x="152" y="115"/>
                      <a:pt x="146" y="116"/>
                      <a:pt x="135" y="120"/>
                    </a:cubicBezTo>
                    <a:cubicBezTo>
                      <a:pt x="136" y="126"/>
                      <a:pt x="132" y="129"/>
                      <a:pt x="135" y="135"/>
                    </a:cubicBezTo>
                    <a:cubicBezTo>
                      <a:pt x="134" y="140"/>
                      <a:pt x="131" y="148"/>
                      <a:pt x="129" y="151"/>
                    </a:cubicBezTo>
                    <a:cubicBezTo>
                      <a:pt x="127" y="154"/>
                      <a:pt x="128" y="156"/>
                      <a:pt x="124" y="157"/>
                    </a:cubicBezTo>
                    <a:cubicBezTo>
                      <a:pt x="120" y="158"/>
                      <a:pt x="113" y="160"/>
                      <a:pt x="106" y="159"/>
                    </a:cubicBezTo>
                    <a:cubicBezTo>
                      <a:pt x="99" y="158"/>
                      <a:pt x="86" y="152"/>
                      <a:pt x="82" y="148"/>
                    </a:cubicBezTo>
                    <a:cubicBezTo>
                      <a:pt x="78" y="144"/>
                      <a:pt x="84" y="146"/>
                      <a:pt x="84" y="136"/>
                    </a:cubicBezTo>
                    <a:cubicBezTo>
                      <a:pt x="81" y="125"/>
                      <a:pt x="86" y="96"/>
                      <a:pt x="82" y="87"/>
                    </a:cubicBezTo>
                    <a:cubicBezTo>
                      <a:pt x="78" y="78"/>
                      <a:pt x="67" y="84"/>
                      <a:pt x="61" y="82"/>
                    </a:cubicBezTo>
                    <a:cubicBezTo>
                      <a:pt x="55" y="78"/>
                      <a:pt x="49" y="77"/>
                      <a:pt x="43" y="73"/>
                    </a:cubicBezTo>
                    <a:cubicBezTo>
                      <a:pt x="37" y="69"/>
                      <a:pt x="37" y="64"/>
                      <a:pt x="30" y="63"/>
                    </a:cubicBezTo>
                    <a:cubicBezTo>
                      <a:pt x="23" y="60"/>
                      <a:pt x="25" y="61"/>
                      <a:pt x="18" y="57"/>
                    </a:cubicBezTo>
                    <a:cubicBezTo>
                      <a:pt x="15" y="52"/>
                      <a:pt x="11" y="40"/>
                      <a:pt x="6" y="37"/>
                    </a:cubicBezTo>
                    <a:cubicBezTo>
                      <a:pt x="3" y="32"/>
                      <a:pt x="1" y="28"/>
                      <a:pt x="0" y="22"/>
                    </a:cubicBezTo>
                    <a:cubicBezTo>
                      <a:pt x="2" y="13"/>
                      <a:pt x="6" y="8"/>
                      <a:pt x="15" y="6"/>
                    </a:cubicBezTo>
                    <a:cubicBezTo>
                      <a:pt x="16" y="16"/>
                      <a:pt x="14" y="13"/>
                      <a:pt x="24" y="13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5" name="Freeform 405">
                <a:extLst>
                  <a:ext uri="{FF2B5EF4-FFF2-40B4-BE49-F238E27FC236}">
                    <a16:creationId xmlns:a16="http://schemas.microsoft.com/office/drawing/2014/main" id="{B9F79853-3CB4-412F-B9AF-1745591C24E7}"/>
                  </a:ext>
                </a:extLst>
              </p:cNvPr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gray">
              <a:xfrm>
                <a:off x="3005138" y="4038600"/>
                <a:ext cx="104775" cy="96838"/>
              </a:xfrm>
              <a:custGeom>
                <a:avLst/>
                <a:gdLst>
                  <a:gd name="T0" fmla="*/ 15 w 65"/>
                  <a:gd name="T1" fmla="*/ 56 h 61"/>
                  <a:gd name="T2" fmla="*/ 57 w 65"/>
                  <a:gd name="T3" fmla="*/ 45 h 61"/>
                  <a:gd name="T4" fmla="*/ 36 w 65"/>
                  <a:gd name="T5" fmla="*/ 12 h 61"/>
                  <a:gd name="T6" fmla="*/ 15 w 65"/>
                  <a:gd name="T7" fmla="*/ 56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" h="61">
                    <a:moveTo>
                      <a:pt x="15" y="56"/>
                    </a:moveTo>
                    <a:cubicBezTo>
                      <a:pt x="56" y="54"/>
                      <a:pt x="36" y="61"/>
                      <a:pt x="57" y="45"/>
                    </a:cubicBezTo>
                    <a:cubicBezTo>
                      <a:pt x="65" y="29"/>
                      <a:pt x="46" y="20"/>
                      <a:pt x="36" y="12"/>
                    </a:cubicBezTo>
                    <a:cubicBezTo>
                      <a:pt x="0" y="16"/>
                      <a:pt x="15" y="0"/>
                      <a:pt x="15" y="5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6" name="Freeform 406">
                <a:extLst>
                  <a:ext uri="{FF2B5EF4-FFF2-40B4-BE49-F238E27FC236}">
                    <a16:creationId xmlns:a16="http://schemas.microsoft.com/office/drawing/2014/main" id="{778E93CB-8F7E-4CAD-BFDD-E9305556D47A}"/>
                  </a:ext>
                </a:extLst>
              </p:cNvPr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gray">
              <a:xfrm>
                <a:off x="2938463" y="4048125"/>
                <a:ext cx="93663" cy="100013"/>
              </a:xfrm>
              <a:custGeom>
                <a:avLst/>
                <a:gdLst>
                  <a:gd name="T0" fmla="*/ 9 w 57"/>
                  <a:gd name="T1" fmla="*/ 0 h 63"/>
                  <a:gd name="T2" fmla="*/ 36 w 57"/>
                  <a:gd name="T3" fmla="*/ 5 h 63"/>
                  <a:gd name="T4" fmla="*/ 51 w 57"/>
                  <a:gd name="T5" fmla="*/ 8 h 63"/>
                  <a:gd name="T6" fmla="*/ 57 w 57"/>
                  <a:gd name="T7" fmla="*/ 35 h 63"/>
                  <a:gd name="T8" fmla="*/ 29 w 57"/>
                  <a:gd name="T9" fmla="*/ 54 h 63"/>
                  <a:gd name="T10" fmla="*/ 17 w 57"/>
                  <a:gd name="T11" fmla="*/ 54 h 63"/>
                  <a:gd name="T12" fmla="*/ 8 w 57"/>
                  <a:gd name="T13" fmla="*/ 39 h 63"/>
                  <a:gd name="T14" fmla="*/ 3 w 57"/>
                  <a:gd name="T15" fmla="*/ 38 h 63"/>
                  <a:gd name="T16" fmla="*/ 14 w 57"/>
                  <a:gd name="T17" fmla="*/ 17 h 63"/>
                  <a:gd name="T18" fmla="*/ 9 w 57"/>
                  <a:gd name="T1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63">
                    <a:moveTo>
                      <a:pt x="9" y="0"/>
                    </a:moveTo>
                    <a:cubicBezTo>
                      <a:pt x="22" y="1"/>
                      <a:pt x="26" y="2"/>
                      <a:pt x="36" y="5"/>
                    </a:cubicBezTo>
                    <a:cubicBezTo>
                      <a:pt x="41" y="6"/>
                      <a:pt x="51" y="8"/>
                      <a:pt x="51" y="8"/>
                    </a:cubicBezTo>
                    <a:cubicBezTo>
                      <a:pt x="57" y="16"/>
                      <a:pt x="55" y="26"/>
                      <a:pt x="57" y="35"/>
                    </a:cubicBezTo>
                    <a:cubicBezTo>
                      <a:pt x="55" y="55"/>
                      <a:pt x="49" y="53"/>
                      <a:pt x="29" y="54"/>
                    </a:cubicBezTo>
                    <a:cubicBezTo>
                      <a:pt x="24" y="63"/>
                      <a:pt x="27" y="55"/>
                      <a:pt x="17" y="54"/>
                    </a:cubicBezTo>
                    <a:cubicBezTo>
                      <a:pt x="17" y="47"/>
                      <a:pt x="10" y="45"/>
                      <a:pt x="8" y="39"/>
                    </a:cubicBezTo>
                    <a:cubicBezTo>
                      <a:pt x="8" y="37"/>
                      <a:pt x="4" y="40"/>
                      <a:pt x="3" y="38"/>
                    </a:cubicBezTo>
                    <a:cubicBezTo>
                      <a:pt x="0" y="29"/>
                      <a:pt x="15" y="24"/>
                      <a:pt x="14" y="17"/>
                    </a:cubicBezTo>
                    <a:cubicBezTo>
                      <a:pt x="13" y="11"/>
                      <a:pt x="11" y="6"/>
                      <a:pt x="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7" name="Freeform 407">
                <a:extLst>
                  <a:ext uri="{FF2B5EF4-FFF2-40B4-BE49-F238E27FC236}">
                    <a16:creationId xmlns:a16="http://schemas.microsoft.com/office/drawing/2014/main" id="{331E942B-D7FD-4C86-AFBD-EFE5E0258D27}"/>
                  </a:ext>
                </a:extLst>
              </p:cNvPr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gray">
              <a:xfrm>
                <a:off x="2849563" y="3978275"/>
                <a:ext cx="122238" cy="184150"/>
              </a:xfrm>
              <a:custGeom>
                <a:avLst/>
                <a:gdLst>
                  <a:gd name="T0" fmla="*/ 24 w 76"/>
                  <a:gd name="T1" fmla="*/ 13 h 116"/>
                  <a:gd name="T2" fmla="*/ 13 w 76"/>
                  <a:gd name="T3" fmla="*/ 35 h 116"/>
                  <a:gd name="T4" fmla="*/ 13 w 76"/>
                  <a:gd name="T5" fmla="*/ 67 h 116"/>
                  <a:gd name="T6" fmla="*/ 22 w 76"/>
                  <a:gd name="T7" fmla="*/ 70 h 116"/>
                  <a:gd name="T8" fmla="*/ 24 w 76"/>
                  <a:gd name="T9" fmla="*/ 83 h 116"/>
                  <a:gd name="T10" fmla="*/ 30 w 76"/>
                  <a:gd name="T11" fmla="*/ 97 h 116"/>
                  <a:gd name="T12" fmla="*/ 36 w 76"/>
                  <a:gd name="T13" fmla="*/ 110 h 116"/>
                  <a:gd name="T14" fmla="*/ 45 w 76"/>
                  <a:gd name="T15" fmla="*/ 115 h 116"/>
                  <a:gd name="T16" fmla="*/ 63 w 76"/>
                  <a:gd name="T17" fmla="*/ 110 h 116"/>
                  <a:gd name="T18" fmla="*/ 70 w 76"/>
                  <a:gd name="T19" fmla="*/ 101 h 116"/>
                  <a:gd name="T20" fmla="*/ 61 w 76"/>
                  <a:gd name="T21" fmla="*/ 82 h 116"/>
                  <a:gd name="T22" fmla="*/ 66 w 76"/>
                  <a:gd name="T23" fmla="*/ 65 h 116"/>
                  <a:gd name="T24" fmla="*/ 49 w 76"/>
                  <a:gd name="T25" fmla="*/ 28 h 116"/>
                  <a:gd name="T26" fmla="*/ 33 w 76"/>
                  <a:gd name="T27" fmla="*/ 13 h 116"/>
                  <a:gd name="T28" fmla="*/ 21 w 76"/>
                  <a:gd name="T29" fmla="*/ 2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116">
                    <a:moveTo>
                      <a:pt x="24" y="13"/>
                    </a:moveTo>
                    <a:cubicBezTo>
                      <a:pt x="20" y="21"/>
                      <a:pt x="20" y="31"/>
                      <a:pt x="13" y="35"/>
                    </a:cubicBezTo>
                    <a:cubicBezTo>
                      <a:pt x="7" y="45"/>
                      <a:pt x="0" y="63"/>
                      <a:pt x="13" y="67"/>
                    </a:cubicBezTo>
                    <a:cubicBezTo>
                      <a:pt x="18" y="70"/>
                      <a:pt x="19" y="65"/>
                      <a:pt x="22" y="70"/>
                    </a:cubicBezTo>
                    <a:cubicBezTo>
                      <a:pt x="20" y="75"/>
                      <a:pt x="27" y="78"/>
                      <a:pt x="24" y="83"/>
                    </a:cubicBezTo>
                    <a:cubicBezTo>
                      <a:pt x="25" y="88"/>
                      <a:pt x="28" y="93"/>
                      <a:pt x="30" y="97"/>
                    </a:cubicBezTo>
                    <a:cubicBezTo>
                      <a:pt x="32" y="101"/>
                      <a:pt x="33" y="107"/>
                      <a:pt x="36" y="110"/>
                    </a:cubicBezTo>
                    <a:cubicBezTo>
                      <a:pt x="37" y="116"/>
                      <a:pt x="39" y="112"/>
                      <a:pt x="45" y="115"/>
                    </a:cubicBezTo>
                    <a:cubicBezTo>
                      <a:pt x="54" y="113"/>
                      <a:pt x="56" y="113"/>
                      <a:pt x="63" y="110"/>
                    </a:cubicBezTo>
                    <a:cubicBezTo>
                      <a:pt x="66" y="106"/>
                      <a:pt x="67" y="105"/>
                      <a:pt x="70" y="101"/>
                    </a:cubicBezTo>
                    <a:cubicBezTo>
                      <a:pt x="72" y="93"/>
                      <a:pt x="68" y="87"/>
                      <a:pt x="61" y="82"/>
                    </a:cubicBezTo>
                    <a:cubicBezTo>
                      <a:pt x="57" y="75"/>
                      <a:pt x="59" y="70"/>
                      <a:pt x="66" y="65"/>
                    </a:cubicBezTo>
                    <a:cubicBezTo>
                      <a:pt x="76" y="49"/>
                      <a:pt x="63" y="36"/>
                      <a:pt x="49" y="28"/>
                    </a:cubicBezTo>
                    <a:cubicBezTo>
                      <a:pt x="45" y="21"/>
                      <a:pt x="40" y="18"/>
                      <a:pt x="33" y="13"/>
                    </a:cubicBezTo>
                    <a:cubicBezTo>
                      <a:pt x="25" y="0"/>
                      <a:pt x="26" y="18"/>
                      <a:pt x="21" y="23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8" name="Freeform 408">
                <a:extLst>
                  <a:ext uri="{FF2B5EF4-FFF2-40B4-BE49-F238E27FC236}">
                    <a16:creationId xmlns:a16="http://schemas.microsoft.com/office/drawing/2014/main" id="{82482ECB-3865-4E6E-91F0-420B3D960EE9}"/>
                  </a:ext>
                </a:extLst>
              </p:cNvPr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gray">
              <a:xfrm>
                <a:off x="2371726" y="3959225"/>
                <a:ext cx="111125" cy="61913"/>
              </a:xfrm>
              <a:custGeom>
                <a:avLst/>
                <a:gdLst>
                  <a:gd name="T0" fmla="*/ 10 w 67"/>
                  <a:gd name="T1" fmla="*/ 16 h 39"/>
                  <a:gd name="T2" fmla="*/ 30 w 67"/>
                  <a:gd name="T3" fmla="*/ 2 h 39"/>
                  <a:gd name="T4" fmla="*/ 45 w 67"/>
                  <a:gd name="T5" fmla="*/ 4 h 39"/>
                  <a:gd name="T6" fmla="*/ 58 w 67"/>
                  <a:gd name="T7" fmla="*/ 13 h 39"/>
                  <a:gd name="T8" fmla="*/ 67 w 67"/>
                  <a:gd name="T9" fmla="*/ 20 h 39"/>
                  <a:gd name="T10" fmla="*/ 58 w 67"/>
                  <a:gd name="T11" fmla="*/ 34 h 39"/>
                  <a:gd name="T12" fmla="*/ 39 w 67"/>
                  <a:gd name="T13" fmla="*/ 17 h 39"/>
                  <a:gd name="T14" fmla="*/ 22 w 67"/>
                  <a:gd name="T15" fmla="*/ 25 h 39"/>
                  <a:gd name="T16" fmla="*/ 22 w 67"/>
                  <a:gd name="T17" fmla="*/ 37 h 39"/>
                  <a:gd name="T18" fmla="*/ 3 w 67"/>
                  <a:gd name="T19" fmla="*/ 35 h 39"/>
                  <a:gd name="T20" fmla="*/ 6 w 67"/>
                  <a:gd name="T21" fmla="*/ 19 h 39"/>
                  <a:gd name="T22" fmla="*/ 10 w 67"/>
                  <a:gd name="T23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39">
                    <a:moveTo>
                      <a:pt x="10" y="16"/>
                    </a:moveTo>
                    <a:cubicBezTo>
                      <a:pt x="13" y="10"/>
                      <a:pt x="24" y="4"/>
                      <a:pt x="30" y="2"/>
                    </a:cubicBezTo>
                    <a:cubicBezTo>
                      <a:pt x="36" y="0"/>
                      <a:pt x="40" y="2"/>
                      <a:pt x="45" y="4"/>
                    </a:cubicBezTo>
                    <a:cubicBezTo>
                      <a:pt x="50" y="6"/>
                      <a:pt x="54" y="10"/>
                      <a:pt x="58" y="13"/>
                    </a:cubicBezTo>
                    <a:cubicBezTo>
                      <a:pt x="62" y="16"/>
                      <a:pt x="67" y="17"/>
                      <a:pt x="67" y="20"/>
                    </a:cubicBezTo>
                    <a:cubicBezTo>
                      <a:pt x="67" y="23"/>
                      <a:pt x="63" y="34"/>
                      <a:pt x="58" y="34"/>
                    </a:cubicBezTo>
                    <a:cubicBezTo>
                      <a:pt x="53" y="34"/>
                      <a:pt x="45" y="18"/>
                      <a:pt x="39" y="17"/>
                    </a:cubicBezTo>
                    <a:cubicBezTo>
                      <a:pt x="33" y="16"/>
                      <a:pt x="25" y="22"/>
                      <a:pt x="22" y="25"/>
                    </a:cubicBezTo>
                    <a:cubicBezTo>
                      <a:pt x="19" y="28"/>
                      <a:pt x="25" y="35"/>
                      <a:pt x="22" y="37"/>
                    </a:cubicBezTo>
                    <a:cubicBezTo>
                      <a:pt x="19" y="39"/>
                      <a:pt x="6" y="38"/>
                      <a:pt x="3" y="35"/>
                    </a:cubicBezTo>
                    <a:cubicBezTo>
                      <a:pt x="0" y="32"/>
                      <a:pt x="5" y="22"/>
                      <a:pt x="6" y="19"/>
                    </a:cubicBezTo>
                    <a:cubicBezTo>
                      <a:pt x="7" y="16"/>
                      <a:pt x="9" y="17"/>
                      <a:pt x="10" y="1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9" name="Freeform 409">
                <a:extLst>
                  <a:ext uri="{FF2B5EF4-FFF2-40B4-BE49-F238E27FC236}">
                    <a16:creationId xmlns:a16="http://schemas.microsoft.com/office/drawing/2014/main" id="{11421C88-6389-4B38-A108-6A7A17CBCB36}"/>
                  </a:ext>
                </a:extLst>
              </p:cNvPr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gray">
              <a:xfrm>
                <a:off x="2430463" y="3911600"/>
                <a:ext cx="285750" cy="349250"/>
              </a:xfrm>
              <a:custGeom>
                <a:avLst/>
                <a:gdLst>
                  <a:gd name="T0" fmla="*/ 34 w 177"/>
                  <a:gd name="T1" fmla="*/ 55 h 220"/>
                  <a:gd name="T2" fmla="*/ 52 w 177"/>
                  <a:gd name="T3" fmla="*/ 41 h 220"/>
                  <a:gd name="T4" fmla="*/ 85 w 177"/>
                  <a:gd name="T5" fmla="*/ 10 h 220"/>
                  <a:gd name="T6" fmla="*/ 101 w 177"/>
                  <a:gd name="T7" fmla="*/ 4 h 220"/>
                  <a:gd name="T8" fmla="*/ 97 w 177"/>
                  <a:gd name="T9" fmla="*/ 32 h 220"/>
                  <a:gd name="T10" fmla="*/ 110 w 177"/>
                  <a:gd name="T11" fmla="*/ 58 h 220"/>
                  <a:gd name="T12" fmla="*/ 111 w 177"/>
                  <a:gd name="T13" fmla="*/ 67 h 220"/>
                  <a:gd name="T14" fmla="*/ 124 w 177"/>
                  <a:gd name="T15" fmla="*/ 68 h 220"/>
                  <a:gd name="T16" fmla="*/ 152 w 177"/>
                  <a:gd name="T17" fmla="*/ 88 h 220"/>
                  <a:gd name="T18" fmla="*/ 172 w 177"/>
                  <a:gd name="T19" fmla="*/ 85 h 220"/>
                  <a:gd name="T20" fmla="*/ 172 w 177"/>
                  <a:gd name="T21" fmla="*/ 152 h 220"/>
                  <a:gd name="T22" fmla="*/ 143 w 177"/>
                  <a:gd name="T23" fmla="*/ 158 h 220"/>
                  <a:gd name="T24" fmla="*/ 142 w 177"/>
                  <a:gd name="T25" fmla="*/ 184 h 220"/>
                  <a:gd name="T26" fmla="*/ 124 w 177"/>
                  <a:gd name="T27" fmla="*/ 215 h 220"/>
                  <a:gd name="T28" fmla="*/ 100 w 177"/>
                  <a:gd name="T29" fmla="*/ 215 h 220"/>
                  <a:gd name="T30" fmla="*/ 88 w 177"/>
                  <a:gd name="T31" fmla="*/ 205 h 220"/>
                  <a:gd name="T32" fmla="*/ 65 w 177"/>
                  <a:gd name="T33" fmla="*/ 184 h 220"/>
                  <a:gd name="T34" fmla="*/ 44 w 177"/>
                  <a:gd name="T35" fmla="*/ 175 h 220"/>
                  <a:gd name="T36" fmla="*/ 32 w 177"/>
                  <a:gd name="T37" fmla="*/ 166 h 220"/>
                  <a:gd name="T38" fmla="*/ 5 w 177"/>
                  <a:gd name="T39" fmla="*/ 160 h 220"/>
                  <a:gd name="T40" fmla="*/ 10 w 177"/>
                  <a:gd name="T41" fmla="*/ 143 h 220"/>
                  <a:gd name="T42" fmla="*/ 22 w 177"/>
                  <a:gd name="T43" fmla="*/ 127 h 220"/>
                  <a:gd name="T44" fmla="*/ 31 w 177"/>
                  <a:gd name="T45" fmla="*/ 107 h 220"/>
                  <a:gd name="T46" fmla="*/ 29 w 177"/>
                  <a:gd name="T47" fmla="*/ 91 h 220"/>
                  <a:gd name="T48" fmla="*/ 28 w 177"/>
                  <a:gd name="T49" fmla="*/ 61 h 220"/>
                  <a:gd name="T50" fmla="*/ 34 w 177"/>
                  <a:gd name="T51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7" h="220">
                    <a:moveTo>
                      <a:pt x="34" y="55"/>
                    </a:moveTo>
                    <a:cubicBezTo>
                      <a:pt x="41" y="52"/>
                      <a:pt x="45" y="45"/>
                      <a:pt x="52" y="41"/>
                    </a:cubicBezTo>
                    <a:cubicBezTo>
                      <a:pt x="57" y="10"/>
                      <a:pt x="56" y="16"/>
                      <a:pt x="85" y="10"/>
                    </a:cubicBezTo>
                    <a:cubicBezTo>
                      <a:pt x="93" y="4"/>
                      <a:pt x="99" y="0"/>
                      <a:pt x="101" y="4"/>
                    </a:cubicBezTo>
                    <a:cubicBezTo>
                      <a:pt x="96" y="14"/>
                      <a:pt x="107" y="27"/>
                      <a:pt x="97" y="32"/>
                    </a:cubicBezTo>
                    <a:cubicBezTo>
                      <a:pt x="92" y="41"/>
                      <a:pt x="107" y="49"/>
                      <a:pt x="110" y="58"/>
                    </a:cubicBezTo>
                    <a:cubicBezTo>
                      <a:pt x="118" y="68"/>
                      <a:pt x="109" y="65"/>
                      <a:pt x="111" y="67"/>
                    </a:cubicBezTo>
                    <a:cubicBezTo>
                      <a:pt x="113" y="69"/>
                      <a:pt x="117" y="65"/>
                      <a:pt x="124" y="68"/>
                    </a:cubicBezTo>
                    <a:cubicBezTo>
                      <a:pt x="132" y="72"/>
                      <a:pt x="144" y="86"/>
                      <a:pt x="152" y="88"/>
                    </a:cubicBezTo>
                    <a:cubicBezTo>
                      <a:pt x="159" y="89"/>
                      <a:pt x="172" y="85"/>
                      <a:pt x="172" y="85"/>
                    </a:cubicBezTo>
                    <a:cubicBezTo>
                      <a:pt x="176" y="96"/>
                      <a:pt x="177" y="140"/>
                      <a:pt x="172" y="152"/>
                    </a:cubicBezTo>
                    <a:cubicBezTo>
                      <a:pt x="167" y="164"/>
                      <a:pt x="148" y="153"/>
                      <a:pt x="143" y="158"/>
                    </a:cubicBezTo>
                    <a:cubicBezTo>
                      <a:pt x="142" y="170"/>
                      <a:pt x="135" y="173"/>
                      <a:pt x="142" y="184"/>
                    </a:cubicBezTo>
                    <a:cubicBezTo>
                      <a:pt x="140" y="213"/>
                      <a:pt x="148" y="219"/>
                      <a:pt x="124" y="215"/>
                    </a:cubicBezTo>
                    <a:cubicBezTo>
                      <a:pt x="117" y="211"/>
                      <a:pt x="100" y="215"/>
                      <a:pt x="100" y="215"/>
                    </a:cubicBezTo>
                    <a:cubicBezTo>
                      <a:pt x="91" y="220"/>
                      <a:pt x="95" y="210"/>
                      <a:pt x="88" y="205"/>
                    </a:cubicBezTo>
                    <a:cubicBezTo>
                      <a:pt x="85" y="197"/>
                      <a:pt x="72" y="188"/>
                      <a:pt x="65" y="184"/>
                    </a:cubicBezTo>
                    <a:cubicBezTo>
                      <a:pt x="61" y="177"/>
                      <a:pt x="52" y="177"/>
                      <a:pt x="44" y="175"/>
                    </a:cubicBezTo>
                    <a:cubicBezTo>
                      <a:pt x="39" y="171"/>
                      <a:pt x="39" y="167"/>
                      <a:pt x="32" y="166"/>
                    </a:cubicBezTo>
                    <a:cubicBezTo>
                      <a:pt x="24" y="162"/>
                      <a:pt x="14" y="162"/>
                      <a:pt x="5" y="160"/>
                    </a:cubicBezTo>
                    <a:cubicBezTo>
                      <a:pt x="3" y="151"/>
                      <a:pt x="0" y="148"/>
                      <a:pt x="10" y="143"/>
                    </a:cubicBezTo>
                    <a:cubicBezTo>
                      <a:pt x="14" y="137"/>
                      <a:pt x="19" y="134"/>
                      <a:pt x="22" y="127"/>
                    </a:cubicBezTo>
                    <a:cubicBezTo>
                      <a:pt x="23" y="120"/>
                      <a:pt x="28" y="114"/>
                      <a:pt x="31" y="107"/>
                    </a:cubicBezTo>
                    <a:cubicBezTo>
                      <a:pt x="32" y="101"/>
                      <a:pt x="32" y="97"/>
                      <a:pt x="29" y="91"/>
                    </a:cubicBezTo>
                    <a:cubicBezTo>
                      <a:pt x="28" y="82"/>
                      <a:pt x="25" y="70"/>
                      <a:pt x="28" y="61"/>
                    </a:cubicBezTo>
                    <a:cubicBezTo>
                      <a:pt x="29" y="58"/>
                      <a:pt x="35" y="52"/>
                      <a:pt x="34" y="5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0" name="Freeform 410">
                <a:extLst>
                  <a:ext uri="{FF2B5EF4-FFF2-40B4-BE49-F238E27FC236}">
                    <a16:creationId xmlns:a16="http://schemas.microsoft.com/office/drawing/2014/main" id="{77BB351F-5A77-47ED-AB7C-BE2E6C3DD83D}"/>
                  </a:ext>
                </a:extLst>
              </p:cNvPr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gray">
              <a:xfrm>
                <a:off x="2651126" y="4413250"/>
                <a:ext cx="300038" cy="320675"/>
              </a:xfrm>
              <a:custGeom>
                <a:avLst/>
                <a:gdLst>
                  <a:gd name="T0" fmla="*/ 0 w 185"/>
                  <a:gd name="T1" fmla="*/ 25 h 203"/>
                  <a:gd name="T2" fmla="*/ 26 w 185"/>
                  <a:gd name="T3" fmla="*/ 21 h 203"/>
                  <a:gd name="T4" fmla="*/ 41 w 185"/>
                  <a:gd name="T5" fmla="*/ 18 h 203"/>
                  <a:gd name="T6" fmla="*/ 46 w 185"/>
                  <a:gd name="T7" fmla="*/ 13 h 203"/>
                  <a:gd name="T8" fmla="*/ 60 w 185"/>
                  <a:gd name="T9" fmla="*/ 3 h 203"/>
                  <a:gd name="T10" fmla="*/ 71 w 185"/>
                  <a:gd name="T11" fmla="*/ 33 h 203"/>
                  <a:gd name="T12" fmla="*/ 86 w 185"/>
                  <a:gd name="T13" fmla="*/ 52 h 203"/>
                  <a:gd name="T14" fmla="*/ 105 w 185"/>
                  <a:gd name="T15" fmla="*/ 61 h 203"/>
                  <a:gd name="T16" fmla="*/ 123 w 185"/>
                  <a:gd name="T17" fmla="*/ 61 h 203"/>
                  <a:gd name="T18" fmla="*/ 138 w 185"/>
                  <a:gd name="T19" fmla="*/ 69 h 203"/>
                  <a:gd name="T20" fmla="*/ 143 w 185"/>
                  <a:gd name="T21" fmla="*/ 99 h 203"/>
                  <a:gd name="T22" fmla="*/ 161 w 185"/>
                  <a:gd name="T23" fmla="*/ 102 h 203"/>
                  <a:gd name="T24" fmla="*/ 170 w 185"/>
                  <a:gd name="T25" fmla="*/ 106 h 203"/>
                  <a:gd name="T26" fmla="*/ 183 w 185"/>
                  <a:gd name="T27" fmla="*/ 133 h 203"/>
                  <a:gd name="T28" fmla="*/ 174 w 185"/>
                  <a:gd name="T29" fmla="*/ 160 h 203"/>
                  <a:gd name="T30" fmla="*/ 119 w 185"/>
                  <a:gd name="T31" fmla="*/ 163 h 203"/>
                  <a:gd name="T32" fmla="*/ 101 w 185"/>
                  <a:gd name="T33" fmla="*/ 198 h 203"/>
                  <a:gd name="T34" fmla="*/ 79 w 185"/>
                  <a:gd name="T35" fmla="*/ 196 h 203"/>
                  <a:gd name="T36" fmla="*/ 58 w 185"/>
                  <a:gd name="T37" fmla="*/ 195 h 203"/>
                  <a:gd name="T38" fmla="*/ 44 w 185"/>
                  <a:gd name="T39" fmla="*/ 196 h 203"/>
                  <a:gd name="T40" fmla="*/ 21 w 185"/>
                  <a:gd name="T41" fmla="*/ 186 h 203"/>
                  <a:gd name="T42" fmla="*/ 17 w 185"/>
                  <a:gd name="T43" fmla="*/ 172 h 203"/>
                  <a:gd name="T44" fmla="*/ 15 w 185"/>
                  <a:gd name="T45" fmla="*/ 137 h 203"/>
                  <a:gd name="T46" fmla="*/ 9 w 185"/>
                  <a:gd name="T47" fmla="*/ 117 h 203"/>
                  <a:gd name="T48" fmla="*/ 12 w 185"/>
                  <a:gd name="T49" fmla="*/ 91 h 203"/>
                  <a:gd name="T50" fmla="*/ 15 w 185"/>
                  <a:gd name="T51" fmla="*/ 66 h 203"/>
                  <a:gd name="T52" fmla="*/ 15 w 185"/>
                  <a:gd name="T53" fmla="*/ 45 h 203"/>
                  <a:gd name="T54" fmla="*/ 8 w 185"/>
                  <a:gd name="T55" fmla="*/ 3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5" h="203">
                    <a:moveTo>
                      <a:pt x="0" y="25"/>
                    </a:moveTo>
                    <a:cubicBezTo>
                      <a:pt x="11" y="24"/>
                      <a:pt x="16" y="23"/>
                      <a:pt x="26" y="21"/>
                    </a:cubicBezTo>
                    <a:cubicBezTo>
                      <a:pt x="31" y="20"/>
                      <a:pt x="41" y="18"/>
                      <a:pt x="41" y="18"/>
                    </a:cubicBezTo>
                    <a:cubicBezTo>
                      <a:pt x="44" y="17"/>
                      <a:pt x="43" y="15"/>
                      <a:pt x="46" y="13"/>
                    </a:cubicBezTo>
                    <a:cubicBezTo>
                      <a:pt x="49" y="11"/>
                      <a:pt x="56" y="0"/>
                      <a:pt x="60" y="3"/>
                    </a:cubicBezTo>
                    <a:cubicBezTo>
                      <a:pt x="64" y="6"/>
                      <a:pt x="67" y="25"/>
                      <a:pt x="71" y="33"/>
                    </a:cubicBezTo>
                    <a:cubicBezTo>
                      <a:pt x="75" y="41"/>
                      <a:pt x="80" y="47"/>
                      <a:pt x="86" y="52"/>
                    </a:cubicBezTo>
                    <a:cubicBezTo>
                      <a:pt x="95" y="57"/>
                      <a:pt x="95" y="60"/>
                      <a:pt x="105" y="61"/>
                    </a:cubicBezTo>
                    <a:cubicBezTo>
                      <a:pt x="111" y="63"/>
                      <a:pt x="118" y="60"/>
                      <a:pt x="123" y="61"/>
                    </a:cubicBezTo>
                    <a:cubicBezTo>
                      <a:pt x="128" y="62"/>
                      <a:pt x="135" y="63"/>
                      <a:pt x="138" y="69"/>
                    </a:cubicBezTo>
                    <a:cubicBezTo>
                      <a:pt x="142" y="76"/>
                      <a:pt x="136" y="96"/>
                      <a:pt x="143" y="99"/>
                    </a:cubicBezTo>
                    <a:cubicBezTo>
                      <a:pt x="149" y="101"/>
                      <a:pt x="161" y="102"/>
                      <a:pt x="161" y="102"/>
                    </a:cubicBezTo>
                    <a:cubicBezTo>
                      <a:pt x="164" y="104"/>
                      <a:pt x="168" y="104"/>
                      <a:pt x="170" y="106"/>
                    </a:cubicBezTo>
                    <a:cubicBezTo>
                      <a:pt x="174" y="111"/>
                      <a:pt x="182" y="124"/>
                      <a:pt x="183" y="133"/>
                    </a:cubicBezTo>
                    <a:cubicBezTo>
                      <a:pt x="184" y="142"/>
                      <a:pt x="185" y="155"/>
                      <a:pt x="174" y="160"/>
                    </a:cubicBezTo>
                    <a:cubicBezTo>
                      <a:pt x="158" y="159"/>
                      <a:pt x="132" y="153"/>
                      <a:pt x="119" y="163"/>
                    </a:cubicBezTo>
                    <a:cubicBezTo>
                      <a:pt x="114" y="176"/>
                      <a:pt x="114" y="192"/>
                      <a:pt x="101" y="198"/>
                    </a:cubicBezTo>
                    <a:cubicBezTo>
                      <a:pt x="94" y="203"/>
                      <a:pt x="88" y="196"/>
                      <a:pt x="79" y="196"/>
                    </a:cubicBezTo>
                    <a:cubicBezTo>
                      <a:pt x="72" y="196"/>
                      <a:pt x="64" y="195"/>
                      <a:pt x="58" y="195"/>
                    </a:cubicBezTo>
                    <a:cubicBezTo>
                      <a:pt x="52" y="195"/>
                      <a:pt x="50" y="197"/>
                      <a:pt x="44" y="196"/>
                    </a:cubicBezTo>
                    <a:cubicBezTo>
                      <a:pt x="34" y="194"/>
                      <a:pt x="26" y="190"/>
                      <a:pt x="21" y="186"/>
                    </a:cubicBezTo>
                    <a:cubicBezTo>
                      <a:pt x="20" y="181"/>
                      <a:pt x="18" y="177"/>
                      <a:pt x="17" y="172"/>
                    </a:cubicBezTo>
                    <a:cubicBezTo>
                      <a:pt x="16" y="164"/>
                      <a:pt x="16" y="146"/>
                      <a:pt x="15" y="137"/>
                    </a:cubicBezTo>
                    <a:cubicBezTo>
                      <a:pt x="14" y="128"/>
                      <a:pt x="9" y="125"/>
                      <a:pt x="9" y="117"/>
                    </a:cubicBezTo>
                    <a:cubicBezTo>
                      <a:pt x="8" y="105"/>
                      <a:pt x="11" y="99"/>
                      <a:pt x="12" y="91"/>
                    </a:cubicBezTo>
                    <a:cubicBezTo>
                      <a:pt x="13" y="83"/>
                      <a:pt x="15" y="74"/>
                      <a:pt x="15" y="66"/>
                    </a:cubicBezTo>
                    <a:cubicBezTo>
                      <a:pt x="15" y="54"/>
                      <a:pt x="16" y="51"/>
                      <a:pt x="15" y="45"/>
                    </a:cubicBezTo>
                    <a:cubicBezTo>
                      <a:pt x="14" y="39"/>
                      <a:pt x="9" y="34"/>
                      <a:pt x="8" y="31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1" name="Freeform 411">
                <a:extLst>
                  <a:ext uri="{FF2B5EF4-FFF2-40B4-BE49-F238E27FC236}">
                    <a16:creationId xmlns:a16="http://schemas.microsoft.com/office/drawing/2014/main" id="{553A5EB3-613D-46C9-84F6-F213942C625E}"/>
                  </a:ext>
                </a:extLst>
              </p:cNvPr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gray">
              <a:xfrm>
                <a:off x="2560638" y="4084638"/>
                <a:ext cx="946150" cy="957263"/>
              </a:xfrm>
              <a:custGeom>
                <a:avLst/>
                <a:gdLst>
                  <a:gd name="T0" fmla="*/ 313 w 584"/>
                  <a:gd name="T1" fmla="*/ 582 h 604"/>
                  <a:gd name="T2" fmla="*/ 346 w 584"/>
                  <a:gd name="T3" fmla="*/ 550 h 604"/>
                  <a:gd name="T4" fmla="*/ 376 w 584"/>
                  <a:gd name="T5" fmla="*/ 502 h 604"/>
                  <a:gd name="T6" fmla="*/ 400 w 584"/>
                  <a:gd name="T7" fmla="*/ 442 h 604"/>
                  <a:gd name="T8" fmla="*/ 445 w 584"/>
                  <a:gd name="T9" fmla="*/ 418 h 604"/>
                  <a:gd name="T10" fmla="*/ 487 w 584"/>
                  <a:gd name="T11" fmla="*/ 399 h 604"/>
                  <a:gd name="T12" fmla="*/ 508 w 584"/>
                  <a:gd name="T13" fmla="*/ 345 h 604"/>
                  <a:gd name="T14" fmla="*/ 518 w 584"/>
                  <a:gd name="T15" fmla="*/ 315 h 604"/>
                  <a:gd name="T16" fmla="*/ 550 w 584"/>
                  <a:gd name="T17" fmla="*/ 235 h 604"/>
                  <a:gd name="T18" fmla="*/ 575 w 584"/>
                  <a:gd name="T19" fmla="*/ 189 h 604"/>
                  <a:gd name="T20" fmla="*/ 515 w 584"/>
                  <a:gd name="T21" fmla="*/ 123 h 604"/>
                  <a:gd name="T22" fmla="*/ 446 w 584"/>
                  <a:gd name="T23" fmla="*/ 105 h 604"/>
                  <a:gd name="T24" fmla="*/ 371 w 584"/>
                  <a:gd name="T25" fmla="*/ 75 h 604"/>
                  <a:gd name="T26" fmla="*/ 346 w 584"/>
                  <a:gd name="T27" fmla="*/ 45 h 604"/>
                  <a:gd name="T28" fmla="*/ 331 w 584"/>
                  <a:gd name="T29" fmla="*/ 10 h 604"/>
                  <a:gd name="T30" fmla="*/ 305 w 584"/>
                  <a:gd name="T31" fmla="*/ 27 h 604"/>
                  <a:gd name="T32" fmla="*/ 274 w 584"/>
                  <a:gd name="T33" fmla="*/ 28 h 604"/>
                  <a:gd name="T34" fmla="*/ 238 w 584"/>
                  <a:gd name="T35" fmla="*/ 43 h 604"/>
                  <a:gd name="T36" fmla="*/ 208 w 584"/>
                  <a:gd name="T37" fmla="*/ 33 h 604"/>
                  <a:gd name="T38" fmla="*/ 191 w 584"/>
                  <a:gd name="T39" fmla="*/ 0 h 604"/>
                  <a:gd name="T40" fmla="*/ 143 w 584"/>
                  <a:gd name="T41" fmla="*/ 12 h 604"/>
                  <a:gd name="T42" fmla="*/ 140 w 584"/>
                  <a:gd name="T43" fmla="*/ 45 h 604"/>
                  <a:gd name="T44" fmla="*/ 113 w 584"/>
                  <a:gd name="T45" fmla="*/ 55 h 604"/>
                  <a:gd name="T46" fmla="*/ 59 w 584"/>
                  <a:gd name="T47" fmla="*/ 54 h 604"/>
                  <a:gd name="T48" fmla="*/ 56 w 584"/>
                  <a:gd name="T49" fmla="*/ 121 h 604"/>
                  <a:gd name="T50" fmla="*/ 17 w 584"/>
                  <a:gd name="T51" fmla="*/ 141 h 604"/>
                  <a:gd name="T52" fmla="*/ 4 w 584"/>
                  <a:gd name="T53" fmla="*/ 177 h 604"/>
                  <a:gd name="T54" fmla="*/ 31 w 584"/>
                  <a:gd name="T55" fmla="*/ 216 h 604"/>
                  <a:gd name="T56" fmla="*/ 91 w 584"/>
                  <a:gd name="T57" fmla="*/ 229 h 604"/>
                  <a:gd name="T58" fmla="*/ 121 w 584"/>
                  <a:gd name="T59" fmla="*/ 216 h 604"/>
                  <a:gd name="T60" fmla="*/ 157 w 584"/>
                  <a:gd name="T61" fmla="*/ 267 h 604"/>
                  <a:gd name="T62" fmla="*/ 184 w 584"/>
                  <a:gd name="T63" fmla="*/ 268 h 604"/>
                  <a:gd name="T64" fmla="*/ 221 w 584"/>
                  <a:gd name="T65" fmla="*/ 312 h 604"/>
                  <a:gd name="T66" fmla="*/ 235 w 584"/>
                  <a:gd name="T67" fmla="*/ 330 h 604"/>
                  <a:gd name="T68" fmla="*/ 232 w 584"/>
                  <a:gd name="T69" fmla="*/ 369 h 604"/>
                  <a:gd name="T70" fmla="*/ 275 w 584"/>
                  <a:gd name="T71" fmla="*/ 412 h 604"/>
                  <a:gd name="T72" fmla="*/ 281 w 584"/>
                  <a:gd name="T73" fmla="*/ 430 h 604"/>
                  <a:gd name="T74" fmla="*/ 298 w 584"/>
                  <a:gd name="T75" fmla="*/ 450 h 604"/>
                  <a:gd name="T76" fmla="*/ 256 w 584"/>
                  <a:gd name="T77" fmla="*/ 517 h 604"/>
                  <a:gd name="T78" fmla="*/ 289 w 584"/>
                  <a:gd name="T79" fmla="*/ 56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84" h="604">
                    <a:moveTo>
                      <a:pt x="305" y="604"/>
                    </a:moveTo>
                    <a:cubicBezTo>
                      <a:pt x="310" y="598"/>
                      <a:pt x="310" y="589"/>
                      <a:pt x="313" y="582"/>
                    </a:cubicBezTo>
                    <a:cubicBezTo>
                      <a:pt x="315" y="571"/>
                      <a:pt x="324" y="571"/>
                      <a:pt x="334" y="570"/>
                    </a:cubicBezTo>
                    <a:cubicBezTo>
                      <a:pt x="341" y="565"/>
                      <a:pt x="341" y="557"/>
                      <a:pt x="346" y="550"/>
                    </a:cubicBezTo>
                    <a:cubicBezTo>
                      <a:pt x="346" y="543"/>
                      <a:pt x="349" y="541"/>
                      <a:pt x="350" y="534"/>
                    </a:cubicBezTo>
                    <a:cubicBezTo>
                      <a:pt x="352" y="519"/>
                      <a:pt x="371" y="515"/>
                      <a:pt x="376" y="502"/>
                    </a:cubicBezTo>
                    <a:cubicBezTo>
                      <a:pt x="374" y="482"/>
                      <a:pt x="372" y="466"/>
                      <a:pt x="388" y="453"/>
                    </a:cubicBezTo>
                    <a:cubicBezTo>
                      <a:pt x="391" y="447"/>
                      <a:pt x="394" y="445"/>
                      <a:pt x="400" y="442"/>
                    </a:cubicBezTo>
                    <a:cubicBezTo>
                      <a:pt x="405" y="437"/>
                      <a:pt x="415" y="433"/>
                      <a:pt x="422" y="429"/>
                    </a:cubicBezTo>
                    <a:cubicBezTo>
                      <a:pt x="429" y="425"/>
                      <a:pt x="437" y="419"/>
                      <a:pt x="445" y="418"/>
                    </a:cubicBezTo>
                    <a:cubicBezTo>
                      <a:pt x="453" y="417"/>
                      <a:pt x="462" y="428"/>
                      <a:pt x="469" y="424"/>
                    </a:cubicBezTo>
                    <a:cubicBezTo>
                      <a:pt x="471" y="413"/>
                      <a:pt x="478" y="405"/>
                      <a:pt x="487" y="399"/>
                    </a:cubicBezTo>
                    <a:cubicBezTo>
                      <a:pt x="490" y="394"/>
                      <a:pt x="493" y="391"/>
                      <a:pt x="494" y="385"/>
                    </a:cubicBezTo>
                    <a:cubicBezTo>
                      <a:pt x="496" y="368"/>
                      <a:pt x="494" y="355"/>
                      <a:pt x="508" y="345"/>
                    </a:cubicBezTo>
                    <a:cubicBezTo>
                      <a:pt x="510" y="336"/>
                      <a:pt x="516" y="332"/>
                      <a:pt x="523" y="328"/>
                    </a:cubicBezTo>
                    <a:cubicBezTo>
                      <a:pt x="528" y="321"/>
                      <a:pt x="522" y="321"/>
                      <a:pt x="518" y="315"/>
                    </a:cubicBezTo>
                    <a:cubicBezTo>
                      <a:pt x="515" y="298"/>
                      <a:pt x="507" y="272"/>
                      <a:pt x="523" y="262"/>
                    </a:cubicBezTo>
                    <a:cubicBezTo>
                      <a:pt x="532" y="249"/>
                      <a:pt x="535" y="244"/>
                      <a:pt x="550" y="235"/>
                    </a:cubicBezTo>
                    <a:cubicBezTo>
                      <a:pt x="553" y="231"/>
                      <a:pt x="556" y="226"/>
                      <a:pt x="559" y="222"/>
                    </a:cubicBezTo>
                    <a:cubicBezTo>
                      <a:pt x="560" y="214"/>
                      <a:pt x="565" y="191"/>
                      <a:pt x="575" y="189"/>
                    </a:cubicBezTo>
                    <a:cubicBezTo>
                      <a:pt x="584" y="174"/>
                      <a:pt x="576" y="151"/>
                      <a:pt x="556" y="145"/>
                    </a:cubicBezTo>
                    <a:cubicBezTo>
                      <a:pt x="542" y="137"/>
                      <a:pt x="531" y="126"/>
                      <a:pt x="515" y="123"/>
                    </a:cubicBezTo>
                    <a:cubicBezTo>
                      <a:pt x="492" y="111"/>
                      <a:pt x="498" y="112"/>
                      <a:pt x="460" y="111"/>
                    </a:cubicBezTo>
                    <a:cubicBezTo>
                      <a:pt x="455" y="109"/>
                      <a:pt x="452" y="106"/>
                      <a:pt x="446" y="105"/>
                    </a:cubicBezTo>
                    <a:cubicBezTo>
                      <a:pt x="440" y="102"/>
                      <a:pt x="435" y="97"/>
                      <a:pt x="428" y="96"/>
                    </a:cubicBezTo>
                    <a:cubicBezTo>
                      <a:pt x="413" y="77"/>
                      <a:pt x="397" y="76"/>
                      <a:pt x="371" y="75"/>
                    </a:cubicBezTo>
                    <a:cubicBezTo>
                      <a:pt x="363" y="69"/>
                      <a:pt x="358" y="67"/>
                      <a:pt x="353" y="57"/>
                    </a:cubicBezTo>
                    <a:cubicBezTo>
                      <a:pt x="352" y="51"/>
                      <a:pt x="351" y="49"/>
                      <a:pt x="346" y="45"/>
                    </a:cubicBezTo>
                    <a:cubicBezTo>
                      <a:pt x="343" y="37"/>
                      <a:pt x="336" y="32"/>
                      <a:pt x="332" y="24"/>
                    </a:cubicBezTo>
                    <a:cubicBezTo>
                      <a:pt x="332" y="19"/>
                      <a:pt x="333" y="14"/>
                      <a:pt x="331" y="10"/>
                    </a:cubicBezTo>
                    <a:cubicBezTo>
                      <a:pt x="331" y="9"/>
                      <a:pt x="326" y="19"/>
                      <a:pt x="326" y="19"/>
                    </a:cubicBezTo>
                    <a:cubicBezTo>
                      <a:pt x="323" y="25"/>
                      <a:pt x="311" y="24"/>
                      <a:pt x="305" y="27"/>
                    </a:cubicBezTo>
                    <a:cubicBezTo>
                      <a:pt x="299" y="29"/>
                      <a:pt x="294" y="27"/>
                      <a:pt x="289" y="27"/>
                    </a:cubicBezTo>
                    <a:cubicBezTo>
                      <a:pt x="284" y="27"/>
                      <a:pt x="281" y="27"/>
                      <a:pt x="274" y="28"/>
                    </a:cubicBezTo>
                    <a:cubicBezTo>
                      <a:pt x="267" y="29"/>
                      <a:pt x="254" y="34"/>
                      <a:pt x="248" y="36"/>
                    </a:cubicBezTo>
                    <a:cubicBezTo>
                      <a:pt x="243" y="40"/>
                      <a:pt x="244" y="42"/>
                      <a:pt x="238" y="43"/>
                    </a:cubicBezTo>
                    <a:cubicBezTo>
                      <a:pt x="233" y="45"/>
                      <a:pt x="225" y="49"/>
                      <a:pt x="220" y="51"/>
                    </a:cubicBezTo>
                    <a:cubicBezTo>
                      <a:pt x="214" y="45"/>
                      <a:pt x="215" y="38"/>
                      <a:pt x="208" y="33"/>
                    </a:cubicBezTo>
                    <a:cubicBezTo>
                      <a:pt x="205" y="26"/>
                      <a:pt x="208" y="17"/>
                      <a:pt x="205" y="12"/>
                    </a:cubicBezTo>
                    <a:cubicBezTo>
                      <a:pt x="202" y="7"/>
                      <a:pt x="196" y="1"/>
                      <a:pt x="191" y="0"/>
                    </a:cubicBezTo>
                    <a:cubicBezTo>
                      <a:pt x="184" y="1"/>
                      <a:pt x="182" y="4"/>
                      <a:pt x="176" y="7"/>
                    </a:cubicBezTo>
                    <a:cubicBezTo>
                      <a:pt x="166" y="11"/>
                      <a:pt x="152" y="11"/>
                      <a:pt x="143" y="12"/>
                    </a:cubicBezTo>
                    <a:cubicBezTo>
                      <a:pt x="137" y="15"/>
                      <a:pt x="143" y="25"/>
                      <a:pt x="143" y="30"/>
                    </a:cubicBezTo>
                    <a:cubicBezTo>
                      <a:pt x="143" y="35"/>
                      <a:pt x="142" y="41"/>
                      <a:pt x="140" y="45"/>
                    </a:cubicBezTo>
                    <a:cubicBezTo>
                      <a:pt x="138" y="49"/>
                      <a:pt x="132" y="50"/>
                      <a:pt x="128" y="52"/>
                    </a:cubicBezTo>
                    <a:cubicBezTo>
                      <a:pt x="122" y="57"/>
                      <a:pt x="120" y="57"/>
                      <a:pt x="113" y="55"/>
                    </a:cubicBezTo>
                    <a:cubicBezTo>
                      <a:pt x="108" y="51"/>
                      <a:pt x="103" y="49"/>
                      <a:pt x="98" y="46"/>
                    </a:cubicBezTo>
                    <a:cubicBezTo>
                      <a:pt x="66" y="48"/>
                      <a:pt x="75" y="44"/>
                      <a:pt x="59" y="54"/>
                    </a:cubicBezTo>
                    <a:cubicBezTo>
                      <a:pt x="53" y="61"/>
                      <a:pt x="59" y="77"/>
                      <a:pt x="59" y="88"/>
                    </a:cubicBezTo>
                    <a:cubicBezTo>
                      <a:pt x="59" y="99"/>
                      <a:pt x="60" y="114"/>
                      <a:pt x="56" y="121"/>
                    </a:cubicBezTo>
                    <a:cubicBezTo>
                      <a:pt x="53" y="136"/>
                      <a:pt x="40" y="129"/>
                      <a:pt x="35" y="133"/>
                    </a:cubicBezTo>
                    <a:cubicBezTo>
                      <a:pt x="29" y="136"/>
                      <a:pt x="21" y="137"/>
                      <a:pt x="17" y="141"/>
                    </a:cubicBezTo>
                    <a:cubicBezTo>
                      <a:pt x="13" y="146"/>
                      <a:pt x="11" y="150"/>
                      <a:pt x="10" y="156"/>
                    </a:cubicBezTo>
                    <a:cubicBezTo>
                      <a:pt x="8" y="162"/>
                      <a:pt x="5" y="170"/>
                      <a:pt x="4" y="177"/>
                    </a:cubicBezTo>
                    <a:cubicBezTo>
                      <a:pt x="3" y="183"/>
                      <a:pt x="0" y="193"/>
                      <a:pt x="5" y="199"/>
                    </a:cubicBezTo>
                    <a:cubicBezTo>
                      <a:pt x="9" y="205"/>
                      <a:pt x="23" y="211"/>
                      <a:pt x="31" y="216"/>
                    </a:cubicBezTo>
                    <a:cubicBezTo>
                      <a:pt x="38" y="221"/>
                      <a:pt x="44" y="229"/>
                      <a:pt x="53" y="231"/>
                    </a:cubicBezTo>
                    <a:cubicBezTo>
                      <a:pt x="64" y="230"/>
                      <a:pt x="81" y="231"/>
                      <a:pt x="91" y="229"/>
                    </a:cubicBezTo>
                    <a:cubicBezTo>
                      <a:pt x="100" y="224"/>
                      <a:pt x="99" y="214"/>
                      <a:pt x="109" y="213"/>
                    </a:cubicBezTo>
                    <a:cubicBezTo>
                      <a:pt x="111" y="213"/>
                      <a:pt x="119" y="212"/>
                      <a:pt x="121" y="216"/>
                    </a:cubicBezTo>
                    <a:cubicBezTo>
                      <a:pt x="127" y="226"/>
                      <a:pt x="125" y="245"/>
                      <a:pt x="136" y="252"/>
                    </a:cubicBezTo>
                    <a:cubicBezTo>
                      <a:pt x="141" y="260"/>
                      <a:pt x="151" y="264"/>
                      <a:pt x="157" y="267"/>
                    </a:cubicBezTo>
                    <a:cubicBezTo>
                      <a:pt x="163" y="270"/>
                      <a:pt x="168" y="268"/>
                      <a:pt x="172" y="268"/>
                    </a:cubicBezTo>
                    <a:cubicBezTo>
                      <a:pt x="176" y="270"/>
                      <a:pt x="180" y="266"/>
                      <a:pt x="184" y="268"/>
                    </a:cubicBezTo>
                    <a:cubicBezTo>
                      <a:pt x="188" y="270"/>
                      <a:pt x="193" y="277"/>
                      <a:pt x="193" y="277"/>
                    </a:cubicBezTo>
                    <a:cubicBezTo>
                      <a:pt x="195" y="313"/>
                      <a:pt x="189" y="309"/>
                      <a:pt x="221" y="312"/>
                    </a:cubicBezTo>
                    <a:cubicBezTo>
                      <a:pt x="228" y="320"/>
                      <a:pt x="230" y="321"/>
                      <a:pt x="232" y="324"/>
                    </a:cubicBezTo>
                    <a:cubicBezTo>
                      <a:pt x="234" y="327"/>
                      <a:pt x="234" y="324"/>
                      <a:pt x="235" y="330"/>
                    </a:cubicBezTo>
                    <a:cubicBezTo>
                      <a:pt x="238" y="337"/>
                      <a:pt x="236" y="352"/>
                      <a:pt x="236" y="358"/>
                    </a:cubicBezTo>
                    <a:cubicBezTo>
                      <a:pt x="236" y="364"/>
                      <a:pt x="231" y="361"/>
                      <a:pt x="232" y="369"/>
                    </a:cubicBezTo>
                    <a:cubicBezTo>
                      <a:pt x="234" y="400"/>
                      <a:pt x="224" y="406"/>
                      <a:pt x="245" y="409"/>
                    </a:cubicBezTo>
                    <a:cubicBezTo>
                      <a:pt x="254" y="413"/>
                      <a:pt x="266" y="407"/>
                      <a:pt x="275" y="412"/>
                    </a:cubicBezTo>
                    <a:cubicBezTo>
                      <a:pt x="279" y="415"/>
                      <a:pt x="275" y="422"/>
                      <a:pt x="277" y="427"/>
                    </a:cubicBezTo>
                    <a:cubicBezTo>
                      <a:pt x="278" y="429"/>
                      <a:pt x="279" y="429"/>
                      <a:pt x="281" y="430"/>
                    </a:cubicBezTo>
                    <a:cubicBezTo>
                      <a:pt x="284" y="431"/>
                      <a:pt x="286" y="431"/>
                      <a:pt x="289" y="432"/>
                    </a:cubicBezTo>
                    <a:cubicBezTo>
                      <a:pt x="290" y="435"/>
                      <a:pt x="298" y="442"/>
                      <a:pt x="298" y="450"/>
                    </a:cubicBezTo>
                    <a:cubicBezTo>
                      <a:pt x="298" y="458"/>
                      <a:pt x="294" y="467"/>
                      <a:pt x="287" y="478"/>
                    </a:cubicBezTo>
                    <a:cubicBezTo>
                      <a:pt x="281" y="486"/>
                      <a:pt x="264" y="506"/>
                      <a:pt x="256" y="517"/>
                    </a:cubicBezTo>
                    <a:cubicBezTo>
                      <a:pt x="255" y="523"/>
                      <a:pt x="250" y="526"/>
                      <a:pt x="253" y="532"/>
                    </a:cubicBezTo>
                    <a:cubicBezTo>
                      <a:pt x="254" y="535"/>
                      <a:pt x="284" y="561"/>
                      <a:pt x="289" y="564"/>
                    </a:cubicBezTo>
                    <a:cubicBezTo>
                      <a:pt x="293" y="569"/>
                      <a:pt x="298" y="572"/>
                      <a:pt x="302" y="577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2" name="Freeform 412">
                <a:extLst>
                  <a:ext uri="{FF2B5EF4-FFF2-40B4-BE49-F238E27FC236}">
                    <a16:creationId xmlns:a16="http://schemas.microsoft.com/office/drawing/2014/main" id="{803A89D1-C17A-4713-8312-B2CC1C60E106}"/>
                  </a:ext>
                </a:extLst>
              </p:cNvPr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gray">
              <a:xfrm>
                <a:off x="2370138" y="4186238"/>
                <a:ext cx="307975" cy="444500"/>
              </a:xfrm>
              <a:custGeom>
                <a:avLst/>
                <a:gdLst>
                  <a:gd name="T0" fmla="*/ 20 w 189"/>
                  <a:gd name="T1" fmla="*/ 66 h 280"/>
                  <a:gd name="T2" fmla="*/ 17 w 189"/>
                  <a:gd name="T3" fmla="*/ 98 h 280"/>
                  <a:gd name="T4" fmla="*/ 31 w 189"/>
                  <a:gd name="T5" fmla="*/ 113 h 280"/>
                  <a:gd name="T6" fmla="*/ 40 w 189"/>
                  <a:gd name="T7" fmla="*/ 126 h 280"/>
                  <a:gd name="T8" fmla="*/ 52 w 189"/>
                  <a:gd name="T9" fmla="*/ 156 h 280"/>
                  <a:gd name="T10" fmla="*/ 58 w 189"/>
                  <a:gd name="T11" fmla="*/ 177 h 280"/>
                  <a:gd name="T12" fmla="*/ 79 w 189"/>
                  <a:gd name="T13" fmla="*/ 195 h 280"/>
                  <a:gd name="T14" fmla="*/ 85 w 189"/>
                  <a:gd name="T15" fmla="*/ 213 h 280"/>
                  <a:gd name="T16" fmla="*/ 109 w 189"/>
                  <a:gd name="T17" fmla="*/ 240 h 280"/>
                  <a:gd name="T18" fmla="*/ 124 w 189"/>
                  <a:gd name="T19" fmla="*/ 246 h 280"/>
                  <a:gd name="T20" fmla="*/ 148 w 189"/>
                  <a:gd name="T21" fmla="*/ 258 h 280"/>
                  <a:gd name="T22" fmla="*/ 163 w 189"/>
                  <a:gd name="T23" fmla="*/ 270 h 280"/>
                  <a:gd name="T24" fmla="*/ 182 w 189"/>
                  <a:gd name="T25" fmla="*/ 255 h 280"/>
                  <a:gd name="T26" fmla="*/ 187 w 189"/>
                  <a:gd name="T27" fmla="*/ 185 h 280"/>
                  <a:gd name="T28" fmla="*/ 167 w 189"/>
                  <a:gd name="T29" fmla="*/ 168 h 280"/>
                  <a:gd name="T30" fmla="*/ 142 w 189"/>
                  <a:gd name="T31" fmla="*/ 150 h 280"/>
                  <a:gd name="T32" fmla="*/ 130 w 189"/>
                  <a:gd name="T33" fmla="*/ 143 h 280"/>
                  <a:gd name="T34" fmla="*/ 119 w 189"/>
                  <a:gd name="T35" fmla="*/ 129 h 280"/>
                  <a:gd name="T36" fmla="*/ 127 w 189"/>
                  <a:gd name="T37" fmla="*/ 96 h 280"/>
                  <a:gd name="T38" fmla="*/ 142 w 189"/>
                  <a:gd name="T39" fmla="*/ 74 h 280"/>
                  <a:gd name="T40" fmla="*/ 163 w 189"/>
                  <a:gd name="T41" fmla="*/ 68 h 280"/>
                  <a:gd name="T42" fmla="*/ 175 w 189"/>
                  <a:gd name="T43" fmla="*/ 53 h 280"/>
                  <a:gd name="T44" fmla="*/ 136 w 189"/>
                  <a:gd name="T45" fmla="*/ 42 h 280"/>
                  <a:gd name="T46" fmla="*/ 104 w 189"/>
                  <a:gd name="T47" fmla="*/ 12 h 280"/>
                  <a:gd name="T48" fmla="*/ 82 w 189"/>
                  <a:gd name="T49" fmla="*/ 0 h 280"/>
                  <a:gd name="T50" fmla="*/ 94 w 189"/>
                  <a:gd name="T51" fmla="*/ 21 h 280"/>
                  <a:gd name="T52" fmla="*/ 80 w 189"/>
                  <a:gd name="T53" fmla="*/ 39 h 280"/>
                  <a:gd name="T54" fmla="*/ 62 w 189"/>
                  <a:gd name="T55" fmla="*/ 44 h 280"/>
                  <a:gd name="T56" fmla="*/ 50 w 189"/>
                  <a:gd name="T57" fmla="*/ 54 h 280"/>
                  <a:gd name="T58" fmla="*/ 38 w 189"/>
                  <a:gd name="T59" fmla="*/ 78 h 280"/>
                  <a:gd name="T60" fmla="*/ 14 w 189"/>
                  <a:gd name="T61" fmla="*/ 66 h 280"/>
                  <a:gd name="T62" fmla="*/ 20 w 189"/>
                  <a:gd name="T63" fmla="*/ 66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9" h="280">
                    <a:moveTo>
                      <a:pt x="20" y="66"/>
                    </a:moveTo>
                    <a:cubicBezTo>
                      <a:pt x="0" y="56"/>
                      <a:pt x="6" y="92"/>
                      <a:pt x="17" y="98"/>
                    </a:cubicBezTo>
                    <a:cubicBezTo>
                      <a:pt x="21" y="103"/>
                      <a:pt x="26" y="110"/>
                      <a:pt x="31" y="113"/>
                    </a:cubicBezTo>
                    <a:cubicBezTo>
                      <a:pt x="39" y="123"/>
                      <a:pt x="36" y="119"/>
                      <a:pt x="40" y="126"/>
                    </a:cubicBezTo>
                    <a:cubicBezTo>
                      <a:pt x="42" y="138"/>
                      <a:pt x="43" y="147"/>
                      <a:pt x="52" y="156"/>
                    </a:cubicBezTo>
                    <a:cubicBezTo>
                      <a:pt x="53" y="166"/>
                      <a:pt x="52" y="170"/>
                      <a:pt x="58" y="177"/>
                    </a:cubicBezTo>
                    <a:cubicBezTo>
                      <a:pt x="60" y="190"/>
                      <a:pt x="66" y="193"/>
                      <a:pt x="79" y="195"/>
                    </a:cubicBezTo>
                    <a:cubicBezTo>
                      <a:pt x="80" y="201"/>
                      <a:pt x="82" y="207"/>
                      <a:pt x="85" y="213"/>
                    </a:cubicBezTo>
                    <a:cubicBezTo>
                      <a:pt x="87" y="227"/>
                      <a:pt x="95" y="237"/>
                      <a:pt x="109" y="240"/>
                    </a:cubicBezTo>
                    <a:cubicBezTo>
                      <a:pt x="114" y="244"/>
                      <a:pt x="118" y="245"/>
                      <a:pt x="124" y="246"/>
                    </a:cubicBezTo>
                    <a:cubicBezTo>
                      <a:pt x="130" y="251"/>
                      <a:pt x="140" y="256"/>
                      <a:pt x="148" y="258"/>
                    </a:cubicBezTo>
                    <a:cubicBezTo>
                      <a:pt x="155" y="263"/>
                      <a:pt x="154" y="268"/>
                      <a:pt x="163" y="270"/>
                    </a:cubicBezTo>
                    <a:cubicBezTo>
                      <a:pt x="176" y="280"/>
                      <a:pt x="180" y="265"/>
                      <a:pt x="182" y="255"/>
                    </a:cubicBezTo>
                    <a:cubicBezTo>
                      <a:pt x="186" y="241"/>
                      <a:pt x="189" y="199"/>
                      <a:pt x="187" y="185"/>
                    </a:cubicBezTo>
                    <a:cubicBezTo>
                      <a:pt x="185" y="171"/>
                      <a:pt x="174" y="174"/>
                      <a:pt x="167" y="168"/>
                    </a:cubicBezTo>
                    <a:cubicBezTo>
                      <a:pt x="160" y="151"/>
                      <a:pt x="150" y="157"/>
                      <a:pt x="142" y="150"/>
                    </a:cubicBezTo>
                    <a:cubicBezTo>
                      <a:pt x="136" y="145"/>
                      <a:pt x="134" y="146"/>
                      <a:pt x="130" y="143"/>
                    </a:cubicBezTo>
                    <a:cubicBezTo>
                      <a:pt x="126" y="140"/>
                      <a:pt x="119" y="137"/>
                      <a:pt x="119" y="129"/>
                    </a:cubicBezTo>
                    <a:cubicBezTo>
                      <a:pt x="117" y="115"/>
                      <a:pt x="120" y="108"/>
                      <a:pt x="127" y="96"/>
                    </a:cubicBezTo>
                    <a:cubicBezTo>
                      <a:pt x="128" y="83"/>
                      <a:pt x="128" y="76"/>
                      <a:pt x="142" y="74"/>
                    </a:cubicBezTo>
                    <a:cubicBezTo>
                      <a:pt x="149" y="72"/>
                      <a:pt x="156" y="69"/>
                      <a:pt x="163" y="68"/>
                    </a:cubicBezTo>
                    <a:cubicBezTo>
                      <a:pt x="169" y="65"/>
                      <a:pt x="172" y="59"/>
                      <a:pt x="175" y="53"/>
                    </a:cubicBezTo>
                    <a:cubicBezTo>
                      <a:pt x="169" y="38"/>
                      <a:pt x="149" y="43"/>
                      <a:pt x="136" y="42"/>
                    </a:cubicBezTo>
                    <a:cubicBezTo>
                      <a:pt x="124" y="35"/>
                      <a:pt x="117" y="20"/>
                      <a:pt x="104" y="12"/>
                    </a:cubicBezTo>
                    <a:cubicBezTo>
                      <a:pt x="100" y="7"/>
                      <a:pt x="87" y="4"/>
                      <a:pt x="82" y="0"/>
                    </a:cubicBezTo>
                    <a:cubicBezTo>
                      <a:pt x="79" y="2"/>
                      <a:pt x="94" y="15"/>
                      <a:pt x="94" y="21"/>
                    </a:cubicBezTo>
                    <a:cubicBezTo>
                      <a:pt x="94" y="27"/>
                      <a:pt x="85" y="35"/>
                      <a:pt x="80" y="39"/>
                    </a:cubicBezTo>
                    <a:cubicBezTo>
                      <a:pt x="74" y="42"/>
                      <a:pt x="68" y="42"/>
                      <a:pt x="62" y="44"/>
                    </a:cubicBezTo>
                    <a:cubicBezTo>
                      <a:pt x="57" y="47"/>
                      <a:pt x="55" y="51"/>
                      <a:pt x="50" y="54"/>
                    </a:cubicBezTo>
                    <a:cubicBezTo>
                      <a:pt x="48" y="62"/>
                      <a:pt x="45" y="77"/>
                      <a:pt x="38" y="78"/>
                    </a:cubicBezTo>
                    <a:cubicBezTo>
                      <a:pt x="35" y="77"/>
                      <a:pt x="14" y="67"/>
                      <a:pt x="14" y="66"/>
                    </a:cubicBezTo>
                    <a:cubicBezTo>
                      <a:pt x="15" y="64"/>
                      <a:pt x="18" y="66"/>
                      <a:pt x="20" y="6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3" name="Freeform 413">
                <a:extLst>
                  <a:ext uri="{FF2B5EF4-FFF2-40B4-BE49-F238E27FC236}">
                    <a16:creationId xmlns:a16="http://schemas.microsoft.com/office/drawing/2014/main" id="{594C037C-58A8-4830-80C4-21B76C54EEE2}"/>
                  </a:ext>
                </a:extLst>
              </p:cNvPr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gray">
              <a:xfrm>
                <a:off x="2382838" y="4167188"/>
                <a:ext cx="134938" cy="147638"/>
              </a:xfrm>
              <a:custGeom>
                <a:avLst/>
                <a:gdLst>
                  <a:gd name="T0" fmla="*/ 30 w 84"/>
                  <a:gd name="T1" fmla="*/ 0 h 94"/>
                  <a:gd name="T2" fmla="*/ 12 w 84"/>
                  <a:gd name="T3" fmla="*/ 18 h 94"/>
                  <a:gd name="T4" fmla="*/ 4 w 84"/>
                  <a:gd name="T5" fmla="*/ 38 h 94"/>
                  <a:gd name="T6" fmla="*/ 19 w 84"/>
                  <a:gd name="T7" fmla="*/ 51 h 94"/>
                  <a:gd name="T8" fmla="*/ 16 w 84"/>
                  <a:gd name="T9" fmla="*/ 74 h 94"/>
                  <a:gd name="T10" fmla="*/ 19 w 84"/>
                  <a:gd name="T11" fmla="*/ 84 h 94"/>
                  <a:gd name="T12" fmla="*/ 36 w 84"/>
                  <a:gd name="T13" fmla="*/ 87 h 94"/>
                  <a:gd name="T14" fmla="*/ 42 w 84"/>
                  <a:gd name="T15" fmla="*/ 72 h 94"/>
                  <a:gd name="T16" fmla="*/ 72 w 84"/>
                  <a:gd name="T17" fmla="*/ 50 h 94"/>
                  <a:gd name="T18" fmla="*/ 84 w 84"/>
                  <a:gd name="T19" fmla="*/ 35 h 94"/>
                  <a:gd name="T20" fmla="*/ 51 w 84"/>
                  <a:gd name="T21" fmla="*/ 0 h 94"/>
                  <a:gd name="T22" fmla="*/ 30 w 84"/>
                  <a:gd name="T2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4" h="94">
                    <a:moveTo>
                      <a:pt x="30" y="0"/>
                    </a:moveTo>
                    <a:cubicBezTo>
                      <a:pt x="20" y="4"/>
                      <a:pt x="20" y="12"/>
                      <a:pt x="12" y="18"/>
                    </a:cubicBezTo>
                    <a:cubicBezTo>
                      <a:pt x="9" y="25"/>
                      <a:pt x="7" y="31"/>
                      <a:pt x="4" y="38"/>
                    </a:cubicBezTo>
                    <a:cubicBezTo>
                      <a:pt x="0" y="61"/>
                      <a:pt x="4" y="62"/>
                      <a:pt x="19" y="51"/>
                    </a:cubicBezTo>
                    <a:cubicBezTo>
                      <a:pt x="22" y="59"/>
                      <a:pt x="20" y="67"/>
                      <a:pt x="16" y="74"/>
                    </a:cubicBezTo>
                    <a:cubicBezTo>
                      <a:pt x="14" y="84"/>
                      <a:pt x="12" y="79"/>
                      <a:pt x="19" y="84"/>
                    </a:cubicBezTo>
                    <a:cubicBezTo>
                      <a:pt x="21" y="89"/>
                      <a:pt x="27" y="94"/>
                      <a:pt x="36" y="87"/>
                    </a:cubicBezTo>
                    <a:cubicBezTo>
                      <a:pt x="37" y="87"/>
                      <a:pt x="41" y="74"/>
                      <a:pt x="42" y="72"/>
                    </a:cubicBezTo>
                    <a:cubicBezTo>
                      <a:pt x="49" y="62"/>
                      <a:pt x="60" y="52"/>
                      <a:pt x="72" y="50"/>
                    </a:cubicBezTo>
                    <a:cubicBezTo>
                      <a:pt x="79" y="47"/>
                      <a:pt x="80" y="41"/>
                      <a:pt x="84" y="35"/>
                    </a:cubicBezTo>
                    <a:cubicBezTo>
                      <a:pt x="81" y="17"/>
                      <a:pt x="66" y="8"/>
                      <a:pt x="51" y="0"/>
                    </a:cubicBezTo>
                    <a:cubicBezTo>
                      <a:pt x="47" y="1"/>
                      <a:pt x="32" y="6"/>
                      <a:pt x="30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4" name="Freeform 414">
                <a:extLst>
                  <a:ext uri="{FF2B5EF4-FFF2-40B4-BE49-F238E27FC236}">
                    <a16:creationId xmlns:a16="http://schemas.microsoft.com/office/drawing/2014/main" id="{3BDC4205-4DA2-424C-AB3C-3BC1DE7AE856}"/>
                  </a:ext>
                </a:extLst>
              </p:cNvPr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gray">
              <a:xfrm>
                <a:off x="2930526" y="4922838"/>
                <a:ext cx="131763" cy="134938"/>
              </a:xfrm>
              <a:custGeom>
                <a:avLst/>
                <a:gdLst>
                  <a:gd name="T0" fmla="*/ 23 w 82"/>
                  <a:gd name="T1" fmla="*/ 0 h 84"/>
                  <a:gd name="T2" fmla="*/ 59 w 82"/>
                  <a:gd name="T3" fmla="*/ 30 h 84"/>
                  <a:gd name="T4" fmla="*/ 67 w 82"/>
                  <a:gd name="T5" fmla="*/ 38 h 84"/>
                  <a:gd name="T6" fmla="*/ 76 w 82"/>
                  <a:gd name="T7" fmla="*/ 51 h 84"/>
                  <a:gd name="T8" fmla="*/ 58 w 82"/>
                  <a:gd name="T9" fmla="*/ 84 h 84"/>
                  <a:gd name="T10" fmla="*/ 26 w 82"/>
                  <a:gd name="T11" fmla="*/ 83 h 84"/>
                  <a:gd name="T12" fmla="*/ 5 w 82"/>
                  <a:gd name="T13" fmla="*/ 74 h 84"/>
                  <a:gd name="T14" fmla="*/ 2 w 82"/>
                  <a:gd name="T15" fmla="*/ 48 h 84"/>
                  <a:gd name="T16" fmla="*/ 4 w 82"/>
                  <a:gd name="T17" fmla="*/ 20 h 84"/>
                  <a:gd name="T18" fmla="*/ 23 w 82"/>
                  <a:gd name="T1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2" h="84">
                    <a:moveTo>
                      <a:pt x="23" y="0"/>
                    </a:moveTo>
                    <a:cubicBezTo>
                      <a:pt x="31" y="10"/>
                      <a:pt x="48" y="23"/>
                      <a:pt x="59" y="30"/>
                    </a:cubicBezTo>
                    <a:cubicBezTo>
                      <a:pt x="64" y="36"/>
                      <a:pt x="61" y="34"/>
                      <a:pt x="67" y="38"/>
                    </a:cubicBezTo>
                    <a:cubicBezTo>
                      <a:pt x="71" y="45"/>
                      <a:pt x="72" y="44"/>
                      <a:pt x="76" y="51"/>
                    </a:cubicBezTo>
                    <a:cubicBezTo>
                      <a:pt x="80" y="77"/>
                      <a:pt x="82" y="82"/>
                      <a:pt x="58" y="84"/>
                    </a:cubicBezTo>
                    <a:cubicBezTo>
                      <a:pt x="47" y="84"/>
                      <a:pt x="37" y="84"/>
                      <a:pt x="26" y="83"/>
                    </a:cubicBezTo>
                    <a:cubicBezTo>
                      <a:pt x="19" y="82"/>
                      <a:pt x="13" y="75"/>
                      <a:pt x="5" y="74"/>
                    </a:cubicBezTo>
                    <a:cubicBezTo>
                      <a:pt x="0" y="67"/>
                      <a:pt x="2" y="57"/>
                      <a:pt x="2" y="48"/>
                    </a:cubicBezTo>
                    <a:cubicBezTo>
                      <a:pt x="2" y="39"/>
                      <a:pt x="1" y="28"/>
                      <a:pt x="4" y="20"/>
                    </a:cubicBezTo>
                    <a:cubicBezTo>
                      <a:pt x="7" y="12"/>
                      <a:pt x="20" y="4"/>
                      <a:pt x="23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5" name="Freeform 416">
                <a:extLst>
                  <a:ext uri="{FF2B5EF4-FFF2-40B4-BE49-F238E27FC236}">
                    <a16:creationId xmlns:a16="http://schemas.microsoft.com/office/drawing/2014/main" id="{A7C7B348-5C59-4CA2-94CC-1F4A52188E10}"/>
                  </a:ext>
                </a:extLst>
              </p:cNvPr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gray">
              <a:xfrm>
                <a:off x="2116138" y="3754438"/>
                <a:ext cx="92075" cy="109538"/>
              </a:xfrm>
              <a:custGeom>
                <a:avLst/>
                <a:gdLst>
                  <a:gd name="T0" fmla="*/ 1 w 57"/>
                  <a:gd name="T1" fmla="*/ 58 h 69"/>
                  <a:gd name="T2" fmla="*/ 15 w 57"/>
                  <a:gd name="T3" fmla="*/ 68 h 69"/>
                  <a:gd name="T4" fmla="*/ 34 w 57"/>
                  <a:gd name="T5" fmla="*/ 65 h 69"/>
                  <a:gd name="T6" fmla="*/ 52 w 57"/>
                  <a:gd name="T7" fmla="*/ 49 h 69"/>
                  <a:gd name="T8" fmla="*/ 46 w 57"/>
                  <a:gd name="T9" fmla="*/ 40 h 69"/>
                  <a:gd name="T10" fmla="*/ 52 w 57"/>
                  <a:gd name="T11" fmla="*/ 20 h 69"/>
                  <a:gd name="T12" fmla="*/ 57 w 57"/>
                  <a:gd name="T13" fmla="*/ 2 h 69"/>
                  <a:gd name="T14" fmla="*/ 49 w 57"/>
                  <a:gd name="T15" fmla="*/ 7 h 69"/>
                  <a:gd name="T16" fmla="*/ 25 w 57"/>
                  <a:gd name="T17" fmla="*/ 7 h 69"/>
                  <a:gd name="T18" fmla="*/ 27 w 57"/>
                  <a:gd name="T19" fmla="*/ 22 h 69"/>
                  <a:gd name="T20" fmla="*/ 37 w 57"/>
                  <a:gd name="T21" fmla="*/ 34 h 69"/>
                  <a:gd name="T22" fmla="*/ 15 w 57"/>
                  <a:gd name="T23" fmla="*/ 35 h 69"/>
                  <a:gd name="T24" fmla="*/ 6 w 57"/>
                  <a:gd name="T25" fmla="*/ 46 h 69"/>
                  <a:gd name="T26" fmla="*/ 1 w 57"/>
                  <a:gd name="T27" fmla="*/ 5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69">
                    <a:moveTo>
                      <a:pt x="1" y="58"/>
                    </a:moveTo>
                    <a:cubicBezTo>
                      <a:pt x="2" y="62"/>
                      <a:pt x="10" y="67"/>
                      <a:pt x="15" y="68"/>
                    </a:cubicBezTo>
                    <a:cubicBezTo>
                      <a:pt x="20" y="69"/>
                      <a:pt x="28" y="68"/>
                      <a:pt x="34" y="65"/>
                    </a:cubicBezTo>
                    <a:cubicBezTo>
                      <a:pt x="40" y="62"/>
                      <a:pt x="50" y="53"/>
                      <a:pt x="52" y="49"/>
                    </a:cubicBezTo>
                    <a:cubicBezTo>
                      <a:pt x="54" y="45"/>
                      <a:pt x="46" y="45"/>
                      <a:pt x="46" y="40"/>
                    </a:cubicBezTo>
                    <a:cubicBezTo>
                      <a:pt x="46" y="35"/>
                      <a:pt x="50" y="26"/>
                      <a:pt x="52" y="20"/>
                    </a:cubicBezTo>
                    <a:cubicBezTo>
                      <a:pt x="54" y="14"/>
                      <a:pt x="57" y="4"/>
                      <a:pt x="57" y="2"/>
                    </a:cubicBezTo>
                    <a:cubicBezTo>
                      <a:pt x="57" y="0"/>
                      <a:pt x="54" y="6"/>
                      <a:pt x="49" y="7"/>
                    </a:cubicBezTo>
                    <a:cubicBezTo>
                      <a:pt x="44" y="8"/>
                      <a:pt x="29" y="5"/>
                      <a:pt x="25" y="7"/>
                    </a:cubicBezTo>
                    <a:cubicBezTo>
                      <a:pt x="21" y="9"/>
                      <a:pt x="25" y="18"/>
                      <a:pt x="27" y="22"/>
                    </a:cubicBezTo>
                    <a:cubicBezTo>
                      <a:pt x="29" y="26"/>
                      <a:pt x="39" y="32"/>
                      <a:pt x="37" y="34"/>
                    </a:cubicBezTo>
                    <a:cubicBezTo>
                      <a:pt x="35" y="36"/>
                      <a:pt x="20" y="33"/>
                      <a:pt x="15" y="35"/>
                    </a:cubicBezTo>
                    <a:cubicBezTo>
                      <a:pt x="10" y="37"/>
                      <a:pt x="8" y="42"/>
                      <a:pt x="6" y="46"/>
                    </a:cubicBezTo>
                    <a:cubicBezTo>
                      <a:pt x="4" y="50"/>
                      <a:pt x="0" y="54"/>
                      <a:pt x="1" y="5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6" name="Freeform 417">
                <a:extLst>
                  <a:ext uri="{FF2B5EF4-FFF2-40B4-BE49-F238E27FC236}">
                    <a16:creationId xmlns:a16="http://schemas.microsoft.com/office/drawing/2014/main" id="{6E92036F-4443-4E63-B4BD-87A118D7BC01}"/>
                  </a:ext>
                </a:extLst>
              </p:cNvPr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gray">
              <a:xfrm>
                <a:off x="2193926" y="3798888"/>
                <a:ext cx="144463" cy="84138"/>
              </a:xfrm>
              <a:custGeom>
                <a:avLst/>
                <a:gdLst>
                  <a:gd name="T0" fmla="*/ 3 w 89"/>
                  <a:gd name="T1" fmla="*/ 34 h 53"/>
                  <a:gd name="T2" fmla="*/ 18 w 89"/>
                  <a:gd name="T3" fmla="*/ 42 h 53"/>
                  <a:gd name="T4" fmla="*/ 25 w 89"/>
                  <a:gd name="T5" fmla="*/ 52 h 53"/>
                  <a:gd name="T6" fmla="*/ 46 w 89"/>
                  <a:gd name="T7" fmla="*/ 39 h 53"/>
                  <a:gd name="T8" fmla="*/ 66 w 89"/>
                  <a:gd name="T9" fmla="*/ 30 h 53"/>
                  <a:gd name="T10" fmla="*/ 87 w 89"/>
                  <a:gd name="T11" fmla="*/ 28 h 53"/>
                  <a:gd name="T12" fmla="*/ 78 w 89"/>
                  <a:gd name="T13" fmla="*/ 7 h 53"/>
                  <a:gd name="T14" fmla="*/ 63 w 89"/>
                  <a:gd name="T15" fmla="*/ 7 h 53"/>
                  <a:gd name="T16" fmla="*/ 40 w 89"/>
                  <a:gd name="T17" fmla="*/ 1 h 53"/>
                  <a:gd name="T18" fmla="*/ 24 w 89"/>
                  <a:gd name="T19" fmla="*/ 12 h 53"/>
                  <a:gd name="T20" fmla="*/ 9 w 89"/>
                  <a:gd name="T21" fmla="*/ 12 h 53"/>
                  <a:gd name="T22" fmla="*/ 1 w 89"/>
                  <a:gd name="T23" fmla="*/ 22 h 53"/>
                  <a:gd name="T24" fmla="*/ 3 w 89"/>
                  <a:gd name="T25" fmla="*/ 34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" h="53">
                    <a:moveTo>
                      <a:pt x="3" y="34"/>
                    </a:moveTo>
                    <a:cubicBezTo>
                      <a:pt x="6" y="37"/>
                      <a:pt x="14" y="39"/>
                      <a:pt x="18" y="42"/>
                    </a:cubicBezTo>
                    <a:cubicBezTo>
                      <a:pt x="22" y="45"/>
                      <a:pt x="20" y="53"/>
                      <a:pt x="25" y="52"/>
                    </a:cubicBezTo>
                    <a:cubicBezTo>
                      <a:pt x="30" y="51"/>
                      <a:pt x="39" y="43"/>
                      <a:pt x="46" y="39"/>
                    </a:cubicBezTo>
                    <a:cubicBezTo>
                      <a:pt x="53" y="35"/>
                      <a:pt x="59" y="32"/>
                      <a:pt x="66" y="30"/>
                    </a:cubicBezTo>
                    <a:cubicBezTo>
                      <a:pt x="73" y="28"/>
                      <a:pt x="85" y="32"/>
                      <a:pt x="87" y="28"/>
                    </a:cubicBezTo>
                    <a:cubicBezTo>
                      <a:pt x="89" y="24"/>
                      <a:pt x="82" y="10"/>
                      <a:pt x="78" y="7"/>
                    </a:cubicBezTo>
                    <a:cubicBezTo>
                      <a:pt x="74" y="4"/>
                      <a:pt x="69" y="8"/>
                      <a:pt x="63" y="7"/>
                    </a:cubicBezTo>
                    <a:cubicBezTo>
                      <a:pt x="57" y="6"/>
                      <a:pt x="46" y="0"/>
                      <a:pt x="40" y="1"/>
                    </a:cubicBezTo>
                    <a:cubicBezTo>
                      <a:pt x="34" y="2"/>
                      <a:pt x="29" y="10"/>
                      <a:pt x="24" y="12"/>
                    </a:cubicBezTo>
                    <a:cubicBezTo>
                      <a:pt x="19" y="14"/>
                      <a:pt x="13" y="10"/>
                      <a:pt x="9" y="12"/>
                    </a:cubicBezTo>
                    <a:cubicBezTo>
                      <a:pt x="5" y="14"/>
                      <a:pt x="2" y="18"/>
                      <a:pt x="1" y="22"/>
                    </a:cubicBezTo>
                    <a:cubicBezTo>
                      <a:pt x="0" y="26"/>
                      <a:pt x="1" y="30"/>
                      <a:pt x="3" y="3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7" name="Freeform 418">
                <a:extLst>
                  <a:ext uri="{FF2B5EF4-FFF2-40B4-BE49-F238E27FC236}">
                    <a16:creationId xmlns:a16="http://schemas.microsoft.com/office/drawing/2014/main" id="{19D559D2-A159-493F-8513-C451F9A840EC}"/>
                  </a:ext>
                </a:extLst>
              </p:cNvPr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gray">
              <a:xfrm>
                <a:off x="2157413" y="3851275"/>
                <a:ext cx="80963" cy="53975"/>
              </a:xfrm>
              <a:custGeom>
                <a:avLst/>
                <a:gdLst>
                  <a:gd name="T0" fmla="*/ 13 w 50"/>
                  <a:gd name="T1" fmla="*/ 0 h 34"/>
                  <a:gd name="T2" fmla="*/ 1 w 50"/>
                  <a:gd name="T3" fmla="*/ 16 h 34"/>
                  <a:gd name="T4" fmla="*/ 10 w 50"/>
                  <a:gd name="T5" fmla="*/ 24 h 34"/>
                  <a:gd name="T6" fmla="*/ 32 w 50"/>
                  <a:gd name="T7" fmla="*/ 27 h 34"/>
                  <a:gd name="T8" fmla="*/ 44 w 50"/>
                  <a:gd name="T9" fmla="*/ 33 h 34"/>
                  <a:gd name="T10" fmla="*/ 49 w 50"/>
                  <a:gd name="T11" fmla="*/ 22 h 34"/>
                  <a:gd name="T12" fmla="*/ 38 w 50"/>
                  <a:gd name="T13" fmla="*/ 12 h 34"/>
                  <a:gd name="T14" fmla="*/ 31 w 50"/>
                  <a:gd name="T15" fmla="*/ 3 h 34"/>
                  <a:gd name="T16" fmla="*/ 15 w 50"/>
                  <a:gd name="T17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34">
                    <a:moveTo>
                      <a:pt x="13" y="0"/>
                    </a:moveTo>
                    <a:cubicBezTo>
                      <a:pt x="11" y="3"/>
                      <a:pt x="2" y="12"/>
                      <a:pt x="1" y="16"/>
                    </a:cubicBezTo>
                    <a:cubicBezTo>
                      <a:pt x="0" y="20"/>
                      <a:pt x="5" y="22"/>
                      <a:pt x="10" y="24"/>
                    </a:cubicBezTo>
                    <a:cubicBezTo>
                      <a:pt x="15" y="26"/>
                      <a:pt x="26" y="26"/>
                      <a:pt x="32" y="27"/>
                    </a:cubicBezTo>
                    <a:cubicBezTo>
                      <a:pt x="38" y="28"/>
                      <a:pt x="41" y="34"/>
                      <a:pt x="44" y="33"/>
                    </a:cubicBezTo>
                    <a:cubicBezTo>
                      <a:pt x="47" y="32"/>
                      <a:pt x="50" y="26"/>
                      <a:pt x="49" y="22"/>
                    </a:cubicBezTo>
                    <a:cubicBezTo>
                      <a:pt x="48" y="18"/>
                      <a:pt x="41" y="15"/>
                      <a:pt x="38" y="12"/>
                    </a:cubicBezTo>
                    <a:cubicBezTo>
                      <a:pt x="35" y="9"/>
                      <a:pt x="35" y="5"/>
                      <a:pt x="31" y="3"/>
                    </a:cubicBezTo>
                    <a:cubicBezTo>
                      <a:pt x="27" y="1"/>
                      <a:pt x="18" y="2"/>
                      <a:pt x="15" y="1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8" name="Freeform 419">
                <a:extLst>
                  <a:ext uri="{FF2B5EF4-FFF2-40B4-BE49-F238E27FC236}">
                    <a16:creationId xmlns:a16="http://schemas.microsoft.com/office/drawing/2014/main" id="{A1FBB08D-E5AD-4AAE-B8CE-1AA584E6F0DF}"/>
                  </a:ext>
                </a:extLst>
              </p:cNvPr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gray">
              <a:xfrm>
                <a:off x="2228851" y="3840163"/>
                <a:ext cx="109538" cy="106363"/>
              </a:xfrm>
              <a:custGeom>
                <a:avLst/>
                <a:gdLst>
                  <a:gd name="T0" fmla="*/ 3 w 67"/>
                  <a:gd name="T1" fmla="*/ 35 h 67"/>
                  <a:gd name="T2" fmla="*/ 18 w 67"/>
                  <a:gd name="T3" fmla="*/ 50 h 67"/>
                  <a:gd name="T4" fmla="*/ 26 w 67"/>
                  <a:gd name="T5" fmla="*/ 58 h 67"/>
                  <a:gd name="T6" fmla="*/ 26 w 67"/>
                  <a:gd name="T7" fmla="*/ 55 h 67"/>
                  <a:gd name="T8" fmla="*/ 42 w 67"/>
                  <a:gd name="T9" fmla="*/ 65 h 67"/>
                  <a:gd name="T10" fmla="*/ 60 w 67"/>
                  <a:gd name="T11" fmla="*/ 59 h 67"/>
                  <a:gd name="T12" fmla="*/ 62 w 67"/>
                  <a:gd name="T13" fmla="*/ 16 h 67"/>
                  <a:gd name="T14" fmla="*/ 62 w 67"/>
                  <a:gd name="T15" fmla="*/ 1 h 67"/>
                  <a:gd name="T16" fmla="*/ 33 w 67"/>
                  <a:gd name="T17" fmla="*/ 8 h 67"/>
                  <a:gd name="T18" fmla="*/ 3 w 67"/>
                  <a:gd name="T19" fmla="*/ 3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67">
                    <a:moveTo>
                      <a:pt x="3" y="35"/>
                    </a:moveTo>
                    <a:cubicBezTo>
                      <a:pt x="0" y="42"/>
                      <a:pt x="14" y="46"/>
                      <a:pt x="18" y="50"/>
                    </a:cubicBezTo>
                    <a:cubicBezTo>
                      <a:pt x="22" y="54"/>
                      <a:pt x="25" y="57"/>
                      <a:pt x="26" y="58"/>
                    </a:cubicBezTo>
                    <a:cubicBezTo>
                      <a:pt x="27" y="59"/>
                      <a:pt x="23" y="54"/>
                      <a:pt x="26" y="55"/>
                    </a:cubicBezTo>
                    <a:cubicBezTo>
                      <a:pt x="29" y="56"/>
                      <a:pt x="36" y="64"/>
                      <a:pt x="42" y="65"/>
                    </a:cubicBezTo>
                    <a:cubicBezTo>
                      <a:pt x="48" y="66"/>
                      <a:pt x="57" y="67"/>
                      <a:pt x="60" y="59"/>
                    </a:cubicBezTo>
                    <a:cubicBezTo>
                      <a:pt x="63" y="51"/>
                      <a:pt x="62" y="26"/>
                      <a:pt x="62" y="16"/>
                    </a:cubicBezTo>
                    <a:cubicBezTo>
                      <a:pt x="62" y="6"/>
                      <a:pt x="67" y="2"/>
                      <a:pt x="62" y="1"/>
                    </a:cubicBezTo>
                    <a:cubicBezTo>
                      <a:pt x="57" y="0"/>
                      <a:pt x="43" y="3"/>
                      <a:pt x="33" y="8"/>
                    </a:cubicBezTo>
                    <a:cubicBezTo>
                      <a:pt x="23" y="13"/>
                      <a:pt x="6" y="28"/>
                      <a:pt x="3" y="3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9" name="Freeform 420">
                <a:extLst>
                  <a:ext uri="{FF2B5EF4-FFF2-40B4-BE49-F238E27FC236}">
                    <a16:creationId xmlns:a16="http://schemas.microsoft.com/office/drawing/2014/main" id="{DEBF83BC-C89B-4895-9930-F95A364F5A40}"/>
                  </a:ext>
                </a:extLst>
              </p:cNvPr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gray">
              <a:xfrm>
                <a:off x="2297113" y="3633788"/>
                <a:ext cx="247650" cy="87313"/>
              </a:xfrm>
              <a:custGeom>
                <a:avLst/>
                <a:gdLst>
                  <a:gd name="T0" fmla="*/ 0 w 152"/>
                  <a:gd name="T1" fmla="*/ 19 h 56"/>
                  <a:gd name="T2" fmla="*/ 12 w 152"/>
                  <a:gd name="T3" fmla="*/ 9 h 56"/>
                  <a:gd name="T4" fmla="*/ 23 w 152"/>
                  <a:gd name="T5" fmla="*/ 0 h 56"/>
                  <a:gd name="T6" fmla="*/ 92 w 152"/>
                  <a:gd name="T7" fmla="*/ 4 h 56"/>
                  <a:gd name="T8" fmla="*/ 110 w 152"/>
                  <a:gd name="T9" fmla="*/ 13 h 56"/>
                  <a:gd name="T10" fmla="*/ 128 w 152"/>
                  <a:gd name="T11" fmla="*/ 21 h 56"/>
                  <a:gd name="T12" fmla="*/ 143 w 152"/>
                  <a:gd name="T13" fmla="*/ 31 h 56"/>
                  <a:gd name="T14" fmla="*/ 152 w 152"/>
                  <a:gd name="T15" fmla="*/ 43 h 56"/>
                  <a:gd name="T16" fmla="*/ 143 w 152"/>
                  <a:gd name="T17" fmla="*/ 54 h 56"/>
                  <a:gd name="T18" fmla="*/ 93 w 152"/>
                  <a:gd name="T19" fmla="*/ 45 h 56"/>
                  <a:gd name="T20" fmla="*/ 51 w 152"/>
                  <a:gd name="T21" fmla="*/ 18 h 56"/>
                  <a:gd name="T22" fmla="*/ 24 w 152"/>
                  <a:gd name="T23" fmla="*/ 28 h 56"/>
                  <a:gd name="T24" fmla="*/ 15 w 152"/>
                  <a:gd name="T25" fmla="*/ 16 h 56"/>
                  <a:gd name="T26" fmla="*/ 0 w 152"/>
                  <a:gd name="T27" fmla="*/ 1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2" h="56">
                    <a:moveTo>
                      <a:pt x="0" y="19"/>
                    </a:moveTo>
                    <a:cubicBezTo>
                      <a:pt x="5" y="16"/>
                      <a:pt x="7" y="12"/>
                      <a:pt x="12" y="9"/>
                    </a:cubicBezTo>
                    <a:cubicBezTo>
                      <a:pt x="15" y="3"/>
                      <a:pt x="16" y="1"/>
                      <a:pt x="23" y="0"/>
                    </a:cubicBezTo>
                    <a:cubicBezTo>
                      <a:pt x="57" y="1"/>
                      <a:pt x="66" y="2"/>
                      <a:pt x="92" y="4"/>
                    </a:cubicBezTo>
                    <a:cubicBezTo>
                      <a:pt x="98" y="7"/>
                      <a:pt x="104" y="9"/>
                      <a:pt x="110" y="13"/>
                    </a:cubicBezTo>
                    <a:cubicBezTo>
                      <a:pt x="115" y="20"/>
                      <a:pt x="120" y="18"/>
                      <a:pt x="128" y="21"/>
                    </a:cubicBezTo>
                    <a:cubicBezTo>
                      <a:pt x="129" y="29"/>
                      <a:pt x="135" y="29"/>
                      <a:pt x="143" y="31"/>
                    </a:cubicBezTo>
                    <a:cubicBezTo>
                      <a:pt x="148" y="35"/>
                      <a:pt x="149" y="38"/>
                      <a:pt x="152" y="43"/>
                    </a:cubicBezTo>
                    <a:cubicBezTo>
                      <a:pt x="149" y="48"/>
                      <a:pt x="148" y="51"/>
                      <a:pt x="143" y="54"/>
                    </a:cubicBezTo>
                    <a:cubicBezTo>
                      <a:pt x="113" y="52"/>
                      <a:pt x="112" y="56"/>
                      <a:pt x="93" y="45"/>
                    </a:cubicBezTo>
                    <a:cubicBezTo>
                      <a:pt x="89" y="38"/>
                      <a:pt x="61" y="20"/>
                      <a:pt x="51" y="18"/>
                    </a:cubicBezTo>
                    <a:cubicBezTo>
                      <a:pt x="27" y="20"/>
                      <a:pt x="39" y="25"/>
                      <a:pt x="24" y="28"/>
                    </a:cubicBezTo>
                    <a:cubicBezTo>
                      <a:pt x="19" y="24"/>
                      <a:pt x="17" y="22"/>
                      <a:pt x="15" y="16"/>
                    </a:cubicBezTo>
                    <a:cubicBezTo>
                      <a:pt x="11" y="18"/>
                      <a:pt x="3" y="22"/>
                      <a:pt x="0" y="1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0" name="Freeform 421">
                <a:extLst>
                  <a:ext uri="{FF2B5EF4-FFF2-40B4-BE49-F238E27FC236}">
                    <a16:creationId xmlns:a16="http://schemas.microsoft.com/office/drawing/2014/main" id="{B1823BCE-0BFC-49F7-8BBC-84B4AB2406AA}"/>
                  </a:ext>
                </a:extLst>
              </p:cNvPr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gray">
              <a:xfrm>
                <a:off x="2432051" y="3527425"/>
                <a:ext cx="195263" cy="158750"/>
              </a:xfrm>
              <a:custGeom>
                <a:avLst/>
                <a:gdLst>
                  <a:gd name="T0" fmla="*/ 3 w 121"/>
                  <a:gd name="T1" fmla="*/ 3 h 100"/>
                  <a:gd name="T2" fmla="*/ 27 w 121"/>
                  <a:gd name="T3" fmla="*/ 1 h 100"/>
                  <a:gd name="T4" fmla="*/ 34 w 121"/>
                  <a:gd name="T5" fmla="*/ 12 h 100"/>
                  <a:gd name="T6" fmla="*/ 31 w 121"/>
                  <a:gd name="T7" fmla="*/ 34 h 100"/>
                  <a:gd name="T8" fmla="*/ 40 w 121"/>
                  <a:gd name="T9" fmla="*/ 33 h 100"/>
                  <a:gd name="T10" fmla="*/ 45 w 121"/>
                  <a:gd name="T11" fmla="*/ 51 h 100"/>
                  <a:gd name="T12" fmla="*/ 63 w 121"/>
                  <a:gd name="T13" fmla="*/ 57 h 100"/>
                  <a:gd name="T14" fmla="*/ 81 w 121"/>
                  <a:gd name="T15" fmla="*/ 55 h 100"/>
                  <a:gd name="T16" fmla="*/ 76 w 121"/>
                  <a:gd name="T17" fmla="*/ 54 h 100"/>
                  <a:gd name="T18" fmla="*/ 93 w 121"/>
                  <a:gd name="T19" fmla="*/ 76 h 100"/>
                  <a:gd name="T20" fmla="*/ 115 w 121"/>
                  <a:gd name="T21" fmla="*/ 87 h 100"/>
                  <a:gd name="T22" fmla="*/ 109 w 121"/>
                  <a:gd name="T23" fmla="*/ 99 h 100"/>
                  <a:gd name="T24" fmla="*/ 85 w 121"/>
                  <a:gd name="T25" fmla="*/ 76 h 100"/>
                  <a:gd name="T26" fmla="*/ 73 w 121"/>
                  <a:gd name="T27" fmla="*/ 81 h 100"/>
                  <a:gd name="T28" fmla="*/ 42 w 121"/>
                  <a:gd name="T29" fmla="*/ 61 h 100"/>
                  <a:gd name="T30" fmla="*/ 31 w 121"/>
                  <a:gd name="T31" fmla="*/ 43 h 100"/>
                  <a:gd name="T32" fmla="*/ 21 w 121"/>
                  <a:gd name="T33" fmla="*/ 66 h 100"/>
                  <a:gd name="T34" fmla="*/ 9 w 121"/>
                  <a:gd name="T35" fmla="*/ 54 h 100"/>
                  <a:gd name="T36" fmla="*/ 16 w 121"/>
                  <a:gd name="T37" fmla="*/ 28 h 100"/>
                  <a:gd name="T38" fmla="*/ 0 w 121"/>
                  <a:gd name="T39" fmla="*/ 13 h 100"/>
                  <a:gd name="T40" fmla="*/ 3 w 121"/>
                  <a:gd name="T41" fmla="*/ 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1" h="100">
                    <a:moveTo>
                      <a:pt x="3" y="3"/>
                    </a:moveTo>
                    <a:cubicBezTo>
                      <a:pt x="12" y="2"/>
                      <a:pt x="18" y="0"/>
                      <a:pt x="27" y="1"/>
                    </a:cubicBezTo>
                    <a:cubicBezTo>
                      <a:pt x="32" y="7"/>
                      <a:pt x="37" y="4"/>
                      <a:pt x="34" y="12"/>
                    </a:cubicBezTo>
                    <a:cubicBezTo>
                      <a:pt x="32" y="23"/>
                      <a:pt x="30" y="20"/>
                      <a:pt x="31" y="34"/>
                    </a:cubicBezTo>
                    <a:cubicBezTo>
                      <a:pt x="34" y="34"/>
                      <a:pt x="37" y="33"/>
                      <a:pt x="40" y="33"/>
                    </a:cubicBezTo>
                    <a:cubicBezTo>
                      <a:pt x="54" y="33"/>
                      <a:pt x="58" y="45"/>
                      <a:pt x="45" y="51"/>
                    </a:cubicBezTo>
                    <a:cubicBezTo>
                      <a:pt x="51" y="54"/>
                      <a:pt x="57" y="55"/>
                      <a:pt x="63" y="57"/>
                    </a:cubicBezTo>
                    <a:cubicBezTo>
                      <a:pt x="69" y="56"/>
                      <a:pt x="75" y="56"/>
                      <a:pt x="81" y="55"/>
                    </a:cubicBezTo>
                    <a:cubicBezTo>
                      <a:pt x="83" y="55"/>
                      <a:pt x="77" y="52"/>
                      <a:pt x="76" y="54"/>
                    </a:cubicBezTo>
                    <a:cubicBezTo>
                      <a:pt x="71" y="63"/>
                      <a:pt x="84" y="75"/>
                      <a:pt x="93" y="76"/>
                    </a:cubicBezTo>
                    <a:cubicBezTo>
                      <a:pt x="97" y="83"/>
                      <a:pt x="107" y="83"/>
                      <a:pt x="115" y="87"/>
                    </a:cubicBezTo>
                    <a:cubicBezTo>
                      <a:pt x="121" y="95"/>
                      <a:pt x="120" y="100"/>
                      <a:pt x="109" y="99"/>
                    </a:cubicBezTo>
                    <a:cubicBezTo>
                      <a:pt x="99" y="94"/>
                      <a:pt x="95" y="82"/>
                      <a:pt x="85" y="76"/>
                    </a:cubicBezTo>
                    <a:cubicBezTo>
                      <a:pt x="76" y="79"/>
                      <a:pt x="82" y="86"/>
                      <a:pt x="73" y="81"/>
                    </a:cubicBezTo>
                    <a:cubicBezTo>
                      <a:pt x="65" y="68"/>
                      <a:pt x="56" y="63"/>
                      <a:pt x="42" y="61"/>
                    </a:cubicBezTo>
                    <a:cubicBezTo>
                      <a:pt x="38" y="55"/>
                      <a:pt x="34" y="50"/>
                      <a:pt x="31" y="43"/>
                    </a:cubicBezTo>
                    <a:cubicBezTo>
                      <a:pt x="21" y="46"/>
                      <a:pt x="23" y="55"/>
                      <a:pt x="21" y="66"/>
                    </a:cubicBezTo>
                    <a:cubicBezTo>
                      <a:pt x="18" y="61"/>
                      <a:pt x="9" y="54"/>
                      <a:pt x="9" y="54"/>
                    </a:cubicBezTo>
                    <a:cubicBezTo>
                      <a:pt x="5" y="44"/>
                      <a:pt x="8" y="34"/>
                      <a:pt x="16" y="28"/>
                    </a:cubicBezTo>
                    <a:cubicBezTo>
                      <a:pt x="15" y="14"/>
                      <a:pt x="13" y="16"/>
                      <a:pt x="0" y="13"/>
                    </a:cubicBezTo>
                    <a:cubicBezTo>
                      <a:pt x="1" y="5"/>
                      <a:pt x="0" y="8"/>
                      <a:pt x="3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1" name="Freeform 422">
                <a:extLst>
                  <a:ext uri="{FF2B5EF4-FFF2-40B4-BE49-F238E27FC236}">
                    <a16:creationId xmlns:a16="http://schemas.microsoft.com/office/drawing/2014/main" id="{3B45DFF3-A09C-4D0A-99ED-7B443A055905}"/>
                  </a:ext>
                </a:extLst>
              </p:cNvPr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gray">
              <a:xfrm>
                <a:off x="2454276" y="3748088"/>
                <a:ext cx="68263" cy="17463"/>
              </a:xfrm>
              <a:custGeom>
                <a:avLst/>
                <a:gdLst>
                  <a:gd name="T0" fmla="*/ 2 w 43"/>
                  <a:gd name="T1" fmla="*/ 5 h 11"/>
                  <a:gd name="T2" fmla="*/ 22 w 43"/>
                  <a:gd name="T3" fmla="*/ 2 h 11"/>
                  <a:gd name="T4" fmla="*/ 5 w 43"/>
                  <a:gd name="T5" fmla="*/ 6 h 11"/>
                  <a:gd name="T6" fmla="*/ 2 w 43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11">
                    <a:moveTo>
                      <a:pt x="2" y="5"/>
                    </a:moveTo>
                    <a:cubicBezTo>
                      <a:pt x="11" y="0"/>
                      <a:pt x="10" y="0"/>
                      <a:pt x="22" y="2"/>
                    </a:cubicBezTo>
                    <a:cubicBezTo>
                      <a:pt x="34" y="11"/>
                      <a:pt x="43" y="9"/>
                      <a:pt x="5" y="6"/>
                    </a:cubicBezTo>
                    <a:cubicBezTo>
                      <a:pt x="0" y="3"/>
                      <a:pt x="0" y="2"/>
                      <a:pt x="2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2" name="Freeform 423">
                <a:extLst>
                  <a:ext uri="{FF2B5EF4-FFF2-40B4-BE49-F238E27FC236}">
                    <a16:creationId xmlns:a16="http://schemas.microsoft.com/office/drawing/2014/main" id="{E3A65FDB-E943-45B4-A01F-157201A90486}"/>
                  </a:ext>
                </a:extLst>
              </p:cNvPr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gray">
              <a:xfrm>
                <a:off x="2605088" y="3705225"/>
                <a:ext cx="103188" cy="65088"/>
              </a:xfrm>
              <a:custGeom>
                <a:avLst/>
                <a:gdLst>
                  <a:gd name="T0" fmla="*/ 2 w 64"/>
                  <a:gd name="T1" fmla="*/ 3 h 41"/>
                  <a:gd name="T2" fmla="*/ 1 w 64"/>
                  <a:gd name="T3" fmla="*/ 18 h 41"/>
                  <a:gd name="T4" fmla="*/ 11 w 64"/>
                  <a:gd name="T5" fmla="*/ 38 h 41"/>
                  <a:gd name="T6" fmla="*/ 56 w 64"/>
                  <a:gd name="T7" fmla="*/ 36 h 41"/>
                  <a:gd name="T8" fmla="*/ 59 w 64"/>
                  <a:gd name="T9" fmla="*/ 32 h 41"/>
                  <a:gd name="T10" fmla="*/ 32 w 64"/>
                  <a:gd name="T11" fmla="*/ 5 h 41"/>
                  <a:gd name="T12" fmla="*/ 8 w 64"/>
                  <a:gd name="T13" fmla="*/ 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41">
                    <a:moveTo>
                      <a:pt x="2" y="3"/>
                    </a:moveTo>
                    <a:cubicBezTo>
                      <a:pt x="2" y="5"/>
                      <a:pt x="0" y="12"/>
                      <a:pt x="1" y="18"/>
                    </a:cubicBezTo>
                    <a:cubicBezTo>
                      <a:pt x="2" y="24"/>
                      <a:pt x="2" y="35"/>
                      <a:pt x="11" y="38"/>
                    </a:cubicBezTo>
                    <a:cubicBezTo>
                      <a:pt x="20" y="41"/>
                      <a:pt x="45" y="36"/>
                      <a:pt x="56" y="36"/>
                    </a:cubicBezTo>
                    <a:cubicBezTo>
                      <a:pt x="64" y="35"/>
                      <a:pt x="63" y="37"/>
                      <a:pt x="59" y="32"/>
                    </a:cubicBezTo>
                    <a:cubicBezTo>
                      <a:pt x="47" y="29"/>
                      <a:pt x="40" y="10"/>
                      <a:pt x="32" y="5"/>
                    </a:cubicBezTo>
                    <a:cubicBezTo>
                      <a:pt x="24" y="0"/>
                      <a:pt x="13" y="3"/>
                      <a:pt x="8" y="2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3" name="Freeform 424">
                <a:extLst>
                  <a:ext uri="{FF2B5EF4-FFF2-40B4-BE49-F238E27FC236}">
                    <a16:creationId xmlns:a16="http://schemas.microsoft.com/office/drawing/2014/main" id="{A59379AF-5B9D-456B-BA04-713DC79BAB61}"/>
                  </a:ext>
                </a:extLst>
              </p:cNvPr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gray">
              <a:xfrm>
                <a:off x="2506663" y="4613275"/>
                <a:ext cx="279400" cy="1181100"/>
              </a:xfrm>
              <a:custGeom>
                <a:avLst/>
                <a:gdLst>
                  <a:gd name="T0" fmla="*/ 80 w 172"/>
                  <a:gd name="T1" fmla="*/ 87 h 745"/>
                  <a:gd name="T2" fmla="*/ 71 w 172"/>
                  <a:gd name="T3" fmla="*/ 169 h 745"/>
                  <a:gd name="T4" fmla="*/ 65 w 172"/>
                  <a:gd name="T5" fmla="*/ 184 h 745"/>
                  <a:gd name="T6" fmla="*/ 65 w 172"/>
                  <a:gd name="T7" fmla="*/ 217 h 745"/>
                  <a:gd name="T8" fmla="*/ 53 w 172"/>
                  <a:gd name="T9" fmla="*/ 291 h 745"/>
                  <a:gd name="T10" fmla="*/ 34 w 172"/>
                  <a:gd name="T11" fmla="*/ 330 h 745"/>
                  <a:gd name="T12" fmla="*/ 40 w 172"/>
                  <a:gd name="T13" fmla="*/ 370 h 745"/>
                  <a:gd name="T14" fmla="*/ 28 w 172"/>
                  <a:gd name="T15" fmla="*/ 408 h 745"/>
                  <a:gd name="T16" fmla="*/ 8 w 172"/>
                  <a:gd name="T17" fmla="*/ 523 h 745"/>
                  <a:gd name="T18" fmla="*/ 11 w 172"/>
                  <a:gd name="T19" fmla="*/ 616 h 745"/>
                  <a:gd name="T20" fmla="*/ 28 w 172"/>
                  <a:gd name="T21" fmla="*/ 679 h 745"/>
                  <a:gd name="T22" fmla="*/ 52 w 172"/>
                  <a:gd name="T23" fmla="*/ 702 h 745"/>
                  <a:gd name="T24" fmla="*/ 89 w 172"/>
                  <a:gd name="T25" fmla="*/ 721 h 745"/>
                  <a:gd name="T26" fmla="*/ 121 w 172"/>
                  <a:gd name="T27" fmla="*/ 745 h 745"/>
                  <a:gd name="T28" fmla="*/ 151 w 172"/>
                  <a:gd name="T29" fmla="*/ 715 h 745"/>
                  <a:gd name="T30" fmla="*/ 172 w 172"/>
                  <a:gd name="T31" fmla="*/ 711 h 745"/>
                  <a:gd name="T32" fmla="*/ 124 w 172"/>
                  <a:gd name="T33" fmla="*/ 703 h 745"/>
                  <a:gd name="T34" fmla="*/ 98 w 172"/>
                  <a:gd name="T35" fmla="*/ 693 h 745"/>
                  <a:gd name="T36" fmla="*/ 71 w 172"/>
                  <a:gd name="T37" fmla="*/ 651 h 745"/>
                  <a:gd name="T38" fmla="*/ 56 w 172"/>
                  <a:gd name="T39" fmla="*/ 630 h 745"/>
                  <a:gd name="T40" fmla="*/ 43 w 172"/>
                  <a:gd name="T41" fmla="*/ 600 h 745"/>
                  <a:gd name="T42" fmla="*/ 52 w 172"/>
                  <a:gd name="T43" fmla="*/ 570 h 745"/>
                  <a:gd name="T44" fmla="*/ 58 w 172"/>
                  <a:gd name="T45" fmla="*/ 541 h 745"/>
                  <a:gd name="T46" fmla="*/ 70 w 172"/>
                  <a:gd name="T47" fmla="*/ 484 h 745"/>
                  <a:gd name="T48" fmla="*/ 67 w 172"/>
                  <a:gd name="T49" fmla="*/ 456 h 745"/>
                  <a:gd name="T50" fmla="*/ 56 w 172"/>
                  <a:gd name="T51" fmla="*/ 426 h 745"/>
                  <a:gd name="T52" fmla="*/ 62 w 172"/>
                  <a:gd name="T53" fmla="*/ 394 h 745"/>
                  <a:gd name="T54" fmla="*/ 73 w 172"/>
                  <a:gd name="T55" fmla="*/ 342 h 745"/>
                  <a:gd name="T56" fmla="*/ 88 w 172"/>
                  <a:gd name="T57" fmla="*/ 300 h 745"/>
                  <a:gd name="T58" fmla="*/ 89 w 172"/>
                  <a:gd name="T59" fmla="*/ 256 h 745"/>
                  <a:gd name="T60" fmla="*/ 91 w 172"/>
                  <a:gd name="T61" fmla="*/ 186 h 745"/>
                  <a:gd name="T62" fmla="*/ 115 w 172"/>
                  <a:gd name="T63" fmla="*/ 153 h 745"/>
                  <a:gd name="T64" fmla="*/ 116 w 172"/>
                  <a:gd name="T65" fmla="*/ 117 h 745"/>
                  <a:gd name="T66" fmla="*/ 128 w 172"/>
                  <a:gd name="T67" fmla="*/ 96 h 745"/>
                  <a:gd name="T68" fmla="*/ 128 w 172"/>
                  <a:gd name="T69" fmla="*/ 72 h 745"/>
                  <a:gd name="T70" fmla="*/ 103 w 172"/>
                  <a:gd name="T71" fmla="*/ 34 h 745"/>
                  <a:gd name="T72" fmla="*/ 97 w 172"/>
                  <a:gd name="T73" fmla="*/ 0 h 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72" h="745">
                    <a:moveTo>
                      <a:pt x="85" y="10"/>
                    </a:moveTo>
                    <a:cubicBezTo>
                      <a:pt x="84" y="40"/>
                      <a:pt x="98" y="63"/>
                      <a:pt x="80" y="87"/>
                    </a:cubicBezTo>
                    <a:cubicBezTo>
                      <a:pt x="81" y="103"/>
                      <a:pt x="83" y="134"/>
                      <a:pt x="77" y="150"/>
                    </a:cubicBezTo>
                    <a:cubicBezTo>
                      <a:pt x="76" y="156"/>
                      <a:pt x="74" y="163"/>
                      <a:pt x="71" y="169"/>
                    </a:cubicBezTo>
                    <a:cubicBezTo>
                      <a:pt x="71" y="174"/>
                      <a:pt x="73" y="183"/>
                      <a:pt x="71" y="187"/>
                    </a:cubicBezTo>
                    <a:cubicBezTo>
                      <a:pt x="70" y="189"/>
                      <a:pt x="65" y="182"/>
                      <a:pt x="65" y="184"/>
                    </a:cubicBezTo>
                    <a:cubicBezTo>
                      <a:pt x="63" y="193"/>
                      <a:pt x="65" y="202"/>
                      <a:pt x="64" y="211"/>
                    </a:cubicBezTo>
                    <a:cubicBezTo>
                      <a:pt x="64" y="213"/>
                      <a:pt x="66" y="215"/>
                      <a:pt x="65" y="217"/>
                    </a:cubicBezTo>
                    <a:cubicBezTo>
                      <a:pt x="67" y="229"/>
                      <a:pt x="77" y="253"/>
                      <a:pt x="61" y="261"/>
                    </a:cubicBezTo>
                    <a:cubicBezTo>
                      <a:pt x="56" y="270"/>
                      <a:pt x="57" y="281"/>
                      <a:pt x="53" y="291"/>
                    </a:cubicBezTo>
                    <a:cubicBezTo>
                      <a:pt x="52" y="300"/>
                      <a:pt x="48" y="315"/>
                      <a:pt x="41" y="319"/>
                    </a:cubicBezTo>
                    <a:cubicBezTo>
                      <a:pt x="40" y="325"/>
                      <a:pt x="40" y="327"/>
                      <a:pt x="34" y="330"/>
                    </a:cubicBezTo>
                    <a:cubicBezTo>
                      <a:pt x="31" y="335"/>
                      <a:pt x="40" y="346"/>
                      <a:pt x="37" y="351"/>
                    </a:cubicBezTo>
                    <a:cubicBezTo>
                      <a:pt x="35" y="362"/>
                      <a:pt x="35" y="361"/>
                      <a:pt x="40" y="370"/>
                    </a:cubicBezTo>
                    <a:cubicBezTo>
                      <a:pt x="40" y="375"/>
                      <a:pt x="45" y="375"/>
                      <a:pt x="43" y="381"/>
                    </a:cubicBezTo>
                    <a:cubicBezTo>
                      <a:pt x="41" y="387"/>
                      <a:pt x="33" y="392"/>
                      <a:pt x="28" y="408"/>
                    </a:cubicBezTo>
                    <a:cubicBezTo>
                      <a:pt x="14" y="426"/>
                      <a:pt x="29" y="458"/>
                      <a:pt x="14" y="478"/>
                    </a:cubicBezTo>
                    <a:cubicBezTo>
                      <a:pt x="11" y="493"/>
                      <a:pt x="11" y="508"/>
                      <a:pt x="8" y="523"/>
                    </a:cubicBezTo>
                    <a:cubicBezTo>
                      <a:pt x="7" y="537"/>
                      <a:pt x="8" y="552"/>
                      <a:pt x="2" y="565"/>
                    </a:cubicBezTo>
                    <a:cubicBezTo>
                      <a:pt x="3" y="584"/>
                      <a:pt x="0" y="601"/>
                      <a:pt x="11" y="616"/>
                    </a:cubicBezTo>
                    <a:cubicBezTo>
                      <a:pt x="12" y="625"/>
                      <a:pt x="8" y="646"/>
                      <a:pt x="19" y="651"/>
                    </a:cubicBezTo>
                    <a:cubicBezTo>
                      <a:pt x="26" y="661"/>
                      <a:pt x="17" y="672"/>
                      <a:pt x="28" y="679"/>
                    </a:cubicBezTo>
                    <a:cubicBezTo>
                      <a:pt x="31" y="684"/>
                      <a:pt x="34" y="688"/>
                      <a:pt x="37" y="693"/>
                    </a:cubicBezTo>
                    <a:cubicBezTo>
                      <a:pt x="40" y="698"/>
                      <a:pt x="46" y="698"/>
                      <a:pt x="52" y="702"/>
                    </a:cubicBezTo>
                    <a:cubicBezTo>
                      <a:pt x="58" y="706"/>
                      <a:pt x="70" y="712"/>
                      <a:pt x="76" y="715"/>
                    </a:cubicBezTo>
                    <a:cubicBezTo>
                      <a:pt x="81" y="717"/>
                      <a:pt x="85" y="718"/>
                      <a:pt x="89" y="721"/>
                    </a:cubicBezTo>
                    <a:cubicBezTo>
                      <a:pt x="92" y="727"/>
                      <a:pt x="98" y="732"/>
                      <a:pt x="104" y="735"/>
                    </a:cubicBezTo>
                    <a:cubicBezTo>
                      <a:pt x="107" y="742"/>
                      <a:pt x="114" y="744"/>
                      <a:pt x="121" y="745"/>
                    </a:cubicBezTo>
                    <a:cubicBezTo>
                      <a:pt x="130" y="744"/>
                      <a:pt x="135" y="745"/>
                      <a:pt x="137" y="736"/>
                    </a:cubicBezTo>
                    <a:cubicBezTo>
                      <a:pt x="124" y="719"/>
                      <a:pt x="141" y="716"/>
                      <a:pt x="151" y="715"/>
                    </a:cubicBezTo>
                    <a:cubicBezTo>
                      <a:pt x="156" y="711"/>
                      <a:pt x="163" y="713"/>
                      <a:pt x="166" y="712"/>
                    </a:cubicBezTo>
                    <a:cubicBezTo>
                      <a:pt x="168" y="711"/>
                      <a:pt x="170" y="711"/>
                      <a:pt x="172" y="711"/>
                    </a:cubicBezTo>
                    <a:cubicBezTo>
                      <a:pt x="168" y="710"/>
                      <a:pt x="150" y="706"/>
                      <a:pt x="142" y="705"/>
                    </a:cubicBezTo>
                    <a:cubicBezTo>
                      <a:pt x="134" y="704"/>
                      <a:pt x="130" y="703"/>
                      <a:pt x="124" y="703"/>
                    </a:cubicBezTo>
                    <a:cubicBezTo>
                      <a:pt x="119" y="702"/>
                      <a:pt x="111" y="705"/>
                      <a:pt x="107" y="703"/>
                    </a:cubicBezTo>
                    <a:cubicBezTo>
                      <a:pt x="103" y="701"/>
                      <a:pt x="100" y="697"/>
                      <a:pt x="98" y="693"/>
                    </a:cubicBezTo>
                    <a:cubicBezTo>
                      <a:pt x="92" y="689"/>
                      <a:pt x="96" y="688"/>
                      <a:pt x="92" y="681"/>
                    </a:cubicBezTo>
                    <a:cubicBezTo>
                      <a:pt x="88" y="674"/>
                      <a:pt x="77" y="658"/>
                      <a:pt x="71" y="651"/>
                    </a:cubicBezTo>
                    <a:cubicBezTo>
                      <a:pt x="57" y="648"/>
                      <a:pt x="61" y="650"/>
                      <a:pt x="56" y="639"/>
                    </a:cubicBezTo>
                    <a:cubicBezTo>
                      <a:pt x="53" y="634"/>
                      <a:pt x="55" y="634"/>
                      <a:pt x="56" y="630"/>
                    </a:cubicBezTo>
                    <a:cubicBezTo>
                      <a:pt x="57" y="626"/>
                      <a:pt x="63" y="617"/>
                      <a:pt x="61" y="612"/>
                    </a:cubicBezTo>
                    <a:cubicBezTo>
                      <a:pt x="57" y="605"/>
                      <a:pt x="51" y="601"/>
                      <a:pt x="43" y="600"/>
                    </a:cubicBezTo>
                    <a:cubicBezTo>
                      <a:pt x="40" y="596"/>
                      <a:pt x="40" y="593"/>
                      <a:pt x="41" y="588"/>
                    </a:cubicBezTo>
                    <a:cubicBezTo>
                      <a:pt x="42" y="583"/>
                      <a:pt x="50" y="575"/>
                      <a:pt x="52" y="570"/>
                    </a:cubicBezTo>
                    <a:cubicBezTo>
                      <a:pt x="54" y="562"/>
                      <a:pt x="51" y="560"/>
                      <a:pt x="52" y="555"/>
                    </a:cubicBezTo>
                    <a:cubicBezTo>
                      <a:pt x="53" y="550"/>
                      <a:pt x="55" y="549"/>
                      <a:pt x="58" y="541"/>
                    </a:cubicBezTo>
                    <a:cubicBezTo>
                      <a:pt x="60" y="532"/>
                      <a:pt x="66" y="513"/>
                      <a:pt x="68" y="504"/>
                    </a:cubicBezTo>
                    <a:cubicBezTo>
                      <a:pt x="70" y="495"/>
                      <a:pt x="70" y="490"/>
                      <a:pt x="70" y="484"/>
                    </a:cubicBezTo>
                    <a:cubicBezTo>
                      <a:pt x="71" y="478"/>
                      <a:pt x="70" y="472"/>
                      <a:pt x="71" y="466"/>
                    </a:cubicBezTo>
                    <a:cubicBezTo>
                      <a:pt x="63" y="456"/>
                      <a:pt x="71" y="463"/>
                      <a:pt x="67" y="456"/>
                    </a:cubicBezTo>
                    <a:cubicBezTo>
                      <a:pt x="66" y="452"/>
                      <a:pt x="60" y="447"/>
                      <a:pt x="58" y="442"/>
                    </a:cubicBezTo>
                    <a:cubicBezTo>
                      <a:pt x="56" y="437"/>
                      <a:pt x="56" y="431"/>
                      <a:pt x="56" y="426"/>
                    </a:cubicBezTo>
                    <a:cubicBezTo>
                      <a:pt x="55" y="420"/>
                      <a:pt x="55" y="416"/>
                      <a:pt x="58" y="411"/>
                    </a:cubicBezTo>
                    <a:cubicBezTo>
                      <a:pt x="58" y="406"/>
                      <a:pt x="60" y="399"/>
                      <a:pt x="62" y="394"/>
                    </a:cubicBezTo>
                    <a:cubicBezTo>
                      <a:pt x="64" y="389"/>
                      <a:pt x="66" y="387"/>
                      <a:pt x="68" y="378"/>
                    </a:cubicBezTo>
                    <a:cubicBezTo>
                      <a:pt x="69" y="365"/>
                      <a:pt x="71" y="354"/>
                      <a:pt x="73" y="342"/>
                    </a:cubicBezTo>
                    <a:cubicBezTo>
                      <a:pt x="75" y="332"/>
                      <a:pt x="73" y="325"/>
                      <a:pt x="76" y="318"/>
                    </a:cubicBezTo>
                    <a:cubicBezTo>
                      <a:pt x="78" y="311"/>
                      <a:pt x="85" y="307"/>
                      <a:pt x="88" y="300"/>
                    </a:cubicBezTo>
                    <a:cubicBezTo>
                      <a:pt x="90" y="291"/>
                      <a:pt x="95" y="281"/>
                      <a:pt x="95" y="274"/>
                    </a:cubicBezTo>
                    <a:cubicBezTo>
                      <a:pt x="95" y="267"/>
                      <a:pt x="90" y="265"/>
                      <a:pt x="89" y="256"/>
                    </a:cubicBezTo>
                    <a:cubicBezTo>
                      <a:pt x="88" y="247"/>
                      <a:pt x="86" y="234"/>
                      <a:pt x="86" y="222"/>
                    </a:cubicBezTo>
                    <a:cubicBezTo>
                      <a:pt x="87" y="211"/>
                      <a:pt x="86" y="197"/>
                      <a:pt x="91" y="186"/>
                    </a:cubicBezTo>
                    <a:cubicBezTo>
                      <a:pt x="93" y="177"/>
                      <a:pt x="99" y="170"/>
                      <a:pt x="106" y="166"/>
                    </a:cubicBezTo>
                    <a:cubicBezTo>
                      <a:pt x="109" y="162"/>
                      <a:pt x="112" y="157"/>
                      <a:pt x="115" y="153"/>
                    </a:cubicBezTo>
                    <a:cubicBezTo>
                      <a:pt x="116" y="148"/>
                      <a:pt x="113" y="141"/>
                      <a:pt x="113" y="135"/>
                    </a:cubicBezTo>
                    <a:cubicBezTo>
                      <a:pt x="113" y="129"/>
                      <a:pt x="114" y="123"/>
                      <a:pt x="116" y="117"/>
                    </a:cubicBezTo>
                    <a:cubicBezTo>
                      <a:pt x="118" y="111"/>
                      <a:pt x="122" y="103"/>
                      <a:pt x="124" y="100"/>
                    </a:cubicBezTo>
                    <a:cubicBezTo>
                      <a:pt x="125" y="99"/>
                      <a:pt x="127" y="98"/>
                      <a:pt x="128" y="96"/>
                    </a:cubicBezTo>
                    <a:cubicBezTo>
                      <a:pt x="133" y="79"/>
                      <a:pt x="148" y="64"/>
                      <a:pt x="136" y="73"/>
                    </a:cubicBezTo>
                    <a:cubicBezTo>
                      <a:pt x="130" y="69"/>
                      <a:pt x="131" y="78"/>
                      <a:pt x="128" y="72"/>
                    </a:cubicBezTo>
                    <a:cubicBezTo>
                      <a:pt x="127" y="66"/>
                      <a:pt x="114" y="67"/>
                      <a:pt x="110" y="61"/>
                    </a:cubicBezTo>
                    <a:cubicBezTo>
                      <a:pt x="106" y="55"/>
                      <a:pt x="104" y="42"/>
                      <a:pt x="103" y="34"/>
                    </a:cubicBezTo>
                    <a:cubicBezTo>
                      <a:pt x="102" y="26"/>
                      <a:pt x="107" y="21"/>
                      <a:pt x="106" y="15"/>
                    </a:cubicBezTo>
                    <a:cubicBezTo>
                      <a:pt x="103" y="8"/>
                      <a:pt x="105" y="1"/>
                      <a:pt x="97" y="0"/>
                    </a:cubicBezTo>
                    <a:cubicBezTo>
                      <a:pt x="90" y="3"/>
                      <a:pt x="81" y="8"/>
                      <a:pt x="85" y="1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grpSp>
            <p:nvGrpSpPr>
              <p:cNvPr id="404" name="Group 426">
                <a:extLst>
                  <a:ext uri="{FF2B5EF4-FFF2-40B4-BE49-F238E27FC236}">
                    <a16:creationId xmlns:a16="http://schemas.microsoft.com/office/drawing/2014/main" id="{64349B25-C81C-4DEA-A022-2CDE108ACB2B}"/>
                  </a:ext>
                </a:extLst>
              </p:cNvPr>
              <p:cNvGrpSpPr>
                <a:grpSpLocks/>
              </p:cNvGrpSpPr>
              <p:nvPr>
                <p:custDataLst>
                  <p:tags r:id="rId173"/>
                </p:custDataLst>
              </p:nvPr>
            </p:nvGrpSpPr>
            <p:grpSpPr bwMode="auto">
              <a:xfrm>
                <a:off x="2805035" y="3762375"/>
                <a:ext cx="107950" cy="174625"/>
                <a:chOff x="4714" y="2568"/>
                <a:chExt cx="67" cy="110"/>
              </a:xfrm>
              <a:grpFill/>
            </p:grpSpPr>
            <p:sp>
              <p:nvSpPr>
                <p:cNvPr id="423" name="Freeform 427">
                  <a:extLst>
                    <a:ext uri="{FF2B5EF4-FFF2-40B4-BE49-F238E27FC236}">
                      <a16:creationId xmlns:a16="http://schemas.microsoft.com/office/drawing/2014/main" id="{EB6AD7E6-B7F2-46EA-913A-326A2075D2AE}"/>
                    </a:ext>
                  </a:extLst>
                </p:cNvPr>
                <p:cNvSpPr>
                  <a:spLocks/>
                </p:cNvSpPr>
                <p:nvPr>
                  <p:custDataLst>
                    <p:tags r:id="rId188"/>
                  </p:custDataLst>
                </p:nvPr>
              </p:nvSpPr>
              <p:spPr bwMode="gray">
                <a:xfrm>
                  <a:off x="4751" y="2668"/>
                  <a:ext cx="17" cy="10"/>
                </a:xfrm>
                <a:custGeom>
                  <a:avLst/>
                  <a:gdLst>
                    <a:gd name="T0" fmla="*/ 0 w 17"/>
                    <a:gd name="T1" fmla="*/ 1 h 10"/>
                    <a:gd name="T2" fmla="*/ 9 w 17"/>
                    <a:gd name="T3" fmla="*/ 2 h 10"/>
                    <a:gd name="T4" fmla="*/ 0 w 17"/>
                    <a:gd name="T5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7" h="10">
                      <a:moveTo>
                        <a:pt x="0" y="1"/>
                      </a:moveTo>
                      <a:cubicBezTo>
                        <a:pt x="3" y="1"/>
                        <a:pt x="7" y="0"/>
                        <a:pt x="9" y="2"/>
                      </a:cubicBezTo>
                      <a:cubicBezTo>
                        <a:pt x="17" y="8"/>
                        <a:pt x="4" y="10"/>
                        <a:pt x="0" y="1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24" name="Freeform 428">
                  <a:extLst>
                    <a:ext uri="{FF2B5EF4-FFF2-40B4-BE49-F238E27FC236}">
                      <a16:creationId xmlns:a16="http://schemas.microsoft.com/office/drawing/2014/main" id="{E9F3820F-A49A-496B-9D86-2E65A2021993}"/>
                    </a:ext>
                  </a:extLst>
                </p:cNvPr>
                <p:cNvSpPr>
                  <a:spLocks/>
                </p:cNvSpPr>
                <p:nvPr>
                  <p:custDataLst>
                    <p:tags r:id="rId189"/>
                  </p:custDataLst>
                </p:nvPr>
              </p:nvSpPr>
              <p:spPr bwMode="gray">
                <a:xfrm>
                  <a:off x="4765" y="2640"/>
                  <a:ext cx="16" cy="6"/>
                </a:xfrm>
                <a:custGeom>
                  <a:avLst/>
                  <a:gdLst>
                    <a:gd name="T0" fmla="*/ 4 w 16"/>
                    <a:gd name="T1" fmla="*/ 0 h 6"/>
                    <a:gd name="T2" fmla="*/ 13 w 16"/>
                    <a:gd name="T3" fmla="*/ 2 h 6"/>
                    <a:gd name="T4" fmla="*/ 1 w 16"/>
                    <a:gd name="T5" fmla="*/ 3 h 6"/>
                    <a:gd name="T6" fmla="*/ 4 w 16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6">
                      <a:moveTo>
                        <a:pt x="4" y="0"/>
                      </a:moveTo>
                      <a:cubicBezTo>
                        <a:pt x="7" y="1"/>
                        <a:pt x="11" y="0"/>
                        <a:pt x="13" y="2"/>
                      </a:cubicBezTo>
                      <a:cubicBezTo>
                        <a:pt x="16" y="5"/>
                        <a:pt x="4" y="6"/>
                        <a:pt x="1" y="3"/>
                      </a:cubicBezTo>
                      <a:cubicBezTo>
                        <a:pt x="0" y="2"/>
                        <a:pt x="3" y="1"/>
                        <a:pt x="4" y="0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25" name="Freeform 429">
                  <a:extLst>
                    <a:ext uri="{FF2B5EF4-FFF2-40B4-BE49-F238E27FC236}">
                      <a16:creationId xmlns:a16="http://schemas.microsoft.com/office/drawing/2014/main" id="{97C391B9-FE7C-4F74-9F5B-82B509028638}"/>
                    </a:ext>
                  </a:extLst>
                </p:cNvPr>
                <p:cNvSpPr>
                  <a:spLocks/>
                </p:cNvSpPr>
                <p:nvPr>
                  <p:custDataLst>
                    <p:tags r:id="rId190"/>
                  </p:custDataLst>
                </p:nvPr>
              </p:nvSpPr>
              <p:spPr bwMode="gray">
                <a:xfrm>
                  <a:off x="4742" y="2645"/>
                  <a:ext cx="12" cy="7"/>
                </a:xfrm>
                <a:custGeom>
                  <a:avLst/>
                  <a:gdLst>
                    <a:gd name="T0" fmla="*/ 6 w 12"/>
                    <a:gd name="T1" fmla="*/ 3 h 7"/>
                    <a:gd name="T2" fmla="*/ 2 w 12"/>
                    <a:gd name="T3" fmla="*/ 6 h 7"/>
                    <a:gd name="T4" fmla="*/ 11 w 12"/>
                    <a:gd name="T5" fmla="*/ 4 h 7"/>
                    <a:gd name="T6" fmla="*/ 8 w 12"/>
                    <a:gd name="T7" fmla="*/ 0 h 7"/>
                    <a:gd name="T8" fmla="*/ 6 w 12"/>
                    <a:gd name="T9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7">
                      <a:moveTo>
                        <a:pt x="6" y="3"/>
                      </a:moveTo>
                      <a:cubicBezTo>
                        <a:pt x="5" y="4"/>
                        <a:pt x="0" y="6"/>
                        <a:pt x="2" y="6"/>
                      </a:cubicBezTo>
                      <a:cubicBezTo>
                        <a:pt x="5" y="7"/>
                        <a:pt x="9" y="6"/>
                        <a:pt x="11" y="4"/>
                      </a:cubicBezTo>
                      <a:cubicBezTo>
                        <a:pt x="12" y="3"/>
                        <a:pt x="10" y="0"/>
                        <a:pt x="8" y="0"/>
                      </a:cubicBezTo>
                      <a:cubicBezTo>
                        <a:pt x="7" y="0"/>
                        <a:pt x="7" y="2"/>
                        <a:pt x="6" y="3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26" name="Freeform 430">
                  <a:extLst>
                    <a:ext uri="{FF2B5EF4-FFF2-40B4-BE49-F238E27FC236}">
                      <a16:creationId xmlns:a16="http://schemas.microsoft.com/office/drawing/2014/main" id="{ED16E151-578C-4FCE-A612-653A0F1570B9}"/>
                    </a:ext>
                  </a:extLst>
                </p:cNvPr>
                <p:cNvSpPr>
                  <a:spLocks/>
                </p:cNvSpPr>
                <p:nvPr>
                  <p:custDataLst>
                    <p:tags r:id="rId191"/>
                  </p:custDataLst>
                </p:nvPr>
              </p:nvSpPr>
              <p:spPr bwMode="gray">
                <a:xfrm>
                  <a:off x="4733" y="2652"/>
                  <a:ext cx="13" cy="14"/>
                </a:xfrm>
                <a:custGeom>
                  <a:avLst/>
                  <a:gdLst>
                    <a:gd name="T0" fmla="*/ 5 w 13"/>
                    <a:gd name="T1" fmla="*/ 6 h 14"/>
                    <a:gd name="T2" fmla="*/ 9 w 13"/>
                    <a:gd name="T3" fmla="*/ 14 h 14"/>
                    <a:gd name="T4" fmla="*/ 5 w 13"/>
                    <a:gd name="T5" fmla="*/ 6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4">
                      <a:moveTo>
                        <a:pt x="5" y="6"/>
                      </a:moveTo>
                      <a:cubicBezTo>
                        <a:pt x="13" y="0"/>
                        <a:pt x="11" y="9"/>
                        <a:pt x="9" y="14"/>
                      </a:cubicBezTo>
                      <a:cubicBezTo>
                        <a:pt x="0" y="11"/>
                        <a:pt x="1" y="14"/>
                        <a:pt x="5" y="6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27" name="Freeform 431">
                  <a:extLst>
                    <a:ext uri="{FF2B5EF4-FFF2-40B4-BE49-F238E27FC236}">
                      <a16:creationId xmlns:a16="http://schemas.microsoft.com/office/drawing/2014/main" id="{E98757F7-8056-430E-9CA8-14C8F2F81880}"/>
                    </a:ext>
                  </a:extLst>
                </p:cNvPr>
                <p:cNvSpPr>
                  <a:spLocks/>
                </p:cNvSpPr>
                <p:nvPr>
                  <p:custDataLst>
                    <p:tags r:id="rId192"/>
                  </p:custDataLst>
                </p:nvPr>
              </p:nvSpPr>
              <p:spPr bwMode="gray">
                <a:xfrm>
                  <a:off x="4714" y="2568"/>
                  <a:ext cx="33" cy="25"/>
                </a:xfrm>
                <a:custGeom>
                  <a:avLst/>
                  <a:gdLst>
                    <a:gd name="T0" fmla="*/ 3 w 33"/>
                    <a:gd name="T1" fmla="*/ 2 h 25"/>
                    <a:gd name="T2" fmla="*/ 15 w 33"/>
                    <a:gd name="T3" fmla="*/ 3 h 25"/>
                    <a:gd name="T4" fmla="*/ 21 w 33"/>
                    <a:gd name="T5" fmla="*/ 12 h 25"/>
                    <a:gd name="T6" fmla="*/ 33 w 33"/>
                    <a:gd name="T7" fmla="*/ 5 h 25"/>
                    <a:gd name="T8" fmla="*/ 21 w 33"/>
                    <a:gd name="T9" fmla="*/ 21 h 25"/>
                    <a:gd name="T10" fmla="*/ 7 w 33"/>
                    <a:gd name="T11" fmla="*/ 15 h 25"/>
                    <a:gd name="T12" fmla="*/ 3 w 33"/>
                    <a:gd name="T13" fmla="*/ 2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3" h="25">
                      <a:moveTo>
                        <a:pt x="3" y="2"/>
                      </a:moveTo>
                      <a:cubicBezTo>
                        <a:pt x="7" y="2"/>
                        <a:pt x="12" y="0"/>
                        <a:pt x="15" y="3"/>
                      </a:cubicBezTo>
                      <a:cubicBezTo>
                        <a:pt x="25" y="12"/>
                        <a:pt x="8" y="17"/>
                        <a:pt x="21" y="12"/>
                      </a:cubicBezTo>
                      <a:cubicBezTo>
                        <a:pt x="22" y="3"/>
                        <a:pt x="25" y="2"/>
                        <a:pt x="33" y="5"/>
                      </a:cubicBezTo>
                      <a:cubicBezTo>
                        <a:pt x="29" y="25"/>
                        <a:pt x="24" y="6"/>
                        <a:pt x="21" y="21"/>
                      </a:cubicBezTo>
                      <a:cubicBezTo>
                        <a:pt x="15" y="20"/>
                        <a:pt x="12" y="17"/>
                        <a:pt x="7" y="15"/>
                      </a:cubicBezTo>
                      <a:cubicBezTo>
                        <a:pt x="2" y="10"/>
                        <a:pt x="0" y="8"/>
                        <a:pt x="3" y="2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28" name="Freeform 432">
                  <a:extLst>
                    <a:ext uri="{FF2B5EF4-FFF2-40B4-BE49-F238E27FC236}">
                      <a16:creationId xmlns:a16="http://schemas.microsoft.com/office/drawing/2014/main" id="{7AB6BC0C-838A-4931-A85D-9B47BB549744}"/>
                    </a:ext>
                  </a:extLst>
                </p:cNvPr>
                <p:cNvSpPr>
                  <a:spLocks/>
                </p:cNvSpPr>
                <p:nvPr>
                  <p:custDataLst>
                    <p:tags r:id="rId193"/>
                  </p:custDataLst>
                </p:nvPr>
              </p:nvSpPr>
              <p:spPr bwMode="gray">
                <a:xfrm>
                  <a:off x="4745" y="2589"/>
                  <a:ext cx="20" cy="48"/>
                </a:xfrm>
                <a:custGeom>
                  <a:avLst/>
                  <a:gdLst>
                    <a:gd name="T0" fmla="*/ 6 w 20"/>
                    <a:gd name="T1" fmla="*/ 0 h 48"/>
                    <a:gd name="T2" fmla="*/ 5 w 20"/>
                    <a:gd name="T3" fmla="*/ 12 h 48"/>
                    <a:gd name="T4" fmla="*/ 9 w 20"/>
                    <a:gd name="T5" fmla="*/ 48 h 48"/>
                    <a:gd name="T6" fmla="*/ 12 w 20"/>
                    <a:gd name="T7" fmla="*/ 32 h 48"/>
                    <a:gd name="T8" fmla="*/ 6 w 20"/>
                    <a:gd name="T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48">
                      <a:moveTo>
                        <a:pt x="6" y="0"/>
                      </a:moveTo>
                      <a:cubicBezTo>
                        <a:pt x="0" y="3"/>
                        <a:pt x="2" y="6"/>
                        <a:pt x="5" y="12"/>
                      </a:cubicBezTo>
                      <a:cubicBezTo>
                        <a:pt x="7" y="26"/>
                        <a:pt x="8" y="33"/>
                        <a:pt x="9" y="48"/>
                      </a:cubicBezTo>
                      <a:cubicBezTo>
                        <a:pt x="20" y="46"/>
                        <a:pt x="17" y="39"/>
                        <a:pt x="12" y="32"/>
                      </a:cubicBezTo>
                      <a:cubicBezTo>
                        <a:pt x="14" y="12"/>
                        <a:pt x="18" y="12"/>
                        <a:pt x="6" y="0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</p:grpSp>
          <p:sp>
            <p:nvSpPr>
              <p:cNvPr id="405" name="Freeform 433">
                <a:extLst>
                  <a:ext uri="{FF2B5EF4-FFF2-40B4-BE49-F238E27FC236}">
                    <a16:creationId xmlns:a16="http://schemas.microsoft.com/office/drawing/2014/main" id="{73084703-0836-4321-BE0B-40469CD779B1}"/>
                  </a:ext>
                </a:extLst>
              </p:cNvPr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gray">
              <a:xfrm>
                <a:off x="1519238" y="3368675"/>
                <a:ext cx="730250" cy="466725"/>
              </a:xfrm>
              <a:custGeom>
                <a:avLst/>
                <a:gdLst>
                  <a:gd name="T0" fmla="*/ 9 w 451"/>
                  <a:gd name="T1" fmla="*/ 30 h 295"/>
                  <a:gd name="T2" fmla="*/ 44 w 451"/>
                  <a:gd name="T3" fmla="*/ 74 h 295"/>
                  <a:gd name="T4" fmla="*/ 65 w 451"/>
                  <a:gd name="T5" fmla="*/ 116 h 295"/>
                  <a:gd name="T6" fmla="*/ 81 w 451"/>
                  <a:gd name="T7" fmla="*/ 149 h 295"/>
                  <a:gd name="T8" fmla="*/ 105 w 451"/>
                  <a:gd name="T9" fmla="*/ 170 h 295"/>
                  <a:gd name="T10" fmla="*/ 95 w 451"/>
                  <a:gd name="T11" fmla="*/ 129 h 295"/>
                  <a:gd name="T12" fmla="*/ 66 w 451"/>
                  <a:gd name="T13" fmla="*/ 83 h 295"/>
                  <a:gd name="T14" fmla="*/ 44 w 451"/>
                  <a:gd name="T15" fmla="*/ 51 h 295"/>
                  <a:gd name="T16" fmla="*/ 35 w 451"/>
                  <a:gd name="T17" fmla="*/ 20 h 295"/>
                  <a:gd name="T18" fmla="*/ 65 w 451"/>
                  <a:gd name="T19" fmla="*/ 45 h 295"/>
                  <a:gd name="T20" fmla="*/ 120 w 451"/>
                  <a:gd name="T21" fmla="*/ 116 h 295"/>
                  <a:gd name="T22" fmla="*/ 152 w 451"/>
                  <a:gd name="T23" fmla="*/ 156 h 295"/>
                  <a:gd name="T24" fmla="*/ 171 w 451"/>
                  <a:gd name="T25" fmla="*/ 213 h 295"/>
                  <a:gd name="T26" fmla="*/ 201 w 451"/>
                  <a:gd name="T27" fmla="*/ 237 h 295"/>
                  <a:gd name="T28" fmla="*/ 273 w 451"/>
                  <a:gd name="T29" fmla="*/ 276 h 295"/>
                  <a:gd name="T30" fmla="*/ 327 w 451"/>
                  <a:gd name="T31" fmla="*/ 279 h 295"/>
                  <a:gd name="T32" fmla="*/ 371 w 451"/>
                  <a:gd name="T33" fmla="*/ 294 h 295"/>
                  <a:gd name="T34" fmla="*/ 398 w 451"/>
                  <a:gd name="T35" fmla="*/ 279 h 295"/>
                  <a:gd name="T36" fmla="*/ 387 w 451"/>
                  <a:gd name="T37" fmla="*/ 257 h 295"/>
                  <a:gd name="T38" fmla="*/ 413 w 451"/>
                  <a:gd name="T39" fmla="*/ 251 h 295"/>
                  <a:gd name="T40" fmla="*/ 450 w 451"/>
                  <a:gd name="T41" fmla="*/ 195 h 295"/>
                  <a:gd name="T42" fmla="*/ 411 w 451"/>
                  <a:gd name="T43" fmla="*/ 198 h 295"/>
                  <a:gd name="T44" fmla="*/ 396 w 451"/>
                  <a:gd name="T45" fmla="*/ 221 h 295"/>
                  <a:gd name="T46" fmla="*/ 348 w 451"/>
                  <a:gd name="T47" fmla="*/ 242 h 295"/>
                  <a:gd name="T48" fmla="*/ 315 w 451"/>
                  <a:gd name="T49" fmla="*/ 233 h 295"/>
                  <a:gd name="T50" fmla="*/ 285 w 451"/>
                  <a:gd name="T51" fmla="*/ 167 h 295"/>
                  <a:gd name="T52" fmla="*/ 272 w 451"/>
                  <a:gd name="T53" fmla="*/ 117 h 295"/>
                  <a:gd name="T54" fmla="*/ 249 w 451"/>
                  <a:gd name="T55" fmla="*/ 74 h 295"/>
                  <a:gd name="T56" fmla="*/ 212 w 451"/>
                  <a:gd name="T57" fmla="*/ 65 h 295"/>
                  <a:gd name="T58" fmla="*/ 147 w 451"/>
                  <a:gd name="T59" fmla="*/ 18 h 295"/>
                  <a:gd name="T60" fmla="*/ 116 w 451"/>
                  <a:gd name="T61" fmla="*/ 30 h 295"/>
                  <a:gd name="T62" fmla="*/ 63 w 451"/>
                  <a:gd name="T63" fmla="*/ 21 h 295"/>
                  <a:gd name="T64" fmla="*/ 5 w 451"/>
                  <a:gd name="T65" fmla="*/ 9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1" h="295">
                    <a:moveTo>
                      <a:pt x="5" y="9"/>
                    </a:moveTo>
                    <a:cubicBezTo>
                      <a:pt x="0" y="13"/>
                      <a:pt x="5" y="22"/>
                      <a:pt x="9" y="30"/>
                    </a:cubicBezTo>
                    <a:cubicBezTo>
                      <a:pt x="13" y="38"/>
                      <a:pt x="21" y="50"/>
                      <a:pt x="27" y="57"/>
                    </a:cubicBezTo>
                    <a:cubicBezTo>
                      <a:pt x="33" y="64"/>
                      <a:pt x="41" y="68"/>
                      <a:pt x="44" y="74"/>
                    </a:cubicBezTo>
                    <a:cubicBezTo>
                      <a:pt x="47" y="80"/>
                      <a:pt x="41" y="88"/>
                      <a:pt x="44" y="95"/>
                    </a:cubicBezTo>
                    <a:cubicBezTo>
                      <a:pt x="47" y="102"/>
                      <a:pt x="60" y="110"/>
                      <a:pt x="65" y="116"/>
                    </a:cubicBezTo>
                    <a:cubicBezTo>
                      <a:pt x="70" y="122"/>
                      <a:pt x="72" y="129"/>
                      <a:pt x="75" y="134"/>
                    </a:cubicBezTo>
                    <a:cubicBezTo>
                      <a:pt x="78" y="139"/>
                      <a:pt x="77" y="146"/>
                      <a:pt x="81" y="149"/>
                    </a:cubicBezTo>
                    <a:cubicBezTo>
                      <a:pt x="85" y="152"/>
                      <a:pt x="97" y="150"/>
                      <a:pt x="101" y="153"/>
                    </a:cubicBezTo>
                    <a:cubicBezTo>
                      <a:pt x="105" y="156"/>
                      <a:pt x="103" y="169"/>
                      <a:pt x="105" y="170"/>
                    </a:cubicBezTo>
                    <a:cubicBezTo>
                      <a:pt x="107" y="171"/>
                      <a:pt x="115" y="166"/>
                      <a:pt x="113" y="159"/>
                    </a:cubicBezTo>
                    <a:cubicBezTo>
                      <a:pt x="111" y="152"/>
                      <a:pt x="101" y="138"/>
                      <a:pt x="95" y="129"/>
                    </a:cubicBezTo>
                    <a:cubicBezTo>
                      <a:pt x="89" y="120"/>
                      <a:pt x="82" y="110"/>
                      <a:pt x="77" y="102"/>
                    </a:cubicBezTo>
                    <a:cubicBezTo>
                      <a:pt x="72" y="94"/>
                      <a:pt x="70" y="90"/>
                      <a:pt x="66" y="83"/>
                    </a:cubicBezTo>
                    <a:cubicBezTo>
                      <a:pt x="62" y="76"/>
                      <a:pt x="57" y="67"/>
                      <a:pt x="53" y="62"/>
                    </a:cubicBezTo>
                    <a:cubicBezTo>
                      <a:pt x="49" y="57"/>
                      <a:pt x="47" y="56"/>
                      <a:pt x="44" y="51"/>
                    </a:cubicBezTo>
                    <a:cubicBezTo>
                      <a:pt x="41" y="46"/>
                      <a:pt x="36" y="38"/>
                      <a:pt x="35" y="33"/>
                    </a:cubicBezTo>
                    <a:cubicBezTo>
                      <a:pt x="34" y="28"/>
                      <a:pt x="31" y="21"/>
                      <a:pt x="35" y="20"/>
                    </a:cubicBezTo>
                    <a:cubicBezTo>
                      <a:pt x="39" y="19"/>
                      <a:pt x="54" y="25"/>
                      <a:pt x="59" y="29"/>
                    </a:cubicBezTo>
                    <a:cubicBezTo>
                      <a:pt x="64" y="33"/>
                      <a:pt x="61" y="37"/>
                      <a:pt x="65" y="45"/>
                    </a:cubicBezTo>
                    <a:cubicBezTo>
                      <a:pt x="69" y="53"/>
                      <a:pt x="75" y="68"/>
                      <a:pt x="84" y="80"/>
                    </a:cubicBezTo>
                    <a:cubicBezTo>
                      <a:pt x="93" y="92"/>
                      <a:pt x="114" y="108"/>
                      <a:pt x="120" y="116"/>
                    </a:cubicBezTo>
                    <a:cubicBezTo>
                      <a:pt x="126" y="124"/>
                      <a:pt x="114" y="122"/>
                      <a:pt x="119" y="129"/>
                    </a:cubicBezTo>
                    <a:cubicBezTo>
                      <a:pt x="124" y="136"/>
                      <a:pt x="142" y="145"/>
                      <a:pt x="152" y="156"/>
                    </a:cubicBezTo>
                    <a:cubicBezTo>
                      <a:pt x="162" y="167"/>
                      <a:pt x="174" y="189"/>
                      <a:pt x="177" y="198"/>
                    </a:cubicBezTo>
                    <a:cubicBezTo>
                      <a:pt x="180" y="207"/>
                      <a:pt x="170" y="207"/>
                      <a:pt x="171" y="213"/>
                    </a:cubicBezTo>
                    <a:cubicBezTo>
                      <a:pt x="172" y="219"/>
                      <a:pt x="181" y="233"/>
                      <a:pt x="186" y="237"/>
                    </a:cubicBezTo>
                    <a:cubicBezTo>
                      <a:pt x="191" y="241"/>
                      <a:pt x="194" y="235"/>
                      <a:pt x="201" y="237"/>
                    </a:cubicBezTo>
                    <a:cubicBezTo>
                      <a:pt x="208" y="239"/>
                      <a:pt x="216" y="246"/>
                      <a:pt x="228" y="252"/>
                    </a:cubicBezTo>
                    <a:cubicBezTo>
                      <a:pt x="240" y="258"/>
                      <a:pt x="260" y="271"/>
                      <a:pt x="273" y="276"/>
                    </a:cubicBezTo>
                    <a:cubicBezTo>
                      <a:pt x="286" y="281"/>
                      <a:pt x="296" y="281"/>
                      <a:pt x="305" y="281"/>
                    </a:cubicBezTo>
                    <a:cubicBezTo>
                      <a:pt x="314" y="281"/>
                      <a:pt x="320" y="279"/>
                      <a:pt x="327" y="279"/>
                    </a:cubicBezTo>
                    <a:cubicBezTo>
                      <a:pt x="334" y="279"/>
                      <a:pt x="343" y="279"/>
                      <a:pt x="350" y="282"/>
                    </a:cubicBezTo>
                    <a:cubicBezTo>
                      <a:pt x="357" y="285"/>
                      <a:pt x="366" y="295"/>
                      <a:pt x="371" y="294"/>
                    </a:cubicBezTo>
                    <a:cubicBezTo>
                      <a:pt x="376" y="293"/>
                      <a:pt x="376" y="281"/>
                      <a:pt x="380" y="279"/>
                    </a:cubicBezTo>
                    <a:cubicBezTo>
                      <a:pt x="384" y="277"/>
                      <a:pt x="393" y="279"/>
                      <a:pt x="398" y="279"/>
                    </a:cubicBezTo>
                    <a:cubicBezTo>
                      <a:pt x="403" y="279"/>
                      <a:pt x="410" y="279"/>
                      <a:pt x="408" y="276"/>
                    </a:cubicBezTo>
                    <a:cubicBezTo>
                      <a:pt x="406" y="273"/>
                      <a:pt x="389" y="261"/>
                      <a:pt x="387" y="257"/>
                    </a:cubicBezTo>
                    <a:cubicBezTo>
                      <a:pt x="385" y="253"/>
                      <a:pt x="391" y="253"/>
                      <a:pt x="395" y="252"/>
                    </a:cubicBezTo>
                    <a:cubicBezTo>
                      <a:pt x="399" y="251"/>
                      <a:pt x="407" y="252"/>
                      <a:pt x="413" y="251"/>
                    </a:cubicBezTo>
                    <a:cubicBezTo>
                      <a:pt x="419" y="250"/>
                      <a:pt x="425" y="252"/>
                      <a:pt x="431" y="243"/>
                    </a:cubicBezTo>
                    <a:cubicBezTo>
                      <a:pt x="437" y="234"/>
                      <a:pt x="451" y="204"/>
                      <a:pt x="450" y="195"/>
                    </a:cubicBezTo>
                    <a:cubicBezTo>
                      <a:pt x="449" y="186"/>
                      <a:pt x="431" y="191"/>
                      <a:pt x="425" y="191"/>
                    </a:cubicBezTo>
                    <a:cubicBezTo>
                      <a:pt x="419" y="191"/>
                      <a:pt x="415" y="197"/>
                      <a:pt x="411" y="198"/>
                    </a:cubicBezTo>
                    <a:cubicBezTo>
                      <a:pt x="407" y="199"/>
                      <a:pt x="401" y="194"/>
                      <a:pt x="399" y="198"/>
                    </a:cubicBezTo>
                    <a:cubicBezTo>
                      <a:pt x="397" y="202"/>
                      <a:pt x="399" y="215"/>
                      <a:pt x="396" y="221"/>
                    </a:cubicBezTo>
                    <a:cubicBezTo>
                      <a:pt x="393" y="227"/>
                      <a:pt x="391" y="233"/>
                      <a:pt x="383" y="237"/>
                    </a:cubicBezTo>
                    <a:cubicBezTo>
                      <a:pt x="375" y="241"/>
                      <a:pt x="355" y="241"/>
                      <a:pt x="348" y="242"/>
                    </a:cubicBezTo>
                    <a:cubicBezTo>
                      <a:pt x="341" y="243"/>
                      <a:pt x="343" y="244"/>
                      <a:pt x="338" y="243"/>
                    </a:cubicBezTo>
                    <a:cubicBezTo>
                      <a:pt x="333" y="242"/>
                      <a:pt x="321" y="240"/>
                      <a:pt x="315" y="233"/>
                    </a:cubicBezTo>
                    <a:cubicBezTo>
                      <a:pt x="309" y="226"/>
                      <a:pt x="304" y="211"/>
                      <a:pt x="299" y="200"/>
                    </a:cubicBezTo>
                    <a:cubicBezTo>
                      <a:pt x="294" y="189"/>
                      <a:pt x="286" y="181"/>
                      <a:pt x="285" y="167"/>
                    </a:cubicBezTo>
                    <a:cubicBezTo>
                      <a:pt x="284" y="153"/>
                      <a:pt x="292" y="125"/>
                      <a:pt x="290" y="117"/>
                    </a:cubicBezTo>
                    <a:cubicBezTo>
                      <a:pt x="288" y="109"/>
                      <a:pt x="277" y="119"/>
                      <a:pt x="272" y="117"/>
                    </a:cubicBezTo>
                    <a:cubicBezTo>
                      <a:pt x="267" y="115"/>
                      <a:pt x="262" y="112"/>
                      <a:pt x="258" y="105"/>
                    </a:cubicBezTo>
                    <a:cubicBezTo>
                      <a:pt x="254" y="98"/>
                      <a:pt x="256" y="82"/>
                      <a:pt x="249" y="74"/>
                    </a:cubicBezTo>
                    <a:cubicBezTo>
                      <a:pt x="242" y="66"/>
                      <a:pt x="219" y="55"/>
                      <a:pt x="213" y="54"/>
                    </a:cubicBezTo>
                    <a:cubicBezTo>
                      <a:pt x="207" y="53"/>
                      <a:pt x="216" y="65"/>
                      <a:pt x="212" y="65"/>
                    </a:cubicBezTo>
                    <a:cubicBezTo>
                      <a:pt x="208" y="65"/>
                      <a:pt x="200" y="61"/>
                      <a:pt x="189" y="53"/>
                    </a:cubicBezTo>
                    <a:cubicBezTo>
                      <a:pt x="178" y="45"/>
                      <a:pt x="156" y="23"/>
                      <a:pt x="147" y="18"/>
                    </a:cubicBezTo>
                    <a:cubicBezTo>
                      <a:pt x="138" y="13"/>
                      <a:pt x="140" y="18"/>
                      <a:pt x="135" y="20"/>
                    </a:cubicBezTo>
                    <a:cubicBezTo>
                      <a:pt x="130" y="22"/>
                      <a:pt x="123" y="28"/>
                      <a:pt x="116" y="30"/>
                    </a:cubicBezTo>
                    <a:cubicBezTo>
                      <a:pt x="109" y="32"/>
                      <a:pt x="104" y="35"/>
                      <a:pt x="95" y="33"/>
                    </a:cubicBezTo>
                    <a:cubicBezTo>
                      <a:pt x="86" y="31"/>
                      <a:pt x="73" y="26"/>
                      <a:pt x="63" y="21"/>
                    </a:cubicBezTo>
                    <a:cubicBezTo>
                      <a:pt x="53" y="16"/>
                      <a:pt x="45" y="4"/>
                      <a:pt x="35" y="2"/>
                    </a:cubicBezTo>
                    <a:cubicBezTo>
                      <a:pt x="25" y="0"/>
                      <a:pt x="11" y="8"/>
                      <a:pt x="5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6" name="Freeform 434">
                <a:extLst>
                  <a:ext uri="{FF2B5EF4-FFF2-40B4-BE49-F238E27FC236}">
                    <a16:creationId xmlns:a16="http://schemas.microsoft.com/office/drawing/2014/main" id="{D3DE191E-3037-410A-BD9C-1154168796D3}"/>
                  </a:ext>
                </a:extLst>
              </p:cNvPr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gray">
              <a:xfrm>
                <a:off x="2824163" y="4659313"/>
                <a:ext cx="222250" cy="203200"/>
              </a:xfrm>
              <a:custGeom>
                <a:avLst/>
                <a:gdLst>
                  <a:gd name="T0" fmla="*/ 0 w 137"/>
                  <a:gd name="T1" fmla="*/ 43 h 128"/>
                  <a:gd name="T2" fmla="*/ 6 w 137"/>
                  <a:gd name="T3" fmla="*/ 28 h 128"/>
                  <a:gd name="T4" fmla="*/ 12 w 137"/>
                  <a:gd name="T5" fmla="*/ 10 h 128"/>
                  <a:gd name="T6" fmla="*/ 24 w 137"/>
                  <a:gd name="T7" fmla="*/ 4 h 128"/>
                  <a:gd name="T8" fmla="*/ 35 w 137"/>
                  <a:gd name="T9" fmla="*/ 2 h 128"/>
                  <a:gd name="T10" fmla="*/ 69 w 137"/>
                  <a:gd name="T11" fmla="*/ 5 h 128"/>
                  <a:gd name="T12" fmla="*/ 69 w 137"/>
                  <a:gd name="T13" fmla="*/ 19 h 128"/>
                  <a:gd name="T14" fmla="*/ 70 w 137"/>
                  <a:gd name="T15" fmla="*/ 41 h 128"/>
                  <a:gd name="T16" fmla="*/ 94 w 137"/>
                  <a:gd name="T17" fmla="*/ 47 h 128"/>
                  <a:gd name="T18" fmla="*/ 114 w 137"/>
                  <a:gd name="T19" fmla="*/ 49 h 128"/>
                  <a:gd name="T20" fmla="*/ 115 w 137"/>
                  <a:gd name="T21" fmla="*/ 65 h 128"/>
                  <a:gd name="T22" fmla="*/ 132 w 137"/>
                  <a:gd name="T23" fmla="*/ 76 h 128"/>
                  <a:gd name="T24" fmla="*/ 136 w 137"/>
                  <a:gd name="T25" fmla="*/ 92 h 128"/>
                  <a:gd name="T26" fmla="*/ 126 w 137"/>
                  <a:gd name="T27" fmla="*/ 110 h 128"/>
                  <a:gd name="T28" fmla="*/ 115 w 137"/>
                  <a:gd name="T29" fmla="*/ 127 h 128"/>
                  <a:gd name="T30" fmla="*/ 70 w 137"/>
                  <a:gd name="T31" fmla="*/ 119 h 128"/>
                  <a:gd name="T32" fmla="*/ 76 w 137"/>
                  <a:gd name="T33" fmla="*/ 103 h 128"/>
                  <a:gd name="T34" fmla="*/ 57 w 137"/>
                  <a:gd name="T35" fmla="*/ 86 h 128"/>
                  <a:gd name="T36" fmla="*/ 39 w 137"/>
                  <a:gd name="T37" fmla="*/ 73 h 128"/>
                  <a:gd name="T38" fmla="*/ 15 w 137"/>
                  <a:gd name="T39" fmla="*/ 53 h 128"/>
                  <a:gd name="T40" fmla="*/ 0 w 137"/>
                  <a:gd name="T41" fmla="*/ 4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7" h="128">
                    <a:moveTo>
                      <a:pt x="0" y="43"/>
                    </a:moveTo>
                    <a:cubicBezTo>
                      <a:pt x="1" y="38"/>
                      <a:pt x="6" y="28"/>
                      <a:pt x="6" y="28"/>
                    </a:cubicBezTo>
                    <a:cubicBezTo>
                      <a:pt x="8" y="23"/>
                      <a:pt x="9" y="14"/>
                      <a:pt x="12" y="10"/>
                    </a:cubicBezTo>
                    <a:cubicBezTo>
                      <a:pt x="15" y="6"/>
                      <a:pt x="20" y="5"/>
                      <a:pt x="24" y="4"/>
                    </a:cubicBezTo>
                    <a:cubicBezTo>
                      <a:pt x="29" y="0"/>
                      <a:pt x="28" y="2"/>
                      <a:pt x="35" y="2"/>
                    </a:cubicBezTo>
                    <a:cubicBezTo>
                      <a:pt x="42" y="2"/>
                      <a:pt x="63" y="2"/>
                      <a:pt x="69" y="5"/>
                    </a:cubicBezTo>
                    <a:cubicBezTo>
                      <a:pt x="75" y="8"/>
                      <a:pt x="69" y="13"/>
                      <a:pt x="69" y="19"/>
                    </a:cubicBezTo>
                    <a:cubicBezTo>
                      <a:pt x="69" y="25"/>
                      <a:pt x="66" y="36"/>
                      <a:pt x="70" y="41"/>
                    </a:cubicBezTo>
                    <a:cubicBezTo>
                      <a:pt x="74" y="49"/>
                      <a:pt x="87" y="45"/>
                      <a:pt x="94" y="47"/>
                    </a:cubicBezTo>
                    <a:cubicBezTo>
                      <a:pt x="101" y="48"/>
                      <a:pt x="110" y="46"/>
                      <a:pt x="114" y="49"/>
                    </a:cubicBezTo>
                    <a:cubicBezTo>
                      <a:pt x="118" y="51"/>
                      <a:pt x="112" y="61"/>
                      <a:pt x="115" y="65"/>
                    </a:cubicBezTo>
                    <a:cubicBezTo>
                      <a:pt x="118" y="69"/>
                      <a:pt x="129" y="72"/>
                      <a:pt x="132" y="76"/>
                    </a:cubicBezTo>
                    <a:cubicBezTo>
                      <a:pt x="135" y="80"/>
                      <a:pt x="137" y="86"/>
                      <a:pt x="136" y="92"/>
                    </a:cubicBezTo>
                    <a:cubicBezTo>
                      <a:pt x="135" y="98"/>
                      <a:pt x="129" y="104"/>
                      <a:pt x="126" y="110"/>
                    </a:cubicBezTo>
                    <a:cubicBezTo>
                      <a:pt x="123" y="116"/>
                      <a:pt x="124" y="125"/>
                      <a:pt x="115" y="127"/>
                    </a:cubicBezTo>
                    <a:cubicBezTo>
                      <a:pt x="87" y="126"/>
                      <a:pt x="86" y="128"/>
                      <a:pt x="70" y="119"/>
                    </a:cubicBezTo>
                    <a:cubicBezTo>
                      <a:pt x="63" y="115"/>
                      <a:pt x="78" y="108"/>
                      <a:pt x="76" y="103"/>
                    </a:cubicBezTo>
                    <a:cubicBezTo>
                      <a:pt x="74" y="98"/>
                      <a:pt x="63" y="91"/>
                      <a:pt x="57" y="86"/>
                    </a:cubicBezTo>
                    <a:cubicBezTo>
                      <a:pt x="53" y="77"/>
                      <a:pt x="50" y="75"/>
                      <a:pt x="39" y="73"/>
                    </a:cubicBezTo>
                    <a:cubicBezTo>
                      <a:pt x="33" y="67"/>
                      <a:pt x="21" y="58"/>
                      <a:pt x="15" y="53"/>
                    </a:cubicBezTo>
                    <a:cubicBezTo>
                      <a:pt x="9" y="48"/>
                      <a:pt x="3" y="45"/>
                      <a:pt x="0" y="4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7" name="Freeform 435">
                <a:extLst>
                  <a:ext uri="{FF2B5EF4-FFF2-40B4-BE49-F238E27FC236}">
                    <a16:creationId xmlns:a16="http://schemas.microsoft.com/office/drawing/2014/main" id="{81322172-A0D2-49A0-859C-AAD188537656}"/>
                  </a:ext>
                </a:extLst>
              </p:cNvPr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gray">
              <a:xfrm>
                <a:off x="2187576" y="3762375"/>
                <a:ext cx="28575" cy="61913"/>
              </a:xfrm>
              <a:custGeom>
                <a:avLst/>
                <a:gdLst>
                  <a:gd name="T0" fmla="*/ 14 w 19"/>
                  <a:gd name="T1" fmla="*/ 0 h 38"/>
                  <a:gd name="T2" fmla="*/ 19 w 19"/>
                  <a:gd name="T3" fmla="*/ 32 h 38"/>
                  <a:gd name="T4" fmla="*/ 5 w 19"/>
                  <a:gd name="T5" fmla="*/ 38 h 38"/>
                  <a:gd name="T6" fmla="*/ 4 w 19"/>
                  <a:gd name="T7" fmla="*/ 23 h 38"/>
                  <a:gd name="T8" fmla="*/ 10 w 19"/>
                  <a:gd name="T9" fmla="*/ 9 h 38"/>
                  <a:gd name="T10" fmla="*/ 14 w 19"/>
                  <a:gd name="T1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38">
                    <a:moveTo>
                      <a:pt x="14" y="0"/>
                    </a:moveTo>
                    <a:cubicBezTo>
                      <a:pt x="18" y="22"/>
                      <a:pt x="16" y="11"/>
                      <a:pt x="19" y="32"/>
                    </a:cubicBezTo>
                    <a:cubicBezTo>
                      <a:pt x="13" y="33"/>
                      <a:pt x="10" y="36"/>
                      <a:pt x="5" y="38"/>
                    </a:cubicBezTo>
                    <a:cubicBezTo>
                      <a:pt x="0" y="32"/>
                      <a:pt x="1" y="30"/>
                      <a:pt x="4" y="23"/>
                    </a:cubicBezTo>
                    <a:cubicBezTo>
                      <a:pt x="5" y="17"/>
                      <a:pt x="7" y="14"/>
                      <a:pt x="10" y="9"/>
                    </a:cubicBezTo>
                    <a:cubicBezTo>
                      <a:pt x="11" y="2"/>
                      <a:pt x="10" y="4"/>
                      <a:pt x="14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8" name="Freeform 436">
                <a:extLst>
                  <a:ext uri="{FF2B5EF4-FFF2-40B4-BE49-F238E27FC236}">
                    <a16:creationId xmlns:a16="http://schemas.microsoft.com/office/drawing/2014/main" id="{C1E01C19-F06C-4A8F-9524-1441056B61F0}"/>
                  </a:ext>
                </a:extLst>
              </p:cNvPr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gray">
              <a:xfrm>
                <a:off x="2274888" y="3925888"/>
                <a:ext cx="107950" cy="93663"/>
              </a:xfrm>
              <a:custGeom>
                <a:avLst/>
                <a:gdLst>
                  <a:gd name="T0" fmla="*/ 5 w 68"/>
                  <a:gd name="T1" fmla="*/ 4 h 58"/>
                  <a:gd name="T2" fmla="*/ 14 w 68"/>
                  <a:gd name="T3" fmla="*/ 15 h 58"/>
                  <a:gd name="T4" fmla="*/ 23 w 68"/>
                  <a:gd name="T5" fmla="*/ 31 h 58"/>
                  <a:gd name="T6" fmla="*/ 33 w 68"/>
                  <a:gd name="T7" fmla="*/ 36 h 58"/>
                  <a:gd name="T8" fmla="*/ 60 w 68"/>
                  <a:gd name="T9" fmla="*/ 51 h 58"/>
                  <a:gd name="T10" fmla="*/ 68 w 68"/>
                  <a:gd name="T11" fmla="*/ 43 h 58"/>
                  <a:gd name="T12" fmla="*/ 51 w 68"/>
                  <a:gd name="T13" fmla="*/ 33 h 58"/>
                  <a:gd name="T14" fmla="*/ 39 w 68"/>
                  <a:gd name="T15" fmla="*/ 24 h 58"/>
                  <a:gd name="T16" fmla="*/ 38 w 68"/>
                  <a:gd name="T17" fmla="*/ 16 h 58"/>
                  <a:gd name="T18" fmla="*/ 5 w 68"/>
                  <a:gd name="T19" fmla="*/ 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58">
                    <a:moveTo>
                      <a:pt x="5" y="4"/>
                    </a:moveTo>
                    <a:cubicBezTo>
                      <a:pt x="0" y="3"/>
                      <a:pt x="11" y="11"/>
                      <a:pt x="14" y="15"/>
                    </a:cubicBezTo>
                    <a:cubicBezTo>
                      <a:pt x="17" y="19"/>
                      <a:pt x="20" y="28"/>
                      <a:pt x="23" y="31"/>
                    </a:cubicBezTo>
                    <a:cubicBezTo>
                      <a:pt x="28" y="33"/>
                      <a:pt x="29" y="33"/>
                      <a:pt x="33" y="36"/>
                    </a:cubicBezTo>
                    <a:cubicBezTo>
                      <a:pt x="36" y="45"/>
                      <a:pt x="52" y="48"/>
                      <a:pt x="60" y="51"/>
                    </a:cubicBezTo>
                    <a:cubicBezTo>
                      <a:pt x="65" y="58"/>
                      <a:pt x="65" y="49"/>
                      <a:pt x="68" y="43"/>
                    </a:cubicBezTo>
                    <a:cubicBezTo>
                      <a:pt x="61" y="39"/>
                      <a:pt x="59" y="35"/>
                      <a:pt x="51" y="33"/>
                    </a:cubicBezTo>
                    <a:cubicBezTo>
                      <a:pt x="47" y="30"/>
                      <a:pt x="41" y="27"/>
                      <a:pt x="39" y="24"/>
                    </a:cubicBezTo>
                    <a:cubicBezTo>
                      <a:pt x="37" y="21"/>
                      <a:pt x="44" y="19"/>
                      <a:pt x="38" y="16"/>
                    </a:cubicBezTo>
                    <a:cubicBezTo>
                      <a:pt x="30" y="0"/>
                      <a:pt x="16" y="15"/>
                      <a:pt x="5" y="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9" name="Freeform 437">
                <a:extLst>
                  <a:ext uri="{FF2B5EF4-FFF2-40B4-BE49-F238E27FC236}">
                    <a16:creationId xmlns:a16="http://schemas.microsoft.com/office/drawing/2014/main" id="{E17ED245-BDC2-4C0F-9B7F-A276BC08CCDB}"/>
                  </a:ext>
                </a:extLst>
              </p:cNvPr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gray">
              <a:xfrm>
                <a:off x="2559051" y="3703638"/>
                <a:ext cx="60325" cy="68263"/>
              </a:xfrm>
              <a:custGeom>
                <a:avLst/>
                <a:gdLst>
                  <a:gd name="T0" fmla="*/ 15 w 69"/>
                  <a:gd name="T1" fmla="*/ 0 h 43"/>
                  <a:gd name="T2" fmla="*/ 22 w 69"/>
                  <a:gd name="T3" fmla="*/ 12 h 43"/>
                  <a:gd name="T4" fmla="*/ 16 w 69"/>
                  <a:gd name="T5" fmla="*/ 27 h 43"/>
                  <a:gd name="T6" fmla="*/ 0 w 69"/>
                  <a:gd name="T7" fmla="*/ 28 h 43"/>
                  <a:gd name="T8" fmla="*/ 7 w 69"/>
                  <a:gd name="T9" fmla="*/ 37 h 43"/>
                  <a:gd name="T10" fmla="*/ 31 w 69"/>
                  <a:gd name="T11" fmla="*/ 34 h 43"/>
                  <a:gd name="T12" fmla="*/ 46 w 69"/>
                  <a:gd name="T13" fmla="*/ 43 h 43"/>
                  <a:gd name="T14" fmla="*/ 69 w 69"/>
                  <a:gd name="T15" fmla="*/ 37 h 43"/>
                  <a:gd name="T16" fmla="*/ 54 w 69"/>
                  <a:gd name="T17" fmla="*/ 16 h 43"/>
                  <a:gd name="T18" fmla="*/ 60 w 69"/>
                  <a:gd name="T19" fmla="*/ 1 h 43"/>
                  <a:gd name="T20" fmla="*/ 40 w 69"/>
                  <a:gd name="T21" fmla="*/ 4 h 43"/>
                  <a:gd name="T22" fmla="*/ 25 w 69"/>
                  <a:gd name="T23" fmla="*/ 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" h="43">
                    <a:moveTo>
                      <a:pt x="15" y="0"/>
                    </a:moveTo>
                    <a:lnTo>
                      <a:pt x="22" y="12"/>
                    </a:lnTo>
                    <a:lnTo>
                      <a:pt x="16" y="27"/>
                    </a:lnTo>
                    <a:lnTo>
                      <a:pt x="0" y="28"/>
                    </a:lnTo>
                    <a:lnTo>
                      <a:pt x="7" y="37"/>
                    </a:lnTo>
                    <a:lnTo>
                      <a:pt x="31" y="34"/>
                    </a:lnTo>
                    <a:lnTo>
                      <a:pt x="46" y="43"/>
                    </a:lnTo>
                    <a:lnTo>
                      <a:pt x="69" y="37"/>
                    </a:lnTo>
                    <a:lnTo>
                      <a:pt x="54" y="16"/>
                    </a:lnTo>
                    <a:lnTo>
                      <a:pt x="60" y="1"/>
                    </a:lnTo>
                    <a:lnTo>
                      <a:pt x="40" y="4"/>
                    </a:lnTo>
                    <a:lnTo>
                      <a:pt x="25" y="4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0" name="Freeform 438">
                <a:extLst>
                  <a:ext uri="{FF2B5EF4-FFF2-40B4-BE49-F238E27FC236}">
                    <a16:creationId xmlns:a16="http://schemas.microsoft.com/office/drawing/2014/main" id="{7F8F85B8-57BB-4D80-9AB9-BF93C610B7DC}"/>
                  </a:ext>
                </a:extLst>
              </p:cNvPr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gray">
              <a:xfrm>
                <a:off x="2717801" y="3744913"/>
                <a:ext cx="73025" cy="22225"/>
              </a:xfrm>
              <a:custGeom>
                <a:avLst/>
                <a:gdLst>
                  <a:gd name="T0" fmla="*/ 0 w 45"/>
                  <a:gd name="T1" fmla="*/ 8 h 15"/>
                  <a:gd name="T2" fmla="*/ 24 w 45"/>
                  <a:gd name="T3" fmla="*/ 8 h 15"/>
                  <a:gd name="T4" fmla="*/ 43 w 45"/>
                  <a:gd name="T5" fmla="*/ 0 h 15"/>
                  <a:gd name="T6" fmla="*/ 45 w 45"/>
                  <a:gd name="T7" fmla="*/ 14 h 15"/>
                  <a:gd name="T8" fmla="*/ 21 w 45"/>
                  <a:gd name="T9" fmla="*/ 15 h 15"/>
                  <a:gd name="T10" fmla="*/ 0 w 45"/>
                  <a:gd name="T11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" h="15">
                    <a:moveTo>
                      <a:pt x="0" y="8"/>
                    </a:moveTo>
                    <a:lnTo>
                      <a:pt x="24" y="8"/>
                    </a:lnTo>
                    <a:lnTo>
                      <a:pt x="43" y="0"/>
                    </a:lnTo>
                    <a:lnTo>
                      <a:pt x="45" y="14"/>
                    </a:lnTo>
                    <a:lnTo>
                      <a:pt x="21" y="15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1" name="Freeform 490">
                <a:extLst>
                  <a:ext uri="{FF2B5EF4-FFF2-40B4-BE49-F238E27FC236}">
                    <a16:creationId xmlns:a16="http://schemas.microsoft.com/office/drawing/2014/main" id="{753F0AD6-6BAF-44F8-B702-3A97B0E5FBFF}"/>
                  </a:ext>
                </a:extLst>
              </p:cNvPr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gray">
              <a:xfrm>
                <a:off x="4649788" y="3636963"/>
                <a:ext cx="260350" cy="382588"/>
              </a:xfrm>
              <a:custGeom>
                <a:avLst/>
                <a:gdLst>
                  <a:gd name="T0" fmla="*/ 140 w 160"/>
                  <a:gd name="T1" fmla="*/ 182 h 236"/>
                  <a:gd name="T2" fmla="*/ 137 w 160"/>
                  <a:gd name="T3" fmla="*/ 164 h 236"/>
                  <a:gd name="T4" fmla="*/ 131 w 160"/>
                  <a:gd name="T5" fmla="*/ 154 h 236"/>
                  <a:gd name="T6" fmla="*/ 137 w 160"/>
                  <a:gd name="T7" fmla="*/ 136 h 236"/>
                  <a:gd name="T8" fmla="*/ 158 w 160"/>
                  <a:gd name="T9" fmla="*/ 106 h 236"/>
                  <a:gd name="T10" fmla="*/ 158 w 160"/>
                  <a:gd name="T11" fmla="*/ 63 h 236"/>
                  <a:gd name="T12" fmla="*/ 143 w 160"/>
                  <a:gd name="T13" fmla="*/ 49 h 236"/>
                  <a:gd name="T14" fmla="*/ 125 w 160"/>
                  <a:gd name="T15" fmla="*/ 39 h 236"/>
                  <a:gd name="T16" fmla="*/ 107 w 160"/>
                  <a:gd name="T17" fmla="*/ 30 h 236"/>
                  <a:gd name="T18" fmla="*/ 92 w 160"/>
                  <a:gd name="T19" fmla="*/ 26 h 236"/>
                  <a:gd name="T20" fmla="*/ 77 w 160"/>
                  <a:gd name="T21" fmla="*/ 8 h 236"/>
                  <a:gd name="T22" fmla="*/ 65 w 160"/>
                  <a:gd name="T23" fmla="*/ 7 h 236"/>
                  <a:gd name="T24" fmla="*/ 50 w 160"/>
                  <a:gd name="T25" fmla="*/ 4 h 236"/>
                  <a:gd name="T26" fmla="*/ 26 w 160"/>
                  <a:gd name="T27" fmla="*/ 2 h 236"/>
                  <a:gd name="T28" fmla="*/ 31 w 160"/>
                  <a:gd name="T29" fmla="*/ 17 h 236"/>
                  <a:gd name="T30" fmla="*/ 40 w 160"/>
                  <a:gd name="T31" fmla="*/ 51 h 236"/>
                  <a:gd name="T32" fmla="*/ 34 w 160"/>
                  <a:gd name="T33" fmla="*/ 93 h 236"/>
                  <a:gd name="T34" fmla="*/ 21 w 160"/>
                  <a:gd name="T35" fmla="*/ 116 h 236"/>
                  <a:gd name="T36" fmla="*/ 5 w 160"/>
                  <a:gd name="T37" fmla="*/ 131 h 236"/>
                  <a:gd name="T38" fmla="*/ 13 w 160"/>
                  <a:gd name="T39" fmla="*/ 158 h 236"/>
                  <a:gd name="T40" fmla="*/ 28 w 160"/>
                  <a:gd name="T41" fmla="*/ 188 h 236"/>
                  <a:gd name="T42" fmla="*/ 29 w 160"/>
                  <a:gd name="T43" fmla="*/ 197 h 236"/>
                  <a:gd name="T44" fmla="*/ 14 w 160"/>
                  <a:gd name="T45" fmla="*/ 205 h 236"/>
                  <a:gd name="T46" fmla="*/ 26 w 160"/>
                  <a:gd name="T47" fmla="*/ 217 h 236"/>
                  <a:gd name="T48" fmla="*/ 43 w 160"/>
                  <a:gd name="T49" fmla="*/ 232 h 236"/>
                  <a:gd name="T50" fmla="*/ 67 w 160"/>
                  <a:gd name="T51" fmla="*/ 235 h 236"/>
                  <a:gd name="T52" fmla="*/ 83 w 160"/>
                  <a:gd name="T53" fmla="*/ 228 h 236"/>
                  <a:gd name="T54" fmla="*/ 98 w 160"/>
                  <a:gd name="T55" fmla="*/ 214 h 236"/>
                  <a:gd name="T56" fmla="*/ 115 w 160"/>
                  <a:gd name="T57" fmla="*/ 205 h 236"/>
                  <a:gd name="T58" fmla="*/ 121 w 160"/>
                  <a:gd name="T59" fmla="*/ 197 h 236"/>
                  <a:gd name="T60" fmla="*/ 142 w 160"/>
                  <a:gd name="T61" fmla="*/ 185 h 236"/>
                  <a:gd name="T62" fmla="*/ 140 w 160"/>
                  <a:gd name="T63" fmla="*/ 182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36">
                    <a:moveTo>
                      <a:pt x="140" y="182"/>
                    </a:moveTo>
                    <a:cubicBezTo>
                      <a:pt x="140" y="178"/>
                      <a:pt x="138" y="169"/>
                      <a:pt x="137" y="164"/>
                    </a:cubicBezTo>
                    <a:cubicBezTo>
                      <a:pt x="136" y="159"/>
                      <a:pt x="131" y="159"/>
                      <a:pt x="131" y="154"/>
                    </a:cubicBezTo>
                    <a:cubicBezTo>
                      <a:pt x="133" y="149"/>
                      <a:pt x="137" y="136"/>
                      <a:pt x="137" y="136"/>
                    </a:cubicBezTo>
                    <a:cubicBezTo>
                      <a:pt x="145" y="123"/>
                      <a:pt x="140" y="110"/>
                      <a:pt x="158" y="106"/>
                    </a:cubicBezTo>
                    <a:cubicBezTo>
                      <a:pt x="160" y="93"/>
                      <a:pt x="160" y="72"/>
                      <a:pt x="158" y="63"/>
                    </a:cubicBezTo>
                    <a:cubicBezTo>
                      <a:pt x="156" y="54"/>
                      <a:pt x="148" y="53"/>
                      <a:pt x="143" y="49"/>
                    </a:cubicBezTo>
                    <a:cubicBezTo>
                      <a:pt x="138" y="42"/>
                      <a:pt x="133" y="40"/>
                      <a:pt x="125" y="39"/>
                    </a:cubicBezTo>
                    <a:cubicBezTo>
                      <a:pt x="118" y="36"/>
                      <a:pt x="114" y="31"/>
                      <a:pt x="107" y="30"/>
                    </a:cubicBezTo>
                    <a:cubicBezTo>
                      <a:pt x="103" y="28"/>
                      <a:pt x="99" y="30"/>
                      <a:pt x="92" y="26"/>
                    </a:cubicBezTo>
                    <a:cubicBezTo>
                      <a:pt x="87" y="22"/>
                      <a:pt x="81" y="11"/>
                      <a:pt x="77" y="8"/>
                    </a:cubicBezTo>
                    <a:cubicBezTo>
                      <a:pt x="73" y="5"/>
                      <a:pt x="69" y="8"/>
                      <a:pt x="65" y="7"/>
                    </a:cubicBezTo>
                    <a:cubicBezTo>
                      <a:pt x="60" y="5"/>
                      <a:pt x="54" y="7"/>
                      <a:pt x="50" y="4"/>
                    </a:cubicBezTo>
                    <a:cubicBezTo>
                      <a:pt x="41" y="4"/>
                      <a:pt x="34" y="0"/>
                      <a:pt x="26" y="2"/>
                    </a:cubicBezTo>
                    <a:cubicBezTo>
                      <a:pt x="22" y="3"/>
                      <a:pt x="25" y="16"/>
                      <a:pt x="31" y="17"/>
                    </a:cubicBezTo>
                    <a:cubicBezTo>
                      <a:pt x="37" y="27"/>
                      <a:pt x="36" y="40"/>
                      <a:pt x="40" y="51"/>
                    </a:cubicBezTo>
                    <a:cubicBezTo>
                      <a:pt x="43" y="69"/>
                      <a:pt x="45" y="79"/>
                      <a:pt x="34" y="93"/>
                    </a:cubicBezTo>
                    <a:cubicBezTo>
                      <a:pt x="31" y="104"/>
                      <a:pt x="26" y="110"/>
                      <a:pt x="21" y="116"/>
                    </a:cubicBezTo>
                    <a:cubicBezTo>
                      <a:pt x="16" y="122"/>
                      <a:pt x="6" y="124"/>
                      <a:pt x="5" y="131"/>
                    </a:cubicBezTo>
                    <a:cubicBezTo>
                      <a:pt x="3" y="142"/>
                      <a:pt x="0" y="156"/>
                      <a:pt x="13" y="158"/>
                    </a:cubicBezTo>
                    <a:cubicBezTo>
                      <a:pt x="14" y="170"/>
                      <a:pt x="21" y="179"/>
                      <a:pt x="28" y="188"/>
                    </a:cubicBezTo>
                    <a:cubicBezTo>
                      <a:pt x="29" y="195"/>
                      <a:pt x="38" y="195"/>
                      <a:pt x="29" y="197"/>
                    </a:cubicBezTo>
                    <a:cubicBezTo>
                      <a:pt x="23" y="200"/>
                      <a:pt x="18" y="199"/>
                      <a:pt x="14" y="205"/>
                    </a:cubicBezTo>
                    <a:cubicBezTo>
                      <a:pt x="16" y="210"/>
                      <a:pt x="21" y="213"/>
                      <a:pt x="26" y="217"/>
                    </a:cubicBezTo>
                    <a:cubicBezTo>
                      <a:pt x="32" y="226"/>
                      <a:pt x="32" y="231"/>
                      <a:pt x="43" y="232"/>
                    </a:cubicBezTo>
                    <a:cubicBezTo>
                      <a:pt x="50" y="235"/>
                      <a:pt x="60" y="236"/>
                      <a:pt x="67" y="235"/>
                    </a:cubicBezTo>
                    <a:cubicBezTo>
                      <a:pt x="74" y="234"/>
                      <a:pt x="78" y="232"/>
                      <a:pt x="83" y="228"/>
                    </a:cubicBezTo>
                    <a:cubicBezTo>
                      <a:pt x="86" y="219"/>
                      <a:pt x="91" y="219"/>
                      <a:pt x="98" y="214"/>
                    </a:cubicBezTo>
                    <a:cubicBezTo>
                      <a:pt x="102" y="207"/>
                      <a:pt x="107" y="206"/>
                      <a:pt x="115" y="205"/>
                    </a:cubicBezTo>
                    <a:cubicBezTo>
                      <a:pt x="125" y="197"/>
                      <a:pt x="113" y="207"/>
                      <a:pt x="121" y="197"/>
                    </a:cubicBezTo>
                    <a:cubicBezTo>
                      <a:pt x="125" y="192"/>
                      <a:pt x="138" y="187"/>
                      <a:pt x="142" y="185"/>
                    </a:cubicBezTo>
                    <a:cubicBezTo>
                      <a:pt x="143" y="184"/>
                      <a:pt x="141" y="183"/>
                      <a:pt x="140" y="18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2" name="Freeform 491">
                <a:extLst>
                  <a:ext uri="{FF2B5EF4-FFF2-40B4-BE49-F238E27FC236}">
                    <a16:creationId xmlns:a16="http://schemas.microsoft.com/office/drawing/2014/main" id="{6062B995-BF28-4D53-865A-AC57EFCD8C77}"/>
                  </a:ext>
                </a:extLst>
              </p:cNvPr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gray">
              <a:xfrm>
                <a:off x="5129213" y="3846513"/>
                <a:ext cx="350838" cy="265113"/>
              </a:xfrm>
              <a:custGeom>
                <a:avLst/>
                <a:gdLst>
                  <a:gd name="T0" fmla="*/ 46 w 216"/>
                  <a:gd name="T1" fmla="*/ 5 h 164"/>
                  <a:gd name="T2" fmla="*/ 68 w 216"/>
                  <a:gd name="T3" fmla="*/ 6 h 164"/>
                  <a:gd name="T4" fmla="*/ 87 w 216"/>
                  <a:gd name="T5" fmla="*/ 6 h 164"/>
                  <a:gd name="T6" fmla="*/ 113 w 216"/>
                  <a:gd name="T7" fmla="*/ 6 h 164"/>
                  <a:gd name="T8" fmla="*/ 124 w 216"/>
                  <a:gd name="T9" fmla="*/ 9 h 164"/>
                  <a:gd name="T10" fmla="*/ 129 w 216"/>
                  <a:gd name="T11" fmla="*/ 24 h 164"/>
                  <a:gd name="T12" fmla="*/ 122 w 216"/>
                  <a:gd name="T13" fmla="*/ 27 h 164"/>
                  <a:gd name="T14" fmla="*/ 124 w 216"/>
                  <a:gd name="T15" fmla="*/ 39 h 164"/>
                  <a:gd name="T16" fmla="*/ 153 w 216"/>
                  <a:gd name="T17" fmla="*/ 64 h 164"/>
                  <a:gd name="T18" fmla="*/ 170 w 216"/>
                  <a:gd name="T19" fmla="*/ 82 h 164"/>
                  <a:gd name="T20" fmla="*/ 182 w 216"/>
                  <a:gd name="T21" fmla="*/ 85 h 164"/>
                  <a:gd name="T22" fmla="*/ 200 w 216"/>
                  <a:gd name="T23" fmla="*/ 94 h 164"/>
                  <a:gd name="T24" fmla="*/ 215 w 216"/>
                  <a:gd name="T25" fmla="*/ 103 h 164"/>
                  <a:gd name="T26" fmla="*/ 198 w 216"/>
                  <a:gd name="T27" fmla="*/ 120 h 164"/>
                  <a:gd name="T28" fmla="*/ 186 w 216"/>
                  <a:gd name="T29" fmla="*/ 133 h 164"/>
                  <a:gd name="T30" fmla="*/ 168 w 216"/>
                  <a:gd name="T31" fmla="*/ 143 h 164"/>
                  <a:gd name="T32" fmla="*/ 132 w 216"/>
                  <a:gd name="T33" fmla="*/ 146 h 164"/>
                  <a:gd name="T34" fmla="*/ 107 w 216"/>
                  <a:gd name="T35" fmla="*/ 161 h 164"/>
                  <a:gd name="T36" fmla="*/ 87 w 216"/>
                  <a:gd name="T37" fmla="*/ 162 h 164"/>
                  <a:gd name="T38" fmla="*/ 65 w 216"/>
                  <a:gd name="T39" fmla="*/ 162 h 164"/>
                  <a:gd name="T40" fmla="*/ 48 w 216"/>
                  <a:gd name="T41" fmla="*/ 148 h 164"/>
                  <a:gd name="T42" fmla="*/ 42 w 216"/>
                  <a:gd name="T43" fmla="*/ 144 h 164"/>
                  <a:gd name="T44" fmla="*/ 24 w 216"/>
                  <a:gd name="T45" fmla="*/ 127 h 164"/>
                  <a:gd name="T46" fmla="*/ 18 w 216"/>
                  <a:gd name="T47" fmla="*/ 113 h 164"/>
                  <a:gd name="T48" fmla="*/ 2 w 216"/>
                  <a:gd name="T49" fmla="*/ 99 h 164"/>
                  <a:gd name="T50" fmla="*/ 4 w 216"/>
                  <a:gd name="T51" fmla="*/ 92 h 164"/>
                  <a:gd name="T52" fmla="*/ 14 w 216"/>
                  <a:gd name="T53" fmla="*/ 83 h 164"/>
                  <a:gd name="T54" fmla="*/ 16 w 216"/>
                  <a:gd name="T55" fmla="*/ 60 h 164"/>
                  <a:gd name="T56" fmla="*/ 28 w 216"/>
                  <a:gd name="T57" fmla="*/ 42 h 164"/>
                  <a:gd name="T58" fmla="*/ 41 w 216"/>
                  <a:gd name="T59" fmla="*/ 31 h 164"/>
                  <a:gd name="T60" fmla="*/ 46 w 216"/>
                  <a:gd name="T61" fmla="*/ 5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16" h="164">
                    <a:moveTo>
                      <a:pt x="46" y="5"/>
                    </a:moveTo>
                    <a:cubicBezTo>
                      <a:pt x="50" y="0"/>
                      <a:pt x="61" y="6"/>
                      <a:pt x="68" y="6"/>
                    </a:cubicBezTo>
                    <a:cubicBezTo>
                      <a:pt x="75" y="6"/>
                      <a:pt x="80" y="6"/>
                      <a:pt x="87" y="6"/>
                    </a:cubicBezTo>
                    <a:cubicBezTo>
                      <a:pt x="94" y="6"/>
                      <a:pt x="107" y="6"/>
                      <a:pt x="113" y="6"/>
                    </a:cubicBezTo>
                    <a:cubicBezTo>
                      <a:pt x="117" y="8"/>
                      <a:pt x="121" y="5"/>
                      <a:pt x="124" y="9"/>
                    </a:cubicBezTo>
                    <a:cubicBezTo>
                      <a:pt x="126" y="11"/>
                      <a:pt x="130" y="21"/>
                      <a:pt x="129" y="24"/>
                    </a:cubicBezTo>
                    <a:cubicBezTo>
                      <a:pt x="129" y="27"/>
                      <a:pt x="123" y="25"/>
                      <a:pt x="122" y="27"/>
                    </a:cubicBezTo>
                    <a:cubicBezTo>
                      <a:pt x="121" y="28"/>
                      <a:pt x="119" y="33"/>
                      <a:pt x="124" y="39"/>
                    </a:cubicBezTo>
                    <a:cubicBezTo>
                      <a:pt x="129" y="45"/>
                      <a:pt x="145" y="57"/>
                      <a:pt x="153" y="64"/>
                    </a:cubicBezTo>
                    <a:cubicBezTo>
                      <a:pt x="156" y="69"/>
                      <a:pt x="164" y="78"/>
                      <a:pt x="170" y="82"/>
                    </a:cubicBezTo>
                    <a:cubicBezTo>
                      <a:pt x="174" y="83"/>
                      <a:pt x="182" y="85"/>
                      <a:pt x="182" y="85"/>
                    </a:cubicBezTo>
                    <a:cubicBezTo>
                      <a:pt x="186" y="88"/>
                      <a:pt x="196" y="91"/>
                      <a:pt x="200" y="94"/>
                    </a:cubicBezTo>
                    <a:cubicBezTo>
                      <a:pt x="205" y="97"/>
                      <a:pt x="215" y="99"/>
                      <a:pt x="215" y="103"/>
                    </a:cubicBezTo>
                    <a:cubicBezTo>
                      <a:pt x="216" y="108"/>
                      <a:pt x="203" y="115"/>
                      <a:pt x="198" y="120"/>
                    </a:cubicBezTo>
                    <a:cubicBezTo>
                      <a:pt x="193" y="125"/>
                      <a:pt x="191" y="129"/>
                      <a:pt x="186" y="133"/>
                    </a:cubicBezTo>
                    <a:cubicBezTo>
                      <a:pt x="178" y="138"/>
                      <a:pt x="177" y="141"/>
                      <a:pt x="168" y="143"/>
                    </a:cubicBezTo>
                    <a:cubicBezTo>
                      <a:pt x="159" y="145"/>
                      <a:pt x="142" y="143"/>
                      <a:pt x="132" y="146"/>
                    </a:cubicBezTo>
                    <a:cubicBezTo>
                      <a:pt x="122" y="156"/>
                      <a:pt x="123" y="159"/>
                      <a:pt x="107" y="161"/>
                    </a:cubicBezTo>
                    <a:cubicBezTo>
                      <a:pt x="100" y="164"/>
                      <a:pt x="94" y="162"/>
                      <a:pt x="87" y="162"/>
                    </a:cubicBezTo>
                    <a:cubicBezTo>
                      <a:pt x="80" y="162"/>
                      <a:pt x="71" y="164"/>
                      <a:pt x="65" y="162"/>
                    </a:cubicBezTo>
                    <a:cubicBezTo>
                      <a:pt x="54" y="158"/>
                      <a:pt x="62" y="157"/>
                      <a:pt x="48" y="148"/>
                    </a:cubicBezTo>
                    <a:cubicBezTo>
                      <a:pt x="46" y="147"/>
                      <a:pt x="42" y="144"/>
                      <a:pt x="42" y="144"/>
                    </a:cubicBezTo>
                    <a:cubicBezTo>
                      <a:pt x="38" y="141"/>
                      <a:pt x="29" y="133"/>
                      <a:pt x="24" y="127"/>
                    </a:cubicBezTo>
                    <a:cubicBezTo>
                      <a:pt x="20" y="122"/>
                      <a:pt x="22" y="118"/>
                      <a:pt x="18" y="113"/>
                    </a:cubicBezTo>
                    <a:cubicBezTo>
                      <a:pt x="15" y="109"/>
                      <a:pt x="2" y="99"/>
                      <a:pt x="2" y="99"/>
                    </a:cubicBezTo>
                    <a:cubicBezTo>
                      <a:pt x="0" y="95"/>
                      <a:pt x="2" y="95"/>
                      <a:pt x="4" y="92"/>
                    </a:cubicBezTo>
                    <a:cubicBezTo>
                      <a:pt x="6" y="89"/>
                      <a:pt x="12" y="88"/>
                      <a:pt x="14" y="83"/>
                    </a:cubicBezTo>
                    <a:cubicBezTo>
                      <a:pt x="17" y="76"/>
                      <a:pt x="11" y="67"/>
                      <a:pt x="16" y="60"/>
                    </a:cubicBezTo>
                    <a:cubicBezTo>
                      <a:pt x="18" y="56"/>
                      <a:pt x="25" y="45"/>
                      <a:pt x="28" y="42"/>
                    </a:cubicBezTo>
                    <a:cubicBezTo>
                      <a:pt x="31" y="39"/>
                      <a:pt x="41" y="31"/>
                      <a:pt x="41" y="31"/>
                    </a:cubicBezTo>
                    <a:cubicBezTo>
                      <a:pt x="44" y="24"/>
                      <a:pt x="50" y="13"/>
                      <a:pt x="46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3" name="Freeform 492">
                <a:extLst>
                  <a:ext uri="{FF2B5EF4-FFF2-40B4-BE49-F238E27FC236}">
                    <a16:creationId xmlns:a16="http://schemas.microsoft.com/office/drawing/2014/main" id="{B5A54F6E-039D-4683-A0EB-05316068E539}"/>
                  </a:ext>
                </a:extLst>
              </p:cNvPr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gray">
              <a:xfrm>
                <a:off x="4683126" y="3930650"/>
                <a:ext cx="306388" cy="193675"/>
              </a:xfrm>
              <a:custGeom>
                <a:avLst/>
                <a:gdLst>
                  <a:gd name="T0" fmla="*/ 11 w 188"/>
                  <a:gd name="T1" fmla="*/ 49 h 119"/>
                  <a:gd name="T2" fmla="*/ 47 w 188"/>
                  <a:gd name="T3" fmla="*/ 52 h 119"/>
                  <a:gd name="T4" fmla="*/ 65 w 188"/>
                  <a:gd name="T5" fmla="*/ 40 h 119"/>
                  <a:gd name="T6" fmla="*/ 97 w 188"/>
                  <a:gd name="T7" fmla="*/ 17 h 119"/>
                  <a:gd name="T8" fmla="*/ 121 w 188"/>
                  <a:gd name="T9" fmla="*/ 0 h 119"/>
                  <a:gd name="T10" fmla="*/ 130 w 188"/>
                  <a:gd name="T11" fmla="*/ 14 h 119"/>
                  <a:gd name="T12" fmla="*/ 136 w 188"/>
                  <a:gd name="T13" fmla="*/ 29 h 119"/>
                  <a:gd name="T14" fmla="*/ 144 w 188"/>
                  <a:gd name="T15" fmla="*/ 41 h 119"/>
                  <a:gd name="T16" fmla="*/ 156 w 188"/>
                  <a:gd name="T17" fmla="*/ 48 h 119"/>
                  <a:gd name="T18" fmla="*/ 164 w 188"/>
                  <a:gd name="T19" fmla="*/ 59 h 119"/>
                  <a:gd name="T20" fmla="*/ 180 w 188"/>
                  <a:gd name="T21" fmla="*/ 77 h 119"/>
                  <a:gd name="T22" fmla="*/ 188 w 188"/>
                  <a:gd name="T23" fmla="*/ 87 h 119"/>
                  <a:gd name="T24" fmla="*/ 169 w 188"/>
                  <a:gd name="T25" fmla="*/ 88 h 119"/>
                  <a:gd name="T26" fmla="*/ 152 w 188"/>
                  <a:gd name="T27" fmla="*/ 93 h 119"/>
                  <a:gd name="T28" fmla="*/ 136 w 188"/>
                  <a:gd name="T29" fmla="*/ 91 h 119"/>
                  <a:gd name="T30" fmla="*/ 106 w 188"/>
                  <a:gd name="T31" fmla="*/ 102 h 119"/>
                  <a:gd name="T32" fmla="*/ 86 w 188"/>
                  <a:gd name="T33" fmla="*/ 96 h 119"/>
                  <a:gd name="T34" fmla="*/ 68 w 188"/>
                  <a:gd name="T35" fmla="*/ 91 h 119"/>
                  <a:gd name="T36" fmla="*/ 55 w 188"/>
                  <a:gd name="T37" fmla="*/ 110 h 119"/>
                  <a:gd name="T38" fmla="*/ 34 w 188"/>
                  <a:gd name="T39" fmla="*/ 110 h 119"/>
                  <a:gd name="T40" fmla="*/ 19 w 188"/>
                  <a:gd name="T41" fmla="*/ 116 h 119"/>
                  <a:gd name="T42" fmla="*/ 7 w 188"/>
                  <a:gd name="T43" fmla="*/ 91 h 119"/>
                  <a:gd name="T44" fmla="*/ 10 w 188"/>
                  <a:gd name="T45" fmla="*/ 58 h 119"/>
                  <a:gd name="T46" fmla="*/ 11 w 188"/>
                  <a:gd name="T47" fmla="*/ 4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8" h="119">
                    <a:moveTo>
                      <a:pt x="11" y="49"/>
                    </a:moveTo>
                    <a:cubicBezTo>
                      <a:pt x="16" y="48"/>
                      <a:pt x="38" y="53"/>
                      <a:pt x="47" y="52"/>
                    </a:cubicBezTo>
                    <a:cubicBezTo>
                      <a:pt x="56" y="51"/>
                      <a:pt x="62" y="43"/>
                      <a:pt x="65" y="40"/>
                    </a:cubicBezTo>
                    <a:cubicBezTo>
                      <a:pt x="73" y="34"/>
                      <a:pt x="88" y="23"/>
                      <a:pt x="97" y="17"/>
                    </a:cubicBezTo>
                    <a:cubicBezTo>
                      <a:pt x="98" y="10"/>
                      <a:pt x="114" y="3"/>
                      <a:pt x="121" y="0"/>
                    </a:cubicBezTo>
                    <a:cubicBezTo>
                      <a:pt x="124" y="5"/>
                      <a:pt x="127" y="9"/>
                      <a:pt x="130" y="14"/>
                    </a:cubicBezTo>
                    <a:cubicBezTo>
                      <a:pt x="133" y="19"/>
                      <a:pt x="132" y="24"/>
                      <a:pt x="136" y="29"/>
                    </a:cubicBezTo>
                    <a:cubicBezTo>
                      <a:pt x="138" y="33"/>
                      <a:pt x="141" y="38"/>
                      <a:pt x="144" y="41"/>
                    </a:cubicBezTo>
                    <a:cubicBezTo>
                      <a:pt x="147" y="45"/>
                      <a:pt x="153" y="45"/>
                      <a:pt x="156" y="48"/>
                    </a:cubicBezTo>
                    <a:cubicBezTo>
                      <a:pt x="159" y="51"/>
                      <a:pt x="160" y="54"/>
                      <a:pt x="164" y="59"/>
                    </a:cubicBezTo>
                    <a:cubicBezTo>
                      <a:pt x="170" y="65"/>
                      <a:pt x="171" y="75"/>
                      <a:pt x="180" y="77"/>
                    </a:cubicBezTo>
                    <a:cubicBezTo>
                      <a:pt x="181" y="83"/>
                      <a:pt x="187" y="81"/>
                      <a:pt x="188" y="87"/>
                    </a:cubicBezTo>
                    <a:cubicBezTo>
                      <a:pt x="187" y="90"/>
                      <a:pt x="175" y="87"/>
                      <a:pt x="169" y="88"/>
                    </a:cubicBezTo>
                    <a:cubicBezTo>
                      <a:pt x="163" y="89"/>
                      <a:pt x="157" y="93"/>
                      <a:pt x="152" y="93"/>
                    </a:cubicBezTo>
                    <a:cubicBezTo>
                      <a:pt x="143" y="95"/>
                      <a:pt x="143" y="89"/>
                      <a:pt x="136" y="91"/>
                    </a:cubicBezTo>
                    <a:cubicBezTo>
                      <a:pt x="128" y="93"/>
                      <a:pt x="114" y="101"/>
                      <a:pt x="106" y="102"/>
                    </a:cubicBezTo>
                    <a:cubicBezTo>
                      <a:pt x="96" y="109"/>
                      <a:pt x="96" y="98"/>
                      <a:pt x="86" y="96"/>
                    </a:cubicBezTo>
                    <a:cubicBezTo>
                      <a:pt x="79" y="91"/>
                      <a:pt x="78" y="90"/>
                      <a:pt x="68" y="91"/>
                    </a:cubicBezTo>
                    <a:cubicBezTo>
                      <a:pt x="63" y="92"/>
                      <a:pt x="63" y="106"/>
                      <a:pt x="55" y="110"/>
                    </a:cubicBezTo>
                    <a:cubicBezTo>
                      <a:pt x="49" y="113"/>
                      <a:pt x="40" y="109"/>
                      <a:pt x="34" y="110"/>
                    </a:cubicBezTo>
                    <a:cubicBezTo>
                      <a:pt x="28" y="111"/>
                      <a:pt x="23" y="119"/>
                      <a:pt x="19" y="116"/>
                    </a:cubicBezTo>
                    <a:cubicBezTo>
                      <a:pt x="0" y="113"/>
                      <a:pt x="16" y="103"/>
                      <a:pt x="7" y="91"/>
                    </a:cubicBezTo>
                    <a:cubicBezTo>
                      <a:pt x="4" y="76"/>
                      <a:pt x="1" y="69"/>
                      <a:pt x="10" y="58"/>
                    </a:cubicBezTo>
                    <a:cubicBezTo>
                      <a:pt x="11" y="50"/>
                      <a:pt x="11" y="53"/>
                      <a:pt x="11" y="4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4" name="Freeform 494">
                <a:extLst>
                  <a:ext uri="{FF2B5EF4-FFF2-40B4-BE49-F238E27FC236}">
                    <a16:creationId xmlns:a16="http://schemas.microsoft.com/office/drawing/2014/main" id="{C6B82B18-B9EC-4CC7-8637-DDE631D325C9}"/>
                  </a:ext>
                </a:extLst>
              </p:cNvPr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gray">
              <a:xfrm>
                <a:off x="4867276" y="3659188"/>
                <a:ext cx="379413" cy="328613"/>
              </a:xfrm>
              <a:custGeom>
                <a:avLst/>
                <a:gdLst>
                  <a:gd name="T0" fmla="*/ 12 w 234"/>
                  <a:gd name="T1" fmla="*/ 101 h 203"/>
                  <a:gd name="T2" fmla="*/ 24 w 234"/>
                  <a:gd name="T3" fmla="*/ 87 h 203"/>
                  <a:gd name="T4" fmla="*/ 26 w 234"/>
                  <a:gd name="T5" fmla="*/ 36 h 203"/>
                  <a:gd name="T6" fmla="*/ 41 w 234"/>
                  <a:gd name="T7" fmla="*/ 37 h 203"/>
                  <a:gd name="T8" fmla="*/ 40 w 234"/>
                  <a:gd name="T9" fmla="*/ 7 h 203"/>
                  <a:gd name="T10" fmla="*/ 152 w 234"/>
                  <a:gd name="T11" fmla="*/ 7 h 203"/>
                  <a:gd name="T12" fmla="*/ 181 w 234"/>
                  <a:gd name="T13" fmla="*/ 8 h 203"/>
                  <a:gd name="T14" fmla="*/ 209 w 234"/>
                  <a:gd name="T15" fmla="*/ 0 h 203"/>
                  <a:gd name="T16" fmla="*/ 216 w 234"/>
                  <a:gd name="T17" fmla="*/ 8 h 203"/>
                  <a:gd name="T18" fmla="*/ 218 w 234"/>
                  <a:gd name="T19" fmla="*/ 13 h 203"/>
                  <a:gd name="T20" fmla="*/ 220 w 234"/>
                  <a:gd name="T21" fmla="*/ 22 h 203"/>
                  <a:gd name="T22" fmla="*/ 221 w 234"/>
                  <a:gd name="T23" fmla="*/ 36 h 203"/>
                  <a:gd name="T24" fmla="*/ 234 w 234"/>
                  <a:gd name="T25" fmla="*/ 60 h 203"/>
                  <a:gd name="T26" fmla="*/ 224 w 234"/>
                  <a:gd name="T27" fmla="*/ 78 h 203"/>
                  <a:gd name="T28" fmla="*/ 213 w 234"/>
                  <a:gd name="T29" fmla="*/ 93 h 203"/>
                  <a:gd name="T30" fmla="*/ 211 w 234"/>
                  <a:gd name="T31" fmla="*/ 106 h 203"/>
                  <a:gd name="T32" fmla="*/ 209 w 234"/>
                  <a:gd name="T33" fmla="*/ 112 h 203"/>
                  <a:gd name="T34" fmla="*/ 207 w 234"/>
                  <a:gd name="T35" fmla="*/ 136 h 203"/>
                  <a:gd name="T36" fmla="*/ 199 w 234"/>
                  <a:gd name="T37" fmla="*/ 146 h 203"/>
                  <a:gd name="T38" fmla="*/ 192 w 234"/>
                  <a:gd name="T39" fmla="*/ 157 h 203"/>
                  <a:gd name="T40" fmla="*/ 189 w 234"/>
                  <a:gd name="T41" fmla="*/ 160 h 203"/>
                  <a:gd name="T42" fmla="*/ 181 w 234"/>
                  <a:gd name="T43" fmla="*/ 174 h 203"/>
                  <a:gd name="T44" fmla="*/ 176 w 234"/>
                  <a:gd name="T45" fmla="*/ 190 h 203"/>
                  <a:gd name="T46" fmla="*/ 173 w 234"/>
                  <a:gd name="T47" fmla="*/ 187 h 203"/>
                  <a:gd name="T48" fmla="*/ 162 w 234"/>
                  <a:gd name="T49" fmla="*/ 163 h 203"/>
                  <a:gd name="T50" fmla="*/ 156 w 234"/>
                  <a:gd name="T51" fmla="*/ 156 h 203"/>
                  <a:gd name="T52" fmla="*/ 152 w 234"/>
                  <a:gd name="T53" fmla="*/ 160 h 203"/>
                  <a:gd name="T54" fmla="*/ 145 w 234"/>
                  <a:gd name="T55" fmla="*/ 177 h 203"/>
                  <a:gd name="T56" fmla="*/ 129 w 234"/>
                  <a:gd name="T57" fmla="*/ 189 h 203"/>
                  <a:gd name="T58" fmla="*/ 116 w 234"/>
                  <a:gd name="T59" fmla="*/ 179 h 203"/>
                  <a:gd name="T60" fmla="*/ 106 w 234"/>
                  <a:gd name="T61" fmla="*/ 187 h 203"/>
                  <a:gd name="T62" fmla="*/ 93 w 234"/>
                  <a:gd name="T63" fmla="*/ 193 h 203"/>
                  <a:gd name="T64" fmla="*/ 86 w 234"/>
                  <a:gd name="T65" fmla="*/ 194 h 203"/>
                  <a:gd name="T66" fmla="*/ 63 w 234"/>
                  <a:gd name="T67" fmla="*/ 191 h 203"/>
                  <a:gd name="T68" fmla="*/ 53 w 234"/>
                  <a:gd name="T69" fmla="*/ 179 h 203"/>
                  <a:gd name="T70" fmla="*/ 39 w 234"/>
                  <a:gd name="T71" fmla="*/ 183 h 203"/>
                  <a:gd name="T72" fmla="*/ 36 w 234"/>
                  <a:gd name="T73" fmla="*/ 194 h 203"/>
                  <a:gd name="T74" fmla="*/ 29 w 234"/>
                  <a:gd name="T75" fmla="*/ 203 h 203"/>
                  <a:gd name="T76" fmla="*/ 21 w 234"/>
                  <a:gd name="T77" fmla="*/ 193 h 203"/>
                  <a:gd name="T78" fmla="*/ 13 w 234"/>
                  <a:gd name="T79" fmla="*/ 177 h 203"/>
                  <a:gd name="T80" fmla="*/ 4 w 234"/>
                  <a:gd name="T81" fmla="*/ 159 h 203"/>
                  <a:gd name="T82" fmla="*/ 0 w 234"/>
                  <a:gd name="T83" fmla="*/ 140 h 203"/>
                  <a:gd name="T84" fmla="*/ 4 w 234"/>
                  <a:gd name="T85" fmla="*/ 125 h 203"/>
                  <a:gd name="T86" fmla="*/ 10 w 234"/>
                  <a:gd name="T87" fmla="*/ 115 h 203"/>
                  <a:gd name="T88" fmla="*/ 9 w 234"/>
                  <a:gd name="T89" fmla="*/ 111 h 203"/>
                  <a:gd name="T90" fmla="*/ 12 w 234"/>
                  <a:gd name="T91" fmla="*/ 10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4" h="203">
                    <a:moveTo>
                      <a:pt x="12" y="101"/>
                    </a:moveTo>
                    <a:lnTo>
                      <a:pt x="24" y="87"/>
                    </a:lnTo>
                    <a:lnTo>
                      <a:pt x="26" y="36"/>
                    </a:lnTo>
                    <a:lnTo>
                      <a:pt x="41" y="37"/>
                    </a:lnTo>
                    <a:lnTo>
                      <a:pt x="40" y="7"/>
                    </a:lnTo>
                    <a:lnTo>
                      <a:pt x="152" y="7"/>
                    </a:lnTo>
                    <a:lnTo>
                      <a:pt x="181" y="8"/>
                    </a:lnTo>
                    <a:lnTo>
                      <a:pt x="209" y="0"/>
                    </a:lnTo>
                    <a:cubicBezTo>
                      <a:pt x="213" y="2"/>
                      <a:pt x="214" y="6"/>
                      <a:pt x="216" y="8"/>
                    </a:cubicBezTo>
                    <a:cubicBezTo>
                      <a:pt x="217" y="10"/>
                      <a:pt x="217" y="12"/>
                      <a:pt x="218" y="13"/>
                    </a:cubicBezTo>
                    <a:cubicBezTo>
                      <a:pt x="218" y="16"/>
                      <a:pt x="219" y="19"/>
                      <a:pt x="220" y="22"/>
                    </a:cubicBezTo>
                    <a:cubicBezTo>
                      <a:pt x="221" y="26"/>
                      <a:pt x="219" y="30"/>
                      <a:pt x="221" y="36"/>
                    </a:cubicBezTo>
                    <a:cubicBezTo>
                      <a:pt x="224" y="43"/>
                      <a:pt x="233" y="53"/>
                      <a:pt x="234" y="60"/>
                    </a:cubicBezTo>
                    <a:cubicBezTo>
                      <a:pt x="234" y="67"/>
                      <a:pt x="227" y="74"/>
                      <a:pt x="224" y="78"/>
                    </a:cubicBezTo>
                    <a:cubicBezTo>
                      <a:pt x="221" y="83"/>
                      <a:pt x="215" y="89"/>
                      <a:pt x="213" y="93"/>
                    </a:cubicBezTo>
                    <a:cubicBezTo>
                      <a:pt x="211" y="97"/>
                      <a:pt x="214" y="101"/>
                      <a:pt x="211" y="106"/>
                    </a:cubicBezTo>
                    <a:cubicBezTo>
                      <a:pt x="210" y="108"/>
                      <a:pt x="210" y="110"/>
                      <a:pt x="209" y="112"/>
                    </a:cubicBezTo>
                    <a:cubicBezTo>
                      <a:pt x="211" y="117"/>
                      <a:pt x="213" y="132"/>
                      <a:pt x="207" y="136"/>
                    </a:cubicBezTo>
                    <a:cubicBezTo>
                      <a:pt x="204" y="143"/>
                      <a:pt x="209" y="145"/>
                      <a:pt x="199" y="146"/>
                    </a:cubicBezTo>
                    <a:cubicBezTo>
                      <a:pt x="197" y="149"/>
                      <a:pt x="194" y="155"/>
                      <a:pt x="192" y="157"/>
                    </a:cubicBezTo>
                    <a:cubicBezTo>
                      <a:pt x="191" y="158"/>
                      <a:pt x="189" y="160"/>
                      <a:pt x="189" y="160"/>
                    </a:cubicBezTo>
                    <a:cubicBezTo>
                      <a:pt x="187" y="163"/>
                      <a:pt x="183" y="171"/>
                      <a:pt x="181" y="174"/>
                    </a:cubicBezTo>
                    <a:cubicBezTo>
                      <a:pt x="179" y="179"/>
                      <a:pt x="177" y="188"/>
                      <a:pt x="176" y="190"/>
                    </a:cubicBezTo>
                    <a:cubicBezTo>
                      <a:pt x="175" y="191"/>
                      <a:pt x="174" y="189"/>
                      <a:pt x="173" y="187"/>
                    </a:cubicBezTo>
                    <a:cubicBezTo>
                      <a:pt x="171" y="183"/>
                      <a:pt x="165" y="168"/>
                      <a:pt x="162" y="163"/>
                    </a:cubicBezTo>
                    <a:cubicBezTo>
                      <a:pt x="160" y="160"/>
                      <a:pt x="158" y="157"/>
                      <a:pt x="156" y="156"/>
                    </a:cubicBezTo>
                    <a:cubicBezTo>
                      <a:pt x="155" y="157"/>
                      <a:pt x="154" y="157"/>
                      <a:pt x="152" y="160"/>
                    </a:cubicBezTo>
                    <a:lnTo>
                      <a:pt x="145" y="177"/>
                    </a:lnTo>
                    <a:lnTo>
                      <a:pt x="129" y="189"/>
                    </a:lnTo>
                    <a:lnTo>
                      <a:pt x="116" y="179"/>
                    </a:lnTo>
                    <a:cubicBezTo>
                      <a:pt x="112" y="179"/>
                      <a:pt x="109" y="185"/>
                      <a:pt x="106" y="187"/>
                    </a:cubicBezTo>
                    <a:cubicBezTo>
                      <a:pt x="102" y="189"/>
                      <a:pt x="96" y="192"/>
                      <a:pt x="93" y="193"/>
                    </a:cubicBezTo>
                    <a:cubicBezTo>
                      <a:pt x="91" y="194"/>
                      <a:pt x="89" y="194"/>
                      <a:pt x="86" y="194"/>
                    </a:cubicBezTo>
                    <a:cubicBezTo>
                      <a:pt x="83" y="186"/>
                      <a:pt x="69" y="191"/>
                      <a:pt x="63" y="191"/>
                    </a:cubicBezTo>
                    <a:cubicBezTo>
                      <a:pt x="61" y="187"/>
                      <a:pt x="57" y="181"/>
                      <a:pt x="53" y="179"/>
                    </a:cubicBezTo>
                    <a:cubicBezTo>
                      <a:pt x="36" y="179"/>
                      <a:pt x="46" y="178"/>
                      <a:pt x="39" y="183"/>
                    </a:cubicBezTo>
                    <a:cubicBezTo>
                      <a:pt x="37" y="187"/>
                      <a:pt x="37" y="190"/>
                      <a:pt x="36" y="194"/>
                    </a:cubicBezTo>
                    <a:cubicBezTo>
                      <a:pt x="35" y="197"/>
                      <a:pt x="32" y="201"/>
                      <a:pt x="29" y="203"/>
                    </a:cubicBezTo>
                    <a:cubicBezTo>
                      <a:pt x="27" y="203"/>
                      <a:pt x="23" y="196"/>
                      <a:pt x="21" y="193"/>
                    </a:cubicBezTo>
                    <a:cubicBezTo>
                      <a:pt x="18" y="189"/>
                      <a:pt x="16" y="183"/>
                      <a:pt x="13" y="177"/>
                    </a:cubicBezTo>
                    <a:cubicBezTo>
                      <a:pt x="10" y="173"/>
                      <a:pt x="6" y="165"/>
                      <a:pt x="4" y="159"/>
                    </a:cubicBezTo>
                    <a:cubicBezTo>
                      <a:pt x="3" y="155"/>
                      <a:pt x="0" y="146"/>
                      <a:pt x="0" y="140"/>
                    </a:cubicBezTo>
                    <a:cubicBezTo>
                      <a:pt x="0" y="134"/>
                      <a:pt x="2" y="129"/>
                      <a:pt x="4" y="125"/>
                    </a:cubicBezTo>
                    <a:cubicBezTo>
                      <a:pt x="0" y="120"/>
                      <a:pt x="5" y="116"/>
                      <a:pt x="10" y="115"/>
                    </a:cubicBezTo>
                    <a:cubicBezTo>
                      <a:pt x="9" y="114"/>
                      <a:pt x="7" y="113"/>
                      <a:pt x="9" y="111"/>
                    </a:cubicBezTo>
                    <a:cubicBezTo>
                      <a:pt x="10" y="106"/>
                      <a:pt x="9" y="113"/>
                      <a:pt x="12" y="10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5" name="Freeform 493">
                <a:extLst>
                  <a:ext uri="{FF2B5EF4-FFF2-40B4-BE49-F238E27FC236}">
                    <a16:creationId xmlns:a16="http://schemas.microsoft.com/office/drawing/2014/main" id="{BD20D4DB-8213-49D2-AF1D-7A07843AA6CD}"/>
                  </a:ext>
                </a:extLst>
              </p:cNvPr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gray">
              <a:xfrm>
                <a:off x="4913313" y="3903663"/>
                <a:ext cx="285750" cy="204788"/>
              </a:xfrm>
              <a:custGeom>
                <a:avLst/>
                <a:gdLst>
                  <a:gd name="T0" fmla="*/ 177 w 177"/>
                  <a:gd name="T1" fmla="*/ 113 h 126"/>
                  <a:gd name="T2" fmla="*/ 151 w 177"/>
                  <a:gd name="T3" fmla="*/ 111 h 126"/>
                  <a:gd name="T4" fmla="*/ 142 w 177"/>
                  <a:gd name="T5" fmla="*/ 117 h 126"/>
                  <a:gd name="T6" fmla="*/ 134 w 177"/>
                  <a:gd name="T7" fmla="*/ 123 h 126"/>
                  <a:gd name="T8" fmla="*/ 127 w 177"/>
                  <a:gd name="T9" fmla="*/ 122 h 126"/>
                  <a:gd name="T10" fmla="*/ 113 w 177"/>
                  <a:gd name="T11" fmla="*/ 122 h 126"/>
                  <a:gd name="T12" fmla="*/ 110 w 177"/>
                  <a:gd name="T13" fmla="*/ 126 h 126"/>
                  <a:gd name="T14" fmla="*/ 94 w 177"/>
                  <a:gd name="T15" fmla="*/ 125 h 126"/>
                  <a:gd name="T16" fmla="*/ 87 w 177"/>
                  <a:gd name="T17" fmla="*/ 118 h 126"/>
                  <a:gd name="T18" fmla="*/ 74 w 177"/>
                  <a:gd name="T19" fmla="*/ 113 h 126"/>
                  <a:gd name="T20" fmla="*/ 63 w 177"/>
                  <a:gd name="T21" fmla="*/ 115 h 126"/>
                  <a:gd name="T22" fmla="*/ 50 w 177"/>
                  <a:gd name="T23" fmla="*/ 107 h 126"/>
                  <a:gd name="T24" fmla="*/ 49 w 177"/>
                  <a:gd name="T25" fmla="*/ 105 h 126"/>
                  <a:gd name="T26" fmla="*/ 45 w 177"/>
                  <a:gd name="T27" fmla="*/ 102 h 126"/>
                  <a:gd name="T28" fmla="*/ 32 w 177"/>
                  <a:gd name="T29" fmla="*/ 87 h 126"/>
                  <a:gd name="T30" fmla="*/ 29 w 177"/>
                  <a:gd name="T31" fmla="*/ 81 h 126"/>
                  <a:gd name="T32" fmla="*/ 18 w 177"/>
                  <a:gd name="T33" fmla="*/ 73 h 126"/>
                  <a:gd name="T34" fmla="*/ 12 w 177"/>
                  <a:gd name="T35" fmla="*/ 63 h 126"/>
                  <a:gd name="T36" fmla="*/ 3 w 177"/>
                  <a:gd name="T37" fmla="*/ 59 h 126"/>
                  <a:gd name="T38" fmla="*/ 0 w 177"/>
                  <a:gd name="T39" fmla="*/ 57 h 126"/>
                  <a:gd name="T40" fmla="*/ 4 w 177"/>
                  <a:gd name="T41" fmla="*/ 49 h 126"/>
                  <a:gd name="T42" fmla="*/ 9 w 177"/>
                  <a:gd name="T43" fmla="*/ 35 h 126"/>
                  <a:gd name="T44" fmla="*/ 13 w 177"/>
                  <a:gd name="T45" fmla="*/ 30 h 126"/>
                  <a:gd name="T46" fmla="*/ 25 w 177"/>
                  <a:gd name="T47" fmla="*/ 28 h 126"/>
                  <a:gd name="T48" fmla="*/ 35 w 177"/>
                  <a:gd name="T49" fmla="*/ 37 h 126"/>
                  <a:gd name="T50" fmla="*/ 44 w 177"/>
                  <a:gd name="T51" fmla="*/ 38 h 126"/>
                  <a:gd name="T52" fmla="*/ 59 w 177"/>
                  <a:gd name="T53" fmla="*/ 42 h 126"/>
                  <a:gd name="T54" fmla="*/ 69 w 177"/>
                  <a:gd name="T55" fmla="*/ 41 h 126"/>
                  <a:gd name="T56" fmla="*/ 70 w 177"/>
                  <a:gd name="T57" fmla="*/ 39 h 126"/>
                  <a:gd name="T58" fmla="*/ 81 w 177"/>
                  <a:gd name="T59" fmla="*/ 31 h 126"/>
                  <a:gd name="T60" fmla="*/ 87 w 177"/>
                  <a:gd name="T61" fmla="*/ 27 h 126"/>
                  <a:gd name="T62" fmla="*/ 101 w 177"/>
                  <a:gd name="T63" fmla="*/ 37 h 126"/>
                  <a:gd name="T64" fmla="*/ 107 w 177"/>
                  <a:gd name="T65" fmla="*/ 37 h 126"/>
                  <a:gd name="T66" fmla="*/ 116 w 177"/>
                  <a:gd name="T67" fmla="*/ 26 h 126"/>
                  <a:gd name="T68" fmla="*/ 123 w 177"/>
                  <a:gd name="T69" fmla="*/ 20 h 126"/>
                  <a:gd name="T70" fmla="*/ 124 w 177"/>
                  <a:gd name="T71" fmla="*/ 8 h 126"/>
                  <a:gd name="T72" fmla="*/ 119 w 177"/>
                  <a:gd name="T73" fmla="*/ 4 h 126"/>
                  <a:gd name="T74" fmla="*/ 130 w 177"/>
                  <a:gd name="T75" fmla="*/ 0 h 126"/>
                  <a:gd name="T76" fmla="*/ 134 w 177"/>
                  <a:gd name="T77" fmla="*/ 15 h 126"/>
                  <a:gd name="T78" fmla="*/ 141 w 177"/>
                  <a:gd name="T79" fmla="*/ 25 h 126"/>
                  <a:gd name="T80" fmla="*/ 147 w 177"/>
                  <a:gd name="T81" fmla="*/ 41 h 126"/>
                  <a:gd name="T82" fmla="*/ 144 w 177"/>
                  <a:gd name="T83" fmla="*/ 54 h 126"/>
                  <a:gd name="T84" fmla="*/ 136 w 177"/>
                  <a:gd name="T85" fmla="*/ 56 h 126"/>
                  <a:gd name="T86" fmla="*/ 132 w 177"/>
                  <a:gd name="T87" fmla="*/ 63 h 126"/>
                  <a:gd name="T88" fmla="*/ 140 w 177"/>
                  <a:gd name="T89" fmla="*/ 66 h 126"/>
                  <a:gd name="T90" fmla="*/ 153 w 177"/>
                  <a:gd name="T91" fmla="*/ 80 h 126"/>
                  <a:gd name="T92" fmla="*/ 159 w 177"/>
                  <a:gd name="T93" fmla="*/ 85 h 126"/>
                  <a:gd name="T94" fmla="*/ 164 w 177"/>
                  <a:gd name="T95" fmla="*/ 98 h 126"/>
                  <a:gd name="T96" fmla="*/ 166 w 177"/>
                  <a:gd name="T97" fmla="*/ 101 h 126"/>
                  <a:gd name="T98" fmla="*/ 177 w 177"/>
                  <a:gd name="T99" fmla="*/ 11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7" h="126">
                    <a:moveTo>
                      <a:pt x="177" y="113"/>
                    </a:moveTo>
                    <a:lnTo>
                      <a:pt x="151" y="111"/>
                    </a:lnTo>
                    <a:cubicBezTo>
                      <a:pt x="148" y="114"/>
                      <a:pt x="145" y="115"/>
                      <a:pt x="142" y="117"/>
                    </a:cubicBezTo>
                    <a:cubicBezTo>
                      <a:pt x="141" y="121"/>
                      <a:pt x="137" y="122"/>
                      <a:pt x="134" y="123"/>
                    </a:cubicBezTo>
                    <a:cubicBezTo>
                      <a:pt x="131" y="121"/>
                      <a:pt x="130" y="122"/>
                      <a:pt x="127" y="122"/>
                    </a:cubicBezTo>
                    <a:cubicBezTo>
                      <a:pt x="124" y="122"/>
                      <a:pt x="116" y="121"/>
                      <a:pt x="113" y="122"/>
                    </a:cubicBezTo>
                    <a:cubicBezTo>
                      <a:pt x="111" y="122"/>
                      <a:pt x="110" y="123"/>
                      <a:pt x="110" y="126"/>
                    </a:cubicBezTo>
                    <a:cubicBezTo>
                      <a:pt x="107" y="126"/>
                      <a:pt x="98" y="126"/>
                      <a:pt x="94" y="125"/>
                    </a:cubicBezTo>
                    <a:cubicBezTo>
                      <a:pt x="94" y="123"/>
                      <a:pt x="89" y="118"/>
                      <a:pt x="87" y="118"/>
                    </a:cubicBezTo>
                    <a:cubicBezTo>
                      <a:pt x="84" y="116"/>
                      <a:pt x="76" y="114"/>
                      <a:pt x="74" y="113"/>
                    </a:cubicBezTo>
                    <a:cubicBezTo>
                      <a:pt x="70" y="112"/>
                      <a:pt x="66" y="115"/>
                      <a:pt x="63" y="115"/>
                    </a:cubicBezTo>
                    <a:cubicBezTo>
                      <a:pt x="59" y="114"/>
                      <a:pt x="52" y="109"/>
                      <a:pt x="50" y="107"/>
                    </a:cubicBezTo>
                    <a:cubicBezTo>
                      <a:pt x="50" y="106"/>
                      <a:pt x="50" y="106"/>
                      <a:pt x="49" y="105"/>
                    </a:cubicBezTo>
                    <a:cubicBezTo>
                      <a:pt x="48" y="105"/>
                      <a:pt x="47" y="104"/>
                      <a:pt x="45" y="102"/>
                    </a:cubicBezTo>
                    <a:cubicBezTo>
                      <a:pt x="42" y="99"/>
                      <a:pt x="35" y="90"/>
                      <a:pt x="32" y="87"/>
                    </a:cubicBezTo>
                    <a:cubicBezTo>
                      <a:pt x="30" y="84"/>
                      <a:pt x="33" y="81"/>
                      <a:pt x="29" y="81"/>
                    </a:cubicBezTo>
                    <a:cubicBezTo>
                      <a:pt x="27" y="79"/>
                      <a:pt x="20" y="75"/>
                      <a:pt x="18" y="73"/>
                    </a:cubicBezTo>
                    <a:cubicBezTo>
                      <a:pt x="15" y="70"/>
                      <a:pt x="14" y="65"/>
                      <a:pt x="12" y="63"/>
                    </a:cubicBezTo>
                    <a:cubicBezTo>
                      <a:pt x="7" y="61"/>
                      <a:pt x="9" y="60"/>
                      <a:pt x="3" y="59"/>
                    </a:cubicBezTo>
                    <a:cubicBezTo>
                      <a:pt x="2" y="58"/>
                      <a:pt x="0" y="59"/>
                      <a:pt x="0" y="57"/>
                    </a:cubicBezTo>
                    <a:cubicBezTo>
                      <a:pt x="0" y="53"/>
                      <a:pt x="1" y="50"/>
                      <a:pt x="4" y="49"/>
                    </a:cubicBezTo>
                    <a:cubicBezTo>
                      <a:pt x="6" y="45"/>
                      <a:pt x="8" y="38"/>
                      <a:pt x="9" y="35"/>
                    </a:cubicBezTo>
                    <a:cubicBezTo>
                      <a:pt x="10" y="32"/>
                      <a:pt x="11" y="32"/>
                      <a:pt x="13" y="30"/>
                    </a:cubicBezTo>
                    <a:cubicBezTo>
                      <a:pt x="16" y="26"/>
                      <a:pt x="18" y="28"/>
                      <a:pt x="25" y="28"/>
                    </a:cubicBezTo>
                    <a:cubicBezTo>
                      <a:pt x="29" y="29"/>
                      <a:pt x="32" y="35"/>
                      <a:pt x="35" y="37"/>
                    </a:cubicBezTo>
                    <a:cubicBezTo>
                      <a:pt x="35" y="42"/>
                      <a:pt x="39" y="39"/>
                      <a:pt x="44" y="38"/>
                    </a:cubicBezTo>
                    <a:cubicBezTo>
                      <a:pt x="48" y="39"/>
                      <a:pt x="55" y="42"/>
                      <a:pt x="59" y="42"/>
                    </a:cubicBezTo>
                    <a:cubicBezTo>
                      <a:pt x="62" y="42"/>
                      <a:pt x="66" y="43"/>
                      <a:pt x="69" y="41"/>
                    </a:cubicBezTo>
                    <a:cubicBezTo>
                      <a:pt x="70" y="40"/>
                      <a:pt x="69" y="39"/>
                      <a:pt x="70" y="39"/>
                    </a:cubicBezTo>
                    <a:cubicBezTo>
                      <a:pt x="72" y="37"/>
                      <a:pt x="78" y="33"/>
                      <a:pt x="81" y="31"/>
                    </a:cubicBezTo>
                    <a:cubicBezTo>
                      <a:pt x="83" y="30"/>
                      <a:pt x="87" y="27"/>
                      <a:pt x="87" y="27"/>
                    </a:cubicBezTo>
                    <a:lnTo>
                      <a:pt x="101" y="37"/>
                    </a:lnTo>
                    <a:lnTo>
                      <a:pt x="107" y="37"/>
                    </a:lnTo>
                    <a:lnTo>
                      <a:pt x="116" y="26"/>
                    </a:lnTo>
                    <a:lnTo>
                      <a:pt x="123" y="20"/>
                    </a:lnTo>
                    <a:lnTo>
                      <a:pt x="124" y="8"/>
                    </a:lnTo>
                    <a:lnTo>
                      <a:pt x="119" y="4"/>
                    </a:lnTo>
                    <a:cubicBezTo>
                      <a:pt x="129" y="4"/>
                      <a:pt x="129" y="6"/>
                      <a:pt x="130" y="0"/>
                    </a:cubicBezTo>
                    <a:cubicBezTo>
                      <a:pt x="136" y="1"/>
                      <a:pt x="132" y="10"/>
                      <a:pt x="134" y="15"/>
                    </a:cubicBezTo>
                    <a:cubicBezTo>
                      <a:pt x="135" y="20"/>
                      <a:pt x="135" y="24"/>
                      <a:pt x="141" y="25"/>
                    </a:cubicBezTo>
                    <a:cubicBezTo>
                      <a:pt x="143" y="29"/>
                      <a:pt x="147" y="36"/>
                      <a:pt x="147" y="41"/>
                    </a:cubicBezTo>
                    <a:cubicBezTo>
                      <a:pt x="147" y="48"/>
                      <a:pt x="151" y="53"/>
                      <a:pt x="144" y="54"/>
                    </a:cubicBezTo>
                    <a:cubicBezTo>
                      <a:pt x="142" y="58"/>
                      <a:pt x="140" y="56"/>
                      <a:pt x="136" y="56"/>
                    </a:cubicBezTo>
                    <a:cubicBezTo>
                      <a:pt x="132" y="57"/>
                      <a:pt x="132" y="59"/>
                      <a:pt x="132" y="63"/>
                    </a:cubicBezTo>
                    <a:cubicBezTo>
                      <a:pt x="133" y="69"/>
                      <a:pt x="131" y="66"/>
                      <a:pt x="140" y="66"/>
                    </a:cubicBezTo>
                    <a:cubicBezTo>
                      <a:pt x="143" y="69"/>
                      <a:pt x="150" y="77"/>
                      <a:pt x="153" y="80"/>
                    </a:cubicBezTo>
                    <a:cubicBezTo>
                      <a:pt x="154" y="82"/>
                      <a:pt x="157" y="82"/>
                      <a:pt x="159" y="85"/>
                    </a:cubicBezTo>
                    <a:cubicBezTo>
                      <a:pt x="161" y="88"/>
                      <a:pt x="163" y="95"/>
                      <a:pt x="164" y="98"/>
                    </a:cubicBezTo>
                    <a:cubicBezTo>
                      <a:pt x="164" y="99"/>
                      <a:pt x="164" y="101"/>
                      <a:pt x="166" y="101"/>
                    </a:cubicBezTo>
                    <a:cubicBezTo>
                      <a:pt x="175" y="102"/>
                      <a:pt x="177" y="113"/>
                      <a:pt x="177" y="1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6" name="Freeform 15">
                <a:extLst>
                  <a:ext uri="{FF2B5EF4-FFF2-40B4-BE49-F238E27FC236}">
                    <a16:creationId xmlns:a16="http://schemas.microsoft.com/office/drawing/2014/main" id="{87EE4C9D-A469-44E6-A57A-B5DFFDAB83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2977" y="1398587"/>
                <a:ext cx="2128837" cy="1720851"/>
              </a:xfrm>
              <a:custGeom>
                <a:avLst/>
                <a:gdLst>
                  <a:gd name="T0" fmla="*/ 332 w 1304"/>
                  <a:gd name="T1" fmla="*/ 24 h 1052"/>
                  <a:gd name="T2" fmla="*/ 186 w 1304"/>
                  <a:gd name="T3" fmla="*/ 848 h 1052"/>
                  <a:gd name="T4" fmla="*/ 1284 w 1304"/>
                  <a:gd name="T5" fmla="*/ 886 h 1052"/>
                  <a:gd name="T6" fmla="*/ 1244 w 1304"/>
                  <a:gd name="T7" fmla="*/ 788 h 1052"/>
                  <a:gd name="T8" fmla="*/ 1182 w 1304"/>
                  <a:gd name="T9" fmla="*/ 736 h 1052"/>
                  <a:gd name="T10" fmla="*/ 1112 w 1304"/>
                  <a:gd name="T11" fmla="*/ 650 h 1052"/>
                  <a:gd name="T12" fmla="*/ 1052 w 1304"/>
                  <a:gd name="T13" fmla="*/ 618 h 1052"/>
                  <a:gd name="T14" fmla="*/ 930 w 1304"/>
                  <a:gd name="T15" fmla="*/ 546 h 1052"/>
                  <a:gd name="T16" fmla="*/ 906 w 1304"/>
                  <a:gd name="T17" fmla="*/ 762 h 1052"/>
                  <a:gd name="T18" fmla="*/ 744 w 1304"/>
                  <a:gd name="T19" fmla="*/ 694 h 1052"/>
                  <a:gd name="T20" fmla="*/ 750 w 1304"/>
                  <a:gd name="T21" fmla="*/ 514 h 1052"/>
                  <a:gd name="T22" fmla="*/ 790 w 1304"/>
                  <a:gd name="T23" fmla="*/ 506 h 1052"/>
                  <a:gd name="T24" fmla="*/ 870 w 1304"/>
                  <a:gd name="T25" fmla="*/ 482 h 1052"/>
                  <a:gd name="T26" fmla="*/ 872 w 1304"/>
                  <a:gd name="T27" fmla="*/ 294 h 1052"/>
                  <a:gd name="T28" fmla="*/ 916 w 1304"/>
                  <a:gd name="T29" fmla="*/ 252 h 1052"/>
                  <a:gd name="T30" fmla="*/ 988 w 1304"/>
                  <a:gd name="T31" fmla="*/ 414 h 1052"/>
                  <a:gd name="T32" fmla="*/ 952 w 1304"/>
                  <a:gd name="T33" fmla="*/ 488 h 1052"/>
                  <a:gd name="T34" fmla="*/ 1072 w 1304"/>
                  <a:gd name="T35" fmla="*/ 554 h 1052"/>
                  <a:gd name="T36" fmla="*/ 1114 w 1304"/>
                  <a:gd name="T37" fmla="*/ 500 h 1052"/>
                  <a:gd name="T38" fmla="*/ 1132 w 1304"/>
                  <a:gd name="T39" fmla="*/ 392 h 1052"/>
                  <a:gd name="T40" fmla="*/ 1028 w 1304"/>
                  <a:gd name="T41" fmla="*/ 256 h 1052"/>
                  <a:gd name="T42" fmla="*/ 962 w 1304"/>
                  <a:gd name="T43" fmla="*/ 198 h 1052"/>
                  <a:gd name="T44" fmla="*/ 920 w 1304"/>
                  <a:gd name="T45" fmla="*/ 192 h 1052"/>
                  <a:gd name="T46" fmla="*/ 820 w 1304"/>
                  <a:gd name="T47" fmla="*/ 142 h 1052"/>
                  <a:gd name="T48" fmla="*/ 824 w 1304"/>
                  <a:gd name="T49" fmla="*/ 98 h 1052"/>
                  <a:gd name="T50" fmla="*/ 794 w 1304"/>
                  <a:gd name="T51" fmla="*/ 270 h 1052"/>
                  <a:gd name="T52" fmla="*/ 764 w 1304"/>
                  <a:gd name="T53" fmla="*/ 304 h 1052"/>
                  <a:gd name="T54" fmla="*/ 658 w 1304"/>
                  <a:gd name="T55" fmla="*/ 266 h 1052"/>
                  <a:gd name="T56" fmla="*/ 626 w 1304"/>
                  <a:gd name="T57" fmla="*/ 330 h 1052"/>
                  <a:gd name="T58" fmla="*/ 478 w 1304"/>
                  <a:gd name="T59" fmla="*/ 382 h 1052"/>
                  <a:gd name="T60" fmla="*/ 418 w 1304"/>
                  <a:gd name="T61" fmla="*/ 346 h 1052"/>
                  <a:gd name="T62" fmla="*/ 580 w 1304"/>
                  <a:gd name="T63" fmla="*/ 320 h 1052"/>
                  <a:gd name="T64" fmla="*/ 538 w 1304"/>
                  <a:gd name="T65" fmla="*/ 106 h 1052"/>
                  <a:gd name="T66" fmla="*/ 448 w 1304"/>
                  <a:gd name="T67" fmla="*/ 166 h 1052"/>
                  <a:gd name="T68" fmla="*/ 380 w 1304"/>
                  <a:gd name="T69" fmla="*/ 114 h 1052"/>
                  <a:gd name="T70" fmla="*/ 242 w 1304"/>
                  <a:gd name="T71" fmla="*/ 86 h 1052"/>
                  <a:gd name="T72" fmla="*/ 276 w 1304"/>
                  <a:gd name="T73" fmla="*/ 228 h 1052"/>
                  <a:gd name="T74" fmla="*/ 334 w 1304"/>
                  <a:gd name="T75" fmla="*/ 172 h 1052"/>
                  <a:gd name="T76" fmla="*/ 392 w 1304"/>
                  <a:gd name="T77" fmla="*/ 252 h 1052"/>
                  <a:gd name="T78" fmla="*/ 402 w 1304"/>
                  <a:gd name="T79" fmla="*/ 316 h 1052"/>
                  <a:gd name="T80" fmla="*/ 228 w 1304"/>
                  <a:gd name="T81" fmla="*/ 266 h 1052"/>
                  <a:gd name="T82" fmla="*/ 152 w 1304"/>
                  <a:gd name="T83" fmla="*/ 306 h 1052"/>
                  <a:gd name="T84" fmla="*/ 18 w 1304"/>
                  <a:gd name="T85" fmla="*/ 288 h 1052"/>
                  <a:gd name="T86" fmla="*/ 112 w 1304"/>
                  <a:gd name="T87" fmla="*/ 756 h 1052"/>
                  <a:gd name="T88" fmla="*/ 702 w 1304"/>
                  <a:gd name="T89" fmla="*/ 912 h 1052"/>
                  <a:gd name="T90" fmla="*/ 834 w 1304"/>
                  <a:gd name="T91" fmla="*/ 948 h 1052"/>
                  <a:gd name="T92" fmla="*/ 858 w 1304"/>
                  <a:gd name="T93" fmla="*/ 1038 h 1052"/>
                  <a:gd name="T94" fmla="*/ 1076 w 1304"/>
                  <a:gd name="T95" fmla="*/ 932 h 1052"/>
                  <a:gd name="T96" fmla="*/ 1194 w 1304"/>
                  <a:gd name="T97" fmla="*/ 936 h 1052"/>
                  <a:gd name="T98" fmla="*/ 1102 w 1304"/>
                  <a:gd name="T99" fmla="*/ 910 h 1052"/>
                  <a:gd name="T100" fmla="*/ 1134 w 1304"/>
                  <a:gd name="T101" fmla="*/ 872 h 1052"/>
                  <a:gd name="T102" fmla="*/ 1194 w 1304"/>
                  <a:gd name="T103" fmla="*/ 920 h 1052"/>
                  <a:gd name="T104" fmla="*/ 772 w 1304"/>
                  <a:gd name="T105" fmla="*/ 446 h 1052"/>
                  <a:gd name="T106" fmla="*/ 126 w 1304"/>
                  <a:gd name="T107" fmla="*/ 772 h 1052"/>
                  <a:gd name="T108" fmla="*/ 588 w 1304"/>
                  <a:gd name="T109" fmla="*/ 154 h 1052"/>
                  <a:gd name="T110" fmla="*/ 654 w 1304"/>
                  <a:gd name="T111" fmla="*/ 204 h 1052"/>
                  <a:gd name="T112" fmla="*/ 674 w 1304"/>
                  <a:gd name="T113" fmla="*/ 90 h 1052"/>
                  <a:gd name="T114" fmla="*/ 740 w 1304"/>
                  <a:gd name="T115" fmla="*/ 118 h 1052"/>
                  <a:gd name="T116" fmla="*/ 948 w 1304"/>
                  <a:gd name="T117" fmla="*/ 140 h 1052"/>
                  <a:gd name="T118" fmla="*/ 972 w 1304"/>
                  <a:gd name="T119" fmla="*/ 352 h 1052"/>
                  <a:gd name="T120" fmla="*/ 870 w 1304"/>
                  <a:gd name="T121" fmla="*/ 536 h 1052"/>
                  <a:gd name="T122" fmla="*/ 898 w 1304"/>
                  <a:gd name="T123" fmla="*/ 644 h 1052"/>
                  <a:gd name="T124" fmla="*/ 1160 w 1304"/>
                  <a:gd name="T125" fmla="*/ 892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04" h="1052">
                    <a:moveTo>
                      <a:pt x="650" y="32"/>
                    </a:moveTo>
                    <a:lnTo>
                      <a:pt x="650" y="32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98" y="54"/>
                    </a:lnTo>
                    <a:lnTo>
                      <a:pt x="698" y="54"/>
                    </a:lnTo>
                    <a:lnTo>
                      <a:pt x="700" y="54"/>
                    </a:lnTo>
                    <a:lnTo>
                      <a:pt x="700" y="54"/>
                    </a:lnTo>
                    <a:lnTo>
                      <a:pt x="702" y="50"/>
                    </a:lnTo>
                    <a:lnTo>
                      <a:pt x="702" y="22"/>
                    </a:lnTo>
                    <a:lnTo>
                      <a:pt x="702" y="22"/>
                    </a:lnTo>
                    <a:lnTo>
                      <a:pt x="700" y="20"/>
                    </a:lnTo>
                    <a:lnTo>
                      <a:pt x="680" y="2"/>
                    </a:lnTo>
                    <a:lnTo>
                      <a:pt x="680" y="2"/>
                    </a:lnTo>
                    <a:lnTo>
                      <a:pt x="678" y="0"/>
                    </a:lnTo>
                    <a:lnTo>
                      <a:pt x="670" y="0"/>
                    </a:lnTo>
                    <a:lnTo>
                      <a:pt x="670" y="0"/>
                    </a:lnTo>
                    <a:lnTo>
                      <a:pt x="668" y="2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48" y="30"/>
                    </a:lnTo>
                    <a:lnTo>
                      <a:pt x="648" y="30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50" y="32"/>
                    </a:lnTo>
                    <a:lnTo>
                      <a:pt x="650" y="32"/>
                    </a:lnTo>
                    <a:close/>
                    <a:moveTo>
                      <a:pt x="718" y="54"/>
                    </a:moveTo>
                    <a:lnTo>
                      <a:pt x="802" y="72"/>
                    </a:lnTo>
                    <a:lnTo>
                      <a:pt x="802" y="72"/>
                    </a:lnTo>
                    <a:lnTo>
                      <a:pt x="802" y="72"/>
                    </a:lnTo>
                    <a:lnTo>
                      <a:pt x="832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52" y="54"/>
                    </a:lnTo>
                    <a:lnTo>
                      <a:pt x="870" y="62"/>
                    </a:lnTo>
                    <a:lnTo>
                      <a:pt x="870" y="62"/>
                    </a:lnTo>
                    <a:lnTo>
                      <a:pt x="874" y="62"/>
                    </a:lnTo>
                    <a:lnTo>
                      <a:pt x="900" y="52"/>
                    </a:lnTo>
                    <a:lnTo>
                      <a:pt x="900" y="52"/>
                    </a:lnTo>
                    <a:lnTo>
                      <a:pt x="902" y="50"/>
                    </a:lnTo>
                    <a:lnTo>
                      <a:pt x="908" y="10"/>
                    </a:lnTo>
                    <a:lnTo>
                      <a:pt x="908" y="10"/>
                    </a:lnTo>
                    <a:lnTo>
                      <a:pt x="908" y="8"/>
                    </a:lnTo>
                    <a:lnTo>
                      <a:pt x="908" y="8"/>
                    </a:lnTo>
                    <a:lnTo>
                      <a:pt x="906" y="6"/>
                    </a:lnTo>
                    <a:lnTo>
                      <a:pt x="718" y="4"/>
                    </a:lnTo>
                    <a:lnTo>
                      <a:pt x="718" y="4"/>
                    </a:lnTo>
                    <a:lnTo>
                      <a:pt x="714" y="6"/>
                    </a:lnTo>
                    <a:lnTo>
                      <a:pt x="714" y="8"/>
                    </a:lnTo>
                    <a:lnTo>
                      <a:pt x="714" y="8"/>
                    </a:lnTo>
                    <a:lnTo>
                      <a:pt x="714" y="10"/>
                    </a:lnTo>
                    <a:lnTo>
                      <a:pt x="716" y="50"/>
                    </a:lnTo>
                    <a:lnTo>
                      <a:pt x="716" y="50"/>
                    </a:lnTo>
                    <a:lnTo>
                      <a:pt x="718" y="54"/>
                    </a:lnTo>
                    <a:lnTo>
                      <a:pt x="718" y="54"/>
                    </a:lnTo>
                    <a:close/>
                    <a:moveTo>
                      <a:pt x="592" y="34"/>
                    </a:moveTo>
                    <a:lnTo>
                      <a:pt x="592" y="34"/>
                    </a:lnTo>
                    <a:lnTo>
                      <a:pt x="594" y="34"/>
                    </a:lnTo>
                    <a:lnTo>
                      <a:pt x="622" y="34"/>
                    </a:lnTo>
                    <a:lnTo>
                      <a:pt x="622" y="34"/>
                    </a:lnTo>
                    <a:lnTo>
                      <a:pt x="624" y="32"/>
                    </a:lnTo>
                    <a:lnTo>
                      <a:pt x="634" y="12"/>
                    </a:lnTo>
                    <a:lnTo>
                      <a:pt x="634" y="12"/>
                    </a:lnTo>
                    <a:lnTo>
                      <a:pt x="636" y="10"/>
                    </a:lnTo>
                    <a:lnTo>
                      <a:pt x="636" y="10"/>
                    </a:lnTo>
                    <a:lnTo>
                      <a:pt x="636" y="8"/>
                    </a:lnTo>
                    <a:lnTo>
                      <a:pt x="636" y="8"/>
                    </a:lnTo>
                    <a:lnTo>
                      <a:pt x="636" y="6"/>
                    </a:lnTo>
                    <a:lnTo>
                      <a:pt x="634" y="6"/>
                    </a:lnTo>
                    <a:lnTo>
                      <a:pt x="634" y="6"/>
                    </a:lnTo>
                    <a:lnTo>
                      <a:pt x="632" y="6"/>
                    </a:lnTo>
                    <a:lnTo>
                      <a:pt x="630" y="6"/>
                    </a:lnTo>
                    <a:lnTo>
                      <a:pt x="630" y="6"/>
                    </a:lnTo>
                    <a:lnTo>
                      <a:pt x="556" y="4"/>
                    </a:lnTo>
                    <a:lnTo>
                      <a:pt x="556" y="4"/>
                    </a:lnTo>
                    <a:lnTo>
                      <a:pt x="552" y="6"/>
                    </a:lnTo>
                    <a:lnTo>
                      <a:pt x="552" y="6"/>
                    </a:lnTo>
                    <a:lnTo>
                      <a:pt x="552" y="8"/>
                    </a:lnTo>
                    <a:lnTo>
                      <a:pt x="554" y="10"/>
                    </a:lnTo>
                    <a:lnTo>
                      <a:pt x="592" y="34"/>
                    </a:lnTo>
                    <a:close/>
                    <a:moveTo>
                      <a:pt x="330" y="22"/>
                    </a:moveTo>
                    <a:lnTo>
                      <a:pt x="330" y="22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72" y="34"/>
                    </a:lnTo>
                    <a:lnTo>
                      <a:pt x="372" y="34"/>
                    </a:lnTo>
                    <a:lnTo>
                      <a:pt x="374" y="32"/>
                    </a:lnTo>
                    <a:lnTo>
                      <a:pt x="382" y="26"/>
                    </a:lnTo>
                    <a:lnTo>
                      <a:pt x="398" y="38"/>
                    </a:lnTo>
                    <a:lnTo>
                      <a:pt x="382" y="48"/>
                    </a:lnTo>
                    <a:lnTo>
                      <a:pt x="382" y="48"/>
                    </a:lnTo>
                    <a:lnTo>
                      <a:pt x="380" y="50"/>
                    </a:lnTo>
                    <a:lnTo>
                      <a:pt x="380" y="50"/>
                    </a:lnTo>
                    <a:lnTo>
                      <a:pt x="380" y="52"/>
                    </a:lnTo>
                    <a:lnTo>
                      <a:pt x="390" y="62"/>
                    </a:lnTo>
                    <a:lnTo>
                      <a:pt x="390" y="62"/>
                    </a:lnTo>
                    <a:lnTo>
                      <a:pt x="390" y="62"/>
                    </a:lnTo>
                    <a:lnTo>
                      <a:pt x="410" y="72"/>
                    </a:lnTo>
                    <a:lnTo>
                      <a:pt x="410" y="72"/>
                    </a:lnTo>
                    <a:lnTo>
                      <a:pt x="412" y="72"/>
                    </a:lnTo>
                    <a:lnTo>
                      <a:pt x="460" y="34"/>
                    </a:lnTo>
                    <a:lnTo>
                      <a:pt x="506" y="34"/>
                    </a:lnTo>
                    <a:lnTo>
                      <a:pt x="506" y="34"/>
                    </a:lnTo>
                    <a:lnTo>
                      <a:pt x="508" y="32"/>
                    </a:lnTo>
                    <a:lnTo>
                      <a:pt x="510" y="30"/>
                    </a:lnTo>
                    <a:lnTo>
                      <a:pt x="512" y="8"/>
                    </a:lnTo>
                    <a:lnTo>
                      <a:pt x="512" y="8"/>
                    </a:lnTo>
                    <a:lnTo>
                      <a:pt x="512" y="6"/>
                    </a:lnTo>
                    <a:lnTo>
                      <a:pt x="512" y="6"/>
                    </a:lnTo>
                    <a:lnTo>
                      <a:pt x="510" y="4"/>
                    </a:lnTo>
                    <a:lnTo>
                      <a:pt x="340" y="4"/>
                    </a:lnTo>
                    <a:lnTo>
                      <a:pt x="340" y="4"/>
                    </a:lnTo>
                    <a:lnTo>
                      <a:pt x="338" y="6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close/>
                    <a:moveTo>
                      <a:pt x="292" y="926"/>
                    </a:moveTo>
                    <a:lnTo>
                      <a:pt x="290" y="922"/>
                    </a:lnTo>
                    <a:lnTo>
                      <a:pt x="288" y="918"/>
                    </a:lnTo>
                    <a:lnTo>
                      <a:pt x="286" y="914"/>
                    </a:lnTo>
                    <a:lnTo>
                      <a:pt x="282" y="910"/>
                    </a:lnTo>
                    <a:lnTo>
                      <a:pt x="280" y="908"/>
                    </a:lnTo>
                    <a:lnTo>
                      <a:pt x="274" y="902"/>
                    </a:lnTo>
                    <a:lnTo>
                      <a:pt x="268" y="896"/>
                    </a:lnTo>
                    <a:lnTo>
                      <a:pt x="264" y="892"/>
                    </a:lnTo>
                    <a:lnTo>
                      <a:pt x="260" y="888"/>
                    </a:lnTo>
                    <a:lnTo>
                      <a:pt x="260" y="888"/>
                    </a:lnTo>
                    <a:lnTo>
                      <a:pt x="258" y="884"/>
                    </a:lnTo>
                    <a:lnTo>
                      <a:pt x="256" y="882"/>
                    </a:lnTo>
                    <a:lnTo>
                      <a:pt x="256" y="878"/>
                    </a:lnTo>
                    <a:lnTo>
                      <a:pt x="256" y="876"/>
                    </a:lnTo>
                    <a:lnTo>
                      <a:pt x="256" y="874"/>
                    </a:lnTo>
                    <a:lnTo>
                      <a:pt x="256" y="872"/>
                    </a:lnTo>
                    <a:lnTo>
                      <a:pt x="256" y="872"/>
                    </a:lnTo>
                    <a:lnTo>
                      <a:pt x="254" y="870"/>
                    </a:lnTo>
                    <a:lnTo>
                      <a:pt x="254" y="868"/>
                    </a:lnTo>
                    <a:lnTo>
                      <a:pt x="248" y="868"/>
                    </a:lnTo>
                    <a:lnTo>
                      <a:pt x="244" y="866"/>
                    </a:lnTo>
                    <a:lnTo>
                      <a:pt x="240" y="864"/>
                    </a:lnTo>
                    <a:lnTo>
                      <a:pt x="236" y="862"/>
                    </a:lnTo>
                    <a:lnTo>
                      <a:pt x="228" y="860"/>
                    </a:lnTo>
                    <a:lnTo>
                      <a:pt x="222" y="854"/>
                    </a:lnTo>
                    <a:lnTo>
                      <a:pt x="216" y="850"/>
                    </a:lnTo>
                    <a:lnTo>
                      <a:pt x="212" y="848"/>
                    </a:lnTo>
                    <a:lnTo>
                      <a:pt x="208" y="848"/>
                    </a:lnTo>
                    <a:lnTo>
                      <a:pt x="204" y="846"/>
                    </a:lnTo>
                    <a:lnTo>
                      <a:pt x="200" y="846"/>
                    </a:lnTo>
                    <a:lnTo>
                      <a:pt x="194" y="844"/>
                    </a:lnTo>
                    <a:lnTo>
                      <a:pt x="188" y="846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6" y="848"/>
                    </a:lnTo>
                    <a:lnTo>
                      <a:pt x="186" y="848"/>
                    </a:lnTo>
                    <a:lnTo>
                      <a:pt x="186" y="848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2"/>
                    </a:lnTo>
                    <a:lnTo>
                      <a:pt x="188" y="856"/>
                    </a:lnTo>
                    <a:lnTo>
                      <a:pt x="190" y="860"/>
                    </a:lnTo>
                    <a:lnTo>
                      <a:pt x="192" y="864"/>
                    </a:lnTo>
                    <a:lnTo>
                      <a:pt x="194" y="866"/>
                    </a:lnTo>
                    <a:lnTo>
                      <a:pt x="194" y="866"/>
                    </a:lnTo>
                    <a:lnTo>
                      <a:pt x="194" y="866"/>
                    </a:lnTo>
                    <a:lnTo>
                      <a:pt x="198" y="870"/>
                    </a:lnTo>
                    <a:lnTo>
                      <a:pt x="204" y="874"/>
                    </a:lnTo>
                    <a:lnTo>
                      <a:pt x="210" y="878"/>
                    </a:lnTo>
                    <a:lnTo>
                      <a:pt x="214" y="882"/>
                    </a:lnTo>
                    <a:lnTo>
                      <a:pt x="214" y="882"/>
                    </a:lnTo>
                    <a:lnTo>
                      <a:pt x="218" y="886"/>
                    </a:lnTo>
                    <a:lnTo>
                      <a:pt x="218" y="888"/>
                    </a:lnTo>
                    <a:lnTo>
                      <a:pt x="220" y="892"/>
                    </a:lnTo>
                    <a:lnTo>
                      <a:pt x="220" y="894"/>
                    </a:lnTo>
                    <a:lnTo>
                      <a:pt x="222" y="896"/>
                    </a:lnTo>
                    <a:lnTo>
                      <a:pt x="222" y="898"/>
                    </a:lnTo>
                    <a:lnTo>
                      <a:pt x="222" y="900"/>
                    </a:lnTo>
                    <a:lnTo>
                      <a:pt x="222" y="900"/>
                    </a:lnTo>
                    <a:lnTo>
                      <a:pt x="222" y="902"/>
                    </a:lnTo>
                    <a:lnTo>
                      <a:pt x="222" y="902"/>
                    </a:lnTo>
                    <a:lnTo>
                      <a:pt x="226" y="902"/>
                    </a:lnTo>
                    <a:lnTo>
                      <a:pt x="228" y="902"/>
                    </a:lnTo>
                    <a:lnTo>
                      <a:pt x="232" y="900"/>
                    </a:lnTo>
                    <a:lnTo>
                      <a:pt x="234" y="900"/>
                    </a:lnTo>
                    <a:lnTo>
                      <a:pt x="234" y="900"/>
                    </a:lnTo>
                    <a:lnTo>
                      <a:pt x="234" y="900"/>
                    </a:lnTo>
                    <a:lnTo>
                      <a:pt x="236" y="902"/>
                    </a:lnTo>
                    <a:lnTo>
                      <a:pt x="240" y="908"/>
                    </a:lnTo>
                    <a:lnTo>
                      <a:pt x="244" y="916"/>
                    </a:lnTo>
                    <a:lnTo>
                      <a:pt x="252" y="922"/>
                    </a:lnTo>
                    <a:lnTo>
                      <a:pt x="252" y="922"/>
                    </a:lnTo>
                    <a:lnTo>
                      <a:pt x="252" y="924"/>
                    </a:lnTo>
                    <a:lnTo>
                      <a:pt x="258" y="928"/>
                    </a:lnTo>
                    <a:lnTo>
                      <a:pt x="258" y="928"/>
                    </a:lnTo>
                    <a:lnTo>
                      <a:pt x="258" y="928"/>
                    </a:lnTo>
                    <a:lnTo>
                      <a:pt x="266" y="932"/>
                    </a:lnTo>
                    <a:lnTo>
                      <a:pt x="266" y="932"/>
                    </a:lnTo>
                    <a:lnTo>
                      <a:pt x="266" y="932"/>
                    </a:lnTo>
                    <a:lnTo>
                      <a:pt x="274" y="934"/>
                    </a:lnTo>
                    <a:lnTo>
                      <a:pt x="274" y="934"/>
                    </a:lnTo>
                    <a:lnTo>
                      <a:pt x="274" y="934"/>
                    </a:lnTo>
                    <a:lnTo>
                      <a:pt x="282" y="936"/>
                    </a:lnTo>
                    <a:lnTo>
                      <a:pt x="284" y="936"/>
                    </a:lnTo>
                    <a:lnTo>
                      <a:pt x="292" y="936"/>
                    </a:lnTo>
                    <a:lnTo>
                      <a:pt x="292" y="936"/>
                    </a:lnTo>
                    <a:lnTo>
                      <a:pt x="294" y="934"/>
                    </a:lnTo>
                    <a:lnTo>
                      <a:pt x="294" y="934"/>
                    </a:lnTo>
                    <a:lnTo>
                      <a:pt x="294" y="932"/>
                    </a:lnTo>
                    <a:lnTo>
                      <a:pt x="292" y="926"/>
                    </a:lnTo>
                    <a:close/>
                    <a:moveTo>
                      <a:pt x="1304" y="932"/>
                    </a:moveTo>
                    <a:lnTo>
                      <a:pt x="1302" y="928"/>
                    </a:lnTo>
                    <a:lnTo>
                      <a:pt x="1302" y="930"/>
                    </a:lnTo>
                    <a:lnTo>
                      <a:pt x="1302" y="926"/>
                    </a:lnTo>
                    <a:lnTo>
                      <a:pt x="1300" y="924"/>
                    </a:lnTo>
                    <a:lnTo>
                      <a:pt x="1300" y="922"/>
                    </a:lnTo>
                    <a:lnTo>
                      <a:pt x="1300" y="922"/>
                    </a:lnTo>
                    <a:lnTo>
                      <a:pt x="1300" y="920"/>
                    </a:lnTo>
                    <a:lnTo>
                      <a:pt x="1300" y="918"/>
                    </a:lnTo>
                    <a:lnTo>
                      <a:pt x="1300" y="918"/>
                    </a:lnTo>
                    <a:lnTo>
                      <a:pt x="1298" y="918"/>
                    </a:lnTo>
                    <a:lnTo>
                      <a:pt x="1298" y="916"/>
                    </a:lnTo>
                    <a:lnTo>
                      <a:pt x="1298" y="916"/>
                    </a:lnTo>
                    <a:lnTo>
                      <a:pt x="1296" y="916"/>
                    </a:lnTo>
                    <a:lnTo>
                      <a:pt x="1296" y="916"/>
                    </a:lnTo>
                    <a:lnTo>
                      <a:pt x="1296" y="914"/>
                    </a:lnTo>
                    <a:lnTo>
                      <a:pt x="1298" y="910"/>
                    </a:lnTo>
                    <a:lnTo>
                      <a:pt x="1298" y="908"/>
                    </a:lnTo>
                    <a:lnTo>
                      <a:pt x="1298" y="908"/>
                    </a:lnTo>
                    <a:lnTo>
                      <a:pt x="1298" y="906"/>
                    </a:lnTo>
                    <a:lnTo>
                      <a:pt x="1298" y="906"/>
                    </a:lnTo>
                    <a:lnTo>
                      <a:pt x="1298" y="904"/>
                    </a:lnTo>
                    <a:lnTo>
                      <a:pt x="1298" y="902"/>
                    </a:lnTo>
                    <a:lnTo>
                      <a:pt x="1298" y="902"/>
                    </a:lnTo>
                    <a:lnTo>
                      <a:pt x="1296" y="902"/>
                    </a:lnTo>
                    <a:lnTo>
                      <a:pt x="1294" y="900"/>
                    </a:lnTo>
                    <a:lnTo>
                      <a:pt x="1294" y="900"/>
                    </a:lnTo>
                    <a:lnTo>
                      <a:pt x="1294" y="898"/>
                    </a:lnTo>
                    <a:lnTo>
                      <a:pt x="1292" y="898"/>
                    </a:lnTo>
                    <a:lnTo>
                      <a:pt x="1292" y="898"/>
                    </a:lnTo>
                    <a:lnTo>
                      <a:pt x="1290" y="898"/>
                    </a:lnTo>
                    <a:lnTo>
                      <a:pt x="1288" y="898"/>
                    </a:lnTo>
                    <a:lnTo>
                      <a:pt x="1288" y="898"/>
                    </a:lnTo>
                    <a:lnTo>
                      <a:pt x="1288" y="896"/>
                    </a:lnTo>
                    <a:lnTo>
                      <a:pt x="1286" y="892"/>
                    </a:lnTo>
                    <a:lnTo>
                      <a:pt x="1286" y="888"/>
                    </a:lnTo>
                    <a:lnTo>
                      <a:pt x="1284" y="886"/>
                    </a:lnTo>
                    <a:lnTo>
                      <a:pt x="1284" y="886"/>
                    </a:lnTo>
                    <a:lnTo>
                      <a:pt x="1284" y="884"/>
                    </a:lnTo>
                    <a:lnTo>
                      <a:pt x="1282" y="882"/>
                    </a:lnTo>
                    <a:lnTo>
                      <a:pt x="1282" y="882"/>
                    </a:lnTo>
                    <a:lnTo>
                      <a:pt x="1282" y="882"/>
                    </a:lnTo>
                    <a:lnTo>
                      <a:pt x="1280" y="880"/>
                    </a:lnTo>
                    <a:lnTo>
                      <a:pt x="1280" y="880"/>
                    </a:lnTo>
                    <a:lnTo>
                      <a:pt x="1280" y="880"/>
                    </a:lnTo>
                    <a:lnTo>
                      <a:pt x="1276" y="878"/>
                    </a:lnTo>
                    <a:lnTo>
                      <a:pt x="1276" y="878"/>
                    </a:lnTo>
                    <a:lnTo>
                      <a:pt x="1274" y="878"/>
                    </a:lnTo>
                    <a:lnTo>
                      <a:pt x="1270" y="878"/>
                    </a:lnTo>
                    <a:lnTo>
                      <a:pt x="1266" y="880"/>
                    </a:lnTo>
                    <a:lnTo>
                      <a:pt x="1262" y="880"/>
                    </a:lnTo>
                    <a:lnTo>
                      <a:pt x="1260" y="880"/>
                    </a:lnTo>
                    <a:lnTo>
                      <a:pt x="1260" y="880"/>
                    </a:lnTo>
                    <a:lnTo>
                      <a:pt x="1258" y="876"/>
                    </a:lnTo>
                    <a:lnTo>
                      <a:pt x="1258" y="876"/>
                    </a:lnTo>
                    <a:lnTo>
                      <a:pt x="1258" y="876"/>
                    </a:lnTo>
                    <a:lnTo>
                      <a:pt x="1258" y="874"/>
                    </a:lnTo>
                    <a:lnTo>
                      <a:pt x="1258" y="874"/>
                    </a:lnTo>
                    <a:lnTo>
                      <a:pt x="1258" y="874"/>
                    </a:lnTo>
                    <a:lnTo>
                      <a:pt x="1256" y="872"/>
                    </a:lnTo>
                    <a:lnTo>
                      <a:pt x="1256" y="872"/>
                    </a:lnTo>
                    <a:lnTo>
                      <a:pt x="1256" y="872"/>
                    </a:lnTo>
                    <a:lnTo>
                      <a:pt x="1252" y="870"/>
                    </a:lnTo>
                    <a:lnTo>
                      <a:pt x="1250" y="870"/>
                    </a:lnTo>
                    <a:lnTo>
                      <a:pt x="1250" y="868"/>
                    </a:lnTo>
                    <a:lnTo>
                      <a:pt x="1250" y="868"/>
                    </a:lnTo>
                    <a:lnTo>
                      <a:pt x="1248" y="866"/>
                    </a:lnTo>
                    <a:lnTo>
                      <a:pt x="1248" y="866"/>
                    </a:lnTo>
                    <a:lnTo>
                      <a:pt x="1248" y="866"/>
                    </a:lnTo>
                    <a:lnTo>
                      <a:pt x="1248" y="864"/>
                    </a:lnTo>
                    <a:lnTo>
                      <a:pt x="1248" y="864"/>
                    </a:lnTo>
                    <a:lnTo>
                      <a:pt x="1248" y="864"/>
                    </a:lnTo>
                    <a:lnTo>
                      <a:pt x="1246" y="864"/>
                    </a:lnTo>
                    <a:lnTo>
                      <a:pt x="1246" y="864"/>
                    </a:lnTo>
                    <a:lnTo>
                      <a:pt x="1250" y="862"/>
                    </a:lnTo>
                    <a:lnTo>
                      <a:pt x="1252" y="862"/>
                    </a:lnTo>
                    <a:lnTo>
                      <a:pt x="1254" y="862"/>
                    </a:lnTo>
                    <a:lnTo>
                      <a:pt x="1254" y="862"/>
                    </a:lnTo>
                    <a:lnTo>
                      <a:pt x="1254" y="862"/>
                    </a:lnTo>
                    <a:lnTo>
                      <a:pt x="1256" y="860"/>
                    </a:lnTo>
                    <a:lnTo>
                      <a:pt x="1258" y="858"/>
                    </a:lnTo>
                    <a:lnTo>
                      <a:pt x="1258" y="854"/>
                    </a:lnTo>
                    <a:lnTo>
                      <a:pt x="1260" y="850"/>
                    </a:lnTo>
                    <a:lnTo>
                      <a:pt x="1260" y="844"/>
                    </a:lnTo>
                    <a:lnTo>
                      <a:pt x="1260" y="842"/>
                    </a:lnTo>
                    <a:lnTo>
                      <a:pt x="1262" y="840"/>
                    </a:lnTo>
                    <a:lnTo>
                      <a:pt x="1262" y="840"/>
                    </a:lnTo>
                    <a:lnTo>
                      <a:pt x="1262" y="838"/>
                    </a:lnTo>
                    <a:lnTo>
                      <a:pt x="1262" y="834"/>
                    </a:lnTo>
                    <a:lnTo>
                      <a:pt x="1260" y="832"/>
                    </a:lnTo>
                    <a:lnTo>
                      <a:pt x="1260" y="828"/>
                    </a:lnTo>
                    <a:lnTo>
                      <a:pt x="1260" y="826"/>
                    </a:lnTo>
                    <a:lnTo>
                      <a:pt x="1260" y="824"/>
                    </a:lnTo>
                    <a:lnTo>
                      <a:pt x="1260" y="824"/>
                    </a:lnTo>
                    <a:lnTo>
                      <a:pt x="1258" y="824"/>
                    </a:lnTo>
                    <a:lnTo>
                      <a:pt x="1258" y="824"/>
                    </a:lnTo>
                    <a:lnTo>
                      <a:pt x="1258" y="824"/>
                    </a:lnTo>
                    <a:lnTo>
                      <a:pt x="1258" y="822"/>
                    </a:lnTo>
                    <a:lnTo>
                      <a:pt x="1256" y="822"/>
                    </a:lnTo>
                    <a:lnTo>
                      <a:pt x="1256" y="822"/>
                    </a:lnTo>
                    <a:lnTo>
                      <a:pt x="1256" y="822"/>
                    </a:lnTo>
                    <a:lnTo>
                      <a:pt x="1254" y="820"/>
                    </a:lnTo>
                    <a:lnTo>
                      <a:pt x="1254" y="820"/>
                    </a:lnTo>
                    <a:lnTo>
                      <a:pt x="1254" y="818"/>
                    </a:lnTo>
                    <a:lnTo>
                      <a:pt x="1254" y="820"/>
                    </a:lnTo>
                    <a:lnTo>
                      <a:pt x="1252" y="818"/>
                    </a:lnTo>
                    <a:lnTo>
                      <a:pt x="1252" y="816"/>
                    </a:lnTo>
                    <a:lnTo>
                      <a:pt x="1250" y="816"/>
                    </a:lnTo>
                    <a:lnTo>
                      <a:pt x="1250" y="814"/>
                    </a:lnTo>
                    <a:lnTo>
                      <a:pt x="1250" y="812"/>
                    </a:lnTo>
                    <a:lnTo>
                      <a:pt x="1250" y="812"/>
                    </a:lnTo>
                    <a:lnTo>
                      <a:pt x="1250" y="812"/>
                    </a:lnTo>
                    <a:lnTo>
                      <a:pt x="1250" y="810"/>
                    </a:lnTo>
                    <a:lnTo>
                      <a:pt x="1252" y="806"/>
                    </a:lnTo>
                    <a:lnTo>
                      <a:pt x="1252" y="802"/>
                    </a:lnTo>
                    <a:lnTo>
                      <a:pt x="1252" y="798"/>
                    </a:lnTo>
                    <a:lnTo>
                      <a:pt x="1252" y="798"/>
                    </a:lnTo>
                    <a:lnTo>
                      <a:pt x="1252" y="796"/>
                    </a:lnTo>
                    <a:lnTo>
                      <a:pt x="1252" y="794"/>
                    </a:lnTo>
                    <a:lnTo>
                      <a:pt x="1252" y="794"/>
                    </a:lnTo>
                    <a:lnTo>
                      <a:pt x="1252" y="792"/>
                    </a:lnTo>
                    <a:lnTo>
                      <a:pt x="1250" y="790"/>
                    </a:lnTo>
                    <a:lnTo>
                      <a:pt x="1250" y="790"/>
                    </a:lnTo>
                    <a:lnTo>
                      <a:pt x="1250" y="790"/>
                    </a:lnTo>
                    <a:lnTo>
                      <a:pt x="1248" y="788"/>
                    </a:lnTo>
                    <a:lnTo>
                      <a:pt x="1248" y="788"/>
                    </a:lnTo>
                    <a:lnTo>
                      <a:pt x="1248" y="788"/>
                    </a:lnTo>
                    <a:lnTo>
                      <a:pt x="1244" y="788"/>
                    </a:lnTo>
                    <a:lnTo>
                      <a:pt x="1244" y="788"/>
                    </a:lnTo>
                    <a:lnTo>
                      <a:pt x="1244" y="788"/>
                    </a:lnTo>
                    <a:lnTo>
                      <a:pt x="1242" y="786"/>
                    </a:lnTo>
                    <a:lnTo>
                      <a:pt x="1236" y="786"/>
                    </a:lnTo>
                    <a:lnTo>
                      <a:pt x="1234" y="786"/>
                    </a:lnTo>
                    <a:lnTo>
                      <a:pt x="1234" y="786"/>
                    </a:lnTo>
                    <a:lnTo>
                      <a:pt x="1232" y="786"/>
                    </a:lnTo>
                    <a:lnTo>
                      <a:pt x="1232" y="786"/>
                    </a:lnTo>
                    <a:lnTo>
                      <a:pt x="1232" y="784"/>
                    </a:lnTo>
                    <a:lnTo>
                      <a:pt x="1230" y="782"/>
                    </a:lnTo>
                    <a:lnTo>
                      <a:pt x="1228" y="780"/>
                    </a:lnTo>
                    <a:lnTo>
                      <a:pt x="1228" y="780"/>
                    </a:lnTo>
                    <a:lnTo>
                      <a:pt x="1228" y="778"/>
                    </a:lnTo>
                    <a:lnTo>
                      <a:pt x="1228" y="778"/>
                    </a:lnTo>
                    <a:lnTo>
                      <a:pt x="1228" y="778"/>
                    </a:lnTo>
                    <a:lnTo>
                      <a:pt x="1226" y="776"/>
                    </a:lnTo>
                    <a:lnTo>
                      <a:pt x="1224" y="776"/>
                    </a:lnTo>
                    <a:lnTo>
                      <a:pt x="1224" y="776"/>
                    </a:lnTo>
                    <a:lnTo>
                      <a:pt x="1224" y="776"/>
                    </a:lnTo>
                    <a:lnTo>
                      <a:pt x="1220" y="776"/>
                    </a:lnTo>
                    <a:lnTo>
                      <a:pt x="1220" y="776"/>
                    </a:lnTo>
                    <a:lnTo>
                      <a:pt x="1220" y="776"/>
                    </a:lnTo>
                    <a:lnTo>
                      <a:pt x="1216" y="778"/>
                    </a:lnTo>
                    <a:lnTo>
                      <a:pt x="1216" y="778"/>
                    </a:lnTo>
                    <a:lnTo>
                      <a:pt x="1216" y="778"/>
                    </a:lnTo>
                    <a:lnTo>
                      <a:pt x="1212" y="780"/>
                    </a:lnTo>
                    <a:lnTo>
                      <a:pt x="1208" y="784"/>
                    </a:lnTo>
                    <a:lnTo>
                      <a:pt x="1204" y="788"/>
                    </a:lnTo>
                    <a:lnTo>
                      <a:pt x="1198" y="790"/>
                    </a:lnTo>
                    <a:lnTo>
                      <a:pt x="1194" y="794"/>
                    </a:lnTo>
                    <a:lnTo>
                      <a:pt x="1190" y="796"/>
                    </a:lnTo>
                    <a:lnTo>
                      <a:pt x="1188" y="798"/>
                    </a:lnTo>
                    <a:lnTo>
                      <a:pt x="1186" y="798"/>
                    </a:lnTo>
                    <a:lnTo>
                      <a:pt x="1184" y="798"/>
                    </a:lnTo>
                    <a:lnTo>
                      <a:pt x="1182" y="798"/>
                    </a:lnTo>
                    <a:lnTo>
                      <a:pt x="1180" y="798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4"/>
                    </a:lnTo>
                    <a:lnTo>
                      <a:pt x="1182" y="790"/>
                    </a:lnTo>
                    <a:lnTo>
                      <a:pt x="1186" y="788"/>
                    </a:lnTo>
                    <a:lnTo>
                      <a:pt x="1188" y="784"/>
                    </a:lnTo>
                    <a:lnTo>
                      <a:pt x="1192" y="782"/>
                    </a:lnTo>
                    <a:lnTo>
                      <a:pt x="1196" y="778"/>
                    </a:lnTo>
                    <a:lnTo>
                      <a:pt x="1200" y="776"/>
                    </a:lnTo>
                    <a:lnTo>
                      <a:pt x="1202" y="774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14" y="772"/>
                    </a:lnTo>
                    <a:lnTo>
                      <a:pt x="1216" y="772"/>
                    </a:lnTo>
                    <a:lnTo>
                      <a:pt x="1220" y="772"/>
                    </a:lnTo>
                    <a:lnTo>
                      <a:pt x="1220" y="772"/>
                    </a:lnTo>
                    <a:lnTo>
                      <a:pt x="1220" y="772"/>
                    </a:lnTo>
                    <a:lnTo>
                      <a:pt x="1222" y="772"/>
                    </a:lnTo>
                    <a:lnTo>
                      <a:pt x="1222" y="772"/>
                    </a:lnTo>
                    <a:lnTo>
                      <a:pt x="1224" y="770"/>
                    </a:lnTo>
                    <a:lnTo>
                      <a:pt x="1224" y="770"/>
                    </a:lnTo>
                    <a:lnTo>
                      <a:pt x="1224" y="770"/>
                    </a:lnTo>
                    <a:lnTo>
                      <a:pt x="1224" y="766"/>
                    </a:lnTo>
                    <a:lnTo>
                      <a:pt x="1224" y="766"/>
                    </a:lnTo>
                    <a:lnTo>
                      <a:pt x="1224" y="766"/>
                    </a:lnTo>
                    <a:lnTo>
                      <a:pt x="1224" y="764"/>
                    </a:lnTo>
                    <a:lnTo>
                      <a:pt x="1222" y="764"/>
                    </a:lnTo>
                    <a:lnTo>
                      <a:pt x="1222" y="764"/>
                    </a:lnTo>
                    <a:lnTo>
                      <a:pt x="1222" y="764"/>
                    </a:lnTo>
                    <a:lnTo>
                      <a:pt x="1220" y="762"/>
                    </a:lnTo>
                    <a:lnTo>
                      <a:pt x="1216" y="760"/>
                    </a:lnTo>
                    <a:lnTo>
                      <a:pt x="1214" y="758"/>
                    </a:lnTo>
                    <a:lnTo>
                      <a:pt x="1206" y="756"/>
                    </a:lnTo>
                    <a:lnTo>
                      <a:pt x="1202" y="754"/>
                    </a:lnTo>
                    <a:lnTo>
                      <a:pt x="1198" y="754"/>
                    </a:lnTo>
                    <a:lnTo>
                      <a:pt x="1196" y="754"/>
                    </a:lnTo>
                    <a:lnTo>
                      <a:pt x="1192" y="752"/>
                    </a:lnTo>
                    <a:lnTo>
                      <a:pt x="1188" y="752"/>
                    </a:lnTo>
                    <a:lnTo>
                      <a:pt x="1184" y="752"/>
                    </a:lnTo>
                    <a:lnTo>
                      <a:pt x="1184" y="752"/>
                    </a:lnTo>
                    <a:lnTo>
                      <a:pt x="1182" y="752"/>
                    </a:lnTo>
                    <a:lnTo>
                      <a:pt x="1182" y="752"/>
                    </a:lnTo>
                    <a:lnTo>
                      <a:pt x="1182" y="750"/>
                    </a:lnTo>
                    <a:lnTo>
                      <a:pt x="1182" y="748"/>
                    </a:lnTo>
                    <a:lnTo>
                      <a:pt x="1184" y="746"/>
                    </a:lnTo>
                    <a:lnTo>
                      <a:pt x="1184" y="744"/>
                    </a:lnTo>
                    <a:lnTo>
                      <a:pt x="1184" y="742"/>
                    </a:lnTo>
                    <a:lnTo>
                      <a:pt x="1184" y="742"/>
                    </a:lnTo>
                    <a:lnTo>
                      <a:pt x="1184" y="742"/>
                    </a:lnTo>
                    <a:lnTo>
                      <a:pt x="1184" y="740"/>
                    </a:lnTo>
                    <a:lnTo>
                      <a:pt x="1184" y="740"/>
                    </a:lnTo>
                    <a:lnTo>
                      <a:pt x="1184" y="740"/>
                    </a:lnTo>
                    <a:lnTo>
                      <a:pt x="1182" y="738"/>
                    </a:lnTo>
                    <a:lnTo>
                      <a:pt x="1182" y="738"/>
                    </a:lnTo>
                    <a:lnTo>
                      <a:pt x="1182" y="736"/>
                    </a:lnTo>
                    <a:lnTo>
                      <a:pt x="1180" y="736"/>
                    </a:lnTo>
                    <a:lnTo>
                      <a:pt x="1180" y="736"/>
                    </a:lnTo>
                    <a:lnTo>
                      <a:pt x="1180" y="734"/>
                    </a:lnTo>
                    <a:lnTo>
                      <a:pt x="1178" y="734"/>
                    </a:lnTo>
                    <a:lnTo>
                      <a:pt x="1178" y="734"/>
                    </a:lnTo>
                    <a:lnTo>
                      <a:pt x="1178" y="734"/>
                    </a:lnTo>
                    <a:lnTo>
                      <a:pt x="1174" y="732"/>
                    </a:lnTo>
                    <a:lnTo>
                      <a:pt x="1172" y="732"/>
                    </a:lnTo>
                    <a:lnTo>
                      <a:pt x="1170" y="730"/>
                    </a:lnTo>
                    <a:lnTo>
                      <a:pt x="1168" y="730"/>
                    </a:lnTo>
                    <a:lnTo>
                      <a:pt x="1168" y="728"/>
                    </a:lnTo>
                    <a:lnTo>
                      <a:pt x="1166" y="726"/>
                    </a:lnTo>
                    <a:lnTo>
                      <a:pt x="1164" y="722"/>
                    </a:lnTo>
                    <a:lnTo>
                      <a:pt x="1160" y="718"/>
                    </a:lnTo>
                    <a:lnTo>
                      <a:pt x="1158" y="714"/>
                    </a:lnTo>
                    <a:lnTo>
                      <a:pt x="1156" y="710"/>
                    </a:lnTo>
                    <a:lnTo>
                      <a:pt x="1154" y="706"/>
                    </a:lnTo>
                    <a:lnTo>
                      <a:pt x="1154" y="704"/>
                    </a:lnTo>
                    <a:lnTo>
                      <a:pt x="1154" y="704"/>
                    </a:lnTo>
                    <a:lnTo>
                      <a:pt x="1156" y="704"/>
                    </a:lnTo>
                    <a:lnTo>
                      <a:pt x="1158" y="706"/>
                    </a:lnTo>
                    <a:lnTo>
                      <a:pt x="1158" y="706"/>
                    </a:lnTo>
                    <a:lnTo>
                      <a:pt x="1158" y="706"/>
                    </a:lnTo>
                    <a:lnTo>
                      <a:pt x="1160" y="706"/>
                    </a:lnTo>
                    <a:lnTo>
                      <a:pt x="1160" y="706"/>
                    </a:lnTo>
                    <a:lnTo>
                      <a:pt x="1162" y="706"/>
                    </a:lnTo>
                    <a:lnTo>
                      <a:pt x="1162" y="704"/>
                    </a:lnTo>
                    <a:lnTo>
                      <a:pt x="1162" y="702"/>
                    </a:lnTo>
                    <a:lnTo>
                      <a:pt x="1162" y="702"/>
                    </a:lnTo>
                    <a:lnTo>
                      <a:pt x="1162" y="700"/>
                    </a:lnTo>
                    <a:lnTo>
                      <a:pt x="1162" y="698"/>
                    </a:lnTo>
                    <a:lnTo>
                      <a:pt x="1160" y="696"/>
                    </a:lnTo>
                    <a:lnTo>
                      <a:pt x="1158" y="692"/>
                    </a:lnTo>
                    <a:lnTo>
                      <a:pt x="1156" y="690"/>
                    </a:lnTo>
                    <a:lnTo>
                      <a:pt x="1150" y="682"/>
                    </a:lnTo>
                    <a:lnTo>
                      <a:pt x="1148" y="678"/>
                    </a:lnTo>
                    <a:lnTo>
                      <a:pt x="1146" y="676"/>
                    </a:lnTo>
                    <a:lnTo>
                      <a:pt x="1142" y="670"/>
                    </a:lnTo>
                    <a:lnTo>
                      <a:pt x="1138" y="666"/>
                    </a:lnTo>
                    <a:lnTo>
                      <a:pt x="1136" y="666"/>
                    </a:lnTo>
                    <a:lnTo>
                      <a:pt x="1136" y="664"/>
                    </a:lnTo>
                    <a:lnTo>
                      <a:pt x="1136" y="664"/>
                    </a:lnTo>
                    <a:lnTo>
                      <a:pt x="1136" y="662"/>
                    </a:lnTo>
                    <a:lnTo>
                      <a:pt x="1136" y="662"/>
                    </a:lnTo>
                    <a:lnTo>
                      <a:pt x="1136" y="662"/>
                    </a:lnTo>
                    <a:lnTo>
                      <a:pt x="1138" y="662"/>
                    </a:lnTo>
                    <a:lnTo>
                      <a:pt x="1140" y="660"/>
                    </a:lnTo>
                    <a:lnTo>
                      <a:pt x="1140" y="660"/>
                    </a:lnTo>
                    <a:lnTo>
                      <a:pt x="1140" y="660"/>
                    </a:lnTo>
                    <a:lnTo>
                      <a:pt x="1142" y="660"/>
                    </a:lnTo>
                    <a:lnTo>
                      <a:pt x="1142" y="660"/>
                    </a:lnTo>
                    <a:lnTo>
                      <a:pt x="1142" y="658"/>
                    </a:lnTo>
                    <a:lnTo>
                      <a:pt x="1144" y="658"/>
                    </a:lnTo>
                    <a:lnTo>
                      <a:pt x="1144" y="658"/>
                    </a:lnTo>
                    <a:lnTo>
                      <a:pt x="1144" y="656"/>
                    </a:lnTo>
                    <a:lnTo>
                      <a:pt x="1144" y="654"/>
                    </a:lnTo>
                    <a:lnTo>
                      <a:pt x="1144" y="654"/>
                    </a:lnTo>
                    <a:lnTo>
                      <a:pt x="1144" y="654"/>
                    </a:lnTo>
                    <a:lnTo>
                      <a:pt x="1144" y="652"/>
                    </a:lnTo>
                    <a:lnTo>
                      <a:pt x="1142" y="648"/>
                    </a:lnTo>
                    <a:lnTo>
                      <a:pt x="1140" y="644"/>
                    </a:lnTo>
                    <a:lnTo>
                      <a:pt x="1138" y="642"/>
                    </a:lnTo>
                    <a:lnTo>
                      <a:pt x="1136" y="638"/>
                    </a:lnTo>
                    <a:lnTo>
                      <a:pt x="1134" y="634"/>
                    </a:lnTo>
                    <a:lnTo>
                      <a:pt x="1132" y="632"/>
                    </a:lnTo>
                    <a:lnTo>
                      <a:pt x="1130" y="630"/>
                    </a:lnTo>
                    <a:lnTo>
                      <a:pt x="1128" y="628"/>
                    </a:lnTo>
                    <a:lnTo>
                      <a:pt x="1128" y="628"/>
                    </a:lnTo>
                    <a:lnTo>
                      <a:pt x="1128" y="628"/>
                    </a:lnTo>
                    <a:lnTo>
                      <a:pt x="1126" y="628"/>
                    </a:lnTo>
                    <a:lnTo>
                      <a:pt x="1126" y="628"/>
                    </a:lnTo>
                    <a:lnTo>
                      <a:pt x="1126" y="626"/>
                    </a:lnTo>
                    <a:lnTo>
                      <a:pt x="1122" y="626"/>
                    </a:lnTo>
                    <a:lnTo>
                      <a:pt x="1122" y="626"/>
                    </a:lnTo>
                    <a:lnTo>
                      <a:pt x="1122" y="626"/>
                    </a:lnTo>
                    <a:lnTo>
                      <a:pt x="1118" y="626"/>
                    </a:lnTo>
                    <a:lnTo>
                      <a:pt x="1118" y="626"/>
                    </a:lnTo>
                    <a:lnTo>
                      <a:pt x="1118" y="626"/>
                    </a:lnTo>
                    <a:lnTo>
                      <a:pt x="1116" y="628"/>
                    </a:lnTo>
                    <a:lnTo>
                      <a:pt x="1116" y="628"/>
                    </a:lnTo>
                    <a:lnTo>
                      <a:pt x="1114" y="630"/>
                    </a:lnTo>
                    <a:lnTo>
                      <a:pt x="1114" y="632"/>
                    </a:lnTo>
                    <a:lnTo>
                      <a:pt x="1114" y="632"/>
                    </a:lnTo>
                    <a:lnTo>
                      <a:pt x="1114" y="632"/>
                    </a:lnTo>
                    <a:lnTo>
                      <a:pt x="1114" y="634"/>
                    </a:lnTo>
                    <a:lnTo>
                      <a:pt x="1114" y="638"/>
                    </a:lnTo>
                    <a:lnTo>
                      <a:pt x="1114" y="640"/>
                    </a:lnTo>
                    <a:lnTo>
                      <a:pt x="1114" y="644"/>
                    </a:lnTo>
                    <a:lnTo>
                      <a:pt x="1114" y="646"/>
                    </a:lnTo>
                    <a:lnTo>
                      <a:pt x="1114" y="648"/>
                    </a:lnTo>
                    <a:lnTo>
                      <a:pt x="1114" y="648"/>
                    </a:lnTo>
                    <a:lnTo>
                      <a:pt x="1112" y="650"/>
                    </a:lnTo>
                    <a:lnTo>
                      <a:pt x="1112" y="650"/>
                    </a:lnTo>
                    <a:lnTo>
                      <a:pt x="1108" y="652"/>
                    </a:lnTo>
                    <a:lnTo>
                      <a:pt x="1106" y="652"/>
                    </a:lnTo>
                    <a:lnTo>
                      <a:pt x="1106" y="652"/>
                    </a:lnTo>
                    <a:lnTo>
                      <a:pt x="1104" y="652"/>
                    </a:lnTo>
                    <a:lnTo>
                      <a:pt x="1104" y="652"/>
                    </a:lnTo>
                    <a:lnTo>
                      <a:pt x="1104" y="652"/>
                    </a:lnTo>
                    <a:lnTo>
                      <a:pt x="1102" y="654"/>
                    </a:lnTo>
                    <a:lnTo>
                      <a:pt x="1102" y="654"/>
                    </a:lnTo>
                    <a:lnTo>
                      <a:pt x="1102" y="654"/>
                    </a:lnTo>
                    <a:lnTo>
                      <a:pt x="1102" y="656"/>
                    </a:lnTo>
                    <a:lnTo>
                      <a:pt x="1100" y="656"/>
                    </a:lnTo>
                    <a:lnTo>
                      <a:pt x="1100" y="656"/>
                    </a:lnTo>
                    <a:lnTo>
                      <a:pt x="1100" y="658"/>
                    </a:lnTo>
                    <a:lnTo>
                      <a:pt x="1100" y="658"/>
                    </a:lnTo>
                    <a:lnTo>
                      <a:pt x="1100" y="658"/>
                    </a:lnTo>
                    <a:lnTo>
                      <a:pt x="1098" y="656"/>
                    </a:lnTo>
                    <a:lnTo>
                      <a:pt x="1098" y="656"/>
                    </a:lnTo>
                    <a:lnTo>
                      <a:pt x="1098" y="656"/>
                    </a:lnTo>
                    <a:lnTo>
                      <a:pt x="1096" y="656"/>
                    </a:lnTo>
                    <a:lnTo>
                      <a:pt x="1096" y="656"/>
                    </a:lnTo>
                    <a:lnTo>
                      <a:pt x="1096" y="658"/>
                    </a:lnTo>
                    <a:lnTo>
                      <a:pt x="1094" y="658"/>
                    </a:lnTo>
                    <a:lnTo>
                      <a:pt x="1094" y="658"/>
                    </a:lnTo>
                    <a:lnTo>
                      <a:pt x="1094" y="658"/>
                    </a:lnTo>
                    <a:lnTo>
                      <a:pt x="1090" y="660"/>
                    </a:lnTo>
                    <a:lnTo>
                      <a:pt x="1086" y="664"/>
                    </a:lnTo>
                    <a:lnTo>
                      <a:pt x="1084" y="666"/>
                    </a:lnTo>
                    <a:lnTo>
                      <a:pt x="1082" y="668"/>
                    </a:lnTo>
                    <a:lnTo>
                      <a:pt x="1082" y="668"/>
                    </a:lnTo>
                    <a:lnTo>
                      <a:pt x="1082" y="668"/>
                    </a:lnTo>
                    <a:lnTo>
                      <a:pt x="1080" y="668"/>
                    </a:lnTo>
                    <a:lnTo>
                      <a:pt x="1078" y="672"/>
                    </a:lnTo>
                    <a:lnTo>
                      <a:pt x="1078" y="672"/>
                    </a:lnTo>
                    <a:lnTo>
                      <a:pt x="1078" y="674"/>
                    </a:lnTo>
                    <a:lnTo>
                      <a:pt x="1076" y="674"/>
                    </a:lnTo>
                    <a:lnTo>
                      <a:pt x="1074" y="674"/>
                    </a:lnTo>
                    <a:lnTo>
                      <a:pt x="1072" y="676"/>
                    </a:lnTo>
                    <a:lnTo>
                      <a:pt x="1068" y="676"/>
                    </a:lnTo>
                    <a:lnTo>
                      <a:pt x="1064" y="678"/>
                    </a:lnTo>
                    <a:lnTo>
                      <a:pt x="1060" y="678"/>
                    </a:lnTo>
                    <a:lnTo>
                      <a:pt x="1060" y="678"/>
                    </a:lnTo>
                    <a:lnTo>
                      <a:pt x="1060" y="678"/>
                    </a:lnTo>
                    <a:lnTo>
                      <a:pt x="1062" y="676"/>
                    </a:lnTo>
                    <a:lnTo>
                      <a:pt x="1062" y="676"/>
                    </a:lnTo>
                    <a:lnTo>
                      <a:pt x="1062" y="676"/>
                    </a:lnTo>
                    <a:lnTo>
                      <a:pt x="1062" y="674"/>
                    </a:lnTo>
                    <a:lnTo>
                      <a:pt x="1064" y="670"/>
                    </a:lnTo>
                    <a:lnTo>
                      <a:pt x="1064" y="668"/>
                    </a:lnTo>
                    <a:lnTo>
                      <a:pt x="1064" y="664"/>
                    </a:lnTo>
                    <a:lnTo>
                      <a:pt x="1064" y="660"/>
                    </a:lnTo>
                    <a:lnTo>
                      <a:pt x="1064" y="658"/>
                    </a:lnTo>
                    <a:lnTo>
                      <a:pt x="1064" y="654"/>
                    </a:lnTo>
                    <a:lnTo>
                      <a:pt x="1064" y="654"/>
                    </a:lnTo>
                    <a:lnTo>
                      <a:pt x="1064" y="654"/>
                    </a:lnTo>
                    <a:lnTo>
                      <a:pt x="1064" y="652"/>
                    </a:lnTo>
                    <a:lnTo>
                      <a:pt x="1064" y="652"/>
                    </a:lnTo>
                    <a:lnTo>
                      <a:pt x="1062" y="652"/>
                    </a:lnTo>
                    <a:lnTo>
                      <a:pt x="1062" y="650"/>
                    </a:lnTo>
                    <a:lnTo>
                      <a:pt x="1062" y="650"/>
                    </a:lnTo>
                    <a:lnTo>
                      <a:pt x="1060" y="650"/>
                    </a:lnTo>
                    <a:lnTo>
                      <a:pt x="1058" y="650"/>
                    </a:lnTo>
                    <a:lnTo>
                      <a:pt x="1058" y="650"/>
                    </a:lnTo>
                    <a:lnTo>
                      <a:pt x="1058" y="650"/>
                    </a:lnTo>
                    <a:lnTo>
                      <a:pt x="1056" y="652"/>
                    </a:lnTo>
                    <a:lnTo>
                      <a:pt x="1056" y="652"/>
                    </a:lnTo>
                    <a:lnTo>
                      <a:pt x="1056" y="652"/>
                    </a:lnTo>
                    <a:lnTo>
                      <a:pt x="1054" y="652"/>
                    </a:lnTo>
                    <a:lnTo>
                      <a:pt x="1052" y="656"/>
                    </a:lnTo>
                    <a:lnTo>
                      <a:pt x="1050" y="656"/>
                    </a:lnTo>
                    <a:lnTo>
                      <a:pt x="1050" y="656"/>
                    </a:lnTo>
                    <a:lnTo>
                      <a:pt x="1048" y="656"/>
                    </a:lnTo>
                    <a:lnTo>
                      <a:pt x="1046" y="658"/>
                    </a:lnTo>
                    <a:lnTo>
                      <a:pt x="1044" y="658"/>
                    </a:lnTo>
                    <a:lnTo>
                      <a:pt x="1042" y="658"/>
                    </a:lnTo>
                    <a:lnTo>
                      <a:pt x="1042" y="658"/>
                    </a:lnTo>
                    <a:lnTo>
                      <a:pt x="1042" y="656"/>
                    </a:lnTo>
                    <a:lnTo>
                      <a:pt x="1042" y="654"/>
                    </a:lnTo>
                    <a:lnTo>
                      <a:pt x="1044" y="652"/>
                    </a:lnTo>
                    <a:lnTo>
                      <a:pt x="1046" y="648"/>
                    </a:lnTo>
                    <a:lnTo>
                      <a:pt x="1050" y="642"/>
                    </a:lnTo>
                    <a:lnTo>
                      <a:pt x="1050" y="638"/>
                    </a:lnTo>
                    <a:lnTo>
                      <a:pt x="1052" y="636"/>
                    </a:lnTo>
                    <a:lnTo>
                      <a:pt x="1054" y="630"/>
                    </a:lnTo>
                    <a:lnTo>
                      <a:pt x="1054" y="624"/>
                    </a:lnTo>
                    <a:lnTo>
                      <a:pt x="1054" y="624"/>
                    </a:lnTo>
                    <a:lnTo>
                      <a:pt x="1054" y="624"/>
                    </a:lnTo>
                    <a:lnTo>
                      <a:pt x="1054" y="620"/>
                    </a:lnTo>
                    <a:lnTo>
                      <a:pt x="1054" y="620"/>
                    </a:lnTo>
                    <a:lnTo>
                      <a:pt x="1054" y="620"/>
                    </a:lnTo>
                    <a:lnTo>
                      <a:pt x="1052" y="618"/>
                    </a:lnTo>
                    <a:lnTo>
                      <a:pt x="1052" y="618"/>
                    </a:lnTo>
                    <a:lnTo>
                      <a:pt x="1052" y="618"/>
                    </a:lnTo>
                    <a:lnTo>
                      <a:pt x="1052" y="616"/>
                    </a:lnTo>
                    <a:lnTo>
                      <a:pt x="1052" y="616"/>
                    </a:lnTo>
                    <a:lnTo>
                      <a:pt x="1050" y="614"/>
                    </a:lnTo>
                    <a:lnTo>
                      <a:pt x="1050" y="614"/>
                    </a:lnTo>
                    <a:lnTo>
                      <a:pt x="1050" y="614"/>
                    </a:lnTo>
                    <a:lnTo>
                      <a:pt x="1048" y="612"/>
                    </a:lnTo>
                    <a:lnTo>
                      <a:pt x="1046" y="612"/>
                    </a:lnTo>
                    <a:lnTo>
                      <a:pt x="1046" y="612"/>
                    </a:lnTo>
                    <a:lnTo>
                      <a:pt x="1046" y="612"/>
                    </a:lnTo>
                    <a:lnTo>
                      <a:pt x="1042" y="612"/>
                    </a:lnTo>
                    <a:lnTo>
                      <a:pt x="1040" y="612"/>
                    </a:lnTo>
                    <a:lnTo>
                      <a:pt x="1040" y="610"/>
                    </a:lnTo>
                    <a:lnTo>
                      <a:pt x="1044" y="610"/>
                    </a:lnTo>
                    <a:lnTo>
                      <a:pt x="1046" y="608"/>
                    </a:lnTo>
                    <a:lnTo>
                      <a:pt x="1046" y="608"/>
                    </a:lnTo>
                    <a:lnTo>
                      <a:pt x="1046" y="608"/>
                    </a:lnTo>
                    <a:lnTo>
                      <a:pt x="1048" y="608"/>
                    </a:lnTo>
                    <a:lnTo>
                      <a:pt x="1048" y="608"/>
                    </a:lnTo>
                    <a:lnTo>
                      <a:pt x="1048" y="606"/>
                    </a:lnTo>
                    <a:lnTo>
                      <a:pt x="1050" y="604"/>
                    </a:lnTo>
                    <a:lnTo>
                      <a:pt x="1050" y="604"/>
                    </a:lnTo>
                    <a:lnTo>
                      <a:pt x="1050" y="604"/>
                    </a:lnTo>
                    <a:lnTo>
                      <a:pt x="1052" y="600"/>
                    </a:lnTo>
                    <a:lnTo>
                      <a:pt x="1052" y="600"/>
                    </a:lnTo>
                    <a:lnTo>
                      <a:pt x="1052" y="600"/>
                    </a:lnTo>
                    <a:lnTo>
                      <a:pt x="1052" y="596"/>
                    </a:lnTo>
                    <a:lnTo>
                      <a:pt x="1052" y="596"/>
                    </a:lnTo>
                    <a:lnTo>
                      <a:pt x="1050" y="596"/>
                    </a:lnTo>
                    <a:lnTo>
                      <a:pt x="1050" y="594"/>
                    </a:lnTo>
                    <a:lnTo>
                      <a:pt x="1050" y="594"/>
                    </a:lnTo>
                    <a:lnTo>
                      <a:pt x="1048" y="592"/>
                    </a:lnTo>
                    <a:lnTo>
                      <a:pt x="1048" y="592"/>
                    </a:lnTo>
                    <a:lnTo>
                      <a:pt x="1046" y="592"/>
                    </a:lnTo>
                    <a:lnTo>
                      <a:pt x="1042" y="592"/>
                    </a:lnTo>
                    <a:lnTo>
                      <a:pt x="1036" y="590"/>
                    </a:lnTo>
                    <a:lnTo>
                      <a:pt x="1032" y="590"/>
                    </a:lnTo>
                    <a:lnTo>
                      <a:pt x="1030" y="590"/>
                    </a:lnTo>
                    <a:lnTo>
                      <a:pt x="1026" y="588"/>
                    </a:lnTo>
                    <a:lnTo>
                      <a:pt x="1022" y="588"/>
                    </a:lnTo>
                    <a:lnTo>
                      <a:pt x="1020" y="586"/>
                    </a:lnTo>
                    <a:lnTo>
                      <a:pt x="1018" y="584"/>
                    </a:lnTo>
                    <a:lnTo>
                      <a:pt x="1016" y="582"/>
                    </a:lnTo>
                    <a:lnTo>
                      <a:pt x="1014" y="580"/>
                    </a:lnTo>
                    <a:lnTo>
                      <a:pt x="1012" y="576"/>
                    </a:lnTo>
                    <a:lnTo>
                      <a:pt x="1008" y="572"/>
                    </a:lnTo>
                    <a:lnTo>
                      <a:pt x="1006" y="568"/>
                    </a:lnTo>
                    <a:lnTo>
                      <a:pt x="1004" y="564"/>
                    </a:lnTo>
                    <a:lnTo>
                      <a:pt x="1002" y="562"/>
                    </a:lnTo>
                    <a:lnTo>
                      <a:pt x="1000" y="558"/>
                    </a:lnTo>
                    <a:lnTo>
                      <a:pt x="998" y="556"/>
                    </a:lnTo>
                    <a:lnTo>
                      <a:pt x="996" y="554"/>
                    </a:lnTo>
                    <a:lnTo>
                      <a:pt x="994" y="552"/>
                    </a:lnTo>
                    <a:lnTo>
                      <a:pt x="994" y="552"/>
                    </a:lnTo>
                    <a:lnTo>
                      <a:pt x="994" y="552"/>
                    </a:lnTo>
                    <a:lnTo>
                      <a:pt x="990" y="550"/>
                    </a:lnTo>
                    <a:lnTo>
                      <a:pt x="990" y="550"/>
                    </a:lnTo>
                    <a:lnTo>
                      <a:pt x="990" y="550"/>
                    </a:lnTo>
                    <a:lnTo>
                      <a:pt x="988" y="550"/>
                    </a:lnTo>
                    <a:lnTo>
                      <a:pt x="988" y="550"/>
                    </a:lnTo>
                    <a:lnTo>
                      <a:pt x="988" y="550"/>
                    </a:lnTo>
                    <a:lnTo>
                      <a:pt x="986" y="550"/>
                    </a:lnTo>
                    <a:lnTo>
                      <a:pt x="986" y="550"/>
                    </a:lnTo>
                    <a:lnTo>
                      <a:pt x="986" y="550"/>
                    </a:lnTo>
                    <a:lnTo>
                      <a:pt x="984" y="550"/>
                    </a:lnTo>
                    <a:lnTo>
                      <a:pt x="984" y="550"/>
                    </a:lnTo>
                    <a:lnTo>
                      <a:pt x="984" y="550"/>
                    </a:lnTo>
                    <a:lnTo>
                      <a:pt x="980" y="550"/>
                    </a:lnTo>
                    <a:lnTo>
                      <a:pt x="978" y="552"/>
                    </a:lnTo>
                    <a:lnTo>
                      <a:pt x="976" y="552"/>
                    </a:lnTo>
                    <a:lnTo>
                      <a:pt x="974" y="552"/>
                    </a:lnTo>
                    <a:lnTo>
                      <a:pt x="972" y="552"/>
                    </a:lnTo>
                    <a:lnTo>
                      <a:pt x="966" y="552"/>
                    </a:lnTo>
                    <a:lnTo>
                      <a:pt x="962" y="552"/>
                    </a:lnTo>
                    <a:lnTo>
                      <a:pt x="958" y="552"/>
                    </a:lnTo>
                    <a:lnTo>
                      <a:pt x="956" y="552"/>
                    </a:lnTo>
                    <a:lnTo>
                      <a:pt x="952" y="550"/>
                    </a:lnTo>
                    <a:lnTo>
                      <a:pt x="950" y="548"/>
                    </a:lnTo>
                    <a:lnTo>
                      <a:pt x="946" y="546"/>
                    </a:lnTo>
                    <a:lnTo>
                      <a:pt x="944" y="546"/>
                    </a:lnTo>
                    <a:lnTo>
                      <a:pt x="940" y="544"/>
                    </a:lnTo>
                    <a:lnTo>
                      <a:pt x="940" y="544"/>
                    </a:lnTo>
                    <a:lnTo>
                      <a:pt x="940" y="544"/>
                    </a:lnTo>
                    <a:lnTo>
                      <a:pt x="938" y="544"/>
                    </a:lnTo>
                    <a:lnTo>
                      <a:pt x="938" y="544"/>
                    </a:lnTo>
                    <a:lnTo>
                      <a:pt x="936" y="544"/>
                    </a:lnTo>
                    <a:lnTo>
                      <a:pt x="934" y="544"/>
                    </a:lnTo>
                    <a:lnTo>
                      <a:pt x="934" y="544"/>
                    </a:lnTo>
                    <a:lnTo>
                      <a:pt x="932" y="544"/>
                    </a:lnTo>
                    <a:lnTo>
                      <a:pt x="930" y="546"/>
                    </a:lnTo>
                    <a:lnTo>
                      <a:pt x="930" y="546"/>
                    </a:lnTo>
                    <a:lnTo>
                      <a:pt x="930" y="546"/>
                    </a:lnTo>
                    <a:lnTo>
                      <a:pt x="928" y="550"/>
                    </a:lnTo>
                    <a:lnTo>
                      <a:pt x="928" y="552"/>
                    </a:lnTo>
                    <a:lnTo>
                      <a:pt x="926" y="556"/>
                    </a:lnTo>
                    <a:lnTo>
                      <a:pt x="924" y="564"/>
                    </a:lnTo>
                    <a:lnTo>
                      <a:pt x="924" y="568"/>
                    </a:lnTo>
                    <a:lnTo>
                      <a:pt x="922" y="572"/>
                    </a:lnTo>
                    <a:lnTo>
                      <a:pt x="924" y="576"/>
                    </a:lnTo>
                    <a:lnTo>
                      <a:pt x="924" y="576"/>
                    </a:lnTo>
                    <a:lnTo>
                      <a:pt x="924" y="576"/>
                    </a:lnTo>
                    <a:lnTo>
                      <a:pt x="924" y="578"/>
                    </a:lnTo>
                    <a:lnTo>
                      <a:pt x="924" y="578"/>
                    </a:lnTo>
                    <a:lnTo>
                      <a:pt x="924" y="578"/>
                    </a:lnTo>
                    <a:lnTo>
                      <a:pt x="926" y="584"/>
                    </a:lnTo>
                    <a:lnTo>
                      <a:pt x="928" y="590"/>
                    </a:lnTo>
                    <a:lnTo>
                      <a:pt x="930" y="592"/>
                    </a:lnTo>
                    <a:lnTo>
                      <a:pt x="930" y="594"/>
                    </a:lnTo>
                    <a:lnTo>
                      <a:pt x="932" y="600"/>
                    </a:lnTo>
                    <a:lnTo>
                      <a:pt x="934" y="606"/>
                    </a:lnTo>
                    <a:lnTo>
                      <a:pt x="934" y="612"/>
                    </a:lnTo>
                    <a:lnTo>
                      <a:pt x="934" y="618"/>
                    </a:lnTo>
                    <a:lnTo>
                      <a:pt x="934" y="624"/>
                    </a:lnTo>
                    <a:lnTo>
                      <a:pt x="932" y="630"/>
                    </a:lnTo>
                    <a:lnTo>
                      <a:pt x="930" y="636"/>
                    </a:lnTo>
                    <a:lnTo>
                      <a:pt x="928" y="642"/>
                    </a:lnTo>
                    <a:lnTo>
                      <a:pt x="928" y="644"/>
                    </a:lnTo>
                    <a:lnTo>
                      <a:pt x="926" y="646"/>
                    </a:lnTo>
                    <a:lnTo>
                      <a:pt x="924" y="650"/>
                    </a:lnTo>
                    <a:lnTo>
                      <a:pt x="922" y="652"/>
                    </a:lnTo>
                    <a:lnTo>
                      <a:pt x="922" y="652"/>
                    </a:lnTo>
                    <a:lnTo>
                      <a:pt x="922" y="654"/>
                    </a:lnTo>
                    <a:lnTo>
                      <a:pt x="922" y="656"/>
                    </a:lnTo>
                    <a:lnTo>
                      <a:pt x="922" y="656"/>
                    </a:lnTo>
                    <a:lnTo>
                      <a:pt x="920" y="656"/>
                    </a:lnTo>
                    <a:lnTo>
                      <a:pt x="920" y="660"/>
                    </a:lnTo>
                    <a:lnTo>
                      <a:pt x="920" y="660"/>
                    </a:lnTo>
                    <a:lnTo>
                      <a:pt x="922" y="660"/>
                    </a:lnTo>
                    <a:lnTo>
                      <a:pt x="922" y="664"/>
                    </a:lnTo>
                    <a:lnTo>
                      <a:pt x="922" y="664"/>
                    </a:lnTo>
                    <a:lnTo>
                      <a:pt x="922" y="664"/>
                    </a:lnTo>
                    <a:lnTo>
                      <a:pt x="924" y="666"/>
                    </a:lnTo>
                    <a:lnTo>
                      <a:pt x="924" y="666"/>
                    </a:lnTo>
                    <a:lnTo>
                      <a:pt x="924" y="666"/>
                    </a:lnTo>
                    <a:lnTo>
                      <a:pt x="924" y="668"/>
                    </a:lnTo>
                    <a:lnTo>
                      <a:pt x="924" y="668"/>
                    </a:lnTo>
                    <a:lnTo>
                      <a:pt x="926" y="668"/>
                    </a:lnTo>
                    <a:lnTo>
                      <a:pt x="928" y="670"/>
                    </a:lnTo>
                    <a:lnTo>
                      <a:pt x="934" y="674"/>
                    </a:lnTo>
                    <a:lnTo>
                      <a:pt x="938" y="676"/>
                    </a:lnTo>
                    <a:lnTo>
                      <a:pt x="944" y="680"/>
                    </a:lnTo>
                    <a:lnTo>
                      <a:pt x="948" y="682"/>
                    </a:lnTo>
                    <a:lnTo>
                      <a:pt x="950" y="686"/>
                    </a:lnTo>
                    <a:lnTo>
                      <a:pt x="950" y="688"/>
                    </a:lnTo>
                    <a:lnTo>
                      <a:pt x="952" y="690"/>
                    </a:lnTo>
                    <a:lnTo>
                      <a:pt x="952" y="692"/>
                    </a:lnTo>
                    <a:lnTo>
                      <a:pt x="952" y="694"/>
                    </a:lnTo>
                    <a:lnTo>
                      <a:pt x="952" y="702"/>
                    </a:lnTo>
                    <a:lnTo>
                      <a:pt x="952" y="708"/>
                    </a:lnTo>
                    <a:lnTo>
                      <a:pt x="950" y="716"/>
                    </a:lnTo>
                    <a:lnTo>
                      <a:pt x="948" y="724"/>
                    </a:lnTo>
                    <a:lnTo>
                      <a:pt x="946" y="730"/>
                    </a:lnTo>
                    <a:lnTo>
                      <a:pt x="944" y="736"/>
                    </a:lnTo>
                    <a:lnTo>
                      <a:pt x="944" y="738"/>
                    </a:lnTo>
                    <a:lnTo>
                      <a:pt x="942" y="740"/>
                    </a:lnTo>
                    <a:lnTo>
                      <a:pt x="942" y="744"/>
                    </a:lnTo>
                    <a:lnTo>
                      <a:pt x="940" y="746"/>
                    </a:lnTo>
                    <a:lnTo>
                      <a:pt x="936" y="748"/>
                    </a:lnTo>
                    <a:lnTo>
                      <a:pt x="934" y="748"/>
                    </a:lnTo>
                    <a:lnTo>
                      <a:pt x="932" y="750"/>
                    </a:lnTo>
                    <a:lnTo>
                      <a:pt x="930" y="750"/>
                    </a:lnTo>
                    <a:lnTo>
                      <a:pt x="926" y="750"/>
                    </a:lnTo>
                    <a:lnTo>
                      <a:pt x="924" y="750"/>
                    </a:lnTo>
                    <a:lnTo>
                      <a:pt x="922" y="752"/>
                    </a:lnTo>
                    <a:lnTo>
                      <a:pt x="920" y="750"/>
                    </a:lnTo>
                    <a:lnTo>
                      <a:pt x="920" y="750"/>
                    </a:lnTo>
                    <a:lnTo>
                      <a:pt x="916" y="750"/>
                    </a:lnTo>
                    <a:lnTo>
                      <a:pt x="914" y="750"/>
                    </a:lnTo>
                    <a:lnTo>
                      <a:pt x="914" y="750"/>
                    </a:lnTo>
                    <a:lnTo>
                      <a:pt x="914" y="750"/>
                    </a:lnTo>
                    <a:lnTo>
                      <a:pt x="912" y="750"/>
                    </a:lnTo>
                    <a:lnTo>
                      <a:pt x="912" y="750"/>
                    </a:lnTo>
                    <a:lnTo>
                      <a:pt x="912" y="750"/>
                    </a:lnTo>
                    <a:lnTo>
                      <a:pt x="910" y="750"/>
                    </a:lnTo>
                    <a:lnTo>
                      <a:pt x="910" y="750"/>
                    </a:lnTo>
                    <a:lnTo>
                      <a:pt x="908" y="752"/>
                    </a:lnTo>
                    <a:lnTo>
                      <a:pt x="908" y="752"/>
                    </a:lnTo>
                    <a:lnTo>
                      <a:pt x="908" y="752"/>
                    </a:lnTo>
                    <a:lnTo>
                      <a:pt x="908" y="754"/>
                    </a:lnTo>
                    <a:lnTo>
                      <a:pt x="906" y="756"/>
                    </a:lnTo>
                    <a:lnTo>
                      <a:pt x="906" y="756"/>
                    </a:lnTo>
                    <a:lnTo>
                      <a:pt x="906" y="756"/>
                    </a:lnTo>
                    <a:lnTo>
                      <a:pt x="906" y="758"/>
                    </a:lnTo>
                    <a:lnTo>
                      <a:pt x="906" y="762"/>
                    </a:lnTo>
                    <a:lnTo>
                      <a:pt x="908" y="766"/>
                    </a:lnTo>
                    <a:lnTo>
                      <a:pt x="908" y="774"/>
                    </a:lnTo>
                    <a:lnTo>
                      <a:pt x="910" y="778"/>
                    </a:lnTo>
                    <a:lnTo>
                      <a:pt x="910" y="782"/>
                    </a:lnTo>
                    <a:lnTo>
                      <a:pt x="912" y="786"/>
                    </a:lnTo>
                    <a:lnTo>
                      <a:pt x="912" y="790"/>
                    </a:lnTo>
                    <a:lnTo>
                      <a:pt x="916" y="798"/>
                    </a:lnTo>
                    <a:lnTo>
                      <a:pt x="918" y="806"/>
                    </a:lnTo>
                    <a:lnTo>
                      <a:pt x="920" y="810"/>
                    </a:lnTo>
                    <a:lnTo>
                      <a:pt x="920" y="812"/>
                    </a:lnTo>
                    <a:lnTo>
                      <a:pt x="920" y="816"/>
                    </a:lnTo>
                    <a:lnTo>
                      <a:pt x="920" y="818"/>
                    </a:lnTo>
                    <a:lnTo>
                      <a:pt x="920" y="824"/>
                    </a:lnTo>
                    <a:lnTo>
                      <a:pt x="918" y="828"/>
                    </a:lnTo>
                    <a:lnTo>
                      <a:pt x="916" y="832"/>
                    </a:lnTo>
                    <a:lnTo>
                      <a:pt x="914" y="836"/>
                    </a:lnTo>
                    <a:lnTo>
                      <a:pt x="914" y="840"/>
                    </a:lnTo>
                    <a:lnTo>
                      <a:pt x="912" y="842"/>
                    </a:lnTo>
                    <a:lnTo>
                      <a:pt x="912" y="844"/>
                    </a:lnTo>
                    <a:lnTo>
                      <a:pt x="912" y="844"/>
                    </a:lnTo>
                    <a:lnTo>
                      <a:pt x="910" y="844"/>
                    </a:lnTo>
                    <a:lnTo>
                      <a:pt x="908" y="846"/>
                    </a:lnTo>
                    <a:lnTo>
                      <a:pt x="904" y="846"/>
                    </a:lnTo>
                    <a:lnTo>
                      <a:pt x="900" y="846"/>
                    </a:lnTo>
                    <a:lnTo>
                      <a:pt x="900" y="844"/>
                    </a:lnTo>
                    <a:lnTo>
                      <a:pt x="898" y="844"/>
                    </a:lnTo>
                    <a:lnTo>
                      <a:pt x="894" y="842"/>
                    </a:lnTo>
                    <a:lnTo>
                      <a:pt x="892" y="838"/>
                    </a:lnTo>
                    <a:lnTo>
                      <a:pt x="888" y="834"/>
                    </a:lnTo>
                    <a:lnTo>
                      <a:pt x="886" y="830"/>
                    </a:lnTo>
                    <a:lnTo>
                      <a:pt x="884" y="828"/>
                    </a:lnTo>
                    <a:lnTo>
                      <a:pt x="880" y="826"/>
                    </a:lnTo>
                    <a:lnTo>
                      <a:pt x="876" y="820"/>
                    </a:lnTo>
                    <a:lnTo>
                      <a:pt x="874" y="818"/>
                    </a:lnTo>
                    <a:lnTo>
                      <a:pt x="872" y="816"/>
                    </a:lnTo>
                    <a:lnTo>
                      <a:pt x="870" y="812"/>
                    </a:lnTo>
                    <a:lnTo>
                      <a:pt x="870" y="810"/>
                    </a:lnTo>
                    <a:lnTo>
                      <a:pt x="868" y="804"/>
                    </a:lnTo>
                    <a:lnTo>
                      <a:pt x="868" y="798"/>
                    </a:lnTo>
                    <a:lnTo>
                      <a:pt x="868" y="792"/>
                    </a:lnTo>
                    <a:lnTo>
                      <a:pt x="866" y="786"/>
                    </a:lnTo>
                    <a:lnTo>
                      <a:pt x="866" y="778"/>
                    </a:lnTo>
                    <a:lnTo>
                      <a:pt x="866" y="772"/>
                    </a:lnTo>
                    <a:lnTo>
                      <a:pt x="866" y="766"/>
                    </a:lnTo>
                    <a:lnTo>
                      <a:pt x="866" y="762"/>
                    </a:lnTo>
                    <a:lnTo>
                      <a:pt x="864" y="758"/>
                    </a:lnTo>
                    <a:lnTo>
                      <a:pt x="864" y="756"/>
                    </a:lnTo>
                    <a:lnTo>
                      <a:pt x="864" y="754"/>
                    </a:lnTo>
                    <a:lnTo>
                      <a:pt x="864" y="752"/>
                    </a:lnTo>
                    <a:lnTo>
                      <a:pt x="864" y="752"/>
                    </a:lnTo>
                    <a:lnTo>
                      <a:pt x="864" y="752"/>
                    </a:lnTo>
                    <a:lnTo>
                      <a:pt x="864" y="750"/>
                    </a:lnTo>
                    <a:lnTo>
                      <a:pt x="864" y="750"/>
                    </a:lnTo>
                    <a:lnTo>
                      <a:pt x="864" y="750"/>
                    </a:lnTo>
                    <a:lnTo>
                      <a:pt x="862" y="748"/>
                    </a:lnTo>
                    <a:lnTo>
                      <a:pt x="862" y="748"/>
                    </a:lnTo>
                    <a:lnTo>
                      <a:pt x="862" y="748"/>
                    </a:lnTo>
                    <a:lnTo>
                      <a:pt x="860" y="746"/>
                    </a:lnTo>
                    <a:lnTo>
                      <a:pt x="858" y="746"/>
                    </a:lnTo>
                    <a:lnTo>
                      <a:pt x="858" y="746"/>
                    </a:lnTo>
                    <a:lnTo>
                      <a:pt x="858" y="744"/>
                    </a:lnTo>
                    <a:lnTo>
                      <a:pt x="854" y="744"/>
                    </a:lnTo>
                    <a:lnTo>
                      <a:pt x="854" y="744"/>
                    </a:lnTo>
                    <a:lnTo>
                      <a:pt x="854" y="744"/>
                    </a:lnTo>
                    <a:lnTo>
                      <a:pt x="848" y="742"/>
                    </a:lnTo>
                    <a:lnTo>
                      <a:pt x="844" y="742"/>
                    </a:lnTo>
                    <a:lnTo>
                      <a:pt x="838" y="742"/>
                    </a:lnTo>
                    <a:lnTo>
                      <a:pt x="832" y="740"/>
                    </a:lnTo>
                    <a:lnTo>
                      <a:pt x="824" y="740"/>
                    </a:lnTo>
                    <a:lnTo>
                      <a:pt x="820" y="738"/>
                    </a:lnTo>
                    <a:lnTo>
                      <a:pt x="814" y="738"/>
                    </a:lnTo>
                    <a:lnTo>
                      <a:pt x="810" y="734"/>
                    </a:lnTo>
                    <a:lnTo>
                      <a:pt x="804" y="730"/>
                    </a:lnTo>
                    <a:lnTo>
                      <a:pt x="798" y="726"/>
                    </a:lnTo>
                    <a:lnTo>
                      <a:pt x="794" y="722"/>
                    </a:lnTo>
                    <a:lnTo>
                      <a:pt x="788" y="718"/>
                    </a:lnTo>
                    <a:lnTo>
                      <a:pt x="784" y="714"/>
                    </a:lnTo>
                    <a:lnTo>
                      <a:pt x="780" y="710"/>
                    </a:lnTo>
                    <a:lnTo>
                      <a:pt x="776" y="708"/>
                    </a:lnTo>
                    <a:lnTo>
                      <a:pt x="772" y="706"/>
                    </a:lnTo>
                    <a:lnTo>
                      <a:pt x="768" y="704"/>
                    </a:lnTo>
                    <a:lnTo>
                      <a:pt x="764" y="704"/>
                    </a:lnTo>
                    <a:lnTo>
                      <a:pt x="762" y="702"/>
                    </a:lnTo>
                    <a:lnTo>
                      <a:pt x="756" y="702"/>
                    </a:lnTo>
                    <a:lnTo>
                      <a:pt x="754" y="702"/>
                    </a:lnTo>
                    <a:lnTo>
                      <a:pt x="752" y="700"/>
                    </a:lnTo>
                    <a:lnTo>
                      <a:pt x="750" y="700"/>
                    </a:lnTo>
                    <a:lnTo>
                      <a:pt x="748" y="698"/>
                    </a:lnTo>
                    <a:lnTo>
                      <a:pt x="746" y="696"/>
                    </a:lnTo>
                    <a:lnTo>
                      <a:pt x="744" y="694"/>
                    </a:lnTo>
                    <a:lnTo>
                      <a:pt x="744" y="694"/>
                    </a:lnTo>
                    <a:lnTo>
                      <a:pt x="744" y="694"/>
                    </a:lnTo>
                    <a:lnTo>
                      <a:pt x="742" y="694"/>
                    </a:lnTo>
                    <a:lnTo>
                      <a:pt x="742" y="694"/>
                    </a:lnTo>
                    <a:lnTo>
                      <a:pt x="742" y="692"/>
                    </a:lnTo>
                    <a:lnTo>
                      <a:pt x="740" y="692"/>
                    </a:lnTo>
                    <a:lnTo>
                      <a:pt x="740" y="692"/>
                    </a:lnTo>
                    <a:lnTo>
                      <a:pt x="738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4" y="694"/>
                    </a:lnTo>
                    <a:lnTo>
                      <a:pt x="734" y="694"/>
                    </a:lnTo>
                    <a:lnTo>
                      <a:pt x="734" y="694"/>
                    </a:lnTo>
                    <a:lnTo>
                      <a:pt x="732" y="694"/>
                    </a:lnTo>
                    <a:lnTo>
                      <a:pt x="730" y="696"/>
                    </a:lnTo>
                    <a:lnTo>
                      <a:pt x="726" y="698"/>
                    </a:lnTo>
                    <a:lnTo>
                      <a:pt x="726" y="698"/>
                    </a:lnTo>
                    <a:lnTo>
                      <a:pt x="724" y="698"/>
                    </a:lnTo>
                    <a:lnTo>
                      <a:pt x="724" y="698"/>
                    </a:lnTo>
                    <a:lnTo>
                      <a:pt x="724" y="698"/>
                    </a:lnTo>
                    <a:lnTo>
                      <a:pt x="722" y="696"/>
                    </a:lnTo>
                    <a:lnTo>
                      <a:pt x="722" y="692"/>
                    </a:lnTo>
                    <a:lnTo>
                      <a:pt x="720" y="690"/>
                    </a:lnTo>
                    <a:lnTo>
                      <a:pt x="718" y="682"/>
                    </a:lnTo>
                    <a:lnTo>
                      <a:pt x="716" y="680"/>
                    </a:lnTo>
                    <a:lnTo>
                      <a:pt x="714" y="676"/>
                    </a:lnTo>
                    <a:lnTo>
                      <a:pt x="714" y="674"/>
                    </a:lnTo>
                    <a:lnTo>
                      <a:pt x="714" y="670"/>
                    </a:lnTo>
                    <a:lnTo>
                      <a:pt x="712" y="664"/>
                    </a:lnTo>
                    <a:lnTo>
                      <a:pt x="712" y="660"/>
                    </a:lnTo>
                    <a:lnTo>
                      <a:pt x="710" y="658"/>
                    </a:lnTo>
                    <a:lnTo>
                      <a:pt x="710" y="658"/>
                    </a:lnTo>
                    <a:lnTo>
                      <a:pt x="710" y="658"/>
                    </a:lnTo>
                    <a:lnTo>
                      <a:pt x="710" y="654"/>
                    </a:lnTo>
                    <a:lnTo>
                      <a:pt x="710" y="654"/>
                    </a:lnTo>
                    <a:lnTo>
                      <a:pt x="710" y="654"/>
                    </a:lnTo>
                    <a:lnTo>
                      <a:pt x="708" y="652"/>
                    </a:lnTo>
                    <a:lnTo>
                      <a:pt x="708" y="652"/>
                    </a:lnTo>
                    <a:lnTo>
                      <a:pt x="706" y="652"/>
                    </a:lnTo>
                    <a:lnTo>
                      <a:pt x="704" y="650"/>
                    </a:lnTo>
                    <a:lnTo>
                      <a:pt x="704" y="650"/>
                    </a:lnTo>
                    <a:lnTo>
                      <a:pt x="704" y="650"/>
                    </a:lnTo>
                    <a:lnTo>
                      <a:pt x="700" y="650"/>
                    </a:lnTo>
                    <a:lnTo>
                      <a:pt x="700" y="650"/>
                    </a:lnTo>
                    <a:lnTo>
                      <a:pt x="700" y="650"/>
                    </a:lnTo>
                    <a:lnTo>
                      <a:pt x="698" y="650"/>
                    </a:lnTo>
                    <a:lnTo>
                      <a:pt x="694" y="652"/>
                    </a:lnTo>
                    <a:lnTo>
                      <a:pt x="692" y="652"/>
                    </a:lnTo>
                    <a:lnTo>
                      <a:pt x="690" y="652"/>
                    </a:lnTo>
                    <a:lnTo>
                      <a:pt x="688" y="650"/>
                    </a:lnTo>
                    <a:lnTo>
                      <a:pt x="688" y="650"/>
                    </a:lnTo>
                    <a:lnTo>
                      <a:pt x="688" y="650"/>
                    </a:lnTo>
                    <a:lnTo>
                      <a:pt x="686" y="646"/>
                    </a:lnTo>
                    <a:lnTo>
                      <a:pt x="686" y="642"/>
                    </a:lnTo>
                    <a:lnTo>
                      <a:pt x="686" y="638"/>
                    </a:lnTo>
                    <a:lnTo>
                      <a:pt x="686" y="632"/>
                    </a:lnTo>
                    <a:lnTo>
                      <a:pt x="686" y="626"/>
                    </a:lnTo>
                    <a:lnTo>
                      <a:pt x="686" y="620"/>
                    </a:lnTo>
                    <a:lnTo>
                      <a:pt x="686" y="614"/>
                    </a:lnTo>
                    <a:lnTo>
                      <a:pt x="688" y="608"/>
                    </a:lnTo>
                    <a:lnTo>
                      <a:pt x="688" y="602"/>
                    </a:lnTo>
                    <a:lnTo>
                      <a:pt x="690" y="596"/>
                    </a:lnTo>
                    <a:lnTo>
                      <a:pt x="694" y="590"/>
                    </a:lnTo>
                    <a:lnTo>
                      <a:pt x="696" y="584"/>
                    </a:lnTo>
                    <a:lnTo>
                      <a:pt x="702" y="572"/>
                    </a:lnTo>
                    <a:lnTo>
                      <a:pt x="704" y="566"/>
                    </a:lnTo>
                    <a:lnTo>
                      <a:pt x="708" y="562"/>
                    </a:lnTo>
                    <a:lnTo>
                      <a:pt x="710" y="558"/>
                    </a:lnTo>
                    <a:lnTo>
                      <a:pt x="714" y="554"/>
                    </a:lnTo>
                    <a:lnTo>
                      <a:pt x="722" y="546"/>
                    </a:lnTo>
                    <a:lnTo>
                      <a:pt x="728" y="538"/>
                    </a:lnTo>
                    <a:lnTo>
                      <a:pt x="732" y="536"/>
                    </a:lnTo>
                    <a:lnTo>
                      <a:pt x="734" y="534"/>
                    </a:lnTo>
                    <a:lnTo>
                      <a:pt x="738" y="532"/>
                    </a:lnTo>
                    <a:lnTo>
                      <a:pt x="740" y="530"/>
                    </a:lnTo>
                    <a:lnTo>
                      <a:pt x="742" y="530"/>
                    </a:lnTo>
                    <a:lnTo>
                      <a:pt x="744" y="530"/>
                    </a:lnTo>
                    <a:lnTo>
                      <a:pt x="744" y="528"/>
                    </a:lnTo>
                    <a:lnTo>
                      <a:pt x="746" y="528"/>
                    </a:lnTo>
                    <a:lnTo>
                      <a:pt x="746" y="528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50" y="524"/>
                    </a:lnTo>
                    <a:lnTo>
                      <a:pt x="750" y="524"/>
                    </a:lnTo>
                    <a:lnTo>
                      <a:pt x="750" y="522"/>
                    </a:lnTo>
                    <a:lnTo>
                      <a:pt x="750" y="520"/>
                    </a:lnTo>
                    <a:lnTo>
                      <a:pt x="750" y="520"/>
                    </a:lnTo>
                    <a:lnTo>
                      <a:pt x="750" y="518"/>
                    </a:lnTo>
                    <a:lnTo>
                      <a:pt x="750" y="516"/>
                    </a:lnTo>
                    <a:lnTo>
                      <a:pt x="750" y="514"/>
                    </a:lnTo>
                    <a:lnTo>
                      <a:pt x="750" y="514"/>
                    </a:lnTo>
                    <a:lnTo>
                      <a:pt x="748" y="514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0"/>
                    </a:lnTo>
                    <a:lnTo>
                      <a:pt x="748" y="510"/>
                    </a:lnTo>
                    <a:lnTo>
                      <a:pt x="748" y="510"/>
                    </a:lnTo>
                    <a:lnTo>
                      <a:pt x="750" y="510"/>
                    </a:lnTo>
                    <a:lnTo>
                      <a:pt x="750" y="508"/>
                    </a:lnTo>
                    <a:lnTo>
                      <a:pt x="750" y="508"/>
                    </a:lnTo>
                    <a:lnTo>
                      <a:pt x="752" y="506"/>
                    </a:lnTo>
                    <a:lnTo>
                      <a:pt x="752" y="504"/>
                    </a:lnTo>
                    <a:lnTo>
                      <a:pt x="754" y="500"/>
                    </a:lnTo>
                    <a:lnTo>
                      <a:pt x="754" y="496"/>
                    </a:lnTo>
                    <a:lnTo>
                      <a:pt x="756" y="494"/>
                    </a:lnTo>
                    <a:lnTo>
                      <a:pt x="756" y="492"/>
                    </a:lnTo>
                    <a:lnTo>
                      <a:pt x="756" y="492"/>
                    </a:lnTo>
                    <a:lnTo>
                      <a:pt x="758" y="492"/>
                    </a:lnTo>
                    <a:lnTo>
                      <a:pt x="760" y="494"/>
                    </a:lnTo>
                    <a:lnTo>
                      <a:pt x="760" y="496"/>
                    </a:lnTo>
                    <a:lnTo>
                      <a:pt x="760" y="496"/>
                    </a:lnTo>
                    <a:lnTo>
                      <a:pt x="762" y="496"/>
                    </a:lnTo>
                    <a:lnTo>
                      <a:pt x="764" y="496"/>
                    </a:lnTo>
                    <a:lnTo>
                      <a:pt x="764" y="496"/>
                    </a:lnTo>
                    <a:lnTo>
                      <a:pt x="764" y="496"/>
                    </a:lnTo>
                    <a:lnTo>
                      <a:pt x="766" y="496"/>
                    </a:lnTo>
                    <a:lnTo>
                      <a:pt x="766" y="496"/>
                    </a:lnTo>
                    <a:lnTo>
                      <a:pt x="768" y="496"/>
                    </a:lnTo>
                    <a:lnTo>
                      <a:pt x="768" y="496"/>
                    </a:lnTo>
                    <a:lnTo>
                      <a:pt x="768" y="496"/>
                    </a:lnTo>
                    <a:lnTo>
                      <a:pt x="770" y="496"/>
                    </a:lnTo>
                    <a:lnTo>
                      <a:pt x="770" y="496"/>
                    </a:lnTo>
                    <a:lnTo>
                      <a:pt x="774" y="492"/>
                    </a:lnTo>
                    <a:lnTo>
                      <a:pt x="778" y="490"/>
                    </a:lnTo>
                    <a:lnTo>
                      <a:pt x="782" y="484"/>
                    </a:lnTo>
                    <a:lnTo>
                      <a:pt x="786" y="480"/>
                    </a:lnTo>
                    <a:lnTo>
                      <a:pt x="790" y="476"/>
                    </a:lnTo>
                    <a:lnTo>
                      <a:pt x="794" y="470"/>
                    </a:lnTo>
                    <a:lnTo>
                      <a:pt x="794" y="468"/>
                    </a:lnTo>
                    <a:lnTo>
                      <a:pt x="796" y="466"/>
                    </a:lnTo>
                    <a:lnTo>
                      <a:pt x="796" y="466"/>
                    </a:lnTo>
                    <a:lnTo>
                      <a:pt x="796" y="466"/>
                    </a:lnTo>
                    <a:lnTo>
                      <a:pt x="796" y="464"/>
                    </a:lnTo>
                    <a:lnTo>
                      <a:pt x="796" y="464"/>
                    </a:lnTo>
                    <a:lnTo>
                      <a:pt x="796" y="464"/>
                    </a:lnTo>
                    <a:lnTo>
                      <a:pt x="798" y="462"/>
                    </a:lnTo>
                    <a:lnTo>
                      <a:pt x="798" y="462"/>
                    </a:lnTo>
                    <a:lnTo>
                      <a:pt x="798" y="460"/>
                    </a:lnTo>
                    <a:lnTo>
                      <a:pt x="796" y="460"/>
                    </a:lnTo>
                    <a:lnTo>
                      <a:pt x="796" y="460"/>
                    </a:lnTo>
                    <a:lnTo>
                      <a:pt x="796" y="458"/>
                    </a:lnTo>
                    <a:lnTo>
                      <a:pt x="796" y="458"/>
                    </a:lnTo>
                    <a:lnTo>
                      <a:pt x="796" y="458"/>
                    </a:lnTo>
                    <a:lnTo>
                      <a:pt x="796" y="456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2" y="454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6" y="452"/>
                    </a:lnTo>
                    <a:lnTo>
                      <a:pt x="796" y="452"/>
                    </a:lnTo>
                    <a:lnTo>
                      <a:pt x="796" y="450"/>
                    </a:lnTo>
                    <a:lnTo>
                      <a:pt x="798" y="448"/>
                    </a:lnTo>
                    <a:lnTo>
                      <a:pt x="798" y="446"/>
                    </a:lnTo>
                    <a:lnTo>
                      <a:pt x="800" y="442"/>
                    </a:lnTo>
                    <a:lnTo>
                      <a:pt x="802" y="440"/>
                    </a:lnTo>
                    <a:lnTo>
                      <a:pt x="802" y="442"/>
                    </a:lnTo>
                    <a:lnTo>
                      <a:pt x="802" y="442"/>
                    </a:lnTo>
                    <a:lnTo>
                      <a:pt x="802" y="444"/>
                    </a:lnTo>
                    <a:lnTo>
                      <a:pt x="802" y="444"/>
                    </a:lnTo>
                    <a:lnTo>
                      <a:pt x="802" y="446"/>
                    </a:lnTo>
                    <a:lnTo>
                      <a:pt x="802" y="452"/>
                    </a:lnTo>
                    <a:lnTo>
                      <a:pt x="804" y="460"/>
                    </a:lnTo>
                    <a:lnTo>
                      <a:pt x="804" y="468"/>
                    </a:lnTo>
                    <a:lnTo>
                      <a:pt x="804" y="474"/>
                    </a:lnTo>
                    <a:lnTo>
                      <a:pt x="804" y="482"/>
                    </a:lnTo>
                    <a:lnTo>
                      <a:pt x="804" y="484"/>
                    </a:lnTo>
                    <a:lnTo>
                      <a:pt x="802" y="488"/>
                    </a:lnTo>
                    <a:lnTo>
                      <a:pt x="800" y="490"/>
                    </a:lnTo>
                    <a:lnTo>
                      <a:pt x="798" y="494"/>
                    </a:lnTo>
                    <a:lnTo>
                      <a:pt x="796" y="496"/>
                    </a:lnTo>
                    <a:lnTo>
                      <a:pt x="794" y="498"/>
                    </a:lnTo>
                    <a:lnTo>
                      <a:pt x="794" y="498"/>
                    </a:lnTo>
                    <a:lnTo>
                      <a:pt x="794" y="498"/>
                    </a:lnTo>
                    <a:lnTo>
                      <a:pt x="792" y="502"/>
                    </a:lnTo>
                    <a:lnTo>
                      <a:pt x="792" y="502"/>
                    </a:lnTo>
                    <a:lnTo>
                      <a:pt x="790" y="504"/>
                    </a:lnTo>
                    <a:lnTo>
                      <a:pt x="790" y="506"/>
                    </a:lnTo>
                    <a:lnTo>
                      <a:pt x="790" y="506"/>
                    </a:lnTo>
                    <a:lnTo>
                      <a:pt x="790" y="506"/>
                    </a:lnTo>
                    <a:lnTo>
                      <a:pt x="788" y="508"/>
                    </a:lnTo>
                    <a:lnTo>
                      <a:pt x="788" y="508"/>
                    </a:lnTo>
                    <a:lnTo>
                      <a:pt x="790" y="510"/>
                    </a:lnTo>
                    <a:lnTo>
                      <a:pt x="790" y="510"/>
                    </a:lnTo>
                    <a:lnTo>
                      <a:pt x="790" y="510"/>
                    </a:lnTo>
                    <a:lnTo>
                      <a:pt x="790" y="512"/>
                    </a:lnTo>
                    <a:lnTo>
                      <a:pt x="792" y="512"/>
                    </a:lnTo>
                    <a:lnTo>
                      <a:pt x="792" y="512"/>
                    </a:lnTo>
                    <a:lnTo>
                      <a:pt x="792" y="512"/>
                    </a:lnTo>
                    <a:lnTo>
                      <a:pt x="794" y="514"/>
                    </a:lnTo>
                    <a:lnTo>
                      <a:pt x="794" y="514"/>
                    </a:lnTo>
                    <a:lnTo>
                      <a:pt x="796" y="514"/>
                    </a:lnTo>
                    <a:lnTo>
                      <a:pt x="800" y="514"/>
                    </a:lnTo>
                    <a:lnTo>
                      <a:pt x="802" y="512"/>
                    </a:lnTo>
                    <a:lnTo>
                      <a:pt x="806" y="512"/>
                    </a:lnTo>
                    <a:lnTo>
                      <a:pt x="808" y="512"/>
                    </a:lnTo>
                    <a:lnTo>
                      <a:pt x="810" y="512"/>
                    </a:lnTo>
                    <a:lnTo>
                      <a:pt x="810" y="512"/>
                    </a:lnTo>
                    <a:lnTo>
                      <a:pt x="812" y="512"/>
                    </a:lnTo>
                    <a:lnTo>
                      <a:pt x="812" y="514"/>
                    </a:lnTo>
                    <a:lnTo>
                      <a:pt x="812" y="516"/>
                    </a:lnTo>
                    <a:lnTo>
                      <a:pt x="814" y="518"/>
                    </a:lnTo>
                    <a:lnTo>
                      <a:pt x="814" y="520"/>
                    </a:lnTo>
                    <a:lnTo>
                      <a:pt x="814" y="524"/>
                    </a:lnTo>
                    <a:lnTo>
                      <a:pt x="814" y="524"/>
                    </a:lnTo>
                    <a:lnTo>
                      <a:pt x="816" y="526"/>
                    </a:lnTo>
                    <a:lnTo>
                      <a:pt x="818" y="526"/>
                    </a:lnTo>
                    <a:lnTo>
                      <a:pt x="820" y="526"/>
                    </a:lnTo>
                    <a:lnTo>
                      <a:pt x="824" y="526"/>
                    </a:lnTo>
                    <a:lnTo>
                      <a:pt x="828" y="524"/>
                    </a:lnTo>
                    <a:lnTo>
                      <a:pt x="834" y="522"/>
                    </a:lnTo>
                    <a:lnTo>
                      <a:pt x="836" y="522"/>
                    </a:lnTo>
                    <a:lnTo>
                      <a:pt x="840" y="520"/>
                    </a:lnTo>
                    <a:lnTo>
                      <a:pt x="840" y="520"/>
                    </a:lnTo>
                    <a:lnTo>
                      <a:pt x="840" y="520"/>
                    </a:lnTo>
                    <a:lnTo>
                      <a:pt x="844" y="514"/>
                    </a:lnTo>
                    <a:lnTo>
                      <a:pt x="850" y="506"/>
                    </a:lnTo>
                    <a:lnTo>
                      <a:pt x="850" y="506"/>
                    </a:lnTo>
                    <a:lnTo>
                      <a:pt x="850" y="504"/>
                    </a:lnTo>
                    <a:lnTo>
                      <a:pt x="850" y="502"/>
                    </a:lnTo>
                    <a:lnTo>
                      <a:pt x="850" y="500"/>
                    </a:lnTo>
                    <a:lnTo>
                      <a:pt x="850" y="500"/>
                    </a:lnTo>
                    <a:lnTo>
                      <a:pt x="850" y="500"/>
                    </a:lnTo>
                    <a:lnTo>
                      <a:pt x="852" y="502"/>
                    </a:lnTo>
                    <a:lnTo>
                      <a:pt x="854" y="504"/>
                    </a:lnTo>
                    <a:lnTo>
                      <a:pt x="856" y="504"/>
                    </a:lnTo>
                    <a:lnTo>
                      <a:pt x="860" y="508"/>
                    </a:lnTo>
                    <a:lnTo>
                      <a:pt x="862" y="510"/>
                    </a:lnTo>
                    <a:lnTo>
                      <a:pt x="866" y="512"/>
                    </a:lnTo>
                    <a:lnTo>
                      <a:pt x="868" y="514"/>
                    </a:lnTo>
                    <a:lnTo>
                      <a:pt x="868" y="514"/>
                    </a:lnTo>
                    <a:lnTo>
                      <a:pt x="870" y="514"/>
                    </a:lnTo>
                    <a:lnTo>
                      <a:pt x="872" y="514"/>
                    </a:lnTo>
                    <a:lnTo>
                      <a:pt x="872" y="514"/>
                    </a:lnTo>
                    <a:lnTo>
                      <a:pt x="874" y="514"/>
                    </a:lnTo>
                    <a:lnTo>
                      <a:pt x="878" y="514"/>
                    </a:lnTo>
                    <a:lnTo>
                      <a:pt x="882" y="514"/>
                    </a:lnTo>
                    <a:lnTo>
                      <a:pt x="886" y="514"/>
                    </a:lnTo>
                    <a:lnTo>
                      <a:pt x="886" y="514"/>
                    </a:lnTo>
                    <a:lnTo>
                      <a:pt x="886" y="514"/>
                    </a:lnTo>
                    <a:lnTo>
                      <a:pt x="890" y="514"/>
                    </a:lnTo>
                    <a:lnTo>
                      <a:pt x="890" y="514"/>
                    </a:lnTo>
                    <a:lnTo>
                      <a:pt x="890" y="514"/>
                    </a:lnTo>
                    <a:lnTo>
                      <a:pt x="892" y="512"/>
                    </a:lnTo>
                    <a:lnTo>
                      <a:pt x="892" y="512"/>
                    </a:lnTo>
                    <a:lnTo>
                      <a:pt x="894" y="512"/>
                    </a:lnTo>
                    <a:lnTo>
                      <a:pt x="894" y="510"/>
                    </a:lnTo>
                    <a:lnTo>
                      <a:pt x="894" y="510"/>
                    </a:lnTo>
                    <a:lnTo>
                      <a:pt x="896" y="510"/>
                    </a:lnTo>
                    <a:lnTo>
                      <a:pt x="896" y="508"/>
                    </a:lnTo>
                    <a:lnTo>
                      <a:pt x="896" y="508"/>
                    </a:lnTo>
                    <a:lnTo>
                      <a:pt x="896" y="506"/>
                    </a:lnTo>
                    <a:lnTo>
                      <a:pt x="894" y="506"/>
                    </a:lnTo>
                    <a:lnTo>
                      <a:pt x="894" y="506"/>
                    </a:lnTo>
                    <a:lnTo>
                      <a:pt x="894" y="504"/>
                    </a:lnTo>
                    <a:lnTo>
                      <a:pt x="894" y="504"/>
                    </a:lnTo>
                    <a:lnTo>
                      <a:pt x="894" y="504"/>
                    </a:lnTo>
                    <a:lnTo>
                      <a:pt x="892" y="502"/>
                    </a:lnTo>
                    <a:lnTo>
                      <a:pt x="892" y="502"/>
                    </a:lnTo>
                    <a:lnTo>
                      <a:pt x="890" y="500"/>
                    </a:lnTo>
                    <a:lnTo>
                      <a:pt x="886" y="498"/>
                    </a:lnTo>
                    <a:lnTo>
                      <a:pt x="882" y="494"/>
                    </a:lnTo>
                    <a:lnTo>
                      <a:pt x="878" y="492"/>
                    </a:lnTo>
                    <a:lnTo>
                      <a:pt x="876" y="490"/>
                    </a:lnTo>
                    <a:lnTo>
                      <a:pt x="874" y="490"/>
                    </a:lnTo>
                    <a:lnTo>
                      <a:pt x="872" y="490"/>
                    </a:lnTo>
                    <a:lnTo>
                      <a:pt x="872" y="488"/>
                    </a:lnTo>
                    <a:lnTo>
                      <a:pt x="870" y="486"/>
                    </a:lnTo>
                    <a:lnTo>
                      <a:pt x="870" y="486"/>
                    </a:lnTo>
                    <a:lnTo>
                      <a:pt x="870" y="484"/>
                    </a:lnTo>
                    <a:lnTo>
                      <a:pt x="870" y="482"/>
                    </a:lnTo>
                    <a:lnTo>
                      <a:pt x="868" y="478"/>
                    </a:lnTo>
                    <a:lnTo>
                      <a:pt x="868" y="476"/>
                    </a:lnTo>
                    <a:lnTo>
                      <a:pt x="868" y="472"/>
                    </a:lnTo>
                    <a:lnTo>
                      <a:pt x="868" y="472"/>
                    </a:lnTo>
                    <a:lnTo>
                      <a:pt x="866" y="472"/>
                    </a:lnTo>
                    <a:lnTo>
                      <a:pt x="864" y="470"/>
                    </a:lnTo>
                    <a:lnTo>
                      <a:pt x="864" y="470"/>
                    </a:lnTo>
                    <a:lnTo>
                      <a:pt x="864" y="470"/>
                    </a:lnTo>
                    <a:lnTo>
                      <a:pt x="862" y="468"/>
                    </a:lnTo>
                    <a:lnTo>
                      <a:pt x="860" y="468"/>
                    </a:lnTo>
                    <a:lnTo>
                      <a:pt x="858" y="466"/>
                    </a:lnTo>
                    <a:lnTo>
                      <a:pt x="856" y="464"/>
                    </a:lnTo>
                    <a:lnTo>
                      <a:pt x="854" y="460"/>
                    </a:lnTo>
                    <a:lnTo>
                      <a:pt x="852" y="456"/>
                    </a:lnTo>
                    <a:lnTo>
                      <a:pt x="852" y="456"/>
                    </a:lnTo>
                    <a:lnTo>
                      <a:pt x="852" y="456"/>
                    </a:lnTo>
                    <a:lnTo>
                      <a:pt x="848" y="454"/>
                    </a:lnTo>
                    <a:lnTo>
                      <a:pt x="848" y="454"/>
                    </a:lnTo>
                    <a:lnTo>
                      <a:pt x="848" y="454"/>
                    </a:lnTo>
                    <a:lnTo>
                      <a:pt x="844" y="450"/>
                    </a:lnTo>
                    <a:lnTo>
                      <a:pt x="840" y="448"/>
                    </a:lnTo>
                    <a:lnTo>
                      <a:pt x="840" y="448"/>
                    </a:lnTo>
                    <a:lnTo>
                      <a:pt x="840" y="448"/>
                    </a:lnTo>
                    <a:lnTo>
                      <a:pt x="842" y="448"/>
                    </a:lnTo>
                    <a:lnTo>
                      <a:pt x="844" y="446"/>
                    </a:lnTo>
                    <a:lnTo>
                      <a:pt x="844" y="446"/>
                    </a:lnTo>
                    <a:lnTo>
                      <a:pt x="846" y="446"/>
                    </a:lnTo>
                    <a:lnTo>
                      <a:pt x="848" y="446"/>
                    </a:lnTo>
                    <a:lnTo>
                      <a:pt x="848" y="446"/>
                    </a:lnTo>
                    <a:lnTo>
                      <a:pt x="848" y="444"/>
                    </a:lnTo>
                    <a:lnTo>
                      <a:pt x="850" y="442"/>
                    </a:lnTo>
                    <a:lnTo>
                      <a:pt x="850" y="442"/>
                    </a:lnTo>
                    <a:lnTo>
                      <a:pt x="850" y="442"/>
                    </a:lnTo>
                    <a:lnTo>
                      <a:pt x="852" y="440"/>
                    </a:lnTo>
                    <a:lnTo>
                      <a:pt x="852" y="440"/>
                    </a:lnTo>
                    <a:lnTo>
                      <a:pt x="852" y="438"/>
                    </a:lnTo>
                    <a:lnTo>
                      <a:pt x="854" y="430"/>
                    </a:lnTo>
                    <a:lnTo>
                      <a:pt x="854" y="422"/>
                    </a:lnTo>
                    <a:lnTo>
                      <a:pt x="854" y="414"/>
                    </a:lnTo>
                    <a:lnTo>
                      <a:pt x="854" y="414"/>
                    </a:lnTo>
                    <a:lnTo>
                      <a:pt x="854" y="414"/>
                    </a:lnTo>
                    <a:lnTo>
                      <a:pt x="852" y="410"/>
                    </a:lnTo>
                    <a:lnTo>
                      <a:pt x="852" y="410"/>
                    </a:lnTo>
                    <a:lnTo>
                      <a:pt x="852" y="410"/>
                    </a:lnTo>
                    <a:lnTo>
                      <a:pt x="854" y="408"/>
                    </a:lnTo>
                    <a:lnTo>
                      <a:pt x="854" y="408"/>
                    </a:lnTo>
                    <a:lnTo>
                      <a:pt x="856" y="408"/>
                    </a:lnTo>
                    <a:lnTo>
                      <a:pt x="858" y="406"/>
                    </a:lnTo>
                    <a:lnTo>
                      <a:pt x="862" y="404"/>
                    </a:lnTo>
                    <a:lnTo>
                      <a:pt x="866" y="400"/>
                    </a:lnTo>
                    <a:lnTo>
                      <a:pt x="870" y="396"/>
                    </a:lnTo>
                    <a:lnTo>
                      <a:pt x="874" y="392"/>
                    </a:lnTo>
                    <a:lnTo>
                      <a:pt x="878" y="388"/>
                    </a:lnTo>
                    <a:lnTo>
                      <a:pt x="882" y="384"/>
                    </a:lnTo>
                    <a:lnTo>
                      <a:pt x="882" y="384"/>
                    </a:lnTo>
                    <a:lnTo>
                      <a:pt x="882" y="384"/>
                    </a:lnTo>
                    <a:lnTo>
                      <a:pt x="882" y="382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78"/>
                    </a:lnTo>
                    <a:lnTo>
                      <a:pt x="884" y="378"/>
                    </a:lnTo>
                    <a:lnTo>
                      <a:pt x="884" y="378"/>
                    </a:lnTo>
                    <a:lnTo>
                      <a:pt x="884" y="376"/>
                    </a:lnTo>
                    <a:lnTo>
                      <a:pt x="882" y="374"/>
                    </a:lnTo>
                    <a:lnTo>
                      <a:pt x="882" y="374"/>
                    </a:lnTo>
                    <a:lnTo>
                      <a:pt x="882" y="372"/>
                    </a:lnTo>
                    <a:lnTo>
                      <a:pt x="880" y="370"/>
                    </a:lnTo>
                    <a:lnTo>
                      <a:pt x="878" y="366"/>
                    </a:lnTo>
                    <a:lnTo>
                      <a:pt x="874" y="364"/>
                    </a:lnTo>
                    <a:lnTo>
                      <a:pt x="872" y="360"/>
                    </a:lnTo>
                    <a:lnTo>
                      <a:pt x="872" y="358"/>
                    </a:lnTo>
                    <a:lnTo>
                      <a:pt x="872" y="356"/>
                    </a:lnTo>
                    <a:lnTo>
                      <a:pt x="872" y="354"/>
                    </a:lnTo>
                    <a:lnTo>
                      <a:pt x="872" y="350"/>
                    </a:lnTo>
                    <a:lnTo>
                      <a:pt x="874" y="348"/>
                    </a:lnTo>
                    <a:lnTo>
                      <a:pt x="876" y="344"/>
                    </a:lnTo>
                    <a:lnTo>
                      <a:pt x="878" y="338"/>
                    </a:lnTo>
                    <a:lnTo>
                      <a:pt x="880" y="334"/>
                    </a:lnTo>
                    <a:lnTo>
                      <a:pt x="880" y="332"/>
                    </a:lnTo>
                    <a:lnTo>
                      <a:pt x="880" y="328"/>
                    </a:lnTo>
                    <a:lnTo>
                      <a:pt x="880" y="324"/>
                    </a:lnTo>
                    <a:lnTo>
                      <a:pt x="880" y="316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78" y="302"/>
                    </a:lnTo>
                    <a:lnTo>
                      <a:pt x="876" y="298"/>
                    </a:lnTo>
                    <a:lnTo>
                      <a:pt x="876" y="298"/>
                    </a:lnTo>
                    <a:lnTo>
                      <a:pt x="876" y="298"/>
                    </a:lnTo>
                    <a:lnTo>
                      <a:pt x="872" y="294"/>
                    </a:lnTo>
                    <a:lnTo>
                      <a:pt x="872" y="294"/>
                    </a:lnTo>
                    <a:lnTo>
                      <a:pt x="872" y="294"/>
                    </a:lnTo>
                    <a:lnTo>
                      <a:pt x="870" y="292"/>
                    </a:lnTo>
                    <a:lnTo>
                      <a:pt x="868" y="290"/>
                    </a:lnTo>
                    <a:lnTo>
                      <a:pt x="864" y="288"/>
                    </a:lnTo>
                    <a:lnTo>
                      <a:pt x="862" y="286"/>
                    </a:lnTo>
                    <a:lnTo>
                      <a:pt x="858" y="284"/>
                    </a:lnTo>
                    <a:lnTo>
                      <a:pt x="854" y="282"/>
                    </a:lnTo>
                    <a:lnTo>
                      <a:pt x="848" y="280"/>
                    </a:lnTo>
                    <a:lnTo>
                      <a:pt x="842" y="278"/>
                    </a:lnTo>
                    <a:lnTo>
                      <a:pt x="848" y="278"/>
                    </a:lnTo>
                    <a:lnTo>
                      <a:pt x="856" y="278"/>
                    </a:lnTo>
                    <a:lnTo>
                      <a:pt x="856" y="278"/>
                    </a:lnTo>
                    <a:lnTo>
                      <a:pt x="860" y="276"/>
                    </a:lnTo>
                    <a:lnTo>
                      <a:pt x="860" y="276"/>
                    </a:lnTo>
                    <a:lnTo>
                      <a:pt x="858" y="272"/>
                    </a:lnTo>
                    <a:lnTo>
                      <a:pt x="854" y="270"/>
                    </a:lnTo>
                    <a:lnTo>
                      <a:pt x="852" y="270"/>
                    </a:lnTo>
                    <a:lnTo>
                      <a:pt x="852" y="268"/>
                    </a:lnTo>
                    <a:lnTo>
                      <a:pt x="850" y="266"/>
                    </a:lnTo>
                    <a:lnTo>
                      <a:pt x="850" y="266"/>
                    </a:lnTo>
                    <a:lnTo>
                      <a:pt x="852" y="266"/>
                    </a:lnTo>
                    <a:lnTo>
                      <a:pt x="852" y="264"/>
                    </a:lnTo>
                    <a:lnTo>
                      <a:pt x="854" y="264"/>
                    </a:lnTo>
                    <a:lnTo>
                      <a:pt x="858" y="264"/>
                    </a:lnTo>
                    <a:lnTo>
                      <a:pt x="864" y="266"/>
                    </a:lnTo>
                    <a:lnTo>
                      <a:pt x="874" y="268"/>
                    </a:lnTo>
                    <a:lnTo>
                      <a:pt x="876" y="268"/>
                    </a:lnTo>
                    <a:lnTo>
                      <a:pt x="876" y="268"/>
                    </a:lnTo>
                    <a:lnTo>
                      <a:pt x="87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84" y="270"/>
                    </a:lnTo>
                    <a:lnTo>
                      <a:pt x="886" y="270"/>
                    </a:lnTo>
                    <a:lnTo>
                      <a:pt x="894" y="270"/>
                    </a:lnTo>
                    <a:lnTo>
                      <a:pt x="896" y="270"/>
                    </a:lnTo>
                    <a:lnTo>
                      <a:pt x="898" y="270"/>
                    </a:lnTo>
                    <a:lnTo>
                      <a:pt x="898" y="270"/>
                    </a:lnTo>
                    <a:lnTo>
                      <a:pt x="900" y="274"/>
                    </a:lnTo>
                    <a:lnTo>
                      <a:pt x="902" y="278"/>
                    </a:lnTo>
                    <a:lnTo>
                      <a:pt x="902" y="278"/>
                    </a:lnTo>
                    <a:lnTo>
                      <a:pt x="902" y="280"/>
                    </a:lnTo>
                    <a:lnTo>
                      <a:pt x="902" y="282"/>
                    </a:lnTo>
                    <a:lnTo>
                      <a:pt x="902" y="282"/>
                    </a:lnTo>
                    <a:lnTo>
                      <a:pt x="904" y="282"/>
                    </a:lnTo>
                    <a:lnTo>
                      <a:pt x="906" y="284"/>
                    </a:lnTo>
                    <a:lnTo>
                      <a:pt x="906" y="284"/>
                    </a:lnTo>
                    <a:lnTo>
                      <a:pt x="906" y="284"/>
                    </a:lnTo>
                    <a:lnTo>
                      <a:pt x="908" y="286"/>
                    </a:lnTo>
                    <a:lnTo>
                      <a:pt x="908" y="286"/>
                    </a:lnTo>
                    <a:lnTo>
                      <a:pt x="908" y="286"/>
                    </a:lnTo>
                    <a:lnTo>
                      <a:pt x="912" y="286"/>
                    </a:lnTo>
                    <a:lnTo>
                      <a:pt x="912" y="286"/>
                    </a:lnTo>
                    <a:lnTo>
                      <a:pt x="914" y="286"/>
                    </a:lnTo>
                    <a:lnTo>
                      <a:pt x="914" y="286"/>
                    </a:lnTo>
                    <a:lnTo>
                      <a:pt x="916" y="286"/>
                    </a:lnTo>
                    <a:lnTo>
                      <a:pt x="918" y="286"/>
                    </a:lnTo>
                    <a:lnTo>
                      <a:pt x="918" y="286"/>
                    </a:lnTo>
                    <a:lnTo>
                      <a:pt x="920" y="286"/>
                    </a:lnTo>
                    <a:lnTo>
                      <a:pt x="922" y="284"/>
                    </a:lnTo>
                    <a:lnTo>
                      <a:pt x="922" y="284"/>
                    </a:lnTo>
                    <a:lnTo>
                      <a:pt x="922" y="284"/>
                    </a:lnTo>
                    <a:lnTo>
                      <a:pt x="922" y="282"/>
                    </a:lnTo>
                    <a:lnTo>
                      <a:pt x="922" y="282"/>
                    </a:lnTo>
                    <a:lnTo>
                      <a:pt x="924" y="282"/>
                    </a:lnTo>
                    <a:lnTo>
                      <a:pt x="924" y="280"/>
                    </a:lnTo>
                    <a:lnTo>
                      <a:pt x="924" y="280"/>
                    </a:lnTo>
                    <a:lnTo>
                      <a:pt x="924" y="278"/>
                    </a:lnTo>
                    <a:lnTo>
                      <a:pt x="924" y="278"/>
                    </a:lnTo>
                    <a:lnTo>
                      <a:pt x="924" y="278"/>
                    </a:lnTo>
                    <a:lnTo>
                      <a:pt x="922" y="276"/>
                    </a:lnTo>
                    <a:lnTo>
                      <a:pt x="922" y="276"/>
                    </a:lnTo>
                    <a:lnTo>
                      <a:pt x="922" y="276"/>
                    </a:lnTo>
                    <a:lnTo>
                      <a:pt x="922" y="274"/>
                    </a:lnTo>
                    <a:lnTo>
                      <a:pt x="920" y="274"/>
                    </a:lnTo>
                    <a:lnTo>
                      <a:pt x="920" y="274"/>
                    </a:lnTo>
                    <a:lnTo>
                      <a:pt x="918" y="272"/>
                    </a:lnTo>
                    <a:lnTo>
                      <a:pt x="916" y="272"/>
                    </a:lnTo>
                    <a:lnTo>
                      <a:pt x="912" y="270"/>
                    </a:lnTo>
                    <a:lnTo>
                      <a:pt x="908" y="270"/>
                    </a:lnTo>
                    <a:lnTo>
                      <a:pt x="908" y="270"/>
                    </a:lnTo>
                    <a:lnTo>
                      <a:pt x="906" y="266"/>
                    </a:lnTo>
                    <a:lnTo>
                      <a:pt x="906" y="262"/>
                    </a:lnTo>
                    <a:lnTo>
                      <a:pt x="906" y="258"/>
                    </a:lnTo>
                    <a:lnTo>
                      <a:pt x="906" y="256"/>
                    </a:lnTo>
                    <a:lnTo>
                      <a:pt x="906" y="254"/>
                    </a:lnTo>
                    <a:lnTo>
                      <a:pt x="908" y="252"/>
                    </a:lnTo>
                    <a:lnTo>
                      <a:pt x="910" y="250"/>
                    </a:lnTo>
                    <a:lnTo>
                      <a:pt x="912" y="250"/>
                    </a:lnTo>
                    <a:lnTo>
                      <a:pt x="914" y="250"/>
                    </a:lnTo>
                    <a:lnTo>
                      <a:pt x="916" y="252"/>
                    </a:lnTo>
                    <a:lnTo>
                      <a:pt x="916" y="252"/>
                    </a:lnTo>
                    <a:lnTo>
                      <a:pt x="918" y="254"/>
                    </a:lnTo>
                    <a:lnTo>
                      <a:pt x="918" y="256"/>
                    </a:lnTo>
                    <a:lnTo>
                      <a:pt x="920" y="260"/>
                    </a:lnTo>
                    <a:lnTo>
                      <a:pt x="922" y="262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8" y="268"/>
                    </a:lnTo>
                    <a:lnTo>
                      <a:pt x="930" y="272"/>
                    </a:lnTo>
                    <a:lnTo>
                      <a:pt x="932" y="274"/>
                    </a:lnTo>
                    <a:lnTo>
                      <a:pt x="934" y="276"/>
                    </a:lnTo>
                    <a:lnTo>
                      <a:pt x="934" y="276"/>
                    </a:lnTo>
                    <a:lnTo>
                      <a:pt x="934" y="276"/>
                    </a:lnTo>
                    <a:lnTo>
                      <a:pt x="936" y="278"/>
                    </a:lnTo>
                    <a:lnTo>
                      <a:pt x="936" y="278"/>
                    </a:lnTo>
                    <a:lnTo>
                      <a:pt x="936" y="278"/>
                    </a:lnTo>
                    <a:lnTo>
                      <a:pt x="938" y="278"/>
                    </a:lnTo>
                    <a:lnTo>
                      <a:pt x="938" y="278"/>
                    </a:lnTo>
                    <a:lnTo>
                      <a:pt x="938" y="278"/>
                    </a:lnTo>
                    <a:lnTo>
                      <a:pt x="942" y="278"/>
                    </a:lnTo>
                    <a:lnTo>
                      <a:pt x="944" y="278"/>
                    </a:lnTo>
                    <a:lnTo>
                      <a:pt x="946" y="278"/>
                    </a:lnTo>
                    <a:lnTo>
                      <a:pt x="948" y="278"/>
                    </a:lnTo>
                    <a:lnTo>
                      <a:pt x="948" y="278"/>
                    </a:lnTo>
                    <a:lnTo>
                      <a:pt x="950" y="286"/>
                    </a:lnTo>
                    <a:lnTo>
                      <a:pt x="954" y="296"/>
                    </a:lnTo>
                    <a:lnTo>
                      <a:pt x="956" y="302"/>
                    </a:lnTo>
                    <a:lnTo>
                      <a:pt x="958" y="306"/>
                    </a:lnTo>
                    <a:lnTo>
                      <a:pt x="960" y="312"/>
                    </a:lnTo>
                    <a:lnTo>
                      <a:pt x="964" y="316"/>
                    </a:lnTo>
                    <a:lnTo>
                      <a:pt x="964" y="318"/>
                    </a:lnTo>
                    <a:lnTo>
                      <a:pt x="964" y="318"/>
                    </a:lnTo>
                    <a:lnTo>
                      <a:pt x="964" y="318"/>
                    </a:lnTo>
                    <a:lnTo>
                      <a:pt x="966" y="320"/>
                    </a:lnTo>
                    <a:lnTo>
                      <a:pt x="966" y="320"/>
                    </a:lnTo>
                    <a:lnTo>
                      <a:pt x="966" y="320"/>
                    </a:lnTo>
                    <a:lnTo>
                      <a:pt x="966" y="322"/>
                    </a:lnTo>
                    <a:lnTo>
                      <a:pt x="966" y="322"/>
                    </a:lnTo>
                    <a:lnTo>
                      <a:pt x="966" y="322"/>
                    </a:lnTo>
                    <a:lnTo>
                      <a:pt x="968" y="324"/>
                    </a:lnTo>
                    <a:lnTo>
                      <a:pt x="968" y="324"/>
                    </a:lnTo>
                    <a:lnTo>
                      <a:pt x="968" y="324"/>
                    </a:lnTo>
                    <a:lnTo>
                      <a:pt x="972" y="324"/>
                    </a:lnTo>
                    <a:lnTo>
                      <a:pt x="972" y="324"/>
                    </a:lnTo>
                    <a:lnTo>
                      <a:pt x="972" y="324"/>
                    </a:lnTo>
                    <a:lnTo>
                      <a:pt x="974" y="326"/>
                    </a:lnTo>
                    <a:lnTo>
                      <a:pt x="978" y="326"/>
                    </a:lnTo>
                    <a:lnTo>
                      <a:pt x="980" y="326"/>
                    </a:lnTo>
                    <a:lnTo>
                      <a:pt x="982" y="326"/>
                    </a:lnTo>
                    <a:lnTo>
                      <a:pt x="986" y="328"/>
                    </a:lnTo>
                    <a:lnTo>
                      <a:pt x="988" y="328"/>
                    </a:lnTo>
                    <a:lnTo>
                      <a:pt x="990" y="328"/>
                    </a:lnTo>
                    <a:lnTo>
                      <a:pt x="990" y="328"/>
                    </a:lnTo>
                    <a:lnTo>
                      <a:pt x="992" y="332"/>
                    </a:lnTo>
                    <a:lnTo>
                      <a:pt x="994" y="338"/>
                    </a:lnTo>
                    <a:lnTo>
                      <a:pt x="996" y="344"/>
                    </a:lnTo>
                    <a:lnTo>
                      <a:pt x="998" y="348"/>
                    </a:lnTo>
                    <a:lnTo>
                      <a:pt x="1000" y="352"/>
                    </a:lnTo>
                    <a:lnTo>
                      <a:pt x="1000" y="352"/>
                    </a:lnTo>
                    <a:lnTo>
                      <a:pt x="1000" y="352"/>
                    </a:lnTo>
                    <a:lnTo>
                      <a:pt x="1000" y="354"/>
                    </a:lnTo>
                    <a:lnTo>
                      <a:pt x="1000" y="354"/>
                    </a:lnTo>
                    <a:lnTo>
                      <a:pt x="1000" y="354"/>
                    </a:lnTo>
                    <a:lnTo>
                      <a:pt x="1002" y="356"/>
                    </a:lnTo>
                    <a:lnTo>
                      <a:pt x="1004" y="358"/>
                    </a:lnTo>
                    <a:lnTo>
                      <a:pt x="1006" y="360"/>
                    </a:lnTo>
                    <a:lnTo>
                      <a:pt x="1008" y="362"/>
                    </a:lnTo>
                    <a:lnTo>
                      <a:pt x="1010" y="362"/>
                    </a:lnTo>
                    <a:lnTo>
                      <a:pt x="1010" y="364"/>
                    </a:lnTo>
                    <a:lnTo>
                      <a:pt x="1010" y="374"/>
                    </a:lnTo>
                    <a:lnTo>
                      <a:pt x="1010" y="380"/>
                    </a:lnTo>
                    <a:lnTo>
                      <a:pt x="1008" y="384"/>
                    </a:lnTo>
                    <a:lnTo>
                      <a:pt x="1006" y="388"/>
                    </a:lnTo>
                    <a:lnTo>
                      <a:pt x="1004" y="392"/>
                    </a:lnTo>
                    <a:lnTo>
                      <a:pt x="1002" y="396"/>
                    </a:lnTo>
                    <a:lnTo>
                      <a:pt x="998" y="400"/>
                    </a:lnTo>
                    <a:lnTo>
                      <a:pt x="998" y="400"/>
                    </a:lnTo>
                    <a:lnTo>
                      <a:pt x="998" y="400"/>
                    </a:lnTo>
                    <a:lnTo>
                      <a:pt x="996" y="402"/>
                    </a:lnTo>
                    <a:lnTo>
                      <a:pt x="994" y="404"/>
                    </a:lnTo>
                    <a:lnTo>
                      <a:pt x="992" y="406"/>
                    </a:lnTo>
                    <a:lnTo>
                      <a:pt x="992" y="406"/>
                    </a:lnTo>
                    <a:lnTo>
                      <a:pt x="992" y="408"/>
                    </a:lnTo>
                    <a:lnTo>
                      <a:pt x="990" y="408"/>
                    </a:lnTo>
                    <a:lnTo>
                      <a:pt x="990" y="410"/>
                    </a:lnTo>
                    <a:lnTo>
                      <a:pt x="988" y="412"/>
                    </a:lnTo>
                    <a:lnTo>
                      <a:pt x="988" y="414"/>
                    </a:lnTo>
                    <a:lnTo>
                      <a:pt x="988" y="414"/>
                    </a:lnTo>
                    <a:lnTo>
                      <a:pt x="986" y="414"/>
                    </a:lnTo>
                    <a:lnTo>
                      <a:pt x="986" y="418"/>
                    </a:lnTo>
                    <a:lnTo>
                      <a:pt x="986" y="420"/>
                    </a:lnTo>
                    <a:lnTo>
                      <a:pt x="986" y="422"/>
                    </a:lnTo>
                    <a:lnTo>
                      <a:pt x="984" y="424"/>
                    </a:lnTo>
                    <a:lnTo>
                      <a:pt x="984" y="426"/>
                    </a:lnTo>
                    <a:lnTo>
                      <a:pt x="984" y="428"/>
                    </a:lnTo>
                    <a:lnTo>
                      <a:pt x="984" y="428"/>
                    </a:lnTo>
                    <a:lnTo>
                      <a:pt x="984" y="428"/>
                    </a:lnTo>
                    <a:lnTo>
                      <a:pt x="984" y="430"/>
                    </a:lnTo>
                    <a:lnTo>
                      <a:pt x="984" y="430"/>
                    </a:lnTo>
                    <a:lnTo>
                      <a:pt x="984" y="432"/>
                    </a:lnTo>
                    <a:lnTo>
                      <a:pt x="984" y="436"/>
                    </a:lnTo>
                    <a:lnTo>
                      <a:pt x="984" y="436"/>
                    </a:lnTo>
                    <a:lnTo>
                      <a:pt x="984" y="438"/>
                    </a:lnTo>
                    <a:lnTo>
                      <a:pt x="984" y="442"/>
                    </a:lnTo>
                    <a:lnTo>
                      <a:pt x="984" y="444"/>
                    </a:lnTo>
                    <a:lnTo>
                      <a:pt x="984" y="446"/>
                    </a:lnTo>
                    <a:lnTo>
                      <a:pt x="984" y="448"/>
                    </a:lnTo>
                    <a:lnTo>
                      <a:pt x="984" y="450"/>
                    </a:lnTo>
                    <a:lnTo>
                      <a:pt x="984" y="450"/>
                    </a:lnTo>
                    <a:lnTo>
                      <a:pt x="984" y="450"/>
                    </a:lnTo>
                    <a:lnTo>
                      <a:pt x="982" y="450"/>
                    </a:lnTo>
                    <a:lnTo>
                      <a:pt x="980" y="452"/>
                    </a:lnTo>
                    <a:lnTo>
                      <a:pt x="978" y="452"/>
                    </a:lnTo>
                    <a:lnTo>
                      <a:pt x="974" y="452"/>
                    </a:lnTo>
                    <a:lnTo>
                      <a:pt x="972" y="454"/>
                    </a:lnTo>
                    <a:lnTo>
                      <a:pt x="964" y="452"/>
                    </a:lnTo>
                    <a:lnTo>
                      <a:pt x="956" y="452"/>
                    </a:lnTo>
                    <a:lnTo>
                      <a:pt x="954" y="452"/>
                    </a:lnTo>
                    <a:lnTo>
                      <a:pt x="950" y="452"/>
                    </a:lnTo>
                    <a:lnTo>
                      <a:pt x="946" y="450"/>
                    </a:lnTo>
                    <a:lnTo>
                      <a:pt x="944" y="448"/>
                    </a:lnTo>
                    <a:lnTo>
                      <a:pt x="944" y="448"/>
                    </a:lnTo>
                    <a:lnTo>
                      <a:pt x="940" y="448"/>
                    </a:lnTo>
                    <a:lnTo>
                      <a:pt x="938" y="450"/>
                    </a:lnTo>
                    <a:lnTo>
                      <a:pt x="934" y="452"/>
                    </a:lnTo>
                    <a:lnTo>
                      <a:pt x="932" y="454"/>
                    </a:lnTo>
                    <a:lnTo>
                      <a:pt x="928" y="454"/>
                    </a:lnTo>
                    <a:lnTo>
                      <a:pt x="926" y="456"/>
                    </a:lnTo>
                    <a:lnTo>
                      <a:pt x="924" y="456"/>
                    </a:lnTo>
                    <a:lnTo>
                      <a:pt x="920" y="456"/>
                    </a:lnTo>
                    <a:lnTo>
                      <a:pt x="920" y="456"/>
                    </a:lnTo>
                    <a:lnTo>
                      <a:pt x="920" y="456"/>
                    </a:lnTo>
                    <a:lnTo>
                      <a:pt x="918" y="458"/>
                    </a:lnTo>
                    <a:lnTo>
                      <a:pt x="918" y="458"/>
                    </a:lnTo>
                    <a:lnTo>
                      <a:pt x="918" y="458"/>
                    </a:lnTo>
                    <a:lnTo>
                      <a:pt x="918" y="460"/>
                    </a:lnTo>
                    <a:lnTo>
                      <a:pt x="918" y="460"/>
                    </a:lnTo>
                    <a:lnTo>
                      <a:pt x="916" y="460"/>
                    </a:lnTo>
                    <a:lnTo>
                      <a:pt x="916" y="462"/>
                    </a:lnTo>
                    <a:lnTo>
                      <a:pt x="916" y="462"/>
                    </a:lnTo>
                    <a:lnTo>
                      <a:pt x="916" y="462"/>
                    </a:lnTo>
                    <a:lnTo>
                      <a:pt x="916" y="464"/>
                    </a:lnTo>
                    <a:lnTo>
                      <a:pt x="916" y="464"/>
                    </a:lnTo>
                    <a:lnTo>
                      <a:pt x="916" y="464"/>
                    </a:lnTo>
                    <a:lnTo>
                      <a:pt x="916" y="468"/>
                    </a:lnTo>
                    <a:lnTo>
                      <a:pt x="916" y="470"/>
                    </a:lnTo>
                    <a:lnTo>
                      <a:pt x="916" y="470"/>
                    </a:lnTo>
                    <a:lnTo>
                      <a:pt x="916" y="472"/>
                    </a:lnTo>
                    <a:lnTo>
                      <a:pt x="916" y="472"/>
                    </a:lnTo>
                    <a:lnTo>
                      <a:pt x="916" y="472"/>
                    </a:lnTo>
                    <a:lnTo>
                      <a:pt x="918" y="474"/>
                    </a:lnTo>
                    <a:lnTo>
                      <a:pt x="918" y="474"/>
                    </a:lnTo>
                    <a:lnTo>
                      <a:pt x="918" y="476"/>
                    </a:lnTo>
                    <a:lnTo>
                      <a:pt x="918" y="476"/>
                    </a:lnTo>
                    <a:lnTo>
                      <a:pt x="918" y="476"/>
                    </a:lnTo>
                    <a:lnTo>
                      <a:pt x="920" y="476"/>
                    </a:lnTo>
                    <a:lnTo>
                      <a:pt x="922" y="476"/>
                    </a:lnTo>
                    <a:lnTo>
                      <a:pt x="924" y="476"/>
                    </a:lnTo>
                    <a:lnTo>
                      <a:pt x="926" y="476"/>
                    </a:lnTo>
                    <a:lnTo>
                      <a:pt x="928" y="476"/>
                    </a:lnTo>
                    <a:lnTo>
                      <a:pt x="928" y="478"/>
                    </a:lnTo>
                    <a:lnTo>
                      <a:pt x="928" y="480"/>
                    </a:lnTo>
                    <a:lnTo>
                      <a:pt x="928" y="480"/>
                    </a:lnTo>
                    <a:lnTo>
                      <a:pt x="928" y="482"/>
                    </a:lnTo>
                    <a:lnTo>
                      <a:pt x="930" y="482"/>
                    </a:lnTo>
                    <a:lnTo>
                      <a:pt x="930" y="482"/>
                    </a:lnTo>
                    <a:lnTo>
                      <a:pt x="930" y="484"/>
                    </a:lnTo>
                    <a:lnTo>
                      <a:pt x="932" y="484"/>
                    </a:lnTo>
                    <a:lnTo>
                      <a:pt x="932" y="484"/>
                    </a:lnTo>
                    <a:lnTo>
                      <a:pt x="932" y="486"/>
                    </a:lnTo>
                    <a:lnTo>
                      <a:pt x="934" y="486"/>
                    </a:lnTo>
                    <a:lnTo>
                      <a:pt x="934" y="486"/>
                    </a:lnTo>
                    <a:lnTo>
                      <a:pt x="934" y="486"/>
                    </a:lnTo>
                    <a:lnTo>
                      <a:pt x="936" y="486"/>
                    </a:lnTo>
                    <a:lnTo>
                      <a:pt x="938" y="488"/>
                    </a:lnTo>
                    <a:lnTo>
                      <a:pt x="942" y="488"/>
                    </a:lnTo>
                    <a:lnTo>
                      <a:pt x="942" y="488"/>
                    </a:lnTo>
                    <a:lnTo>
                      <a:pt x="944" y="488"/>
                    </a:lnTo>
                    <a:lnTo>
                      <a:pt x="948" y="488"/>
                    </a:lnTo>
                    <a:lnTo>
                      <a:pt x="952" y="488"/>
                    </a:lnTo>
                    <a:lnTo>
                      <a:pt x="956" y="486"/>
                    </a:lnTo>
                    <a:lnTo>
                      <a:pt x="956" y="486"/>
                    </a:lnTo>
                    <a:lnTo>
                      <a:pt x="956" y="486"/>
                    </a:lnTo>
                    <a:lnTo>
                      <a:pt x="960" y="486"/>
                    </a:lnTo>
                    <a:lnTo>
                      <a:pt x="964" y="484"/>
                    </a:lnTo>
                    <a:lnTo>
                      <a:pt x="964" y="484"/>
                    </a:lnTo>
                    <a:lnTo>
                      <a:pt x="964" y="484"/>
                    </a:lnTo>
                    <a:lnTo>
                      <a:pt x="966" y="484"/>
                    </a:lnTo>
                    <a:lnTo>
                      <a:pt x="966" y="484"/>
                    </a:lnTo>
                    <a:lnTo>
                      <a:pt x="966" y="482"/>
                    </a:lnTo>
                    <a:lnTo>
                      <a:pt x="966" y="482"/>
                    </a:lnTo>
                    <a:lnTo>
                      <a:pt x="966" y="482"/>
                    </a:lnTo>
                    <a:lnTo>
                      <a:pt x="968" y="480"/>
                    </a:lnTo>
                    <a:lnTo>
                      <a:pt x="968" y="480"/>
                    </a:lnTo>
                    <a:lnTo>
                      <a:pt x="968" y="478"/>
                    </a:lnTo>
                    <a:lnTo>
                      <a:pt x="968" y="478"/>
                    </a:lnTo>
                    <a:lnTo>
                      <a:pt x="970" y="476"/>
                    </a:lnTo>
                    <a:lnTo>
                      <a:pt x="972" y="476"/>
                    </a:lnTo>
                    <a:lnTo>
                      <a:pt x="972" y="476"/>
                    </a:lnTo>
                    <a:lnTo>
                      <a:pt x="976" y="476"/>
                    </a:lnTo>
                    <a:lnTo>
                      <a:pt x="980" y="476"/>
                    </a:lnTo>
                    <a:lnTo>
                      <a:pt x="982" y="476"/>
                    </a:lnTo>
                    <a:lnTo>
                      <a:pt x="986" y="476"/>
                    </a:lnTo>
                    <a:lnTo>
                      <a:pt x="988" y="476"/>
                    </a:lnTo>
                    <a:lnTo>
                      <a:pt x="990" y="478"/>
                    </a:lnTo>
                    <a:lnTo>
                      <a:pt x="992" y="480"/>
                    </a:lnTo>
                    <a:lnTo>
                      <a:pt x="992" y="482"/>
                    </a:lnTo>
                    <a:lnTo>
                      <a:pt x="994" y="484"/>
                    </a:lnTo>
                    <a:lnTo>
                      <a:pt x="994" y="488"/>
                    </a:lnTo>
                    <a:lnTo>
                      <a:pt x="994" y="488"/>
                    </a:lnTo>
                    <a:lnTo>
                      <a:pt x="994" y="488"/>
                    </a:lnTo>
                    <a:lnTo>
                      <a:pt x="996" y="490"/>
                    </a:lnTo>
                    <a:lnTo>
                      <a:pt x="996" y="490"/>
                    </a:lnTo>
                    <a:lnTo>
                      <a:pt x="996" y="490"/>
                    </a:lnTo>
                    <a:lnTo>
                      <a:pt x="996" y="492"/>
                    </a:lnTo>
                    <a:lnTo>
                      <a:pt x="996" y="492"/>
                    </a:lnTo>
                    <a:lnTo>
                      <a:pt x="998" y="494"/>
                    </a:lnTo>
                    <a:lnTo>
                      <a:pt x="1002" y="496"/>
                    </a:lnTo>
                    <a:lnTo>
                      <a:pt x="1004" y="498"/>
                    </a:lnTo>
                    <a:lnTo>
                      <a:pt x="1006" y="500"/>
                    </a:lnTo>
                    <a:lnTo>
                      <a:pt x="1008" y="502"/>
                    </a:lnTo>
                    <a:lnTo>
                      <a:pt x="1010" y="506"/>
                    </a:lnTo>
                    <a:lnTo>
                      <a:pt x="1012" y="508"/>
                    </a:lnTo>
                    <a:lnTo>
                      <a:pt x="1014" y="510"/>
                    </a:lnTo>
                    <a:lnTo>
                      <a:pt x="1018" y="516"/>
                    </a:lnTo>
                    <a:lnTo>
                      <a:pt x="1024" y="518"/>
                    </a:lnTo>
                    <a:lnTo>
                      <a:pt x="1024" y="520"/>
                    </a:lnTo>
                    <a:lnTo>
                      <a:pt x="1024" y="522"/>
                    </a:lnTo>
                    <a:lnTo>
                      <a:pt x="1024" y="522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6"/>
                    </a:lnTo>
                    <a:lnTo>
                      <a:pt x="1024" y="528"/>
                    </a:lnTo>
                    <a:lnTo>
                      <a:pt x="1024" y="528"/>
                    </a:lnTo>
                    <a:lnTo>
                      <a:pt x="1026" y="528"/>
                    </a:lnTo>
                    <a:lnTo>
                      <a:pt x="1028" y="528"/>
                    </a:lnTo>
                    <a:lnTo>
                      <a:pt x="1028" y="528"/>
                    </a:lnTo>
                    <a:lnTo>
                      <a:pt x="1028" y="530"/>
                    </a:lnTo>
                    <a:lnTo>
                      <a:pt x="1028" y="530"/>
                    </a:lnTo>
                    <a:lnTo>
                      <a:pt x="1030" y="530"/>
                    </a:lnTo>
                    <a:lnTo>
                      <a:pt x="1034" y="532"/>
                    </a:lnTo>
                    <a:lnTo>
                      <a:pt x="1038" y="534"/>
                    </a:lnTo>
                    <a:lnTo>
                      <a:pt x="1044" y="534"/>
                    </a:lnTo>
                    <a:lnTo>
                      <a:pt x="1046" y="536"/>
                    </a:lnTo>
                    <a:lnTo>
                      <a:pt x="1050" y="540"/>
                    </a:lnTo>
                    <a:lnTo>
                      <a:pt x="1050" y="540"/>
                    </a:lnTo>
                    <a:lnTo>
                      <a:pt x="1050" y="540"/>
                    </a:lnTo>
                    <a:lnTo>
                      <a:pt x="1052" y="542"/>
                    </a:lnTo>
                    <a:lnTo>
                      <a:pt x="1052" y="542"/>
                    </a:lnTo>
                    <a:lnTo>
                      <a:pt x="1052" y="542"/>
                    </a:lnTo>
                    <a:lnTo>
                      <a:pt x="1056" y="544"/>
                    </a:lnTo>
                    <a:lnTo>
                      <a:pt x="1056" y="544"/>
                    </a:lnTo>
                    <a:lnTo>
                      <a:pt x="1056" y="544"/>
                    </a:lnTo>
                    <a:lnTo>
                      <a:pt x="1058" y="544"/>
                    </a:lnTo>
                    <a:lnTo>
                      <a:pt x="1058" y="544"/>
                    </a:lnTo>
                    <a:lnTo>
                      <a:pt x="1060" y="546"/>
                    </a:lnTo>
                    <a:lnTo>
                      <a:pt x="1060" y="548"/>
                    </a:lnTo>
                    <a:lnTo>
                      <a:pt x="1062" y="548"/>
                    </a:lnTo>
                    <a:lnTo>
                      <a:pt x="1062" y="548"/>
                    </a:lnTo>
                    <a:lnTo>
                      <a:pt x="1062" y="550"/>
                    </a:lnTo>
                    <a:lnTo>
                      <a:pt x="1064" y="550"/>
                    </a:lnTo>
                    <a:lnTo>
                      <a:pt x="1064" y="550"/>
                    </a:lnTo>
                    <a:lnTo>
                      <a:pt x="1064" y="550"/>
                    </a:lnTo>
                    <a:lnTo>
                      <a:pt x="1066" y="552"/>
                    </a:lnTo>
                    <a:lnTo>
                      <a:pt x="1066" y="552"/>
                    </a:lnTo>
                    <a:lnTo>
                      <a:pt x="1066" y="552"/>
                    </a:lnTo>
                    <a:lnTo>
                      <a:pt x="1068" y="552"/>
                    </a:lnTo>
                    <a:lnTo>
                      <a:pt x="1070" y="552"/>
                    </a:lnTo>
                    <a:lnTo>
                      <a:pt x="1072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6" y="554"/>
                    </a:lnTo>
                    <a:lnTo>
                      <a:pt x="1076" y="554"/>
                    </a:lnTo>
                    <a:lnTo>
                      <a:pt x="1076" y="554"/>
                    </a:lnTo>
                    <a:lnTo>
                      <a:pt x="1078" y="556"/>
                    </a:lnTo>
                    <a:lnTo>
                      <a:pt x="1082" y="556"/>
                    </a:lnTo>
                    <a:lnTo>
                      <a:pt x="1086" y="556"/>
                    </a:lnTo>
                    <a:lnTo>
                      <a:pt x="1088" y="556"/>
                    </a:lnTo>
                    <a:lnTo>
                      <a:pt x="1090" y="558"/>
                    </a:lnTo>
                    <a:lnTo>
                      <a:pt x="1092" y="558"/>
                    </a:lnTo>
                    <a:lnTo>
                      <a:pt x="1094" y="558"/>
                    </a:lnTo>
                    <a:lnTo>
                      <a:pt x="1094" y="558"/>
                    </a:lnTo>
                    <a:lnTo>
                      <a:pt x="1094" y="558"/>
                    </a:lnTo>
                    <a:lnTo>
                      <a:pt x="1096" y="558"/>
                    </a:lnTo>
                    <a:lnTo>
                      <a:pt x="1096" y="558"/>
                    </a:lnTo>
                    <a:lnTo>
                      <a:pt x="1096" y="558"/>
                    </a:lnTo>
                    <a:lnTo>
                      <a:pt x="1098" y="556"/>
                    </a:lnTo>
                    <a:lnTo>
                      <a:pt x="1098" y="556"/>
                    </a:lnTo>
                    <a:lnTo>
                      <a:pt x="1098" y="554"/>
                    </a:lnTo>
                    <a:lnTo>
                      <a:pt x="1098" y="554"/>
                    </a:lnTo>
                    <a:lnTo>
                      <a:pt x="1098" y="554"/>
                    </a:lnTo>
                    <a:lnTo>
                      <a:pt x="1098" y="552"/>
                    </a:lnTo>
                    <a:lnTo>
                      <a:pt x="1096" y="550"/>
                    </a:lnTo>
                    <a:lnTo>
                      <a:pt x="1094" y="550"/>
                    </a:lnTo>
                    <a:lnTo>
                      <a:pt x="1092" y="548"/>
                    </a:lnTo>
                    <a:lnTo>
                      <a:pt x="1088" y="544"/>
                    </a:lnTo>
                    <a:lnTo>
                      <a:pt x="1084" y="540"/>
                    </a:lnTo>
                    <a:lnTo>
                      <a:pt x="1080" y="536"/>
                    </a:lnTo>
                    <a:lnTo>
                      <a:pt x="1076" y="534"/>
                    </a:lnTo>
                    <a:lnTo>
                      <a:pt x="1074" y="532"/>
                    </a:lnTo>
                    <a:lnTo>
                      <a:pt x="1074" y="530"/>
                    </a:lnTo>
                    <a:lnTo>
                      <a:pt x="1072" y="528"/>
                    </a:lnTo>
                    <a:lnTo>
                      <a:pt x="1072" y="526"/>
                    </a:lnTo>
                    <a:lnTo>
                      <a:pt x="1070" y="524"/>
                    </a:lnTo>
                    <a:lnTo>
                      <a:pt x="1070" y="524"/>
                    </a:lnTo>
                    <a:lnTo>
                      <a:pt x="1070" y="524"/>
                    </a:lnTo>
                    <a:lnTo>
                      <a:pt x="1068" y="522"/>
                    </a:lnTo>
                    <a:lnTo>
                      <a:pt x="1066" y="522"/>
                    </a:lnTo>
                    <a:lnTo>
                      <a:pt x="1066" y="518"/>
                    </a:lnTo>
                    <a:lnTo>
                      <a:pt x="1064" y="516"/>
                    </a:lnTo>
                    <a:lnTo>
                      <a:pt x="1062" y="514"/>
                    </a:lnTo>
                    <a:lnTo>
                      <a:pt x="1062" y="512"/>
                    </a:lnTo>
                    <a:lnTo>
                      <a:pt x="1062" y="512"/>
                    </a:lnTo>
                    <a:lnTo>
                      <a:pt x="1062" y="512"/>
                    </a:lnTo>
                    <a:lnTo>
                      <a:pt x="1064" y="512"/>
                    </a:lnTo>
                    <a:lnTo>
                      <a:pt x="1068" y="512"/>
                    </a:lnTo>
                    <a:lnTo>
                      <a:pt x="1074" y="514"/>
                    </a:lnTo>
                    <a:lnTo>
                      <a:pt x="1080" y="514"/>
                    </a:lnTo>
                    <a:lnTo>
                      <a:pt x="1080" y="516"/>
                    </a:lnTo>
                    <a:lnTo>
                      <a:pt x="1082" y="518"/>
                    </a:lnTo>
                    <a:lnTo>
                      <a:pt x="1086" y="522"/>
                    </a:lnTo>
                    <a:lnTo>
                      <a:pt x="1088" y="524"/>
                    </a:lnTo>
                    <a:lnTo>
                      <a:pt x="1090" y="526"/>
                    </a:lnTo>
                    <a:lnTo>
                      <a:pt x="1090" y="526"/>
                    </a:lnTo>
                    <a:lnTo>
                      <a:pt x="1092" y="528"/>
                    </a:lnTo>
                    <a:lnTo>
                      <a:pt x="1092" y="528"/>
                    </a:lnTo>
                    <a:lnTo>
                      <a:pt x="1092" y="528"/>
                    </a:lnTo>
                    <a:lnTo>
                      <a:pt x="1094" y="530"/>
                    </a:lnTo>
                    <a:lnTo>
                      <a:pt x="1094" y="530"/>
                    </a:lnTo>
                    <a:lnTo>
                      <a:pt x="1096" y="530"/>
                    </a:lnTo>
                    <a:lnTo>
                      <a:pt x="1098" y="532"/>
                    </a:lnTo>
                    <a:lnTo>
                      <a:pt x="1098" y="532"/>
                    </a:lnTo>
                    <a:lnTo>
                      <a:pt x="1098" y="532"/>
                    </a:lnTo>
                    <a:lnTo>
                      <a:pt x="1100" y="532"/>
                    </a:lnTo>
                    <a:lnTo>
                      <a:pt x="1100" y="532"/>
                    </a:lnTo>
                    <a:lnTo>
                      <a:pt x="1102" y="532"/>
                    </a:lnTo>
                    <a:lnTo>
                      <a:pt x="1104" y="532"/>
                    </a:lnTo>
                    <a:lnTo>
                      <a:pt x="1104" y="532"/>
                    </a:lnTo>
                    <a:lnTo>
                      <a:pt x="1104" y="532"/>
                    </a:lnTo>
                    <a:lnTo>
                      <a:pt x="1106" y="530"/>
                    </a:lnTo>
                    <a:lnTo>
                      <a:pt x="1106" y="530"/>
                    </a:lnTo>
                    <a:lnTo>
                      <a:pt x="1106" y="530"/>
                    </a:lnTo>
                    <a:lnTo>
                      <a:pt x="1108" y="528"/>
                    </a:lnTo>
                    <a:lnTo>
                      <a:pt x="1108" y="528"/>
                    </a:lnTo>
                    <a:lnTo>
                      <a:pt x="1108" y="528"/>
                    </a:lnTo>
                    <a:lnTo>
                      <a:pt x="1110" y="524"/>
                    </a:lnTo>
                    <a:lnTo>
                      <a:pt x="1110" y="524"/>
                    </a:lnTo>
                    <a:lnTo>
                      <a:pt x="1110" y="524"/>
                    </a:lnTo>
                    <a:lnTo>
                      <a:pt x="1112" y="520"/>
                    </a:lnTo>
                    <a:lnTo>
                      <a:pt x="1112" y="518"/>
                    </a:lnTo>
                    <a:lnTo>
                      <a:pt x="1114" y="514"/>
                    </a:lnTo>
                    <a:lnTo>
                      <a:pt x="1114" y="512"/>
                    </a:lnTo>
                    <a:lnTo>
                      <a:pt x="1116" y="508"/>
                    </a:lnTo>
                    <a:lnTo>
                      <a:pt x="1116" y="508"/>
                    </a:lnTo>
                    <a:lnTo>
                      <a:pt x="1116" y="506"/>
                    </a:lnTo>
                    <a:lnTo>
                      <a:pt x="1114" y="504"/>
                    </a:lnTo>
                    <a:lnTo>
                      <a:pt x="1114" y="504"/>
                    </a:lnTo>
                    <a:lnTo>
                      <a:pt x="1114" y="502"/>
                    </a:lnTo>
                    <a:lnTo>
                      <a:pt x="1114" y="500"/>
                    </a:lnTo>
                    <a:lnTo>
                      <a:pt x="1114" y="500"/>
                    </a:lnTo>
                    <a:lnTo>
                      <a:pt x="1114" y="498"/>
                    </a:lnTo>
                    <a:lnTo>
                      <a:pt x="1112" y="496"/>
                    </a:lnTo>
                    <a:lnTo>
                      <a:pt x="1110" y="494"/>
                    </a:lnTo>
                    <a:lnTo>
                      <a:pt x="1108" y="490"/>
                    </a:lnTo>
                    <a:lnTo>
                      <a:pt x="1104" y="486"/>
                    </a:lnTo>
                    <a:lnTo>
                      <a:pt x="1102" y="486"/>
                    </a:lnTo>
                    <a:lnTo>
                      <a:pt x="1100" y="484"/>
                    </a:lnTo>
                    <a:lnTo>
                      <a:pt x="1098" y="484"/>
                    </a:lnTo>
                    <a:lnTo>
                      <a:pt x="1096" y="476"/>
                    </a:lnTo>
                    <a:lnTo>
                      <a:pt x="1094" y="472"/>
                    </a:lnTo>
                    <a:lnTo>
                      <a:pt x="1090" y="470"/>
                    </a:lnTo>
                    <a:lnTo>
                      <a:pt x="1090" y="464"/>
                    </a:lnTo>
                    <a:lnTo>
                      <a:pt x="1090" y="460"/>
                    </a:lnTo>
                    <a:lnTo>
                      <a:pt x="1088" y="458"/>
                    </a:lnTo>
                    <a:lnTo>
                      <a:pt x="1088" y="458"/>
                    </a:lnTo>
                    <a:lnTo>
                      <a:pt x="1088" y="456"/>
                    </a:lnTo>
                    <a:lnTo>
                      <a:pt x="1086" y="454"/>
                    </a:lnTo>
                    <a:lnTo>
                      <a:pt x="1086" y="454"/>
                    </a:lnTo>
                    <a:lnTo>
                      <a:pt x="1086" y="454"/>
                    </a:lnTo>
                    <a:lnTo>
                      <a:pt x="1084" y="452"/>
                    </a:lnTo>
                    <a:lnTo>
                      <a:pt x="1084" y="452"/>
                    </a:lnTo>
                    <a:lnTo>
                      <a:pt x="1084" y="452"/>
                    </a:lnTo>
                    <a:lnTo>
                      <a:pt x="1082" y="450"/>
                    </a:lnTo>
                    <a:lnTo>
                      <a:pt x="1078" y="448"/>
                    </a:lnTo>
                    <a:lnTo>
                      <a:pt x="1076" y="446"/>
                    </a:lnTo>
                    <a:lnTo>
                      <a:pt x="1074" y="442"/>
                    </a:lnTo>
                    <a:lnTo>
                      <a:pt x="1072" y="440"/>
                    </a:lnTo>
                    <a:lnTo>
                      <a:pt x="1070" y="438"/>
                    </a:lnTo>
                    <a:lnTo>
                      <a:pt x="1070" y="434"/>
                    </a:lnTo>
                    <a:lnTo>
                      <a:pt x="1070" y="432"/>
                    </a:lnTo>
                    <a:lnTo>
                      <a:pt x="1070" y="428"/>
                    </a:lnTo>
                    <a:lnTo>
                      <a:pt x="1072" y="428"/>
                    </a:lnTo>
                    <a:lnTo>
                      <a:pt x="1072" y="426"/>
                    </a:lnTo>
                    <a:lnTo>
                      <a:pt x="1072" y="426"/>
                    </a:lnTo>
                    <a:lnTo>
                      <a:pt x="1074" y="424"/>
                    </a:lnTo>
                    <a:lnTo>
                      <a:pt x="1074" y="422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2"/>
                    </a:lnTo>
                    <a:lnTo>
                      <a:pt x="1076" y="412"/>
                    </a:lnTo>
                    <a:lnTo>
                      <a:pt x="1076" y="410"/>
                    </a:lnTo>
                    <a:lnTo>
                      <a:pt x="1078" y="410"/>
                    </a:lnTo>
                    <a:lnTo>
                      <a:pt x="1082" y="412"/>
                    </a:lnTo>
                    <a:lnTo>
                      <a:pt x="1084" y="412"/>
                    </a:lnTo>
                    <a:lnTo>
                      <a:pt x="1086" y="412"/>
                    </a:lnTo>
                    <a:lnTo>
                      <a:pt x="1088" y="414"/>
                    </a:lnTo>
                    <a:lnTo>
                      <a:pt x="1090" y="416"/>
                    </a:lnTo>
                    <a:lnTo>
                      <a:pt x="1094" y="418"/>
                    </a:lnTo>
                    <a:lnTo>
                      <a:pt x="1096" y="420"/>
                    </a:lnTo>
                    <a:lnTo>
                      <a:pt x="1098" y="422"/>
                    </a:lnTo>
                    <a:lnTo>
                      <a:pt x="1100" y="422"/>
                    </a:lnTo>
                    <a:lnTo>
                      <a:pt x="1104" y="424"/>
                    </a:lnTo>
                    <a:lnTo>
                      <a:pt x="1106" y="426"/>
                    </a:lnTo>
                    <a:lnTo>
                      <a:pt x="1106" y="428"/>
                    </a:lnTo>
                    <a:lnTo>
                      <a:pt x="1108" y="432"/>
                    </a:lnTo>
                    <a:lnTo>
                      <a:pt x="1108" y="432"/>
                    </a:lnTo>
                    <a:lnTo>
                      <a:pt x="1110" y="432"/>
                    </a:lnTo>
                    <a:lnTo>
                      <a:pt x="1112" y="436"/>
                    </a:lnTo>
                    <a:lnTo>
                      <a:pt x="1112" y="436"/>
                    </a:lnTo>
                    <a:lnTo>
                      <a:pt x="1112" y="436"/>
                    </a:lnTo>
                    <a:lnTo>
                      <a:pt x="1114" y="438"/>
                    </a:lnTo>
                    <a:lnTo>
                      <a:pt x="1118" y="440"/>
                    </a:lnTo>
                    <a:lnTo>
                      <a:pt x="1122" y="442"/>
                    </a:lnTo>
                    <a:lnTo>
                      <a:pt x="1124" y="444"/>
                    </a:lnTo>
                    <a:lnTo>
                      <a:pt x="1126" y="446"/>
                    </a:lnTo>
                    <a:lnTo>
                      <a:pt x="1128" y="448"/>
                    </a:lnTo>
                    <a:lnTo>
                      <a:pt x="1128" y="452"/>
                    </a:lnTo>
                    <a:lnTo>
                      <a:pt x="1128" y="452"/>
                    </a:lnTo>
                    <a:lnTo>
                      <a:pt x="1132" y="452"/>
                    </a:lnTo>
                    <a:lnTo>
                      <a:pt x="1132" y="452"/>
                    </a:lnTo>
                    <a:lnTo>
                      <a:pt x="1134" y="452"/>
                    </a:lnTo>
                    <a:lnTo>
                      <a:pt x="1136" y="448"/>
                    </a:lnTo>
                    <a:lnTo>
                      <a:pt x="1138" y="444"/>
                    </a:lnTo>
                    <a:lnTo>
                      <a:pt x="1142" y="438"/>
                    </a:lnTo>
                    <a:lnTo>
                      <a:pt x="1142" y="438"/>
                    </a:lnTo>
                    <a:lnTo>
                      <a:pt x="1144" y="436"/>
                    </a:lnTo>
                    <a:lnTo>
                      <a:pt x="1144" y="430"/>
                    </a:lnTo>
                    <a:lnTo>
                      <a:pt x="1144" y="422"/>
                    </a:lnTo>
                    <a:lnTo>
                      <a:pt x="1142" y="414"/>
                    </a:lnTo>
                    <a:lnTo>
                      <a:pt x="1142" y="408"/>
                    </a:lnTo>
                    <a:lnTo>
                      <a:pt x="1142" y="408"/>
                    </a:lnTo>
                    <a:lnTo>
                      <a:pt x="1142" y="406"/>
                    </a:lnTo>
                    <a:lnTo>
                      <a:pt x="1140" y="400"/>
                    </a:lnTo>
                    <a:lnTo>
                      <a:pt x="1140" y="400"/>
                    </a:lnTo>
                    <a:lnTo>
                      <a:pt x="1138" y="400"/>
                    </a:lnTo>
                    <a:lnTo>
                      <a:pt x="1138" y="396"/>
                    </a:lnTo>
                    <a:lnTo>
                      <a:pt x="1136" y="394"/>
                    </a:lnTo>
                    <a:lnTo>
                      <a:pt x="1136" y="394"/>
                    </a:lnTo>
                    <a:lnTo>
                      <a:pt x="1134" y="394"/>
                    </a:lnTo>
                    <a:lnTo>
                      <a:pt x="1132" y="392"/>
                    </a:lnTo>
                    <a:lnTo>
                      <a:pt x="1132" y="392"/>
                    </a:lnTo>
                    <a:lnTo>
                      <a:pt x="1132" y="390"/>
                    </a:lnTo>
                    <a:lnTo>
                      <a:pt x="1130" y="388"/>
                    </a:lnTo>
                    <a:lnTo>
                      <a:pt x="1130" y="388"/>
                    </a:lnTo>
                    <a:lnTo>
                      <a:pt x="1128" y="388"/>
                    </a:lnTo>
                    <a:lnTo>
                      <a:pt x="1126" y="388"/>
                    </a:lnTo>
                    <a:lnTo>
                      <a:pt x="1126" y="388"/>
                    </a:lnTo>
                    <a:lnTo>
                      <a:pt x="1126" y="388"/>
                    </a:lnTo>
                    <a:lnTo>
                      <a:pt x="1122" y="386"/>
                    </a:lnTo>
                    <a:lnTo>
                      <a:pt x="1122" y="386"/>
                    </a:lnTo>
                    <a:lnTo>
                      <a:pt x="1120" y="382"/>
                    </a:lnTo>
                    <a:lnTo>
                      <a:pt x="1118" y="380"/>
                    </a:lnTo>
                    <a:lnTo>
                      <a:pt x="1118" y="378"/>
                    </a:lnTo>
                    <a:lnTo>
                      <a:pt x="1118" y="378"/>
                    </a:lnTo>
                    <a:lnTo>
                      <a:pt x="1118" y="378"/>
                    </a:lnTo>
                    <a:lnTo>
                      <a:pt x="1116" y="378"/>
                    </a:lnTo>
                    <a:lnTo>
                      <a:pt x="1116" y="376"/>
                    </a:lnTo>
                    <a:lnTo>
                      <a:pt x="1114" y="376"/>
                    </a:lnTo>
                    <a:lnTo>
                      <a:pt x="1110" y="374"/>
                    </a:lnTo>
                    <a:lnTo>
                      <a:pt x="1108" y="374"/>
                    </a:lnTo>
                    <a:lnTo>
                      <a:pt x="1108" y="374"/>
                    </a:lnTo>
                    <a:lnTo>
                      <a:pt x="1106" y="372"/>
                    </a:lnTo>
                    <a:lnTo>
                      <a:pt x="1100" y="364"/>
                    </a:lnTo>
                    <a:lnTo>
                      <a:pt x="1094" y="356"/>
                    </a:lnTo>
                    <a:lnTo>
                      <a:pt x="1086" y="348"/>
                    </a:lnTo>
                    <a:lnTo>
                      <a:pt x="1082" y="344"/>
                    </a:lnTo>
                    <a:lnTo>
                      <a:pt x="1078" y="340"/>
                    </a:lnTo>
                    <a:lnTo>
                      <a:pt x="1072" y="336"/>
                    </a:lnTo>
                    <a:lnTo>
                      <a:pt x="1068" y="334"/>
                    </a:lnTo>
                    <a:lnTo>
                      <a:pt x="1062" y="328"/>
                    </a:lnTo>
                    <a:lnTo>
                      <a:pt x="1058" y="326"/>
                    </a:lnTo>
                    <a:lnTo>
                      <a:pt x="1054" y="322"/>
                    </a:lnTo>
                    <a:lnTo>
                      <a:pt x="1052" y="318"/>
                    </a:lnTo>
                    <a:lnTo>
                      <a:pt x="1050" y="316"/>
                    </a:lnTo>
                    <a:lnTo>
                      <a:pt x="1050" y="314"/>
                    </a:lnTo>
                    <a:lnTo>
                      <a:pt x="1050" y="314"/>
                    </a:lnTo>
                    <a:lnTo>
                      <a:pt x="1050" y="314"/>
                    </a:lnTo>
                    <a:lnTo>
                      <a:pt x="1050" y="312"/>
                    </a:lnTo>
                    <a:lnTo>
                      <a:pt x="1050" y="312"/>
                    </a:lnTo>
                    <a:lnTo>
                      <a:pt x="1050" y="312"/>
                    </a:lnTo>
                    <a:lnTo>
                      <a:pt x="1050" y="310"/>
                    </a:lnTo>
                    <a:lnTo>
                      <a:pt x="1050" y="310"/>
                    </a:lnTo>
                    <a:lnTo>
                      <a:pt x="1050" y="308"/>
                    </a:lnTo>
                    <a:lnTo>
                      <a:pt x="1050" y="306"/>
                    </a:lnTo>
                    <a:lnTo>
                      <a:pt x="1050" y="306"/>
                    </a:lnTo>
                    <a:lnTo>
                      <a:pt x="1050" y="306"/>
                    </a:lnTo>
                    <a:lnTo>
                      <a:pt x="1048" y="304"/>
                    </a:lnTo>
                    <a:lnTo>
                      <a:pt x="1048" y="304"/>
                    </a:lnTo>
                    <a:lnTo>
                      <a:pt x="1048" y="304"/>
                    </a:lnTo>
                    <a:lnTo>
                      <a:pt x="1048" y="302"/>
                    </a:lnTo>
                    <a:lnTo>
                      <a:pt x="1048" y="302"/>
                    </a:lnTo>
                    <a:lnTo>
                      <a:pt x="1046" y="302"/>
                    </a:lnTo>
                    <a:lnTo>
                      <a:pt x="1044" y="300"/>
                    </a:lnTo>
                    <a:lnTo>
                      <a:pt x="1044" y="300"/>
                    </a:lnTo>
                    <a:lnTo>
                      <a:pt x="1044" y="300"/>
                    </a:lnTo>
                    <a:lnTo>
                      <a:pt x="1042" y="300"/>
                    </a:lnTo>
                    <a:lnTo>
                      <a:pt x="1040" y="298"/>
                    </a:lnTo>
                    <a:lnTo>
                      <a:pt x="1040" y="294"/>
                    </a:lnTo>
                    <a:lnTo>
                      <a:pt x="1038" y="292"/>
                    </a:lnTo>
                    <a:lnTo>
                      <a:pt x="1038" y="288"/>
                    </a:lnTo>
                    <a:lnTo>
                      <a:pt x="1038" y="286"/>
                    </a:lnTo>
                    <a:lnTo>
                      <a:pt x="1040" y="284"/>
                    </a:lnTo>
                    <a:lnTo>
                      <a:pt x="1040" y="280"/>
                    </a:lnTo>
                    <a:lnTo>
                      <a:pt x="1042" y="278"/>
                    </a:lnTo>
                    <a:lnTo>
                      <a:pt x="1046" y="272"/>
                    </a:lnTo>
                    <a:lnTo>
                      <a:pt x="1050" y="268"/>
                    </a:lnTo>
                    <a:lnTo>
                      <a:pt x="1054" y="262"/>
                    </a:lnTo>
                    <a:lnTo>
                      <a:pt x="1058" y="256"/>
                    </a:lnTo>
                    <a:lnTo>
                      <a:pt x="1058" y="256"/>
                    </a:lnTo>
                    <a:lnTo>
                      <a:pt x="1058" y="252"/>
                    </a:lnTo>
                    <a:lnTo>
                      <a:pt x="1056" y="250"/>
                    </a:lnTo>
                    <a:lnTo>
                      <a:pt x="1056" y="250"/>
                    </a:lnTo>
                    <a:lnTo>
                      <a:pt x="1054" y="250"/>
                    </a:lnTo>
                    <a:lnTo>
                      <a:pt x="1052" y="248"/>
                    </a:lnTo>
                    <a:lnTo>
                      <a:pt x="1052" y="248"/>
                    </a:lnTo>
                    <a:lnTo>
                      <a:pt x="1052" y="248"/>
                    </a:lnTo>
                    <a:lnTo>
                      <a:pt x="1050" y="246"/>
                    </a:lnTo>
                    <a:lnTo>
                      <a:pt x="1050" y="246"/>
                    </a:lnTo>
                    <a:lnTo>
                      <a:pt x="1048" y="246"/>
                    </a:lnTo>
                    <a:lnTo>
                      <a:pt x="1046" y="246"/>
                    </a:lnTo>
                    <a:lnTo>
                      <a:pt x="1046" y="246"/>
                    </a:lnTo>
                    <a:lnTo>
                      <a:pt x="1046" y="246"/>
                    </a:lnTo>
                    <a:lnTo>
                      <a:pt x="1044" y="248"/>
                    </a:lnTo>
                    <a:lnTo>
                      <a:pt x="1040" y="248"/>
                    </a:lnTo>
                    <a:lnTo>
                      <a:pt x="1034" y="250"/>
                    </a:lnTo>
                    <a:lnTo>
                      <a:pt x="1034" y="250"/>
                    </a:lnTo>
                    <a:lnTo>
                      <a:pt x="1034" y="250"/>
                    </a:lnTo>
                    <a:lnTo>
                      <a:pt x="1030" y="252"/>
                    </a:lnTo>
                    <a:lnTo>
                      <a:pt x="1030" y="252"/>
                    </a:lnTo>
                    <a:lnTo>
                      <a:pt x="1030" y="252"/>
                    </a:lnTo>
                    <a:lnTo>
                      <a:pt x="1028" y="254"/>
                    </a:lnTo>
                    <a:lnTo>
                      <a:pt x="1028" y="254"/>
                    </a:lnTo>
                    <a:lnTo>
                      <a:pt x="1028" y="256"/>
                    </a:lnTo>
                    <a:lnTo>
                      <a:pt x="1028" y="258"/>
                    </a:lnTo>
                    <a:lnTo>
                      <a:pt x="1026" y="260"/>
                    </a:lnTo>
                    <a:lnTo>
                      <a:pt x="1024" y="264"/>
                    </a:lnTo>
                    <a:lnTo>
                      <a:pt x="1022" y="266"/>
                    </a:lnTo>
                    <a:lnTo>
                      <a:pt x="1020" y="268"/>
                    </a:lnTo>
                    <a:lnTo>
                      <a:pt x="1020" y="268"/>
                    </a:lnTo>
                    <a:lnTo>
                      <a:pt x="1020" y="270"/>
                    </a:lnTo>
                    <a:lnTo>
                      <a:pt x="1020" y="270"/>
                    </a:lnTo>
                    <a:lnTo>
                      <a:pt x="1020" y="270"/>
                    </a:lnTo>
                    <a:lnTo>
                      <a:pt x="1018" y="268"/>
                    </a:lnTo>
                    <a:lnTo>
                      <a:pt x="1018" y="264"/>
                    </a:lnTo>
                    <a:lnTo>
                      <a:pt x="1016" y="260"/>
                    </a:lnTo>
                    <a:lnTo>
                      <a:pt x="1016" y="258"/>
                    </a:lnTo>
                    <a:lnTo>
                      <a:pt x="1016" y="258"/>
                    </a:lnTo>
                    <a:lnTo>
                      <a:pt x="1016" y="256"/>
                    </a:lnTo>
                    <a:lnTo>
                      <a:pt x="1014" y="254"/>
                    </a:lnTo>
                    <a:lnTo>
                      <a:pt x="1014" y="254"/>
                    </a:lnTo>
                    <a:lnTo>
                      <a:pt x="1014" y="252"/>
                    </a:lnTo>
                    <a:lnTo>
                      <a:pt x="1014" y="248"/>
                    </a:lnTo>
                    <a:lnTo>
                      <a:pt x="1014" y="246"/>
                    </a:lnTo>
                    <a:lnTo>
                      <a:pt x="1014" y="244"/>
                    </a:lnTo>
                    <a:lnTo>
                      <a:pt x="1014" y="242"/>
                    </a:lnTo>
                    <a:lnTo>
                      <a:pt x="1014" y="240"/>
                    </a:lnTo>
                    <a:lnTo>
                      <a:pt x="1016" y="238"/>
                    </a:lnTo>
                    <a:lnTo>
                      <a:pt x="1018" y="238"/>
                    </a:lnTo>
                    <a:lnTo>
                      <a:pt x="1018" y="238"/>
                    </a:lnTo>
                    <a:lnTo>
                      <a:pt x="1020" y="236"/>
                    </a:lnTo>
                    <a:lnTo>
                      <a:pt x="1022" y="234"/>
                    </a:lnTo>
                    <a:lnTo>
                      <a:pt x="1022" y="234"/>
                    </a:lnTo>
                    <a:lnTo>
                      <a:pt x="1022" y="232"/>
                    </a:lnTo>
                    <a:lnTo>
                      <a:pt x="1024" y="230"/>
                    </a:lnTo>
                    <a:lnTo>
                      <a:pt x="1024" y="230"/>
                    </a:lnTo>
                    <a:lnTo>
                      <a:pt x="1024" y="230"/>
                    </a:lnTo>
                    <a:lnTo>
                      <a:pt x="1026" y="226"/>
                    </a:lnTo>
                    <a:lnTo>
                      <a:pt x="1026" y="222"/>
                    </a:lnTo>
                    <a:lnTo>
                      <a:pt x="1026" y="222"/>
                    </a:lnTo>
                    <a:lnTo>
                      <a:pt x="1026" y="218"/>
                    </a:lnTo>
                    <a:lnTo>
                      <a:pt x="1024" y="216"/>
                    </a:lnTo>
                    <a:lnTo>
                      <a:pt x="1022" y="216"/>
                    </a:lnTo>
                    <a:lnTo>
                      <a:pt x="1022" y="214"/>
                    </a:lnTo>
                    <a:lnTo>
                      <a:pt x="1020" y="212"/>
                    </a:lnTo>
                    <a:lnTo>
                      <a:pt x="1020" y="212"/>
                    </a:lnTo>
                    <a:lnTo>
                      <a:pt x="1020" y="212"/>
                    </a:lnTo>
                    <a:lnTo>
                      <a:pt x="1020" y="210"/>
                    </a:lnTo>
                    <a:lnTo>
                      <a:pt x="1020" y="210"/>
                    </a:lnTo>
                    <a:lnTo>
                      <a:pt x="1018" y="210"/>
                    </a:lnTo>
                    <a:lnTo>
                      <a:pt x="1016" y="210"/>
                    </a:lnTo>
                    <a:lnTo>
                      <a:pt x="1016" y="210"/>
                    </a:lnTo>
                    <a:lnTo>
                      <a:pt x="1016" y="210"/>
                    </a:lnTo>
                    <a:lnTo>
                      <a:pt x="1014" y="210"/>
                    </a:lnTo>
                    <a:lnTo>
                      <a:pt x="1014" y="210"/>
                    </a:lnTo>
                    <a:lnTo>
                      <a:pt x="1014" y="210"/>
                    </a:lnTo>
                    <a:lnTo>
                      <a:pt x="1010" y="210"/>
                    </a:lnTo>
                    <a:lnTo>
                      <a:pt x="1010" y="210"/>
                    </a:lnTo>
                    <a:lnTo>
                      <a:pt x="1010" y="212"/>
                    </a:lnTo>
                    <a:lnTo>
                      <a:pt x="1006" y="214"/>
                    </a:lnTo>
                    <a:lnTo>
                      <a:pt x="1004" y="216"/>
                    </a:lnTo>
                    <a:lnTo>
                      <a:pt x="1000" y="222"/>
                    </a:lnTo>
                    <a:lnTo>
                      <a:pt x="996" y="226"/>
                    </a:lnTo>
                    <a:lnTo>
                      <a:pt x="994" y="228"/>
                    </a:lnTo>
                    <a:lnTo>
                      <a:pt x="992" y="230"/>
                    </a:lnTo>
                    <a:lnTo>
                      <a:pt x="992" y="230"/>
                    </a:lnTo>
                    <a:lnTo>
                      <a:pt x="990" y="232"/>
                    </a:lnTo>
                    <a:lnTo>
                      <a:pt x="990" y="234"/>
                    </a:lnTo>
                    <a:lnTo>
                      <a:pt x="990" y="234"/>
                    </a:lnTo>
                    <a:lnTo>
                      <a:pt x="990" y="234"/>
                    </a:lnTo>
                    <a:lnTo>
                      <a:pt x="988" y="234"/>
                    </a:lnTo>
                    <a:lnTo>
                      <a:pt x="986" y="234"/>
                    </a:lnTo>
                    <a:lnTo>
                      <a:pt x="984" y="232"/>
                    </a:lnTo>
                    <a:lnTo>
                      <a:pt x="982" y="232"/>
                    </a:lnTo>
                    <a:lnTo>
                      <a:pt x="980" y="230"/>
                    </a:lnTo>
                    <a:lnTo>
                      <a:pt x="980" y="228"/>
                    </a:lnTo>
                    <a:lnTo>
                      <a:pt x="978" y="226"/>
                    </a:lnTo>
                    <a:lnTo>
                      <a:pt x="978" y="226"/>
                    </a:lnTo>
                    <a:lnTo>
                      <a:pt x="976" y="224"/>
                    </a:lnTo>
                    <a:lnTo>
                      <a:pt x="972" y="220"/>
                    </a:lnTo>
                    <a:lnTo>
                      <a:pt x="970" y="218"/>
                    </a:lnTo>
                    <a:lnTo>
                      <a:pt x="970" y="216"/>
                    </a:lnTo>
                    <a:lnTo>
                      <a:pt x="970" y="214"/>
                    </a:lnTo>
                    <a:lnTo>
                      <a:pt x="968" y="210"/>
                    </a:lnTo>
                    <a:lnTo>
                      <a:pt x="968" y="210"/>
                    </a:lnTo>
                    <a:lnTo>
                      <a:pt x="968" y="210"/>
                    </a:lnTo>
                    <a:lnTo>
                      <a:pt x="968" y="208"/>
                    </a:lnTo>
                    <a:lnTo>
                      <a:pt x="968" y="208"/>
                    </a:lnTo>
                    <a:lnTo>
                      <a:pt x="968" y="208"/>
                    </a:lnTo>
                    <a:lnTo>
                      <a:pt x="966" y="206"/>
                    </a:lnTo>
                    <a:lnTo>
                      <a:pt x="966" y="206"/>
                    </a:lnTo>
                    <a:lnTo>
                      <a:pt x="966" y="206"/>
                    </a:lnTo>
                    <a:lnTo>
                      <a:pt x="964" y="204"/>
                    </a:lnTo>
                    <a:lnTo>
                      <a:pt x="962" y="202"/>
                    </a:lnTo>
                    <a:lnTo>
                      <a:pt x="962" y="202"/>
                    </a:lnTo>
                    <a:lnTo>
                      <a:pt x="962" y="198"/>
                    </a:lnTo>
                    <a:lnTo>
                      <a:pt x="964" y="196"/>
                    </a:lnTo>
                    <a:lnTo>
                      <a:pt x="964" y="194"/>
                    </a:lnTo>
                    <a:lnTo>
                      <a:pt x="964" y="192"/>
                    </a:lnTo>
                    <a:lnTo>
                      <a:pt x="966" y="192"/>
                    </a:lnTo>
                    <a:lnTo>
                      <a:pt x="968" y="190"/>
                    </a:lnTo>
                    <a:lnTo>
                      <a:pt x="968" y="190"/>
                    </a:lnTo>
                    <a:lnTo>
                      <a:pt x="968" y="188"/>
                    </a:lnTo>
                    <a:lnTo>
                      <a:pt x="970" y="186"/>
                    </a:lnTo>
                    <a:lnTo>
                      <a:pt x="970" y="186"/>
                    </a:lnTo>
                    <a:lnTo>
                      <a:pt x="970" y="184"/>
                    </a:lnTo>
                    <a:lnTo>
                      <a:pt x="972" y="182"/>
                    </a:lnTo>
                    <a:lnTo>
                      <a:pt x="972" y="182"/>
                    </a:lnTo>
                    <a:lnTo>
                      <a:pt x="972" y="180"/>
                    </a:lnTo>
                    <a:lnTo>
                      <a:pt x="972" y="178"/>
                    </a:lnTo>
                    <a:lnTo>
                      <a:pt x="972" y="178"/>
                    </a:lnTo>
                    <a:lnTo>
                      <a:pt x="972" y="176"/>
                    </a:lnTo>
                    <a:lnTo>
                      <a:pt x="970" y="174"/>
                    </a:lnTo>
                    <a:lnTo>
                      <a:pt x="970" y="174"/>
                    </a:lnTo>
                    <a:lnTo>
                      <a:pt x="970" y="174"/>
                    </a:lnTo>
                    <a:lnTo>
                      <a:pt x="968" y="170"/>
                    </a:lnTo>
                    <a:lnTo>
                      <a:pt x="968" y="170"/>
                    </a:lnTo>
                    <a:lnTo>
                      <a:pt x="968" y="170"/>
                    </a:lnTo>
                    <a:lnTo>
                      <a:pt x="966" y="168"/>
                    </a:lnTo>
                    <a:lnTo>
                      <a:pt x="966" y="168"/>
                    </a:lnTo>
                    <a:lnTo>
                      <a:pt x="966" y="168"/>
                    </a:lnTo>
                    <a:lnTo>
                      <a:pt x="962" y="164"/>
                    </a:lnTo>
                    <a:lnTo>
                      <a:pt x="960" y="162"/>
                    </a:lnTo>
                    <a:lnTo>
                      <a:pt x="958" y="160"/>
                    </a:lnTo>
                    <a:lnTo>
                      <a:pt x="954" y="156"/>
                    </a:lnTo>
                    <a:lnTo>
                      <a:pt x="950" y="152"/>
                    </a:lnTo>
                    <a:lnTo>
                      <a:pt x="950" y="152"/>
                    </a:lnTo>
                    <a:lnTo>
                      <a:pt x="948" y="152"/>
                    </a:lnTo>
                    <a:lnTo>
                      <a:pt x="946" y="150"/>
                    </a:lnTo>
                    <a:lnTo>
                      <a:pt x="946" y="150"/>
                    </a:lnTo>
                    <a:lnTo>
                      <a:pt x="946" y="150"/>
                    </a:lnTo>
                    <a:lnTo>
                      <a:pt x="944" y="150"/>
                    </a:lnTo>
                    <a:lnTo>
                      <a:pt x="942" y="148"/>
                    </a:lnTo>
                    <a:lnTo>
                      <a:pt x="942" y="148"/>
                    </a:lnTo>
                    <a:lnTo>
                      <a:pt x="942" y="148"/>
                    </a:lnTo>
                    <a:lnTo>
                      <a:pt x="940" y="148"/>
                    </a:lnTo>
                    <a:lnTo>
                      <a:pt x="940" y="148"/>
                    </a:lnTo>
                    <a:lnTo>
                      <a:pt x="938" y="148"/>
                    </a:lnTo>
                    <a:lnTo>
                      <a:pt x="936" y="148"/>
                    </a:lnTo>
                    <a:lnTo>
                      <a:pt x="936" y="148"/>
                    </a:lnTo>
                    <a:lnTo>
                      <a:pt x="936" y="148"/>
                    </a:lnTo>
                    <a:lnTo>
                      <a:pt x="934" y="148"/>
                    </a:lnTo>
                    <a:lnTo>
                      <a:pt x="934" y="148"/>
                    </a:lnTo>
                    <a:lnTo>
                      <a:pt x="934" y="148"/>
                    </a:lnTo>
                    <a:lnTo>
                      <a:pt x="930" y="150"/>
                    </a:lnTo>
                    <a:lnTo>
                      <a:pt x="930" y="150"/>
                    </a:lnTo>
                    <a:lnTo>
                      <a:pt x="930" y="150"/>
                    </a:lnTo>
                    <a:lnTo>
                      <a:pt x="926" y="152"/>
                    </a:lnTo>
                    <a:lnTo>
                      <a:pt x="926" y="152"/>
                    </a:lnTo>
                    <a:lnTo>
                      <a:pt x="924" y="154"/>
                    </a:lnTo>
                    <a:lnTo>
                      <a:pt x="924" y="156"/>
                    </a:lnTo>
                    <a:lnTo>
                      <a:pt x="922" y="160"/>
                    </a:lnTo>
                    <a:lnTo>
                      <a:pt x="922" y="160"/>
                    </a:lnTo>
                    <a:lnTo>
                      <a:pt x="922" y="160"/>
                    </a:lnTo>
                    <a:lnTo>
                      <a:pt x="922" y="162"/>
                    </a:lnTo>
                    <a:lnTo>
                      <a:pt x="922" y="162"/>
                    </a:lnTo>
                    <a:lnTo>
                      <a:pt x="922" y="162"/>
                    </a:lnTo>
                    <a:lnTo>
                      <a:pt x="922" y="164"/>
                    </a:lnTo>
                    <a:lnTo>
                      <a:pt x="922" y="164"/>
                    </a:lnTo>
                    <a:lnTo>
                      <a:pt x="922" y="166"/>
                    </a:lnTo>
                    <a:lnTo>
                      <a:pt x="922" y="168"/>
                    </a:lnTo>
                    <a:lnTo>
                      <a:pt x="922" y="168"/>
                    </a:lnTo>
                    <a:lnTo>
                      <a:pt x="922" y="168"/>
                    </a:lnTo>
                    <a:lnTo>
                      <a:pt x="924" y="170"/>
                    </a:lnTo>
                    <a:lnTo>
                      <a:pt x="924" y="170"/>
                    </a:lnTo>
                    <a:lnTo>
                      <a:pt x="924" y="172"/>
                    </a:lnTo>
                    <a:lnTo>
                      <a:pt x="926" y="172"/>
                    </a:lnTo>
                    <a:lnTo>
                      <a:pt x="926" y="172"/>
                    </a:lnTo>
                    <a:lnTo>
                      <a:pt x="928" y="172"/>
                    </a:lnTo>
                    <a:lnTo>
                      <a:pt x="930" y="174"/>
                    </a:lnTo>
                    <a:lnTo>
                      <a:pt x="932" y="174"/>
                    </a:lnTo>
                    <a:lnTo>
                      <a:pt x="932" y="174"/>
                    </a:lnTo>
                    <a:lnTo>
                      <a:pt x="932" y="174"/>
                    </a:lnTo>
                    <a:lnTo>
                      <a:pt x="932" y="176"/>
                    </a:lnTo>
                    <a:lnTo>
                      <a:pt x="932" y="176"/>
                    </a:lnTo>
                    <a:lnTo>
                      <a:pt x="932" y="178"/>
                    </a:lnTo>
                    <a:lnTo>
                      <a:pt x="930" y="180"/>
                    </a:lnTo>
                    <a:lnTo>
                      <a:pt x="928" y="182"/>
                    </a:lnTo>
                    <a:lnTo>
                      <a:pt x="926" y="184"/>
                    </a:lnTo>
                    <a:lnTo>
                      <a:pt x="926" y="184"/>
                    </a:lnTo>
                    <a:lnTo>
                      <a:pt x="924" y="186"/>
                    </a:lnTo>
                    <a:lnTo>
                      <a:pt x="924" y="190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2" y="192"/>
                    </a:lnTo>
                    <a:lnTo>
                      <a:pt x="920" y="192"/>
                    </a:lnTo>
                    <a:lnTo>
                      <a:pt x="918" y="188"/>
                    </a:lnTo>
                    <a:lnTo>
                      <a:pt x="918" y="188"/>
                    </a:lnTo>
                    <a:lnTo>
                      <a:pt x="918" y="188"/>
                    </a:lnTo>
                    <a:lnTo>
                      <a:pt x="914" y="184"/>
                    </a:lnTo>
                    <a:lnTo>
                      <a:pt x="914" y="184"/>
                    </a:lnTo>
                    <a:lnTo>
                      <a:pt x="914" y="184"/>
                    </a:lnTo>
                    <a:lnTo>
                      <a:pt x="910" y="180"/>
                    </a:lnTo>
                    <a:lnTo>
                      <a:pt x="906" y="178"/>
                    </a:lnTo>
                    <a:lnTo>
                      <a:pt x="906" y="176"/>
                    </a:lnTo>
                    <a:lnTo>
                      <a:pt x="904" y="176"/>
                    </a:lnTo>
                    <a:lnTo>
                      <a:pt x="904" y="176"/>
                    </a:lnTo>
                    <a:lnTo>
                      <a:pt x="904" y="174"/>
                    </a:lnTo>
                    <a:lnTo>
                      <a:pt x="904" y="174"/>
                    </a:lnTo>
                    <a:lnTo>
                      <a:pt x="904" y="174"/>
                    </a:lnTo>
                    <a:lnTo>
                      <a:pt x="900" y="174"/>
                    </a:lnTo>
                    <a:lnTo>
                      <a:pt x="898" y="174"/>
                    </a:lnTo>
                    <a:lnTo>
                      <a:pt x="898" y="174"/>
                    </a:lnTo>
                    <a:lnTo>
                      <a:pt x="898" y="174"/>
                    </a:lnTo>
                    <a:lnTo>
                      <a:pt x="896" y="176"/>
                    </a:lnTo>
                    <a:lnTo>
                      <a:pt x="896" y="176"/>
                    </a:lnTo>
                    <a:lnTo>
                      <a:pt x="896" y="176"/>
                    </a:lnTo>
                    <a:lnTo>
                      <a:pt x="892" y="178"/>
                    </a:lnTo>
                    <a:lnTo>
                      <a:pt x="890" y="180"/>
                    </a:lnTo>
                    <a:lnTo>
                      <a:pt x="888" y="182"/>
                    </a:lnTo>
                    <a:lnTo>
                      <a:pt x="888" y="184"/>
                    </a:lnTo>
                    <a:lnTo>
                      <a:pt x="886" y="184"/>
                    </a:lnTo>
                    <a:lnTo>
                      <a:pt x="886" y="184"/>
                    </a:lnTo>
                    <a:lnTo>
                      <a:pt x="886" y="184"/>
                    </a:lnTo>
                    <a:lnTo>
                      <a:pt x="884" y="190"/>
                    </a:lnTo>
                    <a:lnTo>
                      <a:pt x="884" y="192"/>
                    </a:lnTo>
                    <a:lnTo>
                      <a:pt x="882" y="190"/>
                    </a:lnTo>
                    <a:lnTo>
                      <a:pt x="880" y="186"/>
                    </a:lnTo>
                    <a:lnTo>
                      <a:pt x="880" y="184"/>
                    </a:lnTo>
                    <a:lnTo>
                      <a:pt x="882" y="184"/>
                    </a:lnTo>
                    <a:lnTo>
                      <a:pt x="882" y="182"/>
                    </a:lnTo>
                    <a:lnTo>
                      <a:pt x="884" y="180"/>
                    </a:lnTo>
                    <a:lnTo>
                      <a:pt x="890" y="174"/>
                    </a:lnTo>
                    <a:lnTo>
                      <a:pt x="892" y="172"/>
                    </a:lnTo>
                    <a:lnTo>
                      <a:pt x="892" y="172"/>
                    </a:lnTo>
                    <a:lnTo>
                      <a:pt x="892" y="172"/>
                    </a:lnTo>
                    <a:lnTo>
                      <a:pt x="894" y="168"/>
                    </a:lnTo>
                    <a:lnTo>
                      <a:pt x="894" y="168"/>
                    </a:lnTo>
                    <a:lnTo>
                      <a:pt x="894" y="166"/>
                    </a:lnTo>
                    <a:lnTo>
                      <a:pt x="894" y="158"/>
                    </a:lnTo>
                    <a:lnTo>
                      <a:pt x="894" y="148"/>
                    </a:lnTo>
                    <a:lnTo>
                      <a:pt x="892" y="140"/>
                    </a:lnTo>
                    <a:lnTo>
                      <a:pt x="890" y="130"/>
                    </a:lnTo>
                    <a:lnTo>
                      <a:pt x="888" y="120"/>
                    </a:lnTo>
                    <a:lnTo>
                      <a:pt x="888" y="120"/>
                    </a:lnTo>
                    <a:lnTo>
                      <a:pt x="888" y="120"/>
                    </a:lnTo>
                    <a:lnTo>
                      <a:pt x="882" y="112"/>
                    </a:lnTo>
                    <a:lnTo>
                      <a:pt x="882" y="112"/>
                    </a:lnTo>
                    <a:lnTo>
                      <a:pt x="882" y="112"/>
                    </a:lnTo>
                    <a:lnTo>
                      <a:pt x="880" y="108"/>
                    </a:lnTo>
                    <a:lnTo>
                      <a:pt x="878" y="106"/>
                    </a:lnTo>
                    <a:lnTo>
                      <a:pt x="878" y="106"/>
                    </a:lnTo>
                    <a:lnTo>
                      <a:pt x="876" y="106"/>
                    </a:lnTo>
                    <a:lnTo>
                      <a:pt x="874" y="102"/>
                    </a:lnTo>
                    <a:lnTo>
                      <a:pt x="870" y="100"/>
                    </a:lnTo>
                    <a:lnTo>
                      <a:pt x="870" y="100"/>
                    </a:lnTo>
                    <a:lnTo>
                      <a:pt x="868" y="100"/>
                    </a:lnTo>
                    <a:lnTo>
                      <a:pt x="864" y="100"/>
                    </a:lnTo>
                    <a:lnTo>
                      <a:pt x="860" y="102"/>
                    </a:lnTo>
                    <a:lnTo>
                      <a:pt x="858" y="102"/>
                    </a:lnTo>
                    <a:lnTo>
                      <a:pt x="854" y="104"/>
                    </a:lnTo>
                    <a:lnTo>
                      <a:pt x="852" y="104"/>
                    </a:lnTo>
                    <a:lnTo>
                      <a:pt x="850" y="106"/>
                    </a:lnTo>
                    <a:lnTo>
                      <a:pt x="850" y="106"/>
                    </a:lnTo>
                    <a:lnTo>
                      <a:pt x="850" y="106"/>
                    </a:lnTo>
                    <a:lnTo>
                      <a:pt x="848" y="108"/>
                    </a:lnTo>
                    <a:lnTo>
                      <a:pt x="844" y="110"/>
                    </a:lnTo>
                    <a:lnTo>
                      <a:pt x="842" y="112"/>
                    </a:lnTo>
                    <a:lnTo>
                      <a:pt x="840" y="114"/>
                    </a:lnTo>
                    <a:lnTo>
                      <a:pt x="838" y="116"/>
                    </a:lnTo>
                    <a:lnTo>
                      <a:pt x="836" y="116"/>
                    </a:lnTo>
                    <a:lnTo>
                      <a:pt x="836" y="116"/>
                    </a:lnTo>
                    <a:lnTo>
                      <a:pt x="834" y="116"/>
                    </a:lnTo>
                    <a:lnTo>
                      <a:pt x="832" y="120"/>
                    </a:lnTo>
                    <a:lnTo>
                      <a:pt x="832" y="120"/>
                    </a:lnTo>
                    <a:lnTo>
                      <a:pt x="832" y="120"/>
                    </a:lnTo>
                    <a:lnTo>
                      <a:pt x="830" y="122"/>
                    </a:lnTo>
                    <a:lnTo>
                      <a:pt x="830" y="122"/>
                    </a:lnTo>
                    <a:lnTo>
                      <a:pt x="830" y="124"/>
                    </a:lnTo>
                    <a:lnTo>
                      <a:pt x="828" y="126"/>
                    </a:lnTo>
                    <a:lnTo>
                      <a:pt x="828" y="130"/>
                    </a:lnTo>
                    <a:lnTo>
                      <a:pt x="826" y="134"/>
                    </a:lnTo>
                    <a:lnTo>
                      <a:pt x="826" y="136"/>
                    </a:lnTo>
                    <a:lnTo>
                      <a:pt x="824" y="140"/>
                    </a:lnTo>
                    <a:lnTo>
                      <a:pt x="824" y="140"/>
                    </a:lnTo>
                    <a:lnTo>
                      <a:pt x="822" y="142"/>
                    </a:lnTo>
                    <a:lnTo>
                      <a:pt x="822" y="142"/>
                    </a:lnTo>
                    <a:lnTo>
                      <a:pt x="820" y="142"/>
                    </a:lnTo>
                    <a:lnTo>
                      <a:pt x="820" y="146"/>
                    </a:lnTo>
                    <a:lnTo>
                      <a:pt x="820" y="146"/>
                    </a:lnTo>
                    <a:lnTo>
                      <a:pt x="820" y="146"/>
                    </a:lnTo>
                    <a:lnTo>
                      <a:pt x="820" y="150"/>
                    </a:lnTo>
                    <a:lnTo>
                      <a:pt x="820" y="150"/>
                    </a:lnTo>
                    <a:lnTo>
                      <a:pt x="820" y="150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20" y="162"/>
                    </a:lnTo>
                    <a:lnTo>
                      <a:pt x="822" y="166"/>
                    </a:lnTo>
                    <a:lnTo>
                      <a:pt x="824" y="168"/>
                    </a:lnTo>
                    <a:lnTo>
                      <a:pt x="824" y="170"/>
                    </a:lnTo>
                    <a:lnTo>
                      <a:pt x="824" y="174"/>
                    </a:lnTo>
                    <a:lnTo>
                      <a:pt x="824" y="178"/>
                    </a:lnTo>
                    <a:lnTo>
                      <a:pt x="824" y="182"/>
                    </a:lnTo>
                    <a:lnTo>
                      <a:pt x="824" y="184"/>
                    </a:lnTo>
                    <a:lnTo>
                      <a:pt x="824" y="184"/>
                    </a:lnTo>
                    <a:lnTo>
                      <a:pt x="824" y="186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20" y="188"/>
                    </a:lnTo>
                    <a:lnTo>
                      <a:pt x="820" y="188"/>
                    </a:lnTo>
                    <a:lnTo>
                      <a:pt x="820" y="188"/>
                    </a:lnTo>
                    <a:lnTo>
                      <a:pt x="820" y="192"/>
                    </a:lnTo>
                    <a:lnTo>
                      <a:pt x="820" y="192"/>
                    </a:lnTo>
                    <a:lnTo>
                      <a:pt x="820" y="192"/>
                    </a:lnTo>
                    <a:lnTo>
                      <a:pt x="822" y="192"/>
                    </a:lnTo>
                    <a:lnTo>
                      <a:pt x="824" y="194"/>
                    </a:lnTo>
                    <a:lnTo>
                      <a:pt x="824" y="194"/>
                    </a:lnTo>
                    <a:lnTo>
                      <a:pt x="826" y="196"/>
                    </a:lnTo>
                    <a:lnTo>
                      <a:pt x="828" y="198"/>
                    </a:lnTo>
                    <a:lnTo>
                      <a:pt x="830" y="200"/>
                    </a:lnTo>
                    <a:lnTo>
                      <a:pt x="830" y="200"/>
                    </a:lnTo>
                    <a:lnTo>
                      <a:pt x="830" y="200"/>
                    </a:lnTo>
                    <a:lnTo>
                      <a:pt x="830" y="202"/>
                    </a:lnTo>
                    <a:lnTo>
                      <a:pt x="830" y="202"/>
                    </a:lnTo>
                    <a:lnTo>
                      <a:pt x="828" y="204"/>
                    </a:lnTo>
                    <a:lnTo>
                      <a:pt x="828" y="204"/>
                    </a:lnTo>
                    <a:lnTo>
                      <a:pt x="828" y="206"/>
                    </a:lnTo>
                    <a:lnTo>
                      <a:pt x="826" y="210"/>
                    </a:lnTo>
                    <a:lnTo>
                      <a:pt x="826" y="212"/>
                    </a:lnTo>
                    <a:lnTo>
                      <a:pt x="824" y="216"/>
                    </a:lnTo>
                    <a:lnTo>
                      <a:pt x="822" y="220"/>
                    </a:lnTo>
                    <a:lnTo>
                      <a:pt x="822" y="220"/>
                    </a:lnTo>
                    <a:lnTo>
                      <a:pt x="820" y="222"/>
                    </a:lnTo>
                    <a:lnTo>
                      <a:pt x="818" y="224"/>
                    </a:lnTo>
                    <a:lnTo>
                      <a:pt x="816" y="224"/>
                    </a:lnTo>
                    <a:lnTo>
                      <a:pt x="818" y="222"/>
                    </a:lnTo>
                    <a:lnTo>
                      <a:pt x="820" y="220"/>
                    </a:lnTo>
                    <a:lnTo>
                      <a:pt x="822" y="216"/>
                    </a:lnTo>
                    <a:lnTo>
                      <a:pt x="824" y="216"/>
                    </a:lnTo>
                    <a:lnTo>
                      <a:pt x="824" y="216"/>
                    </a:lnTo>
                    <a:lnTo>
                      <a:pt x="824" y="216"/>
                    </a:lnTo>
                    <a:lnTo>
                      <a:pt x="824" y="214"/>
                    </a:lnTo>
                    <a:lnTo>
                      <a:pt x="824" y="214"/>
                    </a:lnTo>
                    <a:lnTo>
                      <a:pt x="824" y="212"/>
                    </a:lnTo>
                    <a:lnTo>
                      <a:pt x="824" y="212"/>
                    </a:lnTo>
                    <a:lnTo>
                      <a:pt x="824" y="212"/>
                    </a:lnTo>
                    <a:lnTo>
                      <a:pt x="824" y="210"/>
                    </a:lnTo>
                    <a:lnTo>
                      <a:pt x="824" y="210"/>
                    </a:lnTo>
                    <a:lnTo>
                      <a:pt x="822" y="208"/>
                    </a:lnTo>
                    <a:lnTo>
                      <a:pt x="822" y="208"/>
                    </a:lnTo>
                    <a:lnTo>
                      <a:pt x="822" y="208"/>
                    </a:lnTo>
                    <a:lnTo>
                      <a:pt x="822" y="206"/>
                    </a:lnTo>
                    <a:lnTo>
                      <a:pt x="820" y="202"/>
                    </a:lnTo>
                    <a:lnTo>
                      <a:pt x="816" y="200"/>
                    </a:lnTo>
                    <a:lnTo>
                      <a:pt x="812" y="194"/>
                    </a:lnTo>
                    <a:lnTo>
                      <a:pt x="810" y="190"/>
                    </a:lnTo>
                    <a:lnTo>
                      <a:pt x="808" y="188"/>
                    </a:lnTo>
                    <a:lnTo>
                      <a:pt x="806" y="182"/>
                    </a:lnTo>
                    <a:lnTo>
                      <a:pt x="806" y="176"/>
                    </a:lnTo>
                    <a:lnTo>
                      <a:pt x="806" y="168"/>
                    </a:lnTo>
                    <a:lnTo>
                      <a:pt x="806" y="162"/>
                    </a:lnTo>
                    <a:lnTo>
                      <a:pt x="806" y="156"/>
                    </a:lnTo>
                    <a:lnTo>
                      <a:pt x="808" y="152"/>
                    </a:lnTo>
                    <a:lnTo>
                      <a:pt x="810" y="142"/>
                    </a:lnTo>
                    <a:lnTo>
                      <a:pt x="812" y="132"/>
                    </a:lnTo>
                    <a:lnTo>
                      <a:pt x="814" y="126"/>
                    </a:lnTo>
                    <a:lnTo>
                      <a:pt x="814" y="122"/>
                    </a:lnTo>
                    <a:lnTo>
                      <a:pt x="816" y="120"/>
                    </a:lnTo>
                    <a:lnTo>
                      <a:pt x="818" y="116"/>
                    </a:lnTo>
                    <a:lnTo>
                      <a:pt x="822" y="110"/>
                    </a:lnTo>
                    <a:lnTo>
                      <a:pt x="826" y="106"/>
                    </a:lnTo>
                    <a:lnTo>
                      <a:pt x="828" y="104"/>
                    </a:lnTo>
                    <a:lnTo>
                      <a:pt x="830" y="102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4" y="98"/>
                    </a:lnTo>
                    <a:lnTo>
                      <a:pt x="824" y="98"/>
                    </a:lnTo>
                    <a:lnTo>
                      <a:pt x="820" y="98"/>
                    </a:lnTo>
                    <a:lnTo>
                      <a:pt x="822" y="96"/>
                    </a:lnTo>
                    <a:lnTo>
                      <a:pt x="820" y="94"/>
                    </a:lnTo>
                    <a:lnTo>
                      <a:pt x="820" y="94"/>
                    </a:lnTo>
                    <a:lnTo>
                      <a:pt x="816" y="92"/>
                    </a:lnTo>
                    <a:lnTo>
                      <a:pt x="814" y="90"/>
                    </a:lnTo>
                    <a:lnTo>
                      <a:pt x="812" y="90"/>
                    </a:lnTo>
                    <a:lnTo>
                      <a:pt x="812" y="90"/>
                    </a:lnTo>
                    <a:lnTo>
                      <a:pt x="810" y="90"/>
                    </a:lnTo>
                    <a:lnTo>
                      <a:pt x="808" y="88"/>
                    </a:lnTo>
                    <a:lnTo>
                      <a:pt x="808" y="88"/>
                    </a:lnTo>
                    <a:lnTo>
                      <a:pt x="808" y="88"/>
                    </a:lnTo>
                    <a:lnTo>
                      <a:pt x="806" y="88"/>
                    </a:lnTo>
                    <a:lnTo>
                      <a:pt x="806" y="88"/>
                    </a:lnTo>
                    <a:lnTo>
                      <a:pt x="806" y="88"/>
                    </a:lnTo>
                    <a:lnTo>
                      <a:pt x="804" y="88"/>
                    </a:lnTo>
                    <a:lnTo>
                      <a:pt x="800" y="90"/>
                    </a:lnTo>
                    <a:lnTo>
                      <a:pt x="796" y="92"/>
                    </a:lnTo>
                    <a:lnTo>
                      <a:pt x="792" y="96"/>
                    </a:lnTo>
                    <a:lnTo>
                      <a:pt x="786" y="100"/>
                    </a:lnTo>
                    <a:lnTo>
                      <a:pt x="784" y="102"/>
                    </a:lnTo>
                    <a:lnTo>
                      <a:pt x="782" y="104"/>
                    </a:lnTo>
                    <a:lnTo>
                      <a:pt x="776" y="110"/>
                    </a:lnTo>
                    <a:lnTo>
                      <a:pt x="770" y="114"/>
                    </a:lnTo>
                    <a:lnTo>
                      <a:pt x="768" y="118"/>
                    </a:lnTo>
                    <a:lnTo>
                      <a:pt x="766" y="120"/>
                    </a:lnTo>
                    <a:lnTo>
                      <a:pt x="766" y="120"/>
                    </a:lnTo>
                    <a:lnTo>
                      <a:pt x="766" y="120"/>
                    </a:lnTo>
                    <a:lnTo>
                      <a:pt x="766" y="124"/>
                    </a:lnTo>
                    <a:lnTo>
                      <a:pt x="764" y="126"/>
                    </a:lnTo>
                    <a:lnTo>
                      <a:pt x="762" y="130"/>
                    </a:lnTo>
                    <a:lnTo>
                      <a:pt x="760" y="132"/>
                    </a:lnTo>
                    <a:lnTo>
                      <a:pt x="758" y="138"/>
                    </a:lnTo>
                    <a:lnTo>
                      <a:pt x="758" y="138"/>
                    </a:lnTo>
                    <a:lnTo>
                      <a:pt x="756" y="138"/>
                    </a:lnTo>
                    <a:lnTo>
                      <a:pt x="756" y="144"/>
                    </a:lnTo>
                    <a:lnTo>
                      <a:pt x="756" y="146"/>
                    </a:lnTo>
                    <a:lnTo>
                      <a:pt x="756" y="150"/>
                    </a:lnTo>
                    <a:lnTo>
                      <a:pt x="756" y="152"/>
                    </a:lnTo>
                    <a:lnTo>
                      <a:pt x="754" y="154"/>
                    </a:lnTo>
                    <a:lnTo>
                      <a:pt x="754" y="156"/>
                    </a:lnTo>
                    <a:lnTo>
                      <a:pt x="752" y="158"/>
                    </a:lnTo>
                    <a:lnTo>
                      <a:pt x="752" y="160"/>
                    </a:lnTo>
                    <a:lnTo>
                      <a:pt x="752" y="160"/>
                    </a:lnTo>
                    <a:lnTo>
                      <a:pt x="750" y="162"/>
                    </a:lnTo>
                    <a:lnTo>
                      <a:pt x="750" y="168"/>
                    </a:lnTo>
                    <a:lnTo>
                      <a:pt x="750" y="176"/>
                    </a:lnTo>
                    <a:lnTo>
                      <a:pt x="748" y="188"/>
                    </a:lnTo>
                    <a:lnTo>
                      <a:pt x="748" y="196"/>
                    </a:lnTo>
                    <a:lnTo>
                      <a:pt x="748" y="202"/>
                    </a:lnTo>
                    <a:lnTo>
                      <a:pt x="750" y="208"/>
                    </a:lnTo>
                    <a:lnTo>
                      <a:pt x="750" y="216"/>
                    </a:lnTo>
                    <a:lnTo>
                      <a:pt x="752" y="218"/>
                    </a:lnTo>
                    <a:lnTo>
                      <a:pt x="752" y="222"/>
                    </a:lnTo>
                    <a:lnTo>
                      <a:pt x="752" y="224"/>
                    </a:lnTo>
                    <a:lnTo>
                      <a:pt x="752" y="224"/>
                    </a:lnTo>
                    <a:lnTo>
                      <a:pt x="752" y="224"/>
                    </a:lnTo>
                    <a:lnTo>
                      <a:pt x="754" y="226"/>
                    </a:lnTo>
                    <a:lnTo>
                      <a:pt x="754" y="228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2"/>
                    </a:lnTo>
                    <a:lnTo>
                      <a:pt x="758" y="234"/>
                    </a:lnTo>
                    <a:lnTo>
                      <a:pt x="758" y="236"/>
                    </a:lnTo>
                    <a:lnTo>
                      <a:pt x="760" y="238"/>
                    </a:lnTo>
                    <a:lnTo>
                      <a:pt x="760" y="240"/>
                    </a:lnTo>
                    <a:lnTo>
                      <a:pt x="762" y="242"/>
                    </a:lnTo>
                    <a:lnTo>
                      <a:pt x="762" y="244"/>
                    </a:lnTo>
                    <a:lnTo>
                      <a:pt x="762" y="246"/>
                    </a:lnTo>
                    <a:lnTo>
                      <a:pt x="762" y="248"/>
                    </a:lnTo>
                    <a:lnTo>
                      <a:pt x="764" y="250"/>
                    </a:lnTo>
                    <a:lnTo>
                      <a:pt x="764" y="252"/>
                    </a:lnTo>
                    <a:lnTo>
                      <a:pt x="764" y="254"/>
                    </a:lnTo>
                    <a:lnTo>
                      <a:pt x="764" y="258"/>
                    </a:lnTo>
                    <a:lnTo>
                      <a:pt x="764" y="262"/>
                    </a:lnTo>
                    <a:lnTo>
                      <a:pt x="764" y="262"/>
                    </a:lnTo>
                    <a:lnTo>
                      <a:pt x="766" y="264"/>
                    </a:lnTo>
                    <a:lnTo>
                      <a:pt x="768" y="264"/>
                    </a:lnTo>
                    <a:lnTo>
                      <a:pt x="768" y="264"/>
                    </a:lnTo>
                    <a:lnTo>
                      <a:pt x="770" y="264"/>
                    </a:lnTo>
                    <a:lnTo>
                      <a:pt x="776" y="264"/>
                    </a:lnTo>
                    <a:lnTo>
                      <a:pt x="780" y="262"/>
                    </a:lnTo>
                    <a:lnTo>
                      <a:pt x="786" y="262"/>
                    </a:lnTo>
                    <a:lnTo>
                      <a:pt x="792" y="262"/>
                    </a:lnTo>
                    <a:lnTo>
                      <a:pt x="796" y="262"/>
                    </a:lnTo>
                    <a:lnTo>
                      <a:pt x="796" y="262"/>
                    </a:lnTo>
                    <a:lnTo>
                      <a:pt x="798" y="264"/>
                    </a:lnTo>
                    <a:lnTo>
                      <a:pt x="796" y="264"/>
                    </a:lnTo>
                    <a:lnTo>
                      <a:pt x="794" y="268"/>
                    </a:lnTo>
                    <a:lnTo>
                      <a:pt x="794" y="268"/>
                    </a:lnTo>
                    <a:lnTo>
                      <a:pt x="794" y="268"/>
                    </a:lnTo>
                    <a:lnTo>
                      <a:pt x="794" y="270"/>
                    </a:lnTo>
                    <a:lnTo>
                      <a:pt x="794" y="270"/>
                    </a:lnTo>
                    <a:lnTo>
                      <a:pt x="794" y="272"/>
                    </a:lnTo>
                    <a:lnTo>
                      <a:pt x="794" y="272"/>
                    </a:lnTo>
                    <a:lnTo>
                      <a:pt x="794" y="272"/>
                    </a:lnTo>
                    <a:lnTo>
                      <a:pt x="794" y="274"/>
                    </a:lnTo>
                    <a:lnTo>
                      <a:pt x="796" y="276"/>
                    </a:lnTo>
                    <a:lnTo>
                      <a:pt x="796" y="276"/>
                    </a:lnTo>
                    <a:lnTo>
                      <a:pt x="796" y="276"/>
                    </a:lnTo>
                    <a:lnTo>
                      <a:pt x="798" y="276"/>
                    </a:lnTo>
                    <a:lnTo>
                      <a:pt x="798" y="276"/>
                    </a:lnTo>
                    <a:lnTo>
                      <a:pt x="798" y="278"/>
                    </a:lnTo>
                    <a:lnTo>
                      <a:pt x="800" y="278"/>
                    </a:lnTo>
                    <a:lnTo>
                      <a:pt x="800" y="278"/>
                    </a:lnTo>
                    <a:lnTo>
                      <a:pt x="802" y="278"/>
                    </a:lnTo>
                    <a:lnTo>
                      <a:pt x="808" y="278"/>
                    </a:lnTo>
                    <a:lnTo>
                      <a:pt x="814" y="276"/>
                    </a:lnTo>
                    <a:lnTo>
                      <a:pt x="820" y="276"/>
                    </a:lnTo>
                    <a:lnTo>
                      <a:pt x="822" y="276"/>
                    </a:lnTo>
                    <a:lnTo>
                      <a:pt x="822" y="276"/>
                    </a:lnTo>
                    <a:lnTo>
                      <a:pt x="822" y="276"/>
                    </a:lnTo>
                    <a:lnTo>
                      <a:pt x="820" y="278"/>
                    </a:lnTo>
                    <a:lnTo>
                      <a:pt x="820" y="278"/>
                    </a:lnTo>
                    <a:lnTo>
                      <a:pt x="820" y="280"/>
                    </a:lnTo>
                    <a:lnTo>
                      <a:pt x="818" y="282"/>
                    </a:lnTo>
                    <a:lnTo>
                      <a:pt x="818" y="282"/>
                    </a:lnTo>
                    <a:lnTo>
                      <a:pt x="818" y="284"/>
                    </a:lnTo>
                    <a:lnTo>
                      <a:pt x="818" y="288"/>
                    </a:lnTo>
                    <a:lnTo>
                      <a:pt x="820" y="292"/>
                    </a:lnTo>
                    <a:lnTo>
                      <a:pt x="820" y="298"/>
                    </a:lnTo>
                    <a:lnTo>
                      <a:pt x="822" y="302"/>
                    </a:lnTo>
                    <a:lnTo>
                      <a:pt x="822" y="306"/>
                    </a:lnTo>
                    <a:lnTo>
                      <a:pt x="822" y="310"/>
                    </a:lnTo>
                    <a:lnTo>
                      <a:pt x="820" y="314"/>
                    </a:lnTo>
                    <a:lnTo>
                      <a:pt x="818" y="318"/>
                    </a:lnTo>
                    <a:lnTo>
                      <a:pt x="816" y="326"/>
                    </a:lnTo>
                    <a:lnTo>
                      <a:pt x="812" y="334"/>
                    </a:lnTo>
                    <a:lnTo>
                      <a:pt x="810" y="338"/>
                    </a:lnTo>
                    <a:lnTo>
                      <a:pt x="810" y="342"/>
                    </a:lnTo>
                    <a:lnTo>
                      <a:pt x="808" y="350"/>
                    </a:lnTo>
                    <a:lnTo>
                      <a:pt x="806" y="358"/>
                    </a:lnTo>
                    <a:lnTo>
                      <a:pt x="802" y="364"/>
                    </a:lnTo>
                    <a:lnTo>
                      <a:pt x="802" y="368"/>
                    </a:lnTo>
                    <a:lnTo>
                      <a:pt x="800" y="370"/>
                    </a:lnTo>
                    <a:lnTo>
                      <a:pt x="798" y="374"/>
                    </a:lnTo>
                    <a:lnTo>
                      <a:pt x="796" y="376"/>
                    </a:lnTo>
                    <a:lnTo>
                      <a:pt x="794" y="380"/>
                    </a:lnTo>
                    <a:lnTo>
                      <a:pt x="792" y="382"/>
                    </a:lnTo>
                    <a:lnTo>
                      <a:pt x="790" y="384"/>
                    </a:lnTo>
                    <a:lnTo>
                      <a:pt x="788" y="386"/>
                    </a:lnTo>
                    <a:lnTo>
                      <a:pt x="788" y="386"/>
                    </a:lnTo>
                    <a:lnTo>
                      <a:pt x="788" y="386"/>
                    </a:lnTo>
                    <a:lnTo>
                      <a:pt x="788" y="384"/>
                    </a:lnTo>
                    <a:lnTo>
                      <a:pt x="786" y="382"/>
                    </a:lnTo>
                    <a:lnTo>
                      <a:pt x="784" y="378"/>
                    </a:lnTo>
                    <a:lnTo>
                      <a:pt x="784" y="374"/>
                    </a:lnTo>
                    <a:lnTo>
                      <a:pt x="782" y="366"/>
                    </a:lnTo>
                    <a:lnTo>
                      <a:pt x="780" y="360"/>
                    </a:lnTo>
                    <a:lnTo>
                      <a:pt x="780" y="356"/>
                    </a:lnTo>
                    <a:lnTo>
                      <a:pt x="780" y="354"/>
                    </a:lnTo>
                    <a:lnTo>
                      <a:pt x="780" y="354"/>
                    </a:lnTo>
                    <a:lnTo>
                      <a:pt x="782" y="350"/>
                    </a:lnTo>
                    <a:lnTo>
                      <a:pt x="782" y="348"/>
                    </a:lnTo>
                    <a:lnTo>
                      <a:pt x="784" y="344"/>
                    </a:lnTo>
                    <a:lnTo>
                      <a:pt x="784" y="340"/>
                    </a:lnTo>
                    <a:lnTo>
                      <a:pt x="786" y="338"/>
                    </a:lnTo>
                    <a:lnTo>
                      <a:pt x="786" y="334"/>
                    </a:lnTo>
                    <a:lnTo>
                      <a:pt x="786" y="334"/>
                    </a:lnTo>
                    <a:lnTo>
                      <a:pt x="786" y="332"/>
                    </a:lnTo>
                    <a:lnTo>
                      <a:pt x="786" y="330"/>
                    </a:lnTo>
                    <a:lnTo>
                      <a:pt x="786" y="330"/>
                    </a:lnTo>
                    <a:lnTo>
                      <a:pt x="786" y="328"/>
                    </a:lnTo>
                    <a:lnTo>
                      <a:pt x="786" y="326"/>
                    </a:lnTo>
                    <a:lnTo>
                      <a:pt x="784" y="322"/>
                    </a:lnTo>
                    <a:lnTo>
                      <a:pt x="782" y="316"/>
                    </a:lnTo>
                    <a:lnTo>
                      <a:pt x="780" y="312"/>
                    </a:lnTo>
                    <a:lnTo>
                      <a:pt x="776" y="308"/>
                    </a:lnTo>
                    <a:lnTo>
                      <a:pt x="774" y="306"/>
                    </a:lnTo>
                    <a:lnTo>
                      <a:pt x="774" y="306"/>
                    </a:lnTo>
                    <a:lnTo>
                      <a:pt x="774" y="306"/>
                    </a:lnTo>
                    <a:lnTo>
                      <a:pt x="772" y="304"/>
                    </a:lnTo>
                    <a:lnTo>
                      <a:pt x="772" y="304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68" y="302"/>
                    </a:lnTo>
                    <a:lnTo>
                      <a:pt x="768" y="302"/>
                    </a:lnTo>
                    <a:lnTo>
                      <a:pt x="766" y="302"/>
                    </a:lnTo>
                    <a:lnTo>
                      <a:pt x="766" y="302"/>
                    </a:lnTo>
                    <a:lnTo>
                      <a:pt x="766" y="302"/>
                    </a:lnTo>
                    <a:lnTo>
                      <a:pt x="764" y="302"/>
                    </a:lnTo>
                    <a:lnTo>
                      <a:pt x="764" y="304"/>
                    </a:lnTo>
                    <a:lnTo>
                      <a:pt x="762" y="304"/>
                    </a:lnTo>
                    <a:lnTo>
                      <a:pt x="762" y="304"/>
                    </a:lnTo>
                    <a:lnTo>
                      <a:pt x="762" y="306"/>
                    </a:lnTo>
                    <a:lnTo>
                      <a:pt x="762" y="306"/>
                    </a:lnTo>
                    <a:lnTo>
                      <a:pt x="760" y="310"/>
                    </a:lnTo>
                    <a:lnTo>
                      <a:pt x="758" y="316"/>
                    </a:lnTo>
                    <a:lnTo>
                      <a:pt x="756" y="320"/>
                    </a:lnTo>
                    <a:lnTo>
                      <a:pt x="754" y="324"/>
                    </a:lnTo>
                    <a:lnTo>
                      <a:pt x="752" y="328"/>
                    </a:lnTo>
                    <a:lnTo>
                      <a:pt x="750" y="330"/>
                    </a:lnTo>
                    <a:lnTo>
                      <a:pt x="750" y="330"/>
                    </a:lnTo>
                    <a:lnTo>
                      <a:pt x="748" y="336"/>
                    </a:lnTo>
                    <a:lnTo>
                      <a:pt x="746" y="340"/>
                    </a:lnTo>
                    <a:lnTo>
                      <a:pt x="746" y="336"/>
                    </a:lnTo>
                    <a:lnTo>
                      <a:pt x="746" y="330"/>
                    </a:lnTo>
                    <a:lnTo>
                      <a:pt x="744" y="326"/>
                    </a:lnTo>
                    <a:lnTo>
                      <a:pt x="744" y="320"/>
                    </a:lnTo>
                    <a:lnTo>
                      <a:pt x="742" y="316"/>
                    </a:lnTo>
                    <a:lnTo>
                      <a:pt x="740" y="312"/>
                    </a:lnTo>
                    <a:lnTo>
                      <a:pt x="740" y="312"/>
                    </a:lnTo>
                    <a:lnTo>
                      <a:pt x="740" y="312"/>
                    </a:lnTo>
                    <a:lnTo>
                      <a:pt x="738" y="308"/>
                    </a:lnTo>
                    <a:lnTo>
                      <a:pt x="738" y="308"/>
                    </a:lnTo>
                    <a:lnTo>
                      <a:pt x="738" y="308"/>
                    </a:lnTo>
                    <a:lnTo>
                      <a:pt x="736" y="304"/>
                    </a:lnTo>
                    <a:lnTo>
                      <a:pt x="736" y="304"/>
                    </a:lnTo>
                    <a:lnTo>
                      <a:pt x="736" y="304"/>
                    </a:lnTo>
                    <a:lnTo>
                      <a:pt x="730" y="300"/>
                    </a:lnTo>
                    <a:lnTo>
                      <a:pt x="724" y="296"/>
                    </a:lnTo>
                    <a:lnTo>
                      <a:pt x="720" y="294"/>
                    </a:lnTo>
                    <a:lnTo>
                      <a:pt x="720" y="292"/>
                    </a:lnTo>
                    <a:lnTo>
                      <a:pt x="718" y="292"/>
                    </a:lnTo>
                    <a:lnTo>
                      <a:pt x="714" y="290"/>
                    </a:lnTo>
                    <a:lnTo>
                      <a:pt x="712" y="288"/>
                    </a:lnTo>
                    <a:lnTo>
                      <a:pt x="710" y="286"/>
                    </a:lnTo>
                    <a:lnTo>
                      <a:pt x="710" y="286"/>
                    </a:lnTo>
                    <a:lnTo>
                      <a:pt x="710" y="284"/>
                    </a:lnTo>
                    <a:lnTo>
                      <a:pt x="710" y="284"/>
                    </a:lnTo>
                    <a:lnTo>
                      <a:pt x="710" y="280"/>
                    </a:lnTo>
                    <a:lnTo>
                      <a:pt x="710" y="276"/>
                    </a:lnTo>
                    <a:lnTo>
                      <a:pt x="712" y="272"/>
                    </a:lnTo>
                    <a:lnTo>
                      <a:pt x="714" y="266"/>
                    </a:lnTo>
                    <a:lnTo>
                      <a:pt x="716" y="262"/>
                    </a:lnTo>
                    <a:lnTo>
                      <a:pt x="718" y="256"/>
                    </a:lnTo>
                    <a:lnTo>
                      <a:pt x="720" y="252"/>
                    </a:lnTo>
                    <a:lnTo>
                      <a:pt x="720" y="246"/>
                    </a:lnTo>
                    <a:lnTo>
                      <a:pt x="720" y="238"/>
                    </a:lnTo>
                    <a:lnTo>
                      <a:pt x="720" y="234"/>
                    </a:lnTo>
                    <a:lnTo>
                      <a:pt x="720" y="230"/>
                    </a:lnTo>
                    <a:lnTo>
                      <a:pt x="720" y="226"/>
                    </a:lnTo>
                    <a:lnTo>
                      <a:pt x="718" y="222"/>
                    </a:lnTo>
                    <a:lnTo>
                      <a:pt x="716" y="220"/>
                    </a:lnTo>
                    <a:lnTo>
                      <a:pt x="716" y="220"/>
                    </a:lnTo>
                    <a:lnTo>
                      <a:pt x="716" y="218"/>
                    </a:lnTo>
                    <a:lnTo>
                      <a:pt x="714" y="216"/>
                    </a:lnTo>
                    <a:lnTo>
                      <a:pt x="710" y="212"/>
                    </a:lnTo>
                    <a:lnTo>
                      <a:pt x="706" y="208"/>
                    </a:lnTo>
                    <a:lnTo>
                      <a:pt x="700" y="204"/>
                    </a:lnTo>
                    <a:lnTo>
                      <a:pt x="696" y="200"/>
                    </a:lnTo>
                    <a:lnTo>
                      <a:pt x="690" y="196"/>
                    </a:lnTo>
                    <a:lnTo>
                      <a:pt x="684" y="194"/>
                    </a:lnTo>
                    <a:lnTo>
                      <a:pt x="680" y="192"/>
                    </a:lnTo>
                    <a:lnTo>
                      <a:pt x="680" y="192"/>
                    </a:lnTo>
                    <a:lnTo>
                      <a:pt x="680" y="192"/>
                    </a:lnTo>
                    <a:lnTo>
                      <a:pt x="676" y="190"/>
                    </a:lnTo>
                    <a:lnTo>
                      <a:pt x="676" y="190"/>
                    </a:lnTo>
                    <a:lnTo>
                      <a:pt x="676" y="190"/>
                    </a:lnTo>
                    <a:lnTo>
                      <a:pt x="672" y="190"/>
                    </a:lnTo>
                    <a:lnTo>
                      <a:pt x="672" y="190"/>
                    </a:lnTo>
                    <a:lnTo>
                      <a:pt x="672" y="190"/>
                    </a:lnTo>
                    <a:lnTo>
                      <a:pt x="670" y="192"/>
                    </a:lnTo>
                    <a:lnTo>
                      <a:pt x="670" y="192"/>
                    </a:lnTo>
                    <a:lnTo>
                      <a:pt x="668" y="192"/>
                    </a:lnTo>
                    <a:lnTo>
                      <a:pt x="666" y="192"/>
                    </a:lnTo>
                    <a:lnTo>
                      <a:pt x="666" y="192"/>
                    </a:lnTo>
                    <a:lnTo>
                      <a:pt x="666" y="194"/>
                    </a:lnTo>
                    <a:lnTo>
                      <a:pt x="664" y="196"/>
                    </a:lnTo>
                    <a:lnTo>
                      <a:pt x="664" y="196"/>
                    </a:lnTo>
                    <a:lnTo>
                      <a:pt x="664" y="196"/>
                    </a:lnTo>
                    <a:lnTo>
                      <a:pt x="662" y="198"/>
                    </a:lnTo>
                    <a:lnTo>
                      <a:pt x="660" y="202"/>
                    </a:lnTo>
                    <a:lnTo>
                      <a:pt x="658" y="208"/>
                    </a:lnTo>
                    <a:lnTo>
                      <a:pt x="658" y="212"/>
                    </a:lnTo>
                    <a:lnTo>
                      <a:pt x="656" y="216"/>
                    </a:lnTo>
                    <a:lnTo>
                      <a:pt x="656" y="224"/>
                    </a:lnTo>
                    <a:lnTo>
                      <a:pt x="654" y="232"/>
                    </a:lnTo>
                    <a:lnTo>
                      <a:pt x="654" y="236"/>
                    </a:lnTo>
                    <a:lnTo>
                      <a:pt x="654" y="240"/>
                    </a:lnTo>
                    <a:lnTo>
                      <a:pt x="654" y="248"/>
                    </a:lnTo>
                    <a:lnTo>
                      <a:pt x="656" y="256"/>
                    </a:lnTo>
                    <a:lnTo>
                      <a:pt x="656" y="264"/>
                    </a:lnTo>
                    <a:lnTo>
                      <a:pt x="658" y="266"/>
                    </a:lnTo>
                    <a:lnTo>
                      <a:pt x="658" y="270"/>
                    </a:lnTo>
                    <a:lnTo>
                      <a:pt x="658" y="270"/>
                    </a:lnTo>
                    <a:lnTo>
                      <a:pt x="658" y="270"/>
                    </a:lnTo>
                    <a:lnTo>
                      <a:pt x="660" y="272"/>
                    </a:lnTo>
                    <a:lnTo>
                      <a:pt x="660" y="272"/>
                    </a:lnTo>
                    <a:lnTo>
                      <a:pt x="660" y="274"/>
                    </a:lnTo>
                    <a:lnTo>
                      <a:pt x="662" y="276"/>
                    </a:lnTo>
                    <a:lnTo>
                      <a:pt x="662" y="276"/>
                    </a:lnTo>
                    <a:lnTo>
                      <a:pt x="662" y="276"/>
                    </a:lnTo>
                    <a:lnTo>
                      <a:pt x="666" y="278"/>
                    </a:lnTo>
                    <a:lnTo>
                      <a:pt x="672" y="282"/>
                    </a:lnTo>
                    <a:lnTo>
                      <a:pt x="676" y="286"/>
                    </a:lnTo>
                    <a:lnTo>
                      <a:pt x="680" y="288"/>
                    </a:lnTo>
                    <a:lnTo>
                      <a:pt x="684" y="290"/>
                    </a:lnTo>
                    <a:lnTo>
                      <a:pt x="690" y="294"/>
                    </a:lnTo>
                    <a:lnTo>
                      <a:pt x="694" y="296"/>
                    </a:lnTo>
                    <a:lnTo>
                      <a:pt x="696" y="298"/>
                    </a:lnTo>
                    <a:lnTo>
                      <a:pt x="698" y="300"/>
                    </a:lnTo>
                    <a:lnTo>
                      <a:pt x="700" y="302"/>
                    </a:lnTo>
                    <a:lnTo>
                      <a:pt x="700" y="306"/>
                    </a:lnTo>
                    <a:lnTo>
                      <a:pt x="700" y="306"/>
                    </a:lnTo>
                    <a:lnTo>
                      <a:pt x="700" y="308"/>
                    </a:lnTo>
                    <a:lnTo>
                      <a:pt x="700" y="312"/>
                    </a:lnTo>
                    <a:lnTo>
                      <a:pt x="700" y="316"/>
                    </a:lnTo>
                    <a:lnTo>
                      <a:pt x="700" y="322"/>
                    </a:lnTo>
                    <a:lnTo>
                      <a:pt x="698" y="326"/>
                    </a:lnTo>
                    <a:lnTo>
                      <a:pt x="696" y="328"/>
                    </a:lnTo>
                    <a:lnTo>
                      <a:pt x="696" y="332"/>
                    </a:lnTo>
                    <a:lnTo>
                      <a:pt x="692" y="334"/>
                    </a:lnTo>
                    <a:lnTo>
                      <a:pt x="690" y="338"/>
                    </a:lnTo>
                    <a:lnTo>
                      <a:pt x="686" y="340"/>
                    </a:lnTo>
                    <a:lnTo>
                      <a:pt x="684" y="344"/>
                    </a:lnTo>
                    <a:lnTo>
                      <a:pt x="680" y="346"/>
                    </a:lnTo>
                    <a:lnTo>
                      <a:pt x="676" y="348"/>
                    </a:lnTo>
                    <a:lnTo>
                      <a:pt x="674" y="352"/>
                    </a:lnTo>
                    <a:lnTo>
                      <a:pt x="672" y="354"/>
                    </a:lnTo>
                    <a:lnTo>
                      <a:pt x="672" y="356"/>
                    </a:lnTo>
                    <a:lnTo>
                      <a:pt x="672" y="356"/>
                    </a:lnTo>
                    <a:lnTo>
                      <a:pt x="672" y="356"/>
                    </a:lnTo>
                    <a:lnTo>
                      <a:pt x="670" y="358"/>
                    </a:lnTo>
                    <a:lnTo>
                      <a:pt x="670" y="358"/>
                    </a:lnTo>
                    <a:lnTo>
                      <a:pt x="670" y="358"/>
                    </a:lnTo>
                    <a:lnTo>
                      <a:pt x="670" y="360"/>
                    </a:lnTo>
                    <a:lnTo>
                      <a:pt x="670" y="362"/>
                    </a:lnTo>
                    <a:lnTo>
                      <a:pt x="670" y="364"/>
                    </a:lnTo>
                    <a:lnTo>
                      <a:pt x="670" y="364"/>
                    </a:lnTo>
                    <a:lnTo>
                      <a:pt x="670" y="368"/>
                    </a:lnTo>
                    <a:lnTo>
                      <a:pt x="670" y="370"/>
                    </a:lnTo>
                    <a:lnTo>
                      <a:pt x="670" y="376"/>
                    </a:lnTo>
                    <a:lnTo>
                      <a:pt x="670" y="378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68" y="380"/>
                    </a:lnTo>
                    <a:lnTo>
                      <a:pt x="666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2" y="378"/>
                    </a:lnTo>
                    <a:lnTo>
                      <a:pt x="662" y="376"/>
                    </a:lnTo>
                    <a:lnTo>
                      <a:pt x="662" y="376"/>
                    </a:lnTo>
                    <a:lnTo>
                      <a:pt x="662" y="374"/>
                    </a:lnTo>
                    <a:lnTo>
                      <a:pt x="662" y="370"/>
                    </a:lnTo>
                    <a:lnTo>
                      <a:pt x="662" y="368"/>
                    </a:lnTo>
                    <a:lnTo>
                      <a:pt x="662" y="364"/>
                    </a:lnTo>
                    <a:lnTo>
                      <a:pt x="662" y="360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62" y="354"/>
                    </a:lnTo>
                    <a:lnTo>
                      <a:pt x="662" y="354"/>
                    </a:lnTo>
                    <a:lnTo>
                      <a:pt x="662" y="352"/>
                    </a:lnTo>
                    <a:lnTo>
                      <a:pt x="660" y="350"/>
                    </a:lnTo>
                    <a:lnTo>
                      <a:pt x="658" y="346"/>
                    </a:lnTo>
                    <a:lnTo>
                      <a:pt x="656" y="344"/>
                    </a:lnTo>
                    <a:lnTo>
                      <a:pt x="652" y="340"/>
                    </a:lnTo>
                    <a:lnTo>
                      <a:pt x="650" y="338"/>
                    </a:lnTo>
                    <a:lnTo>
                      <a:pt x="648" y="334"/>
                    </a:lnTo>
                    <a:lnTo>
                      <a:pt x="644" y="332"/>
                    </a:lnTo>
                    <a:lnTo>
                      <a:pt x="642" y="332"/>
                    </a:lnTo>
                    <a:lnTo>
                      <a:pt x="642" y="332"/>
                    </a:lnTo>
                    <a:lnTo>
                      <a:pt x="640" y="330"/>
                    </a:lnTo>
                    <a:lnTo>
                      <a:pt x="636" y="330"/>
                    </a:lnTo>
                    <a:lnTo>
                      <a:pt x="636" y="330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8"/>
                    </a:lnTo>
                    <a:lnTo>
                      <a:pt x="630" y="328"/>
                    </a:lnTo>
                    <a:lnTo>
                      <a:pt x="630" y="328"/>
                    </a:lnTo>
                    <a:lnTo>
                      <a:pt x="628" y="330"/>
                    </a:lnTo>
                    <a:lnTo>
                      <a:pt x="628" y="330"/>
                    </a:lnTo>
                    <a:lnTo>
                      <a:pt x="626" y="330"/>
                    </a:lnTo>
                    <a:lnTo>
                      <a:pt x="624" y="330"/>
                    </a:lnTo>
                    <a:lnTo>
                      <a:pt x="624" y="330"/>
                    </a:lnTo>
                    <a:lnTo>
                      <a:pt x="624" y="330"/>
                    </a:lnTo>
                    <a:lnTo>
                      <a:pt x="622" y="332"/>
                    </a:lnTo>
                    <a:lnTo>
                      <a:pt x="622" y="332"/>
                    </a:lnTo>
                    <a:lnTo>
                      <a:pt x="622" y="332"/>
                    </a:lnTo>
                    <a:lnTo>
                      <a:pt x="620" y="334"/>
                    </a:lnTo>
                    <a:lnTo>
                      <a:pt x="620" y="334"/>
                    </a:lnTo>
                    <a:lnTo>
                      <a:pt x="620" y="336"/>
                    </a:lnTo>
                    <a:lnTo>
                      <a:pt x="620" y="338"/>
                    </a:lnTo>
                    <a:lnTo>
                      <a:pt x="620" y="338"/>
                    </a:lnTo>
                    <a:lnTo>
                      <a:pt x="620" y="338"/>
                    </a:lnTo>
                    <a:lnTo>
                      <a:pt x="622" y="342"/>
                    </a:lnTo>
                    <a:lnTo>
                      <a:pt x="622" y="346"/>
                    </a:lnTo>
                    <a:lnTo>
                      <a:pt x="624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0"/>
                    </a:lnTo>
                    <a:lnTo>
                      <a:pt x="624" y="360"/>
                    </a:lnTo>
                    <a:lnTo>
                      <a:pt x="624" y="360"/>
                    </a:lnTo>
                    <a:lnTo>
                      <a:pt x="624" y="362"/>
                    </a:lnTo>
                    <a:lnTo>
                      <a:pt x="624" y="362"/>
                    </a:lnTo>
                    <a:lnTo>
                      <a:pt x="622" y="362"/>
                    </a:lnTo>
                    <a:lnTo>
                      <a:pt x="618" y="362"/>
                    </a:lnTo>
                    <a:lnTo>
                      <a:pt x="612" y="364"/>
                    </a:lnTo>
                    <a:lnTo>
                      <a:pt x="606" y="364"/>
                    </a:lnTo>
                    <a:lnTo>
                      <a:pt x="600" y="362"/>
                    </a:lnTo>
                    <a:lnTo>
                      <a:pt x="594" y="362"/>
                    </a:lnTo>
                    <a:lnTo>
                      <a:pt x="588" y="362"/>
                    </a:lnTo>
                    <a:lnTo>
                      <a:pt x="584" y="362"/>
                    </a:lnTo>
                    <a:lnTo>
                      <a:pt x="576" y="362"/>
                    </a:lnTo>
                    <a:lnTo>
                      <a:pt x="568" y="362"/>
                    </a:lnTo>
                    <a:lnTo>
                      <a:pt x="562" y="360"/>
                    </a:lnTo>
                    <a:lnTo>
                      <a:pt x="556" y="358"/>
                    </a:lnTo>
                    <a:lnTo>
                      <a:pt x="554" y="356"/>
                    </a:lnTo>
                    <a:lnTo>
                      <a:pt x="552" y="354"/>
                    </a:lnTo>
                    <a:lnTo>
                      <a:pt x="548" y="350"/>
                    </a:lnTo>
                    <a:lnTo>
                      <a:pt x="544" y="344"/>
                    </a:lnTo>
                    <a:lnTo>
                      <a:pt x="542" y="342"/>
                    </a:lnTo>
                    <a:lnTo>
                      <a:pt x="540" y="340"/>
                    </a:lnTo>
                    <a:lnTo>
                      <a:pt x="536" y="338"/>
                    </a:lnTo>
                    <a:lnTo>
                      <a:pt x="536" y="338"/>
                    </a:lnTo>
                    <a:lnTo>
                      <a:pt x="536" y="338"/>
                    </a:lnTo>
                    <a:lnTo>
                      <a:pt x="532" y="336"/>
                    </a:lnTo>
                    <a:lnTo>
                      <a:pt x="532" y="336"/>
                    </a:lnTo>
                    <a:lnTo>
                      <a:pt x="532" y="336"/>
                    </a:lnTo>
                    <a:lnTo>
                      <a:pt x="528" y="336"/>
                    </a:lnTo>
                    <a:lnTo>
                      <a:pt x="528" y="336"/>
                    </a:lnTo>
                    <a:lnTo>
                      <a:pt x="528" y="336"/>
                    </a:lnTo>
                    <a:lnTo>
                      <a:pt x="524" y="336"/>
                    </a:lnTo>
                    <a:lnTo>
                      <a:pt x="522" y="336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0" y="338"/>
                    </a:lnTo>
                    <a:lnTo>
                      <a:pt x="506" y="338"/>
                    </a:lnTo>
                    <a:lnTo>
                      <a:pt x="500" y="340"/>
                    </a:lnTo>
                    <a:lnTo>
                      <a:pt x="500" y="340"/>
                    </a:lnTo>
                    <a:lnTo>
                      <a:pt x="500" y="340"/>
                    </a:lnTo>
                    <a:lnTo>
                      <a:pt x="496" y="342"/>
                    </a:lnTo>
                    <a:lnTo>
                      <a:pt x="496" y="342"/>
                    </a:lnTo>
                    <a:lnTo>
                      <a:pt x="496" y="342"/>
                    </a:lnTo>
                    <a:lnTo>
                      <a:pt x="492" y="344"/>
                    </a:lnTo>
                    <a:lnTo>
                      <a:pt x="492" y="344"/>
                    </a:lnTo>
                    <a:lnTo>
                      <a:pt x="492" y="346"/>
                    </a:lnTo>
                    <a:lnTo>
                      <a:pt x="490" y="348"/>
                    </a:lnTo>
                    <a:lnTo>
                      <a:pt x="490" y="348"/>
                    </a:lnTo>
                    <a:lnTo>
                      <a:pt x="488" y="350"/>
                    </a:lnTo>
                    <a:lnTo>
                      <a:pt x="488" y="352"/>
                    </a:lnTo>
                    <a:lnTo>
                      <a:pt x="488" y="352"/>
                    </a:lnTo>
                    <a:lnTo>
                      <a:pt x="488" y="352"/>
                    </a:lnTo>
                    <a:lnTo>
                      <a:pt x="488" y="354"/>
                    </a:lnTo>
                    <a:lnTo>
                      <a:pt x="488" y="354"/>
                    </a:lnTo>
                    <a:lnTo>
                      <a:pt x="488" y="354"/>
                    </a:lnTo>
                    <a:lnTo>
                      <a:pt x="488" y="360"/>
                    </a:lnTo>
                    <a:lnTo>
                      <a:pt x="490" y="368"/>
                    </a:lnTo>
                    <a:lnTo>
                      <a:pt x="492" y="374"/>
                    </a:lnTo>
                    <a:lnTo>
                      <a:pt x="494" y="380"/>
                    </a:lnTo>
                    <a:lnTo>
                      <a:pt x="496" y="388"/>
                    </a:lnTo>
                    <a:lnTo>
                      <a:pt x="498" y="392"/>
                    </a:lnTo>
                    <a:lnTo>
                      <a:pt x="498" y="398"/>
                    </a:lnTo>
                    <a:lnTo>
                      <a:pt x="498" y="406"/>
                    </a:lnTo>
                    <a:lnTo>
                      <a:pt x="498" y="410"/>
                    </a:lnTo>
                    <a:lnTo>
                      <a:pt x="498" y="412"/>
                    </a:lnTo>
                    <a:lnTo>
                      <a:pt x="498" y="414"/>
                    </a:lnTo>
                    <a:lnTo>
                      <a:pt x="498" y="414"/>
                    </a:lnTo>
                    <a:lnTo>
                      <a:pt x="496" y="412"/>
                    </a:lnTo>
                    <a:lnTo>
                      <a:pt x="496" y="410"/>
                    </a:lnTo>
                    <a:lnTo>
                      <a:pt x="492" y="404"/>
                    </a:lnTo>
                    <a:lnTo>
                      <a:pt x="488" y="398"/>
                    </a:lnTo>
                    <a:lnTo>
                      <a:pt x="484" y="392"/>
                    </a:lnTo>
                    <a:lnTo>
                      <a:pt x="480" y="384"/>
                    </a:lnTo>
                    <a:lnTo>
                      <a:pt x="478" y="382"/>
                    </a:lnTo>
                    <a:lnTo>
                      <a:pt x="476" y="380"/>
                    </a:lnTo>
                    <a:lnTo>
                      <a:pt x="474" y="378"/>
                    </a:lnTo>
                    <a:lnTo>
                      <a:pt x="474" y="376"/>
                    </a:lnTo>
                    <a:lnTo>
                      <a:pt x="472" y="372"/>
                    </a:lnTo>
                    <a:lnTo>
                      <a:pt x="470" y="370"/>
                    </a:lnTo>
                    <a:lnTo>
                      <a:pt x="468" y="368"/>
                    </a:lnTo>
                    <a:lnTo>
                      <a:pt x="468" y="368"/>
                    </a:lnTo>
                    <a:lnTo>
                      <a:pt x="468" y="368"/>
                    </a:lnTo>
                    <a:lnTo>
                      <a:pt x="466" y="366"/>
                    </a:lnTo>
                    <a:lnTo>
                      <a:pt x="464" y="366"/>
                    </a:lnTo>
                    <a:lnTo>
                      <a:pt x="464" y="366"/>
                    </a:lnTo>
                    <a:lnTo>
                      <a:pt x="464" y="364"/>
                    </a:lnTo>
                    <a:lnTo>
                      <a:pt x="462" y="364"/>
                    </a:lnTo>
                    <a:lnTo>
                      <a:pt x="462" y="364"/>
                    </a:lnTo>
                    <a:lnTo>
                      <a:pt x="456" y="362"/>
                    </a:lnTo>
                    <a:lnTo>
                      <a:pt x="452" y="362"/>
                    </a:lnTo>
                    <a:lnTo>
                      <a:pt x="446" y="360"/>
                    </a:lnTo>
                    <a:lnTo>
                      <a:pt x="440" y="360"/>
                    </a:lnTo>
                    <a:lnTo>
                      <a:pt x="436" y="360"/>
                    </a:lnTo>
                    <a:lnTo>
                      <a:pt x="432" y="362"/>
                    </a:lnTo>
                    <a:lnTo>
                      <a:pt x="424" y="364"/>
                    </a:lnTo>
                    <a:lnTo>
                      <a:pt x="420" y="364"/>
                    </a:lnTo>
                    <a:lnTo>
                      <a:pt x="418" y="366"/>
                    </a:lnTo>
                    <a:lnTo>
                      <a:pt x="414" y="366"/>
                    </a:lnTo>
                    <a:lnTo>
                      <a:pt x="414" y="366"/>
                    </a:lnTo>
                    <a:lnTo>
                      <a:pt x="410" y="366"/>
                    </a:lnTo>
                    <a:lnTo>
                      <a:pt x="406" y="366"/>
                    </a:lnTo>
                    <a:lnTo>
                      <a:pt x="400" y="366"/>
                    </a:lnTo>
                    <a:lnTo>
                      <a:pt x="394" y="364"/>
                    </a:lnTo>
                    <a:lnTo>
                      <a:pt x="390" y="362"/>
                    </a:lnTo>
                    <a:lnTo>
                      <a:pt x="384" y="362"/>
                    </a:lnTo>
                    <a:lnTo>
                      <a:pt x="380" y="360"/>
                    </a:lnTo>
                    <a:lnTo>
                      <a:pt x="378" y="360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6"/>
                    </a:lnTo>
                    <a:lnTo>
                      <a:pt x="378" y="354"/>
                    </a:lnTo>
                    <a:lnTo>
                      <a:pt x="378" y="354"/>
                    </a:lnTo>
                    <a:lnTo>
                      <a:pt x="380" y="352"/>
                    </a:lnTo>
                    <a:lnTo>
                      <a:pt x="382" y="348"/>
                    </a:lnTo>
                    <a:lnTo>
                      <a:pt x="386" y="346"/>
                    </a:lnTo>
                    <a:lnTo>
                      <a:pt x="388" y="344"/>
                    </a:lnTo>
                    <a:lnTo>
                      <a:pt x="390" y="342"/>
                    </a:lnTo>
                    <a:lnTo>
                      <a:pt x="394" y="340"/>
                    </a:lnTo>
                    <a:lnTo>
                      <a:pt x="396" y="338"/>
                    </a:lnTo>
                    <a:lnTo>
                      <a:pt x="400" y="338"/>
                    </a:lnTo>
                    <a:lnTo>
                      <a:pt x="402" y="336"/>
                    </a:lnTo>
                    <a:lnTo>
                      <a:pt x="402" y="338"/>
                    </a:lnTo>
                    <a:lnTo>
                      <a:pt x="402" y="338"/>
                    </a:lnTo>
                    <a:lnTo>
                      <a:pt x="400" y="338"/>
                    </a:lnTo>
                    <a:lnTo>
                      <a:pt x="398" y="340"/>
                    </a:lnTo>
                    <a:lnTo>
                      <a:pt x="394" y="342"/>
                    </a:lnTo>
                    <a:lnTo>
                      <a:pt x="394" y="342"/>
                    </a:lnTo>
                    <a:lnTo>
                      <a:pt x="394" y="344"/>
                    </a:lnTo>
                    <a:lnTo>
                      <a:pt x="394" y="346"/>
                    </a:lnTo>
                    <a:lnTo>
                      <a:pt x="394" y="346"/>
                    </a:lnTo>
                    <a:lnTo>
                      <a:pt x="394" y="348"/>
                    </a:lnTo>
                    <a:lnTo>
                      <a:pt x="396" y="348"/>
                    </a:lnTo>
                    <a:lnTo>
                      <a:pt x="396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400" y="348"/>
                    </a:lnTo>
                    <a:lnTo>
                      <a:pt x="402" y="348"/>
                    </a:lnTo>
                    <a:lnTo>
                      <a:pt x="404" y="350"/>
                    </a:lnTo>
                    <a:lnTo>
                      <a:pt x="406" y="352"/>
                    </a:lnTo>
                    <a:lnTo>
                      <a:pt x="408" y="354"/>
                    </a:lnTo>
                    <a:lnTo>
                      <a:pt x="410" y="354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4" y="356"/>
                    </a:lnTo>
                    <a:lnTo>
                      <a:pt x="414" y="356"/>
                    </a:lnTo>
                    <a:lnTo>
                      <a:pt x="414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8" y="354"/>
                    </a:lnTo>
                    <a:lnTo>
                      <a:pt x="418" y="352"/>
                    </a:lnTo>
                    <a:lnTo>
                      <a:pt x="420" y="352"/>
                    </a:lnTo>
                    <a:lnTo>
                      <a:pt x="420" y="352"/>
                    </a:lnTo>
                    <a:lnTo>
                      <a:pt x="420" y="352"/>
                    </a:lnTo>
                    <a:lnTo>
                      <a:pt x="420" y="348"/>
                    </a:lnTo>
                    <a:lnTo>
                      <a:pt x="420" y="348"/>
                    </a:lnTo>
                    <a:lnTo>
                      <a:pt x="420" y="348"/>
                    </a:lnTo>
                    <a:lnTo>
                      <a:pt x="418" y="346"/>
                    </a:lnTo>
                    <a:lnTo>
                      <a:pt x="418" y="346"/>
                    </a:lnTo>
                    <a:lnTo>
                      <a:pt x="420" y="344"/>
                    </a:lnTo>
                    <a:lnTo>
                      <a:pt x="420" y="346"/>
                    </a:lnTo>
                    <a:lnTo>
                      <a:pt x="424" y="348"/>
                    </a:lnTo>
                    <a:lnTo>
                      <a:pt x="424" y="348"/>
                    </a:lnTo>
                    <a:lnTo>
                      <a:pt x="424" y="348"/>
                    </a:lnTo>
                    <a:lnTo>
                      <a:pt x="428" y="348"/>
                    </a:lnTo>
                    <a:lnTo>
                      <a:pt x="430" y="348"/>
                    </a:lnTo>
                    <a:lnTo>
                      <a:pt x="434" y="348"/>
                    </a:lnTo>
                    <a:lnTo>
                      <a:pt x="436" y="348"/>
                    </a:lnTo>
                    <a:lnTo>
                      <a:pt x="436" y="348"/>
                    </a:lnTo>
                    <a:lnTo>
                      <a:pt x="438" y="348"/>
                    </a:lnTo>
                    <a:lnTo>
                      <a:pt x="438" y="346"/>
                    </a:lnTo>
                    <a:lnTo>
                      <a:pt x="440" y="346"/>
                    </a:lnTo>
                    <a:lnTo>
                      <a:pt x="442" y="344"/>
                    </a:lnTo>
                    <a:lnTo>
                      <a:pt x="442" y="344"/>
                    </a:lnTo>
                    <a:lnTo>
                      <a:pt x="442" y="344"/>
                    </a:lnTo>
                    <a:lnTo>
                      <a:pt x="444" y="344"/>
                    </a:lnTo>
                    <a:lnTo>
                      <a:pt x="444" y="342"/>
                    </a:lnTo>
                    <a:lnTo>
                      <a:pt x="444" y="342"/>
                    </a:lnTo>
                    <a:lnTo>
                      <a:pt x="446" y="342"/>
                    </a:lnTo>
                    <a:lnTo>
                      <a:pt x="444" y="342"/>
                    </a:lnTo>
                    <a:lnTo>
                      <a:pt x="446" y="342"/>
                    </a:lnTo>
                    <a:lnTo>
                      <a:pt x="448" y="340"/>
                    </a:lnTo>
                    <a:lnTo>
                      <a:pt x="450" y="340"/>
                    </a:lnTo>
                    <a:lnTo>
                      <a:pt x="452" y="340"/>
                    </a:lnTo>
                    <a:lnTo>
                      <a:pt x="454" y="340"/>
                    </a:lnTo>
                    <a:lnTo>
                      <a:pt x="456" y="340"/>
                    </a:lnTo>
                    <a:lnTo>
                      <a:pt x="456" y="340"/>
                    </a:lnTo>
                    <a:lnTo>
                      <a:pt x="456" y="338"/>
                    </a:lnTo>
                    <a:lnTo>
                      <a:pt x="458" y="338"/>
                    </a:lnTo>
                    <a:lnTo>
                      <a:pt x="460" y="338"/>
                    </a:lnTo>
                    <a:lnTo>
                      <a:pt x="460" y="338"/>
                    </a:lnTo>
                    <a:lnTo>
                      <a:pt x="468" y="336"/>
                    </a:lnTo>
                    <a:lnTo>
                      <a:pt x="470" y="334"/>
                    </a:lnTo>
                    <a:lnTo>
                      <a:pt x="474" y="334"/>
                    </a:lnTo>
                    <a:lnTo>
                      <a:pt x="474" y="334"/>
                    </a:lnTo>
                    <a:lnTo>
                      <a:pt x="476" y="332"/>
                    </a:lnTo>
                    <a:lnTo>
                      <a:pt x="478" y="328"/>
                    </a:lnTo>
                    <a:lnTo>
                      <a:pt x="482" y="326"/>
                    </a:lnTo>
                    <a:lnTo>
                      <a:pt x="484" y="324"/>
                    </a:lnTo>
                    <a:lnTo>
                      <a:pt x="484" y="324"/>
                    </a:lnTo>
                    <a:lnTo>
                      <a:pt x="486" y="322"/>
                    </a:lnTo>
                    <a:lnTo>
                      <a:pt x="488" y="322"/>
                    </a:lnTo>
                    <a:lnTo>
                      <a:pt x="490" y="322"/>
                    </a:lnTo>
                    <a:lnTo>
                      <a:pt x="496" y="322"/>
                    </a:lnTo>
                    <a:lnTo>
                      <a:pt x="498" y="320"/>
                    </a:lnTo>
                    <a:lnTo>
                      <a:pt x="500" y="320"/>
                    </a:lnTo>
                    <a:lnTo>
                      <a:pt x="500" y="320"/>
                    </a:lnTo>
                    <a:lnTo>
                      <a:pt x="504" y="320"/>
                    </a:lnTo>
                    <a:lnTo>
                      <a:pt x="504" y="318"/>
                    </a:lnTo>
                    <a:lnTo>
                      <a:pt x="506" y="316"/>
                    </a:lnTo>
                    <a:lnTo>
                      <a:pt x="506" y="316"/>
                    </a:lnTo>
                    <a:lnTo>
                      <a:pt x="506" y="314"/>
                    </a:lnTo>
                    <a:lnTo>
                      <a:pt x="506" y="312"/>
                    </a:lnTo>
                    <a:lnTo>
                      <a:pt x="506" y="312"/>
                    </a:lnTo>
                    <a:lnTo>
                      <a:pt x="506" y="310"/>
                    </a:lnTo>
                    <a:lnTo>
                      <a:pt x="506" y="308"/>
                    </a:lnTo>
                    <a:lnTo>
                      <a:pt x="506" y="306"/>
                    </a:lnTo>
                    <a:lnTo>
                      <a:pt x="506" y="304"/>
                    </a:lnTo>
                    <a:lnTo>
                      <a:pt x="506" y="304"/>
                    </a:lnTo>
                    <a:lnTo>
                      <a:pt x="508" y="304"/>
                    </a:lnTo>
                    <a:lnTo>
                      <a:pt x="508" y="304"/>
                    </a:lnTo>
                    <a:lnTo>
                      <a:pt x="510" y="304"/>
                    </a:lnTo>
                    <a:lnTo>
                      <a:pt x="512" y="304"/>
                    </a:lnTo>
                    <a:lnTo>
                      <a:pt x="514" y="306"/>
                    </a:lnTo>
                    <a:lnTo>
                      <a:pt x="516" y="306"/>
                    </a:lnTo>
                    <a:lnTo>
                      <a:pt x="520" y="310"/>
                    </a:lnTo>
                    <a:lnTo>
                      <a:pt x="524" y="314"/>
                    </a:lnTo>
                    <a:lnTo>
                      <a:pt x="524" y="314"/>
                    </a:lnTo>
                    <a:lnTo>
                      <a:pt x="524" y="314"/>
                    </a:lnTo>
                    <a:lnTo>
                      <a:pt x="526" y="316"/>
                    </a:lnTo>
                    <a:lnTo>
                      <a:pt x="526" y="316"/>
                    </a:lnTo>
                    <a:lnTo>
                      <a:pt x="526" y="316"/>
                    </a:lnTo>
                    <a:lnTo>
                      <a:pt x="530" y="316"/>
                    </a:lnTo>
                    <a:lnTo>
                      <a:pt x="532" y="318"/>
                    </a:lnTo>
                    <a:lnTo>
                      <a:pt x="532" y="318"/>
                    </a:lnTo>
                    <a:lnTo>
                      <a:pt x="532" y="318"/>
                    </a:lnTo>
                    <a:lnTo>
                      <a:pt x="536" y="320"/>
                    </a:lnTo>
                    <a:lnTo>
                      <a:pt x="536" y="320"/>
                    </a:lnTo>
                    <a:lnTo>
                      <a:pt x="536" y="320"/>
                    </a:lnTo>
                    <a:lnTo>
                      <a:pt x="540" y="320"/>
                    </a:lnTo>
                    <a:lnTo>
                      <a:pt x="544" y="322"/>
                    </a:lnTo>
                    <a:lnTo>
                      <a:pt x="544" y="322"/>
                    </a:lnTo>
                    <a:lnTo>
                      <a:pt x="554" y="322"/>
                    </a:lnTo>
                    <a:lnTo>
                      <a:pt x="562" y="322"/>
                    </a:lnTo>
                    <a:lnTo>
                      <a:pt x="570" y="322"/>
                    </a:lnTo>
                    <a:lnTo>
                      <a:pt x="574" y="322"/>
                    </a:lnTo>
                    <a:lnTo>
                      <a:pt x="578" y="320"/>
                    </a:lnTo>
                    <a:lnTo>
                      <a:pt x="578" y="320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2" y="318"/>
                    </a:lnTo>
                    <a:lnTo>
                      <a:pt x="582" y="318"/>
                    </a:lnTo>
                    <a:lnTo>
                      <a:pt x="582" y="318"/>
                    </a:lnTo>
                    <a:lnTo>
                      <a:pt x="582" y="316"/>
                    </a:lnTo>
                    <a:lnTo>
                      <a:pt x="582" y="314"/>
                    </a:lnTo>
                    <a:lnTo>
                      <a:pt x="582" y="312"/>
                    </a:lnTo>
                    <a:lnTo>
                      <a:pt x="584" y="312"/>
                    </a:lnTo>
                    <a:lnTo>
                      <a:pt x="584" y="312"/>
                    </a:lnTo>
                    <a:lnTo>
                      <a:pt x="586" y="312"/>
                    </a:lnTo>
                    <a:lnTo>
                      <a:pt x="588" y="310"/>
                    </a:lnTo>
                    <a:lnTo>
                      <a:pt x="588" y="310"/>
                    </a:lnTo>
                    <a:lnTo>
                      <a:pt x="588" y="310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92" y="306"/>
                    </a:lnTo>
                    <a:lnTo>
                      <a:pt x="592" y="306"/>
                    </a:lnTo>
                    <a:lnTo>
                      <a:pt x="592" y="306"/>
                    </a:lnTo>
                    <a:lnTo>
                      <a:pt x="592" y="304"/>
                    </a:lnTo>
                    <a:lnTo>
                      <a:pt x="592" y="304"/>
                    </a:lnTo>
                    <a:lnTo>
                      <a:pt x="592" y="304"/>
                    </a:lnTo>
                    <a:lnTo>
                      <a:pt x="594" y="300"/>
                    </a:lnTo>
                    <a:lnTo>
                      <a:pt x="594" y="298"/>
                    </a:lnTo>
                    <a:lnTo>
                      <a:pt x="596" y="296"/>
                    </a:lnTo>
                    <a:lnTo>
                      <a:pt x="596" y="296"/>
                    </a:lnTo>
                    <a:lnTo>
                      <a:pt x="596" y="296"/>
                    </a:lnTo>
                    <a:lnTo>
                      <a:pt x="596" y="288"/>
                    </a:lnTo>
                    <a:lnTo>
                      <a:pt x="598" y="284"/>
                    </a:lnTo>
                    <a:lnTo>
                      <a:pt x="600" y="278"/>
                    </a:lnTo>
                    <a:lnTo>
                      <a:pt x="602" y="274"/>
                    </a:lnTo>
                    <a:lnTo>
                      <a:pt x="602" y="274"/>
                    </a:lnTo>
                    <a:lnTo>
                      <a:pt x="602" y="274"/>
                    </a:lnTo>
                    <a:lnTo>
                      <a:pt x="602" y="272"/>
                    </a:lnTo>
                    <a:lnTo>
                      <a:pt x="602" y="272"/>
                    </a:lnTo>
                    <a:lnTo>
                      <a:pt x="602" y="272"/>
                    </a:lnTo>
                    <a:lnTo>
                      <a:pt x="600" y="270"/>
                    </a:lnTo>
                    <a:lnTo>
                      <a:pt x="600" y="270"/>
                    </a:lnTo>
                    <a:lnTo>
                      <a:pt x="600" y="268"/>
                    </a:lnTo>
                    <a:lnTo>
                      <a:pt x="600" y="268"/>
                    </a:lnTo>
                    <a:lnTo>
                      <a:pt x="600" y="268"/>
                    </a:lnTo>
                    <a:lnTo>
                      <a:pt x="598" y="266"/>
                    </a:lnTo>
                    <a:lnTo>
                      <a:pt x="598" y="264"/>
                    </a:lnTo>
                    <a:lnTo>
                      <a:pt x="598" y="264"/>
                    </a:lnTo>
                    <a:lnTo>
                      <a:pt x="598" y="264"/>
                    </a:lnTo>
                    <a:lnTo>
                      <a:pt x="594" y="264"/>
                    </a:lnTo>
                    <a:lnTo>
                      <a:pt x="594" y="264"/>
                    </a:lnTo>
                    <a:lnTo>
                      <a:pt x="594" y="262"/>
                    </a:lnTo>
                    <a:lnTo>
                      <a:pt x="592" y="262"/>
                    </a:lnTo>
                    <a:lnTo>
                      <a:pt x="588" y="260"/>
                    </a:lnTo>
                    <a:lnTo>
                      <a:pt x="584" y="258"/>
                    </a:lnTo>
                    <a:lnTo>
                      <a:pt x="580" y="256"/>
                    </a:lnTo>
                    <a:lnTo>
                      <a:pt x="576" y="252"/>
                    </a:lnTo>
                    <a:lnTo>
                      <a:pt x="570" y="246"/>
                    </a:lnTo>
                    <a:lnTo>
                      <a:pt x="566" y="244"/>
                    </a:lnTo>
                    <a:lnTo>
                      <a:pt x="562" y="240"/>
                    </a:lnTo>
                    <a:lnTo>
                      <a:pt x="562" y="240"/>
                    </a:lnTo>
                    <a:lnTo>
                      <a:pt x="562" y="240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4" y="236"/>
                    </a:lnTo>
                    <a:lnTo>
                      <a:pt x="550" y="236"/>
                    </a:lnTo>
                    <a:lnTo>
                      <a:pt x="548" y="234"/>
                    </a:lnTo>
                    <a:lnTo>
                      <a:pt x="544" y="230"/>
                    </a:lnTo>
                    <a:lnTo>
                      <a:pt x="540" y="226"/>
                    </a:lnTo>
                    <a:lnTo>
                      <a:pt x="538" y="220"/>
                    </a:lnTo>
                    <a:lnTo>
                      <a:pt x="538" y="216"/>
                    </a:lnTo>
                    <a:lnTo>
                      <a:pt x="538" y="208"/>
                    </a:lnTo>
                    <a:lnTo>
                      <a:pt x="538" y="202"/>
                    </a:lnTo>
                    <a:lnTo>
                      <a:pt x="538" y="194"/>
                    </a:lnTo>
                    <a:lnTo>
                      <a:pt x="538" y="186"/>
                    </a:lnTo>
                    <a:lnTo>
                      <a:pt x="538" y="178"/>
                    </a:lnTo>
                    <a:lnTo>
                      <a:pt x="538" y="178"/>
                    </a:lnTo>
                    <a:lnTo>
                      <a:pt x="536" y="178"/>
                    </a:lnTo>
                    <a:lnTo>
                      <a:pt x="534" y="172"/>
                    </a:lnTo>
                    <a:lnTo>
                      <a:pt x="534" y="172"/>
                    </a:lnTo>
                    <a:lnTo>
                      <a:pt x="534" y="172"/>
                    </a:lnTo>
                    <a:lnTo>
                      <a:pt x="532" y="168"/>
                    </a:lnTo>
                    <a:lnTo>
                      <a:pt x="532" y="166"/>
                    </a:lnTo>
                    <a:lnTo>
                      <a:pt x="532" y="162"/>
                    </a:lnTo>
                    <a:lnTo>
                      <a:pt x="532" y="154"/>
                    </a:lnTo>
                    <a:lnTo>
                      <a:pt x="532" y="148"/>
                    </a:lnTo>
                    <a:lnTo>
                      <a:pt x="534" y="140"/>
                    </a:lnTo>
                    <a:lnTo>
                      <a:pt x="536" y="132"/>
                    </a:lnTo>
                    <a:lnTo>
                      <a:pt x="536" y="126"/>
                    </a:lnTo>
                    <a:lnTo>
                      <a:pt x="540" y="118"/>
                    </a:lnTo>
                    <a:lnTo>
                      <a:pt x="542" y="114"/>
                    </a:lnTo>
                    <a:lnTo>
                      <a:pt x="542" y="114"/>
                    </a:lnTo>
                    <a:lnTo>
                      <a:pt x="542" y="110"/>
                    </a:lnTo>
                    <a:lnTo>
                      <a:pt x="540" y="108"/>
                    </a:lnTo>
                    <a:lnTo>
                      <a:pt x="538" y="106"/>
                    </a:lnTo>
                    <a:lnTo>
                      <a:pt x="538" y="106"/>
                    </a:lnTo>
                    <a:lnTo>
                      <a:pt x="538" y="106"/>
                    </a:lnTo>
                    <a:lnTo>
                      <a:pt x="534" y="104"/>
                    </a:lnTo>
                    <a:lnTo>
                      <a:pt x="534" y="104"/>
                    </a:lnTo>
                    <a:lnTo>
                      <a:pt x="534" y="104"/>
                    </a:lnTo>
                    <a:lnTo>
                      <a:pt x="530" y="104"/>
                    </a:lnTo>
                    <a:lnTo>
                      <a:pt x="530" y="104"/>
                    </a:lnTo>
                    <a:lnTo>
                      <a:pt x="528" y="104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0" y="104"/>
                    </a:lnTo>
                    <a:lnTo>
                      <a:pt x="516" y="104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504" y="108"/>
                    </a:lnTo>
                    <a:lnTo>
                      <a:pt x="504" y="108"/>
                    </a:lnTo>
                    <a:lnTo>
                      <a:pt x="502" y="108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0" y="112"/>
                    </a:lnTo>
                    <a:lnTo>
                      <a:pt x="500" y="114"/>
                    </a:lnTo>
                    <a:lnTo>
                      <a:pt x="500" y="114"/>
                    </a:lnTo>
                    <a:lnTo>
                      <a:pt x="500" y="114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496" y="114"/>
                    </a:lnTo>
                    <a:lnTo>
                      <a:pt x="496" y="114"/>
                    </a:lnTo>
                    <a:lnTo>
                      <a:pt x="496" y="114"/>
                    </a:lnTo>
                    <a:lnTo>
                      <a:pt x="494" y="112"/>
                    </a:lnTo>
                    <a:lnTo>
                      <a:pt x="494" y="112"/>
                    </a:lnTo>
                    <a:lnTo>
                      <a:pt x="494" y="112"/>
                    </a:lnTo>
                    <a:lnTo>
                      <a:pt x="492" y="110"/>
                    </a:lnTo>
                    <a:lnTo>
                      <a:pt x="492" y="110"/>
                    </a:lnTo>
                    <a:lnTo>
                      <a:pt x="488" y="110"/>
                    </a:lnTo>
                    <a:lnTo>
                      <a:pt x="488" y="110"/>
                    </a:lnTo>
                    <a:lnTo>
                      <a:pt x="486" y="110"/>
                    </a:lnTo>
                    <a:lnTo>
                      <a:pt x="486" y="114"/>
                    </a:lnTo>
                    <a:lnTo>
                      <a:pt x="486" y="114"/>
                    </a:lnTo>
                    <a:lnTo>
                      <a:pt x="486" y="114"/>
                    </a:lnTo>
                    <a:lnTo>
                      <a:pt x="484" y="118"/>
                    </a:lnTo>
                    <a:lnTo>
                      <a:pt x="482" y="124"/>
                    </a:lnTo>
                    <a:lnTo>
                      <a:pt x="482" y="128"/>
                    </a:lnTo>
                    <a:lnTo>
                      <a:pt x="482" y="140"/>
                    </a:lnTo>
                    <a:lnTo>
                      <a:pt x="484" y="150"/>
                    </a:lnTo>
                    <a:lnTo>
                      <a:pt x="486" y="162"/>
                    </a:lnTo>
                    <a:lnTo>
                      <a:pt x="486" y="168"/>
                    </a:lnTo>
                    <a:lnTo>
                      <a:pt x="488" y="174"/>
                    </a:lnTo>
                    <a:lnTo>
                      <a:pt x="490" y="178"/>
                    </a:lnTo>
                    <a:lnTo>
                      <a:pt x="492" y="182"/>
                    </a:lnTo>
                    <a:lnTo>
                      <a:pt x="494" y="186"/>
                    </a:lnTo>
                    <a:lnTo>
                      <a:pt x="496" y="190"/>
                    </a:lnTo>
                    <a:lnTo>
                      <a:pt x="496" y="190"/>
                    </a:lnTo>
                    <a:lnTo>
                      <a:pt x="496" y="190"/>
                    </a:lnTo>
                    <a:lnTo>
                      <a:pt x="496" y="192"/>
                    </a:lnTo>
                    <a:lnTo>
                      <a:pt x="494" y="192"/>
                    </a:lnTo>
                    <a:lnTo>
                      <a:pt x="494" y="194"/>
                    </a:lnTo>
                    <a:lnTo>
                      <a:pt x="492" y="194"/>
                    </a:lnTo>
                    <a:lnTo>
                      <a:pt x="492" y="194"/>
                    </a:lnTo>
                    <a:lnTo>
                      <a:pt x="492" y="194"/>
                    </a:lnTo>
                    <a:lnTo>
                      <a:pt x="490" y="196"/>
                    </a:lnTo>
                    <a:lnTo>
                      <a:pt x="490" y="196"/>
                    </a:lnTo>
                    <a:lnTo>
                      <a:pt x="490" y="196"/>
                    </a:lnTo>
                    <a:lnTo>
                      <a:pt x="490" y="194"/>
                    </a:lnTo>
                    <a:lnTo>
                      <a:pt x="490" y="194"/>
                    </a:lnTo>
                    <a:lnTo>
                      <a:pt x="490" y="194"/>
                    </a:lnTo>
                    <a:lnTo>
                      <a:pt x="488" y="192"/>
                    </a:lnTo>
                    <a:lnTo>
                      <a:pt x="488" y="186"/>
                    </a:lnTo>
                    <a:lnTo>
                      <a:pt x="486" y="178"/>
                    </a:lnTo>
                    <a:lnTo>
                      <a:pt x="484" y="172"/>
                    </a:lnTo>
                    <a:lnTo>
                      <a:pt x="482" y="164"/>
                    </a:lnTo>
                    <a:lnTo>
                      <a:pt x="478" y="156"/>
                    </a:lnTo>
                    <a:lnTo>
                      <a:pt x="474" y="150"/>
                    </a:lnTo>
                    <a:lnTo>
                      <a:pt x="470" y="144"/>
                    </a:lnTo>
                    <a:lnTo>
                      <a:pt x="464" y="138"/>
                    </a:lnTo>
                    <a:lnTo>
                      <a:pt x="464" y="138"/>
                    </a:lnTo>
                    <a:lnTo>
                      <a:pt x="462" y="138"/>
                    </a:lnTo>
                    <a:lnTo>
                      <a:pt x="462" y="138"/>
                    </a:lnTo>
                    <a:lnTo>
                      <a:pt x="460" y="140"/>
                    </a:lnTo>
                    <a:lnTo>
                      <a:pt x="458" y="142"/>
                    </a:lnTo>
                    <a:lnTo>
                      <a:pt x="458" y="142"/>
                    </a:lnTo>
                    <a:lnTo>
                      <a:pt x="458" y="142"/>
                    </a:lnTo>
                    <a:lnTo>
                      <a:pt x="456" y="146"/>
                    </a:lnTo>
                    <a:lnTo>
                      <a:pt x="456" y="156"/>
                    </a:lnTo>
                    <a:lnTo>
                      <a:pt x="454" y="160"/>
                    </a:lnTo>
                    <a:lnTo>
                      <a:pt x="454" y="162"/>
                    </a:lnTo>
                    <a:lnTo>
                      <a:pt x="452" y="164"/>
                    </a:lnTo>
                    <a:lnTo>
                      <a:pt x="452" y="164"/>
                    </a:lnTo>
                    <a:lnTo>
                      <a:pt x="450" y="164"/>
                    </a:lnTo>
                    <a:lnTo>
                      <a:pt x="448" y="166"/>
                    </a:lnTo>
                    <a:lnTo>
                      <a:pt x="448" y="166"/>
                    </a:lnTo>
                    <a:lnTo>
                      <a:pt x="446" y="166"/>
                    </a:lnTo>
                    <a:lnTo>
                      <a:pt x="440" y="168"/>
                    </a:lnTo>
                    <a:lnTo>
                      <a:pt x="436" y="168"/>
                    </a:lnTo>
                    <a:lnTo>
                      <a:pt x="432" y="166"/>
                    </a:lnTo>
                    <a:lnTo>
                      <a:pt x="432" y="166"/>
                    </a:lnTo>
                    <a:lnTo>
                      <a:pt x="432" y="162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4" y="156"/>
                    </a:lnTo>
                    <a:lnTo>
                      <a:pt x="434" y="154"/>
                    </a:lnTo>
                    <a:lnTo>
                      <a:pt x="434" y="152"/>
                    </a:lnTo>
                    <a:lnTo>
                      <a:pt x="432" y="148"/>
                    </a:lnTo>
                    <a:lnTo>
                      <a:pt x="432" y="148"/>
                    </a:lnTo>
                    <a:lnTo>
                      <a:pt x="432" y="148"/>
                    </a:lnTo>
                    <a:lnTo>
                      <a:pt x="430" y="144"/>
                    </a:lnTo>
                    <a:lnTo>
                      <a:pt x="430" y="144"/>
                    </a:lnTo>
                    <a:lnTo>
                      <a:pt x="428" y="144"/>
                    </a:lnTo>
                    <a:lnTo>
                      <a:pt x="426" y="142"/>
                    </a:lnTo>
                    <a:lnTo>
                      <a:pt x="426" y="142"/>
                    </a:lnTo>
                    <a:lnTo>
                      <a:pt x="424" y="142"/>
                    </a:lnTo>
                    <a:lnTo>
                      <a:pt x="422" y="140"/>
                    </a:lnTo>
                    <a:lnTo>
                      <a:pt x="420" y="138"/>
                    </a:lnTo>
                    <a:lnTo>
                      <a:pt x="420" y="138"/>
                    </a:lnTo>
                    <a:lnTo>
                      <a:pt x="418" y="138"/>
                    </a:lnTo>
                    <a:lnTo>
                      <a:pt x="414" y="138"/>
                    </a:lnTo>
                    <a:lnTo>
                      <a:pt x="412" y="138"/>
                    </a:lnTo>
                    <a:lnTo>
                      <a:pt x="412" y="138"/>
                    </a:lnTo>
                    <a:lnTo>
                      <a:pt x="410" y="138"/>
                    </a:lnTo>
                    <a:lnTo>
                      <a:pt x="408" y="140"/>
                    </a:lnTo>
                    <a:lnTo>
                      <a:pt x="408" y="140"/>
                    </a:lnTo>
                    <a:lnTo>
                      <a:pt x="406" y="140"/>
                    </a:lnTo>
                    <a:lnTo>
                      <a:pt x="404" y="140"/>
                    </a:lnTo>
                    <a:lnTo>
                      <a:pt x="404" y="140"/>
                    </a:lnTo>
                    <a:lnTo>
                      <a:pt x="404" y="142"/>
                    </a:lnTo>
                    <a:lnTo>
                      <a:pt x="404" y="142"/>
                    </a:lnTo>
                    <a:lnTo>
                      <a:pt x="400" y="146"/>
                    </a:lnTo>
                    <a:lnTo>
                      <a:pt x="400" y="150"/>
                    </a:lnTo>
                    <a:lnTo>
                      <a:pt x="398" y="152"/>
                    </a:lnTo>
                    <a:lnTo>
                      <a:pt x="398" y="152"/>
                    </a:lnTo>
                    <a:lnTo>
                      <a:pt x="398" y="152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6"/>
                    </a:lnTo>
                    <a:lnTo>
                      <a:pt x="398" y="156"/>
                    </a:lnTo>
                    <a:lnTo>
                      <a:pt x="398" y="156"/>
                    </a:lnTo>
                    <a:lnTo>
                      <a:pt x="396" y="154"/>
                    </a:lnTo>
                    <a:lnTo>
                      <a:pt x="396" y="154"/>
                    </a:lnTo>
                    <a:lnTo>
                      <a:pt x="394" y="154"/>
                    </a:lnTo>
                    <a:lnTo>
                      <a:pt x="394" y="152"/>
                    </a:lnTo>
                    <a:lnTo>
                      <a:pt x="394" y="150"/>
                    </a:lnTo>
                    <a:lnTo>
                      <a:pt x="394" y="146"/>
                    </a:lnTo>
                    <a:lnTo>
                      <a:pt x="394" y="142"/>
                    </a:lnTo>
                    <a:lnTo>
                      <a:pt x="394" y="136"/>
                    </a:lnTo>
                    <a:lnTo>
                      <a:pt x="394" y="132"/>
                    </a:lnTo>
                    <a:lnTo>
                      <a:pt x="394" y="126"/>
                    </a:lnTo>
                    <a:lnTo>
                      <a:pt x="394" y="126"/>
                    </a:lnTo>
                    <a:lnTo>
                      <a:pt x="394" y="124"/>
                    </a:lnTo>
                    <a:lnTo>
                      <a:pt x="394" y="124"/>
                    </a:lnTo>
                    <a:lnTo>
                      <a:pt x="390" y="124"/>
                    </a:lnTo>
                    <a:lnTo>
                      <a:pt x="390" y="124"/>
                    </a:lnTo>
                    <a:lnTo>
                      <a:pt x="388" y="124"/>
                    </a:lnTo>
                    <a:lnTo>
                      <a:pt x="386" y="126"/>
                    </a:lnTo>
                    <a:lnTo>
                      <a:pt x="384" y="126"/>
                    </a:lnTo>
                    <a:lnTo>
                      <a:pt x="382" y="128"/>
                    </a:lnTo>
                    <a:lnTo>
                      <a:pt x="382" y="128"/>
                    </a:lnTo>
                    <a:lnTo>
                      <a:pt x="380" y="128"/>
                    </a:lnTo>
                    <a:lnTo>
                      <a:pt x="380" y="128"/>
                    </a:lnTo>
                    <a:lnTo>
                      <a:pt x="380" y="128"/>
                    </a:lnTo>
                    <a:lnTo>
                      <a:pt x="380" y="130"/>
                    </a:lnTo>
                    <a:lnTo>
                      <a:pt x="376" y="130"/>
                    </a:lnTo>
                    <a:lnTo>
                      <a:pt x="370" y="132"/>
                    </a:lnTo>
                    <a:lnTo>
                      <a:pt x="362" y="134"/>
                    </a:lnTo>
                    <a:lnTo>
                      <a:pt x="358" y="136"/>
                    </a:lnTo>
                    <a:lnTo>
                      <a:pt x="358" y="136"/>
                    </a:lnTo>
                    <a:lnTo>
                      <a:pt x="360" y="134"/>
                    </a:lnTo>
                    <a:lnTo>
                      <a:pt x="362" y="132"/>
                    </a:lnTo>
                    <a:lnTo>
                      <a:pt x="364" y="128"/>
                    </a:lnTo>
                    <a:lnTo>
                      <a:pt x="366" y="128"/>
                    </a:lnTo>
                    <a:lnTo>
                      <a:pt x="366" y="126"/>
                    </a:lnTo>
                    <a:lnTo>
                      <a:pt x="368" y="126"/>
                    </a:lnTo>
                    <a:lnTo>
                      <a:pt x="368" y="126"/>
                    </a:lnTo>
                    <a:lnTo>
                      <a:pt x="370" y="126"/>
                    </a:lnTo>
                    <a:lnTo>
                      <a:pt x="372" y="126"/>
                    </a:lnTo>
                    <a:lnTo>
                      <a:pt x="376" y="124"/>
                    </a:lnTo>
                    <a:lnTo>
                      <a:pt x="380" y="124"/>
                    </a:lnTo>
                    <a:lnTo>
                      <a:pt x="380" y="124"/>
                    </a:lnTo>
                    <a:lnTo>
                      <a:pt x="382" y="124"/>
                    </a:lnTo>
                    <a:lnTo>
                      <a:pt x="382" y="120"/>
                    </a:lnTo>
                    <a:lnTo>
                      <a:pt x="382" y="118"/>
                    </a:lnTo>
                    <a:lnTo>
                      <a:pt x="380" y="114"/>
                    </a:lnTo>
                    <a:lnTo>
                      <a:pt x="380" y="108"/>
                    </a:lnTo>
                    <a:lnTo>
                      <a:pt x="380" y="108"/>
                    </a:lnTo>
                    <a:lnTo>
                      <a:pt x="378" y="106"/>
                    </a:lnTo>
                    <a:lnTo>
                      <a:pt x="376" y="102"/>
                    </a:lnTo>
                    <a:lnTo>
                      <a:pt x="374" y="98"/>
                    </a:lnTo>
                    <a:lnTo>
                      <a:pt x="372" y="96"/>
                    </a:lnTo>
                    <a:lnTo>
                      <a:pt x="372" y="94"/>
                    </a:lnTo>
                    <a:lnTo>
                      <a:pt x="372" y="92"/>
                    </a:lnTo>
                    <a:lnTo>
                      <a:pt x="372" y="92"/>
                    </a:lnTo>
                    <a:lnTo>
                      <a:pt x="372" y="92"/>
                    </a:lnTo>
                    <a:lnTo>
                      <a:pt x="370" y="88"/>
                    </a:lnTo>
                    <a:lnTo>
                      <a:pt x="370" y="88"/>
                    </a:lnTo>
                    <a:lnTo>
                      <a:pt x="370" y="88"/>
                    </a:lnTo>
                    <a:lnTo>
                      <a:pt x="366" y="86"/>
                    </a:lnTo>
                    <a:lnTo>
                      <a:pt x="366" y="86"/>
                    </a:lnTo>
                    <a:lnTo>
                      <a:pt x="366" y="86"/>
                    </a:lnTo>
                    <a:lnTo>
                      <a:pt x="364" y="84"/>
                    </a:lnTo>
                    <a:lnTo>
                      <a:pt x="362" y="84"/>
                    </a:lnTo>
                    <a:lnTo>
                      <a:pt x="360" y="80"/>
                    </a:lnTo>
                    <a:lnTo>
                      <a:pt x="358" y="78"/>
                    </a:lnTo>
                    <a:lnTo>
                      <a:pt x="354" y="76"/>
                    </a:lnTo>
                    <a:lnTo>
                      <a:pt x="352" y="72"/>
                    </a:lnTo>
                    <a:lnTo>
                      <a:pt x="352" y="72"/>
                    </a:lnTo>
                    <a:lnTo>
                      <a:pt x="350" y="72"/>
                    </a:lnTo>
                    <a:lnTo>
                      <a:pt x="346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4" y="72"/>
                    </a:lnTo>
                    <a:lnTo>
                      <a:pt x="334" y="72"/>
                    </a:lnTo>
                    <a:lnTo>
                      <a:pt x="334" y="72"/>
                    </a:lnTo>
                    <a:lnTo>
                      <a:pt x="330" y="74"/>
                    </a:lnTo>
                    <a:lnTo>
                      <a:pt x="330" y="74"/>
                    </a:lnTo>
                    <a:lnTo>
                      <a:pt x="330" y="74"/>
                    </a:lnTo>
                    <a:lnTo>
                      <a:pt x="328" y="76"/>
                    </a:lnTo>
                    <a:lnTo>
                      <a:pt x="328" y="76"/>
                    </a:lnTo>
                    <a:lnTo>
                      <a:pt x="326" y="76"/>
                    </a:lnTo>
                    <a:lnTo>
                      <a:pt x="324" y="78"/>
                    </a:lnTo>
                    <a:lnTo>
                      <a:pt x="324" y="78"/>
                    </a:lnTo>
                    <a:lnTo>
                      <a:pt x="324" y="78"/>
                    </a:lnTo>
                    <a:lnTo>
                      <a:pt x="322" y="82"/>
                    </a:lnTo>
                    <a:lnTo>
                      <a:pt x="322" y="84"/>
                    </a:lnTo>
                    <a:lnTo>
                      <a:pt x="320" y="84"/>
                    </a:lnTo>
                    <a:lnTo>
                      <a:pt x="316" y="80"/>
                    </a:lnTo>
                    <a:lnTo>
                      <a:pt x="314" y="78"/>
                    </a:lnTo>
                    <a:lnTo>
                      <a:pt x="310" y="74"/>
                    </a:lnTo>
                    <a:lnTo>
                      <a:pt x="308" y="72"/>
                    </a:lnTo>
                    <a:lnTo>
                      <a:pt x="304" y="68"/>
                    </a:lnTo>
                    <a:lnTo>
                      <a:pt x="304" y="68"/>
                    </a:lnTo>
                    <a:lnTo>
                      <a:pt x="304" y="68"/>
                    </a:lnTo>
                    <a:lnTo>
                      <a:pt x="300" y="66"/>
                    </a:lnTo>
                    <a:lnTo>
                      <a:pt x="300" y="66"/>
                    </a:lnTo>
                    <a:lnTo>
                      <a:pt x="300" y="66"/>
                    </a:lnTo>
                    <a:lnTo>
                      <a:pt x="296" y="64"/>
                    </a:lnTo>
                    <a:lnTo>
                      <a:pt x="296" y="64"/>
                    </a:lnTo>
                    <a:lnTo>
                      <a:pt x="296" y="60"/>
                    </a:lnTo>
                    <a:lnTo>
                      <a:pt x="294" y="58"/>
                    </a:lnTo>
                    <a:lnTo>
                      <a:pt x="294" y="58"/>
                    </a:lnTo>
                    <a:lnTo>
                      <a:pt x="294" y="58"/>
                    </a:lnTo>
                    <a:lnTo>
                      <a:pt x="294" y="56"/>
                    </a:lnTo>
                    <a:lnTo>
                      <a:pt x="294" y="56"/>
                    </a:lnTo>
                    <a:lnTo>
                      <a:pt x="294" y="56"/>
                    </a:lnTo>
                    <a:lnTo>
                      <a:pt x="292" y="56"/>
                    </a:lnTo>
                    <a:lnTo>
                      <a:pt x="292" y="56"/>
                    </a:lnTo>
                    <a:lnTo>
                      <a:pt x="292" y="56"/>
                    </a:lnTo>
                    <a:lnTo>
                      <a:pt x="290" y="56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6" y="58"/>
                    </a:lnTo>
                    <a:lnTo>
                      <a:pt x="284" y="60"/>
                    </a:lnTo>
                    <a:lnTo>
                      <a:pt x="282" y="62"/>
                    </a:lnTo>
                    <a:lnTo>
                      <a:pt x="280" y="62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66" y="58"/>
                    </a:lnTo>
                    <a:lnTo>
                      <a:pt x="266" y="58"/>
                    </a:lnTo>
                    <a:lnTo>
                      <a:pt x="264" y="58"/>
                    </a:lnTo>
                    <a:lnTo>
                      <a:pt x="258" y="62"/>
                    </a:lnTo>
                    <a:lnTo>
                      <a:pt x="254" y="64"/>
                    </a:lnTo>
                    <a:lnTo>
                      <a:pt x="248" y="66"/>
                    </a:lnTo>
                    <a:lnTo>
                      <a:pt x="246" y="68"/>
                    </a:lnTo>
                    <a:lnTo>
                      <a:pt x="242" y="68"/>
                    </a:lnTo>
                    <a:lnTo>
                      <a:pt x="242" y="68"/>
                    </a:lnTo>
                    <a:lnTo>
                      <a:pt x="240" y="70"/>
                    </a:lnTo>
                    <a:lnTo>
                      <a:pt x="240" y="70"/>
                    </a:lnTo>
                    <a:lnTo>
                      <a:pt x="240" y="72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86"/>
                    </a:lnTo>
                    <a:lnTo>
                      <a:pt x="242" y="86"/>
                    </a:lnTo>
                    <a:lnTo>
                      <a:pt x="244" y="88"/>
                    </a:lnTo>
                    <a:lnTo>
                      <a:pt x="244" y="88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50" y="92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0" y="100"/>
                    </a:lnTo>
                    <a:lnTo>
                      <a:pt x="250" y="106"/>
                    </a:lnTo>
                    <a:lnTo>
                      <a:pt x="250" y="112"/>
                    </a:lnTo>
                    <a:lnTo>
                      <a:pt x="248" y="120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2" y="130"/>
                    </a:lnTo>
                    <a:lnTo>
                      <a:pt x="242" y="132"/>
                    </a:lnTo>
                    <a:lnTo>
                      <a:pt x="242" y="132"/>
                    </a:lnTo>
                    <a:lnTo>
                      <a:pt x="240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0" y="142"/>
                    </a:lnTo>
                    <a:lnTo>
                      <a:pt x="240" y="144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38" y="150"/>
                    </a:lnTo>
                    <a:lnTo>
                      <a:pt x="236" y="152"/>
                    </a:lnTo>
                    <a:lnTo>
                      <a:pt x="234" y="156"/>
                    </a:lnTo>
                    <a:lnTo>
                      <a:pt x="234" y="156"/>
                    </a:lnTo>
                    <a:lnTo>
                      <a:pt x="234" y="158"/>
                    </a:lnTo>
                    <a:lnTo>
                      <a:pt x="234" y="160"/>
                    </a:lnTo>
                    <a:lnTo>
                      <a:pt x="232" y="162"/>
                    </a:lnTo>
                    <a:lnTo>
                      <a:pt x="232" y="164"/>
                    </a:lnTo>
                    <a:lnTo>
                      <a:pt x="230" y="168"/>
                    </a:lnTo>
                    <a:lnTo>
                      <a:pt x="228" y="170"/>
                    </a:lnTo>
                    <a:lnTo>
                      <a:pt x="226" y="172"/>
                    </a:lnTo>
                    <a:lnTo>
                      <a:pt x="224" y="174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0" y="178"/>
                    </a:lnTo>
                    <a:lnTo>
                      <a:pt x="220" y="178"/>
                    </a:lnTo>
                    <a:lnTo>
                      <a:pt x="220" y="180"/>
                    </a:lnTo>
                    <a:lnTo>
                      <a:pt x="220" y="182"/>
                    </a:lnTo>
                    <a:lnTo>
                      <a:pt x="218" y="184"/>
                    </a:lnTo>
                    <a:lnTo>
                      <a:pt x="218" y="184"/>
                    </a:lnTo>
                    <a:lnTo>
                      <a:pt x="218" y="184"/>
                    </a:lnTo>
                    <a:lnTo>
                      <a:pt x="218" y="188"/>
                    </a:lnTo>
                    <a:lnTo>
                      <a:pt x="218" y="188"/>
                    </a:lnTo>
                    <a:lnTo>
                      <a:pt x="220" y="190"/>
                    </a:lnTo>
                    <a:lnTo>
                      <a:pt x="222" y="190"/>
                    </a:lnTo>
                    <a:lnTo>
                      <a:pt x="226" y="192"/>
                    </a:lnTo>
                    <a:lnTo>
                      <a:pt x="232" y="192"/>
                    </a:lnTo>
                    <a:lnTo>
                      <a:pt x="236" y="192"/>
                    </a:lnTo>
                    <a:lnTo>
                      <a:pt x="242" y="192"/>
                    </a:lnTo>
                    <a:lnTo>
                      <a:pt x="242" y="192"/>
                    </a:lnTo>
                    <a:lnTo>
                      <a:pt x="242" y="194"/>
                    </a:lnTo>
                    <a:lnTo>
                      <a:pt x="242" y="194"/>
                    </a:lnTo>
                    <a:lnTo>
                      <a:pt x="244" y="196"/>
                    </a:lnTo>
                    <a:lnTo>
                      <a:pt x="246" y="200"/>
                    </a:lnTo>
                    <a:lnTo>
                      <a:pt x="246" y="200"/>
                    </a:lnTo>
                    <a:lnTo>
                      <a:pt x="246" y="200"/>
                    </a:lnTo>
                    <a:lnTo>
                      <a:pt x="248" y="202"/>
                    </a:lnTo>
                    <a:lnTo>
                      <a:pt x="248" y="202"/>
                    </a:lnTo>
                    <a:lnTo>
                      <a:pt x="248" y="202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6" y="206"/>
                    </a:lnTo>
                    <a:lnTo>
                      <a:pt x="256" y="210"/>
                    </a:lnTo>
                    <a:lnTo>
                      <a:pt x="258" y="216"/>
                    </a:lnTo>
                    <a:lnTo>
                      <a:pt x="260" y="220"/>
                    </a:lnTo>
                    <a:lnTo>
                      <a:pt x="262" y="224"/>
                    </a:lnTo>
                    <a:lnTo>
                      <a:pt x="262" y="224"/>
                    </a:lnTo>
                    <a:lnTo>
                      <a:pt x="262" y="224"/>
                    </a:lnTo>
                    <a:lnTo>
                      <a:pt x="264" y="226"/>
                    </a:lnTo>
                    <a:lnTo>
                      <a:pt x="264" y="226"/>
                    </a:lnTo>
                    <a:lnTo>
                      <a:pt x="264" y="228"/>
                    </a:lnTo>
                    <a:lnTo>
                      <a:pt x="266" y="230"/>
                    </a:lnTo>
                    <a:lnTo>
                      <a:pt x="266" y="230"/>
                    </a:lnTo>
                    <a:lnTo>
                      <a:pt x="270" y="230"/>
                    </a:lnTo>
                    <a:lnTo>
                      <a:pt x="272" y="230"/>
                    </a:lnTo>
                    <a:lnTo>
                      <a:pt x="276" y="228"/>
                    </a:lnTo>
                    <a:lnTo>
                      <a:pt x="278" y="228"/>
                    </a:lnTo>
                    <a:lnTo>
                      <a:pt x="280" y="226"/>
                    </a:lnTo>
                    <a:lnTo>
                      <a:pt x="280" y="226"/>
                    </a:lnTo>
                    <a:lnTo>
                      <a:pt x="280" y="226"/>
                    </a:lnTo>
                    <a:lnTo>
                      <a:pt x="282" y="224"/>
                    </a:lnTo>
                    <a:lnTo>
                      <a:pt x="284" y="220"/>
                    </a:lnTo>
                    <a:lnTo>
                      <a:pt x="286" y="218"/>
                    </a:lnTo>
                    <a:lnTo>
                      <a:pt x="290" y="216"/>
                    </a:lnTo>
                    <a:lnTo>
                      <a:pt x="290" y="216"/>
                    </a:lnTo>
                    <a:lnTo>
                      <a:pt x="294" y="214"/>
                    </a:lnTo>
                    <a:lnTo>
                      <a:pt x="296" y="214"/>
                    </a:lnTo>
                    <a:lnTo>
                      <a:pt x="298" y="214"/>
                    </a:lnTo>
                    <a:lnTo>
                      <a:pt x="298" y="214"/>
                    </a:lnTo>
                    <a:lnTo>
                      <a:pt x="300" y="212"/>
                    </a:lnTo>
                    <a:lnTo>
                      <a:pt x="302" y="210"/>
                    </a:lnTo>
                    <a:lnTo>
                      <a:pt x="302" y="210"/>
                    </a:lnTo>
                    <a:lnTo>
                      <a:pt x="304" y="210"/>
                    </a:lnTo>
                    <a:lnTo>
                      <a:pt x="304" y="208"/>
                    </a:lnTo>
                    <a:lnTo>
                      <a:pt x="304" y="208"/>
                    </a:lnTo>
                    <a:lnTo>
                      <a:pt x="304" y="206"/>
                    </a:lnTo>
                    <a:lnTo>
                      <a:pt x="306" y="204"/>
                    </a:lnTo>
                    <a:lnTo>
                      <a:pt x="306" y="204"/>
                    </a:lnTo>
                    <a:lnTo>
                      <a:pt x="306" y="204"/>
                    </a:lnTo>
                    <a:lnTo>
                      <a:pt x="306" y="202"/>
                    </a:lnTo>
                    <a:lnTo>
                      <a:pt x="306" y="202"/>
                    </a:lnTo>
                    <a:lnTo>
                      <a:pt x="306" y="200"/>
                    </a:lnTo>
                    <a:lnTo>
                      <a:pt x="308" y="196"/>
                    </a:lnTo>
                    <a:lnTo>
                      <a:pt x="308" y="192"/>
                    </a:lnTo>
                    <a:lnTo>
                      <a:pt x="308" y="188"/>
                    </a:lnTo>
                    <a:lnTo>
                      <a:pt x="308" y="188"/>
                    </a:lnTo>
                    <a:lnTo>
                      <a:pt x="308" y="186"/>
                    </a:lnTo>
                    <a:lnTo>
                      <a:pt x="310" y="186"/>
                    </a:lnTo>
                    <a:lnTo>
                      <a:pt x="312" y="184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0" y="184"/>
                    </a:lnTo>
                    <a:lnTo>
                      <a:pt x="320" y="184"/>
                    </a:lnTo>
                    <a:lnTo>
                      <a:pt x="322" y="182"/>
                    </a:lnTo>
                    <a:lnTo>
                      <a:pt x="322" y="178"/>
                    </a:lnTo>
                    <a:lnTo>
                      <a:pt x="322" y="176"/>
                    </a:lnTo>
                    <a:lnTo>
                      <a:pt x="324" y="170"/>
                    </a:lnTo>
                    <a:lnTo>
                      <a:pt x="324" y="166"/>
                    </a:lnTo>
                    <a:lnTo>
                      <a:pt x="324" y="164"/>
                    </a:lnTo>
                    <a:lnTo>
                      <a:pt x="324" y="162"/>
                    </a:lnTo>
                    <a:lnTo>
                      <a:pt x="326" y="160"/>
                    </a:lnTo>
                    <a:lnTo>
                      <a:pt x="326" y="160"/>
                    </a:lnTo>
                    <a:lnTo>
                      <a:pt x="328" y="158"/>
                    </a:lnTo>
                    <a:lnTo>
                      <a:pt x="330" y="156"/>
                    </a:lnTo>
                    <a:lnTo>
                      <a:pt x="332" y="156"/>
                    </a:lnTo>
                    <a:lnTo>
                      <a:pt x="338" y="152"/>
                    </a:lnTo>
                    <a:lnTo>
                      <a:pt x="340" y="150"/>
                    </a:lnTo>
                    <a:lnTo>
                      <a:pt x="342" y="150"/>
                    </a:lnTo>
                    <a:lnTo>
                      <a:pt x="342" y="150"/>
                    </a:lnTo>
                    <a:lnTo>
                      <a:pt x="344" y="148"/>
                    </a:lnTo>
                    <a:lnTo>
                      <a:pt x="344" y="146"/>
                    </a:lnTo>
                    <a:lnTo>
                      <a:pt x="346" y="144"/>
                    </a:lnTo>
                    <a:lnTo>
                      <a:pt x="348" y="140"/>
                    </a:lnTo>
                    <a:lnTo>
                      <a:pt x="348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46" y="142"/>
                    </a:lnTo>
                    <a:lnTo>
                      <a:pt x="346" y="142"/>
                    </a:lnTo>
                    <a:lnTo>
                      <a:pt x="346" y="142"/>
                    </a:lnTo>
                    <a:lnTo>
                      <a:pt x="346" y="146"/>
                    </a:lnTo>
                    <a:lnTo>
                      <a:pt x="344" y="150"/>
                    </a:lnTo>
                    <a:lnTo>
                      <a:pt x="342" y="152"/>
                    </a:lnTo>
                    <a:lnTo>
                      <a:pt x="342" y="154"/>
                    </a:lnTo>
                    <a:lnTo>
                      <a:pt x="340" y="156"/>
                    </a:lnTo>
                    <a:lnTo>
                      <a:pt x="338" y="158"/>
                    </a:lnTo>
                    <a:lnTo>
                      <a:pt x="338" y="158"/>
                    </a:lnTo>
                    <a:lnTo>
                      <a:pt x="336" y="158"/>
                    </a:lnTo>
                    <a:lnTo>
                      <a:pt x="336" y="158"/>
                    </a:lnTo>
                    <a:lnTo>
                      <a:pt x="336" y="158"/>
                    </a:lnTo>
                    <a:lnTo>
                      <a:pt x="334" y="160"/>
                    </a:lnTo>
                    <a:lnTo>
                      <a:pt x="334" y="160"/>
                    </a:lnTo>
                    <a:lnTo>
                      <a:pt x="334" y="160"/>
                    </a:lnTo>
                    <a:lnTo>
                      <a:pt x="332" y="162"/>
                    </a:lnTo>
                    <a:lnTo>
                      <a:pt x="332" y="162"/>
                    </a:lnTo>
                    <a:lnTo>
                      <a:pt x="332" y="164"/>
                    </a:lnTo>
                    <a:lnTo>
                      <a:pt x="332" y="164"/>
                    </a:lnTo>
                    <a:lnTo>
                      <a:pt x="332" y="164"/>
                    </a:lnTo>
                    <a:lnTo>
                      <a:pt x="330" y="166"/>
                    </a:lnTo>
                    <a:lnTo>
                      <a:pt x="330" y="168"/>
                    </a:lnTo>
                    <a:lnTo>
                      <a:pt x="330" y="168"/>
                    </a:lnTo>
                    <a:lnTo>
                      <a:pt x="332" y="168"/>
                    </a:lnTo>
                    <a:lnTo>
                      <a:pt x="332" y="170"/>
                    </a:lnTo>
                    <a:lnTo>
                      <a:pt x="332" y="170"/>
                    </a:lnTo>
                    <a:lnTo>
                      <a:pt x="332" y="170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6" y="174"/>
                    </a:lnTo>
                    <a:lnTo>
                      <a:pt x="336" y="174"/>
                    </a:lnTo>
                    <a:lnTo>
                      <a:pt x="332" y="178"/>
                    </a:lnTo>
                    <a:lnTo>
                      <a:pt x="330" y="180"/>
                    </a:lnTo>
                    <a:lnTo>
                      <a:pt x="328" y="184"/>
                    </a:lnTo>
                    <a:lnTo>
                      <a:pt x="328" y="184"/>
                    </a:lnTo>
                    <a:lnTo>
                      <a:pt x="326" y="184"/>
                    </a:lnTo>
                    <a:lnTo>
                      <a:pt x="326" y="188"/>
                    </a:lnTo>
                    <a:lnTo>
                      <a:pt x="326" y="190"/>
                    </a:lnTo>
                    <a:lnTo>
                      <a:pt x="324" y="192"/>
                    </a:lnTo>
                    <a:lnTo>
                      <a:pt x="322" y="196"/>
                    </a:lnTo>
                    <a:lnTo>
                      <a:pt x="322" y="198"/>
                    </a:lnTo>
                    <a:lnTo>
                      <a:pt x="320" y="200"/>
                    </a:lnTo>
                    <a:lnTo>
                      <a:pt x="320" y="200"/>
                    </a:lnTo>
                    <a:lnTo>
                      <a:pt x="320" y="202"/>
                    </a:lnTo>
                    <a:lnTo>
                      <a:pt x="320" y="204"/>
                    </a:lnTo>
                    <a:lnTo>
                      <a:pt x="322" y="206"/>
                    </a:lnTo>
                    <a:lnTo>
                      <a:pt x="324" y="208"/>
                    </a:lnTo>
                    <a:lnTo>
                      <a:pt x="326" y="208"/>
                    </a:lnTo>
                    <a:lnTo>
                      <a:pt x="328" y="208"/>
                    </a:lnTo>
                    <a:lnTo>
                      <a:pt x="328" y="208"/>
                    </a:lnTo>
                    <a:lnTo>
                      <a:pt x="328" y="210"/>
                    </a:lnTo>
                    <a:lnTo>
                      <a:pt x="330" y="210"/>
                    </a:lnTo>
                    <a:lnTo>
                      <a:pt x="330" y="210"/>
                    </a:lnTo>
                    <a:lnTo>
                      <a:pt x="332" y="210"/>
                    </a:lnTo>
                    <a:lnTo>
                      <a:pt x="334" y="210"/>
                    </a:lnTo>
                    <a:lnTo>
                      <a:pt x="336" y="208"/>
                    </a:lnTo>
                    <a:lnTo>
                      <a:pt x="338" y="208"/>
                    </a:lnTo>
                    <a:lnTo>
                      <a:pt x="340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52" y="208"/>
                    </a:lnTo>
                    <a:lnTo>
                      <a:pt x="360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72" y="210"/>
                    </a:lnTo>
                    <a:lnTo>
                      <a:pt x="376" y="210"/>
                    </a:lnTo>
                    <a:lnTo>
                      <a:pt x="374" y="210"/>
                    </a:lnTo>
                    <a:lnTo>
                      <a:pt x="372" y="210"/>
                    </a:lnTo>
                    <a:lnTo>
                      <a:pt x="368" y="214"/>
                    </a:lnTo>
                    <a:lnTo>
                      <a:pt x="364" y="216"/>
                    </a:lnTo>
                    <a:lnTo>
                      <a:pt x="358" y="218"/>
                    </a:lnTo>
                    <a:lnTo>
                      <a:pt x="354" y="220"/>
                    </a:lnTo>
                    <a:lnTo>
                      <a:pt x="352" y="222"/>
                    </a:lnTo>
                    <a:lnTo>
                      <a:pt x="348" y="222"/>
                    </a:lnTo>
                    <a:lnTo>
                      <a:pt x="344" y="222"/>
                    </a:lnTo>
                    <a:lnTo>
                      <a:pt x="340" y="222"/>
                    </a:lnTo>
                    <a:lnTo>
                      <a:pt x="340" y="222"/>
                    </a:lnTo>
                    <a:lnTo>
                      <a:pt x="338" y="224"/>
                    </a:lnTo>
                    <a:lnTo>
                      <a:pt x="336" y="224"/>
                    </a:lnTo>
                    <a:lnTo>
                      <a:pt x="336" y="224"/>
                    </a:lnTo>
                    <a:lnTo>
                      <a:pt x="336" y="224"/>
                    </a:lnTo>
                    <a:lnTo>
                      <a:pt x="334" y="226"/>
                    </a:lnTo>
                    <a:lnTo>
                      <a:pt x="334" y="226"/>
                    </a:lnTo>
                    <a:lnTo>
                      <a:pt x="334" y="226"/>
                    </a:lnTo>
                    <a:lnTo>
                      <a:pt x="330" y="230"/>
                    </a:lnTo>
                    <a:lnTo>
                      <a:pt x="330" y="230"/>
                    </a:lnTo>
                    <a:lnTo>
                      <a:pt x="330" y="230"/>
                    </a:lnTo>
                    <a:lnTo>
                      <a:pt x="328" y="232"/>
                    </a:lnTo>
                    <a:lnTo>
                      <a:pt x="328" y="232"/>
                    </a:lnTo>
                    <a:lnTo>
                      <a:pt x="328" y="234"/>
                    </a:lnTo>
                    <a:lnTo>
                      <a:pt x="328" y="236"/>
                    </a:lnTo>
                    <a:lnTo>
                      <a:pt x="328" y="236"/>
                    </a:lnTo>
                    <a:lnTo>
                      <a:pt x="328" y="236"/>
                    </a:lnTo>
                    <a:lnTo>
                      <a:pt x="328" y="240"/>
                    </a:lnTo>
                    <a:lnTo>
                      <a:pt x="328" y="240"/>
                    </a:lnTo>
                    <a:lnTo>
                      <a:pt x="328" y="240"/>
                    </a:lnTo>
                    <a:lnTo>
                      <a:pt x="328" y="242"/>
                    </a:lnTo>
                    <a:lnTo>
                      <a:pt x="328" y="242"/>
                    </a:lnTo>
                    <a:lnTo>
                      <a:pt x="328" y="242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2" y="246"/>
                    </a:lnTo>
                    <a:lnTo>
                      <a:pt x="332" y="246"/>
                    </a:lnTo>
                    <a:lnTo>
                      <a:pt x="336" y="246"/>
                    </a:lnTo>
                    <a:lnTo>
                      <a:pt x="340" y="248"/>
                    </a:lnTo>
                    <a:lnTo>
                      <a:pt x="348" y="248"/>
                    </a:lnTo>
                    <a:lnTo>
                      <a:pt x="354" y="248"/>
                    </a:lnTo>
                    <a:lnTo>
                      <a:pt x="360" y="248"/>
                    </a:lnTo>
                    <a:lnTo>
                      <a:pt x="360" y="248"/>
                    </a:lnTo>
                    <a:lnTo>
                      <a:pt x="364" y="248"/>
                    </a:lnTo>
                    <a:lnTo>
                      <a:pt x="374" y="250"/>
                    </a:lnTo>
                    <a:lnTo>
                      <a:pt x="380" y="252"/>
                    </a:lnTo>
                    <a:lnTo>
                      <a:pt x="380" y="252"/>
                    </a:lnTo>
                    <a:lnTo>
                      <a:pt x="380" y="252"/>
                    </a:lnTo>
                    <a:lnTo>
                      <a:pt x="384" y="252"/>
                    </a:lnTo>
                    <a:lnTo>
                      <a:pt x="388" y="252"/>
                    </a:lnTo>
                    <a:lnTo>
                      <a:pt x="392" y="252"/>
                    </a:lnTo>
                    <a:lnTo>
                      <a:pt x="398" y="250"/>
                    </a:lnTo>
                    <a:lnTo>
                      <a:pt x="402" y="250"/>
                    </a:lnTo>
                    <a:lnTo>
                      <a:pt x="408" y="250"/>
                    </a:lnTo>
                    <a:lnTo>
                      <a:pt x="412" y="250"/>
                    </a:lnTo>
                    <a:lnTo>
                      <a:pt x="416" y="250"/>
                    </a:lnTo>
                    <a:lnTo>
                      <a:pt x="418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8" y="252"/>
                    </a:lnTo>
                    <a:lnTo>
                      <a:pt x="428" y="252"/>
                    </a:lnTo>
                    <a:lnTo>
                      <a:pt x="428" y="254"/>
                    </a:lnTo>
                    <a:lnTo>
                      <a:pt x="430" y="256"/>
                    </a:lnTo>
                    <a:lnTo>
                      <a:pt x="430" y="256"/>
                    </a:lnTo>
                    <a:lnTo>
                      <a:pt x="430" y="256"/>
                    </a:lnTo>
                    <a:lnTo>
                      <a:pt x="434" y="258"/>
                    </a:lnTo>
                    <a:lnTo>
                      <a:pt x="434" y="258"/>
                    </a:lnTo>
                    <a:lnTo>
                      <a:pt x="434" y="260"/>
                    </a:lnTo>
                    <a:lnTo>
                      <a:pt x="434" y="260"/>
                    </a:lnTo>
                    <a:lnTo>
                      <a:pt x="432" y="262"/>
                    </a:lnTo>
                    <a:lnTo>
                      <a:pt x="432" y="262"/>
                    </a:lnTo>
                    <a:lnTo>
                      <a:pt x="430" y="264"/>
                    </a:lnTo>
                    <a:lnTo>
                      <a:pt x="428" y="264"/>
                    </a:lnTo>
                    <a:lnTo>
                      <a:pt x="428" y="264"/>
                    </a:lnTo>
                    <a:lnTo>
                      <a:pt x="424" y="264"/>
                    </a:lnTo>
                    <a:lnTo>
                      <a:pt x="418" y="264"/>
                    </a:lnTo>
                    <a:lnTo>
                      <a:pt x="414" y="262"/>
                    </a:lnTo>
                    <a:lnTo>
                      <a:pt x="408" y="260"/>
                    </a:lnTo>
                    <a:lnTo>
                      <a:pt x="404" y="260"/>
                    </a:lnTo>
                    <a:lnTo>
                      <a:pt x="400" y="258"/>
                    </a:lnTo>
                    <a:lnTo>
                      <a:pt x="396" y="258"/>
                    </a:lnTo>
                    <a:lnTo>
                      <a:pt x="390" y="258"/>
                    </a:lnTo>
                    <a:lnTo>
                      <a:pt x="386" y="256"/>
                    </a:lnTo>
                    <a:lnTo>
                      <a:pt x="382" y="258"/>
                    </a:lnTo>
                    <a:lnTo>
                      <a:pt x="378" y="258"/>
                    </a:lnTo>
                    <a:lnTo>
                      <a:pt x="374" y="258"/>
                    </a:lnTo>
                    <a:lnTo>
                      <a:pt x="374" y="258"/>
                    </a:lnTo>
                    <a:lnTo>
                      <a:pt x="372" y="258"/>
                    </a:lnTo>
                    <a:lnTo>
                      <a:pt x="368" y="260"/>
                    </a:lnTo>
                    <a:lnTo>
                      <a:pt x="364" y="264"/>
                    </a:lnTo>
                    <a:lnTo>
                      <a:pt x="360" y="266"/>
                    </a:lnTo>
                    <a:lnTo>
                      <a:pt x="358" y="266"/>
                    </a:lnTo>
                    <a:lnTo>
                      <a:pt x="356" y="266"/>
                    </a:lnTo>
                    <a:lnTo>
                      <a:pt x="356" y="266"/>
                    </a:lnTo>
                    <a:lnTo>
                      <a:pt x="354" y="268"/>
                    </a:lnTo>
                    <a:lnTo>
                      <a:pt x="352" y="268"/>
                    </a:lnTo>
                    <a:lnTo>
                      <a:pt x="350" y="270"/>
                    </a:lnTo>
                    <a:lnTo>
                      <a:pt x="350" y="270"/>
                    </a:lnTo>
                    <a:lnTo>
                      <a:pt x="350" y="270"/>
                    </a:lnTo>
                    <a:lnTo>
                      <a:pt x="348" y="274"/>
                    </a:lnTo>
                    <a:lnTo>
                      <a:pt x="348" y="274"/>
                    </a:lnTo>
                    <a:lnTo>
                      <a:pt x="348" y="274"/>
                    </a:lnTo>
                    <a:lnTo>
                      <a:pt x="348" y="276"/>
                    </a:lnTo>
                    <a:lnTo>
                      <a:pt x="348" y="276"/>
                    </a:lnTo>
                    <a:lnTo>
                      <a:pt x="348" y="278"/>
                    </a:lnTo>
                    <a:lnTo>
                      <a:pt x="348" y="280"/>
                    </a:lnTo>
                    <a:lnTo>
                      <a:pt x="348" y="280"/>
                    </a:lnTo>
                    <a:lnTo>
                      <a:pt x="348" y="280"/>
                    </a:lnTo>
                    <a:lnTo>
                      <a:pt x="350" y="282"/>
                    </a:lnTo>
                    <a:lnTo>
                      <a:pt x="352" y="286"/>
                    </a:lnTo>
                    <a:lnTo>
                      <a:pt x="354" y="288"/>
                    </a:lnTo>
                    <a:lnTo>
                      <a:pt x="356" y="292"/>
                    </a:lnTo>
                    <a:lnTo>
                      <a:pt x="356" y="292"/>
                    </a:lnTo>
                    <a:lnTo>
                      <a:pt x="358" y="292"/>
                    </a:lnTo>
                    <a:lnTo>
                      <a:pt x="360" y="292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62" y="294"/>
                    </a:lnTo>
                    <a:lnTo>
                      <a:pt x="362" y="294"/>
                    </a:lnTo>
                    <a:lnTo>
                      <a:pt x="362" y="296"/>
                    </a:lnTo>
                    <a:lnTo>
                      <a:pt x="362" y="298"/>
                    </a:lnTo>
                    <a:lnTo>
                      <a:pt x="362" y="298"/>
                    </a:lnTo>
                    <a:lnTo>
                      <a:pt x="364" y="298"/>
                    </a:lnTo>
                    <a:lnTo>
                      <a:pt x="364" y="300"/>
                    </a:lnTo>
                    <a:lnTo>
                      <a:pt x="364" y="300"/>
                    </a:lnTo>
                    <a:lnTo>
                      <a:pt x="366" y="300"/>
                    </a:lnTo>
                    <a:lnTo>
                      <a:pt x="370" y="302"/>
                    </a:lnTo>
                    <a:lnTo>
                      <a:pt x="370" y="302"/>
                    </a:lnTo>
                    <a:lnTo>
                      <a:pt x="370" y="302"/>
                    </a:lnTo>
                    <a:lnTo>
                      <a:pt x="374" y="304"/>
                    </a:lnTo>
                    <a:lnTo>
                      <a:pt x="378" y="304"/>
                    </a:lnTo>
                    <a:lnTo>
                      <a:pt x="384" y="304"/>
                    </a:lnTo>
                    <a:lnTo>
                      <a:pt x="390" y="304"/>
                    </a:lnTo>
                    <a:lnTo>
                      <a:pt x="394" y="306"/>
                    </a:lnTo>
                    <a:lnTo>
                      <a:pt x="400" y="306"/>
                    </a:lnTo>
                    <a:lnTo>
                      <a:pt x="402" y="306"/>
                    </a:lnTo>
                    <a:lnTo>
                      <a:pt x="402" y="308"/>
                    </a:lnTo>
                    <a:lnTo>
                      <a:pt x="404" y="310"/>
                    </a:lnTo>
                    <a:lnTo>
                      <a:pt x="404" y="312"/>
                    </a:lnTo>
                    <a:lnTo>
                      <a:pt x="404" y="312"/>
                    </a:lnTo>
                    <a:lnTo>
                      <a:pt x="404" y="314"/>
                    </a:lnTo>
                    <a:lnTo>
                      <a:pt x="404" y="314"/>
                    </a:lnTo>
                    <a:lnTo>
                      <a:pt x="402" y="316"/>
                    </a:lnTo>
                    <a:lnTo>
                      <a:pt x="400" y="320"/>
                    </a:lnTo>
                    <a:lnTo>
                      <a:pt x="400" y="320"/>
                    </a:lnTo>
                    <a:lnTo>
                      <a:pt x="400" y="320"/>
                    </a:lnTo>
                    <a:lnTo>
                      <a:pt x="400" y="322"/>
                    </a:lnTo>
                    <a:lnTo>
                      <a:pt x="398" y="320"/>
                    </a:lnTo>
                    <a:lnTo>
                      <a:pt x="392" y="320"/>
                    </a:lnTo>
                    <a:lnTo>
                      <a:pt x="386" y="318"/>
                    </a:lnTo>
                    <a:lnTo>
                      <a:pt x="380" y="316"/>
                    </a:lnTo>
                    <a:lnTo>
                      <a:pt x="374" y="316"/>
                    </a:lnTo>
                    <a:lnTo>
                      <a:pt x="368" y="314"/>
                    </a:lnTo>
                    <a:lnTo>
                      <a:pt x="358" y="312"/>
                    </a:lnTo>
                    <a:lnTo>
                      <a:pt x="350" y="310"/>
                    </a:lnTo>
                    <a:lnTo>
                      <a:pt x="342" y="308"/>
                    </a:lnTo>
                    <a:lnTo>
                      <a:pt x="338" y="306"/>
                    </a:lnTo>
                    <a:lnTo>
                      <a:pt x="332" y="304"/>
                    </a:lnTo>
                    <a:lnTo>
                      <a:pt x="328" y="304"/>
                    </a:lnTo>
                    <a:lnTo>
                      <a:pt x="322" y="300"/>
                    </a:lnTo>
                    <a:lnTo>
                      <a:pt x="310" y="296"/>
                    </a:lnTo>
                    <a:lnTo>
                      <a:pt x="304" y="294"/>
                    </a:lnTo>
                    <a:lnTo>
                      <a:pt x="298" y="290"/>
                    </a:lnTo>
                    <a:lnTo>
                      <a:pt x="292" y="288"/>
                    </a:lnTo>
                    <a:lnTo>
                      <a:pt x="288" y="286"/>
                    </a:lnTo>
                    <a:lnTo>
                      <a:pt x="286" y="284"/>
                    </a:lnTo>
                    <a:lnTo>
                      <a:pt x="284" y="282"/>
                    </a:lnTo>
                    <a:lnTo>
                      <a:pt x="282" y="282"/>
                    </a:lnTo>
                    <a:lnTo>
                      <a:pt x="280" y="280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6" y="278"/>
                    </a:lnTo>
                    <a:lnTo>
                      <a:pt x="276" y="276"/>
                    </a:lnTo>
                    <a:lnTo>
                      <a:pt x="276" y="276"/>
                    </a:lnTo>
                    <a:lnTo>
                      <a:pt x="274" y="276"/>
                    </a:lnTo>
                    <a:lnTo>
                      <a:pt x="272" y="278"/>
                    </a:lnTo>
                    <a:lnTo>
                      <a:pt x="272" y="278"/>
                    </a:lnTo>
                    <a:lnTo>
                      <a:pt x="272" y="278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68" y="282"/>
                    </a:lnTo>
                    <a:lnTo>
                      <a:pt x="268" y="286"/>
                    </a:lnTo>
                    <a:lnTo>
                      <a:pt x="266" y="288"/>
                    </a:lnTo>
                    <a:lnTo>
                      <a:pt x="264" y="292"/>
                    </a:lnTo>
                    <a:lnTo>
                      <a:pt x="264" y="294"/>
                    </a:lnTo>
                    <a:lnTo>
                      <a:pt x="262" y="296"/>
                    </a:lnTo>
                    <a:lnTo>
                      <a:pt x="262" y="296"/>
                    </a:lnTo>
                    <a:lnTo>
                      <a:pt x="260" y="296"/>
                    </a:lnTo>
                    <a:lnTo>
                      <a:pt x="258" y="298"/>
                    </a:lnTo>
                    <a:lnTo>
                      <a:pt x="256" y="298"/>
                    </a:lnTo>
                    <a:lnTo>
                      <a:pt x="254" y="298"/>
                    </a:lnTo>
                    <a:lnTo>
                      <a:pt x="252" y="298"/>
                    </a:lnTo>
                    <a:lnTo>
                      <a:pt x="250" y="296"/>
                    </a:lnTo>
                    <a:lnTo>
                      <a:pt x="248" y="296"/>
                    </a:lnTo>
                    <a:lnTo>
                      <a:pt x="248" y="294"/>
                    </a:lnTo>
                    <a:lnTo>
                      <a:pt x="248" y="294"/>
                    </a:lnTo>
                    <a:lnTo>
                      <a:pt x="248" y="290"/>
                    </a:lnTo>
                    <a:lnTo>
                      <a:pt x="250" y="286"/>
                    </a:lnTo>
                    <a:lnTo>
                      <a:pt x="252" y="280"/>
                    </a:lnTo>
                    <a:lnTo>
                      <a:pt x="252" y="276"/>
                    </a:lnTo>
                    <a:lnTo>
                      <a:pt x="254" y="270"/>
                    </a:lnTo>
                    <a:lnTo>
                      <a:pt x="254" y="266"/>
                    </a:lnTo>
                    <a:lnTo>
                      <a:pt x="256" y="264"/>
                    </a:lnTo>
                    <a:lnTo>
                      <a:pt x="256" y="264"/>
                    </a:lnTo>
                    <a:lnTo>
                      <a:pt x="256" y="262"/>
                    </a:lnTo>
                    <a:lnTo>
                      <a:pt x="256" y="260"/>
                    </a:lnTo>
                    <a:lnTo>
                      <a:pt x="256" y="260"/>
                    </a:lnTo>
                    <a:lnTo>
                      <a:pt x="254" y="260"/>
                    </a:lnTo>
                    <a:lnTo>
                      <a:pt x="254" y="258"/>
                    </a:lnTo>
                    <a:lnTo>
                      <a:pt x="254" y="258"/>
                    </a:lnTo>
                    <a:lnTo>
                      <a:pt x="254" y="258"/>
                    </a:lnTo>
                    <a:lnTo>
                      <a:pt x="252" y="256"/>
                    </a:lnTo>
                    <a:lnTo>
                      <a:pt x="252" y="256"/>
                    </a:lnTo>
                    <a:lnTo>
                      <a:pt x="250" y="256"/>
                    </a:lnTo>
                    <a:lnTo>
                      <a:pt x="250" y="256"/>
                    </a:lnTo>
                    <a:lnTo>
                      <a:pt x="250" y="256"/>
                    </a:lnTo>
                    <a:lnTo>
                      <a:pt x="248" y="256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42" y="258"/>
                    </a:lnTo>
                    <a:lnTo>
                      <a:pt x="240" y="258"/>
                    </a:lnTo>
                    <a:lnTo>
                      <a:pt x="238" y="258"/>
                    </a:lnTo>
                    <a:lnTo>
                      <a:pt x="234" y="260"/>
                    </a:lnTo>
                    <a:lnTo>
                      <a:pt x="234" y="260"/>
                    </a:lnTo>
                    <a:lnTo>
                      <a:pt x="234" y="260"/>
                    </a:lnTo>
                    <a:lnTo>
                      <a:pt x="230" y="264"/>
                    </a:lnTo>
                    <a:lnTo>
                      <a:pt x="230" y="264"/>
                    </a:lnTo>
                    <a:lnTo>
                      <a:pt x="228" y="264"/>
                    </a:lnTo>
                    <a:lnTo>
                      <a:pt x="228" y="266"/>
                    </a:lnTo>
                    <a:lnTo>
                      <a:pt x="228" y="266"/>
                    </a:lnTo>
                    <a:lnTo>
                      <a:pt x="226" y="266"/>
                    </a:lnTo>
                    <a:lnTo>
                      <a:pt x="226" y="268"/>
                    </a:lnTo>
                    <a:lnTo>
                      <a:pt x="226" y="268"/>
                    </a:lnTo>
                    <a:lnTo>
                      <a:pt x="226" y="270"/>
                    </a:lnTo>
                    <a:lnTo>
                      <a:pt x="224" y="272"/>
                    </a:lnTo>
                    <a:lnTo>
                      <a:pt x="224" y="272"/>
                    </a:lnTo>
                    <a:lnTo>
                      <a:pt x="224" y="272"/>
                    </a:lnTo>
                    <a:lnTo>
                      <a:pt x="224" y="276"/>
                    </a:lnTo>
                    <a:lnTo>
                      <a:pt x="224" y="280"/>
                    </a:lnTo>
                    <a:lnTo>
                      <a:pt x="224" y="284"/>
                    </a:lnTo>
                    <a:lnTo>
                      <a:pt x="224" y="288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0" y="290"/>
                    </a:lnTo>
                    <a:lnTo>
                      <a:pt x="218" y="286"/>
                    </a:lnTo>
                    <a:lnTo>
                      <a:pt x="214" y="284"/>
                    </a:lnTo>
                    <a:lnTo>
                      <a:pt x="212" y="280"/>
                    </a:lnTo>
                    <a:lnTo>
                      <a:pt x="210" y="276"/>
                    </a:lnTo>
                    <a:lnTo>
                      <a:pt x="208" y="274"/>
                    </a:lnTo>
                    <a:lnTo>
                      <a:pt x="206" y="270"/>
                    </a:lnTo>
                    <a:lnTo>
                      <a:pt x="204" y="268"/>
                    </a:lnTo>
                    <a:lnTo>
                      <a:pt x="202" y="262"/>
                    </a:lnTo>
                    <a:lnTo>
                      <a:pt x="200" y="258"/>
                    </a:lnTo>
                    <a:lnTo>
                      <a:pt x="200" y="254"/>
                    </a:lnTo>
                    <a:lnTo>
                      <a:pt x="198" y="252"/>
                    </a:lnTo>
                    <a:lnTo>
                      <a:pt x="196" y="250"/>
                    </a:lnTo>
                    <a:lnTo>
                      <a:pt x="196" y="250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4" y="246"/>
                    </a:lnTo>
                    <a:lnTo>
                      <a:pt x="192" y="246"/>
                    </a:lnTo>
                    <a:lnTo>
                      <a:pt x="192" y="246"/>
                    </a:lnTo>
                    <a:lnTo>
                      <a:pt x="190" y="248"/>
                    </a:lnTo>
                    <a:lnTo>
                      <a:pt x="190" y="248"/>
                    </a:lnTo>
                    <a:lnTo>
                      <a:pt x="190" y="248"/>
                    </a:lnTo>
                    <a:lnTo>
                      <a:pt x="190" y="250"/>
                    </a:lnTo>
                    <a:lnTo>
                      <a:pt x="190" y="252"/>
                    </a:lnTo>
                    <a:lnTo>
                      <a:pt x="190" y="254"/>
                    </a:lnTo>
                    <a:lnTo>
                      <a:pt x="192" y="258"/>
                    </a:lnTo>
                    <a:lnTo>
                      <a:pt x="192" y="262"/>
                    </a:lnTo>
                    <a:lnTo>
                      <a:pt x="192" y="266"/>
                    </a:lnTo>
                    <a:lnTo>
                      <a:pt x="192" y="268"/>
                    </a:lnTo>
                    <a:lnTo>
                      <a:pt x="192" y="270"/>
                    </a:lnTo>
                    <a:lnTo>
                      <a:pt x="192" y="270"/>
                    </a:lnTo>
                    <a:lnTo>
                      <a:pt x="192" y="272"/>
                    </a:lnTo>
                    <a:lnTo>
                      <a:pt x="190" y="274"/>
                    </a:lnTo>
                    <a:lnTo>
                      <a:pt x="186" y="278"/>
                    </a:lnTo>
                    <a:lnTo>
                      <a:pt x="186" y="278"/>
                    </a:lnTo>
                    <a:lnTo>
                      <a:pt x="186" y="278"/>
                    </a:lnTo>
                    <a:lnTo>
                      <a:pt x="184" y="276"/>
                    </a:lnTo>
                    <a:lnTo>
                      <a:pt x="182" y="274"/>
                    </a:lnTo>
                    <a:lnTo>
                      <a:pt x="182" y="274"/>
                    </a:lnTo>
                    <a:lnTo>
                      <a:pt x="182" y="274"/>
                    </a:lnTo>
                    <a:lnTo>
                      <a:pt x="180" y="272"/>
                    </a:lnTo>
                    <a:lnTo>
                      <a:pt x="180" y="272"/>
                    </a:lnTo>
                    <a:lnTo>
                      <a:pt x="180" y="272"/>
                    </a:lnTo>
                    <a:lnTo>
                      <a:pt x="178" y="272"/>
                    </a:lnTo>
                    <a:lnTo>
                      <a:pt x="178" y="272"/>
                    </a:lnTo>
                    <a:lnTo>
                      <a:pt x="178" y="272"/>
                    </a:lnTo>
                    <a:lnTo>
                      <a:pt x="176" y="272"/>
                    </a:lnTo>
                    <a:lnTo>
                      <a:pt x="172" y="272"/>
                    </a:lnTo>
                    <a:lnTo>
                      <a:pt x="166" y="274"/>
                    </a:lnTo>
                    <a:lnTo>
                      <a:pt x="162" y="274"/>
                    </a:lnTo>
                    <a:lnTo>
                      <a:pt x="160" y="276"/>
                    </a:lnTo>
                    <a:lnTo>
                      <a:pt x="158" y="278"/>
                    </a:lnTo>
                    <a:lnTo>
                      <a:pt x="158" y="278"/>
                    </a:lnTo>
                    <a:lnTo>
                      <a:pt x="156" y="278"/>
                    </a:lnTo>
                    <a:lnTo>
                      <a:pt x="154" y="278"/>
                    </a:lnTo>
                    <a:lnTo>
                      <a:pt x="154" y="278"/>
                    </a:lnTo>
                    <a:lnTo>
                      <a:pt x="154" y="280"/>
                    </a:lnTo>
                    <a:lnTo>
                      <a:pt x="154" y="280"/>
                    </a:lnTo>
                    <a:lnTo>
                      <a:pt x="154" y="280"/>
                    </a:lnTo>
                    <a:lnTo>
                      <a:pt x="152" y="282"/>
                    </a:lnTo>
                    <a:lnTo>
                      <a:pt x="152" y="284"/>
                    </a:lnTo>
                    <a:lnTo>
                      <a:pt x="152" y="284"/>
                    </a:lnTo>
                    <a:lnTo>
                      <a:pt x="152" y="284"/>
                    </a:lnTo>
                    <a:lnTo>
                      <a:pt x="150" y="288"/>
                    </a:lnTo>
                    <a:lnTo>
                      <a:pt x="150" y="288"/>
                    </a:lnTo>
                    <a:lnTo>
                      <a:pt x="150" y="288"/>
                    </a:lnTo>
                    <a:lnTo>
                      <a:pt x="150" y="294"/>
                    </a:lnTo>
                    <a:lnTo>
                      <a:pt x="150" y="298"/>
                    </a:lnTo>
                    <a:lnTo>
                      <a:pt x="152" y="300"/>
                    </a:lnTo>
                    <a:lnTo>
                      <a:pt x="152" y="302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50" y="306"/>
                    </a:lnTo>
                    <a:lnTo>
                      <a:pt x="146" y="304"/>
                    </a:lnTo>
                    <a:lnTo>
                      <a:pt x="144" y="302"/>
                    </a:lnTo>
                    <a:lnTo>
                      <a:pt x="140" y="302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32" y="298"/>
                    </a:lnTo>
                    <a:lnTo>
                      <a:pt x="132" y="298"/>
                    </a:lnTo>
                    <a:lnTo>
                      <a:pt x="130" y="298"/>
                    </a:lnTo>
                    <a:lnTo>
                      <a:pt x="130" y="298"/>
                    </a:lnTo>
                    <a:lnTo>
                      <a:pt x="128" y="300"/>
                    </a:lnTo>
                    <a:lnTo>
                      <a:pt x="126" y="302"/>
                    </a:lnTo>
                    <a:lnTo>
                      <a:pt x="126" y="302"/>
                    </a:lnTo>
                    <a:lnTo>
                      <a:pt x="126" y="302"/>
                    </a:lnTo>
                    <a:lnTo>
                      <a:pt x="126" y="306"/>
                    </a:lnTo>
                    <a:lnTo>
                      <a:pt x="126" y="306"/>
                    </a:lnTo>
                    <a:lnTo>
                      <a:pt x="126" y="306"/>
                    </a:lnTo>
                    <a:lnTo>
                      <a:pt x="126" y="308"/>
                    </a:lnTo>
                    <a:lnTo>
                      <a:pt x="126" y="312"/>
                    </a:lnTo>
                    <a:lnTo>
                      <a:pt x="126" y="316"/>
                    </a:lnTo>
                    <a:lnTo>
                      <a:pt x="128" y="318"/>
                    </a:lnTo>
                    <a:lnTo>
                      <a:pt x="128" y="320"/>
                    </a:lnTo>
                    <a:lnTo>
                      <a:pt x="128" y="322"/>
                    </a:lnTo>
                    <a:lnTo>
                      <a:pt x="128" y="322"/>
                    </a:lnTo>
                    <a:lnTo>
                      <a:pt x="126" y="322"/>
                    </a:lnTo>
                    <a:lnTo>
                      <a:pt x="124" y="322"/>
                    </a:lnTo>
                    <a:lnTo>
                      <a:pt x="124" y="322"/>
                    </a:lnTo>
                    <a:lnTo>
                      <a:pt x="120" y="322"/>
                    </a:lnTo>
                    <a:lnTo>
                      <a:pt x="118" y="320"/>
                    </a:lnTo>
                    <a:lnTo>
                      <a:pt x="118" y="320"/>
                    </a:lnTo>
                    <a:lnTo>
                      <a:pt x="118" y="320"/>
                    </a:lnTo>
                    <a:lnTo>
                      <a:pt x="116" y="318"/>
                    </a:lnTo>
                    <a:lnTo>
                      <a:pt x="118" y="316"/>
                    </a:lnTo>
                    <a:lnTo>
                      <a:pt x="118" y="314"/>
                    </a:lnTo>
                    <a:lnTo>
                      <a:pt x="118" y="310"/>
                    </a:lnTo>
                    <a:lnTo>
                      <a:pt x="118" y="308"/>
                    </a:lnTo>
                    <a:lnTo>
                      <a:pt x="118" y="308"/>
                    </a:lnTo>
                    <a:lnTo>
                      <a:pt x="118" y="304"/>
                    </a:lnTo>
                    <a:lnTo>
                      <a:pt x="118" y="304"/>
                    </a:lnTo>
                    <a:lnTo>
                      <a:pt x="116" y="304"/>
                    </a:lnTo>
                    <a:lnTo>
                      <a:pt x="116" y="302"/>
                    </a:lnTo>
                    <a:lnTo>
                      <a:pt x="116" y="302"/>
                    </a:lnTo>
                    <a:lnTo>
                      <a:pt x="114" y="302"/>
                    </a:lnTo>
                    <a:lnTo>
                      <a:pt x="112" y="300"/>
                    </a:lnTo>
                    <a:lnTo>
                      <a:pt x="112" y="300"/>
                    </a:lnTo>
                    <a:lnTo>
                      <a:pt x="112" y="300"/>
                    </a:lnTo>
                    <a:lnTo>
                      <a:pt x="110" y="298"/>
                    </a:lnTo>
                    <a:lnTo>
                      <a:pt x="106" y="298"/>
                    </a:lnTo>
                    <a:lnTo>
                      <a:pt x="102" y="298"/>
                    </a:lnTo>
                    <a:lnTo>
                      <a:pt x="98" y="296"/>
                    </a:lnTo>
                    <a:lnTo>
                      <a:pt x="94" y="296"/>
                    </a:lnTo>
                    <a:lnTo>
                      <a:pt x="90" y="298"/>
                    </a:lnTo>
                    <a:lnTo>
                      <a:pt x="90" y="298"/>
                    </a:lnTo>
                    <a:lnTo>
                      <a:pt x="90" y="298"/>
                    </a:lnTo>
                    <a:lnTo>
                      <a:pt x="88" y="298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300"/>
                    </a:lnTo>
                    <a:lnTo>
                      <a:pt x="86" y="300"/>
                    </a:lnTo>
                    <a:lnTo>
                      <a:pt x="84" y="302"/>
                    </a:lnTo>
                    <a:lnTo>
                      <a:pt x="84" y="304"/>
                    </a:lnTo>
                    <a:lnTo>
                      <a:pt x="84" y="304"/>
                    </a:lnTo>
                    <a:lnTo>
                      <a:pt x="84" y="304"/>
                    </a:lnTo>
                    <a:lnTo>
                      <a:pt x="84" y="306"/>
                    </a:lnTo>
                    <a:lnTo>
                      <a:pt x="84" y="310"/>
                    </a:lnTo>
                    <a:lnTo>
                      <a:pt x="84" y="312"/>
                    </a:lnTo>
                    <a:lnTo>
                      <a:pt x="84" y="314"/>
                    </a:lnTo>
                    <a:lnTo>
                      <a:pt x="84" y="316"/>
                    </a:lnTo>
                    <a:lnTo>
                      <a:pt x="84" y="316"/>
                    </a:lnTo>
                    <a:lnTo>
                      <a:pt x="82" y="318"/>
                    </a:lnTo>
                    <a:lnTo>
                      <a:pt x="80" y="318"/>
                    </a:lnTo>
                    <a:lnTo>
                      <a:pt x="78" y="318"/>
                    </a:lnTo>
                    <a:lnTo>
                      <a:pt x="76" y="318"/>
                    </a:lnTo>
                    <a:lnTo>
                      <a:pt x="74" y="320"/>
                    </a:lnTo>
                    <a:lnTo>
                      <a:pt x="70" y="318"/>
                    </a:lnTo>
                    <a:lnTo>
                      <a:pt x="66" y="318"/>
                    </a:lnTo>
                    <a:lnTo>
                      <a:pt x="64" y="316"/>
                    </a:lnTo>
                    <a:lnTo>
                      <a:pt x="60" y="316"/>
                    </a:lnTo>
                    <a:lnTo>
                      <a:pt x="54" y="312"/>
                    </a:lnTo>
                    <a:lnTo>
                      <a:pt x="50" y="308"/>
                    </a:lnTo>
                    <a:lnTo>
                      <a:pt x="44" y="306"/>
                    </a:lnTo>
                    <a:lnTo>
                      <a:pt x="38" y="302"/>
                    </a:lnTo>
                    <a:lnTo>
                      <a:pt x="32" y="298"/>
                    </a:lnTo>
                    <a:lnTo>
                      <a:pt x="28" y="294"/>
                    </a:lnTo>
                    <a:lnTo>
                      <a:pt x="24" y="292"/>
                    </a:lnTo>
                    <a:lnTo>
                      <a:pt x="22" y="290"/>
                    </a:lnTo>
                    <a:lnTo>
                      <a:pt x="20" y="290"/>
                    </a:lnTo>
                    <a:lnTo>
                      <a:pt x="20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6" y="288"/>
                    </a:lnTo>
                    <a:lnTo>
                      <a:pt x="16" y="288"/>
                    </a:lnTo>
                    <a:lnTo>
                      <a:pt x="16" y="288"/>
                    </a:lnTo>
                    <a:lnTo>
                      <a:pt x="14" y="286"/>
                    </a:lnTo>
                    <a:lnTo>
                      <a:pt x="14" y="282"/>
                    </a:lnTo>
                    <a:lnTo>
                      <a:pt x="12" y="280"/>
                    </a:lnTo>
                    <a:lnTo>
                      <a:pt x="12" y="280"/>
                    </a:lnTo>
                    <a:lnTo>
                      <a:pt x="12" y="280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8" y="278"/>
                    </a:lnTo>
                    <a:lnTo>
                      <a:pt x="8" y="278"/>
                    </a:lnTo>
                    <a:lnTo>
                      <a:pt x="8" y="278"/>
                    </a:lnTo>
                    <a:lnTo>
                      <a:pt x="6" y="278"/>
                    </a:lnTo>
                    <a:lnTo>
                      <a:pt x="6" y="280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82"/>
                    </a:lnTo>
                    <a:lnTo>
                      <a:pt x="4" y="284"/>
                    </a:lnTo>
                    <a:lnTo>
                      <a:pt x="4" y="288"/>
                    </a:lnTo>
                    <a:lnTo>
                      <a:pt x="4" y="292"/>
                    </a:lnTo>
                    <a:lnTo>
                      <a:pt x="4" y="298"/>
                    </a:lnTo>
                    <a:lnTo>
                      <a:pt x="4" y="304"/>
                    </a:lnTo>
                    <a:lnTo>
                      <a:pt x="2" y="310"/>
                    </a:lnTo>
                    <a:lnTo>
                      <a:pt x="2" y="318"/>
                    </a:lnTo>
                    <a:lnTo>
                      <a:pt x="2" y="326"/>
                    </a:lnTo>
                    <a:lnTo>
                      <a:pt x="2" y="336"/>
                    </a:lnTo>
                    <a:lnTo>
                      <a:pt x="2" y="346"/>
                    </a:lnTo>
                    <a:lnTo>
                      <a:pt x="2" y="356"/>
                    </a:lnTo>
                    <a:lnTo>
                      <a:pt x="2" y="376"/>
                    </a:lnTo>
                    <a:lnTo>
                      <a:pt x="2" y="398"/>
                    </a:lnTo>
                    <a:lnTo>
                      <a:pt x="2" y="442"/>
                    </a:lnTo>
                    <a:lnTo>
                      <a:pt x="2" y="452"/>
                    </a:lnTo>
                    <a:lnTo>
                      <a:pt x="2" y="464"/>
                    </a:lnTo>
                    <a:lnTo>
                      <a:pt x="2" y="476"/>
                    </a:lnTo>
                    <a:lnTo>
                      <a:pt x="2" y="488"/>
                    </a:lnTo>
                    <a:lnTo>
                      <a:pt x="2" y="514"/>
                    </a:lnTo>
                    <a:lnTo>
                      <a:pt x="0" y="538"/>
                    </a:lnTo>
                    <a:lnTo>
                      <a:pt x="0" y="552"/>
                    </a:lnTo>
                    <a:lnTo>
                      <a:pt x="0" y="564"/>
                    </a:lnTo>
                    <a:lnTo>
                      <a:pt x="0" y="574"/>
                    </a:lnTo>
                    <a:lnTo>
                      <a:pt x="0" y="586"/>
                    </a:lnTo>
                    <a:lnTo>
                      <a:pt x="0" y="596"/>
                    </a:lnTo>
                    <a:lnTo>
                      <a:pt x="0" y="604"/>
                    </a:lnTo>
                    <a:lnTo>
                      <a:pt x="0" y="612"/>
                    </a:lnTo>
                    <a:lnTo>
                      <a:pt x="0" y="618"/>
                    </a:lnTo>
                    <a:lnTo>
                      <a:pt x="0" y="624"/>
                    </a:lnTo>
                    <a:lnTo>
                      <a:pt x="2" y="628"/>
                    </a:lnTo>
                    <a:lnTo>
                      <a:pt x="2" y="632"/>
                    </a:lnTo>
                    <a:lnTo>
                      <a:pt x="2" y="634"/>
                    </a:lnTo>
                    <a:lnTo>
                      <a:pt x="2" y="634"/>
                    </a:lnTo>
                    <a:lnTo>
                      <a:pt x="2" y="636"/>
                    </a:lnTo>
                    <a:lnTo>
                      <a:pt x="4" y="636"/>
                    </a:lnTo>
                    <a:lnTo>
                      <a:pt x="4" y="636"/>
                    </a:lnTo>
                    <a:lnTo>
                      <a:pt x="4" y="638"/>
                    </a:lnTo>
                    <a:lnTo>
                      <a:pt x="4" y="638"/>
                    </a:lnTo>
                    <a:lnTo>
                      <a:pt x="4" y="638"/>
                    </a:lnTo>
                    <a:lnTo>
                      <a:pt x="6" y="640"/>
                    </a:lnTo>
                    <a:lnTo>
                      <a:pt x="6" y="640"/>
                    </a:lnTo>
                    <a:lnTo>
                      <a:pt x="6" y="640"/>
                    </a:lnTo>
                    <a:lnTo>
                      <a:pt x="8" y="640"/>
                    </a:lnTo>
                    <a:lnTo>
                      <a:pt x="8" y="640"/>
                    </a:lnTo>
                    <a:lnTo>
                      <a:pt x="8" y="640"/>
                    </a:lnTo>
                    <a:lnTo>
                      <a:pt x="10" y="640"/>
                    </a:lnTo>
                    <a:lnTo>
                      <a:pt x="12" y="638"/>
                    </a:lnTo>
                    <a:lnTo>
                      <a:pt x="14" y="636"/>
                    </a:lnTo>
                    <a:lnTo>
                      <a:pt x="14" y="636"/>
                    </a:lnTo>
                    <a:lnTo>
                      <a:pt x="14" y="636"/>
                    </a:lnTo>
                    <a:lnTo>
                      <a:pt x="18" y="638"/>
                    </a:lnTo>
                    <a:lnTo>
                      <a:pt x="24" y="642"/>
                    </a:lnTo>
                    <a:lnTo>
                      <a:pt x="28" y="644"/>
                    </a:lnTo>
                    <a:lnTo>
                      <a:pt x="32" y="646"/>
                    </a:lnTo>
                    <a:lnTo>
                      <a:pt x="34" y="648"/>
                    </a:lnTo>
                    <a:lnTo>
                      <a:pt x="40" y="654"/>
                    </a:lnTo>
                    <a:lnTo>
                      <a:pt x="48" y="660"/>
                    </a:lnTo>
                    <a:lnTo>
                      <a:pt x="54" y="666"/>
                    </a:lnTo>
                    <a:lnTo>
                      <a:pt x="60" y="674"/>
                    </a:lnTo>
                    <a:lnTo>
                      <a:pt x="64" y="678"/>
                    </a:lnTo>
                    <a:lnTo>
                      <a:pt x="66" y="682"/>
                    </a:lnTo>
                    <a:lnTo>
                      <a:pt x="72" y="694"/>
                    </a:lnTo>
                    <a:lnTo>
                      <a:pt x="78" y="704"/>
                    </a:lnTo>
                    <a:lnTo>
                      <a:pt x="82" y="708"/>
                    </a:lnTo>
                    <a:lnTo>
                      <a:pt x="84" y="714"/>
                    </a:lnTo>
                    <a:lnTo>
                      <a:pt x="90" y="722"/>
                    </a:lnTo>
                    <a:lnTo>
                      <a:pt x="96" y="730"/>
                    </a:lnTo>
                    <a:lnTo>
                      <a:pt x="102" y="736"/>
                    </a:lnTo>
                    <a:lnTo>
                      <a:pt x="106" y="744"/>
                    </a:lnTo>
                    <a:lnTo>
                      <a:pt x="108" y="746"/>
                    </a:lnTo>
                    <a:lnTo>
                      <a:pt x="110" y="750"/>
                    </a:lnTo>
                    <a:lnTo>
                      <a:pt x="112" y="756"/>
                    </a:lnTo>
                    <a:lnTo>
                      <a:pt x="114" y="760"/>
                    </a:lnTo>
                    <a:lnTo>
                      <a:pt x="116" y="762"/>
                    </a:lnTo>
                    <a:lnTo>
                      <a:pt x="116" y="762"/>
                    </a:lnTo>
                    <a:lnTo>
                      <a:pt x="118" y="764"/>
                    </a:lnTo>
                    <a:lnTo>
                      <a:pt x="118" y="764"/>
                    </a:lnTo>
                    <a:lnTo>
                      <a:pt x="118" y="766"/>
                    </a:lnTo>
                    <a:lnTo>
                      <a:pt x="120" y="766"/>
                    </a:lnTo>
                    <a:lnTo>
                      <a:pt x="120" y="766"/>
                    </a:lnTo>
                    <a:lnTo>
                      <a:pt x="122" y="768"/>
                    </a:lnTo>
                    <a:lnTo>
                      <a:pt x="124" y="768"/>
                    </a:lnTo>
                    <a:lnTo>
                      <a:pt x="124" y="768"/>
                    </a:lnTo>
                    <a:lnTo>
                      <a:pt x="124" y="768"/>
                    </a:lnTo>
                    <a:lnTo>
                      <a:pt x="128" y="768"/>
                    </a:lnTo>
                    <a:lnTo>
                      <a:pt x="128" y="768"/>
                    </a:lnTo>
                    <a:lnTo>
                      <a:pt x="128" y="768"/>
                    </a:lnTo>
                    <a:lnTo>
                      <a:pt x="132" y="766"/>
                    </a:lnTo>
                    <a:lnTo>
                      <a:pt x="134" y="766"/>
                    </a:lnTo>
                    <a:lnTo>
                      <a:pt x="138" y="764"/>
                    </a:lnTo>
                    <a:lnTo>
                      <a:pt x="140" y="764"/>
                    </a:lnTo>
                    <a:lnTo>
                      <a:pt x="142" y="764"/>
                    </a:lnTo>
                    <a:lnTo>
                      <a:pt x="144" y="764"/>
                    </a:lnTo>
                    <a:lnTo>
                      <a:pt x="144" y="766"/>
                    </a:lnTo>
                    <a:lnTo>
                      <a:pt x="146" y="768"/>
                    </a:lnTo>
                    <a:lnTo>
                      <a:pt x="148" y="770"/>
                    </a:lnTo>
                    <a:lnTo>
                      <a:pt x="150" y="774"/>
                    </a:lnTo>
                    <a:lnTo>
                      <a:pt x="154" y="780"/>
                    </a:lnTo>
                    <a:lnTo>
                      <a:pt x="156" y="784"/>
                    </a:lnTo>
                    <a:lnTo>
                      <a:pt x="158" y="788"/>
                    </a:lnTo>
                    <a:lnTo>
                      <a:pt x="162" y="794"/>
                    </a:lnTo>
                    <a:lnTo>
                      <a:pt x="166" y="798"/>
                    </a:lnTo>
                    <a:lnTo>
                      <a:pt x="170" y="804"/>
                    </a:lnTo>
                    <a:lnTo>
                      <a:pt x="174" y="808"/>
                    </a:lnTo>
                    <a:lnTo>
                      <a:pt x="174" y="812"/>
                    </a:lnTo>
                    <a:lnTo>
                      <a:pt x="176" y="814"/>
                    </a:lnTo>
                    <a:lnTo>
                      <a:pt x="180" y="822"/>
                    </a:lnTo>
                    <a:lnTo>
                      <a:pt x="182" y="826"/>
                    </a:lnTo>
                    <a:lnTo>
                      <a:pt x="184" y="830"/>
                    </a:lnTo>
                    <a:lnTo>
                      <a:pt x="188" y="834"/>
                    </a:lnTo>
                    <a:lnTo>
                      <a:pt x="190" y="836"/>
                    </a:lnTo>
                    <a:lnTo>
                      <a:pt x="190" y="836"/>
                    </a:lnTo>
                    <a:lnTo>
                      <a:pt x="190" y="838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196" y="840"/>
                    </a:lnTo>
                    <a:lnTo>
                      <a:pt x="204" y="844"/>
                    </a:lnTo>
                    <a:lnTo>
                      <a:pt x="210" y="846"/>
                    </a:lnTo>
                    <a:lnTo>
                      <a:pt x="212" y="846"/>
                    </a:lnTo>
                    <a:lnTo>
                      <a:pt x="216" y="848"/>
                    </a:lnTo>
                    <a:lnTo>
                      <a:pt x="226" y="854"/>
                    </a:lnTo>
                    <a:lnTo>
                      <a:pt x="238" y="860"/>
                    </a:lnTo>
                    <a:lnTo>
                      <a:pt x="242" y="860"/>
                    </a:lnTo>
                    <a:lnTo>
                      <a:pt x="246" y="862"/>
                    </a:lnTo>
                    <a:lnTo>
                      <a:pt x="254" y="864"/>
                    </a:lnTo>
                    <a:lnTo>
                      <a:pt x="258" y="866"/>
                    </a:lnTo>
                    <a:lnTo>
                      <a:pt x="260" y="866"/>
                    </a:lnTo>
                    <a:lnTo>
                      <a:pt x="262" y="868"/>
                    </a:lnTo>
                    <a:lnTo>
                      <a:pt x="264" y="868"/>
                    </a:lnTo>
                    <a:lnTo>
                      <a:pt x="266" y="870"/>
                    </a:lnTo>
                    <a:lnTo>
                      <a:pt x="266" y="872"/>
                    </a:lnTo>
                    <a:lnTo>
                      <a:pt x="266" y="874"/>
                    </a:lnTo>
                    <a:lnTo>
                      <a:pt x="266" y="876"/>
                    </a:lnTo>
                    <a:lnTo>
                      <a:pt x="266" y="878"/>
                    </a:lnTo>
                    <a:lnTo>
                      <a:pt x="268" y="882"/>
                    </a:lnTo>
                    <a:lnTo>
                      <a:pt x="268" y="884"/>
                    </a:lnTo>
                    <a:lnTo>
                      <a:pt x="268" y="884"/>
                    </a:lnTo>
                    <a:lnTo>
                      <a:pt x="268" y="884"/>
                    </a:lnTo>
                    <a:lnTo>
                      <a:pt x="270" y="888"/>
                    </a:lnTo>
                    <a:lnTo>
                      <a:pt x="272" y="892"/>
                    </a:lnTo>
                    <a:lnTo>
                      <a:pt x="274" y="894"/>
                    </a:lnTo>
                    <a:lnTo>
                      <a:pt x="280" y="902"/>
                    </a:lnTo>
                    <a:lnTo>
                      <a:pt x="284" y="906"/>
                    </a:lnTo>
                    <a:lnTo>
                      <a:pt x="286" y="910"/>
                    </a:lnTo>
                    <a:lnTo>
                      <a:pt x="290" y="912"/>
                    </a:lnTo>
                    <a:lnTo>
                      <a:pt x="290" y="914"/>
                    </a:lnTo>
                    <a:lnTo>
                      <a:pt x="294" y="912"/>
                    </a:lnTo>
                    <a:lnTo>
                      <a:pt x="366" y="912"/>
                    </a:lnTo>
                    <a:lnTo>
                      <a:pt x="382" y="912"/>
                    </a:lnTo>
                    <a:lnTo>
                      <a:pt x="428" y="912"/>
                    </a:lnTo>
                    <a:lnTo>
                      <a:pt x="444" y="912"/>
                    </a:lnTo>
                    <a:lnTo>
                      <a:pt x="480" y="912"/>
                    </a:lnTo>
                    <a:lnTo>
                      <a:pt x="514" y="912"/>
                    </a:lnTo>
                    <a:lnTo>
                      <a:pt x="550" y="912"/>
                    </a:lnTo>
                    <a:lnTo>
                      <a:pt x="584" y="912"/>
                    </a:lnTo>
                    <a:lnTo>
                      <a:pt x="600" y="912"/>
                    </a:lnTo>
                    <a:lnTo>
                      <a:pt x="616" y="912"/>
                    </a:lnTo>
                    <a:lnTo>
                      <a:pt x="632" y="912"/>
                    </a:lnTo>
                    <a:lnTo>
                      <a:pt x="648" y="912"/>
                    </a:lnTo>
                    <a:lnTo>
                      <a:pt x="662" y="912"/>
                    </a:lnTo>
                    <a:lnTo>
                      <a:pt x="676" y="912"/>
                    </a:lnTo>
                    <a:lnTo>
                      <a:pt x="690" y="912"/>
                    </a:lnTo>
                    <a:lnTo>
                      <a:pt x="702" y="912"/>
                    </a:lnTo>
                    <a:lnTo>
                      <a:pt x="714" y="912"/>
                    </a:lnTo>
                    <a:lnTo>
                      <a:pt x="724" y="912"/>
                    </a:lnTo>
                    <a:lnTo>
                      <a:pt x="734" y="912"/>
                    </a:lnTo>
                    <a:lnTo>
                      <a:pt x="742" y="910"/>
                    </a:lnTo>
                    <a:lnTo>
                      <a:pt x="750" y="910"/>
                    </a:lnTo>
                    <a:lnTo>
                      <a:pt x="756" y="910"/>
                    </a:lnTo>
                    <a:lnTo>
                      <a:pt x="762" y="910"/>
                    </a:lnTo>
                    <a:lnTo>
                      <a:pt x="766" y="910"/>
                    </a:lnTo>
                    <a:lnTo>
                      <a:pt x="770" y="910"/>
                    </a:lnTo>
                    <a:lnTo>
                      <a:pt x="774" y="910"/>
                    </a:lnTo>
                    <a:lnTo>
                      <a:pt x="778" y="910"/>
                    </a:lnTo>
                    <a:lnTo>
                      <a:pt x="780" y="910"/>
                    </a:lnTo>
                    <a:lnTo>
                      <a:pt x="782" y="908"/>
                    </a:lnTo>
                    <a:lnTo>
                      <a:pt x="784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8" y="908"/>
                    </a:lnTo>
                    <a:lnTo>
                      <a:pt x="788" y="908"/>
                    </a:lnTo>
                    <a:lnTo>
                      <a:pt x="788" y="906"/>
                    </a:lnTo>
                    <a:lnTo>
                      <a:pt x="788" y="906"/>
                    </a:lnTo>
                    <a:lnTo>
                      <a:pt x="788" y="906"/>
                    </a:lnTo>
                    <a:lnTo>
                      <a:pt x="788" y="902"/>
                    </a:lnTo>
                    <a:lnTo>
                      <a:pt x="786" y="902"/>
                    </a:lnTo>
                    <a:lnTo>
                      <a:pt x="786" y="902"/>
                    </a:lnTo>
                    <a:lnTo>
                      <a:pt x="786" y="902"/>
                    </a:lnTo>
                    <a:lnTo>
                      <a:pt x="784" y="900"/>
                    </a:lnTo>
                    <a:lnTo>
                      <a:pt x="782" y="900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6"/>
                    </a:lnTo>
                    <a:lnTo>
                      <a:pt x="776" y="894"/>
                    </a:lnTo>
                    <a:lnTo>
                      <a:pt x="776" y="894"/>
                    </a:lnTo>
                    <a:lnTo>
                      <a:pt x="776" y="894"/>
                    </a:lnTo>
                    <a:lnTo>
                      <a:pt x="776" y="892"/>
                    </a:lnTo>
                    <a:lnTo>
                      <a:pt x="776" y="892"/>
                    </a:lnTo>
                    <a:lnTo>
                      <a:pt x="778" y="892"/>
                    </a:lnTo>
                    <a:lnTo>
                      <a:pt x="780" y="894"/>
                    </a:lnTo>
                    <a:lnTo>
                      <a:pt x="784" y="896"/>
                    </a:lnTo>
                    <a:lnTo>
                      <a:pt x="786" y="896"/>
                    </a:lnTo>
                    <a:lnTo>
                      <a:pt x="788" y="896"/>
                    </a:lnTo>
                    <a:lnTo>
                      <a:pt x="792" y="896"/>
                    </a:lnTo>
                    <a:lnTo>
                      <a:pt x="798" y="898"/>
                    </a:lnTo>
                    <a:lnTo>
                      <a:pt x="802" y="898"/>
                    </a:lnTo>
                    <a:lnTo>
                      <a:pt x="804" y="898"/>
                    </a:lnTo>
                    <a:lnTo>
                      <a:pt x="808" y="898"/>
                    </a:lnTo>
                    <a:lnTo>
                      <a:pt x="808" y="900"/>
                    </a:lnTo>
                    <a:lnTo>
                      <a:pt x="808" y="900"/>
                    </a:lnTo>
                    <a:lnTo>
                      <a:pt x="808" y="900"/>
                    </a:lnTo>
                    <a:lnTo>
                      <a:pt x="808" y="902"/>
                    </a:lnTo>
                    <a:lnTo>
                      <a:pt x="808" y="904"/>
                    </a:lnTo>
                    <a:lnTo>
                      <a:pt x="808" y="906"/>
                    </a:lnTo>
                    <a:lnTo>
                      <a:pt x="808" y="908"/>
                    </a:lnTo>
                    <a:lnTo>
                      <a:pt x="808" y="908"/>
                    </a:lnTo>
                    <a:lnTo>
                      <a:pt x="808" y="908"/>
                    </a:lnTo>
                    <a:lnTo>
                      <a:pt x="810" y="910"/>
                    </a:lnTo>
                    <a:lnTo>
                      <a:pt x="810" y="910"/>
                    </a:lnTo>
                    <a:lnTo>
                      <a:pt x="810" y="912"/>
                    </a:lnTo>
                    <a:lnTo>
                      <a:pt x="810" y="912"/>
                    </a:lnTo>
                    <a:lnTo>
                      <a:pt x="810" y="912"/>
                    </a:lnTo>
                    <a:lnTo>
                      <a:pt x="812" y="914"/>
                    </a:lnTo>
                    <a:lnTo>
                      <a:pt x="814" y="914"/>
                    </a:lnTo>
                    <a:lnTo>
                      <a:pt x="814" y="914"/>
                    </a:lnTo>
                    <a:lnTo>
                      <a:pt x="814" y="914"/>
                    </a:lnTo>
                    <a:lnTo>
                      <a:pt x="818" y="916"/>
                    </a:lnTo>
                    <a:lnTo>
                      <a:pt x="820" y="916"/>
                    </a:lnTo>
                    <a:lnTo>
                      <a:pt x="824" y="916"/>
                    </a:lnTo>
                    <a:lnTo>
                      <a:pt x="828" y="916"/>
                    </a:lnTo>
                    <a:lnTo>
                      <a:pt x="830" y="918"/>
                    </a:lnTo>
                    <a:lnTo>
                      <a:pt x="832" y="918"/>
                    </a:lnTo>
                    <a:lnTo>
                      <a:pt x="834" y="918"/>
                    </a:lnTo>
                    <a:lnTo>
                      <a:pt x="834" y="920"/>
                    </a:lnTo>
                    <a:lnTo>
                      <a:pt x="834" y="922"/>
                    </a:lnTo>
                    <a:lnTo>
                      <a:pt x="832" y="926"/>
                    </a:lnTo>
                    <a:lnTo>
                      <a:pt x="830" y="930"/>
                    </a:lnTo>
                    <a:lnTo>
                      <a:pt x="830" y="934"/>
                    </a:lnTo>
                    <a:lnTo>
                      <a:pt x="830" y="938"/>
                    </a:lnTo>
                    <a:lnTo>
                      <a:pt x="830" y="938"/>
                    </a:lnTo>
                    <a:lnTo>
                      <a:pt x="830" y="938"/>
                    </a:lnTo>
                    <a:lnTo>
                      <a:pt x="830" y="942"/>
                    </a:lnTo>
                    <a:lnTo>
                      <a:pt x="830" y="942"/>
                    </a:lnTo>
                    <a:lnTo>
                      <a:pt x="830" y="942"/>
                    </a:lnTo>
                    <a:lnTo>
                      <a:pt x="830" y="944"/>
                    </a:lnTo>
                    <a:lnTo>
                      <a:pt x="830" y="944"/>
                    </a:lnTo>
                    <a:lnTo>
                      <a:pt x="830" y="944"/>
                    </a:lnTo>
                    <a:lnTo>
                      <a:pt x="832" y="946"/>
                    </a:lnTo>
                    <a:lnTo>
                      <a:pt x="832" y="946"/>
                    </a:lnTo>
                    <a:lnTo>
                      <a:pt x="832" y="946"/>
                    </a:lnTo>
                    <a:lnTo>
                      <a:pt x="834" y="948"/>
                    </a:lnTo>
                    <a:lnTo>
                      <a:pt x="834" y="948"/>
                    </a:lnTo>
                    <a:lnTo>
                      <a:pt x="840" y="952"/>
                    </a:lnTo>
                    <a:lnTo>
                      <a:pt x="844" y="954"/>
                    </a:lnTo>
                    <a:lnTo>
                      <a:pt x="850" y="956"/>
                    </a:lnTo>
                    <a:lnTo>
                      <a:pt x="856" y="958"/>
                    </a:lnTo>
                    <a:lnTo>
                      <a:pt x="860" y="960"/>
                    </a:lnTo>
                    <a:lnTo>
                      <a:pt x="864" y="962"/>
                    </a:lnTo>
                    <a:lnTo>
                      <a:pt x="868" y="964"/>
                    </a:lnTo>
                    <a:lnTo>
                      <a:pt x="868" y="964"/>
                    </a:lnTo>
                    <a:lnTo>
                      <a:pt x="870" y="964"/>
                    </a:lnTo>
                    <a:lnTo>
                      <a:pt x="872" y="964"/>
                    </a:lnTo>
                    <a:lnTo>
                      <a:pt x="872" y="964"/>
                    </a:lnTo>
                    <a:lnTo>
                      <a:pt x="872" y="964"/>
                    </a:lnTo>
                    <a:lnTo>
                      <a:pt x="876" y="964"/>
                    </a:lnTo>
                    <a:lnTo>
                      <a:pt x="876" y="964"/>
                    </a:lnTo>
                    <a:lnTo>
                      <a:pt x="876" y="962"/>
                    </a:lnTo>
                    <a:lnTo>
                      <a:pt x="878" y="962"/>
                    </a:lnTo>
                    <a:lnTo>
                      <a:pt x="878" y="962"/>
                    </a:lnTo>
                    <a:lnTo>
                      <a:pt x="878" y="962"/>
                    </a:lnTo>
                    <a:lnTo>
                      <a:pt x="880" y="960"/>
                    </a:lnTo>
                    <a:lnTo>
                      <a:pt x="882" y="960"/>
                    </a:lnTo>
                    <a:lnTo>
                      <a:pt x="882" y="958"/>
                    </a:lnTo>
                    <a:lnTo>
                      <a:pt x="882" y="958"/>
                    </a:lnTo>
                    <a:lnTo>
                      <a:pt x="884" y="958"/>
                    </a:lnTo>
                    <a:lnTo>
                      <a:pt x="884" y="960"/>
                    </a:lnTo>
                    <a:lnTo>
                      <a:pt x="886" y="960"/>
                    </a:lnTo>
                    <a:lnTo>
                      <a:pt x="888" y="962"/>
                    </a:lnTo>
                    <a:lnTo>
                      <a:pt x="892" y="966"/>
                    </a:lnTo>
                    <a:lnTo>
                      <a:pt x="896" y="970"/>
                    </a:lnTo>
                    <a:lnTo>
                      <a:pt x="898" y="972"/>
                    </a:lnTo>
                    <a:lnTo>
                      <a:pt x="898" y="974"/>
                    </a:lnTo>
                    <a:lnTo>
                      <a:pt x="900" y="978"/>
                    </a:lnTo>
                    <a:lnTo>
                      <a:pt x="902" y="982"/>
                    </a:lnTo>
                    <a:lnTo>
                      <a:pt x="904" y="984"/>
                    </a:lnTo>
                    <a:lnTo>
                      <a:pt x="904" y="984"/>
                    </a:lnTo>
                    <a:lnTo>
                      <a:pt x="902" y="984"/>
                    </a:lnTo>
                    <a:lnTo>
                      <a:pt x="900" y="984"/>
                    </a:lnTo>
                    <a:lnTo>
                      <a:pt x="896" y="982"/>
                    </a:lnTo>
                    <a:lnTo>
                      <a:pt x="892" y="982"/>
                    </a:lnTo>
                    <a:lnTo>
                      <a:pt x="888" y="980"/>
                    </a:lnTo>
                    <a:lnTo>
                      <a:pt x="884" y="980"/>
                    </a:lnTo>
                    <a:lnTo>
                      <a:pt x="884" y="980"/>
                    </a:lnTo>
                    <a:lnTo>
                      <a:pt x="884" y="980"/>
                    </a:lnTo>
                    <a:lnTo>
                      <a:pt x="880" y="980"/>
                    </a:lnTo>
                    <a:lnTo>
                      <a:pt x="880" y="980"/>
                    </a:lnTo>
                    <a:lnTo>
                      <a:pt x="880" y="980"/>
                    </a:lnTo>
                    <a:lnTo>
                      <a:pt x="876" y="982"/>
                    </a:lnTo>
                    <a:lnTo>
                      <a:pt x="876" y="982"/>
                    </a:lnTo>
                    <a:lnTo>
                      <a:pt x="876" y="982"/>
                    </a:lnTo>
                    <a:lnTo>
                      <a:pt x="872" y="984"/>
                    </a:lnTo>
                    <a:lnTo>
                      <a:pt x="872" y="984"/>
                    </a:lnTo>
                    <a:lnTo>
                      <a:pt x="872" y="986"/>
                    </a:lnTo>
                    <a:lnTo>
                      <a:pt x="870" y="988"/>
                    </a:lnTo>
                    <a:lnTo>
                      <a:pt x="868" y="994"/>
                    </a:lnTo>
                    <a:lnTo>
                      <a:pt x="866" y="998"/>
                    </a:lnTo>
                    <a:lnTo>
                      <a:pt x="864" y="1008"/>
                    </a:lnTo>
                    <a:lnTo>
                      <a:pt x="862" y="1012"/>
                    </a:lnTo>
                    <a:lnTo>
                      <a:pt x="860" y="1016"/>
                    </a:lnTo>
                    <a:lnTo>
                      <a:pt x="856" y="1022"/>
                    </a:lnTo>
                    <a:lnTo>
                      <a:pt x="852" y="1030"/>
                    </a:lnTo>
                    <a:lnTo>
                      <a:pt x="850" y="1034"/>
                    </a:lnTo>
                    <a:lnTo>
                      <a:pt x="848" y="1036"/>
                    </a:lnTo>
                    <a:lnTo>
                      <a:pt x="846" y="1040"/>
                    </a:lnTo>
                    <a:lnTo>
                      <a:pt x="846" y="1042"/>
                    </a:lnTo>
                    <a:lnTo>
                      <a:pt x="846" y="1044"/>
                    </a:lnTo>
                    <a:lnTo>
                      <a:pt x="846" y="1044"/>
                    </a:lnTo>
                    <a:lnTo>
                      <a:pt x="846" y="1044"/>
                    </a:lnTo>
                    <a:lnTo>
                      <a:pt x="846" y="1046"/>
                    </a:lnTo>
                    <a:lnTo>
                      <a:pt x="846" y="1046"/>
                    </a:lnTo>
                    <a:lnTo>
                      <a:pt x="846" y="1046"/>
                    </a:lnTo>
                    <a:lnTo>
                      <a:pt x="846" y="1050"/>
                    </a:lnTo>
                    <a:lnTo>
                      <a:pt x="846" y="1050"/>
                    </a:lnTo>
                    <a:lnTo>
                      <a:pt x="846" y="1050"/>
                    </a:lnTo>
                    <a:lnTo>
                      <a:pt x="848" y="1050"/>
                    </a:lnTo>
                    <a:lnTo>
                      <a:pt x="848" y="1050"/>
                    </a:lnTo>
                    <a:lnTo>
                      <a:pt x="848" y="1052"/>
                    </a:lnTo>
                    <a:lnTo>
                      <a:pt x="848" y="1052"/>
                    </a:lnTo>
                    <a:lnTo>
                      <a:pt x="848" y="1052"/>
                    </a:lnTo>
                    <a:lnTo>
                      <a:pt x="850" y="1052"/>
                    </a:lnTo>
                    <a:lnTo>
                      <a:pt x="852" y="1052"/>
                    </a:lnTo>
                    <a:lnTo>
                      <a:pt x="852" y="1052"/>
                    </a:lnTo>
                    <a:lnTo>
                      <a:pt x="852" y="1052"/>
                    </a:lnTo>
                    <a:lnTo>
                      <a:pt x="854" y="1052"/>
                    </a:lnTo>
                    <a:lnTo>
                      <a:pt x="854" y="1052"/>
                    </a:lnTo>
                    <a:lnTo>
                      <a:pt x="854" y="1050"/>
                    </a:lnTo>
                    <a:lnTo>
                      <a:pt x="854" y="1050"/>
                    </a:lnTo>
                    <a:lnTo>
                      <a:pt x="854" y="1050"/>
                    </a:lnTo>
                    <a:lnTo>
                      <a:pt x="856" y="1048"/>
                    </a:lnTo>
                    <a:lnTo>
                      <a:pt x="856" y="1046"/>
                    </a:lnTo>
                    <a:lnTo>
                      <a:pt x="856" y="1044"/>
                    </a:lnTo>
                    <a:lnTo>
                      <a:pt x="858" y="1042"/>
                    </a:lnTo>
                    <a:lnTo>
                      <a:pt x="858" y="1038"/>
                    </a:lnTo>
                    <a:lnTo>
                      <a:pt x="860" y="1036"/>
                    </a:lnTo>
                    <a:lnTo>
                      <a:pt x="862" y="1034"/>
                    </a:lnTo>
                    <a:lnTo>
                      <a:pt x="864" y="1032"/>
                    </a:lnTo>
                    <a:lnTo>
                      <a:pt x="866" y="1032"/>
                    </a:lnTo>
                    <a:lnTo>
                      <a:pt x="868" y="1032"/>
                    </a:lnTo>
                    <a:lnTo>
                      <a:pt x="874" y="1030"/>
                    </a:lnTo>
                    <a:lnTo>
                      <a:pt x="880" y="1030"/>
                    </a:lnTo>
                    <a:lnTo>
                      <a:pt x="886" y="1030"/>
                    </a:lnTo>
                    <a:lnTo>
                      <a:pt x="892" y="1030"/>
                    </a:lnTo>
                    <a:lnTo>
                      <a:pt x="900" y="1028"/>
                    </a:lnTo>
                    <a:lnTo>
                      <a:pt x="904" y="1028"/>
                    </a:lnTo>
                    <a:lnTo>
                      <a:pt x="906" y="1028"/>
                    </a:lnTo>
                    <a:lnTo>
                      <a:pt x="908" y="1026"/>
                    </a:lnTo>
                    <a:lnTo>
                      <a:pt x="908" y="1026"/>
                    </a:lnTo>
                    <a:lnTo>
                      <a:pt x="910" y="1026"/>
                    </a:lnTo>
                    <a:lnTo>
                      <a:pt x="912" y="1024"/>
                    </a:lnTo>
                    <a:lnTo>
                      <a:pt x="912" y="1024"/>
                    </a:lnTo>
                    <a:lnTo>
                      <a:pt x="912" y="1024"/>
                    </a:lnTo>
                    <a:lnTo>
                      <a:pt x="914" y="1020"/>
                    </a:lnTo>
                    <a:lnTo>
                      <a:pt x="914" y="1020"/>
                    </a:lnTo>
                    <a:lnTo>
                      <a:pt x="914" y="1020"/>
                    </a:lnTo>
                    <a:lnTo>
                      <a:pt x="914" y="1018"/>
                    </a:lnTo>
                    <a:lnTo>
                      <a:pt x="914" y="1016"/>
                    </a:lnTo>
                    <a:lnTo>
                      <a:pt x="914" y="1014"/>
                    </a:lnTo>
                    <a:lnTo>
                      <a:pt x="914" y="1010"/>
                    </a:lnTo>
                    <a:lnTo>
                      <a:pt x="914" y="1008"/>
                    </a:lnTo>
                    <a:lnTo>
                      <a:pt x="916" y="1006"/>
                    </a:lnTo>
                    <a:lnTo>
                      <a:pt x="916" y="1006"/>
                    </a:lnTo>
                    <a:lnTo>
                      <a:pt x="918" y="1004"/>
                    </a:lnTo>
                    <a:lnTo>
                      <a:pt x="920" y="1004"/>
                    </a:lnTo>
                    <a:lnTo>
                      <a:pt x="922" y="1004"/>
                    </a:lnTo>
                    <a:lnTo>
                      <a:pt x="926" y="1004"/>
                    </a:lnTo>
                    <a:lnTo>
                      <a:pt x="932" y="1004"/>
                    </a:lnTo>
                    <a:lnTo>
                      <a:pt x="936" y="1004"/>
                    </a:lnTo>
                    <a:lnTo>
                      <a:pt x="940" y="1002"/>
                    </a:lnTo>
                    <a:lnTo>
                      <a:pt x="940" y="1002"/>
                    </a:lnTo>
                    <a:lnTo>
                      <a:pt x="940" y="1002"/>
                    </a:lnTo>
                    <a:lnTo>
                      <a:pt x="944" y="1002"/>
                    </a:lnTo>
                    <a:lnTo>
                      <a:pt x="944" y="1002"/>
                    </a:lnTo>
                    <a:lnTo>
                      <a:pt x="944" y="1002"/>
                    </a:lnTo>
                    <a:lnTo>
                      <a:pt x="948" y="1000"/>
                    </a:lnTo>
                    <a:lnTo>
                      <a:pt x="954" y="994"/>
                    </a:lnTo>
                    <a:lnTo>
                      <a:pt x="956" y="992"/>
                    </a:lnTo>
                    <a:lnTo>
                      <a:pt x="960" y="990"/>
                    </a:lnTo>
                    <a:lnTo>
                      <a:pt x="964" y="988"/>
                    </a:lnTo>
                    <a:lnTo>
                      <a:pt x="968" y="986"/>
                    </a:lnTo>
                    <a:lnTo>
                      <a:pt x="970" y="986"/>
                    </a:lnTo>
                    <a:lnTo>
                      <a:pt x="974" y="986"/>
                    </a:lnTo>
                    <a:lnTo>
                      <a:pt x="980" y="984"/>
                    </a:lnTo>
                    <a:lnTo>
                      <a:pt x="988" y="984"/>
                    </a:lnTo>
                    <a:lnTo>
                      <a:pt x="998" y="984"/>
                    </a:lnTo>
                    <a:lnTo>
                      <a:pt x="1006" y="984"/>
                    </a:lnTo>
                    <a:lnTo>
                      <a:pt x="1014" y="982"/>
                    </a:lnTo>
                    <a:lnTo>
                      <a:pt x="1018" y="982"/>
                    </a:lnTo>
                    <a:lnTo>
                      <a:pt x="1020" y="982"/>
                    </a:lnTo>
                    <a:lnTo>
                      <a:pt x="1024" y="982"/>
                    </a:lnTo>
                    <a:lnTo>
                      <a:pt x="1026" y="982"/>
                    </a:lnTo>
                    <a:lnTo>
                      <a:pt x="1030" y="980"/>
                    </a:lnTo>
                    <a:lnTo>
                      <a:pt x="1030" y="980"/>
                    </a:lnTo>
                    <a:lnTo>
                      <a:pt x="1030" y="980"/>
                    </a:lnTo>
                    <a:lnTo>
                      <a:pt x="1034" y="978"/>
                    </a:lnTo>
                    <a:lnTo>
                      <a:pt x="1034" y="978"/>
                    </a:lnTo>
                    <a:lnTo>
                      <a:pt x="1034" y="978"/>
                    </a:lnTo>
                    <a:lnTo>
                      <a:pt x="1036" y="976"/>
                    </a:lnTo>
                    <a:lnTo>
                      <a:pt x="1036" y="976"/>
                    </a:lnTo>
                    <a:lnTo>
                      <a:pt x="1036" y="976"/>
                    </a:lnTo>
                    <a:lnTo>
                      <a:pt x="1038" y="974"/>
                    </a:lnTo>
                    <a:lnTo>
                      <a:pt x="1038" y="974"/>
                    </a:lnTo>
                    <a:lnTo>
                      <a:pt x="1038" y="972"/>
                    </a:lnTo>
                    <a:lnTo>
                      <a:pt x="1038" y="970"/>
                    </a:lnTo>
                    <a:lnTo>
                      <a:pt x="1040" y="968"/>
                    </a:lnTo>
                    <a:lnTo>
                      <a:pt x="1040" y="968"/>
                    </a:lnTo>
                    <a:lnTo>
                      <a:pt x="1040" y="966"/>
                    </a:lnTo>
                    <a:lnTo>
                      <a:pt x="1046" y="960"/>
                    </a:lnTo>
                    <a:lnTo>
                      <a:pt x="1050" y="958"/>
                    </a:lnTo>
                    <a:lnTo>
                      <a:pt x="1052" y="954"/>
                    </a:lnTo>
                    <a:lnTo>
                      <a:pt x="1052" y="954"/>
                    </a:lnTo>
                    <a:lnTo>
                      <a:pt x="1052" y="952"/>
                    </a:lnTo>
                    <a:lnTo>
                      <a:pt x="1054" y="950"/>
                    </a:lnTo>
                    <a:lnTo>
                      <a:pt x="1054" y="948"/>
                    </a:lnTo>
                    <a:lnTo>
                      <a:pt x="1056" y="944"/>
                    </a:lnTo>
                    <a:lnTo>
                      <a:pt x="1058" y="940"/>
                    </a:lnTo>
                    <a:lnTo>
                      <a:pt x="1058" y="938"/>
                    </a:lnTo>
                    <a:lnTo>
                      <a:pt x="1058" y="936"/>
                    </a:lnTo>
                    <a:lnTo>
                      <a:pt x="1060" y="936"/>
                    </a:lnTo>
                    <a:lnTo>
                      <a:pt x="1062" y="934"/>
                    </a:lnTo>
                    <a:lnTo>
                      <a:pt x="1064" y="934"/>
                    </a:lnTo>
                    <a:lnTo>
                      <a:pt x="1068" y="934"/>
                    </a:lnTo>
                    <a:lnTo>
                      <a:pt x="1070" y="934"/>
                    </a:lnTo>
                    <a:lnTo>
                      <a:pt x="1074" y="932"/>
                    </a:lnTo>
                    <a:lnTo>
                      <a:pt x="1076" y="932"/>
                    </a:lnTo>
                    <a:lnTo>
                      <a:pt x="1076" y="932"/>
                    </a:lnTo>
                    <a:lnTo>
                      <a:pt x="1076" y="932"/>
                    </a:lnTo>
                    <a:lnTo>
                      <a:pt x="1076" y="934"/>
                    </a:lnTo>
                    <a:lnTo>
                      <a:pt x="1076" y="934"/>
                    </a:lnTo>
                    <a:lnTo>
                      <a:pt x="1078" y="936"/>
                    </a:lnTo>
                    <a:lnTo>
                      <a:pt x="1078" y="938"/>
                    </a:lnTo>
                    <a:lnTo>
                      <a:pt x="1078" y="942"/>
                    </a:lnTo>
                    <a:lnTo>
                      <a:pt x="1078" y="948"/>
                    </a:lnTo>
                    <a:lnTo>
                      <a:pt x="1078" y="950"/>
                    </a:lnTo>
                    <a:lnTo>
                      <a:pt x="1078" y="952"/>
                    </a:lnTo>
                    <a:lnTo>
                      <a:pt x="1076" y="958"/>
                    </a:lnTo>
                    <a:lnTo>
                      <a:pt x="1076" y="962"/>
                    </a:lnTo>
                    <a:lnTo>
                      <a:pt x="1078" y="966"/>
                    </a:lnTo>
                    <a:lnTo>
                      <a:pt x="1078" y="966"/>
                    </a:lnTo>
                    <a:lnTo>
                      <a:pt x="1078" y="968"/>
                    </a:lnTo>
                    <a:lnTo>
                      <a:pt x="1078" y="968"/>
                    </a:lnTo>
                    <a:lnTo>
                      <a:pt x="1078" y="968"/>
                    </a:lnTo>
                    <a:lnTo>
                      <a:pt x="1078" y="970"/>
                    </a:lnTo>
                    <a:lnTo>
                      <a:pt x="1080" y="970"/>
                    </a:lnTo>
                    <a:lnTo>
                      <a:pt x="1080" y="970"/>
                    </a:lnTo>
                    <a:lnTo>
                      <a:pt x="1080" y="972"/>
                    </a:lnTo>
                    <a:lnTo>
                      <a:pt x="1082" y="972"/>
                    </a:lnTo>
                    <a:lnTo>
                      <a:pt x="1084" y="974"/>
                    </a:lnTo>
                    <a:lnTo>
                      <a:pt x="1088" y="978"/>
                    </a:lnTo>
                    <a:lnTo>
                      <a:pt x="1092" y="980"/>
                    </a:lnTo>
                    <a:lnTo>
                      <a:pt x="1094" y="980"/>
                    </a:lnTo>
                    <a:lnTo>
                      <a:pt x="1094" y="980"/>
                    </a:lnTo>
                    <a:lnTo>
                      <a:pt x="1094" y="982"/>
                    </a:lnTo>
                    <a:lnTo>
                      <a:pt x="1096" y="982"/>
                    </a:lnTo>
                    <a:lnTo>
                      <a:pt x="1096" y="982"/>
                    </a:lnTo>
                    <a:lnTo>
                      <a:pt x="1098" y="982"/>
                    </a:lnTo>
                    <a:lnTo>
                      <a:pt x="1098" y="980"/>
                    </a:lnTo>
                    <a:lnTo>
                      <a:pt x="1098" y="980"/>
                    </a:lnTo>
                    <a:lnTo>
                      <a:pt x="1100" y="980"/>
                    </a:lnTo>
                    <a:lnTo>
                      <a:pt x="1100" y="978"/>
                    </a:lnTo>
                    <a:lnTo>
                      <a:pt x="1100" y="978"/>
                    </a:lnTo>
                    <a:lnTo>
                      <a:pt x="1100" y="978"/>
                    </a:lnTo>
                    <a:lnTo>
                      <a:pt x="1102" y="976"/>
                    </a:lnTo>
                    <a:lnTo>
                      <a:pt x="1102" y="976"/>
                    </a:lnTo>
                    <a:lnTo>
                      <a:pt x="1102" y="976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4" y="976"/>
                    </a:lnTo>
                    <a:lnTo>
                      <a:pt x="1104" y="976"/>
                    </a:lnTo>
                    <a:lnTo>
                      <a:pt x="1104" y="976"/>
                    </a:lnTo>
                    <a:lnTo>
                      <a:pt x="1106" y="976"/>
                    </a:lnTo>
                    <a:lnTo>
                      <a:pt x="1106" y="976"/>
                    </a:lnTo>
                    <a:lnTo>
                      <a:pt x="1106" y="976"/>
                    </a:lnTo>
                    <a:lnTo>
                      <a:pt x="1108" y="976"/>
                    </a:lnTo>
                    <a:lnTo>
                      <a:pt x="1110" y="974"/>
                    </a:lnTo>
                    <a:lnTo>
                      <a:pt x="1114" y="974"/>
                    </a:lnTo>
                    <a:lnTo>
                      <a:pt x="1118" y="972"/>
                    </a:lnTo>
                    <a:lnTo>
                      <a:pt x="1120" y="970"/>
                    </a:lnTo>
                    <a:lnTo>
                      <a:pt x="1120" y="970"/>
                    </a:lnTo>
                    <a:lnTo>
                      <a:pt x="1120" y="970"/>
                    </a:lnTo>
                    <a:lnTo>
                      <a:pt x="1120" y="974"/>
                    </a:lnTo>
                    <a:lnTo>
                      <a:pt x="1120" y="974"/>
                    </a:lnTo>
                    <a:lnTo>
                      <a:pt x="1122" y="976"/>
                    </a:lnTo>
                    <a:lnTo>
                      <a:pt x="1124" y="976"/>
                    </a:lnTo>
                    <a:lnTo>
                      <a:pt x="1106" y="982"/>
                    </a:lnTo>
                    <a:lnTo>
                      <a:pt x="1106" y="982"/>
                    </a:lnTo>
                    <a:lnTo>
                      <a:pt x="1104" y="984"/>
                    </a:lnTo>
                    <a:lnTo>
                      <a:pt x="1094" y="1002"/>
                    </a:lnTo>
                    <a:lnTo>
                      <a:pt x="1094" y="1002"/>
                    </a:lnTo>
                    <a:lnTo>
                      <a:pt x="1096" y="1004"/>
                    </a:lnTo>
                    <a:lnTo>
                      <a:pt x="1108" y="1022"/>
                    </a:lnTo>
                    <a:lnTo>
                      <a:pt x="1108" y="1022"/>
                    </a:lnTo>
                    <a:lnTo>
                      <a:pt x="1110" y="1024"/>
                    </a:lnTo>
                    <a:lnTo>
                      <a:pt x="1110" y="1024"/>
                    </a:lnTo>
                    <a:lnTo>
                      <a:pt x="1112" y="1022"/>
                    </a:lnTo>
                    <a:lnTo>
                      <a:pt x="1134" y="996"/>
                    </a:lnTo>
                    <a:lnTo>
                      <a:pt x="1142" y="1000"/>
                    </a:lnTo>
                    <a:lnTo>
                      <a:pt x="1142" y="1000"/>
                    </a:lnTo>
                    <a:lnTo>
                      <a:pt x="1146" y="998"/>
                    </a:lnTo>
                    <a:lnTo>
                      <a:pt x="1154" y="992"/>
                    </a:lnTo>
                    <a:lnTo>
                      <a:pt x="1186" y="980"/>
                    </a:lnTo>
                    <a:lnTo>
                      <a:pt x="1186" y="980"/>
                    </a:lnTo>
                    <a:lnTo>
                      <a:pt x="1188" y="980"/>
                    </a:lnTo>
                    <a:lnTo>
                      <a:pt x="1188" y="978"/>
                    </a:lnTo>
                    <a:lnTo>
                      <a:pt x="1188" y="972"/>
                    </a:lnTo>
                    <a:lnTo>
                      <a:pt x="1206" y="964"/>
                    </a:lnTo>
                    <a:lnTo>
                      <a:pt x="1206" y="964"/>
                    </a:lnTo>
                    <a:lnTo>
                      <a:pt x="1208" y="960"/>
                    </a:lnTo>
                    <a:lnTo>
                      <a:pt x="1208" y="960"/>
                    </a:lnTo>
                    <a:lnTo>
                      <a:pt x="1206" y="958"/>
                    </a:lnTo>
                    <a:lnTo>
                      <a:pt x="1196" y="954"/>
                    </a:lnTo>
                    <a:lnTo>
                      <a:pt x="1196" y="946"/>
                    </a:lnTo>
                    <a:lnTo>
                      <a:pt x="1196" y="946"/>
                    </a:lnTo>
                    <a:lnTo>
                      <a:pt x="1196" y="946"/>
                    </a:lnTo>
                    <a:lnTo>
                      <a:pt x="1194" y="936"/>
                    </a:lnTo>
                    <a:lnTo>
                      <a:pt x="1194" y="936"/>
                    </a:lnTo>
                    <a:lnTo>
                      <a:pt x="1190" y="934"/>
                    </a:lnTo>
                    <a:lnTo>
                      <a:pt x="1190" y="934"/>
                    </a:lnTo>
                    <a:lnTo>
                      <a:pt x="1188" y="936"/>
                    </a:lnTo>
                    <a:lnTo>
                      <a:pt x="1182" y="946"/>
                    </a:lnTo>
                    <a:lnTo>
                      <a:pt x="1174" y="956"/>
                    </a:lnTo>
                    <a:lnTo>
                      <a:pt x="1174" y="956"/>
                    </a:lnTo>
                    <a:lnTo>
                      <a:pt x="1172" y="958"/>
                    </a:lnTo>
                    <a:lnTo>
                      <a:pt x="1174" y="966"/>
                    </a:lnTo>
                    <a:lnTo>
                      <a:pt x="1174" y="966"/>
                    </a:lnTo>
                    <a:lnTo>
                      <a:pt x="1174" y="964"/>
                    </a:lnTo>
                    <a:lnTo>
                      <a:pt x="1174" y="964"/>
                    </a:lnTo>
                    <a:lnTo>
                      <a:pt x="1172" y="962"/>
                    </a:lnTo>
                    <a:lnTo>
                      <a:pt x="1172" y="962"/>
                    </a:lnTo>
                    <a:lnTo>
                      <a:pt x="1168" y="962"/>
                    </a:lnTo>
                    <a:lnTo>
                      <a:pt x="1164" y="964"/>
                    </a:lnTo>
                    <a:lnTo>
                      <a:pt x="1166" y="960"/>
                    </a:lnTo>
                    <a:lnTo>
                      <a:pt x="1172" y="954"/>
                    </a:lnTo>
                    <a:lnTo>
                      <a:pt x="1172" y="954"/>
                    </a:lnTo>
                    <a:lnTo>
                      <a:pt x="1172" y="950"/>
                    </a:lnTo>
                    <a:lnTo>
                      <a:pt x="1172" y="950"/>
                    </a:lnTo>
                    <a:lnTo>
                      <a:pt x="1168" y="948"/>
                    </a:lnTo>
                    <a:lnTo>
                      <a:pt x="1162" y="948"/>
                    </a:lnTo>
                    <a:lnTo>
                      <a:pt x="1150" y="946"/>
                    </a:lnTo>
                    <a:lnTo>
                      <a:pt x="1140" y="942"/>
                    </a:lnTo>
                    <a:lnTo>
                      <a:pt x="1138" y="938"/>
                    </a:lnTo>
                    <a:lnTo>
                      <a:pt x="1138" y="938"/>
                    </a:lnTo>
                    <a:lnTo>
                      <a:pt x="1136" y="936"/>
                    </a:lnTo>
                    <a:lnTo>
                      <a:pt x="1136" y="936"/>
                    </a:lnTo>
                    <a:lnTo>
                      <a:pt x="1134" y="936"/>
                    </a:lnTo>
                    <a:lnTo>
                      <a:pt x="1128" y="944"/>
                    </a:lnTo>
                    <a:lnTo>
                      <a:pt x="1128" y="944"/>
                    </a:lnTo>
                    <a:lnTo>
                      <a:pt x="1128" y="946"/>
                    </a:lnTo>
                    <a:lnTo>
                      <a:pt x="1130" y="948"/>
                    </a:lnTo>
                    <a:lnTo>
                      <a:pt x="1136" y="954"/>
                    </a:lnTo>
                    <a:lnTo>
                      <a:pt x="1136" y="954"/>
                    </a:lnTo>
                    <a:lnTo>
                      <a:pt x="1136" y="956"/>
                    </a:lnTo>
                    <a:lnTo>
                      <a:pt x="1134" y="956"/>
                    </a:lnTo>
                    <a:lnTo>
                      <a:pt x="1134" y="956"/>
                    </a:lnTo>
                    <a:lnTo>
                      <a:pt x="1134" y="956"/>
                    </a:lnTo>
                    <a:lnTo>
                      <a:pt x="1132" y="954"/>
                    </a:lnTo>
                    <a:lnTo>
                      <a:pt x="1130" y="952"/>
                    </a:lnTo>
                    <a:lnTo>
                      <a:pt x="1128" y="950"/>
                    </a:lnTo>
                    <a:lnTo>
                      <a:pt x="1126" y="948"/>
                    </a:lnTo>
                    <a:lnTo>
                      <a:pt x="1124" y="946"/>
                    </a:lnTo>
                    <a:lnTo>
                      <a:pt x="1124" y="946"/>
                    </a:lnTo>
                    <a:lnTo>
                      <a:pt x="1124" y="946"/>
                    </a:lnTo>
                    <a:lnTo>
                      <a:pt x="1124" y="944"/>
                    </a:lnTo>
                    <a:lnTo>
                      <a:pt x="1126" y="944"/>
                    </a:lnTo>
                    <a:lnTo>
                      <a:pt x="1126" y="942"/>
                    </a:lnTo>
                    <a:lnTo>
                      <a:pt x="1128" y="942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30" y="938"/>
                    </a:lnTo>
                    <a:lnTo>
                      <a:pt x="1130" y="936"/>
                    </a:lnTo>
                    <a:lnTo>
                      <a:pt x="1130" y="936"/>
                    </a:lnTo>
                    <a:lnTo>
                      <a:pt x="1128" y="934"/>
                    </a:lnTo>
                    <a:lnTo>
                      <a:pt x="1128" y="934"/>
                    </a:lnTo>
                    <a:lnTo>
                      <a:pt x="1128" y="934"/>
                    </a:lnTo>
                    <a:lnTo>
                      <a:pt x="1126" y="934"/>
                    </a:lnTo>
                    <a:lnTo>
                      <a:pt x="1124" y="934"/>
                    </a:lnTo>
                    <a:lnTo>
                      <a:pt x="1122" y="934"/>
                    </a:lnTo>
                    <a:lnTo>
                      <a:pt x="1120" y="934"/>
                    </a:lnTo>
                    <a:lnTo>
                      <a:pt x="1120" y="934"/>
                    </a:lnTo>
                    <a:lnTo>
                      <a:pt x="1120" y="934"/>
                    </a:lnTo>
                    <a:lnTo>
                      <a:pt x="1122" y="930"/>
                    </a:lnTo>
                    <a:lnTo>
                      <a:pt x="1122" y="928"/>
                    </a:lnTo>
                    <a:lnTo>
                      <a:pt x="1124" y="926"/>
                    </a:lnTo>
                    <a:lnTo>
                      <a:pt x="1126" y="924"/>
                    </a:lnTo>
                    <a:lnTo>
                      <a:pt x="1126" y="922"/>
                    </a:lnTo>
                    <a:lnTo>
                      <a:pt x="1126" y="922"/>
                    </a:lnTo>
                    <a:lnTo>
                      <a:pt x="1128" y="920"/>
                    </a:lnTo>
                    <a:lnTo>
                      <a:pt x="1128" y="920"/>
                    </a:lnTo>
                    <a:lnTo>
                      <a:pt x="1128" y="920"/>
                    </a:lnTo>
                    <a:lnTo>
                      <a:pt x="1126" y="918"/>
                    </a:lnTo>
                    <a:lnTo>
                      <a:pt x="1126" y="916"/>
                    </a:lnTo>
                    <a:lnTo>
                      <a:pt x="1126" y="916"/>
                    </a:lnTo>
                    <a:lnTo>
                      <a:pt x="1124" y="916"/>
                    </a:lnTo>
                    <a:lnTo>
                      <a:pt x="1124" y="916"/>
                    </a:lnTo>
                    <a:lnTo>
                      <a:pt x="1124" y="916"/>
                    </a:lnTo>
                    <a:lnTo>
                      <a:pt x="1122" y="916"/>
                    </a:lnTo>
                    <a:lnTo>
                      <a:pt x="1120" y="916"/>
                    </a:lnTo>
                    <a:lnTo>
                      <a:pt x="1118" y="916"/>
                    </a:lnTo>
                    <a:lnTo>
                      <a:pt x="1114" y="916"/>
                    </a:lnTo>
                    <a:lnTo>
                      <a:pt x="1114" y="916"/>
                    </a:lnTo>
                    <a:lnTo>
                      <a:pt x="1112" y="916"/>
                    </a:lnTo>
                    <a:lnTo>
                      <a:pt x="1112" y="916"/>
                    </a:lnTo>
                    <a:lnTo>
                      <a:pt x="1110" y="914"/>
                    </a:lnTo>
                    <a:lnTo>
                      <a:pt x="1104" y="912"/>
                    </a:lnTo>
                    <a:lnTo>
                      <a:pt x="1102" y="910"/>
                    </a:lnTo>
                    <a:lnTo>
                      <a:pt x="1102" y="910"/>
                    </a:lnTo>
                    <a:lnTo>
                      <a:pt x="1100" y="908"/>
                    </a:lnTo>
                    <a:lnTo>
                      <a:pt x="1100" y="908"/>
                    </a:lnTo>
                    <a:lnTo>
                      <a:pt x="1102" y="906"/>
                    </a:lnTo>
                    <a:lnTo>
                      <a:pt x="1106" y="904"/>
                    </a:lnTo>
                    <a:lnTo>
                      <a:pt x="1108" y="902"/>
                    </a:lnTo>
                    <a:lnTo>
                      <a:pt x="1112" y="900"/>
                    </a:lnTo>
                    <a:lnTo>
                      <a:pt x="1114" y="898"/>
                    </a:lnTo>
                    <a:lnTo>
                      <a:pt x="1114" y="898"/>
                    </a:lnTo>
                    <a:lnTo>
                      <a:pt x="1114" y="898"/>
                    </a:lnTo>
                    <a:lnTo>
                      <a:pt x="1116" y="896"/>
                    </a:lnTo>
                    <a:lnTo>
                      <a:pt x="1116" y="896"/>
                    </a:lnTo>
                    <a:lnTo>
                      <a:pt x="1116" y="894"/>
                    </a:lnTo>
                    <a:lnTo>
                      <a:pt x="1118" y="894"/>
                    </a:lnTo>
                    <a:lnTo>
                      <a:pt x="1118" y="894"/>
                    </a:lnTo>
                    <a:lnTo>
                      <a:pt x="1118" y="894"/>
                    </a:lnTo>
                    <a:lnTo>
                      <a:pt x="1118" y="892"/>
                    </a:lnTo>
                    <a:lnTo>
                      <a:pt x="1118" y="892"/>
                    </a:lnTo>
                    <a:lnTo>
                      <a:pt x="1118" y="890"/>
                    </a:lnTo>
                    <a:lnTo>
                      <a:pt x="1116" y="890"/>
                    </a:lnTo>
                    <a:lnTo>
                      <a:pt x="1116" y="890"/>
                    </a:lnTo>
                    <a:lnTo>
                      <a:pt x="1116" y="888"/>
                    </a:lnTo>
                    <a:lnTo>
                      <a:pt x="1114" y="886"/>
                    </a:lnTo>
                    <a:lnTo>
                      <a:pt x="1114" y="886"/>
                    </a:lnTo>
                    <a:lnTo>
                      <a:pt x="1114" y="886"/>
                    </a:lnTo>
                    <a:lnTo>
                      <a:pt x="1110" y="884"/>
                    </a:lnTo>
                    <a:lnTo>
                      <a:pt x="1108" y="882"/>
                    </a:lnTo>
                    <a:lnTo>
                      <a:pt x="1104" y="882"/>
                    </a:lnTo>
                    <a:lnTo>
                      <a:pt x="1100" y="880"/>
                    </a:lnTo>
                    <a:lnTo>
                      <a:pt x="1100" y="880"/>
                    </a:lnTo>
                    <a:lnTo>
                      <a:pt x="1098" y="880"/>
                    </a:lnTo>
                    <a:lnTo>
                      <a:pt x="1094" y="880"/>
                    </a:lnTo>
                    <a:lnTo>
                      <a:pt x="1094" y="880"/>
                    </a:lnTo>
                    <a:lnTo>
                      <a:pt x="1094" y="880"/>
                    </a:lnTo>
                    <a:lnTo>
                      <a:pt x="1090" y="880"/>
                    </a:lnTo>
                    <a:lnTo>
                      <a:pt x="1090" y="880"/>
                    </a:lnTo>
                    <a:lnTo>
                      <a:pt x="1090" y="880"/>
                    </a:lnTo>
                    <a:lnTo>
                      <a:pt x="1086" y="882"/>
                    </a:lnTo>
                    <a:lnTo>
                      <a:pt x="1082" y="884"/>
                    </a:lnTo>
                    <a:lnTo>
                      <a:pt x="1076" y="886"/>
                    </a:lnTo>
                    <a:lnTo>
                      <a:pt x="1070" y="890"/>
                    </a:lnTo>
                    <a:lnTo>
                      <a:pt x="1066" y="894"/>
                    </a:lnTo>
                    <a:lnTo>
                      <a:pt x="1060" y="898"/>
                    </a:lnTo>
                    <a:lnTo>
                      <a:pt x="1056" y="902"/>
                    </a:lnTo>
                    <a:lnTo>
                      <a:pt x="1052" y="906"/>
                    </a:lnTo>
                    <a:lnTo>
                      <a:pt x="1046" y="912"/>
                    </a:lnTo>
                    <a:lnTo>
                      <a:pt x="1042" y="918"/>
                    </a:lnTo>
                    <a:lnTo>
                      <a:pt x="1040" y="924"/>
                    </a:lnTo>
                    <a:lnTo>
                      <a:pt x="1036" y="930"/>
                    </a:lnTo>
                    <a:lnTo>
                      <a:pt x="1032" y="936"/>
                    </a:lnTo>
                    <a:lnTo>
                      <a:pt x="1028" y="942"/>
                    </a:lnTo>
                    <a:lnTo>
                      <a:pt x="1026" y="948"/>
                    </a:lnTo>
                    <a:lnTo>
                      <a:pt x="1024" y="950"/>
                    </a:lnTo>
                    <a:lnTo>
                      <a:pt x="1022" y="954"/>
                    </a:lnTo>
                    <a:lnTo>
                      <a:pt x="1020" y="956"/>
                    </a:lnTo>
                    <a:lnTo>
                      <a:pt x="1018" y="956"/>
                    </a:lnTo>
                    <a:lnTo>
                      <a:pt x="1016" y="958"/>
                    </a:lnTo>
                    <a:lnTo>
                      <a:pt x="1016" y="958"/>
                    </a:lnTo>
                    <a:lnTo>
                      <a:pt x="1014" y="958"/>
                    </a:lnTo>
                    <a:lnTo>
                      <a:pt x="1012" y="960"/>
                    </a:lnTo>
                    <a:lnTo>
                      <a:pt x="1010" y="960"/>
                    </a:lnTo>
                    <a:lnTo>
                      <a:pt x="1008" y="962"/>
                    </a:lnTo>
                    <a:lnTo>
                      <a:pt x="1006" y="962"/>
                    </a:lnTo>
                    <a:lnTo>
                      <a:pt x="1000" y="966"/>
                    </a:lnTo>
                    <a:lnTo>
                      <a:pt x="994" y="968"/>
                    </a:lnTo>
                    <a:lnTo>
                      <a:pt x="994" y="968"/>
                    </a:lnTo>
                    <a:lnTo>
                      <a:pt x="996" y="966"/>
                    </a:lnTo>
                    <a:lnTo>
                      <a:pt x="1002" y="962"/>
                    </a:lnTo>
                    <a:lnTo>
                      <a:pt x="1010" y="958"/>
                    </a:lnTo>
                    <a:lnTo>
                      <a:pt x="1016" y="952"/>
                    </a:lnTo>
                    <a:lnTo>
                      <a:pt x="1020" y="950"/>
                    </a:lnTo>
                    <a:lnTo>
                      <a:pt x="1022" y="948"/>
                    </a:lnTo>
                    <a:lnTo>
                      <a:pt x="1026" y="942"/>
                    </a:lnTo>
                    <a:lnTo>
                      <a:pt x="1030" y="938"/>
                    </a:lnTo>
                    <a:lnTo>
                      <a:pt x="1032" y="932"/>
                    </a:lnTo>
                    <a:lnTo>
                      <a:pt x="1034" y="926"/>
                    </a:lnTo>
                    <a:lnTo>
                      <a:pt x="1038" y="920"/>
                    </a:lnTo>
                    <a:lnTo>
                      <a:pt x="1040" y="916"/>
                    </a:lnTo>
                    <a:lnTo>
                      <a:pt x="1042" y="910"/>
                    </a:lnTo>
                    <a:lnTo>
                      <a:pt x="1046" y="906"/>
                    </a:lnTo>
                    <a:lnTo>
                      <a:pt x="1056" y="898"/>
                    </a:lnTo>
                    <a:lnTo>
                      <a:pt x="1060" y="894"/>
                    </a:lnTo>
                    <a:lnTo>
                      <a:pt x="1066" y="890"/>
                    </a:lnTo>
                    <a:lnTo>
                      <a:pt x="1072" y="886"/>
                    </a:lnTo>
                    <a:lnTo>
                      <a:pt x="1078" y="882"/>
                    </a:lnTo>
                    <a:lnTo>
                      <a:pt x="1086" y="878"/>
                    </a:lnTo>
                    <a:lnTo>
                      <a:pt x="1094" y="876"/>
                    </a:lnTo>
                    <a:lnTo>
                      <a:pt x="1100" y="876"/>
                    </a:lnTo>
                    <a:lnTo>
                      <a:pt x="1106" y="874"/>
                    </a:lnTo>
                    <a:lnTo>
                      <a:pt x="1112" y="874"/>
                    </a:lnTo>
                    <a:lnTo>
                      <a:pt x="1118" y="872"/>
                    </a:lnTo>
                    <a:lnTo>
                      <a:pt x="1134" y="872"/>
                    </a:lnTo>
                    <a:lnTo>
                      <a:pt x="1148" y="870"/>
                    </a:lnTo>
                    <a:lnTo>
                      <a:pt x="1164" y="870"/>
                    </a:lnTo>
                    <a:lnTo>
                      <a:pt x="1170" y="870"/>
                    </a:lnTo>
                    <a:lnTo>
                      <a:pt x="1178" y="870"/>
                    </a:lnTo>
                    <a:lnTo>
                      <a:pt x="1184" y="870"/>
                    </a:lnTo>
                    <a:lnTo>
                      <a:pt x="1188" y="868"/>
                    </a:lnTo>
                    <a:lnTo>
                      <a:pt x="1194" y="868"/>
                    </a:lnTo>
                    <a:lnTo>
                      <a:pt x="1198" y="868"/>
                    </a:lnTo>
                    <a:lnTo>
                      <a:pt x="1202" y="866"/>
                    </a:lnTo>
                    <a:lnTo>
                      <a:pt x="1204" y="866"/>
                    </a:lnTo>
                    <a:lnTo>
                      <a:pt x="1206" y="866"/>
                    </a:lnTo>
                    <a:lnTo>
                      <a:pt x="1208" y="866"/>
                    </a:lnTo>
                    <a:lnTo>
                      <a:pt x="1208" y="866"/>
                    </a:lnTo>
                    <a:lnTo>
                      <a:pt x="1208" y="864"/>
                    </a:lnTo>
                    <a:lnTo>
                      <a:pt x="1208" y="864"/>
                    </a:lnTo>
                    <a:lnTo>
                      <a:pt x="1208" y="864"/>
                    </a:lnTo>
                    <a:lnTo>
                      <a:pt x="1210" y="864"/>
                    </a:lnTo>
                    <a:lnTo>
                      <a:pt x="1210" y="862"/>
                    </a:lnTo>
                    <a:lnTo>
                      <a:pt x="1210" y="862"/>
                    </a:lnTo>
                    <a:lnTo>
                      <a:pt x="1210" y="862"/>
                    </a:lnTo>
                    <a:lnTo>
                      <a:pt x="1210" y="860"/>
                    </a:lnTo>
                    <a:lnTo>
                      <a:pt x="1210" y="860"/>
                    </a:lnTo>
                    <a:lnTo>
                      <a:pt x="1210" y="858"/>
                    </a:lnTo>
                    <a:lnTo>
                      <a:pt x="1208" y="858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10" y="852"/>
                    </a:lnTo>
                    <a:lnTo>
                      <a:pt x="1214" y="850"/>
                    </a:lnTo>
                    <a:lnTo>
                      <a:pt x="1220" y="842"/>
                    </a:lnTo>
                    <a:lnTo>
                      <a:pt x="1222" y="840"/>
                    </a:lnTo>
                    <a:lnTo>
                      <a:pt x="1224" y="838"/>
                    </a:lnTo>
                    <a:lnTo>
                      <a:pt x="1224" y="838"/>
                    </a:lnTo>
                    <a:lnTo>
                      <a:pt x="1224" y="840"/>
                    </a:lnTo>
                    <a:lnTo>
                      <a:pt x="1228" y="842"/>
                    </a:lnTo>
                    <a:lnTo>
                      <a:pt x="1230" y="844"/>
                    </a:lnTo>
                    <a:lnTo>
                      <a:pt x="1230" y="844"/>
                    </a:lnTo>
                    <a:lnTo>
                      <a:pt x="1230" y="844"/>
                    </a:lnTo>
                    <a:lnTo>
                      <a:pt x="1232" y="844"/>
                    </a:lnTo>
                    <a:lnTo>
                      <a:pt x="1232" y="844"/>
                    </a:lnTo>
                    <a:lnTo>
                      <a:pt x="1232" y="844"/>
                    </a:lnTo>
                    <a:lnTo>
                      <a:pt x="1234" y="844"/>
                    </a:lnTo>
                    <a:lnTo>
                      <a:pt x="1234" y="846"/>
                    </a:lnTo>
                    <a:lnTo>
                      <a:pt x="1234" y="848"/>
                    </a:lnTo>
                    <a:lnTo>
                      <a:pt x="1232" y="850"/>
                    </a:lnTo>
                    <a:lnTo>
                      <a:pt x="1228" y="852"/>
                    </a:lnTo>
                    <a:lnTo>
                      <a:pt x="1228" y="852"/>
                    </a:lnTo>
                    <a:lnTo>
                      <a:pt x="1228" y="852"/>
                    </a:lnTo>
                    <a:lnTo>
                      <a:pt x="1226" y="854"/>
                    </a:lnTo>
                    <a:lnTo>
                      <a:pt x="1224" y="856"/>
                    </a:lnTo>
                    <a:lnTo>
                      <a:pt x="1222" y="858"/>
                    </a:lnTo>
                    <a:lnTo>
                      <a:pt x="1222" y="858"/>
                    </a:lnTo>
                    <a:lnTo>
                      <a:pt x="1222" y="858"/>
                    </a:lnTo>
                    <a:lnTo>
                      <a:pt x="1220" y="860"/>
                    </a:lnTo>
                    <a:lnTo>
                      <a:pt x="1220" y="860"/>
                    </a:lnTo>
                    <a:lnTo>
                      <a:pt x="1220" y="862"/>
                    </a:lnTo>
                    <a:lnTo>
                      <a:pt x="1220" y="864"/>
                    </a:lnTo>
                    <a:lnTo>
                      <a:pt x="1220" y="866"/>
                    </a:lnTo>
                    <a:lnTo>
                      <a:pt x="1218" y="874"/>
                    </a:lnTo>
                    <a:lnTo>
                      <a:pt x="1218" y="880"/>
                    </a:lnTo>
                    <a:lnTo>
                      <a:pt x="1216" y="888"/>
                    </a:lnTo>
                    <a:lnTo>
                      <a:pt x="1214" y="894"/>
                    </a:lnTo>
                    <a:lnTo>
                      <a:pt x="1212" y="896"/>
                    </a:lnTo>
                    <a:lnTo>
                      <a:pt x="1212" y="898"/>
                    </a:lnTo>
                    <a:lnTo>
                      <a:pt x="1210" y="900"/>
                    </a:lnTo>
                    <a:lnTo>
                      <a:pt x="1208" y="902"/>
                    </a:lnTo>
                    <a:lnTo>
                      <a:pt x="1206" y="902"/>
                    </a:lnTo>
                    <a:lnTo>
                      <a:pt x="1202" y="904"/>
                    </a:lnTo>
                    <a:lnTo>
                      <a:pt x="1202" y="904"/>
                    </a:lnTo>
                    <a:lnTo>
                      <a:pt x="1202" y="904"/>
                    </a:lnTo>
                    <a:lnTo>
                      <a:pt x="1200" y="904"/>
                    </a:lnTo>
                    <a:lnTo>
                      <a:pt x="1200" y="904"/>
                    </a:lnTo>
                    <a:lnTo>
                      <a:pt x="1200" y="906"/>
                    </a:lnTo>
                    <a:lnTo>
                      <a:pt x="1200" y="906"/>
                    </a:lnTo>
                    <a:lnTo>
                      <a:pt x="1200" y="906"/>
                    </a:lnTo>
                    <a:lnTo>
                      <a:pt x="1198" y="906"/>
                    </a:lnTo>
                    <a:lnTo>
                      <a:pt x="1198" y="908"/>
                    </a:lnTo>
                    <a:lnTo>
                      <a:pt x="1198" y="908"/>
                    </a:lnTo>
                    <a:lnTo>
                      <a:pt x="1198" y="910"/>
                    </a:lnTo>
                    <a:lnTo>
                      <a:pt x="1198" y="912"/>
                    </a:lnTo>
                    <a:lnTo>
                      <a:pt x="1198" y="912"/>
                    </a:lnTo>
                    <a:lnTo>
                      <a:pt x="1198" y="912"/>
                    </a:lnTo>
                    <a:lnTo>
                      <a:pt x="1198" y="914"/>
                    </a:lnTo>
                    <a:lnTo>
                      <a:pt x="1200" y="914"/>
                    </a:lnTo>
                    <a:lnTo>
                      <a:pt x="1200" y="914"/>
                    </a:lnTo>
                    <a:lnTo>
                      <a:pt x="1198" y="914"/>
                    </a:lnTo>
                    <a:lnTo>
                      <a:pt x="1198" y="916"/>
                    </a:lnTo>
                    <a:lnTo>
                      <a:pt x="1198" y="916"/>
                    </a:lnTo>
                    <a:lnTo>
                      <a:pt x="1196" y="918"/>
                    </a:lnTo>
                    <a:lnTo>
                      <a:pt x="1196" y="918"/>
                    </a:lnTo>
                    <a:lnTo>
                      <a:pt x="1194" y="920"/>
                    </a:lnTo>
                    <a:lnTo>
                      <a:pt x="1194" y="922"/>
                    </a:lnTo>
                    <a:lnTo>
                      <a:pt x="1196" y="924"/>
                    </a:lnTo>
                    <a:lnTo>
                      <a:pt x="1196" y="924"/>
                    </a:lnTo>
                    <a:lnTo>
                      <a:pt x="1196" y="924"/>
                    </a:lnTo>
                    <a:lnTo>
                      <a:pt x="1198" y="926"/>
                    </a:lnTo>
                    <a:lnTo>
                      <a:pt x="1198" y="926"/>
                    </a:lnTo>
                    <a:lnTo>
                      <a:pt x="1198" y="926"/>
                    </a:lnTo>
                    <a:lnTo>
                      <a:pt x="1200" y="928"/>
                    </a:lnTo>
                    <a:lnTo>
                      <a:pt x="1200" y="928"/>
                    </a:lnTo>
                    <a:lnTo>
                      <a:pt x="1202" y="928"/>
                    </a:lnTo>
                    <a:lnTo>
                      <a:pt x="1204" y="928"/>
                    </a:lnTo>
                    <a:lnTo>
                      <a:pt x="1204" y="928"/>
                    </a:lnTo>
                    <a:lnTo>
                      <a:pt x="1204" y="928"/>
                    </a:lnTo>
                    <a:lnTo>
                      <a:pt x="1210" y="928"/>
                    </a:lnTo>
                    <a:lnTo>
                      <a:pt x="1210" y="928"/>
                    </a:lnTo>
                    <a:lnTo>
                      <a:pt x="1210" y="928"/>
                    </a:lnTo>
                    <a:lnTo>
                      <a:pt x="1214" y="928"/>
                    </a:lnTo>
                    <a:lnTo>
                      <a:pt x="1220" y="928"/>
                    </a:lnTo>
                    <a:lnTo>
                      <a:pt x="1224" y="928"/>
                    </a:lnTo>
                    <a:lnTo>
                      <a:pt x="1224" y="928"/>
                    </a:lnTo>
                    <a:lnTo>
                      <a:pt x="1226" y="928"/>
                    </a:lnTo>
                    <a:lnTo>
                      <a:pt x="1228" y="930"/>
                    </a:lnTo>
                    <a:lnTo>
                      <a:pt x="1230" y="930"/>
                    </a:lnTo>
                    <a:lnTo>
                      <a:pt x="1230" y="932"/>
                    </a:lnTo>
                    <a:lnTo>
                      <a:pt x="1232" y="936"/>
                    </a:lnTo>
                    <a:lnTo>
                      <a:pt x="1232" y="936"/>
                    </a:lnTo>
                    <a:lnTo>
                      <a:pt x="1232" y="936"/>
                    </a:lnTo>
                    <a:lnTo>
                      <a:pt x="1234" y="940"/>
                    </a:lnTo>
                    <a:lnTo>
                      <a:pt x="1234" y="940"/>
                    </a:lnTo>
                    <a:lnTo>
                      <a:pt x="1236" y="942"/>
                    </a:lnTo>
                    <a:lnTo>
                      <a:pt x="1238" y="946"/>
                    </a:lnTo>
                    <a:lnTo>
                      <a:pt x="1240" y="948"/>
                    </a:lnTo>
                    <a:lnTo>
                      <a:pt x="1244" y="950"/>
                    </a:lnTo>
                    <a:lnTo>
                      <a:pt x="1244" y="950"/>
                    </a:lnTo>
                    <a:lnTo>
                      <a:pt x="1246" y="950"/>
                    </a:lnTo>
                    <a:lnTo>
                      <a:pt x="1250" y="948"/>
                    </a:lnTo>
                    <a:lnTo>
                      <a:pt x="1252" y="946"/>
                    </a:lnTo>
                    <a:lnTo>
                      <a:pt x="1254" y="944"/>
                    </a:lnTo>
                    <a:lnTo>
                      <a:pt x="1256" y="944"/>
                    </a:lnTo>
                    <a:lnTo>
                      <a:pt x="1258" y="942"/>
                    </a:lnTo>
                    <a:lnTo>
                      <a:pt x="1260" y="942"/>
                    </a:lnTo>
                    <a:lnTo>
                      <a:pt x="1262" y="940"/>
                    </a:lnTo>
                    <a:lnTo>
                      <a:pt x="1266" y="940"/>
                    </a:lnTo>
                    <a:lnTo>
                      <a:pt x="1266" y="940"/>
                    </a:lnTo>
                    <a:lnTo>
                      <a:pt x="1266" y="940"/>
                    </a:lnTo>
                    <a:lnTo>
                      <a:pt x="1268" y="938"/>
                    </a:lnTo>
                    <a:lnTo>
                      <a:pt x="1268" y="938"/>
                    </a:lnTo>
                    <a:lnTo>
                      <a:pt x="1270" y="938"/>
                    </a:lnTo>
                    <a:lnTo>
                      <a:pt x="1270" y="940"/>
                    </a:lnTo>
                    <a:lnTo>
                      <a:pt x="1270" y="942"/>
                    </a:lnTo>
                    <a:lnTo>
                      <a:pt x="1272" y="948"/>
                    </a:lnTo>
                    <a:lnTo>
                      <a:pt x="1272" y="948"/>
                    </a:lnTo>
                    <a:lnTo>
                      <a:pt x="1272" y="950"/>
                    </a:lnTo>
                    <a:lnTo>
                      <a:pt x="1274" y="950"/>
                    </a:lnTo>
                    <a:lnTo>
                      <a:pt x="1282" y="950"/>
                    </a:lnTo>
                    <a:lnTo>
                      <a:pt x="1288" y="950"/>
                    </a:lnTo>
                    <a:lnTo>
                      <a:pt x="1288" y="950"/>
                    </a:lnTo>
                    <a:lnTo>
                      <a:pt x="1288" y="950"/>
                    </a:lnTo>
                    <a:lnTo>
                      <a:pt x="1292" y="950"/>
                    </a:lnTo>
                    <a:lnTo>
                      <a:pt x="1292" y="950"/>
                    </a:lnTo>
                    <a:lnTo>
                      <a:pt x="1294" y="948"/>
                    </a:lnTo>
                    <a:lnTo>
                      <a:pt x="1296" y="948"/>
                    </a:lnTo>
                    <a:lnTo>
                      <a:pt x="1296" y="948"/>
                    </a:lnTo>
                    <a:lnTo>
                      <a:pt x="1296" y="946"/>
                    </a:lnTo>
                    <a:lnTo>
                      <a:pt x="1298" y="946"/>
                    </a:lnTo>
                    <a:lnTo>
                      <a:pt x="1298" y="946"/>
                    </a:lnTo>
                    <a:lnTo>
                      <a:pt x="1298" y="944"/>
                    </a:lnTo>
                    <a:lnTo>
                      <a:pt x="1298" y="942"/>
                    </a:lnTo>
                    <a:lnTo>
                      <a:pt x="1298" y="940"/>
                    </a:lnTo>
                    <a:lnTo>
                      <a:pt x="1300" y="938"/>
                    </a:lnTo>
                    <a:lnTo>
                      <a:pt x="1300" y="938"/>
                    </a:lnTo>
                    <a:lnTo>
                      <a:pt x="1300" y="936"/>
                    </a:lnTo>
                    <a:lnTo>
                      <a:pt x="1302" y="936"/>
                    </a:lnTo>
                    <a:lnTo>
                      <a:pt x="1302" y="936"/>
                    </a:lnTo>
                    <a:lnTo>
                      <a:pt x="1304" y="934"/>
                    </a:lnTo>
                    <a:lnTo>
                      <a:pt x="1304" y="932"/>
                    </a:lnTo>
                    <a:lnTo>
                      <a:pt x="1304" y="932"/>
                    </a:lnTo>
                    <a:close/>
                    <a:moveTo>
                      <a:pt x="748" y="432"/>
                    </a:moveTo>
                    <a:lnTo>
                      <a:pt x="752" y="432"/>
                    </a:lnTo>
                    <a:lnTo>
                      <a:pt x="758" y="432"/>
                    </a:lnTo>
                    <a:lnTo>
                      <a:pt x="762" y="434"/>
                    </a:lnTo>
                    <a:lnTo>
                      <a:pt x="768" y="434"/>
                    </a:lnTo>
                    <a:lnTo>
                      <a:pt x="768" y="434"/>
                    </a:lnTo>
                    <a:lnTo>
                      <a:pt x="770" y="436"/>
                    </a:lnTo>
                    <a:lnTo>
                      <a:pt x="772" y="436"/>
                    </a:lnTo>
                    <a:lnTo>
                      <a:pt x="774" y="438"/>
                    </a:lnTo>
                    <a:lnTo>
                      <a:pt x="776" y="442"/>
                    </a:lnTo>
                    <a:lnTo>
                      <a:pt x="778" y="444"/>
                    </a:lnTo>
                    <a:lnTo>
                      <a:pt x="780" y="448"/>
                    </a:lnTo>
                    <a:lnTo>
                      <a:pt x="780" y="448"/>
                    </a:lnTo>
                    <a:lnTo>
                      <a:pt x="776" y="446"/>
                    </a:lnTo>
                    <a:lnTo>
                      <a:pt x="772" y="446"/>
                    </a:lnTo>
                    <a:lnTo>
                      <a:pt x="768" y="444"/>
                    </a:lnTo>
                    <a:lnTo>
                      <a:pt x="766" y="442"/>
                    </a:lnTo>
                    <a:lnTo>
                      <a:pt x="760" y="440"/>
                    </a:lnTo>
                    <a:lnTo>
                      <a:pt x="756" y="438"/>
                    </a:lnTo>
                    <a:lnTo>
                      <a:pt x="750" y="434"/>
                    </a:lnTo>
                    <a:lnTo>
                      <a:pt x="746" y="432"/>
                    </a:lnTo>
                    <a:lnTo>
                      <a:pt x="746" y="432"/>
                    </a:lnTo>
                    <a:lnTo>
                      <a:pt x="748" y="432"/>
                    </a:lnTo>
                    <a:close/>
                    <a:moveTo>
                      <a:pt x="710" y="500"/>
                    </a:moveTo>
                    <a:lnTo>
                      <a:pt x="714" y="500"/>
                    </a:lnTo>
                    <a:lnTo>
                      <a:pt x="716" y="500"/>
                    </a:lnTo>
                    <a:lnTo>
                      <a:pt x="720" y="500"/>
                    </a:lnTo>
                    <a:lnTo>
                      <a:pt x="716" y="500"/>
                    </a:lnTo>
                    <a:lnTo>
                      <a:pt x="710" y="500"/>
                    </a:lnTo>
                    <a:lnTo>
                      <a:pt x="708" y="500"/>
                    </a:lnTo>
                    <a:lnTo>
                      <a:pt x="710" y="500"/>
                    </a:lnTo>
                    <a:close/>
                    <a:moveTo>
                      <a:pt x="504" y="126"/>
                    </a:moveTo>
                    <a:lnTo>
                      <a:pt x="504" y="126"/>
                    </a:lnTo>
                    <a:lnTo>
                      <a:pt x="506" y="126"/>
                    </a:lnTo>
                    <a:lnTo>
                      <a:pt x="508" y="126"/>
                    </a:lnTo>
                    <a:lnTo>
                      <a:pt x="510" y="128"/>
                    </a:lnTo>
                    <a:lnTo>
                      <a:pt x="510" y="128"/>
                    </a:lnTo>
                    <a:lnTo>
                      <a:pt x="512" y="130"/>
                    </a:lnTo>
                    <a:lnTo>
                      <a:pt x="514" y="134"/>
                    </a:lnTo>
                    <a:lnTo>
                      <a:pt x="516" y="136"/>
                    </a:lnTo>
                    <a:lnTo>
                      <a:pt x="516" y="138"/>
                    </a:lnTo>
                    <a:lnTo>
                      <a:pt x="514" y="136"/>
                    </a:lnTo>
                    <a:lnTo>
                      <a:pt x="512" y="134"/>
                    </a:lnTo>
                    <a:lnTo>
                      <a:pt x="510" y="134"/>
                    </a:lnTo>
                    <a:lnTo>
                      <a:pt x="508" y="132"/>
                    </a:lnTo>
                    <a:lnTo>
                      <a:pt x="506" y="130"/>
                    </a:lnTo>
                    <a:lnTo>
                      <a:pt x="506" y="130"/>
                    </a:lnTo>
                    <a:lnTo>
                      <a:pt x="504" y="126"/>
                    </a:lnTo>
                    <a:lnTo>
                      <a:pt x="504" y="124"/>
                    </a:lnTo>
                    <a:lnTo>
                      <a:pt x="504" y="126"/>
                    </a:lnTo>
                    <a:close/>
                    <a:moveTo>
                      <a:pt x="1152" y="962"/>
                    </a:moveTo>
                    <a:lnTo>
                      <a:pt x="1154" y="964"/>
                    </a:lnTo>
                    <a:lnTo>
                      <a:pt x="1150" y="962"/>
                    </a:lnTo>
                    <a:lnTo>
                      <a:pt x="1146" y="960"/>
                    </a:lnTo>
                    <a:lnTo>
                      <a:pt x="1152" y="962"/>
                    </a:lnTo>
                    <a:close/>
                    <a:moveTo>
                      <a:pt x="1238" y="832"/>
                    </a:moveTo>
                    <a:lnTo>
                      <a:pt x="1238" y="834"/>
                    </a:lnTo>
                    <a:lnTo>
                      <a:pt x="1236" y="834"/>
                    </a:lnTo>
                    <a:lnTo>
                      <a:pt x="1236" y="834"/>
                    </a:lnTo>
                    <a:lnTo>
                      <a:pt x="1234" y="836"/>
                    </a:lnTo>
                    <a:lnTo>
                      <a:pt x="1232" y="836"/>
                    </a:lnTo>
                    <a:lnTo>
                      <a:pt x="1232" y="836"/>
                    </a:lnTo>
                    <a:lnTo>
                      <a:pt x="1232" y="836"/>
                    </a:lnTo>
                    <a:lnTo>
                      <a:pt x="1230" y="836"/>
                    </a:lnTo>
                    <a:lnTo>
                      <a:pt x="1226" y="836"/>
                    </a:lnTo>
                    <a:lnTo>
                      <a:pt x="1226" y="836"/>
                    </a:lnTo>
                    <a:lnTo>
                      <a:pt x="1226" y="836"/>
                    </a:lnTo>
                    <a:lnTo>
                      <a:pt x="1228" y="834"/>
                    </a:lnTo>
                    <a:lnTo>
                      <a:pt x="1230" y="830"/>
                    </a:lnTo>
                    <a:lnTo>
                      <a:pt x="1232" y="830"/>
                    </a:lnTo>
                    <a:lnTo>
                      <a:pt x="1232" y="830"/>
                    </a:lnTo>
                    <a:lnTo>
                      <a:pt x="1234" y="830"/>
                    </a:lnTo>
                    <a:lnTo>
                      <a:pt x="1236" y="830"/>
                    </a:lnTo>
                    <a:lnTo>
                      <a:pt x="1238" y="830"/>
                    </a:lnTo>
                    <a:lnTo>
                      <a:pt x="1238" y="830"/>
                    </a:lnTo>
                    <a:lnTo>
                      <a:pt x="1238" y="830"/>
                    </a:lnTo>
                    <a:lnTo>
                      <a:pt x="1240" y="830"/>
                    </a:lnTo>
                    <a:lnTo>
                      <a:pt x="1238" y="832"/>
                    </a:lnTo>
                    <a:close/>
                    <a:moveTo>
                      <a:pt x="156" y="818"/>
                    </a:moveTo>
                    <a:lnTo>
                      <a:pt x="152" y="816"/>
                    </a:lnTo>
                    <a:lnTo>
                      <a:pt x="150" y="814"/>
                    </a:lnTo>
                    <a:lnTo>
                      <a:pt x="148" y="814"/>
                    </a:lnTo>
                    <a:lnTo>
                      <a:pt x="148" y="814"/>
                    </a:lnTo>
                    <a:lnTo>
                      <a:pt x="148" y="812"/>
                    </a:lnTo>
                    <a:lnTo>
                      <a:pt x="148" y="810"/>
                    </a:lnTo>
                    <a:lnTo>
                      <a:pt x="148" y="806"/>
                    </a:lnTo>
                    <a:lnTo>
                      <a:pt x="148" y="804"/>
                    </a:lnTo>
                    <a:lnTo>
                      <a:pt x="148" y="800"/>
                    </a:lnTo>
                    <a:lnTo>
                      <a:pt x="148" y="800"/>
                    </a:lnTo>
                    <a:lnTo>
                      <a:pt x="148" y="800"/>
                    </a:lnTo>
                    <a:lnTo>
                      <a:pt x="146" y="796"/>
                    </a:lnTo>
                    <a:lnTo>
                      <a:pt x="146" y="794"/>
                    </a:lnTo>
                    <a:lnTo>
                      <a:pt x="144" y="792"/>
                    </a:lnTo>
                    <a:lnTo>
                      <a:pt x="144" y="788"/>
                    </a:lnTo>
                    <a:lnTo>
                      <a:pt x="146" y="782"/>
                    </a:lnTo>
                    <a:lnTo>
                      <a:pt x="148" y="776"/>
                    </a:lnTo>
                    <a:lnTo>
                      <a:pt x="148" y="776"/>
                    </a:lnTo>
                    <a:lnTo>
                      <a:pt x="146" y="772"/>
                    </a:lnTo>
                    <a:lnTo>
                      <a:pt x="146" y="772"/>
                    </a:lnTo>
                    <a:lnTo>
                      <a:pt x="146" y="772"/>
                    </a:lnTo>
                    <a:lnTo>
                      <a:pt x="144" y="770"/>
                    </a:lnTo>
                    <a:lnTo>
                      <a:pt x="142" y="770"/>
                    </a:lnTo>
                    <a:lnTo>
                      <a:pt x="142" y="770"/>
                    </a:lnTo>
                    <a:lnTo>
                      <a:pt x="140" y="770"/>
                    </a:lnTo>
                    <a:lnTo>
                      <a:pt x="138" y="770"/>
                    </a:lnTo>
                    <a:lnTo>
                      <a:pt x="134" y="770"/>
                    </a:lnTo>
                    <a:lnTo>
                      <a:pt x="126" y="772"/>
                    </a:lnTo>
                    <a:lnTo>
                      <a:pt x="124" y="774"/>
                    </a:lnTo>
                    <a:lnTo>
                      <a:pt x="120" y="774"/>
                    </a:lnTo>
                    <a:lnTo>
                      <a:pt x="120" y="774"/>
                    </a:lnTo>
                    <a:lnTo>
                      <a:pt x="118" y="774"/>
                    </a:lnTo>
                    <a:lnTo>
                      <a:pt x="116" y="776"/>
                    </a:lnTo>
                    <a:lnTo>
                      <a:pt x="116" y="776"/>
                    </a:lnTo>
                    <a:lnTo>
                      <a:pt x="116" y="778"/>
                    </a:lnTo>
                    <a:lnTo>
                      <a:pt x="114" y="780"/>
                    </a:lnTo>
                    <a:lnTo>
                      <a:pt x="114" y="780"/>
                    </a:lnTo>
                    <a:lnTo>
                      <a:pt x="114" y="782"/>
                    </a:lnTo>
                    <a:lnTo>
                      <a:pt x="114" y="784"/>
                    </a:lnTo>
                    <a:lnTo>
                      <a:pt x="114" y="784"/>
                    </a:lnTo>
                    <a:lnTo>
                      <a:pt x="114" y="784"/>
                    </a:lnTo>
                    <a:lnTo>
                      <a:pt x="114" y="788"/>
                    </a:lnTo>
                    <a:lnTo>
                      <a:pt x="116" y="790"/>
                    </a:lnTo>
                    <a:lnTo>
                      <a:pt x="116" y="794"/>
                    </a:lnTo>
                    <a:lnTo>
                      <a:pt x="118" y="796"/>
                    </a:lnTo>
                    <a:lnTo>
                      <a:pt x="118" y="800"/>
                    </a:lnTo>
                    <a:lnTo>
                      <a:pt x="118" y="800"/>
                    </a:lnTo>
                    <a:lnTo>
                      <a:pt x="118" y="802"/>
                    </a:lnTo>
                    <a:lnTo>
                      <a:pt x="120" y="804"/>
                    </a:lnTo>
                    <a:lnTo>
                      <a:pt x="120" y="804"/>
                    </a:lnTo>
                    <a:lnTo>
                      <a:pt x="122" y="808"/>
                    </a:lnTo>
                    <a:lnTo>
                      <a:pt x="124" y="812"/>
                    </a:lnTo>
                    <a:lnTo>
                      <a:pt x="124" y="816"/>
                    </a:lnTo>
                    <a:lnTo>
                      <a:pt x="124" y="816"/>
                    </a:lnTo>
                    <a:lnTo>
                      <a:pt x="126" y="818"/>
                    </a:lnTo>
                    <a:lnTo>
                      <a:pt x="128" y="818"/>
                    </a:lnTo>
                    <a:lnTo>
                      <a:pt x="130" y="818"/>
                    </a:lnTo>
                    <a:lnTo>
                      <a:pt x="130" y="820"/>
                    </a:lnTo>
                    <a:lnTo>
                      <a:pt x="132" y="820"/>
                    </a:lnTo>
                    <a:lnTo>
                      <a:pt x="132" y="822"/>
                    </a:lnTo>
                    <a:lnTo>
                      <a:pt x="132" y="824"/>
                    </a:lnTo>
                    <a:lnTo>
                      <a:pt x="132" y="826"/>
                    </a:lnTo>
                    <a:lnTo>
                      <a:pt x="132" y="826"/>
                    </a:lnTo>
                    <a:lnTo>
                      <a:pt x="132" y="826"/>
                    </a:lnTo>
                    <a:lnTo>
                      <a:pt x="134" y="830"/>
                    </a:lnTo>
                    <a:lnTo>
                      <a:pt x="134" y="830"/>
                    </a:lnTo>
                    <a:lnTo>
                      <a:pt x="134" y="830"/>
                    </a:lnTo>
                    <a:lnTo>
                      <a:pt x="136" y="832"/>
                    </a:lnTo>
                    <a:lnTo>
                      <a:pt x="136" y="832"/>
                    </a:lnTo>
                    <a:lnTo>
                      <a:pt x="136" y="832"/>
                    </a:lnTo>
                    <a:lnTo>
                      <a:pt x="138" y="834"/>
                    </a:lnTo>
                    <a:lnTo>
                      <a:pt x="138" y="834"/>
                    </a:lnTo>
                    <a:lnTo>
                      <a:pt x="138" y="834"/>
                    </a:lnTo>
                    <a:lnTo>
                      <a:pt x="140" y="834"/>
                    </a:lnTo>
                    <a:lnTo>
                      <a:pt x="140" y="834"/>
                    </a:lnTo>
                    <a:lnTo>
                      <a:pt x="140" y="834"/>
                    </a:lnTo>
                    <a:lnTo>
                      <a:pt x="146" y="836"/>
                    </a:lnTo>
                    <a:lnTo>
                      <a:pt x="148" y="836"/>
                    </a:lnTo>
                    <a:lnTo>
                      <a:pt x="148" y="836"/>
                    </a:lnTo>
                    <a:lnTo>
                      <a:pt x="148" y="836"/>
                    </a:lnTo>
                    <a:lnTo>
                      <a:pt x="150" y="836"/>
                    </a:lnTo>
                    <a:lnTo>
                      <a:pt x="150" y="836"/>
                    </a:lnTo>
                    <a:lnTo>
                      <a:pt x="152" y="836"/>
                    </a:lnTo>
                    <a:lnTo>
                      <a:pt x="154" y="834"/>
                    </a:lnTo>
                    <a:lnTo>
                      <a:pt x="154" y="834"/>
                    </a:lnTo>
                    <a:lnTo>
                      <a:pt x="154" y="834"/>
                    </a:lnTo>
                    <a:lnTo>
                      <a:pt x="156" y="832"/>
                    </a:lnTo>
                    <a:lnTo>
                      <a:pt x="156" y="832"/>
                    </a:lnTo>
                    <a:lnTo>
                      <a:pt x="156" y="832"/>
                    </a:lnTo>
                    <a:lnTo>
                      <a:pt x="156" y="828"/>
                    </a:lnTo>
                    <a:lnTo>
                      <a:pt x="156" y="826"/>
                    </a:lnTo>
                    <a:lnTo>
                      <a:pt x="156" y="820"/>
                    </a:lnTo>
                    <a:lnTo>
                      <a:pt x="156" y="820"/>
                    </a:lnTo>
                    <a:lnTo>
                      <a:pt x="156" y="818"/>
                    </a:lnTo>
                    <a:lnTo>
                      <a:pt x="156" y="818"/>
                    </a:lnTo>
                    <a:close/>
                    <a:moveTo>
                      <a:pt x="632" y="94"/>
                    </a:moveTo>
                    <a:lnTo>
                      <a:pt x="628" y="94"/>
                    </a:lnTo>
                    <a:lnTo>
                      <a:pt x="624" y="94"/>
                    </a:lnTo>
                    <a:lnTo>
                      <a:pt x="620" y="96"/>
                    </a:lnTo>
                    <a:lnTo>
                      <a:pt x="616" y="96"/>
                    </a:lnTo>
                    <a:lnTo>
                      <a:pt x="610" y="98"/>
                    </a:lnTo>
                    <a:lnTo>
                      <a:pt x="608" y="98"/>
                    </a:lnTo>
                    <a:lnTo>
                      <a:pt x="604" y="98"/>
                    </a:lnTo>
                    <a:lnTo>
                      <a:pt x="600" y="100"/>
                    </a:lnTo>
                    <a:lnTo>
                      <a:pt x="598" y="100"/>
                    </a:lnTo>
                    <a:lnTo>
                      <a:pt x="596" y="100"/>
                    </a:lnTo>
                    <a:lnTo>
                      <a:pt x="594" y="100"/>
                    </a:lnTo>
                    <a:lnTo>
                      <a:pt x="594" y="100"/>
                    </a:lnTo>
                    <a:lnTo>
                      <a:pt x="594" y="100"/>
                    </a:lnTo>
                    <a:lnTo>
                      <a:pt x="592" y="102"/>
                    </a:lnTo>
                    <a:lnTo>
                      <a:pt x="592" y="102"/>
                    </a:lnTo>
                    <a:lnTo>
                      <a:pt x="592" y="104"/>
                    </a:lnTo>
                    <a:lnTo>
                      <a:pt x="596" y="122"/>
                    </a:lnTo>
                    <a:lnTo>
                      <a:pt x="598" y="142"/>
                    </a:lnTo>
                    <a:lnTo>
                      <a:pt x="598" y="144"/>
                    </a:lnTo>
                    <a:lnTo>
                      <a:pt x="598" y="146"/>
                    </a:lnTo>
                    <a:lnTo>
                      <a:pt x="596" y="146"/>
                    </a:lnTo>
                    <a:lnTo>
                      <a:pt x="596" y="148"/>
                    </a:lnTo>
                    <a:lnTo>
                      <a:pt x="590" y="152"/>
                    </a:lnTo>
                    <a:lnTo>
                      <a:pt x="588" y="154"/>
                    </a:lnTo>
                    <a:lnTo>
                      <a:pt x="588" y="154"/>
                    </a:lnTo>
                    <a:lnTo>
                      <a:pt x="586" y="152"/>
                    </a:lnTo>
                    <a:lnTo>
                      <a:pt x="586" y="150"/>
                    </a:lnTo>
                    <a:lnTo>
                      <a:pt x="586" y="150"/>
                    </a:lnTo>
                    <a:lnTo>
                      <a:pt x="584" y="146"/>
                    </a:lnTo>
                    <a:lnTo>
                      <a:pt x="584" y="144"/>
                    </a:lnTo>
                    <a:lnTo>
                      <a:pt x="582" y="142"/>
                    </a:lnTo>
                    <a:lnTo>
                      <a:pt x="582" y="142"/>
                    </a:lnTo>
                    <a:lnTo>
                      <a:pt x="582" y="140"/>
                    </a:lnTo>
                    <a:lnTo>
                      <a:pt x="582" y="138"/>
                    </a:lnTo>
                    <a:lnTo>
                      <a:pt x="582" y="138"/>
                    </a:lnTo>
                    <a:lnTo>
                      <a:pt x="582" y="138"/>
                    </a:lnTo>
                    <a:lnTo>
                      <a:pt x="580" y="136"/>
                    </a:lnTo>
                    <a:lnTo>
                      <a:pt x="580" y="136"/>
                    </a:lnTo>
                    <a:lnTo>
                      <a:pt x="578" y="136"/>
                    </a:lnTo>
                    <a:lnTo>
                      <a:pt x="574" y="134"/>
                    </a:lnTo>
                    <a:lnTo>
                      <a:pt x="572" y="132"/>
                    </a:lnTo>
                    <a:lnTo>
                      <a:pt x="570" y="132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66" y="132"/>
                    </a:lnTo>
                    <a:lnTo>
                      <a:pt x="566" y="132"/>
                    </a:lnTo>
                    <a:lnTo>
                      <a:pt x="566" y="134"/>
                    </a:lnTo>
                    <a:lnTo>
                      <a:pt x="566" y="142"/>
                    </a:lnTo>
                    <a:lnTo>
                      <a:pt x="566" y="150"/>
                    </a:lnTo>
                    <a:lnTo>
                      <a:pt x="568" y="158"/>
                    </a:lnTo>
                    <a:lnTo>
                      <a:pt x="570" y="164"/>
                    </a:lnTo>
                    <a:lnTo>
                      <a:pt x="570" y="164"/>
                    </a:lnTo>
                    <a:lnTo>
                      <a:pt x="572" y="166"/>
                    </a:lnTo>
                    <a:lnTo>
                      <a:pt x="574" y="172"/>
                    </a:lnTo>
                    <a:lnTo>
                      <a:pt x="574" y="172"/>
                    </a:lnTo>
                    <a:lnTo>
                      <a:pt x="576" y="172"/>
                    </a:lnTo>
                    <a:lnTo>
                      <a:pt x="578" y="174"/>
                    </a:lnTo>
                    <a:lnTo>
                      <a:pt x="580" y="178"/>
                    </a:lnTo>
                    <a:lnTo>
                      <a:pt x="584" y="180"/>
                    </a:lnTo>
                    <a:lnTo>
                      <a:pt x="584" y="180"/>
                    </a:lnTo>
                    <a:lnTo>
                      <a:pt x="584" y="180"/>
                    </a:lnTo>
                    <a:lnTo>
                      <a:pt x="588" y="182"/>
                    </a:lnTo>
                    <a:lnTo>
                      <a:pt x="592" y="184"/>
                    </a:lnTo>
                    <a:lnTo>
                      <a:pt x="596" y="184"/>
                    </a:lnTo>
                    <a:lnTo>
                      <a:pt x="598" y="186"/>
                    </a:lnTo>
                    <a:lnTo>
                      <a:pt x="600" y="188"/>
                    </a:lnTo>
                    <a:lnTo>
                      <a:pt x="602" y="190"/>
                    </a:lnTo>
                    <a:lnTo>
                      <a:pt x="602" y="190"/>
                    </a:lnTo>
                    <a:lnTo>
                      <a:pt x="602" y="192"/>
                    </a:lnTo>
                    <a:lnTo>
                      <a:pt x="604" y="194"/>
                    </a:lnTo>
                    <a:lnTo>
                      <a:pt x="604" y="198"/>
                    </a:lnTo>
                    <a:lnTo>
                      <a:pt x="606" y="200"/>
                    </a:lnTo>
                    <a:lnTo>
                      <a:pt x="608" y="206"/>
                    </a:lnTo>
                    <a:lnTo>
                      <a:pt x="608" y="206"/>
                    </a:lnTo>
                    <a:lnTo>
                      <a:pt x="608" y="206"/>
                    </a:lnTo>
                    <a:lnTo>
                      <a:pt x="608" y="208"/>
                    </a:lnTo>
                    <a:lnTo>
                      <a:pt x="608" y="210"/>
                    </a:lnTo>
                    <a:lnTo>
                      <a:pt x="608" y="210"/>
                    </a:lnTo>
                    <a:lnTo>
                      <a:pt x="610" y="210"/>
                    </a:lnTo>
                    <a:lnTo>
                      <a:pt x="610" y="212"/>
                    </a:lnTo>
                    <a:lnTo>
                      <a:pt x="612" y="214"/>
                    </a:lnTo>
                    <a:lnTo>
                      <a:pt x="616" y="218"/>
                    </a:lnTo>
                    <a:lnTo>
                      <a:pt x="620" y="220"/>
                    </a:lnTo>
                    <a:lnTo>
                      <a:pt x="620" y="220"/>
                    </a:lnTo>
                    <a:lnTo>
                      <a:pt x="622" y="222"/>
                    </a:lnTo>
                    <a:lnTo>
                      <a:pt x="628" y="220"/>
                    </a:lnTo>
                    <a:lnTo>
                      <a:pt x="628" y="220"/>
                    </a:lnTo>
                    <a:lnTo>
                      <a:pt x="628" y="220"/>
                    </a:lnTo>
                    <a:lnTo>
                      <a:pt x="630" y="220"/>
                    </a:lnTo>
                    <a:lnTo>
                      <a:pt x="630" y="220"/>
                    </a:lnTo>
                    <a:lnTo>
                      <a:pt x="632" y="220"/>
                    </a:lnTo>
                    <a:lnTo>
                      <a:pt x="634" y="218"/>
                    </a:lnTo>
                    <a:lnTo>
                      <a:pt x="634" y="218"/>
                    </a:lnTo>
                    <a:lnTo>
                      <a:pt x="634" y="218"/>
                    </a:lnTo>
                    <a:lnTo>
                      <a:pt x="634" y="216"/>
                    </a:lnTo>
                    <a:lnTo>
                      <a:pt x="634" y="216"/>
                    </a:lnTo>
                    <a:lnTo>
                      <a:pt x="636" y="214"/>
                    </a:lnTo>
                    <a:lnTo>
                      <a:pt x="636" y="212"/>
                    </a:lnTo>
                    <a:lnTo>
                      <a:pt x="636" y="212"/>
                    </a:lnTo>
                    <a:lnTo>
                      <a:pt x="636" y="212"/>
                    </a:lnTo>
                    <a:lnTo>
                      <a:pt x="634" y="210"/>
                    </a:lnTo>
                    <a:lnTo>
                      <a:pt x="638" y="210"/>
                    </a:lnTo>
                    <a:lnTo>
                      <a:pt x="642" y="21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8" y="208"/>
                    </a:lnTo>
                    <a:lnTo>
                      <a:pt x="648" y="208"/>
                    </a:lnTo>
                    <a:lnTo>
                      <a:pt x="648" y="208"/>
                    </a:lnTo>
                    <a:lnTo>
                      <a:pt x="650" y="208"/>
                    </a:lnTo>
                    <a:lnTo>
                      <a:pt x="650" y="208"/>
                    </a:lnTo>
                    <a:lnTo>
                      <a:pt x="652" y="206"/>
                    </a:lnTo>
                    <a:lnTo>
                      <a:pt x="652" y="206"/>
                    </a:lnTo>
                    <a:lnTo>
                      <a:pt x="652" y="206"/>
                    </a:lnTo>
                    <a:lnTo>
                      <a:pt x="654" y="204"/>
                    </a:lnTo>
                    <a:lnTo>
                      <a:pt x="654" y="202"/>
                    </a:lnTo>
                    <a:lnTo>
                      <a:pt x="656" y="198"/>
                    </a:lnTo>
                    <a:lnTo>
                      <a:pt x="656" y="198"/>
                    </a:lnTo>
                    <a:lnTo>
                      <a:pt x="658" y="196"/>
                    </a:lnTo>
                    <a:lnTo>
                      <a:pt x="656" y="190"/>
                    </a:lnTo>
                    <a:lnTo>
                      <a:pt x="656" y="184"/>
                    </a:lnTo>
                    <a:lnTo>
                      <a:pt x="656" y="178"/>
                    </a:lnTo>
                    <a:lnTo>
                      <a:pt x="656" y="172"/>
                    </a:lnTo>
                    <a:lnTo>
                      <a:pt x="656" y="166"/>
                    </a:lnTo>
                    <a:lnTo>
                      <a:pt x="656" y="162"/>
                    </a:lnTo>
                    <a:lnTo>
                      <a:pt x="656" y="158"/>
                    </a:lnTo>
                    <a:lnTo>
                      <a:pt x="654" y="154"/>
                    </a:lnTo>
                    <a:lnTo>
                      <a:pt x="654" y="154"/>
                    </a:lnTo>
                    <a:lnTo>
                      <a:pt x="654" y="154"/>
                    </a:lnTo>
                    <a:lnTo>
                      <a:pt x="652" y="150"/>
                    </a:lnTo>
                    <a:lnTo>
                      <a:pt x="652" y="150"/>
                    </a:lnTo>
                    <a:lnTo>
                      <a:pt x="652" y="150"/>
                    </a:lnTo>
                    <a:lnTo>
                      <a:pt x="650" y="148"/>
                    </a:lnTo>
                    <a:lnTo>
                      <a:pt x="650" y="148"/>
                    </a:lnTo>
                    <a:lnTo>
                      <a:pt x="650" y="146"/>
                    </a:lnTo>
                    <a:lnTo>
                      <a:pt x="648" y="144"/>
                    </a:lnTo>
                    <a:lnTo>
                      <a:pt x="648" y="144"/>
                    </a:lnTo>
                    <a:lnTo>
                      <a:pt x="648" y="144"/>
                    </a:lnTo>
                    <a:lnTo>
                      <a:pt x="644" y="142"/>
                    </a:lnTo>
                    <a:lnTo>
                      <a:pt x="644" y="142"/>
                    </a:lnTo>
                    <a:lnTo>
                      <a:pt x="644" y="142"/>
                    </a:lnTo>
                    <a:lnTo>
                      <a:pt x="640" y="140"/>
                    </a:lnTo>
                    <a:lnTo>
                      <a:pt x="634" y="138"/>
                    </a:lnTo>
                    <a:lnTo>
                      <a:pt x="628" y="138"/>
                    </a:lnTo>
                    <a:lnTo>
                      <a:pt x="624" y="136"/>
                    </a:lnTo>
                    <a:lnTo>
                      <a:pt x="626" y="136"/>
                    </a:lnTo>
                    <a:lnTo>
                      <a:pt x="626" y="134"/>
                    </a:lnTo>
                    <a:lnTo>
                      <a:pt x="626" y="134"/>
                    </a:lnTo>
                    <a:lnTo>
                      <a:pt x="628" y="132"/>
                    </a:lnTo>
                    <a:lnTo>
                      <a:pt x="628" y="132"/>
                    </a:lnTo>
                    <a:lnTo>
                      <a:pt x="630" y="130"/>
                    </a:lnTo>
                    <a:lnTo>
                      <a:pt x="634" y="128"/>
                    </a:lnTo>
                    <a:lnTo>
                      <a:pt x="634" y="128"/>
                    </a:lnTo>
                    <a:lnTo>
                      <a:pt x="634" y="128"/>
                    </a:lnTo>
                    <a:lnTo>
                      <a:pt x="636" y="126"/>
                    </a:lnTo>
                    <a:lnTo>
                      <a:pt x="638" y="124"/>
                    </a:lnTo>
                    <a:lnTo>
                      <a:pt x="640" y="122"/>
                    </a:lnTo>
                    <a:lnTo>
                      <a:pt x="640" y="122"/>
                    </a:lnTo>
                    <a:lnTo>
                      <a:pt x="640" y="122"/>
                    </a:lnTo>
                    <a:lnTo>
                      <a:pt x="642" y="120"/>
                    </a:lnTo>
                    <a:lnTo>
                      <a:pt x="642" y="120"/>
                    </a:lnTo>
                    <a:lnTo>
                      <a:pt x="642" y="118"/>
                    </a:lnTo>
                    <a:lnTo>
                      <a:pt x="642" y="116"/>
                    </a:lnTo>
                    <a:lnTo>
                      <a:pt x="642" y="114"/>
                    </a:lnTo>
                    <a:lnTo>
                      <a:pt x="642" y="112"/>
                    </a:lnTo>
                    <a:lnTo>
                      <a:pt x="642" y="112"/>
                    </a:lnTo>
                    <a:lnTo>
                      <a:pt x="644" y="110"/>
                    </a:lnTo>
                    <a:lnTo>
                      <a:pt x="644" y="108"/>
                    </a:lnTo>
                    <a:lnTo>
                      <a:pt x="646" y="106"/>
                    </a:lnTo>
                    <a:lnTo>
                      <a:pt x="646" y="106"/>
                    </a:lnTo>
                    <a:lnTo>
                      <a:pt x="646" y="104"/>
                    </a:lnTo>
                    <a:lnTo>
                      <a:pt x="646" y="100"/>
                    </a:lnTo>
                    <a:lnTo>
                      <a:pt x="646" y="98"/>
                    </a:lnTo>
                    <a:lnTo>
                      <a:pt x="646" y="96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2"/>
                    </a:lnTo>
                    <a:lnTo>
                      <a:pt x="642" y="92"/>
                    </a:lnTo>
                    <a:lnTo>
                      <a:pt x="642" y="92"/>
                    </a:lnTo>
                    <a:lnTo>
                      <a:pt x="642" y="92"/>
                    </a:lnTo>
                    <a:lnTo>
                      <a:pt x="640" y="92"/>
                    </a:lnTo>
                    <a:lnTo>
                      <a:pt x="640" y="92"/>
                    </a:lnTo>
                    <a:lnTo>
                      <a:pt x="640" y="92"/>
                    </a:lnTo>
                    <a:lnTo>
                      <a:pt x="638" y="92"/>
                    </a:lnTo>
                    <a:lnTo>
                      <a:pt x="636" y="92"/>
                    </a:lnTo>
                    <a:lnTo>
                      <a:pt x="634" y="92"/>
                    </a:lnTo>
                    <a:lnTo>
                      <a:pt x="632" y="94"/>
                    </a:lnTo>
                    <a:close/>
                    <a:moveTo>
                      <a:pt x="698" y="80"/>
                    </a:moveTo>
                    <a:lnTo>
                      <a:pt x="690" y="80"/>
                    </a:lnTo>
                    <a:lnTo>
                      <a:pt x="686" y="80"/>
                    </a:lnTo>
                    <a:lnTo>
                      <a:pt x="686" y="80"/>
                    </a:lnTo>
                    <a:lnTo>
                      <a:pt x="686" y="80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78" y="82"/>
                    </a:lnTo>
                    <a:lnTo>
                      <a:pt x="678" y="82"/>
                    </a:lnTo>
                    <a:lnTo>
                      <a:pt x="678" y="84"/>
                    </a:lnTo>
                    <a:lnTo>
                      <a:pt x="676" y="84"/>
                    </a:lnTo>
                    <a:lnTo>
                      <a:pt x="676" y="84"/>
                    </a:lnTo>
                    <a:lnTo>
                      <a:pt x="676" y="84"/>
                    </a:lnTo>
                    <a:lnTo>
                      <a:pt x="674" y="86"/>
                    </a:lnTo>
                    <a:lnTo>
                      <a:pt x="674" y="86"/>
                    </a:lnTo>
                    <a:lnTo>
                      <a:pt x="674" y="90"/>
                    </a:lnTo>
                    <a:lnTo>
                      <a:pt x="676" y="94"/>
                    </a:lnTo>
                    <a:lnTo>
                      <a:pt x="678" y="96"/>
                    </a:lnTo>
                    <a:lnTo>
                      <a:pt x="680" y="98"/>
                    </a:lnTo>
                    <a:lnTo>
                      <a:pt x="682" y="100"/>
                    </a:lnTo>
                    <a:lnTo>
                      <a:pt x="680" y="100"/>
                    </a:lnTo>
                    <a:lnTo>
                      <a:pt x="680" y="102"/>
                    </a:lnTo>
                    <a:lnTo>
                      <a:pt x="678" y="102"/>
                    </a:lnTo>
                    <a:lnTo>
                      <a:pt x="678" y="104"/>
                    </a:lnTo>
                    <a:lnTo>
                      <a:pt x="676" y="104"/>
                    </a:lnTo>
                    <a:lnTo>
                      <a:pt x="676" y="104"/>
                    </a:lnTo>
                    <a:lnTo>
                      <a:pt x="674" y="102"/>
                    </a:lnTo>
                    <a:lnTo>
                      <a:pt x="672" y="100"/>
                    </a:lnTo>
                    <a:lnTo>
                      <a:pt x="672" y="100"/>
                    </a:lnTo>
                    <a:lnTo>
                      <a:pt x="668" y="100"/>
                    </a:lnTo>
                    <a:lnTo>
                      <a:pt x="668" y="100"/>
                    </a:lnTo>
                    <a:lnTo>
                      <a:pt x="666" y="102"/>
                    </a:lnTo>
                    <a:lnTo>
                      <a:pt x="666" y="104"/>
                    </a:lnTo>
                    <a:lnTo>
                      <a:pt x="668" y="106"/>
                    </a:lnTo>
                    <a:lnTo>
                      <a:pt x="668" y="108"/>
                    </a:lnTo>
                    <a:lnTo>
                      <a:pt x="668" y="112"/>
                    </a:lnTo>
                    <a:lnTo>
                      <a:pt x="668" y="116"/>
                    </a:lnTo>
                    <a:lnTo>
                      <a:pt x="668" y="122"/>
                    </a:lnTo>
                    <a:lnTo>
                      <a:pt x="668" y="130"/>
                    </a:lnTo>
                    <a:lnTo>
                      <a:pt x="668" y="138"/>
                    </a:lnTo>
                    <a:lnTo>
                      <a:pt x="670" y="144"/>
                    </a:lnTo>
                    <a:lnTo>
                      <a:pt x="670" y="152"/>
                    </a:lnTo>
                    <a:lnTo>
                      <a:pt x="670" y="160"/>
                    </a:lnTo>
                    <a:lnTo>
                      <a:pt x="672" y="166"/>
                    </a:lnTo>
                    <a:lnTo>
                      <a:pt x="672" y="172"/>
                    </a:lnTo>
                    <a:lnTo>
                      <a:pt x="674" y="178"/>
                    </a:lnTo>
                    <a:lnTo>
                      <a:pt x="676" y="182"/>
                    </a:lnTo>
                    <a:lnTo>
                      <a:pt x="676" y="184"/>
                    </a:lnTo>
                    <a:lnTo>
                      <a:pt x="676" y="184"/>
                    </a:lnTo>
                    <a:lnTo>
                      <a:pt x="676" y="184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80" y="188"/>
                    </a:lnTo>
                    <a:lnTo>
                      <a:pt x="680" y="188"/>
                    </a:lnTo>
                    <a:lnTo>
                      <a:pt x="680" y="188"/>
                    </a:lnTo>
                    <a:lnTo>
                      <a:pt x="682" y="188"/>
                    </a:lnTo>
                    <a:lnTo>
                      <a:pt x="684" y="188"/>
                    </a:lnTo>
                    <a:lnTo>
                      <a:pt x="686" y="188"/>
                    </a:lnTo>
                    <a:lnTo>
                      <a:pt x="690" y="186"/>
                    </a:lnTo>
                    <a:lnTo>
                      <a:pt x="690" y="186"/>
                    </a:lnTo>
                    <a:lnTo>
                      <a:pt x="690" y="186"/>
                    </a:lnTo>
                    <a:lnTo>
                      <a:pt x="692" y="184"/>
                    </a:lnTo>
                    <a:lnTo>
                      <a:pt x="692" y="184"/>
                    </a:lnTo>
                    <a:lnTo>
                      <a:pt x="694" y="184"/>
                    </a:lnTo>
                    <a:lnTo>
                      <a:pt x="694" y="182"/>
                    </a:lnTo>
                    <a:lnTo>
                      <a:pt x="694" y="182"/>
                    </a:lnTo>
                    <a:lnTo>
                      <a:pt x="694" y="182"/>
                    </a:lnTo>
                    <a:lnTo>
                      <a:pt x="696" y="180"/>
                    </a:lnTo>
                    <a:lnTo>
                      <a:pt x="696" y="176"/>
                    </a:lnTo>
                    <a:lnTo>
                      <a:pt x="698" y="174"/>
                    </a:lnTo>
                    <a:lnTo>
                      <a:pt x="700" y="170"/>
                    </a:lnTo>
                    <a:lnTo>
                      <a:pt x="700" y="170"/>
                    </a:lnTo>
                    <a:lnTo>
                      <a:pt x="700" y="170"/>
                    </a:lnTo>
                    <a:lnTo>
                      <a:pt x="700" y="166"/>
                    </a:lnTo>
                    <a:lnTo>
                      <a:pt x="700" y="164"/>
                    </a:lnTo>
                    <a:lnTo>
                      <a:pt x="700" y="164"/>
                    </a:lnTo>
                    <a:lnTo>
                      <a:pt x="700" y="164"/>
                    </a:lnTo>
                    <a:lnTo>
                      <a:pt x="698" y="160"/>
                    </a:lnTo>
                    <a:lnTo>
                      <a:pt x="698" y="160"/>
                    </a:lnTo>
                    <a:lnTo>
                      <a:pt x="698" y="158"/>
                    </a:lnTo>
                    <a:lnTo>
                      <a:pt x="698" y="156"/>
                    </a:lnTo>
                    <a:lnTo>
                      <a:pt x="696" y="154"/>
                    </a:lnTo>
                    <a:lnTo>
                      <a:pt x="696" y="154"/>
                    </a:lnTo>
                    <a:lnTo>
                      <a:pt x="696" y="154"/>
                    </a:lnTo>
                    <a:lnTo>
                      <a:pt x="696" y="152"/>
                    </a:lnTo>
                    <a:lnTo>
                      <a:pt x="696" y="152"/>
                    </a:lnTo>
                    <a:lnTo>
                      <a:pt x="700" y="150"/>
                    </a:lnTo>
                    <a:lnTo>
                      <a:pt x="704" y="150"/>
                    </a:lnTo>
                    <a:lnTo>
                      <a:pt x="708" y="148"/>
                    </a:lnTo>
                    <a:lnTo>
                      <a:pt x="716" y="148"/>
                    </a:lnTo>
                    <a:lnTo>
                      <a:pt x="726" y="148"/>
                    </a:lnTo>
                    <a:lnTo>
                      <a:pt x="726" y="148"/>
                    </a:lnTo>
                    <a:lnTo>
                      <a:pt x="728" y="146"/>
                    </a:lnTo>
                    <a:lnTo>
                      <a:pt x="728" y="144"/>
                    </a:lnTo>
                    <a:lnTo>
                      <a:pt x="730" y="140"/>
                    </a:lnTo>
                    <a:lnTo>
                      <a:pt x="730" y="136"/>
                    </a:lnTo>
                    <a:lnTo>
                      <a:pt x="730" y="132"/>
                    </a:lnTo>
                    <a:lnTo>
                      <a:pt x="730" y="128"/>
                    </a:lnTo>
                    <a:lnTo>
                      <a:pt x="732" y="126"/>
                    </a:lnTo>
                    <a:lnTo>
                      <a:pt x="734" y="124"/>
                    </a:lnTo>
                    <a:lnTo>
                      <a:pt x="736" y="122"/>
                    </a:lnTo>
                    <a:lnTo>
                      <a:pt x="736" y="122"/>
                    </a:lnTo>
                    <a:lnTo>
                      <a:pt x="740" y="120"/>
                    </a:lnTo>
                    <a:lnTo>
                      <a:pt x="740" y="120"/>
                    </a:lnTo>
                    <a:lnTo>
                      <a:pt x="740" y="118"/>
                    </a:lnTo>
                    <a:lnTo>
                      <a:pt x="742" y="114"/>
                    </a:lnTo>
                    <a:lnTo>
                      <a:pt x="744" y="108"/>
                    </a:lnTo>
                    <a:lnTo>
                      <a:pt x="742" y="110"/>
                    </a:lnTo>
                    <a:lnTo>
                      <a:pt x="746" y="106"/>
                    </a:lnTo>
                    <a:lnTo>
                      <a:pt x="746" y="106"/>
                    </a:lnTo>
                    <a:lnTo>
                      <a:pt x="746" y="104"/>
                    </a:lnTo>
                    <a:lnTo>
                      <a:pt x="748" y="102"/>
                    </a:lnTo>
                    <a:lnTo>
                      <a:pt x="748" y="102"/>
                    </a:lnTo>
                    <a:lnTo>
                      <a:pt x="750" y="102"/>
                    </a:lnTo>
                    <a:lnTo>
                      <a:pt x="750" y="98"/>
                    </a:lnTo>
                    <a:lnTo>
                      <a:pt x="750" y="98"/>
                    </a:lnTo>
                    <a:lnTo>
                      <a:pt x="750" y="98"/>
                    </a:lnTo>
                    <a:lnTo>
                      <a:pt x="752" y="96"/>
                    </a:lnTo>
                    <a:lnTo>
                      <a:pt x="752" y="96"/>
                    </a:lnTo>
                    <a:lnTo>
                      <a:pt x="752" y="94"/>
                    </a:lnTo>
                    <a:lnTo>
                      <a:pt x="750" y="94"/>
                    </a:lnTo>
                    <a:lnTo>
                      <a:pt x="750" y="94"/>
                    </a:lnTo>
                    <a:lnTo>
                      <a:pt x="750" y="92"/>
                    </a:lnTo>
                    <a:lnTo>
                      <a:pt x="750" y="92"/>
                    </a:lnTo>
                    <a:lnTo>
                      <a:pt x="750" y="92"/>
                    </a:lnTo>
                    <a:lnTo>
                      <a:pt x="748" y="90"/>
                    </a:lnTo>
                    <a:lnTo>
                      <a:pt x="746" y="90"/>
                    </a:lnTo>
                    <a:lnTo>
                      <a:pt x="746" y="90"/>
                    </a:lnTo>
                    <a:lnTo>
                      <a:pt x="746" y="90"/>
                    </a:lnTo>
                    <a:lnTo>
                      <a:pt x="744" y="90"/>
                    </a:lnTo>
                    <a:lnTo>
                      <a:pt x="740" y="88"/>
                    </a:lnTo>
                    <a:lnTo>
                      <a:pt x="740" y="88"/>
                    </a:lnTo>
                    <a:lnTo>
                      <a:pt x="738" y="88"/>
                    </a:lnTo>
                    <a:lnTo>
                      <a:pt x="734" y="88"/>
                    </a:lnTo>
                    <a:lnTo>
                      <a:pt x="728" y="88"/>
                    </a:lnTo>
                    <a:lnTo>
                      <a:pt x="722" y="88"/>
                    </a:lnTo>
                    <a:lnTo>
                      <a:pt x="716" y="90"/>
                    </a:lnTo>
                    <a:lnTo>
                      <a:pt x="716" y="90"/>
                    </a:lnTo>
                    <a:lnTo>
                      <a:pt x="716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2" y="90"/>
                    </a:lnTo>
                    <a:lnTo>
                      <a:pt x="712" y="88"/>
                    </a:lnTo>
                    <a:lnTo>
                      <a:pt x="710" y="82"/>
                    </a:lnTo>
                    <a:lnTo>
                      <a:pt x="710" y="82"/>
                    </a:lnTo>
                    <a:lnTo>
                      <a:pt x="710" y="82"/>
                    </a:lnTo>
                    <a:lnTo>
                      <a:pt x="710" y="80"/>
                    </a:lnTo>
                    <a:lnTo>
                      <a:pt x="710" y="80"/>
                    </a:lnTo>
                    <a:lnTo>
                      <a:pt x="708" y="80"/>
                    </a:lnTo>
                    <a:lnTo>
                      <a:pt x="708" y="78"/>
                    </a:lnTo>
                    <a:lnTo>
                      <a:pt x="708" y="78"/>
                    </a:lnTo>
                    <a:lnTo>
                      <a:pt x="704" y="78"/>
                    </a:lnTo>
                    <a:lnTo>
                      <a:pt x="700" y="78"/>
                    </a:lnTo>
                    <a:lnTo>
                      <a:pt x="698" y="80"/>
                    </a:lnTo>
                    <a:close/>
                    <a:moveTo>
                      <a:pt x="904" y="98"/>
                    </a:moveTo>
                    <a:lnTo>
                      <a:pt x="902" y="98"/>
                    </a:lnTo>
                    <a:lnTo>
                      <a:pt x="900" y="98"/>
                    </a:lnTo>
                    <a:lnTo>
                      <a:pt x="896" y="98"/>
                    </a:lnTo>
                    <a:lnTo>
                      <a:pt x="892" y="96"/>
                    </a:lnTo>
                    <a:lnTo>
                      <a:pt x="892" y="96"/>
                    </a:lnTo>
                    <a:lnTo>
                      <a:pt x="890" y="98"/>
                    </a:lnTo>
                    <a:lnTo>
                      <a:pt x="890" y="98"/>
                    </a:lnTo>
                    <a:lnTo>
                      <a:pt x="888" y="100"/>
                    </a:lnTo>
                    <a:lnTo>
                      <a:pt x="888" y="102"/>
                    </a:lnTo>
                    <a:lnTo>
                      <a:pt x="888" y="104"/>
                    </a:lnTo>
                    <a:lnTo>
                      <a:pt x="890" y="108"/>
                    </a:lnTo>
                    <a:lnTo>
                      <a:pt x="890" y="110"/>
                    </a:lnTo>
                    <a:lnTo>
                      <a:pt x="890" y="118"/>
                    </a:lnTo>
                    <a:lnTo>
                      <a:pt x="890" y="126"/>
                    </a:lnTo>
                    <a:lnTo>
                      <a:pt x="892" y="132"/>
                    </a:lnTo>
                    <a:lnTo>
                      <a:pt x="894" y="140"/>
                    </a:lnTo>
                    <a:lnTo>
                      <a:pt x="894" y="142"/>
                    </a:lnTo>
                    <a:lnTo>
                      <a:pt x="896" y="146"/>
                    </a:lnTo>
                    <a:lnTo>
                      <a:pt x="896" y="146"/>
                    </a:lnTo>
                    <a:lnTo>
                      <a:pt x="896" y="146"/>
                    </a:lnTo>
                    <a:lnTo>
                      <a:pt x="898" y="148"/>
                    </a:lnTo>
                    <a:lnTo>
                      <a:pt x="898" y="148"/>
                    </a:lnTo>
                    <a:lnTo>
                      <a:pt x="898" y="148"/>
                    </a:lnTo>
                    <a:lnTo>
                      <a:pt x="900" y="150"/>
                    </a:lnTo>
                    <a:lnTo>
                      <a:pt x="900" y="150"/>
                    </a:lnTo>
                    <a:lnTo>
                      <a:pt x="902" y="150"/>
                    </a:lnTo>
                    <a:lnTo>
                      <a:pt x="908" y="148"/>
                    </a:lnTo>
                    <a:lnTo>
                      <a:pt x="912" y="146"/>
                    </a:lnTo>
                    <a:lnTo>
                      <a:pt x="916" y="146"/>
                    </a:lnTo>
                    <a:lnTo>
                      <a:pt x="922" y="146"/>
                    </a:lnTo>
                    <a:lnTo>
                      <a:pt x="932" y="146"/>
                    </a:lnTo>
                    <a:lnTo>
                      <a:pt x="942" y="144"/>
                    </a:lnTo>
                    <a:lnTo>
                      <a:pt x="942" y="144"/>
                    </a:lnTo>
                    <a:lnTo>
                      <a:pt x="944" y="144"/>
                    </a:lnTo>
                    <a:lnTo>
                      <a:pt x="946" y="144"/>
                    </a:lnTo>
                    <a:lnTo>
                      <a:pt x="948" y="142"/>
                    </a:lnTo>
                    <a:lnTo>
                      <a:pt x="948" y="142"/>
                    </a:lnTo>
                    <a:lnTo>
                      <a:pt x="948" y="142"/>
                    </a:lnTo>
                    <a:lnTo>
                      <a:pt x="948" y="140"/>
                    </a:lnTo>
                    <a:lnTo>
                      <a:pt x="948" y="140"/>
                    </a:lnTo>
                    <a:lnTo>
                      <a:pt x="950" y="140"/>
                    </a:lnTo>
                    <a:lnTo>
                      <a:pt x="950" y="138"/>
                    </a:lnTo>
                    <a:lnTo>
                      <a:pt x="950" y="138"/>
                    </a:lnTo>
                    <a:lnTo>
                      <a:pt x="950" y="138"/>
                    </a:lnTo>
                    <a:lnTo>
                      <a:pt x="950" y="134"/>
                    </a:lnTo>
                    <a:lnTo>
                      <a:pt x="950" y="134"/>
                    </a:lnTo>
                    <a:lnTo>
                      <a:pt x="950" y="134"/>
                    </a:lnTo>
                    <a:lnTo>
                      <a:pt x="948" y="130"/>
                    </a:lnTo>
                    <a:lnTo>
                      <a:pt x="948" y="130"/>
                    </a:lnTo>
                    <a:lnTo>
                      <a:pt x="948" y="130"/>
                    </a:lnTo>
                    <a:lnTo>
                      <a:pt x="946" y="128"/>
                    </a:lnTo>
                    <a:lnTo>
                      <a:pt x="946" y="128"/>
                    </a:lnTo>
                    <a:lnTo>
                      <a:pt x="946" y="128"/>
                    </a:lnTo>
                    <a:lnTo>
                      <a:pt x="944" y="124"/>
                    </a:lnTo>
                    <a:lnTo>
                      <a:pt x="942" y="122"/>
                    </a:lnTo>
                    <a:lnTo>
                      <a:pt x="938" y="122"/>
                    </a:lnTo>
                    <a:lnTo>
                      <a:pt x="938" y="118"/>
                    </a:lnTo>
                    <a:lnTo>
                      <a:pt x="936" y="116"/>
                    </a:lnTo>
                    <a:lnTo>
                      <a:pt x="932" y="114"/>
                    </a:lnTo>
                    <a:lnTo>
                      <a:pt x="930" y="112"/>
                    </a:lnTo>
                    <a:lnTo>
                      <a:pt x="930" y="112"/>
                    </a:lnTo>
                    <a:lnTo>
                      <a:pt x="930" y="110"/>
                    </a:lnTo>
                    <a:lnTo>
                      <a:pt x="924" y="108"/>
                    </a:lnTo>
                    <a:lnTo>
                      <a:pt x="924" y="108"/>
                    </a:lnTo>
                    <a:lnTo>
                      <a:pt x="924" y="108"/>
                    </a:lnTo>
                    <a:lnTo>
                      <a:pt x="918" y="106"/>
                    </a:lnTo>
                    <a:lnTo>
                      <a:pt x="918" y="106"/>
                    </a:lnTo>
                    <a:lnTo>
                      <a:pt x="916" y="104"/>
                    </a:lnTo>
                    <a:lnTo>
                      <a:pt x="916" y="102"/>
                    </a:lnTo>
                    <a:lnTo>
                      <a:pt x="916" y="102"/>
                    </a:lnTo>
                    <a:lnTo>
                      <a:pt x="914" y="102"/>
                    </a:lnTo>
                    <a:lnTo>
                      <a:pt x="914" y="100"/>
                    </a:lnTo>
                    <a:lnTo>
                      <a:pt x="914" y="100"/>
                    </a:lnTo>
                    <a:lnTo>
                      <a:pt x="912" y="100"/>
                    </a:lnTo>
                    <a:lnTo>
                      <a:pt x="912" y="98"/>
                    </a:lnTo>
                    <a:lnTo>
                      <a:pt x="912" y="98"/>
                    </a:lnTo>
                    <a:lnTo>
                      <a:pt x="910" y="98"/>
                    </a:lnTo>
                    <a:lnTo>
                      <a:pt x="908" y="98"/>
                    </a:lnTo>
                    <a:lnTo>
                      <a:pt x="906" y="98"/>
                    </a:lnTo>
                    <a:lnTo>
                      <a:pt x="904" y="98"/>
                    </a:lnTo>
                    <a:close/>
                    <a:moveTo>
                      <a:pt x="938" y="358"/>
                    </a:moveTo>
                    <a:lnTo>
                      <a:pt x="936" y="362"/>
                    </a:lnTo>
                    <a:lnTo>
                      <a:pt x="934" y="366"/>
                    </a:lnTo>
                    <a:lnTo>
                      <a:pt x="934" y="366"/>
                    </a:lnTo>
                    <a:lnTo>
                      <a:pt x="934" y="366"/>
                    </a:lnTo>
                    <a:lnTo>
                      <a:pt x="932" y="370"/>
                    </a:lnTo>
                    <a:lnTo>
                      <a:pt x="932" y="370"/>
                    </a:lnTo>
                    <a:lnTo>
                      <a:pt x="932" y="370"/>
                    </a:lnTo>
                    <a:lnTo>
                      <a:pt x="932" y="374"/>
                    </a:lnTo>
                    <a:lnTo>
                      <a:pt x="932" y="374"/>
                    </a:lnTo>
                    <a:lnTo>
                      <a:pt x="932" y="376"/>
                    </a:lnTo>
                    <a:lnTo>
                      <a:pt x="932" y="378"/>
                    </a:lnTo>
                    <a:lnTo>
                      <a:pt x="932" y="378"/>
                    </a:lnTo>
                    <a:lnTo>
                      <a:pt x="932" y="378"/>
                    </a:lnTo>
                    <a:lnTo>
                      <a:pt x="932" y="380"/>
                    </a:lnTo>
                    <a:lnTo>
                      <a:pt x="932" y="380"/>
                    </a:lnTo>
                    <a:lnTo>
                      <a:pt x="932" y="380"/>
                    </a:lnTo>
                    <a:lnTo>
                      <a:pt x="934" y="382"/>
                    </a:lnTo>
                    <a:lnTo>
                      <a:pt x="934" y="382"/>
                    </a:lnTo>
                    <a:lnTo>
                      <a:pt x="934" y="382"/>
                    </a:lnTo>
                    <a:lnTo>
                      <a:pt x="934" y="386"/>
                    </a:lnTo>
                    <a:lnTo>
                      <a:pt x="934" y="386"/>
                    </a:lnTo>
                    <a:lnTo>
                      <a:pt x="936" y="386"/>
                    </a:lnTo>
                    <a:lnTo>
                      <a:pt x="938" y="388"/>
                    </a:lnTo>
                    <a:lnTo>
                      <a:pt x="938" y="388"/>
                    </a:lnTo>
                    <a:lnTo>
                      <a:pt x="938" y="388"/>
                    </a:lnTo>
                    <a:lnTo>
                      <a:pt x="940" y="388"/>
                    </a:lnTo>
                    <a:lnTo>
                      <a:pt x="940" y="388"/>
                    </a:lnTo>
                    <a:lnTo>
                      <a:pt x="942" y="388"/>
                    </a:lnTo>
                    <a:lnTo>
                      <a:pt x="944" y="390"/>
                    </a:lnTo>
                    <a:lnTo>
                      <a:pt x="944" y="390"/>
                    </a:lnTo>
                    <a:lnTo>
                      <a:pt x="944" y="390"/>
                    </a:lnTo>
                    <a:lnTo>
                      <a:pt x="948" y="390"/>
                    </a:lnTo>
                    <a:lnTo>
                      <a:pt x="954" y="388"/>
                    </a:lnTo>
                    <a:lnTo>
                      <a:pt x="956" y="388"/>
                    </a:lnTo>
                    <a:lnTo>
                      <a:pt x="960" y="388"/>
                    </a:lnTo>
                    <a:lnTo>
                      <a:pt x="960" y="388"/>
                    </a:lnTo>
                    <a:lnTo>
                      <a:pt x="962" y="388"/>
                    </a:lnTo>
                    <a:lnTo>
                      <a:pt x="962" y="386"/>
                    </a:lnTo>
                    <a:lnTo>
                      <a:pt x="962" y="386"/>
                    </a:lnTo>
                    <a:lnTo>
                      <a:pt x="962" y="386"/>
                    </a:lnTo>
                    <a:lnTo>
                      <a:pt x="964" y="384"/>
                    </a:lnTo>
                    <a:lnTo>
                      <a:pt x="964" y="382"/>
                    </a:lnTo>
                    <a:lnTo>
                      <a:pt x="966" y="380"/>
                    </a:lnTo>
                    <a:lnTo>
                      <a:pt x="966" y="378"/>
                    </a:lnTo>
                    <a:lnTo>
                      <a:pt x="968" y="374"/>
                    </a:lnTo>
                    <a:lnTo>
                      <a:pt x="970" y="368"/>
                    </a:lnTo>
                    <a:lnTo>
                      <a:pt x="972" y="360"/>
                    </a:lnTo>
                    <a:lnTo>
                      <a:pt x="972" y="358"/>
                    </a:lnTo>
                    <a:lnTo>
                      <a:pt x="972" y="354"/>
                    </a:lnTo>
                    <a:lnTo>
                      <a:pt x="972" y="352"/>
                    </a:lnTo>
                    <a:lnTo>
                      <a:pt x="972" y="352"/>
                    </a:lnTo>
                    <a:lnTo>
                      <a:pt x="972" y="350"/>
                    </a:lnTo>
                    <a:lnTo>
                      <a:pt x="972" y="350"/>
                    </a:lnTo>
                    <a:lnTo>
                      <a:pt x="970" y="348"/>
                    </a:lnTo>
                    <a:lnTo>
                      <a:pt x="970" y="348"/>
                    </a:lnTo>
                    <a:lnTo>
                      <a:pt x="970" y="348"/>
                    </a:lnTo>
                    <a:lnTo>
                      <a:pt x="970" y="346"/>
                    </a:lnTo>
                    <a:lnTo>
                      <a:pt x="968" y="346"/>
                    </a:lnTo>
                    <a:lnTo>
                      <a:pt x="968" y="346"/>
                    </a:lnTo>
                    <a:lnTo>
                      <a:pt x="966" y="346"/>
                    </a:lnTo>
                    <a:lnTo>
                      <a:pt x="960" y="344"/>
                    </a:lnTo>
                    <a:lnTo>
                      <a:pt x="954" y="344"/>
                    </a:lnTo>
                    <a:lnTo>
                      <a:pt x="950" y="344"/>
                    </a:lnTo>
                    <a:lnTo>
                      <a:pt x="944" y="344"/>
                    </a:lnTo>
                    <a:lnTo>
                      <a:pt x="944" y="344"/>
                    </a:lnTo>
                    <a:lnTo>
                      <a:pt x="942" y="344"/>
                    </a:lnTo>
                    <a:lnTo>
                      <a:pt x="942" y="344"/>
                    </a:lnTo>
                    <a:lnTo>
                      <a:pt x="940" y="346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50"/>
                    </a:lnTo>
                    <a:lnTo>
                      <a:pt x="942" y="350"/>
                    </a:lnTo>
                    <a:lnTo>
                      <a:pt x="942" y="352"/>
                    </a:lnTo>
                    <a:lnTo>
                      <a:pt x="942" y="352"/>
                    </a:lnTo>
                    <a:lnTo>
                      <a:pt x="940" y="354"/>
                    </a:lnTo>
                    <a:lnTo>
                      <a:pt x="938" y="358"/>
                    </a:lnTo>
                    <a:close/>
                    <a:moveTo>
                      <a:pt x="870" y="536"/>
                    </a:moveTo>
                    <a:lnTo>
                      <a:pt x="870" y="534"/>
                    </a:lnTo>
                    <a:lnTo>
                      <a:pt x="870" y="534"/>
                    </a:lnTo>
                    <a:lnTo>
                      <a:pt x="870" y="534"/>
                    </a:lnTo>
                    <a:lnTo>
                      <a:pt x="868" y="534"/>
                    </a:lnTo>
                    <a:lnTo>
                      <a:pt x="868" y="534"/>
                    </a:lnTo>
                    <a:lnTo>
                      <a:pt x="868" y="532"/>
                    </a:lnTo>
                    <a:lnTo>
                      <a:pt x="866" y="532"/>
                    </a:lnTo>
                    <a:lnTo>
                      <a:pt x="866" y="532"/>
                    </a:lnTo>
                    <a:lnTo>
                      <a:pt x="866" y="532"/>
                    </a:lnTo>
                    <a:lnTo>
                      <a:pt x="864" y="532"/>
                    </a:lnTo>
                    <a:lnTo>
                      <a:pt x="860" y="532"/>
                    </a:lnTo>
                    <a:lnTo>
                      <a:pt x="856" y="532"/>
                    </a:lnTo>
                    <a:lnTo>
                      <a:pt x="850" y="532"/>
                    </a:lnTo>
                    <a:lnTo>
                      <a:pt x="848" y="532"/>
                    </a:lnTo>
                    <a:lnTo>
                      <a:pt x="844" y="532"/>
                    </a:lnTo>
                    <a:lnTo>
                      <a:pt x="842" y="534"/>
                    </a:lnTo>
                    <a:lnTo>
                      <a:pt x="842" y="534"/>
                    </a:lnTo>
                    <a:lnTo>
                      <a:pt x="840" y="534"/>
                    </a:lnTo>
                    <a:lnTo>
                      <a:pt x="836" y="540"/>
                    </a:lnTo>
                    <a:lnTo>
                      <a:pt x="836" y="544"/>
                    </a:lnTo>
                    <a:lnTo>
                      <a:pt x="836" y="546"/>
                    </a:lnTo>
                    <a:lnTo>
                      <a:pt x="836" y="546"/>
                    </a:lnTo>
                    <a:lnTo>
                      <a:pt x="836" y="546"/>
                    </a:lnTo>
                    <a:lnTo>
                      <a:pt x="836" y="550"/>
                    </a:lnTo>
                    <a:lnTo>
                      <a:pt x="836" y="550"/>
                    </a:lnTo>
                    <a:lnTo>
                      <a:pt x="836" y="550"/>
                    </a:lnTo>
                    <a:lnTo>
                      <a:pt x="836" y="552"/>
                    </a:lnTo>
                    <a:lnTo>
                      <a:pt x="836" y="552"/>
                    </a:lnTo>
                    <a:lnTo>
                      <a:pt x="838" y="554"/>
                    </a:lnTo>
                    <a:lnTo>
                      <a:pt x="840" y="554"/>
                    </a:lnTo>
                    <a:lnTo>
                      <a:pt x="840" y="554"/>
                    </a:lnTo>
                    <a:lnTo>
                      <a:pt x="840" y="554"/>
                    </a:lnTo>
                    <a:lnTo>
                      <a:pt x="844" y="556"/>
                    </a:lnTo>
                    <a:lnTo>
                      <a:pt x="844" y="556"/>
                    </a:lnTo>
                    <a:lnTo>
                      <a:pt x="844" y="556"/>
                    </a:lnTo>
                    <a:lnTo>
                      <a:pt x="846" y="556"/>
                    </a:lnTo>
                    <a:lnTo>
                      <a:pt x="850" y="556"/>
                    </a:lnTo>
                    <a:lnTo>
                      <a:pt x="854" y="556"/>
                    </a:lnTo>
                    <a:lnTo>
                      <a:pt x="858" y="556"/>
                    </a:lnTo>
                    <a:lnTo>
                      <a:pt x="860" y="554"/>
                    </a:lnTo>
                    <a:lnTo>
                      <a:pt x="860" y="554"/>
                    </a:lnTo>
                    <a:lnTo>
                      <a:pt x="862" y="554"/>
                    </a:lnTo>
                    <a:lnTo>
                      <a:pt x="864" y="554"/>
                    </a:lnTo>
                    <a:lnTo>
                      <a:pt x="864" y="554"/>
                    </a:lnTo>
                    <a:lnTo>
                      <a:pt x="864" y="554"/>
                    </a:lnTo>
                    <a:lnTo>
                      <a:pt x="866" y="552"/>
                    </a:lnTo>
                    <a:lnTo>
                      <a:pt x="866" y="552"/>
                    </a:lnTo>
                    <a:lnTo>
                      <a:pt x="868" y="550"/>
                    </a:lnTo>
                    <a:lnTo>
                      <a:pt x="870" y="548"/>
                    </a:lnTo>
                    <a:lnTo>
                      <a:pt x="870" y="548"/>
                    </a:lnTo>
                    <a:lnTo>
                      <a:pt x="870" y="548"/>
                    </a:lnTo>
                    <a:lnTo>
                      <a:pt x="872" y="544"/>
                    </a:lnTo>
                    <a:lnTo>
                      <a:pt x="872" y="544"/>
                    </a:lnTo>
                    <a:lnTo>
                      <a:pt x="872" y="542"/>
                    </a:lnTo>
                    <a:lnTo>
                      <a:pt x="872" y="542"/>
                    </a:lnTo>
                    <a:lnTo>
                      <a:pt x="872" y="542"/>
                    </a:lnTo>
                    <a:lnTo>
                      <a:pt x="872" y="540"/>
                    </a:lnTo>
                    <a:lnTo>
                      <a:pt x="872" y="538"/>
                    </a:lnTo>
                    <a:lnTo>
                      <a:pt x="872" y="538"/>
                    </a:lnTo>
                    <a:lnTo>
                      <a:pt x="872" y="538"/>
                    </a:lnTo>
                    <a:lnTo>
                      <a:pt x="872" y="536"/>
                    </a:lnTo>
                    <a:lnTo>
                      <a:pt x="872" y="536"/>
                    </a:lnTo>
                    <a:lnTo>
                      <a:pt x="870" y="536"/>
                    </a:lnTo>
                    <a:lnTo>
                      <a:pt x="870" y="536"/>
                    </a:lnTo>
                    <a:close/>
                    <a:moveTo>
                      <a:pt x="890" y="574"/>
                    </a:moveTo>
                    <a:lnTo>
                      <a:pt x="890" y="574"/>
                    </a:lnTo>
                    <a:lnTo>
                      <a:pt x="892" y="574"/>
                    </a:lnTo>
                    <a:lnTo>
                      <a:pt x="892" y="574"/>
                    </a:lnTo>
                    <a:lnTo>
                      <a:pt x="892" y="574"/>
                    </a:lnTo>
                    <a:lnTo>
                      <a:pt x="894" y="574"/>
                    </a:lnTo>
                    <a:lnTo>
                      <a:pt x="896" y="576"/>
                    </a:lnTo>
                    <a:lnTo>
                      <a:pt x="898" y="576"/>
                    </a:lnTo>
                    <a:lnTo>
                      <a:pt x="898" y="576"/>
                    </a:lnTo>
                    <a:lnTo>
                      <a:pt x="900" y="576"/>
                    </a:lnTo>
                    <a:lnTo>
                      <a:pt x="902" y="576"/>
                    </a:lnTo>
                    <a:lnTo>
                      <a:pt x="902" y="576"/>
                    </a:lnTo>
                    <a:lnTo>
                      <a:pt x="902" y="576"/>
                    </a:lnTo>
                    <a:lnTo>
                      <a:pt x="904" y="574"/>
                    </a:lnTo>
                    <a:lnTo>
                      <a:pt x="904" y="574"/>
                    </a:lnTo>
                    <a:lnTo>
                      <a:pt x="906" y="574"/>
                    </a:lnTo>
                    <a:lnTo>
                      <a:pt x="908" y="570"/>
                    </a:lnTo>
                    <a:lnTo>
                      <a:pt x="908" y="570"/>
                    </a:lnTo>
                    <a:lnTo>
                      <a:pt x="910" y="570"/>
                    </a:lnTo>
                    <a:lnTo>
                      <a:pt x="910" y="566"/>
                    </a:lnTo>
                    <a:lnTo>
                      <a:pt x="910" y="566"/>
                    </a:lnTo>
                    <a:lnTo>
                      <a:pt x="910" y="564"/>
                    </a:lnTo>
                    <a:lnTo>
                      <a:pt x="912" y="560"/>
                    </a:lnTo>
                    <a:lnTo>
                      <a:pt x="912" y="560"/>
                    </a:lnTo>
                    <a:lnTo>
                      <a:pt x="912" y="560"/>
                    </a:lnTo>
                    <a:lnTo>
                      <a:pt x="910" y="556"/>
                    </a:lnTo>
                    <a:lnTo>
                      <a:pt x="910" y="556"/>
                    </a:lnTo>
                    <a:lnTo>
                      <a:pt x="910" y="554"/>
                    </a:lnTo>
                    <a:lnTo>
                      <a:pt x="908" y="550"/>
                    </a:lnTo>
                    <a:lnTo>
                      <a:pt x="908" y="550"/>
                    </a:lnTo>
                    <a:lnTo>
                      <a:pt x="908" y="550"/>
                    </a:lnTo>
                    <a:lnTo>
                      <a:pt x="904" y="546"/>
                    </a:lnTo>
                    <a:lnTo>
                      <a:pt x="904" y="546"/>
                    </a:lnTo>
                    <a:lnTo>
                      <a:pt x="904" y="546"/>
                    </a:lnTo>
                    <a:lnTo>
                      <a:pt x="902" y="544"/>
                    </a:lnTo>
                    <a:lnTo>
                      <a:pt x="902" y="544"/>
                    </a:lnTo>
                    <a:lnTo>
                      <a:pt x="902" y="544"/>
                    </a:lnTo>
                    <a:lnTo>
                      <a:pt x="898" y="544"/>
                    </a:lnTo>
                    <a:lnTo>
                      <a:pt x="898" y="544"/>
                    </a:lnTo>
                    <a:lnTo>
                      <a:pt x="896" y="544"/>
                    </a:lnTo>
                    <a:lnTo>
                      <a:pt x="896" y="544"/>
                    </a:lnTo>
                    <a:lnTo>
                      <a:pt x="896" y="546"/>
                    </a:lnTo>
                    <a:lnTo>
                      <a:pt x="894" y="548"/>
                    </a:lnTo>
                    <a:lnTo>
                      <a:pt x="894" y="550"/>
                    </a:lnTo>
                    <a:lnTo>
                      <a:pt x="894" y="552"/>
                    </a:lnTo>
                    <a:lnTo>
                      <a:pt x="892" y="554"/>
                    </a:lnTo>
                    <a:lnTo>
                      <a:pt x="892" y="554"/>
                    </a:lnTo>
                    <a:lnTo>
                      <a:pt x="892" y="556"/>
                    </a:lnTo>
                    <a:lnTo>
                      <a:pt x="892" y="560"/>
                    </a:lnTo>
                    <a:lnTo>
                      <a:pt x="892" y="562"/>
                    </a:lnTo>
                    <a:lnTo>
                      <a:pt x="892" y="562"/>
                    </a:lnTo>
                    <a:lnTo>
                      <a:pt x="890" y="564"/>
                    </a:lnTo>
                    <a:lnTo>
                      <a:pt x="890" y="566"/>
                    </a:lnTo>
                    <a:lnTo>
                      <a:pt x="890" y="566"/>
                    </a:lnTo>
                    <a:lnTo>
                      <a:pt x="890" y="566"/>
                    </a:lnTo>
                    <a:lnTo>
                      <a:pt x="890" y="568"/>
                    </a:lnTo>
                    <a:lnTo>
                      <a:pt x="890" y="568"/>
                    </a:lnTo>
                    <a:lnTo>
                      <a:pt x="888" y="570"/>
                    </a:lnTo>
                    <a:lnTo>
                      <a:pt x="890" y="570"/>
                    </a:lnTo>
                    <a:lnTo>
                      <a:pt x="890" y="570"/>
                    </a:lnTo>
                    <a:lnTo>
                      <a:pt x="890" y="572"/>
                    </a:lnTo>
                    <a:lnTo>
                      <a:pt x="890" y="574"/>
                    </a:lnTo>
                    <a:close/>
                    <a:moveTo>
                      <a:pt x="884" y="626"/>
                    </a:moveTo>
                    <a:lnTo>
                      <a:pt x="884" y="626"/>
                    </a:lnTo>
                    <a:lnTo>
                      <a:pt x="884" y="626"/>
                    </a:lnTo>
                    <a:lnTo>
                      <a:pt x="882" y="628"/>
                    </a:lnTo>
                    <a:lnTo>
                      <a:pt x="882" y="628"/>
                    </a:lnTo>
                    <a:lnTo>
                      <a:pt x="882" y="628"/>
                    </a:lnTo>
                    <a:lnTo>
                      <a:pt x="880" y="632"/>
                    </a:lnTo>
                    <a:lnTo>
                      <a:pt x="880" y="632"/>
                    </a:lnTo>
                    <a:lnTo>
                      <a:pt x="880" y="632"/>
                    </a:lnTo>
                    <a:lnTo>
                      <a:pt x="880" y="634"/>
                    </a:lnTo>
                    <a:lnTo>
                      <a:pt x="880" y="634"/>
                    </a:lnTo>
                    <a:lnTo>
                      <a:pt x="880" y="636"/>
                    </a:lnTo>
                    <a:lnTo>
                      <a:pt x="880" y="638"/>
                    </a:lnTo>
                    <a:lnTo>
                      <a:pt x="880" y="642"/>
                    </a:lnTo>
                    <a:lnTo>
                      <a:pt x="882" y="646"/>
                    </a:lnTo>
                    <a:lnTo>
                      <a:pt x="882" y="650"/>
                    </a:lnTo>
                    <a:lnTo>
                      <a:pt x="882" y="650"/>
                    </a:lnTo>
                    <a:lnTo>
                      <a:pt x="884" y="652"/>
                    </a:lnTo>
                    <a:lnTo>
                      <a:pt x="884" y="652"/>
                    </a:lnTo>
                    <a:lnTo>
                      <a:pt x="886" y="652"/>
                    </a:lnTo>
                    <a:lnTo>
                      <a:pt x="890" y="652"/>
                    </a:lnTo>
                    <a:lnTo>
                      <a:pt x="890" y="652"/>
                    </a:lnTo>
                    <a:lnTo>
                      <a:pt x="892" y="652"/>
                    </a:lnTo>
                    <a:lnTo>
                      <a:pt x="894" y="648"/>
                    </a:lnTo>
                    <a:lnTo>
                      <a:pt x="894" y="648"/>
                    </a:lnTo>
                    <a:lnTo>
                      <a:pt x="896" y="648"/>
                    </a:lnTo>
                    <a:lnTo>
                      <a:pt x="896" y="646"/>
                    </a:lnTo>
                    <a:lnTo>
                      <a:pt x="896" y="646"/>
                    </a:lnTo>
                    <a:lnTo>
                      <a:pt x="898" y="644"/>
                    </a:lnTo>
                    <a:lnTo>
                      <a:pt x="898" y="640"/>
                    </a:lnTo>
                    <a:lnTo>
                      <a:pt x="898" y="640"/>
                    </a:lnTo>
                    <a:lnTo>
                      <a:pt x="898" y="640"/>
                    </a:lnTo>
                    <a:lnTo>
                      <a:pt x="898" y="636"/>
                    </a:lnTo>
                    <a:lnTo>
                      <a:pt x="898" y="636"/>
                    </a:lnTo>
                    <a:lnTo>
                      <a:pt x="898" y="636"/>
                    </a:lnTo>
                    <a:lnTo>
                      <a:pt x="896" y="632"/>
                    </a:lnTo>
                    <a:lnTo>
                      <a:pt x="896" y="632"/>
                    </a:lnTo>
                    <a:lnTo>
                      <a:pt x="896" y="632"/>
                    </a:lnTo>
                    <a:lnTo>
                      <a:pt x="894" y="628"/>
                    </a:lnTo>
                    <a:lnTo>
                      <a:pt x="894" y="628"/>
                    </a:lnTo>
                    <a:lnTo>
                      <a:pt x="894" y="628"/>
                    </a:lnTo>
                    <a:lnTo>
                      <a:pt x="892" y="624"/>
                    </a:lnTo>
                    <a:lnTo>
                      <a:pt x="892" y="624"/>
                    </a:lnTo>
                    <a:lnTo>
                      <a:pt x="890" y="622"/>
                    </a:lnTo>
                    <a:lnTo>
                      <a:pt x="890" y="622"/>
                    </a:lnTo>
                    <a:lnTo>
                      <a:pt x="888" y="622"/>
                    </a:lnTo>
                    <a:lnTo>
                      <a:pt x="884" y="626"/>
                    </a:lnTo>
                    <a:close/>
                    <a:moveTo>
                      <a:pt x="892" y="732"/>
                    </a:moveTo>
                    <a:lnTo>
                      <a:pt x="892" y="734"/>
                    </a:lnTo>
                    <a:lnTo>
                      <a:pt x="892" y="736"/>
                    </a:lnTo>
                    <a:lnTo>
                      <a:pt x="892" y="738"/>
                    </a:lnTo>
                    <a:lnTo>
                      <a:pt x="892" y="738"/>
                    </a:lnTo>
                    <a:lnTo>
                      <a:pt x="894" y="740"/>
                    </a:lnTo>
                    <a:lnTo>
                      <a:pt x="898" y="742"/>
                    </a:lnTo>
                    <a:lnTo>
                      <a:pt x="902" y="744"/>
                    </a:lnTo>
                    <a:lnTo>
                      <a:pt x="904" y="744"/>
                    </a:lnTo>
                    <a:lnTo>
                      <a:pt x="904" y="744"/>
                    </a:lnTo>
                    <a:lnTo>
                      <a:pt x="906" y="744"/>
                    </a:lnTo>
                    <a:lnTo>
                      <a:pt x="908" y="746"/>
                    </a:lnTo>
                    <a:lnTo>
                      <a:pt x="908" y="746"/>
                    </a:lnTo>
                    <a:lnTo>
                      <a:pt x="908" y="744"/>
                    </a:lnTo>
                    <a:lnTo>
                      <a:pt x="910" y="744"/>
                    </a:lnTo>
                    <a:lnTo>
                      <a:pt x="910" y="744"/>
                    </a:lnTo>
                    <a:lnTo>
                      <a:pt x="912" y="742"/>
                    </a:lnTo>
                    <a:lnTo>
                      <a:pt x="912" y="740"/>
                    </a:lnTo>
                    <a:lnTo>
                      <a:pt x="912" y="740"/>
                    </a:lnTo>
                    <a:lnTo>
                      <a:pt x="912" y="740"/>
                    </a:lnTo>
                    <a:lnTo>
                      <a:pt x="914" y="736"/>
                    </a:lnTo>
                    <a:lnTo>
                      <a:pt x="914" y="734"/>
                    </a:lnTo>
                    <a:lnTo>
                      <a:pt x="914" y="732"/>
                    </a:lnTo>
                    <a:lnTo>
                      <a:pt x="916" y="732"/>
                    </a:lnTo>
                    <a:lnTo>
                      <a:pt x="918" y="730"/>
                    </a:lnTo>
                    <a:lnTo>
                      <a:pt x="920" y="728"/>
                    </a:lnTo>
                    <a:lnTo>
                      <a:pt x="924" y="726"/>
                    </a:lnTo>
                    <a:lnTo>
                      <a:pt x="928" y="722"/>
                    </a:lnTo>
                    <a:lnTo>
                      <a:pt x="930" y="720"/>
                    </a:lnTo>
                    <a:lnTo>
                      <a:pt x="932" y="718"/>
                    </a:lnTo>
                    <a:lnTo>
                      <a:pt x="932" y="716"/>
                    </a:lnTo>
                    <a:lnTo>
                      <a:pt x="932" y="716"/>
                    </a:lnTo>
                    <a:lnTo>
                      <a:pt x="934" y="714"/>
                    </a:lnTo>
                    <a:lnTo>
                      <a:pt x="934" y="714"/>
                    </a:lnTo>
                    <a:lnTo>
                      <a:pt x="934" y="714"/>
                    </a:lnTo>
                    <a:lnTo>
                      <a:pt x="934" y="712"/>
                    </a:lnTo>
                    <a:lnTo>
                      <a:pt x="934" y="710"/>
                    </a:lnTo>
                    <a:lnTo>
                      <a:pt x="934" y="710"/>
                    </a:lnTo>
                    <a:lnTo>
                      <a:pt x="934" y="710"/>
                    </a:lnTo>
                    <a:lnTo>
                      <a:pt x="934" y="708"/>
                    </a:lnTo>
                    <a:lnTo>
                      <a:pt x="934" y="708"/>
                    </a:lnTo>
                    <a:lnTo>
                      <a:pt x="932" y="708"/>
                    </a:lnTo>
                    <a:lnTo>
                      <a:pt x="932" y="706"/>
                    </a:lnTo>
                    <a:lnTo>
                      <a:pt x="932" y="706"/>
                    </a:lnTo>
                    <a:lnTo>
                      <a:pt x="930" y="706"/>
                    </a:lnTo>
                    <a:lnTo>
                      <a:pt x="928" y="704"/>
                    </a:lnTo>
                    <a:lnTo>
                      <a:pt x="928" y="704"/>
                    </a:lnTo>
                    <a:lnTo>
                      <a:pt x="928" y="704"/>
                    </a:lnTo>
                    <a:lnTo>
                      <a:pt x="920" y="704"/>
                    </a:lnTo>
                    <a:lnTo>
                      <a:pt x="912" y="704"/>
                    </a:lnTo>
                    <a:lnTo>
                      <a:pt x="904" y="704"/>
                    </a:lnTo>
                    <a:lnTo>
                      <a:pt x="898" y="704"/>
                    </a:lnTo>
                    <a:lnTo>
                      <a:pt x="898" y="704"/>
                    </a:lnTo>
                    <a:lnTo>
                      <a:pt x="896" y="704"/>
                    </a:lnTo>
                    <a:lnTo>
                      <a:pt x="894" y="706"/>
                    </a:lnTo>
                    <a:lnTo>
                      <a:pt x="894" y="710"/>
                    </a:lnTo>
                    <a:lnTo>
                      <a:pt x="894" y="714"/>
                    </a:lnTo>
                    <a:lnTo>
                      <a:pt x="894" y="718"/>
                    </a:lnTo>
                    <a:lnTo>
                      <a:pt x="892" y="720"/>
                    </a:lnTo>
                    <a:lnTo>
                      <a:pt x="892" y="722"/>
                    </a:lnTo>
                    <a:lnTo>
                      <a:pt x="892" y="724"/>
                    </a:lnTo>
                    <a:lnTo>
                      <a:pt x="892" y="726"/>
                    </a:lnTo>
                    <a:lnTo>
                      <a:pt x="892" y="728"/>
                    </a:lnTo>
                    <a:lnTo>
                      <a:pt x="892" y="730"/>
                    </a:lnTo>
                    <a:lnTo>
                      <a:pt x="892" y="732"/>
                    </a:lnTo>
                    <a:close/>
                    <a:moveTo>
                      <a:pt x="1166" y="894"/>
                    </a:moveTo>
                    <a:lnTo>
                      <a:pt x="1166" y="894"/>
                    </a:lnTo>
                    <a:lnTo>
                      <a:pt x="1166" y="894"/>
                    </a:lnTo>
                    <a:lnTo>
                      <a:pt x="1164" y="894"/>
                    </a:lnTo>
                    <a:lnTo>
                      <a:pt x="1164" y="894"/>
                    </a:lnTo>
                    <a:lnTo>
                      <a:pt x="1162" y="894"/>
                    </a:lnTo>
                    <a:lnTo>
                      <a:pt x="1162" y="892"/>
                    </a:lnTo>
                    <a:lnTo>
                      <a:pt x="1162" y="892"/>
                    </a:lnTo>
                    <a:lnTo>
                      <a:pt x="1160" y="892"/>
                    </a:lnTo>
                    <a:lnTo>
                      <a:pt x="1158" y="890"/>
                    </a:lnTo>
                    <a:lnTo>
                      <a:pt x="1156" y="888"/>
                    </a:lnTo>
                    <a:lnTo>
                      <a:pt x="1154" y="886"/>
                    </a:lnTo>
                    <a:lnTo>
                      <a:pt x="1152" y="884"/>
                    </a:lnTo>
                    <a:lnTo>
                      <a:pt x="1150" y="882"/>
                    </a:lnTo>
                    <a:lnTo>
                      <a:pt x="1148" y="880"/>
                    </a:lnTo>
                    <a:lnTo>
                      <a:pt x="1144" y="876"/>
                    </a:lnTo>
                    <a:lnTo>
                      <a:pt x="1144" y="876"/>
                    </a:lnTo>
                    <a:lnTo>
                      <a:pt x="1144" y="876"/>
                    </a:lnTo>
                    <a:lnTo>
                      <a:pt x="1142" y="876"/>
                    </a:lnTo>
                    <a:lnTo>
                      <a:pt x="1142" y="876"/>
                    </a:lnTo>
                    <a:lnTo>
                      <a:pt x="1140" y="876"/>
                    </a:lnTo>
                    <a:lnTo>
                      <a:pt x="1138" y="874"/>
                    </a:lnTo>
                    <a:lnTo>
                      <a:pt x="1138" y="874"/>
                    </a:lnTo>
                    <a:lnTo>
                      <a:pt x="1138" y="874"/>
                    </a:lnTo>
                    <a:lnTo>
                      <a:pt x="1134" y="876"/>
                    </a:lnTo>
                    <a:lnTo>
                      <a:pt x="1132" y="876"/>
                    </a:lnTo>
                    <a:lnTo>
                      <a:pt x="1130" y="878"/>
                    </a:lnTo>
                    <a:lnTo>
                      <a:pt x="1128" y="878"/>
                    </a:lnTo>
                    <a:lnTo>
                      <a:pt x="1124" y="880"/>
                    </a:lnTo>
                    <a:lnTo>
                      <a:pt x="1124" y="880"/>
                    </a:lnTo>
                    <a:lnTo>
                      <a:pt x="1124" y="882"/>
                    </a:lnTo>
                    <a:lnTo>
                      <a:pt x="1124" y="882"/>
                    </a:lnTo>
                    <a:lnTo>
                      <a:pt x="1124" y="884"/>
                    </a:lnTo>
                    <a:lnTo>
                      <a:pt x="1128" y="888"/>
                    </a:lnTo>
                    <a:lnTo>
                      <a:pt x="1130" y="890"/>
                    </a:lnTo>
                    <a:lnTo>
                      <a:pt x="1136" y="894"/>
                    </a:lnTo>
                    <a:lnTo>
                      <a:pt x="1138" y="894"/>
                    </a:lnTo>
                    <a:lnTo>
                      <a:pt x="1138" y="896"/>
                    </a:lnTo>
                    <a:lnTo>
                      <a:pt x="1138" y="896"/>
                    </a:lnTo>
                    <a:lnTo>
                      <a:pt x="1138" y="896"/>
                    </a:lnTo>
                    <a:lnTo>
                      <a:pt x="1140" y="898"/>
                    </a:lnTo>
                    <a:lnTo>
                      <a:pt x="1140" y="898"/>
                    </a:lnTo>
                    <a:lnTo>
                      <a:pt x="1140" y="898"/>
                    </a:lnTo>
                    <a:lnTo>
                      <a:pt x="1142" y="900"/>
                    </a:lnTo>
                    <a:lnTo>
                      <a:pt x="1142" y="900"/>
                    </a:lnTo>
                    <a:lnTo>
                      <a:pt x="1142" y="900"/>
                    </a:lnTo>
                    <a:lnTo>
                      <a:pt x="1146" y="900"/>
                    </a:lnTo>
                    <a:lnTo>
                      <a:pt x="1148" y="900"/>
                    </a:lnTo>
                    <a:lnTo>
                      <a:pt x="1150" y="902"/>
                    </a:lnTo>
                    <a:lnTo>
                      <a:pt x="1150" y="902"/>
                    </a:lnTo>
                    <a:lnTo>
                      <a:pt x="1150" y="902"/>
                    </a:lnTo>
                    <a:lnTo>
                      <a:pt x="1158" y="902"/>
                    </a:lnTo>
                    <a:lnTo>
                      <a:pt x="1164" y="900"/>
                    </a:lnTo>
                    <a:lnTo>
                      <a:pt x="1164" y="900"/>
                    </a:lnTo>
                    <a:lnTo>
                      <a:pt x="1166" y="900"/>
                    </a:lnTo>
                    <a:lnTo>
                      <a:pt x="1166" y="898"/>
                    </a:lnTo>
                    <a:lnTo>
                      <a:pt x="1166" y="898"/>
                    </a:lnTo>
                    <a:lnTo>
                      <a:pt x="1168" y="898"/>
                    </a:lnTo>
                    <a:lnTo>
                      <a:pt x="1168" y="896"/>
                    </a:lnTo>
                    <a:lnTo>
                      <a:pt x="1166" y="896"/>
                    </a:lnTo>
                    <a:lnTo>
                      <a:pt x="1166" y="896"/>
                    </a:lnTo>
                    <a:lnTo>
                      <a:pt x="1166" y="894"/>
                    </a:lnTo>
                    <a:lnTo>
                      <a:pt x="1166" y="89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7" name="Freeform 27">
                <a:extLst>
                  <a:ext uri="{FF2B5EF4-FFF2-40B4-BE49-F238E27FC236}">
                    <a16:creationId xmlns:a16="http://schemas.microsoft.com/office/drawing/2014/main" id="{B1F34D88-709B-424E-B12B-6D62150ADD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63" y="1761332"/>
                <a:ext cx="2694475" cy="1976436"/>
              </a:xfrm>
              <a:custGeom>
                <a:avLst/>
                <a:gdLst>
                  <a:gd name="T0" fmla="*/ 300 w 1672"/>
                  <a:gd name="T1" fmla="*/ 1176 h 1238"/>
                  <a:gd name="T2" fmla="*/ 310 w 1672"/>
                  <a:gd name="T3" fmla="*/ 1196 h 1238"/>
                  <a:gd name="T4" fmla="*/ 356 w 1672"/>
                  <a:gd name="T5" fmla="*/ 1236 h 1238"/>
                  <a:gd name="T6" fmla="*/ 1656 w 1672"/>
                  <a:gd name="T7" fmla="*/ 728 h 1238"/>
                  <a:gd name="T8" fmla="*/ 1628 w 1672"/>
                  <a:gd name="T9" fmla="*/ 750 h 1238"/>
                  <a:gd name="T10" fmla="*/ 1532 w 1672"/>
                  <a:gd name="T11" fmla="*/ 788 h 1238"/>
                  <a:gd name="T12" fmla="*/ 1432 w 1672"/>
                  <a:gd name="T13" fmla="*/ 848 h 1238"/>
                  <a:gd name="T14" fmla="*/ 1432 w 1672"/>
                  <a:gd name="T15" fmla="*/ 796 h 1238"/>
                  <a:gd name="T16" fmla="*/ 1410 w 1672"/>
                  <a:gd name="T17" fmla="*/ 758 h 1238"/>
                  <a:gd name="T18" fmla="*/ 1366 w 1672"/>
                  <a:gd name="T19" fmla="*/ 840 h 1238"/>
                  <a:gd name="T20" fmla="*/ 1400 w 1672"/>
                  <a:gd name="T21" fmla="*/ 746 h 1238"/>
                  <a:gd name="T22" fmla="*/ 1324 w 1672"/>
                  <a:gd name="T23" fmla="*/ 722 h 1238"/>
                  <a:gd name="T24" fmla="*/ 1238 w 1672"/>
                  <a:gd name="T25" fmla="*/ 702 h 1238"/>
                  <a:gd name="T26" fmla="*/ 860 w 1672"/>
                  <a:gd name="T27" fmla="*/ 704 h 1238"/>
                  <a:gd name="T28" fmla="*/ 814 w 1672"/>
                  <a:gd name="T29" fmla="*/ 738 h 1238"/>
                  <a:gd name="T30" fmla="*/ 886 w 1672"/>
                  <a:gd name="T31" fmla="*/ 992 h 1238"/>
                  <a:gd name="T32" fmla="*/ 954 w 1672"/>
                  <a:gd name="T33" fmla="*/ 1004 h 1238"/>
                  <a:gd name="T34" fmla="*/ 1052 w 1672"/>
                  <a:gd name="T35" fmla="*/ 1034 h 1238"/>
                  <a:gd name="T36" fmla="*/ 1130 w 1672"/>
                  <a:gd name="T37" fmla="*/ 1068 h 1238"/>
                  <a:gd name="T38" fmla="*/ 1184 w 1672"/>
                  <a:gd name="T39" fmla="*/ 1116 h 1238"/>
                  <a:gd name="T40" fmla="*/ 1246 w 1672"/>
                  <a:gd name="T41" fmla="*/ 1072 h 1238"/>
                  <a:gd name="T42" fmla="*/ 1350 w 1672"/>
                  <a:gd name="T43" fmla="*/ 1056 h 1238"/>
                  <a:gd name="T44" fmla="*/ 1412 w 1672"/>
                  <a:gd name="T45" fmla="*/ 1056 h 1238"/>
                  <a:gd name="T46" fmla="*/ 1466 w 1672"/>
                  <a:gd name="T47" fmla="*/ 1138 h 1238"/>
                  <a:gd name="T48" fmla="*/ 1452 w 1672"/>
                  <a:gd name="T49" fmla="*/ 1036 h 1238"/>
                  <a:gd name="T50" fmla="*/ 1546 w 1672"/>
                  <a:gd name="T51" fmla="*/ 912 h 1238"/>
                  <a:gd name="T52" fmla="*/ 1632 w 1672"/>
                  <a:gd name="T53" fmla="*/ 848 h 1238"/>
                  <a:gd name="T54" fmla="*/ 1640 w 1672"/>
                  <a:gd name="T55" fmla="*/ 796 h 1238"/>
                  <a:gd name="T56" fmla="*/ 678 w 1672"/>
                  <a:gd name="T57" fmla="*/ 506 h 1238"/>
                  <a:gd name="T58" fmla="*/ 622 w 1672"/>
                  <a:gd name="T59" fmla="*/ 436 h 1238"/>
                  <a:gd name="T60" fmla="*/ 582 w 1672"/>
                  <a:gd name="T61" fmla="*/ 430 h 1238"/>
                  <a:gd name="T62" fmla="*/ 572 w 1672"/>
                  <a:gd name="T63" fmla="*/ 324 h 1238"/>
                  <a:gd name="T64" fmla="*/ 576 w 1672"/>
                  <a:gd name="T65" fmla="*/ 66 h 1238"/>
                  <a:gd name="T66" fmla="*/ 458 w 1672"/>
                  <a:gd name="T67" fmla="*/ 38 h 1238"/>
                  <a:gd name="T68" fmla="*/ 388 w 1672"/>
                  <a:gd name="T69" fmla="*/ 22 h 1238"/>
                  <a:gd name="T70" fmla="*/ 356 w 1672"/>
                  <a:gd name="T71" fmla="*/ 2 h 1238"/>
                  <a:gd name="T72" fmla="*/ 300 w 1672"/>
                  <a:gd name="T73" fmla="*/ 26 h 1238"/>
                  <a:gd name="T74" fmla="*/ 256 w 1672"/>
                  <a:gd name="T75" fmla="*/ 54 h 1238"/>
                  <a:gd name="T76" fmla="*/ 194 w 1672"/>
                  <a:gd name="T77" fmla="*/ 118 h 1238"/>
                  <a:gd name="T78" fmla="*/ 228 w 1672"/>
                  <a:gd name="T79" fmla="*/ 180 h 1238"/>
                  <a:gd name="T80" fmla="*/ 238 w 1672"/>
                  <a:gd name="T81" fmla="*/ 222 h 1238"/>
                  <a:gd name="T82" fmla="*/ 166 w 1672"/>
                  <a:gd name="T83" fmla="*/ 236 h 1238"/>
                  <a:gd name="T84" fmla="*/ 204 w 1672"/>
                  <a:gd name="T85" fmla="*/ 276 h 1238"/>
                  <a:gd name="T86" fmla="*/ 274 w 1672"/>
                  <a:gd name="T87" fmla="*/ 306 h 1238"/>
                  <a:gd name="T88" fmla="*/ 206 w 1672"/>
                  <a:gd name="T89" fmla="*/ 378 h 1238"/>
                  <a:gd name="T90" fmla="*/ 210 w 1672"/>
                  <a:gd name="T91" fmla="*/ 406 h 1238"/>
                  <a:gd name="T92" fmla="*/ 252 w 1672"/>
                  <a:gd name="T93" fmla="*/ 448 h 1238"/>
                  <a:gd name="T94" fmla="*/ 304 w 1672"/>
                  <a:gd name="T95" fmla="*/ 464 h 1238"/>
                  <a:gd name="T96" fmla="*/ 274 w 1672"/>
                  <a:gd name="T97" fmla="*/ 516 h 1238"/>
                  <a:gd name="T98" fmla="*/ 160 w 1672"/>
                  <a:gd name="T99" fmla="*/ 580 h 1238"/>
                  <a:gd name="T100" fmla="*/ 28 w 1672"/>
                  <a:gd name="T101" fmla="*/ 616 h 1238"/>
                  <a:gd name="T102" fmla="*/ 116 w 1672"/>
                  <a:gd name="T103" fmla="*/ 614 h 1238"/>
                  <a:gd name="T104" fmla="*/ 196 w 1672"/>
                  <a:gd name="T105" fmla="*/ 594 h 1238"/>
                  <a:gd name="T106" fmla="*/ 386 w 1672"/>
                  <a:gd name="T107" fmla="*/ 442 h 1238"/>
                  <a:gd name="T108" fmla="*/ 382 w 1672"/>
                  <a:gd name="T109" fmla="*/ 474 h 1238"/>
                  <a:gd name="T110" fmla="*/ 488 w 1672"/>
                  <a:gd name="T111" fmla="*/ 414 h 1238"/>
                  <a:gd name="T112" fmla="*/ 538 w 1672"/>
                  <a:gd name="T113" fmla="*/ 418 h 1238"/>
                  <a:gd name="T114" fmla="*/ 598 w 1672"/>
                  <a:gd name="T115" fmla="*/ 466 h 1238"/>
                  <a:gd name="T116" fmla="*/ 624 w 1672"/>
                  <a:gd name="T117" fmla="*/ 510 h 1238"/>
                  <a:gd name="T118" fmla="*/ 634 w 1672"/>
                  <a:gd name="T119" fmla="*/ 482 h 1238"/>
                  <a:gd name="T120" fmla="*/ 642 w 1672"/>
                  <a:gd name="T121" fmla="*/ 510 h 1238"/>
                  <a:gd name="T122" fmla="*/ 648 w 1672"/>
                  <a:gd name="T123" fmla="*/ 548 h 1238"/>
                  <a:gd name="T124" fmla="*/ 688 w 1672"/>
                  <a:gd name="T125" fmla="*/ 520 h 1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2" h="1238">
                    <a:moveTo>
                      <a:pt x="370" y="1220"/>
                    </a:moveTo>
                    <a:lnTo>
                      <a:pt x="366" y="1216"/>
                    </a:lnTo>
                    <a:lnTo>
                      <a:pt x="364" y="1212"/>
                    </a:lnTo>
                    <a:lnTo>
                      <a:pt x="362" y="1210"/>
                    </a:lnTo>
                    <a:lnTo>
                      <a:pt x="360" y="1208"/>
                    </a:lnTo>
                    <a:lnTo>
                      <a:pt x="358" y="1204"/>
                    </a:lnTo>
                    <a:lnTo>
                      <a:pt x="356" y="1200"/>
                    </a:lnTo>
                    <a:lnTo>
                      <a:pt x="354" y="1194"/>
                    </a:lnTo>
                    <a:lnTo>
                      <a:pt x="354" y="1194"/>
                    </a:lnTo>
                    <a:lnTo>
                      <a:pt x="352" y="1192"/>
                    </a:lnTo>
                    <a:lnTo>
                      <a:pt x="348" y="1190"/>
                    </a:lnTo>
                    <a:lnTo>
                      <a:pt x="342" y="1188"/>
                    </a:lnTo>
                    <a:lnTo>
                      <a:pt x="338" y="1186"/>
                    </a:lnTo>
                    <a:lnTo>
                      <a:pt x="332" y="1186"/>
                    </a:lnTo>
                    <a:lnTo>
                      <a:pt x="328" y="1186"/>
                    </a:lnTo>
                    <a:lnTo>
                      <a:pt x="322" y="1186"/>
                    </a:lnTo>
                    <a:lnTo>
                      <a:pt x="316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2"/>
                    </a:lnTo>
                    <a:lnTo>
                      <a:pt x="308" y="1182"/>
                    </a:lnTo>
                    <a:lnTo>
                      <a:pt x="308" y="1182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6" y="1178"/>
                    </a:lnTo>
                    <a:lnTo>
                      <a:pt x="306" y="1178"/>
                    </a:lnTo>
                    <a:lnTo>
                      <a:pt x="306" y="1178"/>
                    </a:lnTo>
                    <a:lnTo>
                      <a:pt x="304" y="1178"/>
                    </a:lnTo>
                    <a:lnTo>
                      <a:pt x="304" y="1178"/>
                    </a:lnTo>
                    <a:lnTo>
                      <a:pt x="304" y="1176"/>
                    </a:lnTo>
                    <a:lnTo>
                      <a:pt x="300" y="1176"/>
                    </a:lnTo>
                    <a:lnTo>
                      <a:pt x="300" y="1176"/>
                    </a:lnTo>
                    <a:lnTo>
                      <a:pt x="298" y="1176"/>
                    </a:lnTo>
                    <a:lnTo>
                      <a:pt x="294" y="1176"/>
                    </a:lnTo>
                    <a:lnTo>
                      <a:pt x="294" y="1176"/>
                    </a:lnTo>
                    <a:lnTo>
                      <a:pt x="292" y="1176"/>
                    </a:lnTo>
                    <a:lnTo>
                      <a:pt x="290" y="1178"/>
                    </a:lnTo>
                    <a:lnTo>
                      <a:pt x="286" y="1180"/>
                    </a:lnTo>
                    <a:lnTo>
                      <a:pt x="284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78" y="1182"/>
                    </a:lnTo>
                    <a:lnTo>
                      <a:pt x="278" y="1182"/>
                    </a:lnTo>
                    <a:lnTo>
                      <a:pt x="278" y="1182"/>
                    </a:lnTo>
                    <a:lnTo>
                      <a:pt x="278" y="1184"/>
                    </a:lnTo>
                    <a:lnTo>
                      <a:pt x="278" y="1184"/>
                    </a:lnTo>
                    <a:lnTo>
                      <a:pt x="278" y="1184"/>
                    </a:lnTo>
                    <a:lnTo>
                      <a:pt x="278" y="1186"/>
                    </a:lnTo>
                    <a:lnTo>
                      <a:pt x="276" y="1188"/>
                    </a:lnTo>
                    <a:lnTo>
                      <a:pt x="276" y="1188"/>
                    </a:lnTo>
                    <a:lnTo>
                      <a:pt x="278" y="1192"/>
                    </a:lnTo>
                    <a:lnTo>
                      <a:pt x="278" y="1192"/>
                    </a:lnTo>
                    <a:lnTo>
                      <a:pt x="280" y="1192"/>
                    </a:lnTo>
                    <a:lnTo>
                      <a:pt x="286" y="1192"/>
                    </a:lnTo>
                    <a:lnTo>
                      <a:pt x="292" y="1192"/>
                    </a:lnTo>
                    <a:lnTo>
                      <a:pt x="298" y="1192"/>
                    </a:lnTo>
                    <a:lnTo>
                      <a:pt x="304" y="1190"/>
                    </a:lnTo>
                    <a:lnTo>
                      <a:pt x="304" y="1190"/>
                    </a:lnTo>
                    <a:lnTo>
                      <a:pt x="304" y="1190"/>
                    </a:lnTo>
                    <a:lnTo>
                      <a:pt x="306" y="1190"/>
                    </a:lnTo>
                    <a:lnTo>
                      <a:pt x="306" y="1190"/>
                    </a:lnTo>
                    <a:lnTo>
                      <a:pt x="308" y="1190"/>
                    </a:lnTo>
                    <a:lnTo>
                      <a:pt x="308" y="1188"/>
                    </a:lnTo>
                    <a:lnTo>
                      <a:pt x="308" y="1192"/>
                    </a:lnTo>
                    <a:lnTo>
                      <a:pt x="310" y="1194"/>
                    </a:lnTo>
                    <a:lnTo>
                      <a:pt x="310" y="1196"/>
                    </a:lnTo>
                    <a:lnTo>
                      <a:pt x="310" y="1196"/>
                    </a:lnTo>
                    <a:lnTo>
                      <a:pt x="310" y="1196"/>
                    </a:lnTo>
                    <a:lnTo>
                      <a:pt x="312" y="1198"/>
                    </a:lnTo>
                    <a:lnTo>
                      <a:pt x="312" y="1198"/>
                    </a:lnTo>
                    <a:lnTo>
                      <a:pt x="312" y="1198"/>
                    </a:lnTo>
                    <a:lnTo>
                      <a:pt x="314" y="1200"/>
                    </a:lnTo>
                    <a:lnTo>
                      <a:pt x="314" y="1200"/>
                    </a:lnTo>
                    <a:lnTo>
                      <a:pt x="314" y="1200"/>
                    </a:lnTo>
                    <a:lnTo>
                      <a:pt x="316" y="1202"/>
                    </a:lnTo>
                    <a:lnTo>
                      <a:pt x="318" y="1202"/>
                    </a:lnTo>
                    <a:lnTo>
                      <a:pt x="322" y="1204"/>
                    </a:lnTo>
                    <a:lnTo>
                      <a:pt x="322" y="1204"/>
                    </a:lnTo>
                    <a:lnTo>
                      <a:pt x="322" y="1204"/>
                    </a:lnTo>
                    <a:lnTo>
                      <a:pt x="324" y="1204"/>
                    </a:lnTo>
                    <a:lnTo>
                      <a:pt x="326" y="1206"/>
                    </a:lnTo>
                    <a:lnTo>
                      <a:pt x="330" y="1206"/>
                    </a:lnTo>
                    <a:lnTo>
                      <a:pt x="332" y="1208"/>
                    </a:lnTo>
                    <a:lnTo>
                      <a:pt x="334" y="1208"/>
                    </a:lnTo>
                    <a:lnTo>
                      <a:pt x="336" y="1210"/>
                    </a:lnTo>
                    <a:lnTo>
                      <a:pt x="336" y="1210"/>
                    </a:lnTo>
                    <a:lnTo>
                      <a:pt x="336" y="1212"/>
                    </a:lnTo>
                    <a:lnTo>
                      <a:pt x="338" y="1212"/>
                    </a:lnTo>
                    <a:lnTo>
                      <a:pt x="340" y="1214"/>
                    </a:lnTo>
                    <a:lnTo>
                      <a:pt x="342" y="1214"/>
                    </a:lnTo>
                    <a:lnTo>
                      <a:pt x="342" y="1216"/>
                    </a:lnTo>
                    <a:lnTo>
                      <a:pt x="344" y="1218"/>
                    </a:lnTo>
                    <a:lnTo>
                      <a:pt x="344" y="1222"/>
                    </a:lnTo>
                    <a:lnTo>
                      <a:pt x="344" y="1226"/>
                    </a:lnTo>
                    <a:lnTo>
                      <a:pt x="346" y="1230"/>
                    </a:lnTo>
                    <a:lnTo>
                      <a:pt x="346" y="1232"/>
                    </a:lnTo>
                    <a:lnTo>
                      <a:pt x="346" y="1232"/>
                    </a:lnTo>
                    <a:lnTo>
                      <a:pt x="348" y="1234"/>
                    </a:lnTo>
                    <a:lnTo>
                      <a:pt x="350" y="1236"/>
                    </a:lnTo>
                    <a:lnTo>
                      <a:pt x="350" y="1236"/>
                    </a:lnTo>
                    <a:lnTo>
                      <a:pt x="352" y="1238"/>
                    </a:lnTo>
                    <a:lnTo>
                      <a:pt x="352" y="1238"/>
                    </a:lnTo>
                    <a:lnTo>
                      <a:pt x="354" y="1238"/>
                    </a:lnTo>
                    <a:lnTo>
                      <a:pt x="356" y="1236"/>
                    </a:lnTo>
                    <a:lnTo>
                      <a:pt x="358" y="1234"/>
                    </a:lnTo>
                    <a:lnTo>
                      <a:pt x="362" y="1232"/>
                    </a:lnTo>
                    <a:lnTo>
                      <a:pt x="362" y="1232"/>
                    </a:lnTo>
                    <a:lnTo>
                      <a:pt x="364" y="1230"/>
                    </a:lnTo>
                    <a:lnTo>
                      <a:pt x="366" y="1230"/>
                    </a:lnTo>
                    <a:lnTo>
                      <a:pt x="368" y="1230"/>
                    </a:lnTo>
                    <a:lnTo>
                      <a:pt x="372" y="1228"/>
                    </a:lnTo>
                    <a:lnTo>
                      <a:pt x="372" y="1228"/>
                    </a:lnTo>
                    <a:lnTo>
                      <a:pt x="374" y="1226"/>
                    </a:lnTo>
                    <a:lnTo>
                      <a:pt x="374" y="1226"/>
                    </a:lnTo>
                    <a:lnTo>
                      <a:pt x="374" y="1224"/>
                    </a:lnTo>
                    <a:lnTo>
                      <a:pt x="370" y="1220"/>
                    </a:lnTo>
                    <a:close/>
                    <a:moveTo>
                      <a:pt x="1672" y="778"/>
                    </a:moveTo>
                    <a:lnTo>
                      <a:pt x="1672" y="778"/>
                    </a:lnTo>
                    <a:lnTo>
                      <a:pt x="1672" y="776"/>
                    </a:lnTo>
                    <a:lnTo>
                      <a:pt x="1670" y="774"/>
                    </a:lnTo>
                    <a:lnTo>
                      <a:pt x="1670" y="774"/>
                    </a:lnTo>
                    <a:lnTo>
                      <a:pt x="1670" y="774"/>
                    </a:lnTo>
                    <a:lnTo>
                      <a:pt x="1668" y="774"/>
                    </a:lnTo>
                    <a:lnTo>
                      <a:pt x="1666" y="772"/>
                    </a:lnTo>
                    <a:lnTo>
                      <a:pt x="1662" y="770"/>
                    </a:lnTo>
                    <a:lnTo>
                      <a:pt x="1662" y="768"/>
                    </a:lnTo>
                    <a:lnTo>
                      <a:pt x="1660" y="766"/>
                    </a:lnTo>
                    <a:lnTo>
                      <a:pt x="1660" y="764"/>
                    </a:lnTo>
                    <a:lnTo>
                      <a:pt x="1660" y="762"/>
                    </a:lnTo>
                    <a:lnTo>
                      <a:pt x="1660" y="754"/>
                    </a:lnTo>
                    <a:lnTo>
                      <a:pt x="1660" y="748"/>
                    </a:lnTo>
                    <a:lnTo>
                      <a:pt x="1660" y="744"/>
                    </a:lnTo>
                    <a:lnTo>
                      <a:pt x="1660" y="742"/>
                    </a:lnTo>
                    <a:lnTo>
                      <a:pt x="1660" y="738"/>
                    </a:lnTo>
                    <a:lnTo>
                      <a:pt x="1658" y="732"/>
                    </a:lnTo>
                    <a:lnTo>
                      <a:pt x="1658" y="730"/>
                    </a:lnTo>
                    <a:lnTo>
                      <a:pt x="1658" y="730"/>
                    </a:lnTo>
                    <a:lnTo>
                      <a:pt x="1658" y="730"/>
                    </a:lnTo>
                    <a:lnTo>
                      <a:pt x="1658" y="728"/>
                    </a:lnTo>
                    <a:lnTo>
                      <a:pt x="1656" y="728"/>
                    </a:lnTo>
                    <a:lnTo>
                      <a:pt x="1656" y="728"/>
                    </a:lnTo>
                    <a:lnTo>
                      <a:pt x="1656" y="726"/>
                    </a:lnTo>
                    <a:lnTo>
                      <a:pt x="1656" y="726"/>
                    </a:lnTo>
                    <a:lnTo>
                      <a:pt x="1656" y="726"/>
                    </a:lnTo>
                    <a:lnTo>
                      <a:pt x="1654" y="726"/>
                    </a:lnTo>
                    <a:lnTo>
                      <a:pt x="1652" y="726"/>
                    </a:lnTo>
                    <a:lnTo>
                      <a:pt x="1652" y="726"/>
                    </a:lnTo>
                    <a:lnTo>
                      <a:pt x="1652" y="726"/>
                    </a:lnTo>
                    <a:lnTo>
                      <a:pt x="1650" y="726"/>
                    </a:lnTo>
                    <a:lnTo>
                      <a:pt x="1650" y="726"/>
                    </a:lnTo>
                    <a:lnTo>
                      <a:pt x="1650" y="726"/>
                    </a:lnTo>
                    <a:lnTo>
                      <a:pt x="1648" y="728"/>
                    </a:lnTo>
                    <a:lnTo>
                      <a:pt x="1646" y="728"/>
                    </a:lnTo>
                    <a:lnTo>
                      <a:pt x="1644" y="730"/>
                    </a:lnTo>
                    <a:lnTo>
                      <a:pt x="1642" y="732"/>
                    </a:lnTo>
                    <a:lnTo>
                      <a:pt x="1642" y="732"/>
                    </a:lnTo>
                    <a:lnTo>
                      <a:pt x="1642" y="732"/>
                    </a:lnTo>
                    <a:lnTo>
                      <a:pt x="1640" y="730"/>
                    </a:lnTo>
                    <a:lnTo>
                      <a:pt x="1638" y="730"/>
                    </a:lnTo>
                    <a:lnTo>
                      <a:pt x="1636" y="728"/>
                    </a:lnTo>
                    <a:lnTo>
                      <a:pt x="1634" y="728"/>
                    </a:lnTo>
                    <a:lnTo>
                      <a:pt x="1634" y="728"/>
                    </a:lnTo>
                    <a:lnTo>
                      <a:pt x="1634" y="728"/>
                    </a:lnTo>
                    <a:lnTo>
                      <a:pt x="1632" y="728"/>
                    </a:lnTo>
                    <a:lnTo>
                      <a:pt x="1632" y="728"/>
                    </a:lnTo>
                    <a:lnTo>
                      <a:pt x="1630" y="728"/>
                    </a:lnTo>
                    <a:lnTo>
                      <a:pt x="1630" y="730"/>
                    </a:lnTo>
                    <a:lnTo>
                      <a:pt x="1630" y="730"/>
                    </a:lnTo>
                    <a:lnTo>
                      <a:pt x="1628" y="730"/>
                    </a:lnTo>
                    <a:lnTo>
                      <a:pt x="1628" y="732"/>
                    </a:lnTo>
                    <a:lnTo>
                      <a:pt x="1628" y="732"/>
                    </a:lnTo>
                    <a:lnTo>
                      <a:pt x="1628" y="732"/>
                    </a:lnTo>
                    <a:lnTo>
                      <a:pt x="1628" y="734"/>
                    </a:lnTo>
                    <a:lnTo>
                      <a:pt x="1628" y="738"/>
                    </a:lnTo>
                    <a:lnTo>
                      <a:pt x="1628" y="740"/>
                    </a:lnTo>
                    <a:lnTo>
                      <a:pt x="1628" y="746"/>
                    </a:lnTo>
                    <a:lnTo>
                      <a:pt x="1628" y="748"/>
                    </a:lnTo>
                    <a:lnTo>
                      <a:pt x="1628" y="750"/>
                    </a:lnTo>
                    <a:lnTo>
                      <a:pt x="1626" y="752"/>
                    </a:lnTo>
                    <a:lnTo>
                      <a:pt x="1626" y="752"/>
                    </a:lnTo>
                    <a:lnTo>
                      <a:pt x="1622" y="756"/>
                    </a:lnTo>
                    <a:lnTo>
                      <a:pt x="1618" y="758"/>
                    </a:lnTo>
                    <a:lnTo>
                      <a:pt x="1616" y="760"/>
                    </a:lnTo>
                    <a:lnTo>
                      <a:pt x="1614" y="762"/>
                    </a:lnTo>
                    <a:lnTo>
                      <a:pt x="1614" y="762"/>
                    </a:lnTo>
                    <a:lnTo>
                      <a:pt x="1614" y="762"/>
                    </a:lnTo>
                    <a:lnTo>
                      <a:pt x="1612" y="766"/>
                    </a:lnTo>
                    <a:lnTo>
                      <a:pt x="1608" y="772"/>
                    </a:lnTo>
                    <a:lnTo>
                      <a:pt x="1606" y="776"/>
                    </a:lnTo>
                    <a:lnTo>
                      <a:pt x="1606" y="776"/>
                    </a:lnTo>
                    <a:lnTo>
                      <a:pt x="1604" y="778"/>
                    </a:lnTo>
                    <a:lnTo>
                      <a:pt x="1602" y="778"/>
                    </a:lnTo>
                    <a:lnTo>
                      <a:pt x="1600" y="780"/>
                    </a:lnTo>
                    <a:lnTo>
                      <a:pt x="1596" y="780"/>
                    </a:lnTo>
                    <a:lnTo>
                      <a:pt x="1592" y="780"/>
                    </a:lnTo>
                    <a:lnTo>
                      <a:pt x="1584" y="780"/>
                    </a:lnTo>
                    <a:lnTo>
                      <a:pt x="1580" y="780"/>
                    </a:lnTo>
                    <a:lnTo>
                      <a:pt x="1578" y="780"/>
                    </a:lnTo>
                    <a:lnTo>
                      <a:pt x="1570" y="778"/>
                    </a:lnTo>
                    <a:lnTo>
                      <a:pt x="1564" y="778"/>
                    </a:lnTo>
                    <a:lnTo>
                      <a:pt x="1558" y="778"/>
                    </a:lnTo>
                    <a:lnTo>
                      <a:pt x="1554" y="778"/>
                    </a:lnTo>
                    <a:lnTo>
                      <a:pt x="1550" y="778"/>
                    </a:lnTo>
                    <a:lnTo>
                      <a:pt x="1548" y="778"/>
                    </a:lnTo>
                    <a:lnTo>
                      <a:pt x="1546" y="778"/>
                    </a:lnTo>
                    <a:lnTo>
                      <a:pt x="1542" y="780"/>
                    </a:lnTo>
                    <a:lnTo>
                      <a:pt x="1542" y="780"/>
                    </a:lnTo>
                    <a:lnTo>
                      <a:pt x="1542" y="780"/>
                    </a:lnTo>
                    <a:lnTo>
                      <a:pt x="1538" y="782"/>
                    </a:lnTo>
                    <a:lnTo>
                      <a:pt x="1538" y="784"/>
                    </a:lnTo>
                    <a:lnTo>
                      <a:pt x="1536" y="786"/>
                    </a:lnTo>
                    <a:lnTo>
                      <a:pt x="1534" y="786"/>
                    </a:lnTo>
                    <a:lnTo>
                      <a:pt x="1534" y="788"/>
                    </a:lnTo>
                    <a:lnTo>
                      <a:pt x="1534" y="788"/>
                    </a:lnTo>
                    <a:lnTo>
                      <a:pt x="1532" y="788"/>
                    </a:lnTo>
                    <a:lnTo>
                      <a:pt x="1532" y="792"/>
                    </a:lnTo>
                    <a:lnTo>
                      <a:pt x="1530" y="794"/>
                    </a:lnTo>
                    <a:lnTo>
                      <a:pt x="1528" y="798"/>
                    </a:lnTo>
                    <a:lnTo>
                      <a:pt x="1526" y="802"/>
                    </a:lnTo>
                    <a:lnTo>
                      <a:pt x="1526" y="804"/>
                    </a:lnTo>
                    <a:lnTo>
                      <a:pt x="1524" y="808"/>
                    </a:lnTo>
                    <a:lnTo>
                      <a:pt x="1522" y="808"/>
                    </a:lnTo>
                    <a:lnTo>
                      <a:pt x="1518" y="810"/>
                    </a:lnTo>
                    <a:lnTo>
                      <a:pt x="1516" y="812"/>
                    </a:lnTo>
                    <a:lnTo>
                      <a:pt x="1508" y="812"/>
                    </a:lnTo>
                    <a:lnTo>
                      <a:pt x="1506" y="812"/>
                    </a:lnTo>
                    <a:lnTo>
                      <a:pt x="1502" y="814"/>
                    </a:lnTo>
                    <a:lnTo>
                      <a:pt x="1498" y="814"/>
                    </a:lnTo>
                    <a:lnTo>
                      <a:pt x="1496" y="814"/>
                    </a:lnTo>
                    <a:lnTo>
                      <a:pt x="1496" y="814"/>
                    </a:lnTo>
                    <a:lnTo>
                      <a:pt x="1496" y="814"/>
                    </a:lnTo>
                    <a:lnTo>
                      <a:pt x="1494" y="816"/>
                    </a:lnTo>
                    <a:lnTo>
                      <a:pt x="1492" y="816"/>
                    </a:lnTo>
                    <a:lnTo>
                      <a:pt x="1492" y="816"/>
                    </a:lnTo>
                    <a:lnTo>
                      <a:pt x="1490" y="816"/>
                    </a:lnTo>
                    <a:lnTo>
                      <a:pt x="1488" y="818"/>
                    </a:lnTo>
                    <a:lnTo>
                      <a:pt x="1488" y="820"/>
                    </a:lnTo>
                    <a:lnTo>
                      <a:pt x="1486" y="820"/>
                    </a:lnTo>
                    <a:lnTo>
                      <a:pt x="1484" y="822"/>
                    </a:lnTo>
                    <a:lnTo>
                      <a:pt x="1482" y="824"/>
                    </a:lnTo>
                    <a:lnTo>
                      <a:pt x="1480" y="826"/>
                    </a:lnTo>
                    <a:lnTo>
                      <a:pt x="1476" y="828"/>
                    </a:lnTo>
                    <a:lnTo>
                      <a:pt x="1468" y="836"/>
                    </a:lnTo>
                    <a:lnTo>
                      <a:pt x="1464" y="838"/>
                    </a:lnTo>
                    <a:lnTo>
                      <a:pt x="1460" y="842"/>
                    </a:lnTo>
                    <a:lnTo>
                      <a:pt x="1456" y="844"/>
                    </a:lnTo>
                    <a:lnTo>
                      <a:pt x="1452" y="846"/>
                    </a:lnTo>
                    <a:lnTo>
                      <a:pt x="1450" y="846"/>
                    </a:lnTo>
                    <a:lnTo>
                      <a:pt x="1444" y="848"/>
                    </a:lnTo>
                    <a:lnTo>
                      <a:pt x="1440" y="848"/>
                    </a:lnTo>
                    <a:lnTo>
                      <a:pt x="1436" y="848"/>
                    </a:lnTo>
                    <a:lnTo>
                      <a:pt x="1432" y="848"/>
                    </a:lnTo>
                    <a:lnTo>
                      <a:pt x="1428" y="848"/>
                    </a:lnTo>
                    <a:lnTo>
                      <a:pt x="1426" y="848"/>
                    </a:lnTo>
                    <a:lnTo>
                      <a:pt x="1426" y="846"/>
                    </a:lnTo>
                    <a:lnTo>
                      <a:pt x="1426" y="846"/>
                    </a:lnTo>
                    <a:lnTo>
                      <a:pt x="1426" y="846"/>
                    </a:lnTo>
                    <a:lnTo>
                      <a:pt x="1426" y="844"/>
                    </a:lnTo>
                    <a:lnTo>
                      <a:pt x="1426" y="844"/>
                    </a:lnTo>
                    <a:lnTo>
                      <a:pt x="1428" y="840"/>
                    </a:lnTo>
                    <a:lnTo>
                      <a:pt x="1430" y="836"/>
                    </a:lnTo>
                    <a:lnTo>
                      <a:pt x="1434" y="830"/>
                    </a:lnTo>
                    <a:lnTo>
                      <a:pt x="1436" y="826"/>
                    </a:lnTo>
                    <a:lnTo>
                      <a:pt x="1438" y="822"/>
                    </a:lnTo>
                    <a:lnTo>
                      <a:pt x="1440" y="818"/>
                    </a:lnTo>
                    <a:lnTo>
                      <a:pt x="1440" y="818"/>
                    </a:lnTo>
                    <a:lnTo>
                      <a:pt x="1440" y="818"/>
                    </a:lnTo>
                    <a:lnTo>
                      <a:pt x="1442" y="812"/>
                    </a:lnTo>
                    <a:lnTo>
                      <a:pt x="1442" y="812"/>
                    </a:lnTo>
                    <a:lnTo>
                      <a:pt x="1442" y="806"/>
                    </a:lnTo>
                    <a:lnTo>
                      <a:pt x="1442" y="806"/>
                    </a:lnTo>
                    <a:lnTo>
                      <a:pt x="1442" y="806"/>
                    </a:lnTo>
                    <a:lnTo>
                      <a:pt x="1440" y="802"/>
                    </a:lnTo>
                    <a:lnTo>
                      <a:pt x="1440" y="802"/>
                    </a:lnTo>
                    <a:lnTo>
                      <a:pt x="1440" y="802"/>
                    </a:lnTo>
                    <a:lnTo>
                      <a:pt x="1440" y="800"/>
                    </a:lnTo>
                    <a:lnTo>
                      <a:pt x="1440" y="800"/>
                    </a:lnTo>
                    <a:lnTo>
                      <a:pt x="1440" y="800"/>
                    </a:lnTo>
                    <a:lnTo>
                      <a:pt x="1438" y="798"/>
                    </a:lnTo>
                    <a:lnTo>
                      <a:pt x="1438" y="798"/>
                    </a:lnTo>
                    <a:lnTo>
                      <a:pt x="1438" y="798"/>
                    </a:lnTo>
                    <a:lnTo>
                      <a:pt x="1436" y="796"/>
                    </a:lnTo>
                    <a:lnTo>
                      <a:pt x="1436" y="796"/>
                    </a:lnTo>
                    <a:lnTo>
                      <a:pt x="1436" y="796"/>
                    </a:lnTo>
                    <a:lnTo>
                      <a:pt x="1434" y="796"/>
                    </a:lnTo>
                    <a:lnTo>
                      <a:pt x="1434" y="796"/>
                    </a:lnTo>
                    <a:lnTo>
                      <a:pt x="1434" y="796"/>
                    </a:lnTo>
                    <a:lnTo>
                      <a:pt x="1432" y="796"/>
                    </a:lnTo>
                    <a:lnTo>
                      <a:pt x="1432" y="796"/>
                    </a:lnTo>
                    <a:lnTo>
                      <a:pt x="1432" y="798"/>
                    </a:lnTo>
                    <a:lnTo>
                      <a:pt x="1428" y="798"/>
                    </a:lnTo>
                    <a:lnTo>
                      <a:pt x="1424" y="802"/>
                    </a:lnTo>
                    <a:lnTo>
                      <a:pt x="1422" y="804"/>
                    </a:lnTo>
                    <a:lnTo>
                      <a:pt x="1418" y="806"/>
                    </a:lnTo>
                    <a:lnTo>
                      <a:pt x="1416" y="808"/>
                    </a:lnTo>
                    <a:lnTo>
                      <a:pt x="1418" y="804"/>
                    </a:lnTo>
                    <a:lnTo>
                      <a:pt x="1420" y="800"/>
                    </a:lnTo>
                    <a:lnTo>
                      <a:pt x="1422" y="796"/>
                    </a:lnTo>
                    <a:lnTo>
                      <a:pt x="1424" y="792"/>
                    </a:lnTo>
                    <a:lnTo>
                      <a:pt x="1424" y="786"/>
                    </a:lnTo>
                    <a:lnTo>
                      <a:pt x="1426" y="782"/>
                    </a:lnTo>
                    <a:lnTo>
                      <a:pt x="1426" y="782"/>
                    </a:lnTo>
                    <a:lnTo>
                      <a:pt x="1426" y="782"/>
                    </a:lnTo>
                    <a:lnTo>
                      <a:pt x="1426" y="780"/>
                    </a:lnTo>
                    <a:lnTo>
                      <a:pt x="1426" y="776"/>
                    </a:lnTo>
                    <a:lnTo>
                      <a:pt x="1426" y="776"/>
                    </a:lnTo>
                    <a:lnTo>
                      <a:pt x="1426" y="776"/>
                    </a:lnTo>
                    <a:lnTo>
                      <a:pt x="1424" y="770"/>
                    </a:lnTo>
                    <a:lnTo>
                      <a:pt x="1424" y="770"/>
                    </a:lnTo>
                    <a:lnTo>
                      <a:pt x="1424" y="770"/>
                    </a:lnTo>
                    <a:lnTo>
                      <a:pt x="1422" y="766"/>
                    </a:lnTo>
                    <a:lnTo>
                      <a:pt x="1422" y="766"/>
                    </a:lnTo>
                    <a:lnTo>
                      <a:pt x="1422" y="766"/>
                    </a:lnTo>
                    <a:lnTo>
                      <a:pt x="1420" y="764"/>
                    </a:lnTo>
                    <a:lnTo>
                      <a:pt x="1420" y="764"/>
                    </a:lnTo>
                    <a:lnTo>
                      <a:pt x="1420" y="764"/>
                    </a:lnTo>
                    <a:lnTo>
                      <a:pt x="1418" y="762"/>
                    </a:lnTo>
                    <a:lnTo>
                      <a:pt x="1418" y="762"/>
                    </a:lnTo>
                    <a:lnTo>
                      <a:pt x="1418" y="762"/>
                    </a:lnTo>
                    <a:lnTo>
                      <a:pt x="1416" y="760"/>
                    </a:lnTo>
                    <a:lnTo>
                      <a:pt x="1416" y="760"/>
                    </a:lnTo>
                    <a:lnTo>
                      <a:pt x="1416" y="760"/>
                    </a:lnTo>
                    <a:lnTo>
                      <a:pt x="1414" y="760"/>
                    </a:lnTo>
                    <a:lnTo>
                      <a:pt x="1414" y="760"/>
                    </a:lnTo>
                    <a:lnTo>
                      <a:pt x="1414" y="760"/>
                    </a:lnTo>
                    <a:lnTo>
                      <a:pt x="1410" y="758"/>
                    </a:lnTo>
                    <a:lnTo>
                      <a:pt x="1410" y="758"/>
                    </a:lnTo>
                    <a:lnTo>
                      <a:pt x="1408" y="758"/>
                    </a:lnTo>
                    <a:lnTo>
                      <a:pt x="1404" y="758"/>
                    </a:lnTo>
                    <a:lnTo>
                      <a:pt x="1404" y="758"/>
                    </a:lnTo>
                    <a:lnTo>
                      <a:pt x="1404" y="758"/>
                    </a:lnTo>
                    <a:lnTo>
                      <a:pt x="1400" y="758"/>
                    </a:lnTo>
                    <a:lnTo>
                      <a:pt x="1400" y="758"/>
                    </a:lnTo>
                    <a:lnTo>
                      <a:pt x="1400" y="758"/>
                    </a:lnTo>
                    <a:lnTo>
                      <a:pt x="1398" y="758"/>
                    </a:lnTo>
                    <a:lnTo>
                      <a:pt x="1398" y="758"/>
                    </a:lnTo>
                    <a:lnTo>
                      <a:pt x="1398" y="758"/>
                    </a:lnTo>
                    <a:lnTo>
                      <a:pt x="1394" y="760"/>
                    </a:lnTo>
                    <a:lnTo>
                      <a:pt x="1394" y="760"/>
                    </a:lnTo>
                    <a:lnTo>
                      <a:pt x="1394" y="762"/>
                    </a:lnTo>
                    <a:lnTo>
                      <a:pt x="1390" y="764"/>
                    </a:lnTo>
                    <a:lnTo>
                      <a:pt x="1390" y="764"/>
                    </a:lnTo>
                    <a:lnTo>
                      <a:pt x="1390" y="764"/>
                    </a:lnTo>
                    <a:lnTo>
                      <a:pt x="1388" y="768"/>
                    </a:lnTo>
                    <a:lnTo>
                      <a:pt x="1384" y="772"/>
                    </a:lnTo>
                    <a:lnTo>
                      <a:pt x="1382" y="776"/>
                    </a:lnTo>
                    <a:lnTo>
                      <a:pt x="1382" y="780"/>
                    </a:lnTo>
                    <a:lnTo>
                      <a:pt x="1378" y="786"/>
                    </a:lnTo>
                    <a:lnTo>
                      <a:pt x="1376" y="794"/>
                    </a:lnTo>
                    <a:lnTo>
                      <a:pt x="1374" y="798"/>
                    </a:lnTo>
                    <a:lnTo>
                      <a:pt x="1374" y="802"/>
                    </a:lnTo>
                    <a:lnTo>
                      <a:pt x="1374" y="808"/>
                    </a:lnTo>
                    <a:lnTo>
                      <a:pt x="1374" y="812"/>
                    </a:lnTo>
                    <a:lnTo>
                      <a:pt x="1376" y="820"/>
                    </a:lnTo>
                    <a:lnTo>
                      <a:pt x="1376" y="826"/>
                    </a:lnTo>
                    <a:lnTo>
                      <a:pt x="1378" y="828"/>
                    </a:lnTo>
                    <a:lnTo>
                      <a:pt x="1376" y="832"/>
                    </a:lnTo>
                    <a:lnTo>
                      <a:pt x="1376" y="834"/>
                    </a:lnTo>
                    <a:lnTo>
                      <a:pt x="1376" y="836"/>
                    </a:lnTo>
                    <a:lnTo>
                      <a:pt x="1374" y="838"/>
                    </a:lnTo>
                    <a:lnTo>
                      <a:pt x="1372" y="838"/>
                    </a:lnTo>
                    <a:lnTo>
                      <a:pt x="1370" y="840"/>
                    </a:lnTo>
                    <a:lnTo>
                      <a:pt x="1366" y="840"/>
                    </a:lnTo>
                    <a:lnTo>
                      <a:pt x="1366" y="842"/>
                    </a:lnTo>
                    <a:lnTo>
                      <a:pt x="1364" y="840"/>
                    </a:lnTo>
                    <a:lnTo>
                      <a:pt x="1364" y="840"/>
                    </a:lnTo>
                    <a:lnTo>
                      <a:pt x="1362" y="838"/>
                    </a:lnTo>
                    <a:lnTo>
                      <a:pt x="1362" y="836"/>
                    </a:lnTo>
                    <a:lnTo>
                      <a:pt x="1360" y="832"/>
                    </a:lnTo>
                    <a:lnTo>
                      <a:pt x="1360" y="828"/>
                    </a:lnTo>
                    <a:lnTo>
                      <a:pt x="1358" y="822"/>
                    </a:lnTo>
                    <a:lnTo>
                      <a:pt x="1358" y="816"/>
                    </a:lnTo>
                    <a:lnTo>
                      <a:pt x="1358" y="812"/>
                    </a:lnTo>
                    <a:lnTo>
                      <a:pt x="1358" y="808"/>
                    </a:lnTo>
                    <a:lnTo>
                      <a:pt x="1358" y="798"/>
                    </a:lnTo>
                    <a:lnTo>
                      <a:pt x="1360" y="790"/>
                    </a:lnTo>
                    <a:lnTo>
                      <a:pt x="1360" y="790"/>
                    </a:lnTo>
                    <a:lnTo>
                      <a:pt x="1362" y="782"/>
                    </a:lnTo>
                    <a:lnTo>
                      <a:pt x="1364" y="780"/>
                    </a:lnTo>
                    <a:lnTo>
                      <a:pt x="1366" y="776"/>
                    </a:lnTo>
                    <a:lnTo>
                      <a:pt x="1368" y="774"/>
                    </a:lnTo>
                    <a:lnTo>
                      <a:pt x="1372" y="770"/>
                    </a:lnTo>
                    <a:lnTo>
                      <a:pt x="1376" y="768"/>
                    </a:lnTo>
                    <a:lnTo>
                      <a:pt x="1380" y="766"/>
                    </a:lnTo>
                    <a:lnTo>
                      <a:pt x="1384" y="764"/>
                    </a:lnTo>
                    <a:lnTo>
                      <a:pt x="1388" y="762"/>
                    </a:lnTo>
                    <a:lnTo>
                      <a:pt x="1392" y="760"/>
                    </a:lnTo>
                    <a:lnTo>
                      <a:pt x="1392" y="760"/>
                    </a:lnTo>
                    <a:lnTo>
                      <a:pt x="1392" y="758"/>
                    </a:lnTo>
                    <a:lnTo>
                      <a:pt x="1394" y="756"/>
                    </a:lnTo>
                    <a:lnTo>
                      <a:pt x="1394" y="756"/>
                    </a:lnTo>
                    <a:lnTo>
                      <a:pt x="1396" y="756"/>
                    </a:lnTo>
                    <a:lnTo>
                      <a:pt x="1398" y="754"/>
                    </a:lnTo>
                    <a:lnTo>
                      <a:pt x="1398" y="752"/>
                    </a:lnTo>
                    <a:lnTo>
                      <a:pt x="1398" y="752"/>
                    </a:lnTo>
                    <a:lnTo>
                      <a:pt x="1398" y="750"/>
                    </a:lnTo>
                    <a:lnTo>
                      <a:pt x="1400" y="748"/>
                    </a:lnTo>
                    <a:lnTo>
                      <a:pt x="1400" y="748"/>
                    </a:lnTo>
                    <a:lnTo>
                      <a:pt x="1400" y="748"/>
                    </a:lnTo>
                    <a:lnTo>
                      <a:pt x="1400" y="746"/>
                    </a:lnTo>
                    <a:lnTo>
                      <a:pt x="1400" y="746"/>
                    </a:lnTo>
                    <a:lnTo>
                      <a:pt x="1400" y="744"/>
                    </a:lnTo>
                    <a:lnTo>
                      <a:pt x="1400" y="742"/>
                    </a:lnTo>
                    <a:lnTo>
                      <a:pt x="1400" y="742"/>
                    </a:lnTo>
                    <a:lnTo>
                      <a:pt x="1400" y="742"/>
                    </a:lnTo>
                    <a:lnTo>
                      <a:pt x="1400" y="740"/>
                    </a:lnTo>
                    <a:lnTo>
                      <a:pt x="1400" y="740"/>
                    </a:lnTo>
                    <a:lnTo>
                      <a:pt x="1400" y="738"/>
                    </a:lnTo>
                    <a:lnTo>
                      <a:pt x="1398" y="736"/>
                    </a:lnTo>
                    <a:lnTo>
                      <a:pt x="1398" y="736"/>
                    </a:lnTo>
                    <a:lnTo>
                      <a:pt x="1398" y="736"/>
                    </a:lnTo>
                    <a:lnTo>
                      <a:pt x="1396" y="736"/>
                    </a:lnTo>
                    <a:lnTo>
                      <a:pt x="1396" y="736"/>
                    </a:lnTo>
                    <a:lnTo>
                      <a:pt x="1394" y="734"/>
                    </a:lnTo>
                    <a:lnTo>
                      <a:pt x="1392" y="734"/>
                    </a:lnTo>
                    <a:lnTo>
                      <a:pt x="1386" y="732"/>
                    </a:lnTo>
                    <a:lnTo>
                      <a:pt x="1382" y="732"/>
                    </a:lnTo>
                    <a:lnTo>
                      <a:pt x="1376" y="732"/>
                    </a:lnTo>
                    <a:lnTo>
                      <a:pt x="1368" y="732"/>
                    </a:lnTo>
                    <a:lnTo>
                      <a:pt x="1362" y="732"/>
                    </a:lnTo>
                    <a:lnTo>
                      <a:pt x="1356" y="732"/>
                    </a:lnTo>
                    <a:lnTo>
                      <a:pt x="1348" y="732"/>
                    </a:lnTo>
                    <a:lnTo>
                      <a:pt x="1342" y="732"/>
                    </a:lnTo>
                    <a:lnTo>
                      <a:pt x="1334" y="732"/>
                    </a:lnTo>
                    <a:lnTo>
                      <a:pt x="1326" y="734"/>
                    </a:lnTo>
                    <a:lnTo>
                      <a:pt x="1320" y="736"/>
                    </a:lnTo>
                    <a:lnTo>
                      <a:pt x="1312" y="736"/>
                    </a:lnTo>
                    <a:lnTo>
                      <a:pt x="1308" y="736"/>
                    </a:lnTo>
                    <a:lnTo>
                      <a:pt x="1306" y="736"/>
                    </a:lnTo>
                    <a:lnTo>
                      <a:pt x="1304" y="736"/>
                    </a:lnTo>
                    <a:lnTo>
                      <a:pt x="1302" y="736"/>
                    </a:lnTo>
                    <a:lnTo>
                      <a:pt x="1304" y="736"/>
                    </a:lnTo>
                    <a:lnTo>
                      <a:pt x="1306" y="734"/>
                    </a:lnTo>
                    <a:lnTo>
                      <a:pt x="1308" y="732"/>
                    </a:lnTo>
                    <a:lnTo>
                      <a:pt x="1314" y="728"/>
                    </a:lnTo>
                    <a:lnTo>
                      <a:pt x="1318" y="724"/>
                    </a:lnTo>
                    <a:lnTo>
                      <a:pt x="1324" y="722"/>
                    </a:lnTo>
                    <a:lnTo>
                      <a:pt x="1326" y="720"/>
                    </a:lnTo>
                    <a:lnTo>
                      <a:pt x="1328" y="718"/>
                    </a:lnTo>
                    <a:lnTo>
                      <a:pt x="1328" y="716"/>
                    </a:lnTo>
                    <a:lnTo>
                      <a:pt x="1328" y="716"/>
                    </a:lnTo>
                    <a:lnTo>
                      <a:pt x="1330" y="716"/>
                    </a:lnTo>
                    <a:lnTo>
                      <a:pt x="1330" y="714"/>
                    </a:lnTo>
                    <a:lnTo>
                      <a:pt x="1330" y="714"/>
                    </a:lnTo>
                    <a:lnTo>
                      <a:pt x="1330" y="712"/>
                    </a:lnTo>
                    <a:lnTo>
                      <a:pt x="1330" y="710"/>
                    </a:lnTo>
                    <a:lnTo>
                      <a:pt x="1330" y="710"/>
                    </a:lnTo>
                    <a:lnTo>
                      <a:pt x="1328" y="710"/>
                    </a:lnTo>
                    <a:lnTo>
                      <a:pt x="1326" y="708"/>
                    </a:lnTo>
                    <a:lnTo>
                      <a:pt x="1326" y="708"/>
                    </a:lnTo>
                    <a:lnTo>
                      <a:pt x="1326" y="708"/>
                    </a:lnTo>
                    <a:lnTo>
                      <a:pt x="1322" y="706"/>
                    </a:lnTo>
                    <a:lnTo>
                      <a:pt x="1318" y="706"/>
                    </a:lnTo>
                    <a:lnTo>
                      <a:pt x="1314" y="706"/>
                    </a:lnTo>
                    <a:lnTo>
                      <a:pt x="1310" y="706"/>
                    </a:lnTo>
                    <a:lnTo>
                      <a:pt x="1306" y="704"/>
                    </a:lnTo>
                    <a:lnTo>
                      <a:pt x="1302" y="704"/>
                    </a:lnTo>
                    <a:lnTo>
                      <a:pt x="1296" y="704"/>
                    </a:lnTo>
                    <a:lnTo>
                      <a:pt x="1292" y="704"/>
                    </a:lnTo>
                    <a:lnTo>
                      <a:pt x="1282" y="704"/>
                    </a:lnTo>
                    <a:lnTo>
                      <a:pt x="1272" y="704"/>
                    </a:lnTo>
                    <a:lnTo>
                      <a:pt x="1260" y="704"/>
                    </a:lnTo>
                    <a:lnTo>
                      <a:pt x="1258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4" y="704"/>
                    </a:lnTo>
                    <a:lnTo>
                      <a:pt x="1254" y="704"/>
                    </a:lnTo>
                    <a:lnTo>
                      <a:pt x="1252" y="704"/>
                    </a:lnTo>
                    <a:lnTo>
                      <a:pt x="1250" y="704"/>
                    </a:lnTo>
                    <a:lnTo>
                      <a:pt x="1248" y="702"/>
                    </a:lnTo>
                    <a:lnTo>
                      <a:pt x="1244" y="702"/>
                    </a:lnTo>
                    <a:lnTo>
                      <a:pt x="1238" y="702"/>
                    </a:lnTo>
                    <a:lnTo>
                      <a:pt x="1232" y="702"/>
                    </a:lnTo>
                    <a:lnTo>
                      <a:pt x="1210" y="702"/>
                    </a:lnTo>
                    <a:lnTo>
                      <a:pt x="1206" y="702"/>
                    </a:lnTo>
                    <a:lnTo>
                      <a:pt x="1192" y="702"/>
                    </a:lnTo>
                    <a:lnTo>
                      <a:pt x="1180" y="702"/>
                    </a:lnTo>
                    <a:lnTo>
                      <a:pt x="1164" y="702"/>
                    </a:lnTo>
                    <a:lnTo>
                      <a:pt x="1148" y="702"/>
                    </a:lnTo>
                    <a:lnTo>
                      <a:pt x="1132" y="702"/>
                    </a:lnTo>
                    <a:lnTo>
                      <a:pt x="1116" y="702"/>
                    </a:lnTo>
                    <a:lnTo>
                      <a:pt x="1100" y="702"/>
                    </a:lnTo>
                    <a:lnTo>
                      <a:pt x="1084" y="702"/>
                    </a:lnTo>
                    <a:lnTo>
                      <a:pt x="1068" y="702"/>
                    </a:lnTo>
                    <a:lnTo>
                      <a:pt x="1052" y="702"/>
                    </a:lnTo>
                    <a:lnTo>
                      <a:pt x="1038" y="702"/>
                    </a:lnTo>
                    <a:lnTo>
                      <a:pt x="1026" y="702"/>
                    </a:lnTo>
                    <a:lnTo>
                      <a:pt x="1020" y="702"/>
                    </a:lnTo>
                    <a:lnTo>
                      <a:pt x="932" y="702"/>
                    </a:lnTo>
                    <a:lnTo>
                      <a:pt x="916" y="702"/>
                    </a:lnTo>
                    <a:lnTo>
                      <a:pt x="910" y="702"/>
                    </a:lnTo>
                    <a:lnTo>
                      <a:pt x="902" y="702"/>
                    </a:lnTo>
                    <a:lnTo>
                      <a:pt x="896" y="704"/>
                    </a:lnTo>
                    <a:lnTo>
                      <a:pt x="890" y="704"/>
                    </a:lnTo>
                    <a:lnTo>
                      <a:pt x="886" y="704"/>
                    </a:lnTo>
                    <a:lnTo>
                      <a:pt x="880" y="704"/>
                    </a:lnTo>
                    <a:lnTo>
                      <a:pt x="876" y="704"/>
                    </a:lnTo>
                    <a:lnTo>
                      <a:pt x="872" y="704"/>
                    </a:lnTo>
                    <a:lnTo>
                      <a:pt x="870" y="704"/>
                    </a:lnTo>
                    <a:lnTo>
                      <a:pt x="868" y="704"/>
                    </a:lnTo>
                    <a:lnTo>
                      <a:pt x="866" y="702"/>
                    </a:lnTo>
                    <a:lnTo>
                      <a:pt x="866" y="702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2" y="704"/>
                    </a:lnTo>
                    <a:lnTo>
                      <a:pt x="860" y="704"/>
                    </a:lnTo>
                    <a:lnTo>
                      <a:pt x="860" y="704"/>
                    </a:lnTo>
                    <a:lnTo>
                      <a:pt x="860" y="704"/>
                    </a:lnTo>
                    <a:lnTo>
                      <a:pt x="858" y="706"/>
                    </a:lnTo>
                    <a:lnTo>
                      <a:pt x="858" y="706"/>
                    </a:lnTo>
                    <a:lnTo>
                      <a:pt x="858" y="708"/>
                    </a:lnTo>
                    <a:lnTo>
                      <a:pt x="858" y="710"/>
                    </a:lnTo>
                    <a:lnTo>
                      <a:pt x="858" y="710"/>
                    </a:lnTo>
                    <a:lnTo>
                      <a:pt x="860" y="710"/>
                    </a:lnTo>
                    <a:lnTo>
                      <a:pt x="860" y="714"/>
                    </a:lnTo>
                    <a:lnTo>
                      <a:pt x="862" y="718"/>
                    </a:lnTo>
                    <a:lnTo>
                      <a:pt x="864" y="722"/>
                    </a:lnTo>
                    <a:lnTo>
                      <a:pt x="866" y="728"/>
                    </a:lnTo>
                    <a:lnTo>
                      <a:pt x="868" y="732"/>
                    </a:lnTo>
                    <a:lnTo>
                      <a:pt x="868" y="734"/>
                    </a:lnTo>
                    <a:lnTo>
                      <a:pt x="868" y="736"/>
                    </a:lnTo>
                    <a:lnTo>
                      <a:pt x="868" y="738"/>
                    </a:lnTo>
                    <a:lnTo>
                      <a:pt x="868" y="738"/>
                    </a:lnTo>
                    <a:lnTo>
                      <a:pt x="866" y="740"/>
                    </a:lnTo>
                    <a:lnTo>
                      <a:pt x="866" y="740"/>
                    </a:lnTo>
                    <a:lnTo>
                      <a:pt x="862" y="742"/>
                    </a:lnTo>
                    <a:lnTo>
                      <a:pt x="856" y="742"/>
                    </a:lnTo>
                    <a:lnTo>
                      <a:pt x="854" y="742"/>
                    </a:lnTo>
                    <a:lnTo>
                      <a:pt x="850" y="740"/>
                    </a:lnTo>
                    <a:lnTo>
                      <a:pt x="844" y="740"/>
                    </a:lnTo>
                    <a:lnTo>
                      <a:pt x="840" y="738"/>
                    </a:lnTo>
                    <a:lnTo>
                      <a:pt x="834" y="736"/>
                    </a:lnTo>
                    <a:lnTo>
                      <a:pt x="828" y="734"/>
                    </a:lnTo>
                    <a:lnTo>
                      <a:pt x="824" y="734"/>
                    </a:lnTo>
                    <a:lnTo>
                      <a:pt x="824" y="734"/>
                    </a:lnTo>
                    <a:lnTo>
                      <a:pt x="824" y="734"/>
                    </a:lnTo>
                    <a:lnTo>
                      <a:pt x="820" y="734"/>
                    </a:lnTo>
                    <a:lnTo>
                      <a:pt x="820" y="734"/>
                    </a:lnTo>
                    <a:lnTo>
                      <a:pt x="820" y="734"/>
                    </a:lnTo>
                    <a:lnTo>
                      <a:pt x="818" y="734"/>
                    </a:lnTo>
                    <a:lnTo>
                      <a:pt x="818" y="734"/>
                    </a:lnTo>
                    <a:lnTo>
                      <a:pt x="816" y="736"/>
                    </a:lnTo>
                    <a:lnTo>
                      <a:pt x="814" y="736"/>
                    </a:lnTo>
                    <a:lnTo>
                      <a:pt x="814" y="736"/>
                    </a:lnTo>
                    <a:lnTo>
                      <a:pt x="814" y="738"/>
                    </a:lnTo>
                    <a:lnTo>
                      <a:pt x="814" y="740"/>
                    </a:lnTo>
                    <a:lnTo>
                      <a:pt x="814" y="740"/>
                    </a:lnTo>
                    <a:lnTo>
                      <a:pt x="814" y="740"/>
                    </a:lnTo>
                    <a:lnTo>
                      <a:pt x="812" y="742"/>
                    </a:lnTo>
                    <a:lnTo>
                      <a:pt x="812" y="746"/>
                    </a:lnTo>
                    <a:lnTo>
                      <a:pt x="812" y="750"/>
                    </a:lnTo>
                    <a:lnTo>
                      <a:pt x="814" y="754"/>
                    </a:lnTo>
                    <a:lnTo>
                      <a:pt x="814" y="758"/>
                    </a:lnTo>
                    <a:lnTo>
                      <a:pt x="814" y="764"/>
                    </a:lnTo>
                    <a:lnTo>
                      <a:pt x="816" y="770"/>
                    </a:lnTo>
                    <a:lnTo>
                      <a:pt x="816" y="778"/>
                    </a:lnTo>
                    <a:lnTo>
                      <a:pt x="818" y="786"/>
                    </a:lnTo>
                    <a:lnTo>
                      <a:pt x="820" y="802"/>
                    </a:lnTo>
                    <a:lnTo>
                      <a:pt x="820" y="810"/>
                    </a:lnTo>
                    <a:lnTo>
                      <a:pt x="822" y="818"/>
                    </a:lnTo>
                    <a:lnTo>
                      <a:pt x="822" y="824"/>
                    </a:lnTo>
                    <a:lnTo>
                      <a:pt x="822" y="832"/>
                    </a:lnTo>
                    <a:lnTo>
                      <a:pt x="822" y="844"/>
                    </a:lnTo>
                    <a:lnTo>
                      <a:pt x="822" y="852"/>
                    </a:lnTo>
                    <a:lnTo>
                      <a:pt x="822" y="858"/>
                    </a:lnTo>
                    <a:lnTo>
                      <a:pt x="822" y="866"/>
                    </a:lnTo>
                    <a:lnTo>
                      <a:pt x="824" y="872"/>
                    </a:lnTo>
                    <a:lnTo>
                      <a:pt x="828" y="886"/>
                    </a:lnTo>
                    <a:lnTo>
                      <a:pt x="832" y="902"/>
                    </a:lnTo>
                    <a:lnTo>
                      <a:pt x="838" y="916"/>
                    </a:lnTo>
                    <a:lnTo>
                      <a:pt x="840" y="922"/>
                    </a:lnTo>
                    <a:lnTo>
                      <a:pt x="844" y="930"/>
                    </a:lnTo>
                    <a:lnTo>
                      <a:pt x="848" y="938"/>
                    </a:lnTo>
                    <a:lnTo>
                      <a:pt x="854" y="946"/>
                    </a:lnTo>
                    <a:lnTo>
                      <a:pt x="858" y="956"/>
                    </a:lnTo>
                    <a:lnTo>
                      <a:pt x="864" y="964"/>
                    </a:lnTo>
                    <a:lnTo>
                      <a:pt x="870" y="972"/>
                    </a:lnTo>
                    <a:lnTo>
                      <a:pt x="876" y="980"/>
                    </a:lnTo>
                    <a:lnTo>
                      <a:pt x="882" y="986"/>
                    </a:lnTo>
                    <a:lnTo>
                      <a:pt x="884" y="990"/>
                    </a:lnTo>
                    <a:lnTo>
                      <a:pt x="886" y="992"/>
                    </a:lnTo>
                    <a:lnTo>
                      <a:pt x="886" y="992"/>
                    </a:lnTo>
                    <a:lnTo>
                      <a:pt x="886" y="992"/>
                    </a:lnTo>
                    <a:lnTo>
                      <a:pt x="892" y="996"/>
                    </a:lnTo>
                    <a:lnTo>
                      <a:pt x="892" y="996"/>
                    </a:lnTo>
                    <a:lnTo>
                      <a:pt x="892" y="996"/>
                    </a:lnTo>
                    <a:lnTo>
                      <a:pt x="896" y="998"/>
                    </a:lnTo>
                    <a:lnTo>
                      <a:pt x="896" y="998"/>
                    </a:lnTo>
                    <a:lnTo>
                      <a:pt x="898" y="998"/>
                    </a:lnTo>
                    <a:lnTo>
                      <a:pt x="902" y="1000"/>
                    </a:lnTo>
                    <a:lnTo>
                      <a:pt x="906" y="1002"/>
                    </a:lnTo>
                    <a:lnTo>
                      <a:pt x="912" y="1002"/>
                    </a:lnTo>
                    <a:lnTo>
                      <a:pt x="916" y="1002"/>
                    </a:lnTo>
                    <a:lnTo>
                      <a:pt x="918" y="1002"/>
                    </a:lnTo>
                    <a:lnTo>
                      <a:pt x="922" y="1004"/>
                    </a:lnTo>
                    <a:lnTo>
                      <a:pt x="924" y="1004"/>
                    </a:lnTo>
                    <a:lnTo>
                      <a:pt x="926" y="1006"/>
                    </a:lnTo>
                    <a:lnTo>
                      <a:pt x="926" y="1008"/>
                    </a:lnTo>
                    <a:lnTo>
                      <a:pt x="928" y="1010"/>
                    </a:lnTo>
                    <a:lnTo>
                      <a:pt x="930" y="1010"/>
                    </a:lnTo>
                    <a:lnTo>
                      <a:pt x="930" y="1010"/>
                    </a:lnTo>
                    <a:lnTo>
                      <a:pt x="930" y="1012"/>
                    </a:lnTo>
                    <a:lnTo>
                      <a:pt x="932" y="1012"/>
                    </a:lnTo>
                    <a:lnTo>
                      <a:pt x="932" y="1012"/>
                    </a:lnTo>
                    <a:lnTo>
                      <a:pt x="932" y="1012"/>
                    </a:lnTo>
                    <a:lnTo>
                      <a:pt x="934" y="1014"/>
                    </a:lnTo>
                    <a:lnTo>
                      <a:pt x="934" y="1014"/>
                    </a:lnTo>
                    <a:lnTo>
                      <a:pt x="934" y="1014"/>
                    </a:lnTo>
                    <a:lnTo>
                      <a:pt x="936" y="1014"/>
                    </a:lnTo>
                    <a:lnTo>
                      <a:pt x="936" y="1014"/>
                    </a:lnTo>
                    <a:lnTo>
                      <a:pt x="938" y="1014"/>
                    </a:lnTo>
                    <a:lnTo>
                      <a:pt x="940" y="1014"/>
                    </a:lnTo>
                    <a:lnTo>
                      <a:pt x="940" y="1014"/>
                    </a:lnTo>
                    <a:lnTo>
                      <a:pt x="940" y="1014"/>
                    </a:lnTo>
                    <a:lnTo>
                      <a:pt x="942" y="1012"/>
                    </a:lnTo>
                    <a:lnTo>
                      <a:pt x="946" y="1010"/>
                    </a:lnTo>
                    <a:lnTo>
                      <a:pt x="948" y="1008"/>
                    </a:lnTo>
                    <a:lnTo>
                      <a:pt x="952" y="1006"/>
                    </a:lnTo>
                    <a:lnTo>
                      <a:pt x="954" y="1004"/>
                    </a:lnTo>
                    <a:lnTo>
                      <a:pt x="956" y="1004"/>
                    </a:lnTo>
                    <a:lnTo>
                      <a:pt x="956" y="1004"/>
                    </a:lnTo>
                    <a:lnTo>
                      <a:pt x="958" y="1004"/>
                    </a:lnTo>
                    <a:lnTo>
                      <a:pt x="958" y="1004"/>
                    </a:lnTo>
                    <a:lnTo>
                      <a:pt x="958" y="1006"/>
                    </a:lnTo>
                    <a:lnTo>
                      <a:pt x="960" y="1006"/>
                    </a:lnTo>
                    <a:lnTo>
                      <a:pt x="960" y="1008"/>
                    </a:lnTo>
                    <a:lnTo>
                      <a:pt x="962" y="1010"/>
                    </a:lnTo>
                    <a:lnTo>
                      <a:pt x="964" y="1012"/>
                    </a:lnTo>
                    <a:lnTo>
                      <a:pt x="964" y="1012"/>
                    </a:lnTo>
                    <a:lnTo>
                      <a:pt x="964" y="1014"/>
                    </a:lnTo>
                    <a:lnTo>
                      <a:pt x="966" y="1016"/>
                    </a:lnTo>
                    <a:lnTo>
                      <a:pt x="970" y="1018"/>
                    </a:lnTo>
                    <a:lnTo>
                      <a:pt x="974" y="1020"/>
                    </a:lnTo>
                    <a:lnTo>
                      <a:pt x="980" y="1022"/>
                    </a:lnTo>
                    <a:lnTo>
                      <a:pt x="984" y="1024"/>
                    </a:lnTo>
                    <a:lnTo>
                      <a:pt x="994" y="1028"/>
                    </a:lnTo>
                    <a:lnTo>
                      <a:pt x="998" y="1030"/>
                    </a:lnTo>
                    <a:lnTo>
                      <a:pt x="1002" y="1032"/>
                    </a:lnTo>
                    <a:lnTo>
                      <a:pt x="1004" y="1032"/>
                    </a:lnTo>
                    <a:lnTo>
                      <a:pt x="1008" y="1034"/>
                    </a:lnTo>
                    <a:lnTo>
                      <a:pt x="1010" y="1034"/>
                    </a:lnTo>
                    <a:lnTo>
                      <a:pt x="1012" y="1034"/>
                    </a:lnTo>
                    <a:lnTo>
                      <a:pt x="1016" y="1036"/>
                    </a:lnTo>
                    <a:lnTo>
                      <a:pt x="1018" y="1036"/>
                    </a:lnTo>
                    <a:lnTo>
                      <a:pt x="1020" y="1036"/>
                    </a:lnTo>
                    <a:lnTo>
                      <a:pt x="1024" y="1036"/>
                    </a:lnTo>
                    <a:lnTo>
                      <a:pt x="1028" y="1036"/>
                    </a:lnTo>
                    <a:lnTo>
                      <a:pt x="1036" y="1036"/>
                    </a:lnTo>
                    <a:lnTo>
                      <a:pt x="1040" y="1036"/>
                    </a:lnTo>
                    <a:lnTo>
                      <a:pt x="1044" y="1036"/>
                    </a:lnTo>
                    <a:lnTo>
                      <a:pt x="1048" y="1034"/>
                    </a:lnTo>
                    <a:lnTo>
                      <a:pt x="1048" y="1034"/>
                    </a:lnTo>
                    <a:lnTo>
                      <a:pt x="1050" y="1034"/>
                    </a:lnTo>
                    <a:lnTo>
                      <a:pt x="1052" y="1034"/>
                    </a:lnTo>
                    <a:lnTo>
                      <a:pt x="1052" y="1034"/>
                    </a:lnTo>
                    <a:lnTo>
                      <a:pt x="1052" y="1034"/>
                    </a:lnTo>
                    <a:lnTo>
                      <a:pt x="1054" y="1032"/>
                    </a:lnTo>
                    <a:lnTo>
                      <a:pt x="1054" y="1032"/>
                    </a:lnTo>
                    <a:lnTo>
                      <a:pt x="1056" y="1030"/>
                    </a:lnTo>
                    <a:lnTo>
                      <a:pt x="1056" y="1028"/>
                    </a:lnTo>
                    <a:lnTo>
                      <a:pt x="1056" y="1028"/>
                    </a:lnTo>
                    <a:lnTo>
                      <a:pt x="1056" y="1028"/>
                    </a:lnTo>
                    <a:lnTo>
                      <a:pt x="1056" y="1026"/>
                    </a:lnTo>
                    <a:lnTo>
                      <a:pt x="1056" y="1026"/>
                    </a:lnTo>
                    <a:lnTo>
                      <a:pt x="1056" y="1026"/>
                    </a:lnTo>
                    <a:lnTo>
                      <a:pt x="1056" y="1022"/>
                    </a:lnTo>
                    <a:lnTo>
                      <a:pt x="1058" y="1020"/>
                    </a:lnTo>
                    <a:lnTo>
                      <a:pt x="1058" y="1020"/>
                    </a:lnTo>
                    <a:lnTo>
                      <a:pt x="1058" y="1020"/>
                    </a:lnTo>
                    <a:lnTo>
                      <a:pt x="1060" y="1020"/>
                    </a:lnTo>
                    <a:lnTo>
                      <a:pt x="1062" y="1022"/>
                    </a:lnTo>
                    <a:lnTo>
                      <a:pt x="1066" y="1024"/>
                    </a:lnTo>
                    <a:lnTo>
                      <a:pt x="1068" y="1026"/>
                    </a:lnTo>
                    <a:lnTo>
                      <a:pt x="1072" y="1028"/>
                    </a:lnTo>
                    <a:lnTo>
                      <a:pt x="1080" y="1034"/>
                    </a:lnTo>
                    <a:lnTo>
                      <a:pt x="1084" y="1036"/>
                    </a:lnTo>
                    <a:lnTo>
                      <a:pt x="1088" y="1040"/>
                    </a:lnTo>
                    <a:lnTo>
                      <a:pt x="1094" y="1046"/>
                    </a:lnTo>
                    <a:lnTo>
                      <a:pt x="1100" y="1050"/>
                    </a:lnTo>
                    <a:lnTo>
                      <a:pt x="1106" y="1056"/>
                    </a:lnTo>
                    <a:lnTo>
                      <a:pt x="1112" y="1060"/>
                    </a:lnTo>
                    <a:lnTo>
                      <a:pt x="1116" y="1064"/>
                    </a:lnTo>
                    <a:lnTo>
                      <a:pt x="1122" y="1066"/>
                    </a:lnTo>
                    <a:lnTo>
                      <a:pt x="1122" y="1066"/>
                    </a:lnTo>
                    <a:lnTo>
                      <a:pt x="1122" y="1066"/>
                    </a:lnTo>
                    <a:lnTo>
                      <a:pt x="1124" y="1068"/>
                    </a:lnTo>
                    <a:lnTo>
                      <a:pt x="1124" y="1068"/>
                    </a:lnTo>
                    <a:lnTo>
                      <a:pt x="1124" y="1068"/>
                    </a:lnTo>
                    <a:lnTo>
                      <a:pt x="1126" y="1068"/>
                    </a:lnTo>
                    <a:lnTo>
                      <a:pt x="1126" y="1068"/>
                    </a:lnTo>
                    <a:lnTo>
                      <a:pt x="1126" y="1068"/>
                    </a:lnTo>
                    <a:lnTo>
                      <a:pt x="1130" y="1068"/>
                    </a:lnTo>
                    <a:lnTo>
                      <a:pt x="1130" y="1068"/>
                    </a:lnTo>
                    <a:lnTo>
                      <a:pt x="1130" y="1068"/>
                    </a:lnTo>
                    <a:lnTo>
                      <a:pt x="1132" y="1066"/>
                    </a:lnTo>
                    <a:lnTo>
                      <a:pt x="1132" y="1066"/>
                    </a:lnTo>
                    <a:lnTo>
                      <a:pt x="1134" y="1066"/>
                    </a:lnTo>
                    <a:lnTo>
                      <a:pt x="1136" y="1064"/>
                    </a:lnTo>
                    <a:lnTo>
                      <a:pt x="1138" y="1062"/>
                    </a:lnTo>
                    <a:lnTo>
                      <a:pt x="1140" y="1062"/>
                    </a:lnTo>
                    <a:lnTo>
                      <a:pt x="1140" y="1060"/>
                    </a:lnTo>
                    <a:lnTo>
                      <a:pt x="1142" y="1060"/>
                    </a:lnTo>
                    <a:lnTo>
                      <a:pt x="1146" y="1062"/>
                    </a:lnTo>
                    <a:lnTo>
                      <a:pt x="1148" y="1064"/>
                    </a:lnTo>
                    <a:lnTo>
                      <a:pt x="1152" y="1066"/>
                    </a:lnTo>
                    <a:lnTo>
                      <a:pt x="1156" y="1068"/>
                    </a:lnTo>
                    <a:lnTo>
                      <a:pt x="1160" y="1070"/>
                    </a:lnTo>
                    <a:lnTo>
                      <a:pt x="1164" y="1072"/>
                    </a:lnTo>
                    <a:lnTo>
                      <a:pt x="1166" y="1076"/>
                    </a:lnTo>
                    <a:lnTo>
                      <a:pt x="1168" y="1078"/>
                    </a:lnTo>
                    <a:lnTo>
                      <a:pt x="1170" y="1080"/>
                    </a:lnTo>
                    <a:lnTo>
                      <a:pt x="1172" y="1082"/>
                    </a:lnTo>
                    <a:lnTo>
                      <a:pt x="1172" y="1082"/>
                    </a:lnTo>
                    <a:lnTo>
                      <a:pt x="1172" y="1086"/>
                    </a:lnTo>
                    <a:lnTo>
                      <a:pt x="1172" y="1090"/>
                    </a:lnTo>
                    <a:lnTo>
                      <a:pt x="1172" y="1096"/>
                    </a:lnTo>
                    <a:lnTo>
                      <a:pt x="1174" y="1100"/>
                    </a:lnTo>
                    <a:lnTo>
                      <a:pt x="1174" y="1100"/>
                    </a:lnTo>
                    <a:lnTo>
                      <a:pt x="1174" y="1100"/>
                    </a:lnTo>
                    <a:lnTo>
                      <a:pt x="1174" y="1102"/>
                    </a:lnTo>
                    <a:lnTo>
                      <a:pt x="1174" y="1102"/>
                    </a:lnTo>
                    <a:lnTo>
                      <a:pt x="1174" y="1104"/>
                    </a:lnTo>
                    <a:lnTo>
                      <a:pt x="1176" y="1108"/>
                    </a:lnTo>
                    <a:lnTo>
                      <a:pt x="1176" y="1108"/>
                    </a:lnTo>
                    <a:lnTo>
                      <a:pt x="1178" y="1108"/>
                    </a:lnTo>
                    <a:lnTo>
                      <a:pt x="1180" y="1112"/>
                    </a:lnTo>
                    <a:lnTo>
                      <a:pt x="1180" y="1112"/>
                    </a:lnTo>
                    <a:lnTo>
                      <a:pt x="1180" y="1114"/>
                    </a:lnTo>
                    <a:lnTo>
                      <a:pt x="1184" y="1116"/>
                    </a:lnTo>
                    <a:lnTo>
                      <a:pt x="1184" y="1116"/>
                    </a:lnTo>
                    <a:lnTo>
                      <a:pt x="1186" y="1118"/>
                    </a:lnTo>
                    <a:lnTo>
                      <a:pt x="1188" y="1118"/>
                    </a:lnTo>
                    <a:lnTo>
                      <a:pt x="1190" y="1120"/>
                    </a:lnTo>
                    <a:lnTo>
                      <a:pt x="1190" y="1120"/>
                    </a:lnTo>
                    <a:lnTo>
                      <a:pt x="1190" y="1120"/>
                    </a:lnTo>
                    <a:lnTo>
                      <a:pt x="1192" y="1120"/>
                    </a:lnTo>
                    <a:lnTo>
                      <a:pt x="1196" y="1120"/>
                    </a:lnTo>
                    <a:lnTo>
                      <a:pt x="1204" y="1120"/>
                    </a:lnTo>
                    <a:lnTo>
                      <a:pt x="1206" y="1120"/>
                    </a:lnTo>
                    <a:lnTo>
                      <a:pt x="1210" y="1118"/>
                    </a:lnTo>
                    <a:lnTo>
                      <a:pt x="1214" y="1118"/>
                    </a:lnTo>
                    <a:lnTo>
                      <a:pt x="1214" y="1118"/>
                    </a:lnTo>
                    <a:lnTo>
                      <a:pt x="1214" y="1118"/>
                    </a:lnTo>
                    <a:lnTo>
                      <a:pt x="1216" y="1116"/>
                    </a:lnTo>
                    <a:lnTo>
                      <a:pt x="1216" y="1116"/>
                    </a:lnTo>
                    <a:lnTo>
                      <a:pt x="1216" y="1116"/>
                    </a:lnTo>
                    <a:lnTo>
                      <a:pt x="1218" y="1114"/>
                    </a:lnTo>
                    <a:lnTo>
                      <a:pt x="1218" y="1114"/>
                    </a:lnTo>
                    <a:lnTo>
                      <a:pt x="1218" y="1112"/>
                    </a:lnTo>
                    <a:lnTo>
                      <a:pt x="1218" y="1112"/>
                    </a:lnTo>
                    <a:lnTo>
                      <a:pt x="1218" y="1112"/>
                    </a:lnTo>
                    <a:lnTo>
                      <a:pt x="1218" y="1110"/>
                    </a:lnTo>
                    <a:lnTo>
                      <a:pt x="1218" y="1108"/>
                    </a:lnTo>
                    <a:lnTo>
                      <a:pt x="1218" y="1106"/>
                    </a:lnTo>
                    <a:lnTo>
                      <a:pt x="1218" y="1104"/>
                    </a:lnTo>
                    <a:lnTo>
                      <a:pt x="1216" y="1102"/>
                    </a:lnTo>
                    <a:lnTo>
                      <a:pt x="1216" y="1100"/>
                    </a:lnTo>
                    <a:lnTo>
                      <a:pt x="1218" y="1098"/>
                    </a:lnTo>
                    <a:lnTo>
                      <a:pt x="1218" y="1096"/>
                    </a:lnTo>
                    <a:lnTo>
                      <a:pt x="1220" y="1094"/>
                    </a:lnTo>
                    <a:lnTo>
                      <a:pt x="1224" y="1088"/>
                    </a:lnTo>
                    <a:lnTo>
                      <a:pt x="1228" y="1082"/>
                    </a:lnTo>
                    <a:lnTo>
                      <a:pt x="1232" y="1080"/>
                    </a:lnTo>
                    <a:lnTo>
                      <a:pt x="1234" y="1078"/>
                    </a:lnTo>
                    <a:lnTo>
                      <a:pt x="1238" y="1076"/>
                    </a:lnTo>
                    <a:lnTo>
                      <a:pt x="1242" y="1074"/>
                    </a:lnTo>
                    <a:lnTo>
                      <a:pt x="1246" y="1072"/>
                    </a:lnTo>
                    <a:lnTo>
                      <a:pt x="1252" y="1068"/>
                    </a:lnTo>
                    <a:lnTo>
                      <a:pt x="1256" y="1066"/>
                    </a:lnTo>
                    <a:lnTo>
                      <a:pt x="1262" y="1066"/>
                    </a:lnTo>
                    <a:lnTo>
                      <a:pt x="1266" y="1064"/>
                    </a:lnTo>
                    <a:lnTo>
                      <a:pt x="1272" y="1062"/>
                    </a:lnTo>
                    <a:lnTo>
                      <a:pt x="1276" y="1062"/>
                    </a:lnTo>
                    <a:lnTo>
                      <a:pt x="1282" y="1062"/>
                    </a:lnTo>
                    <a:lnTo>
                      <a:pt x="1286" y="1064"/>
                    </a:lnTo>
                    <a:lnTo>
                      <a:pt x="1292" y="1064"/>
                    </a:lnTo>
                    <a:lnTo>
                      <a:pt x="1298" y="1066"/>
                    </a:lnTo>
                    <a:lnTo>
                      <a:pt x="1302" y="1066"/>
                    </a:lnTo>
                    <a:lnTo>
                      <a:pt x="1308" y="1068"/>
                    </a:lnTo>
                    <a:lnTo>
                      <a:pt x="1312" y="1068"/>
                    </a:lnTo>
                    <a:lnTo>
                      <a:pt x="1316" y="1070"/>
                    </a:lnTo>
                    <a:lnTo>
                      <a:pt x="1320" y="1070"/>
                    </a:lnTo>
                    <a:lnTo>
                      <a:pt x="1322" y="1072"/>
                    </a:lnTo>
                    <a:lnTo>
                      <a:pt x="1324" y="1072"/>
                    </a:lnTo>
                    <a:lnTo>
                      <a:pt x="1328" y="1072"/>
                    </a:lnTo>
                    <a:lnTo>
                      <a:pt x="1330" y="1074"/>
                    </a:lnTo>
                    <a:lnTo>
                      <a:pt x="1332" y="1074"/>
                    </a:lnTo>
                    <a:lnTo>
                      <a:pt x="1332" y="1074"/>
                    </a:lnTo>
                    <a:lnTo>
                      <a:pt x="1334" y="1074"/>
                    </a:lnTo>
                    <a:lnTo>
                      <a:pt x="1336" y="1072"/>
                    </a:lnTo>
                    <a:lnTo>
                      <a:pt x="1336" y="1072"/>
                    </a:lnTo>
                    <a:lnTo>
                      <a:pt x="1336" y="1072"/>
                    </a:lnTo>
                    <a:lnTo>
                      <a:pt x="1338" y="1072"/>
                    </a:lnTo>
                    <a:lnTo>
                      <a:pt x="1338" y="1072"/>
                    </a:lnTo>
                    <a:lnTo>
                      <a:pt x="1340" y="1070"/>
                    </a:lnTo>
                    <a:lnTo>
                      <a:pt x="1340" y="1068"/>
                    </a:lnTo>
                    <a:lnTo>
                      <a:pt x="1340" y="1068"/>
                    </a:lnTo>
                    <a:lnTo>
                      <a:pt x="1342" y="1068"/>
                    </a:lnTo>
                    <a:lnTo>
                      <a:pt x="1342" y="1066"/>
                    </a:lnTo>
                    <a:lnTo>
                      <a:pt x="1344" y="1064"/>
                    </a:lnTo>
                    <a:lnTo>
                      <a:pt x="1346" y="1060"/>
                    </a:lnTo>
                    <a:lnTo>
                      <a:pt x="1348" y="1058"/>
                    </a:lnTo>
                    <a:lnTo>
                      <a:pt x="1348" y="1056"/>
                    </a:lnTo>
                    <a:lnTo>
                      <a:pt x="1350" y="1056"/>
                    </a:lnTo>
                    <a:lnTo>
                      <a:pt x="1352" y="1054"/>
                    </a:lnTo>
                    <a:lnTo>
                      <a:pt x="1356" y="1054"/>
                    </a:lnTo>
                    <a:lnTo>
                      <a:pt x="1360" y="1054"/>
                    </a:lnTo>
                    <a:lnTo>
                      <a:pt x="1364" y="1054"/>
                    </a:lnTo>
                    <a:lnTo>
                      <a:pt x="1368" y="1054"/>
                    </a:lnTo>
                    <a:lnTo>
                      <a:pt x="1372" y="1054"/>
                    </a:lnTo>
                    <a:lnTo>
                      <a:pt x="1376" y="1054"/>
                    </a:lnTo>
                    <a:lnTo>
                      <a:pt x="1378" y="1054"/>
                    </a:lnTo>
                    <a:lnTo>
                      <a:pt x="1380" y="1054"/>
                    </a:lnTo>
                    <a:lnTo>
                      <a:pt x="1382" y="1054"/>
                    </a:lnTo>
                    <a:lnTo>
                      <a:pt x="1382" y="1056"/>
                    </a:lnTo>
                    <a:lnTo>
                      <a:pt x="1384" y="1056"/>
                    </a:lnTo>
                    <a:lnTo>
                      <a:pt x="1384" y="1058"/>
                    </a:lnTo>
                    <a:lnTo>
                      <a:pt x="1384" y="1058"/>
                    </a:lnTo>
                    <a:lnTo>
                      <a:pt x="1386" y="1058"/>
                    </a:lnTo>
                    <a:lnTo>
                      <a:pt x="1386" y="1058"/>
                    </a:lnTo>
                    <a:lnTo>
                      <a:pt x="1386" y="1058"/>
                    </a:lnTo>
                    <a:lnTo>
                      <a:pt x="1388" y="1058"/>
                    </a:lnTo>
                    <a:lnTo>
                      <a:pt x="1388" y="1058"/>
                    </a:lnTo>
                    <a:lnTo>
                      <a:pt x="1392" y="1060"/>
                    </a:lnTo>
                    <a:lnTo>
                      <a:pt x="1394" y="1060"/>
                    </a:lnTo>
                    <a:lnTo>
                      <a:pt x="1398" y="1060"/>
                    </a:lnTo>
                    <a:lnTo>
                      <a:pt x="1398" y="1060"/>
                    </a:lnTo>
                    <a:lnTo>
                      <a:pt x="1398" y="1060"/>
                    </a:lnTo>
                    <a:lnTo>
                      <a:pt x="1402" y="1060"/>
                    </a:lnTo>
                    <a:lnTo>
                      <a:pt x="1402" y="1060"/>
                    </a:lnTo>
                    <a:lnTo>
                      <a:pt x="1402" y="1060"/>
                    </a:lnTo>
                    <a:lnTo>
                      <a:pt x="1404" y="1060"/>
                    </a:lnTo>
                    <a:lnTo>
                      <a:pt x="1404" y="1060"/>
                    </a:lnTo>
                    <a:lnTo>
                      <a:pt x="1404" y="1060"/>
                    </a:lnTo>
                    <a:lnTo>
                      <a:pt x="1406" y="1058"/>
                    </a:lnTo>
                    <a:lnTo>
                      <a:pt x="1408" y="1056"/>
                    </a:lnTo>
                    <a:lnTo>
                      <a:pt x="1410" y="1054"/>
                    </a:lnTo>
                    <a:lnTo>
                      <a:pt x="1410" y="1054"/>
                    </a:lnTo>
                    <a:lnTo>
                      <a:pt x="1410" y="1054"/>
                    </a:lnTo>
                    <a:lnTo>
                      <a:pt x="1412" y="1056"/>
                    </a:lnTo>
                    <a:lnTo>
                      <a:pt x="1412" y="1056"/>
                    </a:lnTo>
                    <a:lnTo>
                      <a:pt x="1414" y="1058"/>
                    </a:lnTo>
                    <a:lnTo>
                      <a:pt x="1416" y="1060"/>
                    </a:lnTo>
                    <a:lnTo>
                      <a:pt x="1420" y="1064"/>
                    </a:lnTo>
                    <a:lnTo>
                      <a:pt x="1424" y="1070"/>
                    </a:lnTo>
                    <a:lnTo>
                      <a:pt x="1428" y="1076"/>
                    </a:lnTo>
                    <a:lnTo>
                      <a:pt x="1432" y="1080"/>
                    </a:lnTo>
                    <a:lnTo>
                      <a:pt x="1434" y="1086"/>
                    </a:lnTo>
                    <a:lnTo>
                      <a:pt x="1436" y="1088"/>
                    </a:lnTo>
                    <a:lnTo>
                      <a:pt x="1438" y="1092"/>
                    </a:lnTo>
                    <a:lnTo>
                      <a:pt x="1438" y="1094"/>
                    </a:lnTo>
                    <a:lnTo>
                      <a:pt x="1438" y="1098"/>
                    </a:lnTo>
                    <a:lnTo>
                      <a:pt x="1436" y="1100"/>
                    </a:lnTo>
                    <a:lnTo>
                      <a:pt x="1436" y="1102"/>
                    </a:lnTo>
                    <a:lnTo>
                      <a:pt x="1436" y="1106"/>
                    </a:lnTo>
                    <a:lnTo>
                      <a:pt x="1436" y="1106"/>
                    </a:lnTo>
                    <a:lnTo>
                      <a:pt x="1436" y="1106"/>
                    </a:lnTo>
                    <a:lnTo>
                      <a:pt x="1436" y="1108"/>
                    </a:lnTo>
                    <a:lnTo>
                      <a:pt x="1436" y="1108"/>
                    </a:lnTo>
                    <a:lnTo>
                      <a:pt x="1436" y="1108"/>
                    </a:lnTo>
                    <a:lnTo>
                      <a:pt x="1436" y="1112"/>
                    </a:lnTo>
                    <a:lnTo>
                      <a:pt x="1436" y="1112"/>
                    </a:lnTo>
                    <a:lnTo>
                      <a:pt x="1436" y="1112"/>
                    </a:lnTo>
                    <a:lnTo>
                      <a:pt x="1438" y="1116"/>
                    </a:lnTo>
                    <a:lnTo>
                      <a:pt x="1440" y="1118"/>
                    </a:lnTo>
                    <a:lnTo>
                      <a:pt x="1444" y="1126"/>
                    </a:lnTo>
                    <a:lnTo>
                      <a:pt x="1448" y="1128"/>
                    </a:lnTo>
                    <a:lnTo>
                      <a:pt x="1450" y="1132"/>
                    </a:lnTo>
                    <a:lnTo>
                      <a:pt x="1452" y="1134"/>
                    </a:lnTo>
                    <a:lnTo>
                      <a:pt x="1456" y="1136"/>
                    </a:lnTo>
                    <a:lnTo>
                      <a:pt x="1456" y="1136"/>
                    </a:lnTo>
                    <a:lnTo>
                      <a:pt x="1456" y="1136"/>
                    </a:lnTo>
                    <a:lnTo>
                      <a:pt x="1460" y="1138"/>
                    </a:lnTo>
                    <a:lnTo>
                      <a:pt x="1460" y="1138"/>
                    </a:lnTo>
                    <a:lnTo>
                      <a:pt x="1462" y="1138"/>
                    </a:lnTo>
                    <a:lnTo>
                      <a:pt x="1464" y="1138"/>
                    </a:lnTo>
                    <a:lnTo>
                      <a:pt x="1466" y="1138"/>
                    </a:lnTo>
                    <a:lnTo>
                      <a:pt x="1466" y="1138"/>
                    </a:lnTo>
                    <a:lnTo>
                      <a:pt x="1468" y="1138"/>
                    </a:lnTo>
                    <a:lnTo>
                      <a:pt x="1470" y="1138"/>
                    </a:lnTo>
                    <a:lnTo>
                      <a:pt x="1470" y="1138"/>
                    </a:lnTo>
                    <a:lnTo>
                      <a:pt x="1470" y="1138"/>
                    </a:lnTo>
                    <a:lnTo>
                      <a:pt x="1472" y="1136"/>
                    </a:lnTo>
                    <a:lnTo>
                      <a:pt x="1472" y="1136"/>
                    </a:lnTo>
                    <a:lnTo>
                      <a:pt x="1472" y="1136"/>
                    </a:lnTo>
                    <a:lnTo>
                      <a:pt x="1474" y="1134"/>
                    </a:lnTo>
                    <a:lnTo>
                      <a:pt x="1474" y="1134"/>
                    </a:lnTo>
                    <a:lnTo>
                      <a:pt x="1474" y="1132"/>
                    </a:lnTo>
                    <a:lnTo>
                      <a:pt x="1476" y="1130"/>
                    </a:lnTo>
                    <a:lnTo>
                      <a:pt x="1476" y="1130"/>
                    </a:lnTo>
                    <a:lnTo>
                      <a:pt x="1476" y="1130"/>
                    </a:lnTo>
                    <a:lnTo>
                      <a:pt x="1476" y="1128"/>
                    </a:lnTo>
                    <a:lnTo>
                      <a:pt x="1476" y="1126"/>
                    </a:lnTo>
                    <a:lnTo>
                      <a:pt x="1478" y="1120"/>
                    </a:lnTo>
                    <a:lnTo>
                      <a:pt x="1478" y="1114"/>
                    </a:lnTo>
                    <a:lnTo>
                      <a:pt x="1478" y="1106"/>
                    </a:lnTo>
                    <a:lnTo>
                      <a:pt x="1476" y="1100"/>
                    </a:lnTo>
                    <a:lnTo>
                      <a:pt x="1476" y="1094"/>
                    </a:lnTo>
                    <a:lnTo>
                      <a:pt x="1476" y="1086"/>
                    </a:lnTo>
                    <a:lnTo>
                      <a:pt x="1474" y="1082"/>
                    </a:lnTo>
                    <a:lnTo>
                      <a:pt x="1474" y="1082"/>
                    </a:lnTo>
                    <a:lnTo>
                      <a:pt x="1474" y="1080"/>
                    </a:lnTo>
                    <a:lnTo>
                      <a:pt x="1472" y="1076"/>
                    </a:lnTo>
                    <a:lnTo>
                      <a:pt x="1470" y="1072"/>
                    </a:lnTo>
                    <a:lnTo>
                      <a:pt x="1466" y="1066"/>
                    </a:lnTo>
                    <a:lnTo>
                      <a:pt x="1462" y="1064"/>
                    </a:lnTo>
                    <a:lnTo>
                      <a:pt x="1460" y="1060"/>
                    </a:lnTo>
                    <a:lnTo>
                      <a:pt x="1458" y="1056"/>
                    </a:lnTo>
                    <a:lnTo>
                      <a:pt x="1456" y="1052"/>
                    </a:lnTo>
                    <a:lnTo>
                      <a:pt x="1454" y="1050"/>
                    </a:lnTo>
                    <a:lnTo>
                      <a:pt x="1452" y="1046"/>
                    </a:lnTo>
                    <a:lnTo>
                      <a:pt x="1452" y="1044"/>
                    </a:lnTo>
                    <a:lnTo>
                      <a:pt x="1452" y="1040"/>
                    </a:lnTo>
                    <a:lnTo>
                      <a:pt x="1452" y="1038"/>
                    </a:lnTo>
                    <a:lnTo>
                      <a:pt x="1452" y="1036"/>
                    </a:lnTo>
                    <a:lnTo>
                      <a:pt x="1452" y="1034"/>
                    </a:lnTo>
                    <a:lnTo>
                      <a:pt x="1454" y="1030"/>
                    </a:lnTo>
                    <a:lnTo>
                      <a:pt x="1458" y="1026"/>
                    </a:lnTo>
                    <a:lnTo>
                      <a:pt x="1460" y="1024"/>
                    </a:lnTo>
                    <a:lnTo>
                      <a:pt x="1462" y="1022"/>
                    </a:lnTo>
                    <a:lnTo>
                      <a:pt x="1464" y="1020"/>
                    </a:lnTo>
                    <a:lnTo>
                      <a:pt x="1468" y="1018"/>
                    </a:lnTo>
                    <a:lnTo>
                      <a:pt x="1474" y="1014"/>
                    </a:lnTo>
                    <a:lnTo>
                      <a:pt x="1482" y="1008"/>
                    </a:lnTo>
                    <a:lnTo>
                      <a:pt x="1490" y="1002"/>
                    </a:lnTo>
                    <a:lnTo>
                      <a:pt x="1498" y="998"/>
                    </a:lnTo>
                    <a:lnTo>
                      <a:pt x="1504" y="992"/>
                    </a:lnTo>
                    <a:lnTo>
                      <a:pt x="1508" y="990"/>
                    </a:lnTo>
                    <a:lnTo>
                      <a:pt x="1510" y="988"/>
                    </a:lnTo>
                    <a:lnTo>
                      <a:pt x="1516" y="984"/>
                    </a:lnTo>
                    <a:lnTo>
                      <a:pt x="1520" y="982"/>
                    </a:lnTo>
                    <a:lnTo>
                      <a:pt x="1526" y="978"/>
                    </a:lnTo>
                    <a:lnTo>
                      <a:pt x="1530" y="976"/>
                    </a:lnTo>
                    <a:lnTo>
                      <a:pt x="1534" y="972"/>
                    </a:lnTo>
                    <a:lnTo>
                      <a:pt x="1538" y="968"/>
                    </a:lnTo>
                    <a:lnTo>
                      <a:pt x="1540" y="964"/>
                    </a:lnTo>
                    <a:lnTo>
                      <a:pt x="1540" y="964"/>
                    </a:lnTo>
                    <a:lnTo>
                      <a:pt x="1542" y="964"/>
                    </a:lnTo>
                    <a:lnTo>
                      <a:pt x="1544" y="960"/>
                    </a:lnTo>
                    <a:lnTo>
                      <a:pt x="1544" y="960"/>
                    </a:lnTo>
                    <a:lnTo>
                      <a:pt x="1544" y="958"/>
                    </a:lnTo>
                    <a:lnTo>
                      <a:pt x="1546" y="954"/>
                    </a:lnTo>
                    <a:lnTo>
                      <a:pt x="1546" y="954"/>
                    </a:lnTo>
                    <a:lnTo>
                      <a:pt x="1546" y="954"/>
                    </a:lnTo>
                    <a:lnTo>
                      <a:pt x="1546" y="948"/>
                    </a:lnTo>
                    <a:lnTo>
                      <a:pt x="1546" y="942"/>
                    </a:lnTo>
                    <a:lnTo>
                      <a:pt x="1546" y="936"/>
                    </a:lnTo>
                    <a:lnTo>
                      <a:pt x="1546" y="928"/>
                    </a:lnTo>
                    <a:lnTo>
                      <a:pt x="1544" y="922"/>
                    </a:lnTo>
                    <a:lnTo>
                      <a:pt x="1544" y="916"/>
                    </a:lnTo>
                    <a:lnTo>
                      <a:pt x="1544" y="918"/>
                    </a:lnTo>
                    <a:lnTo>
                      <a:pt x="1546" y="912"/>
                    </a:lnTo>
                    <a:lnTo>
                      <a:pt x="1548" y="906"/>
                    </a:lnTo>
                    <a:lnTo>
                      <a:pt x="1550" y="902"/>
                    </a:lnTo>
                    <a:lnTo>
                      <a:pt x="1552" y="896"/>
                    </a:lnTo>
                    <a:lnTo>
                      <a:pt x="1556" y="892"/>
                    </a:lnTo>
                    <a:lnTo>
                      <a:pt x="1560" y="888"/>
                    </a:lnTo>
                    <a:lnTo>
                      <a:pt x="1562" y="884"/>
                    </a:lnTo>
                    <a:lnTo>
                      <a:pt x="1566" y="880"/>
                    </a:lnTo>
                    <a:lnTo>
                      <a:pt x="1570" y="876"/>
                    </a:lnTo>
                    <a:lnTo>
                      <a:pt x="1572" y="874"/>
                    </a:lnTo>
                    <a:lnTo>
                      <a:pt x="1574" y="872"/>
                    </a:lnTo>
                    <a:lnTo>
                      <a:pt x="1578" y="872"/>
                    </a:lnTo>
                    <a:lnTo>
                      <a:pt x="1580" y="870"/>
                    </a:lnTo>
                    <a:lnTo>
                      <a:pt x="1586" y="870"/>
                    </a:lnTo>
                    <a:lnTo>
                      <a:pt x="1590" y="868"/>
                    </a:lnTo>
                    <a:lnTo>
                      <a:pt x="1594" y="866"/>
                    </a:lnTo>
                    <a:lnTo>
                      <a:pt x="1598" y="866"/>
                    </a:lnTo>
                    <a:lnTo>
                      <a:pt x="1604" y="864"/>
                    </a:lnTo>
                    <a:lnTo>
                      <a:pt x="1608" y="862"/>
                    </a:lnTo>
                    <a:lnTo>
                      <a:pt x="1614" y="862"/>
                    </a:lnTo>
                    <a:lnTo>
                      <a:pt x="1620" y="860"/>
                    </a:lnTo>
                    <a:lnTo>
                      <a:pt x="1624" y="858"/>
                    </a:lnTo>
                    <a:lnTo>
                      <a:pt x="1628" y="856"/>
                    </a:lnTo>
                    <a:lnTo>
                      <a:pt x="1628" y="856"/>
                    </a:lnTo>
                    <a:lnTo>
                      <a:pt x="1628" y="856"/>
                    </a:lnTo>
                    <a:lnTo>
                      <a:pt x="1630" y="856"/>
                    </a:lnTo>
                    <a:lnTo>
                      <a:pt x="1630" y="856"/>
                    </a:lnTo>
                    <a:lnTo>
                      <a:pt x="1630" y="856"/>
                    </a:lnTo>
                    <a:lnTo>
                      <a:pt x="1632" y="854"/>
                    </a:lnTo>
                    <a:lnTo>
                      <a:pt x="1632" y="854"/>
                    </a:lnTo>
                    <a:lnTo>
                      <a:pt x="1632" y="854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0"/>
                    </a:lnTo>
                    <a:lnTo>
                      <a:pt x="1632" y="848"/>
                    </a:lnTo>
                    <a:lnTo>
                      <a:pt x="1632" y="848"/>
                    </a:lnTo>
                    <a:lnTo>
                      <a:pt x="1632" y="846"/>
                    </a:lnTo>
                    <a:lnTo>
                      <a:pt x="1630" y="844"/>
                    </a:lnTo>
                    <a:lnTo>
                      <a:pt x="1630" y="844"/>
                    </a:lnTo>
                    <a:lnTo>
                      <a:pt x="1630" y="844"/>
                    </a:lnTo>
                    <a:lnTo>
                      <a:pt x="1628" y="842"/>
                    </a:lnTo>
                    <a:lnTo>
                      <a:pt x="1626" y="840"/>
                    </a:lnTo>
                    <a:lnTo>
                      <a:pt x="1624" y="838"/>
                    </a:lnTo>
                    <a:lnTo>
                      <a:pt x="1622" y="836"/>
                    </a:lnTo>
                    <a:lnTo>
                      <a:pt x="1622" y="836"/>
                    </a:lnTo>
                    <a:lnTo>
                      <a:pt x="1622" y="834"/>
                    </a:lnTo>
                    <a:lnTo>
                      <a:pt x="1622" y="830"/>
                    </a:lnTo>
                    <a:lnTo>
                      <a:pt x="1622" y="824"/>
                    </a:lnTo>
                    <a:lnTo>
                      <a:pt x="1622" y="822"/>
                    </a:lnTo>
                    <a:lnTo>
                      <a:pt x="1622" y="820"/>
                    </a:lnTo>
                    <a:lnTo>
                      <a:pt x="1624" y="816"/>
                    </a:lnTo>
                    <a:lnTo>
                      <a:pt x="1624" y="816"/>
                    </a:lnTo>
                    <a:lnTo>
                      <a:pt x="1624" y="816"/>
                    </a:lnTo>
                    <a:lnTo>
                      <a:pt x="1624" y="814"/>
                    </a:lnTo>
                    <a:lnTo>
                      <a:pt x="1626" y="814"/>
                    </a:lnTo>
                    <a:lnTo>
                      <a:pt x="1630" y="814"/>
                    </a:lnTo>
                    <a:lnTo>
                      <a:pt x="1630" y="814"/>
                    </a:lnTo>
                    <a:lnTo>
                      <a:pt x="1630" y="814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4" y="810"/>
                    </a:lnTo>
                    <a:lnTo>
                      <a:pt x="1634" y="810"/>
                    </a:lnTo>
                    <a:lnTo>
                      <a:pt x="1634" y="810"/>
                    </a:lnTo>
                    <a:lnTo>
                      <a:pt x="1634" y="808"/>
                    </a:lnTo>
                    <a:lnTo>
                      <a:pt x="1636" y="808"/>
                    </a:lnTo>
                    <a:lnTo>
                      <a:pt x="1636" y="802"/>
                    </a:lnTo>
                    <a:lnTo>
                      <a:pt x="1638" y="798"/>
                    </a:lnTo>
                    <a:lnTo>
                      <a:pt x="1638" y="798"/>
                    </a:lnTo>
                    <a:lnTo>
                      <a:pt x="1640" y="796"/>
                    </a:lnTo>
                    <a:lnTo>
                      <a:pt x="1640" y="796"/>
                    </a:lnTo>
                    <a:lnTo>
                      <a:pt x="1640" y="796"/>
                    </a:lnTo>
                    <a:lnTo>
                      <a:pt x="1644" y="796"/>
                    </a:lnTo>
                    <a:lnTo>
                      <a:pt x="1648" y="796"/>
                    </a:lnTo>
                    <a:lnTo>
                      <a:pt x="1652" y="796"/>
                    </a:lnTo>
                    <a:lnTo>
                      <a:pt x="1652" y="796"/>
                    </a:lnTo>
                    <a:lnTo>
                      <a:pt x="1652" y="796"/>
                    </a:lnTo>
                    <a:lnTo>
                      <a:pt x="1654" y="796"/>
                    </a:lnTo>
                    <a:lnTo>
                      <a:pt x="1654" y="796"/>
                    </a:lnTo>
                    <a:lnTo>
                      <a:pt x="1654" y="796"/>
                    </a:lnTo>
                    <a:lnTo>
                      <a:pt x="1656" y="794"/>
                    </a:lnTo>
                    <a:lnTo>
                      <a:pt x="1660" y="794"/>
                    </a:lnTo>
                    <a:lnTo>
                      <a:pt x="1664" y="790"/>
                    </a:lnTo>
                    <a:lnTo>
                      <a:pt x="1666" y="788"/>
                    </a:lnTo>
                    <a:lnTo>
                      <a:pt x="1670" y="784"/>
                    </a:lnTo>
                    <a:lnTo>
                      <a:pt x="1670" y="782"/>
                    </a:lnTo>
                    <a:lnTo>
                      <a:pt x="1670" y="782"/>
                    </a:lnTo>
                    <a:lnTo>
                      <a:pt x="1672" y="782"/>
                    </a:lnTo>
                    <a:lnTo>
                      <a:pt x="1672" y="780"/>
                    </a:lnTo>
                    <a:lnTo>
                      <a:pt x="1672" y="780"/>
                    </a:lnTo>
                    <a:lnTo>
                      <a:pt x="1672" y="780"/>
                    </a:lnTo>
                    <a:lnTo>
                      <a:pt x="1672" y="778"/>
                    </a:lnTo>
                    <a:close/>
                    <a:moveTo>
                      <a:pt x="688" y="518"/>
                    </a:moveTo>
                    <a:lnTo>
                      <a:pt x="688" y="516"/>
                    </a:lnTo>
                    <a:lnTo>
                      <a:pt x="688" y="516"/>
                    </a:lnTo>
                    <a:lnTo>
                      <a:pt x="688" y="516"/>
                    </a:lnTo>
                    <a:lnTo>
                      <a:pt x="686" y="514"/>
                    </a:lnTo>
                    <a:lnTo>
                      <a:pt x="686" y="514"/>
                    </a:lnTo>
                    <a:lnTo>
                      <a:pt x="686" y="514"/>
                    </a:lnTo>
                    <a:lnTo>
                      <a:pt x="684" y="512"/>
                    </a:lnTo>
                    <a:lnTo>
                      <a:pt x="684" y="512"/>
                    </a:lnTo>
                    <a:lnTo>
                      <a:pt x="682" y="512"/>
                    </a:lnTo>
                    <a:lnTo>
                      <a:pt x="682" y="512"/>
                    </a:lnTo>
                    <a:lnTo>
                      <a:pt x="682" y="512"/>
                    </a:lnTo>
                    <a:lnTo>
                      <a:pt x="680" y="510"/>
                    </a:lnTo>
                    <a:lnTo>
                      <a:pt x="678" y="508"/>
                    </a:lnTo>
                    <a:lnTo>
                      <a:pt x="678" y="506"/>
                    </a:lnTo>
                    <a:lnTo>
                      <a:pt x="678" y="506"/>
                    </a:lnTo>
                    <a:lnTo>
                      <a:pt x="676" y="506"/>
                    </a:lnTo>
                    <a:lnTo>
                      <a:pt x="672" y="504"/>
                    </a:lnTo>
                    <a:lnTo>
                      <a:pt x="670" y="504"/>
                    </a:lnTo>
                    <a:lnTo>
                      <a:pt x="668" y="504"/>
                    </a:lnTo>
                    <a:lnTo>
                      <a:pt x="668" y="504"/>
                    </a:lnTo>
                    <a:lnTo>
                      <a:pt x="666" y="502"/>
                    </a:lnTo>
                    <a:lnTo>
                      <a:pt x="666" y="502"/>
                    </a:lnTo>
                    <a:lnTo>
                      <a:pt x="664" y="502"/>
                    </a:lnTo>
                    <a:lnTo>
                      <a:pt x="664" y="500"/>
                    </a:lnTo>
                    <a:lnTo>
                      <a:pt x="664" y="498"/>
                    </a:lnTo>
                    <a:lnTo>
                      <a:pt x="662" y="494"/>
                    </a:lnTo>
                    <a:lnTo>
                      <a:pt x="662" y="494"/>
                    </a:lnTo>
                    <a:lnTo>
                      <a:pt x="662" y="492"/>
                    </a:lnTo>
                    <a:lnTo>
                      <a:pt x="660" y="490"/>
                    </a:lnTo>
                    <a:lnTo>
                      <a:pt x="658" y="490"/>
                    </a:lnTo>
                    <a:lnTo>
                      <a:pt x="656" y="484"/>
                    </a:lnTo>
                    <a:lnTo>
                      <a:pt x="656" y="484"/>
                    </a:lnTo>
                    <a:lnTo>
                      <a:pt x="656" y="484"/>
                    </a:lnTo>
                    <a:lnTo>
                      <a:pt x="652" y="482"/>
                    </a:lnTo>
                    <a:lnTo>
                      <a:pt x="650" y="478"/>
                    </a:lnTo>
                    <a:lnTo>
                      <a:pt x="648" y="476"/>
                    </a:lnTo>
                    <a:lnTo>
                      <a:pt x="646" y="472"/>
                    </a:lnTo>
                    <a:lnTo>
                      <a:pt x="646" y="472"/>
                    </a:lnTo>
                    <a:lnTo>
                      <a:pt x="646" y="470"/>
                    </a:lnTo>
                    <a:lnTo>
                      <a:pt x="644" y="466"/>
                    </a:lnTo>
                    <a:lnTo>
                      <a:pt x="642" y="462"/>
                    </a:lnTo>
                    <a:lnTo>
                      <a:pt x="640" y="456"/>
                    </a:lnTo>
                    <a:lnTo>
                      <a:pt x="638" y="452"/>
                    </a:lnTo>
                    <a:lnTo>
                      <a:pt x="638" y="452"/>
                    </a:lnTo>
                    <a:lnTo>
                      <a:pt x="638" y="452"/>
                    </a:lnTo>
                    <a:lnTo>
                      <a:pt x="632" y="446"/>
                    </a:lnTo>
                    <a:lnTo>
                      <a:pt x="628" y="440"/>
                    </a:lnTo>
                    <a:lnTo>
                      <a:pt x="628" y="440"/>
                    </a:lnTo>
                    <a:lnTo>
                      <a:pt x="628" y="440"/>
                    </a:lnTo>
                    <a:lnTo>
                      <a:pt x="624" y="438"/>
                    </a:lnTo>
                    <a:lnTo>
                      <a:pt x="622" y="436"/>
                    </a:lnTo>
                    <a:lnTo>
                      <a:pt x="620" y="436"/>
                    </a:lnTo>
                    <a:lnTo>
                      <a:pt x="620" y="434"/>
                    </a:lnTo>
                    <a:lnTo>
                      <a:pt x="620" y="434"/>
                    </a:lnTo>
                    <a:lnTo>
                      <a:pt x="620" y="434"/>
                    </a:lnTo>
                    <a:lnTo>
                      <a:pt x="618" y="432"/>
                    </a:lnTo>
                    <a:lnTo>
                      <a:pt x="616" y="430"/>
                    </a:lnTo>
                    <a:lnTo>
                      <a:pt x="614" y="428"/>
                    </a:lnTo>
                    <a:lnTo>
                      <a:pt x="614" y="428"/>
                    </a:lnTo>
                    <a:lnTo>
                      <a:pt x="614" y="428"/>
                    </a:lnTo>
                    <a:lnTo>
                      <a:pt x="610" y="428"/>
                    </a:lnTo>
                    <a:lnTo>
                      <a:pt x="610" y="428"/>
                    </a:lnTo>
                    <a:lnTo>
                      <a:pt x="610" y="428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8"/>
                    </a:lnTo>
                    <a:lnTo>
                      <a:pt x="604" y="428"/>
                    </a:lnTo>
                    <a:lnTo>
                      <a:pt x="602" y="430"/>
                    </a:lnTo>
                    <a:lnTo>
                      <a:pt x="602" y="430"/>
                    </a:lnTo>
                    <a:lnTo>
                      <a:pt x="602" y="430"/>
                    </a:lnTo>
                    <a:lnTo>
                      <a:pt x="600" y="432"/>
                    </a:lnTo>
                    <a:lnTo>
                      <a:pt x="600" y="432"/>
                    </a:lnTo>
                    <a:lnTo>
                      <a:pt x="600" y="432"/>
                    </a:lnTo>
                    <a:lnTo>
                      <a:pt x="600" y="434"/>
                    </a:lnTo>
                    <a:lnTo>
                      <a:pt x="600" y="434"/>
                    </a:lnTo>
                    <a:lnTo>
                      <a:pt x="600" y="436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598" y="440"/>
                    </a:lnTo>
                    <a:lnTo>
                      <a:pt x="594" y="440"/>
                    </a:lnTo>
                    <a:lnTo>
                      <a:pt x="594" y="440"/>
                    </a:lnTo>
                    <a:lnTo>
                      <a:pt x="592" y="440"/>
                    </a:lnTo>
                    <a:lnTo>
                      <a:pt x="592" y="438"/>
                    </a:lnTo>
                    <a:lnTo>
                      <a:pt x="590" y="436"/>
                    </a:lnTo>
                    <a:lnTo>
                      <a:pt x="590" y="436"/>
                    </a:lnTo>
                    <a:lnTo>
                      <a:pt x="590" y="436"/>
                    </a:lnTo>
                    <a:lnTo>
                      <a:pt x="586" y="434"/>
                    </a:lnTo>
                    <a:lnTo>
                      <a:pt x="582" y="430"/>
                    </a:lnTo>
                    <a:lnTo>
                      <a:pt x="580" y="428"/>
                    </a:lnTo>
                    <a:lnTo>
                      <a:pt x="578" y="422"/>
                    </a:lnTo>
                    <a:lnTo>
                      <a:pt x="578" y="422"/>
                    </a:lnTo>
                    <a:lnTo>
                      <a:pt x="578" y="420"/>
                    </a:lnTo>
                    <a:lnTo>
                      <a:pt x="578" y="418"/>
                    </a:lnTo>
                    <a:lnTo>
                      <a:pt x="578" y="418"/>
                    </a:lnTo>
                    <a:lnTo>
                      <a:pt x="576" y="416"/>
                    </a:lnTo>
                    <a:lnTo>
                      <a:pt x="576" y="416"/>
                    </a:lnTo>
                    <a:lnTo>
                      <a:pt x="576" y="416"/>
                    </a:lnTo>
                    <a:lnTo>
                      <a:pt x="576" y="414"/>
                    </a:lnTo>
                    <a:lnTo>
                      <a:pt x="574" y="414"/>
                    </a:lnTo>
                    <a:lnTo>
                      <a:pt x="574" y="414"/>
                    </a:lnTo>
                    <a:lnTo>
                      <a:pt x="574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4" y="408"/>
                    </a:lnTo>
                    <a:lnTo>
                      <a:pt x="574" y="406"/>
                    </a:lnTo>
                    <a:lnTo>
                      <a:pt x="574" y="404"/>
                    </a:lnTo>
                    <a:lnTo>
                      <a:pt x="574" y="400"/>
                    </a:lnTo>
                    <a:lnTo>
                      <a:pt x="574" y="396"/>
                    </a:lnTo>
                    <a:lnTo>
                      <a:pt x="574" y="394"/>
                    </a:lnTo>
                    <a:lnTo>
                      <a:pt x="572" y="392"/>
                    </a:lnTo>
                    <a:lnTo>
                      <a:pt x="572" y="390"/>
                    </a:lnTo>
                    <a:lnTo>
                      <a:pt x="572" y="386"/>
                    </a:lnTo>
                    <a:lnTo>
                      <a:pt x="572" y="382"/>
                    </a:lnTo>
                    <a:lnTo>
                      <a:pt x="572" y="378"/>
                    </a:lnTo>
                    <a:lnTo>
                      <a:pt x="572" y="372"/>
                    </a:lnTo>
                    <a:lnTo>
                      <a:pt x="572" y="364"/>
                    </a:lnTo>
                    <a:lnTo>
                      <a:pt x="572" y="358"/>
                    </a:lnTo>
                    <a:lnTo>
                      <a:pt x="572" y="348"/>
                    </a:lnTo>
                    <a:lnTo>
                      <a:pt x="572" y="338"/>
                    </a:lnTo>
                    <a:lnTo>
                      <a:pt x="572" y="330"/>
                    </a:lnTo>
                    <a:lnTo>
                      <a:pt x="572" y="324"/>
                    </a:lnTo>
                    <a:lnTo>
                      <a:pt x="572" y="316"/>
                    </a:lnTo>
                    <a:lnTo>
                      <a:pt x="572" y="310"/>
                    </a:lnTo>
                    <a:lnTo>
                      <a:pt x="572" y="302"/>
                    </a:lnTo>
                    <a:lnTo>
                      <a:pt x="572" y="292"/>
                    </a:lnTo>
                    <a:lnTo>
                      <a:pt x="572" y="276"/>
                    </a:lnTo>
                    <a:lnTo>
                      <a:pt x="572" y="256"/>
                    </a:lnTo>
                    <a:lnTo>
                      <a:pt x="572" y="238"/>
                    </a:lnTo>
                    <a:lnTo>
                      <a:pt x="572" y="218"/>
                    </a:lnTo>
                    <a:lnTo>
                      <a:pt x="572" y="200"/>
                    </a:lnTo>
                    <a:lnTo>
                      <a:pt x="572" y="180"/>
                    </a:lnTo>
                    <a:lnTo>
                      <a:pt x="572" y="162"/>
                    </a:lnTo>
                    <a:lnTo>
                      <a:pt x="572" y="144"/>
                    </a:lnTo>
                    <a:lnTo>
                      <a:pt x="572" y="136"/>
                    </a:lnTo>
                    <a:lnTo>
                      <a:pt x="572" y="130"/>
                    </a:lnTo>
                    <a:lnTo>
                      <a:pt x="572" y="122"/>
                    </a:lnTo>
                    <a:lnTo>
                      <a:pt x="572" y="114"/>
                    </a:lnTo>
                    <a:lnTo>
                      <a:pt x="572" y="108"/>
                    </a:lnTo>
                    <a:lnTo>
                      <a:pt x="574" y="102"/>
                    </a:lnTo>
                    <a:lnTo>
                      <a:pt x="574" y="88"/>
                    </a:lnTo>
                    <a:lnTo>
                      <a:pt x="574" y="86"/>
                    </a:lnTo>
                    <a:lnTo>
                      <a:pt x="574" y="82"/>
                    </a:lnTo>
                    <a:lnTo>
                      <a:pt x="574" y="80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6" y="74"/>
                    </a:lnTo>
                    <a:lnTo>
                      <a:pt x="576" y="74"/>
                    </a:lnTo>
                    <a:lnTo>
                      <a:pt x="576" y="72"/>
                    </a:lnTo>
                    <a:lnTo>
                      <a:pt x="576" y="72"/>
                    </a:lnTo>
                    <a:lnTo>
                      <a:pt x="576" y="72"/>
                    </a:lnTo>
                    <a:lnTo>
                      <a:pt x="576" y="70"/>
                    </a:lnTo>
                    <a:lnTo>
                      <a:pt x="576" y="68"/>
                    </a:lnTo>
                    <a:lnTo>
                      <a:pt x="576" y="68"/>
                    </a:lnTo>
                    <a:lnTo>
                      <a:pt x="576" y="68"/>
                    </a:lnTo>
                    <a:lnTo>
                      <a:pt x="576" y="66"/>
                    </a:lnTo>
                    <a:lnTo>
                      <a:pt x="576" y="66"/>
                    </a:lnTo>
                    <a:lnTo>
                      <a:pt x="576" y="66"/>
                    </a:lnTo>
                    <a:lnTo>
                      <a:pt x="576" y="64"/>
                    </a:lnTo>
                    <a:lnTo>
                      <a:pt x="576" y="64"/>
                    </a:lnTo>
                    <a:lnTo>
                      <a:pt x="574" y="64"/>
                    </a:lnTo>
                    <a:lnTo>
                      <a:pt x="574" y="64"/>
                    </a:lnTo>
                    <a:lnTo>
                      <a:pt x="574" y="64"/>
                    </a:lnTo>
                    <a:lnTo>
                      <a:pt x="570" y="64"/>
                    </a:lnTo>
                    <a:lnTo>
                      <a:pt x="570" y="66"/>
                    </a:lnTo>
                    <a:lnTo>
                      <a:pt x="570" y="66"/>
                    </a:lnTo>
                    <a:lnTo>
                      <a:pt x="570" y="66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68" y="68"/>
                    </a:lnTo>
                    <a:lnTo>
                      <a:pt x="566" y="68"/>
                    </a:lnTo>
                    <a:lnTo>
                      <a:pt x="560" y="66"/>
                    </a:lnTo>
                    <a:lnTo>
                      <a:pt x="554" y="66"/>
                    </a:lnTo>
                    <a:lnTo>
                      <a:pt x="546" y="66"/>
                    </a:lnTo>
                    <a:lnTo>
                      <a:pt x="538" y="66"/>
                    </a:lnTo>
                    <a:lnTo>
                      <a:pt x="532" y="68"/>
                    </a:lnTo>
                    <a:lnTo>
                      <a:pt x="524" y="68"/>
                    </a:lnTo>
                    <a:lnTo>
                      <a:pt x="518" y="66"/>
                    </a:lnTo>
                    <a:lnTo>
                      <a:pt x="508" y="66"/>
                    </a:lnTo>
                    <a:lnTo>
                      <a:pt x="498" y="64"/>
                    </a:lnTo>
                    <a:lnTo>
                      <a:pt x="490" y="62"/>
                    </a:lnTo>
                    <a:lnTo>
                      <a:pt x="486" y="60"/>
                    </a:lnTo>
                    <a:lnTo>
                      <a:pt x="482" y="60"/>
                    </a:lnTo>
                    <a:lnTo>
                      <a:pt x="478" y="56"/>
                    </a:lnTo>
                    <a:lnTo>
                      <a:pt x="478" y="58"/>
                    </a:lnTo>
                    <a:lnTo>
                      <a:pt x="474" y="54"/>
                    </a:lnTo>
                    <a:lnTo>
                      <a:pt x="470" y="50"/>
                    </a:lnTo>
                    <a:lnTo>
                      <a:pt x="464" y="44"/>
                    </a:lnTo>
                    <a:lnTo>
                      <a:pt x="460" y="40"/>
                    </a:lnTo>
                    <a:lnTo>
                      <a:pt x="460" y="40"/>
                    </a:lnTo>
                    <a:lnTo>
                      <a:pt x="460" y="40"/>
                    </a:lnTo>
                    <a:lnTo>
                      <a:pt x="458" y="38"/>
                    </a:lnTo>
                    <a:lnTo>
                      <a:pt x="458" y="38"/>
                    </a:lnTo>
                    <a:lnTo>
                      <a:pt x="456" y="38"/>
                    </a:lnTo>
                    <a:lnTo>
                      <a:pt x="452" y="38"/>
                    </a:lnTo>
                    <a:lnTo>
                      <a:pt x="452" y="38"/>
                    </a:lnTo>
                    <a:lnTo>
                      <a:pt x="452" y="38"/>
                    </a:lnTo>
                    <a:lnTo>
                      <a:pt x="448" y="38"/>
                    </a:lnTo>
                    <a:lnTo>
                      <a:pt x="448" y="38"/>
                    </a:lnTo>
                    <a:lnTo>
                      <a:pt x="448" y="38"/>
                    </a:lnTo>
                    <a:lnTo>
                      <a:pt x="444" y="38"/>
                    </a:lnTo>
                    <a:lnTo>
                      <a:pt x="444" y="38"/>
                    </a:lnTo>
                    <a:lnTo>
                      <a:pt x="444" y="40"/>
                    </a:lnTo>
                    <a:lnTo>
                      <a:pt x="440" y="42"/>
                    </a:lnTo>
                    <a:lnTo>
                      <a:pt x="436" y="44"/>
                    </a:lnTo>
                    <a:lnTo>
                      <a:pt x="434" y="46"/>
                    </a:lnTo>
                    <a:lnTo>
                      <a:pt x="430" y="48"/>
                    </a:lnTo>
                    <a:lnTo>
                      <a:pt x="428" y="50"/>
                    </a:lnTo>
                    <a:lnTo>
                      <a:pt x="426" y="50"/>
                    </a:lnTo>
                    <a:lnTo>
                      <a:pt x="424" y="50"/>
                    </a:lnTo>
                    <a:lnTo>
                      <a:pt x="422" y="50"/>
                    </a:lnTo>
                    <a:lnTo>
                      <a:pt x="420" y="50"/>
                    </a:lnTo>
                    <a:lnTo>
                      <a:pt x="420" y="50"/>
                    </a:lnTo>
                    <a:lnTo>
                      <a:pt x="418" y="46"/>
                    </a:lnTo>
                    <a:lnTo>
                      <a:pt x="414" y="44"/>
                    </a:lnTo>
                    <a:lnTo>
                      <a:pt x="412" y="42"/>
                    </a:lnTo>
                    <a:lnTo>
                      <a:pt x="412" y="40"/>
                    </a:lnTo>
                    <a:lnTo>
                      <a:pt x="408" y="36"/>
                    </a:lnTo>
                    <a:lnTo>
                      <a:pt x="406" y="32"/>
                    </a:lnTo>
                    <a:lnTo>
                      <a:pt x="404" y="30"/>
                    </a:lnTo>
                    <a:lnTo>
                      <a:pt x="402" y="28"/>
                    </a:lnTo>
                    <a:lnTo>
                      <a:pt x="400" y="26"/>
                    </a:lnTo>
                    <a:lnTo>
                      <a:pt x="400" y="26"/>
                    </a:lnTo>
                    <a:lnTo>
                      <a:pt x="398" y="26"/>
                    </a:lnTo>
                    <a:lnTo>
                      <a:pt x="396" y="24"/>
                    </a:lnTo>
                    <a:lnTo>
                      <a:pt x="396" y="24"/>
                    </a:lnTo>
                    <a:lnTo>
                      <a:pt x="396" y="24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0"/>
                    </a:lnTo>
                    <a:lnTo>
                      <a:pt x="382" y="20"/>
                    </a:lnTo>
                    <a:lnTo>
                      <a:pt x="382" y="20"/>
                    </a:lnTo>
                    <a:lnTo>
                      <a:pt x="380" y="20"/>
                    </a:lnTo>
                    <a:lnTo>
                      <a:pt x="376" y="20"/>
                    </a:lnTo>
                    <a:lnTo>
                      <a:pt x="376" y="20"/>
                    </a:lnTo>
                    <a:lnTo>
                      <a:pt x="376" y="20"/>
                    </a:lnTo>
                    <a:lnTo>
                      <a:pt x="374" y="20"/>
                    </a:lnTo>
                    <a:lnTo>
                      <a:pt x="370" y="22"/>
                    </a:lnTo>
                    <a:lnTo>
                      <a:pt x="368" y="24"/>
                    </a:lnTo>
                    <a:lnTo>
                      <a:pt x="364" y="26"/>
                    </a:lnTo>
                    <a:lnTo>
                      <a:pt x="360" y="28"/>
                    </a:lnTo>
                    <a:lnTo>
                      <a:pt x="358" y="30"/>
                    </a:lnTo>
                    <a:lnTo>
                      <a:pt x="354" y="34"/>
                    </a:lnTo>
                    <a:lnTo>
                      <a:pt x="352" y="36"/>
                    </a:lnTo>
                    <a:lnTo>
                      <a:pt x="350" y="36"/>
                    </a:lnTo>
                    <a:lnTo>
                      <a:pt x="350" y="36"/>
                    </a:lnTo>
                    <a:lnTo>
                      <a:pt x="352" y="30"/>
                    </a:lnTo>
                    <a:lnTo>
                      <a:pt x="352" y="26"/>
                    </a:lnTo>
                    <a:lnTo>
                      <a:pt x="354" y="24"/>
                    </a:lnTo>
                    <a:lnTo>
                      <a:pt x="354" y="22"/>
                    </a:lnTo>
                    <a:lnTo>
                      <a:pt x="358" y="16"/>
                    </a:lnTo>
                    <a:lnTo>
                      <a:pt x="360" y="14"/>
                    </a:lnTo>
                    <a:lnTo>
                      <a:pt x="360" y="12"/>
                    </a:lnTo>
                    <a:lnTo>
                      <a:pt x="360" y="12"/>
                    </a:lnTo>
                    <a:lnTo>
                      <a:pt x="360" y="10"/>
                    </a:lnTo>
                    <a:lnTo>
                      <a:pt x="362" y="8"/>
                    </a:lnTo>
                    <a:lnTo>
                      <a:pt x="362" y="8"/>
                    </a:lnTo>
                    <a:lnTo>
                      <a:pt x="362" y="8"/>
                    </a:lnTo>
                    <a:lnTo>
                      <a:pt x="360" y="6"/>
                    </a:lnTo>
                    <a:lnTo>
                      <a:pt x="360" y="6"/>
                    </a:lnTo>
                    <a:lnTo>
                      <a:pt x="360" y="4"/>
                    </a:lnTo>
                    <a:lnTo>
                      <a:pt x="358" y="4"/>
                    </a:lnTo>
                    <a:lnTo>
                      <a:pt x="358" y="4"/>
                    </a:lnTo>
                    <a:lnTo>
                      <a:pt x="358" y="4"/>
                    </a:lnTo>
                    <a:lnTo>
                      <a:pt x="356" y="2"/>
                    </a:lnTo>
                    <a:lnTo>
                      <a:pt x="356" y="2"/>
                    </a:lnTo>
                    <a:lnTo>
                      <a:pt x="356" y="2"/>
                    </a:lnTo>
                    <a:lnTo>
                      <a:pt x="354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46" y="0"/>
                    </a:lnTo>
                    <a:lnTo>
                      <a:pt x="344" y="0"/>
                    </a:lnTo>
                    <a:lnTo>
                      <a:pt x="344" y="0"/>
                    </a:lnTo>
                    <a:lnTo>
                      <a:pt x="344" y="0"/>
                    </a:lnTo>
                    <a:lnTo>
                      <a:pt x="342" y="0"/>
                    </a:lnTo>
                    <a:lnTo>
                      <a:pt x="342" y="0"/>
                    </a:lnTo>
                    <a:lnTo>
                      <a:pt x="340" y="2"/>
                    </a:lnTo>
                    <a:lnTo>
                      <a:pt x="338" y="2"/>
                    </a:lnTo>
                    <a:lnTo>
                      <a:pt x="338" y="2"/>
                    </a:lnTo>
                    <a:lnTo>
                      <a:pt x="338" y="4"/>
                    </a:lnTo>
                    <a:lnTo>
                      <a:pt x="336" y="6"/>
                    </a:lnTo>
                    <a:lnTo>
                      <a:pt x="336" y="6"/>
                    </a:lnTo>
                    <a:lnTo>
                      <a:pt x="336" y="6"/>
                    </a:lnTo>
                    <a:lnTo>
                      <a:pt x="336" y="8"/>
                    </a:lnTo>
                    <a:lnTo>
                      <a:pt x="334" y="12"/>
                    </a:lnTo>
                    <a:lnTo>
                      <a:pt x="334" y="16"/>
                    </a:lnTo>
                    <a:lnTo>
                      <a:pt x="334" y="20"/>
                    </a:lnTo>
                    <a:lnTo>
                      <a:pt x="332" y="22"/>
                    </a:lnTo>
                    <a:lnTo>
                      <a:pt x="332" y="24"/>
                    </a:lnTo>
                    <a:lnTo>
                      <a:pt x="330" y="26"/>
                    </a:lnTo>
                    <a:lnTo>
                      <a:pt x="328" y="26"/>
                    </a:lnTo>
                    <a:lnTo>
                      <a:pt x="326" y="26"/>
                    </a:lnTo>
                    <a:lnTo>
                      <a:pt x="322" y="26"/>
                    </a:lnTo>
                    <a:lnTo>
                      <a:pt x="318" y="26"/>
                    </a:lnTo>
                    <a:lnTo>
                      <a:pt x="312" y="26"/>
                    </a:lnTo>
                    <a:lnTo>
                      <a:pt x="308" y="26"/>
                    </a:lnTo>
                    <a:lnTo>
                      <a:pt x="304" y="24"/>
                    </a:lnTo>
                    <a:lnTo>
                      <a:pt x="304" y="24"/>
                    </a:lnTo>
                    <a:lnTo>
                      <a:pt x="304" y="24"/>
                    </a:lnTo>
                    <a:lnTo>
                      <a:pt x="302" y="26"/>
                    </a:lnTo>
                    <a:lnTo>
                      <a:pt x="302" y="26"/>
                    </a:lnTo>
                    <a:lnTo>
                      <a:pt x="300" y="26"/>
                    </a:lnTo>
                    <a:lnTo>
                      <a:pt x="298" y="26"/>
                    </a:lnTo>
                    <a:lnTo>
                      <a:pt x="298" y="26"/>
                    </a:lnTo>
                    <a:lnTo>
                      <a:pt x="298" y="28"/>
                    </a:lnTo>
                    <a:lnTo>
                      <a:pt x="296" y="28"/>
                    </a:lnTo>
                    <a:lnTo>
                      <a:pt x="296" y="28"/>
                    </a:lnTo>
                    <a:lnTo>
                      <a:pt x="296" y="30"/>
                    </a:lnTo>
                    <a:lnTo>
                      <a:pt x="296" y="30"/>
                    </a:lnTo>
                    <a:lnTo>
                      <a:pt x="296" y="30"/>
                    </a:lnTo>
                    <a:lnTo>
                      <a:pt x="296" y="32"/>
                    </a:lnTo>
                    <a:lnTo>
                      <a:pt x="294" y="34"/>
                    </a:lnTo>
                    <a:lnTo>
                      <a:pt x="294" y="34"/>
                    </a:lnTo>
                    <a:lnTo>
                      <a:pt x="294" y="34"/>
                    </a:lnTo>
                    <a:lnTo>
                      <a:pt x="294" y="38"/>
                    </a:lnTo>
                    <a:lnTo>
                      <a:pt x="294" y="42"/>
                    </a:lnTo>
                    <a:lnTo>
                      <a:pt x="292" y="44"/>
                    </a:lnTo>
                    <a:lnTo>
                      <a:pt x="294" y="46"/>
                    </a:lnTo>
                    <a:lnTo>
                      <a:pt x="294" y="52"/>
                    </a:lnTo>
                    <a:lnTo>
                      <a:pt x="294" y="54"/>
                    </a:lnTo>
                    <a:lnTo>
                      <a:pt x="294" y="54"/>
                    </a:lnTo>
                    <a:lnTo>
                      <a:pt x="292" y="54"/>
                    </a:lnTo>
                    <a:lnTo>
                      <a:pt x="290" y="52"/>
                    </a:lnTo>
                    <a:lnTo>
                      <a:pt x="286" y="52"/>
                    </a:lnTo>
                    <a:lnTo>
                      <a:pt x="284" y="50"/>
                    </a:lnTo>
                    <a:lnTo>
                      <a:pt x="282" y="50"/>
                    </a:lnTo>
                    <a:lnTo>
                      <a:pt x="280" y="50"/>
                    </a:lnTo>
                    <a:lnTo>
                      <a:pt x="272" y="50"/>
                    </a:lnTo>
                    <a:lnTo>
                      <a:pt x="270" y="48"/>
                    </a:lnTo>
                    <a:lnTo>
                      <a:pt x="266" y="50"/>
                    </a:lnTo>
                    <a:lnTo>
                      <a:pt x="266" y="50"/>
                    </a:lnTo>
                    <a:lnTo>
                      <a:pt x="266" y="50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0" y="52"/>
                    </a:lnTo>
                    <a:lnTo>
                      <a:pt x="260" y="52"/>
                    </a:lnTo>
                    <a:lnTo>
                      <a:pt x="258" y="52"/>
                    </a:lnTo>
                    <a:lnTo>
                      <a:pt x="256" y="54"/>
                    </a:lnTo>
                    <a:lnTo>
                      <a:pt x="252" y="56"/>
                    </a:lnTo>
                    <a:lnTo>
                      <a:pt x="250" y="58"/>
                    </a:lnTo>
                    <a:lnTo>
                      <a:pt x="248" y="62"/>
                    </a:lnTo>
                    <a:lnTo>
                      <a:pt x="244" y="68"/>
                    </a:lnTo>
                    <a:lnTo>
                      <a:pt x="242" y="72"/>
                    </a:lnTo>
                    <a:lnTo>
                      <a:pt x="242" y="74"/>
                    </a:lnTo>
                    <a:lnTo>
                      <a:pt x="240" y="78"/>
                    </a:lnTo>
                    <a:lnTo>
                      <a:pt x="240" y="80"/>
                    </a:lnTo>
                    <a:lnTo>
                      <a:pt x="240" y="80"/>
                    </a:lnTo>
                    <a:lnTo>
                      <a:pt x="240" y="80"/>
                    </a:lnTo>
                    <a:lnTo>
                      <a:pt x="240" y="86"/>
                    </a:lnTo>
                    <a:lnTo>
                      <a:pt x="240" y="90"/>
                    </a:lnTo>
                    <a:lnTo>
                      <a:pt x="240" y="92"/>
                    </a:lnTo>
                    <a:lnTo>
                      <a:pt x="240" y="94"/>
                    </a:lnTo>
                    <a:lnTo>
                      <a:pt x="240" y="94"/>
                    </a:lnTo>
                    <a:lnTo>
                      <a:pt x="238" y="94"/>
                    </a:lnTo>
                    <a:lnTo>
                      <a:pt x="236" y="96"/>
                    </a:lnTo>
                    <a:lnTo>
                      <a:pt x="232" y="96"/>
                    </a:lnTo>
                    <a:lnTo>
                      <a:pt x="230" y="98"/>
                    </a:lnTo>
                    <a:lnTo>
                      <a:pt x="230" y="98"/>
                    </a:lnTo>
                    <a:lnTo>
                      <a:pt x="230" y="98"/>
                    </a:lnTo>
                    <a:lnTo>
                      <a:pt x="228" y="98"/>
                    </a:lnTo>
                    <a:lnTo>
                      <a:pt x="228" y="98"/>
                    </a:lnTo>
                    <a:lnTo>
                      <a:pt x="228" y="98"/>
                    </a:lnTo>
                    <a:lnTo>
                      <a:pt x="224" y="102"/>
                    </a:lnTo>
                    <a:lnTo>
                      <a:pt x="222" y="104"/>
                    </a:lnTo>
                    <a:lnTo>
                      <a:pt x="218" y="108"/>
                    </a:lnTo>
                    <a:lnTo>
                      <a:pt x="214" y="110"/>
                    </a:lnTo>
                    <a:lnTo>
                      <a:pt x="214" y="110"/>
                    </a:lnTo>
                    <a:lnTo>
                      <a:pt x="212" y="112"/>
                    </a:lnTo>
                    <a:lnTo>
                      <a:pt x="206" y="112"/>
                    </a:lnTo>
                    <a:lnTo>
                      <a:pt x="200" y="114"/>
                    </a:lnTo>
                    <a:lnTo>
                      <a:pt x="198" y="114"/>
                    </a:lnTo>
                    <a:lnTo>
                      <a:pt x="196" y="116"/>
                    </a:lnTo>
                    <a:lnTo>
                      <a:pt x="196" y="116"/>
                    </a:lnTo>
                    <a:lnTo>
                      <a:pt x="196" y="116"/>
                    </a:lnTo>
                    <a:lnTo>
                      <a:pt x="194" y="118"/>
                    </a:lnTo>
                    <a:lnTo>
                      <a:pt x="194" y="118"/>
                    </a:lnTo>
                    <a:lnTo>
                      <a:pt x="194" y="120"/>
                    </a:lnTo>
                    <a:lnTo>
                      <a:pt x="192" y="122"/>
                    </a:lnTo>
                    <a:lnTo>
                      <a:pt x="192" y="122"/>
                    </a:lnTo>
                    <a:lnTo>
                      <a:pt x="190" y="122"/>
                    </a:lnTo>
                    <a:lnTo>
                      <a:pt x="190" y="126"/>
                    </a:lnTo>
                    <a:lnTo>
                      <a:pt x="190" y="126"/>
                    </a:lnTo>
                    <a:lnTo>
                      <a:pt x="190" y="126"/>
                    </a:lnTo>
                    <a:lnTo>
                      <a:pt x="190" y="130"/>
                    </a:lnTo>
                    <a:lnTo>
                      <a:pt x="190" y="130"/>
                    </a:lnTo>
                    <a:lnTo>
                      <a:pt x="190" y="130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90" y="138"/>
                    </a:lnTo>
                    <a:lnTo>
                      <a:pt x="190" y="138"/>
                    </a:lnTo>
                    <a:lnTo>
                      <a:pt x="190" y="138"/>
                    </a:lnTo>
                    <a:lnTo>
                      <a:pt x="192" y="140"/>
                    </a:lnTo>
                    <a:lnTo>
                      <a:pt x="192" y="140"/>
                    </a:lnTo>
                    <a:lnTo>
                      <a:pt x="192" y="140"/>
                    </a:lnTo>
                    <a:lnTo>
                      <a:pt x="194" y="142"/>
                    </a:lnTo>
                    <a:lnTo>
                      <a:pt x="196" y="144"/>
                    </a:lnTo>
                    <a:lnTo>
                      <a:pt x="198" y="146"/>
                    </a:lnTo>
                    <a:lnTo>
                      <a:pt x="202" y="148"/>
                    </a:lnTo>
                    <a:lnTo>
                      <a:pt x="206" y="150"/>
                    </a:lnTo>
                    <a:lnTo>
                      <a:pt x="212" y="156"/>
                    </a:lnTo>
                    <a:lnTo>
                      <a:pt x="216" y="158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6" y="166"/>
                    </a:lnTo>
                    <a:lnTo>
                      <a:pt x="228" y="168"/>
                    </a:lnTo>
                    <a:lnTo>
                      <a:pt x="228" y="170"/>
                    </a:lnTo>
                    <a:lnTo>
                      <a:pt x="228" y="172"/>
                    </a:lnTo>
                    <a:lnTo>
                      <a:pt x="228" y="174"/>
                    </a:lnTo>
                    <a:lnTo>
                      <a:pt x="228" y="178"/>
                    </a:lnTo>
                    <a:lnTo>
                      <a:pt x="228" y="180"/>
                    </a:lnTo>
                    <a:lnTo>
                      <a:pt x="228" y="180"/>
                    </a:lnTo>
                    <a:lnTo>
                      <a:pt x="230" y="180"/>
                    </a:lnTo>
                    <a:lnTo>
                      <a:pt x="230" y="182"/>
                    </a:lnTo>
                    <a:lnTo>
                      <a:pt x="230" y="182"/>
                    </a:lnTo>
                    <a:lnTo>
                      <a:pt x="230" y="184"/>
                    </a:lnTo>
                    <a:lnTo>
                      <a:pt x="232" y="186"/>
                    </a:lnTo>
                    <a:lnTo>
                      <a:pt x="232" y="186"/>
                    </a:lnTo>
                    <a:lnTo>
                      <a:pt x="232" y="186"/>
                    </a:lnTo>
                    <a:lnTo>
                      <a:pt x="234" y="186"/>
                    </a:lnTo>
                    <a:lnTo>
                      <a:pt x="234" y="186"/>
                    </a:lnTo>
                    <a:lnTo>
                      <a:pt x="236" y="188"/>
                    </a:lnTo>
                    <a:lnTo>
                      <a:pt x="238" y="188"/>
                    </a:lnTo>
                    <a:lnTo>
                      <a:pt x="242" y="188"/>
                    </a:lnTo>
                    <a:lnTo>
                      <a:pt x="246" y="188"/>
                    </a:lnTo>
                    <a:lnTo>
                      <a:pt x="252" y="188"/>
                    </a:lnTo>
                    <a:lnTo>
                      <a:pt x="254" y="188"/>
                    </a:lnTo>
                    <a:lnTo>
                      <a:pt x="258" y="188"/>
                    </a:lnTo>
                    <a:lnTo>
                      <a:pt x="262" y="190"/>
                    </a:lnTo>
                    <a:lnTo>
                      <a:pt x="266" y="192"/>
                    </a:lnTo>
                    <a:lnTo>
                      <a:pt x="270" y="196"/>
                    </a:lnTo>
                    <a:lnTo>
                      <a:pt x="272" y="198"/>
                    </a:lnTo>
                    <a:lnTo>
                      <a:pt x="272" y="200"/>
                    </a:lnTo>
                    <a:lnTo>
                      <a:pt x="274" y="202"/>
                    </a:lnTo>
                    <a:lnTo>
                      <a:pt x="274" y="204"/>
                    </a:lnTo>
                    <a:lnTo>
                      <a:pt x="274" y="208"/>
                    </a:lnTo>
                    <a:lnTo>
                      <a:pt x="274" y="206"/>
                    </a:lnTo>
                    <a:lnTo>
                      <a:pt x="276" y="210"/>
                    </a:lnTo>
                    <a:lnTo>
                      <a:pt x="274" y="212"/>
                    </a:lnTo>
                    <a:lnTo>
                      <a:pt x="274" y="212"/>
                    </a:lnTo>
                    <a:lnTo>
                      <a:pt x="272" y="214"/>
                    </a:lnTo>
                    <a:lnTo>
                      <a:pt x="272" y="214"/>
                    </a:lnTo>
                    <a:lnTo>
                      <a:pt x="270" y="216"/>
                    </a:lnTo>
                    <a:lnTo>
                      <a:pt x="266" y="218"/>
                    </a:lnTo>
                    <a:lnTo>
                      <a:pt x="260" y="218"/>
                    </a:lnTo>
                    <a:lnTo>
                      <a:pt x="254" y="220"/>
                    </a:lnTo>
                    <a:lnTo>
                      <a:pt x="248" y="222"/>
                    </a:lnTo>
                    <a:lnTo>
                      <a:pt x="242" y="222"/>
                    </a:lnTo>
                    <a:lnTo>
                      <a:pt x="238" y="222"/>
                    </a:lnTo>
                    <a:lnTo>
                      <a:pt x="236" y="222"/>
                    </a:lnTo>
                    <a:lnTo>
                      <a:pt x="236" y="222"/>
                    </a:lnTo>
                    <a:lnTo>
                      <a:pt x="234" y="220"/>
                    </a:lnTo>
                    <a:lnTo>
                      <a:pt x="236" y="218"/>
                    </a:lnTo>
                    <a:lnTo>
                      <a:pt x="236" y="214"/>
                    </a:lnTo>
                    <a:lnTo>
                      <a:pt x="238" y="210"/>
                    </a:lnTo>
                    <a:lnTo>
                      <a:pt x="238" y="210"/>
                    </a:lnTo>
                    <a:lnTo>
                      <a:pt x="238" y="210"/>
                    </a:lnTo>
                    <a:lnTo>
                      <a:pt x="238" y="206"/>
                    </a:lnTo>
                    <a:lnTo>
                      <a:pt x="238" y="206"/>
                    </a:lnTo>
                    <a:lnTo>
                      <a:pt x="238" y="206"/>
                    </a:lnTo>
                    <a:lnTo>
                      <a:pt x="236" y="204"/>
                    </a:lnTo>
                    <a:lnTo>
                      <a:pt x="236" y="204"/>
                    </a:lnTo>
                    <a:lnTo>
                      <a:pt x="236" y="204"/>
                    </a:lnTo>
                    <a:lnTo>
                      <a:pt x="236" y="202"/>
                    </a:lnTo>
                    <a:lnTo>
                      <a:pt x="236" y="202"/>
                    </a:lnTo>
                    <a:lnTo>
                      <a:pt x="234" y="202"/>
                    </a:lnTo>
                    <a:lnTo>
                      <a:pt x="232" y="202"/>
                    </a:lnTo>
                    <a:lnTo>
                      <a:pt x="232" y="202"/>
                    </a:lnTo>
                    <a:lnTo>
                      <a:pt x="232" y="202"/>
                    </a:lnTo>
                    <a:lnTo>
                      <a:pt x="230" y="202"/>
                    </a:lnTo>
                    <a:lnTo>
                      <a:pt x="230" y="202"/>
                    </a:lnTo>
                    <a:lnTo>
                      <a:pt x="230" y="202"/>
                    </a:lnTo>
                    <a:lnTo>
                      <a:pt x="226" y="202"/>
                    </a:lnTo>
                    <a:lnTo>
                      <a:pt x="224" y="204"/>
                    </a:lnTo>
                    <a:lnTo>
                      <a:pt x="220" y="206"/>
                    </a:lnTo>
                    <a:lnTo>
                      <a:pt x="216" y="208"/>
                    </a:lnTo>
                    <a:lnTo>
                      <a:pt x="208" y="212"/>
                    </a:lnTo>
                    <a:lnTo>
                      <a:pt x="198" y="216"/>
                    </a:lnTo>
                    <a:lnTo>
                      <a:pt x="188" y="222"/>
                    </a:lnTo>
                    <a:lnTo>
                      <a:pt x="184" y="224"/>
                    </a:lnTo>
                    <a:lnTo>
                      <a:pt x="180" y="226"/>
                    </a:lnTo>
                    <a:lnTo>
                      <a:pt x="176" y="228"/>
                    </a:lnTo>
                    <a:lnTo>
                      <a:pt x="172" y="230"/>
                    </a:lnTo>
                    <a:lnTo>
                      <a:pt x="170" y="232"/>
                    </a:lnTo>
                    <a:lnTo>
                      <a:pt x="168" y="234"/>
                    </a:lnTo>
                    <a:lnTo>
                      <a:pt x="166" y="236"/>
                    </a:lnTo>
                    <a:lnTo>
                      <a:pt x="166" y="236"/>
                    </a:lnTo>
                    <a:lnTo>
                      <a:pt x="166" y="236"/>
                    </a:lnTo>
                    <a:lnTo>
                      <a:pt x="166" y="238"/>
                    </a:lnTo>
                    <a:lnTo>
                      <a:pt x="166" y="238"/>
                    </a:lnTo>
                    <a:lnTo>
                      <a:pt x="166" y="238"/>
                    </a:lnTo>
                    <a:lnTo>
                      <a:pt x="166" y="240"/>
                    </a:lnTo>
                    <a:lnTo>
                      <a:pt x="166" y="240"/>
                    </a:lnTo>
                    <a:lnTo>
                      <a:pt x="166" y="240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8" y="242"/>
                    </a:lnTo>
                    <a:lnTo>
                      <a:pt x="180" y="244"/>
                    </a:lnTo>
                    <a:lnTo>
                      <a:pt x="182" y="244"/>
                    </a:lnTo>
                    <a:lnTo>
                      <a:pt x="182" y="246"/>
                    </a:lnTo>
                    <a:lnTo>
                      <a:pt x="184" y="248"/>
                    </a:lnTo>
                    <a:lnTo>
                      <a:pt x="186" y="252"/>
                    </a:lnTo>
                    <a:lnTo>
                      <a:pt x="188" y="256"/>
                    </a:lnTo>
                    <a:lnTo>
                      <a:pt x="188" y="260"/>
                    </a:lnTo>
                    <a:lnTo>
                      <a:pt x="190" y="264"/>
                    </a:lnTo>
                    <a:lnTo>
                      <a:pt x="192" y="266"/>
                    </a:lnTo>
                    <a:lnTo>
                      <a:pt x="194" y="270"/>
                    </a:lnTo>
                    <a:lnTo>
                      <a:pt x="194" y="270"/>
                    </a:lnTo>
                    <a:lnTo>
                      <a:pt x="194" y="270"/>
                    </a:lnTo>
                    <a:lnTo>
                      <a:pt x="196" y="272"/>
                    </a:lnTo>
                    <a:lnTo>
                      <a:pt x="196" y="272"/>
                    </a:lnTo>
                    <a:lnTo>
                      <a:pt x="196" y="272"/>
                    </a:lnTo>
                    <a:lnTo>
                      <a:pt x="198" y="272"/>
                    </a:lnTo>
                    <a:lnTo>
                      <a:pt x="200" y="274"/>
                    </a:lnTo>
                    <a:lnTo>
                      <a:pt x="200" y="274"/>
                    </a:lnTo>
                    <a:lnTo>
                      <a:pt x="200" y="274"/>
                    </a:lnTo>
                    <a:lnTo>
                      <a:pt x="202" y="276"/>
                    </a:lnTo>
                    <a:lnTo>
                      <a:pt x="204" y="276"/>
                    </a:lnTo>
                    <a:lnTo>
                      <a:pt x="206" y="276"/>
                    </a:lnTo>
                    <a:lnTo>
                      <a:pt x="210" y="276"/>
                    </a:lnTo>
                    <a:lnTo>
                      <a:pt x="214" y="276"/>
                    </a:lnTo>
                    <a:lnTo>
                      <a:pt x="218" y="276"/>
                    </a:lnTo>
                    <a:lnTo>
                      <a:pt x="222" y="276"/>
                    </a:lnTo>
                    <a:lnTo>
                      <a:pt x="226" y="278"/>
                    </a:lnTo>
                    <a:lnTo>
                      <a:pt x="232" y="276"/>
                    </a:lnTo>
                    <a:lnTo>
                      <a:pt x="236" y="276"/>
                    </a:lnTo>
                    <a:lnTo>
                      <a:pt x="240" y="276"/>
                    </a:lnTo>
                    <a:lnTo>
                      <a:pt x="242" y="276"/>
                    </a:lnTo>
                    <a:lnTo>
                      <a:pt x="246" y="276"/>
                    </a:lnTo>
                    <a:lnTo>
                      <a:pt x="246" y="276"/>
                    </a:lnTo>
                    <a:lnTo>
                      <a:pt x="246" y="276"/>
                    </a:lnTo>
                    <a:lnTo>
                      <a:pt x="248" y="274"/>
                    </a:lnTo>
                    <a:lnTo>
                      <a:pt x="248" y="274"/>
                    </a:lnTo>
                    <a:lnTo>
                      <a:pt x="248" y="274"/>
                    </a:lnTo>
                    <a:lnTo>
                      <a:pt x="250" y="274"/>
                    </a:lnTo>
                    <a:lnTo>
                      <a:pt x="250" y="272"/>
                    </a:lnTo>
                    <a:lnTo>
                      <a:pt x="252" y="270"/>
                    </a:lnTo>
                    <a:lnTo>
                      <a:pt x="252" y="270"/>
                    </a:lnTo>
                    <a:lnTo>
                      <a:pt x="254" y="270"/>
                    </a:lnTo>
                    <a:lnTo>
                      <a:pt x="256" y="270"/>
                    </a:lnTo>
                    <a:lnTo>
                      <a:pt x="260" y="270"/>
                    </a:lnTo>
                    <a:lnTo>
                      <a:pt x="266" y="272"/>
                    </a:lnTo>
                    <a:lnTo>
                      <a:pt x="268" y="272"/>
                    </a:lnTo>
                    <a:lnTo>
                      <a:pt x="270" y="272"/>
                    </a:lnTo>
                    <a:lnTo>
                      <a:pt x="272" y="274"/>
                    </a:lnTo>
                    <a:lnTo>
                      <a:pt x="274" y="276"/>
                    </a:lnTo>
                    <a:lnTo>
                      <a:pt x="274" y="278"/>
                    </a:lnTo>
                    <a:lnTo>
                      <a:pt x="276" y="280"/>
                    </a:lnTo>
                    <a:lnTo>
                      <a:pt x="276" y="284"/>
                    </a:lnTo>
                    <a:lnTo>
                      <a:pt x="278" y="288"/>
                    </a:lnTo>
                    <a:lnTo>
                      <a:pt x="278" y="294"/>
                    </a:lnTo>
                    <a:lnTo>
                      <a:pt x="278" y="298"/>
                    </a:lnTo>
                    <a:lnTo>
                      <a:pt x="276" y="300"/>
                    </a:lnTo>
                    <a:lnTo>
                      <a:pt x="276" y="304"/>
                    </a:lnTo>
                    <a:lnTo>
                      <a:pt x="274" y="306"/>
                    </a:lnTo>
                    <a:lnTo>
                      <a:pt x="272" y="306"/>
                    </a:lnTo>
                    <a:lnTo>
                      <a:pt x="270" y="308"/>
                    </a:lnTo>
                    <a:lnTo>
                      <a:pt x="266" y="310"/>
                    </a:lnTo>
                    <a:lnTo>
                      <a:pt x="258" y="312"/>
                    </a:lnTo>
                    <a:lnTo>
                      <a:pt x="254" y="312"/>
                    </a:lnTo>
                    <a:lnTo>
                      <a:pt x="252" y="314"/>
                    </a:lnTo>
                    <a:lnTo>
                      <a:pt x="248" y="316"/>
                    </a:lnTo>
                    <a:lnTo>
                      <a:pt x="244" y="316"/>
                    </a:lnTo>
                    <a:lnTo>
                      <a:pt x="236" y="318"/>
                    </a:lnTo>
                    <a:lnTo>
                      <a:pt x="228" y="320"/>
                    </a:lnTo>
                    <a:lnTo>
                      <a:pt x="224" y="322"/>
                    </a:lnTo>
                    <a:lnTo>
                      <a:pt x="220" y="324"/>
                    </a:lnTo>
                    <a:lnTo>
                      <a:pt x="218" y="326"/>
                    </a:lnTo>
                    <a:lnTo>
                      <a:pt x="214" y="328"/>
                    </a:lnTo>
                    <a:lnTo>
                      <a:pt x="214" y="328"/>
                    </a:lnTo>
                    <a:lnTo>
                      <a:pt x="214" y="328"/>
                    </a:lnTo>
                    <a:lnTo>
                      <a:pt x="210" y="334"/>
                    </a:lnTo>
                    <a:lnTo>
                      <a:pt x="210" y="334"/>
                    </a:lnTo>
                    <a:lnTo>
                      <a:pt x="210" y="334"/>
                    </a:lnTo>
                    <a:lnTo>
                      <a:pt x="206" y="340"/>
                    </a:lnTo>
                    <a:lnTo>
                      <a:pt x="204" y="348"/>
                    </a:lnTo>
                    <a:lnTo>
                      <a:pt x="202" y="354"/>
                    </a:lnTo>
                    <a:lnTo>
                      <a:pt x="200" y="360"/>
                    </a:lnTo>
                    <a:lnTo>
                      <a:pt x="200" y="364"/>
                    </a:lnTo>
                    <a:lnTo>
                      <a:pt x="200" y="366"/>
                    </a:lnTo>
                    <a:lnTo>
                      <a:pt x="200" y="366"/>
                    </a:lnTo>
                    <a:lnTo>
                      <a:pt x="200" y="366"/>
                    </a:lnTo>
                    <a:lnTo>
                      <a:pt x="200" y="370"/>
                    </a:lnTo>
                    <a:lnTo>
                      <a:pt x="200" y="370"/>
                    </a:lnTo>
                    <a:lnTo>
                      <a:pt x="200" y="370"/>
                    </a:lnTo>
                    <a:lnTo>
                      <a:pt x="202" y="372"/>
                    </a:lnTo>
                    <a:lnTo>
                      <a:pt x="202" y="372"/>
                    </a:lnTo>
                    <a:lnTo>
                      <a:pt x="202" y="374"/>
                    </a:lnTo>
                    <a:lnTo>
                      <a:pt x="204" y="376"/>
                    </a:lnTo>
                    <a:lnTo>
                      <a:pt x="204" y="376"/>
                    </a:lnTo>
                    <a:lnTo>
                      <a:pt x="204" y="376"/>
                    </a:lnTo>
                    <a:lnTo>
                      <a:pt x="206" y="378"/>
                    </a:lnTo>
                    <a:lnTo>
                      <a:pt x="206" y="378"/>
                    </a:lnTo>
                    <a:lnTo>
                      <a:pt x="206" y="378"/>
                    </a:lnTo>
                    <a:lnTo>
                      <a:pt x="208" y="380"/>
                    </a:lnTo>
                    <a:lnTo>
                      <a:pt x="212" y="382"/>
                    </a:lnTo>
                    <a:lnTo>
                      <a:pt x="218" y="384"/>
                    </a:lnTo>
                    <a:lnTo>
                      <a:pt x="220" y="386"/>
                    </a:lnTo>
                    <a:lnTo>
                      <a:pt x="222" y="388"/>
                    </a:lnTo>
                    <a:lnTo>
                      <a:pt x="224" y="390"/>
                    </a:lnTo>
                    <a:lnTo>
                      <a:pt x="228" y="392"/>
                    </a:lnTo>
                    <a:lnTo>
                      <a:pt x="230" y="394"/>
                    </a:lnTo>
                    <a:lnTo>
                      <a:pt x="234" y="396"/>
                    </a:lnTo>
                    <a:lnTo>
                      <a:pt x="234" y="396"/>
                    </a:lnTo>
                    <a:lnTo>
                      <a:pt x="234" y="396"/>
                    </a:lnTo>
                    <a:lnTo>
                      <a:pt x="230" y="396"/>
                    </a:lnTo>
                    <a:lnTo>
                      <a:pt x="224" y="394"/>
                    </a:lnTo>
                    <a:lnTo>
                      <a:pt x="218" y="394"/>
                    </a:lnTo>
                    <a:lnTo>
                      <a:pt x="214" y="394"/>
                    </a:lnTo>
                    <a:lnTo>
                      <a:pt x="212" y="394"/>
                    </a:lnTo>
                    <a:lnTo>
                      <a:pt x="210" y="394"/>
                    </a:lnTo>
                    <a:lnTo>
                      <a:pt x="210" y="394"/>
                    </a:lnTo>
                    <a:lnTo>
                      <a:pt x="210" y="394"/>
                    </a:lnTo>
                    <a:lnTo>
                      <a:pt x="208" y="394"/>
                    </a:lnTo>
                    <a:lnTo>
                      <a:pt x="208" y="394"/>
                    </a:lnTo>
                    <a:lnTo>
                      <a:pt x="206" y="394"/>
                    </a:lnTo>
                    <a:lnTo>
                      <a:pt x="206" y="394"/>
                    </a:lnTo>
                    <a:lnTo>
                      <a:pt x="206" y="394"/>
                    </a:lnTo>
                    <a:lnTo>
                      <a:pt x="206" y="396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206" y="400"/>
                    </a:lnTo>
                    <a:lnTo>
                      <a:pt x="206" y="400"/>
                    </a:lnTo>
                    <a:lnTo>
                      <a:pt x="206" y="400"/>
                    </a:lnTo>
                    <a:lnTo>
                      <a:pt x="206" y="402"/>
                    </a:lnTo>
                    <a:lnTo>
                      <a:pt x="206" y="402"/>
                    </a:lnTo>
                    <a:lnTo>
                      <a:pt x="206" y="404"/>
                    </a:lnTo>
                    <a:lnTo>
                      <a:pt x="210" y="406"/>
                    </a:lnTo>
                    <a:lnTo>
                      <a:pt x="212" y="410"/>
                    </a:lnTo>
                    <a:lnTo>
                      <a:pt x="216" y="414"/>
                    </a:lnTo>
                    <a:lnTo>
                      <a:pt x="218" y="418"/>
                    </a:lnTo>
                    <a:lnTo>
                      <a:pt x="222" y="420"/>
                    </a:lnTo>
                    <a:lnTo>
                      <a:pt x="224" y="422"/>
                    </a:lnTo>
                    <a:lnTo>
                      <a:pt x="224" y="422"/>
                    </a:lnTo>
                    <a:lnTo>
                      <a:pt x="224" y="424"/>
                    </a:lnTo>
                    <a:lnTo>
                      <a:pt x="228" y="424"/>
                    </a:lnTo>
                    <a:lnTo>
                      <a:pt x="228" y="424"/>
                    </a:lnTo>
                    <a:lnTo>
                      <a:pt x="228" y="424"/>
                    </a:lnTo>
                    <a:lnTo>
                      <a:pt x="230" y="424"/>
                    </a:lnTo>
                    <a:lnTo>
                      <a:pt x="230" y="424"/>
                    </a:lnTo>
                    <a:lnTo>
                      <a:pt x="230" y="426"/>
                    </a:lnTo>
                    <a:lnTo>
                      <a:pt x="232" y="426"/>
                    </a:lnTo>
                    <a:lnTo>
                      <a:pt x="234" y="424"/>
                    </a:lnTo>
                    <a:lnTo>
                      <a:pt x="234" y="424"/>
                    </a:lnTo>
                    <a:lnTo>
                      <a:pt x="236" y="424"/>
                    </a:lnTo>
                    <a:lnTo>
                      <a:pt x="240" y="422"/>
                    </a:lnTo>
                    <a:lnTo>
                      <a:pt x="244" y="422"/>
                    </a:lnTo>
                    <a:lnTo>
                      <a:pt x="246" y="420"/>
                    </a:lnTo>
                    <a:lnTo>
                      <a:pt x="248" y="418"/>
                    </a:lnTo>
                    <a:lnTo>
                      <a:pt x="254" y="414"/>
                    </a:lnTo>
                    <a:lnTo>
                      <a:pt x="256" y="412"/>
                    </a:lnTo>
                    <a:lnTo>
                      <a:pt x="256" y="412"/>
                    </a:lnTo>
                    <a:lnTo>
                      <a:pt x="256" y="412"/>
                    </a:lnTo>
                    <a:lnTo>
                      <a:pt x="256" y="416"/>
                    </a:lnTo>
                    <a:lnTo>
                      <a:pt x="254" y="420"/>
                    </a:lnTo>
                    <a:lnTo>
                      <a:pt x="254" y="426"/>
                    </a:lnTo>
                    <a:lnTo>
                      <a:pt x="252" y="432"/>
                    </a:lnTo>
                    <a:lnTo>
                      <a:pt x="252" y="438"/>
                    </a:lnTo>
                    <a:lnTo>
                      <a:pt x="250" y="442"/>
                    </a:lnTo>
                    <a:lnTo>
                      <a:pt x="250" y="442"/>
                    </a:lnTo>
                    <a:lnTo>
                      <a:pt x="250" y="442"/>
                    </a:lnTo>
                    <a:lnTo>
                      <a:pt x="252" y="444"/>
                    </a:lnTo>
                    <a:lnTo>
                      <a:pt x="252" y="446"/>
                    </a:lnTo>
                    <a:lnTo>
                      <a:pt x="252" y="446"/>
                    </a:lnTo>
                    <a:lnTo>
                      <a:pt x="252" y="448"/>
                    </a:lnTo>
                    <a:lnTo>
                      <a:pt x="252" y="450"/>
                    </a:lnTo>
                    <a:lnTo>
                      <a:pt x="252" y="450"/>
                    </a:lnTo>
                    <a:lnTo>
                      <a:pt x="254" y="450"/>
                    </a:lnTo>
                    <a:lnTo>
                      <a:pt x="254" y="452"/>
                    </a:lnTo>
                    <a:lnTo>
                      <a:pt x="254" y="452"/>
                    </a:lnTo>
                    <a:lnTo>
                      <a:pt x="256" y="454"/>
                    </a:lnTo>
                    <a:lnTo>
                      <a:pt x="258" y="454"/>
                    </a:lnTo>
                    <a:lnTo>
                      <a:pt x="258" y="454"/>
                    </a:lnTo>
                    <a:lnTo>
                      <a:pt x="258" y="454"/>
                    </a:lnTo>
                    <a:lnTo>
                      <a:pt x="260" y="456"/>
                    </a:lnTo>
                    <a:lnTo>
                      <a:pt x="260" y="456"/>
                    </a:lnTo>
                    <a:lnTo>
                      <a:pt x="260" y="456"/>
                    </a:lnTo>
                    <a:lnTo>
                      <a:pt x="266" y="458"/>
                    </a:lnTo>
                    <a:lnTo>
                      <a:pt x="270" y="458"/>
                    </a:lnTo>
                    <a:lnTo>
                      <a:pt x="272" y="458"/>
                    </a:lnTo>
                    <a:lnTo>
                      <a:pt x="272" y="458"/>
                    </a:lnTo>
                    <a:lnTo>
                      <a:pt x="274" y="458"/>
                    </a:lnTo>
                    <a:lnTo>
                      <a:pt x="274" y="458"/>
                    </a:lnTo>
                    <a:lnTo>
                      <a:pt x="274" y="458"/>
                    </a:lnTo>
                    <a:lnTo>
                      <a:pt x="278" y="458"/>
                    </a:lnTo>
                    <a:lnTo>
                      <a:pt x="284" y="456"/>
                    </a:lnTo>
                    <a:lnTo>
                      <a:pt x="288" y="456"/>
                    </a:lnTo>
                    <a:lnTo>
                      <a:pt x="290" y="454"/>
                    </a:lnTo>
                    <a:lnTo>
                      <a:pt x="292" y="454"/>
                    </a:lnTo>
                    <a:lnTo>
                      <a:pt x="292" y="456"/>
                    </a:lnTo>
                    <a:lnTo>
                      <a:pt x="294" y="456"/>
                    </a:lnTo>
                    <a:lnTo>
                      <a:pt x="294" y="458"/>
                    </a:lnTo>
                    <a:lnTo>
                      <a:pt x="296" y="460"/>
                    </a:lnTo>
                    <a:lnTo>
                      <a:pt x="298" y="462"/>
                    </a:lnTo>
                    <a:lnTo>
                      <a:pt x="300" y="462"/>
                    </a:lnTo>
                    <a:lnTo>
                      <a:pt x="300" y="462"/>
                    </a:lnTo>
                    <a:lnTo>
                      <a:pt x="300" y="464"/>
                    </a:lnTo>
                    <a:lnTo>
                      <a:pt x="302" y="464"/>
                    </a:lnTo>
                    <a:lnTo>
                      <a:pt x="302" y="464"/>
                    </a:lnTo>
                    <a:lnTo>
                      <a:pt x="302" y="464"/>
                    </a:lnTo>
                    <a:lnTo>
                      <a:pt x="304" y="464"/>
                    </a:lnTo>
                    <a:lnTo>
                      <a:pt x="304" y="464"/>
                    </a:lnTo>
                    <a:lnTo>
                      <a:pt x="306" y="464"/>
                    </a:lnTo>
                    <a:lnTo>
                      <a:pt x="306" y="464"/>
                    </a:lnTo>
                    <a:lnTo>
                      <a:pt x="306" y="464"/>
                    </a:lnTo>
                    <a:lnTo>
                      <a:pt x="308" y="462"/>
                    </a:lnTo>
                    <a:lnTo>
                      <a:pt x="310" y="462"/>
                    </a:lnTo>
                    <a:lnTo>
                      <a:pt x="310" y="462"/>
                    </a:lnTo>
                    <a:lnTo>
                      <a:pt x="310" y="460"/>
                    </a:lnTo>
                    <a:lnTo>
                      <a:pt x="310" y="458"/>
                    </a:lnTo>
                    <a:lnTo>
                      <a:pt x="312" y="456"/>
                    </a:lnTo>
                    <a:lnTo>
                      <a:pt x="312" y="454"/>
                    </a:lnTo>
                    <a:lnTo>
                      <a:pt x="314" y="452"/>
                    </a:lnTo>
                    <a:lnTo>
                      <a:pt x="314" y="450"/>
                    </a:lnTo>
                    <a:lnTo>
                      <a:pt x="316" y="448"/>
                    </a:lnTo>
                    <a:lnTo>
                      <a:pt x="318" y="448"/>
                    </a:lnTo>
                    <a:lnTo>
                      <a:pt x="316" y="448"/>
                    </a:lnTo>
                    <a:lnTo>
                      <a:pt x="318" y="448"/>
                    </a:lnTo>
                    <a:lnTo>
                      <a:pt x="322" y="446"/>
                    </a:lnTo>
                    <a:lnTo>
                      <a:pt x="324" y="446"/>
                    </a:lnTo>
                    <a:lnTo>
                      <a:pt x="324" y="446"/>
                    </a:lnTo>
                    <a:lnTo>
                      <a:pt x="326" y="448"/>
                    </a:lnTo>
                    <a:lnTo>
                      <a:pt x="326" y="448"/>
                    </a:lnTo>
                    <a:lnTo>
                      <a:pt x="326" y="448"/>
                    </a:lnTo>
                    <a:lnTo>
                      <a:pt x="326" y="450"/>
                    </a:lnTo>
                    <a:lnTo>
                      <a:pt x="326" y="454"/>
                    </a:lnTo>
                    <a:lnTo>
                      <a:pt x="326" y="456"/>
                    </a:lnTo>
                    <a:lnTo>
                      <a:pt x="324" y="464"/>
                    </a:lnTo>
                    <a:lnTo>
                      <a:pt x="322" y="468"/>
                    </a:lnTo>
                    <a:lnTo>
                      <a:pt x="322" y="470"/>
                    </a:lnTo>
                    <a:lnTo>
                      <a:pt x="318" y="476"/>
                    </a:lnTo>
                    <a:lnTo>
                      <a:pt x="316" y="482"/>
                    </a:lnTo>
                    <a:lnTo>
                      <a:pt x="310" y="488"/>
                    </a:lnTo>
                    <a:lnTo>
                      <a:pt x="306" y="492"/>
                    </a:lnTo>
                    <a:lnTo>
                      <a:pt x="300" y="498"/>
                    </a:lnTo>
                    <a:lnTo>
                      <a:pt x="294" y="502"/>
                    </a:lnTo>
                    <a:lnTo>
                      <a:pt x="288" y="508"/>
                    </a:lnTo>
                    <a:lnTo>
                      <a:pt x="280" y="512"/>
                    </a:lnTo>
                    <a:lnTo>
                      <a:pt x="274" y="516"/>
                    </a:lnTo>
                    <a:lnTo>
                      <a:pt x="266" y="520"/>
                    </a:lnTo>
                    <a:lnTo>
                      <a:pt x="260" y="522"/>
                    </a:lnTo>
                    <a:lnTo>
                      <a:pt x="252" y="526"/>
                    </a:lnTo>
                    <a:lnTo>
                      <a:pt x="246" y="530"/>
                    </a:lnTo>
                    <a:lnTo>
                      <a:pt x="240" y="532"/>
                    </a:lnTo>
                    <a:lnTo>
                      <a:pt x="232" y="536"/>
                    </a:lnTo>
                    <a:lnTo>
                      <a:pt x="232" y="536"/>
                    </a:lnTo>
                    <a:lnTo>
                      <a:pt x="232" y="536"/>
                    </a:lnTo>
                    <a:lnTo>
                      <a:pt x="226" y="540"/>
                    </a:lnTo>
                    <a:lnTo>
                      <a:pt x="226" y="540"/>
                    </a:lnTo>
                    <a:lnTo>
                      <a:pt x="226" y="540"/>
                    </a:lnTo>
                    <a:lnTo>
                      <a:pt x="224" y="542"/>
                    </a:lnTo>
                    <a:lnTo>
                      <a:pt x="224" y="542"/>
                    </a:lnTo>
                    <a:lnTo>
                      <a:pt x="224" y="544"/>
                    </a:lnTo>
                    <a:lnTo>
                      <a:pt x="222" y="546"/>
                    </a:lnTo>
                    <a:lnTo>
                      <a:pt x="222" y="546"/>
                    </a:lnTo>
                    <a:lnTo>
                      <a:pt x="222" y="546"/>
                    </a:lnTo>
                    <a:lnTo>
                      <a:pt x="218" y="552"/>
                    </a:lnTo>
                    <a:lnTo>
                      <a:pt x="218" y="556"/>
                    </a:lnTo>
                    <a:lnTo>
                      <a:pt x="216" y="558"/>
                    </a:lnTo>
                    <a:lnTo>
                      <a:pt x="214" y="560"/>
                    </a:lnTo>
                    <a:lnTo>
                      <a:pt x="212" y="562"/>
                    </a:lnTo>
                    <a:lnTo>
                      <a:pt x="210" y="562"/>
                    </a:lnTo>
                    <a:lnTo>
                      <a:pt x="208" y="562"/>
                    </a:lnTo>
                    <a:lnTo>
                      <a:pt x="200" y="564"/>
                    </a:lnTo>
                    <a:lnTo>
                      <a:pt x="192" y="564"/>
                    </a:lnTo>
                    <a:lnTo>
                      <a:pt x="188" y="564"/>
                    </a:lnTo>
                    <a:lnTo>
                      <a:pt x="186" y="564"/>
                    </a:lnTo>
                    <a:lnTo>
                      <a:pt x="182" y="566"/>
                    </a:lnTo>
                    <a:lnTo>
                      <a:pt x="180" y="566"/>
                    </a:lnTo>
                    <a:lnTo>
                      <a:pt x="176" y="568"/>
                    </a:lnTo>
                    <a:lnTo>
                      <a:pt x="174" y="570"/>
                    </a:lnTo>
                    <a:lnTo>
                      <a:pt x="170" y="574"/>
                    </a:lnTo>
                    <a:lnTo>
                      <a:pt x="166" y="576"/>
                    </a:lnTo>
                    <a:lnTo>
                      <a:pt x="162" y="578"/>
                    </a:lnTo>
                    <a:lnTo>
                      <a:pt x="160" y="580"/>
                    </a:lnTo>
                    <a:lnTo>
                      <a:pt x="160" y="580"/>
                    </a:lnTo>
                    <a:lnTo>
                      <a:pt x="160" y="580"/>
                    </a:lnTo>
                    <a:lnTo>
                      <a:pt x="156" y="584"/>
                    </a:lnTo>
                    <a:lnTo>
                      <a:pt x="156" y="584"/>
                    </a:lnTo>
                    <a:lnTo>
                      <a:pt x="156" y="584"/>
                    </a:lnTo>
                    <a:lnTo>
                      <a:pt x="154" y="586"/>
                    </a:lnTo>
                    <a:lnTo>
                      <a:pt x="154" y="586"/>
                    </a:lnTo>
                    <a:lnTo>
                      <a:pt x="154" y="586"/>
                    </a:lnTo>
                    <a:lnTo>
                      <a:pt x="154" y="588"/>
                    </a:lnTo>
                    <a:lnTo>
                      <a:pt x="152" y="594"/>
                    </a:lnTo>
                    <a:lnTo>
                      <a:pt x="152" y="596"/>
                    </a:lnTo>
                    <a:lnTo>
                      <a:pt x="150" y="598"/>
                    </a:lnTo>
                    <a:lnTo>
                      <a:pt x="150" y="600"/>
                    </a:lnTo>
                    <a:lnTo>
                      <a:pt x="146" y="600"/>
                    </a:lnTo>
                    <a:lnTo>
                      <a:pt x="144" y="602"/>
                    </a:lnTo>
                    <a:lnTo>
                      <a:pt x="140" y="602"/>
                    </a:lnTo>
                    <a:lnTo>
                      <a:pt x="134" y="602"/>
                    </a:lnTo>
                    <a:lnTo>
                      <a:pt x="128" y="602"/>
                    </a:lnTo>
                    <a:lnTo>
                      <a:pt x="116" y="602"/>
                    </a:lnTo>
                    <a:lnTo>
                      <a:pt x="110" y="604"/>
                    </a:lnTo>
                    <a:lnTo>
                      <a:pt x="106" y="604"/>
                    </a:lnTo>
                    <a:lnTo>
                      <a:pt x="100" y="606"/>
                    </a:lnTo>
                    <a:lnTo>
                      <a:pt x="96" y="608"/>
                    </a:lnTo>
                    <a:lnTo>
                      <a:pt x="94" y="608"/>
                    </a:lnTo>
                    <a:lnTo>
                      <a:pt x="90" y="610"/>
                    </a:lnTo>
                    <a:lnTo>
                      <a:pt x="88" y="612"/>
                    </a:lnTo>
                    <a:lnTo>
                      <a:pt x="86" y="612"/>
                    </a:lnTo>
                    <a:lnTo>
                      <a:pt x="76" y="616"/>
                    </a:lnTo>
                    <a:lnTo>
                      <a:pt x="72" y="616"/>
                    </a:lnTo>
                    <a:lnTo>
                      <a:pt x="66" y="616"/>
                    </a:lnTo>
                    <a:lnTo>
                      <a:pt x="60" y="616"/>
                    </a:lnTo>
                    <a:lnTo>
                      <a:pt x="54" y="616"/>
                    </a:lnTo>
                    <a:lnTo>
                      <a:pt x="46" y="614"/>
                    </a:lnTo>
                    <a:lnTo>
                      <a:pt x="40" y="614"/>
                    </a:lnTo>
                    <a:lnTo>
                      <a:pt x="32" y="616"/>
                    </a:lnTo>
                    <a:lnTo>
                      <a:pt x="28" y="616"/>
                    </a:lnTo>
                    <a:lnTo>
                      <a:pt x="28" y="616"/>
                    </a:lnTo>
                    <a:lnTo>
                      <a:pt x="28" y="616"/>
                    </a:lnTo>
                    <a:lnTo>
                      <a:pt x="22" y="618"/>
                    </a:lnTo>
                    <a:lnTo>
                      <a:pt x="16" y="620"/>
                    </a:lnTo>
                    <a:lnTo>
                      <a:pt x="12" y="622"/>
                    </a:lnTo>
                    <a:lnTo>
                      <a:pt x="8" y="624"/>
                    </a:lnTo>
                    <a:lnTo>
                      <a:pt x="4" y="628"/>
                    </a:lnTo>
                    <a:lnTo>
                      <a:pt x="2" y="630"/>
                    </a:lnTo>
                    <a:lnTo>
                      <a:pt x="0" y="632"/>
                    </a:lnTo>
                    <a:lnTo>
                      <a:pt x="0" y="632"/>
                    </a:lnTo>
                    <a:lnTo>
                      <a:pt x="0" y="632"/>
                    </a:lnTo>
                    <a:lnTo>
                      <a:pt x="0" y="634"/>
                    </a:lnTo>
                    <a:lnTo>
                      <a:pt x="0" y="634"/>
                    </a:lnTo>
                    <a:lnTo>
                      <a:pt x="0" y="636"/>
                    </a:lnTo>
                    <a:lnTo>
                      <a:pt x="0" y="636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4" y="638"/>
                    </a:lnTo>
                    <a:lnTo>
                      <a:pt x="6" y="636"/>
                    </a:lnTo>
                    <a:lnTo>
                      <a:pt x="10" y="636"/>
                    </a:lnTo>
                    <a:lnTo>
                      <a:pt x="14" y="634"/>
                    </a:lnTo>
                    <a:lnTo>
                      <a:pt x="18" y="632"/>
                    </a:lnTo>
                    <a:lnTo>
                      <a:pt x="24" y="632"/>
                    </a:lnTo>
                    <a:lnTo>
                      <a:pt x="28" y="630"/>
                    </a:lnTo>
                    <a:lnTo>
                      <a:pt x="32" y="630"/>
                    </a:lnTo>
                    <a:lnTo>
                      <a:pt x="40" y="628"/>
                    </a:lnTo>
                    <a:lnTo>
                      <a:pt x="48" y="626"/>
                    </a:lnTo>
                    <a:lnTo>
                      <a:pt x="58" y="626"/>
                    </a:lnTo>
                    <a:lnTo>
                      <a:pt x="66" y="624"/>
                    </a:lnTo>
                    <a:lnTo>
                      <a:pt x="72" y="622"/>
                    </a:lnTo>
                    <a:lnTo>
                      <a:pt x="78" y="622"/>
                    </a:lnTo>
                    <a:lnTo>
                      <a:pt x="84" y="620"/>
                    </a:lnTo>
                    <a:lnTo>
                      <a:pt x="88" y="620"/>
                    </a:lnTo>
                    <a:lnTo>
                      <a:pt x="90" y="618"/>
                    </a:lnTo>
                    <a:lnTo>
                      <a:pt x="100" y="616"/>
                    </a:lnTo>
                    <a:lnTo>
                      <a:pt x="110" y="614"/>
                    </a:lnTo>
                    <a:lnTo>
                      <a:pt x="116" y="614"/>
                    </a:lnTo>
                    <a:lnTo>
                      <a:pt x="122" y="612"/>
                    </a:lnTo>
                    <a:lnTo>
                      <a:pt x="134" y="612"/>
                    </a:lnTo>
                    <a:lnTo>
                      <a:pt x="140" y="612"/>
                    </a:lnTo>
                    <a:lnTo>
                      <a:pt x="146" y="612"/>
                    </a:lnTo>
                    <a:lnTo>
                      <a:pt x="152" y="612"/>
                    </a:lnTo>
                    <a:lnTo>
                      <a:pt x="156" y="612"/>
                    </a:lnTo>
                    <a:lnTo>
                      <a:pt x="160" y="610"/>
                    </a:lnTo>
                    <a:lnTo>
                      <a:pt x="160" y="610"/>
                    </a:lnTo>
                    <a:lnTo>
                      <a:pt x="160" y="610"/>
                    </a:lnTo>
                    <a:lnTo>
                      <a:pt x="164" y="610"/>
                    </a:lnTo>
                    <a:lnTo>
                      <a:pt x="164" y="610"/>
                    </a:lnTo>
                    <a:lnTo>
                      <a:pt x="164" y="608"/>
                    </a:lnTo>
                    <a:lnTo>
                      <a:pt x="168" y="608"/>
                    </a:lnTo>
                    <a:lnTo>
                      <a:pt x="170" y="606"/>
                    </a:lnTo>
                    <a:lnTo>
                      <a:pt x="174" y="602"/>
                    </a:lnTo>
                    <a:lnTo>
                      <a:pt x="176" y="600"/>
                    </a:lnTo>
                    <a:lnTo>
                      <a:pt x="176" y="600"/>
                    </a:lnTo>
                    <a:lnTo>
                      <a:pt x="176" y="600"/>
                    </a:lnTo>
                    <a:lnTo>
                      <a:pt x="178" y="600"/>
                    </a:lnTo>
                    <a:lnTo>
                      <a:pt x="180" y="600"/>
                    </a:lnTo>
                    <a:lnTo>
                      <a:pt x="182" y="600"/>
                    </a:lnTo>
                    <a:lnTo>
                      <a:pt x="184" y="602"/>
                    </a:lnTo>
                    <a:lnTo>
                      <a:pt x="184" y="602"/>
                    </a:lnTo>
                    <a:lnTo>
                      <a:pt x="184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88" y="602"/>
                    </a:lnTo>
                    <a:lnTo>
                      <a:pt x="188" y="602"/>
                    </a:lnTo>
                    <a:lnTo>
                      <a:pt x="190" y="600"/>
                    </a:lnTo>
                    <a:lnTo>
                      <a:pt x="192" y="600"/>
                    </a:lnTo>
                    <a:lnTo>
                      <a:pt x="192" y="600"/>
                    </a:lnTo>
                    <a:lnTo>
                      <a:pt x="192" y="600"/>
                    </a:lnTo>
                    <a:lnTo>
                      <a:pt x="194" y="596"/>
                    </a:lnTo>
                    <a:lnTo>
                      <a:pt x="194" y="596"/>
                    </a:lnTo>
                    <a:lnTo>
                      <a:pt x="194" y="596"/>
                    </a:lnTo>
                    <a:lnTo>
                      <a:pt x="196" y="594"/>
                    </a:lnTo>
                    <a:lnTo>
                      <a:pt x="198" y="590"/>
                    </a:lnTo>
                    <a:lnTo>
                      <a:pt x="200" y="586"/>
                    </a:lnTo>
                    <a:lnTo>
                      <a:pt x="204" y="582"/>
                    </a:lnTo>
                    <a:lnTo>
                      <a:pt x="206" y="578"/>
                    </a:lnTo>
                    <a:lnTo>
                      <a:pt x="210" y="574"/>
                    </a:lnTo>
                    <a:lnTo>
                      <a:pt x="216" y="570"/>
                    </a:lnTo>
                    <a:lnTo>
                      <a:pt x="218" y="568"/>
                    </a:lnTo>
                    <a:lnTo>
                      <a:pt x="222" y="566"/>
                    </a:lnTo>
                    <a:lnTo>
                      <a:pt x="230" y="562"/>
                    </a:lnTo>
                    <a:lnTo>
                      <a:pt x="238" y="558"/>
                    </a:lnTo>
                    <a:lnTo>
                      <a:pt x="248" y="554"/>
                    </a:lnTo>
                    <a:lnTo>
                      <a:pt x="258" y="548"/>
                    </a:lnTo>
                    <a:lnTo>
                      <a:pt x="268" y="544"/>
                    </a:lnTo>
                    <a:lnTo>
                      <a:pt x="278" y="540"/>
                    </a:lnTo>
                    <a:lnTo>
                      <a:pt x="286" y="534"/>
                    </a:lnTo>
                    <a:lnTo>
                      <a:pt x="302" y="526"/>
                    </a:lnTo>
                    <a:lnTo>
                      <a:pt x="316" y="518"/>
                    </a:lnTo>
                    <a:lnTo>
                      <a:pt x="330" y="510"/>
                    </a:lnTo>
                    <a:lnTo>
                      <a:pt x="338" y="504"/>
                    </a:lnTo>
                    <a:lnTo>
                      <a:pt x="344" y="500"/>
                    </a:lnTo>
                    <a:lnTo>
                      <a:pt x="350" y="494"/>
                    </a:lnTo>
                    <a:lnTo>
                      <a:pt x="356" y="486"/>
                    </a:lnTo>
                    <a:lnTo>
                      <a:pt x="362" y="478"/>
                    </a:lnTo>
                    <a:lnTo>
                      <a:pt x="368" y="472"/>
                    </a:lnTo>
                    <a:lnTo>
                      <a:pt x="374" y="464"/>
                    </a:lnTo>
                    <a:lnTo>
                      <a:pt x="378" y="458"/>
                    </a:lnTo>
                    <a:lnTo>
                      <a:pt x="382" y="452"/>
                    </a:lnTo>
                    <a:lnTo>
                      <a:pt x="384" y="450"/>
                    </a:lnTo>
                    <a:lnTo>
                      <a:pt x="384" y="448"/>
                    </a:lnTo>
                    <a:lnTo>
                      <a:pt x="386" y="446"/>
                    </a:lnTo>
                    <a:lnTo>
                      <a:pt x="386" y="446"/>
                    </a:lnTo>
                    <a:lnTo>
                      <a:pt x="386" y="444"/>
                    </a:lnTo>
                    <a:lnTo>
                      <a:pt x="386" y="444"/>
                    </a:lnTo>
                    <a:lnTo>
                      <a:pt x="386" y="444"/>
                    </a:lnTo>
                    <a:lnTo>
                      <a:pt x="386" y="442"/>
                    </a:lnTo>
                    <a:lnTo>
                      <a:pt x="386" y="442"/>
                    </a:lnTo>
                    <a:lnTo>
                      <a:pt x="386" y="442"/>
                    </a:lnTo>
                    <a:lnTo>
                      <a:pt x="386" y="440"/>
                    </a:lnTo>
                    <a:lnTo>
                      <a:pt x="384" y="440"/>
                    </a:lnTo>
                    <a:lnTo>
                      <a:pt x="384" y="440"/>
                    </a:lnTo>
                    <a:lnTo>
                      <a:pt x="390" y="440"/>
                    </a:lnTo>
                    <a:lnTo>
                      <a:pt x="396" y="440"/>
                    </a:lnTo>
                    <a:lnTo>
                      <a:pt x="398" y="440"/>
                    </a:lnTo>
                    <a:lnTo>
                      <a:pt x="400" y="440"/>
                    </a:lnTo>
                    <a:lnTo>
                      <a:pt x="402" y="440"/>
                    </a:lnTo>
                    <a:lnTo>
                      <a:pt x="404" y="440"/>
                    </a:lnTo>
                    <a:lnTo>
                      <a:pt x="404" y="440"/>
                    </a:lnTo>
                    <a:lnTo>
                      <a:pt x="402" y="442"/>
                    </a:lnTo>
                    <a:lnTo>
                      <a:pt x="400" y="444"/>
                    </a:lnTo>
                    <a:lnTo>
                      <a:pt x="398" y="446"/>
                    </a:lnTo>
                    <a:lnTo>
                      <a:pt x="396" y="450"/>
                    </a:lnTo>
                    <a:lnTo>
                      <a:pt x="394" y="452"/>
                    </a:lnTo>
                    <a:lnTo>
                      <a:pt x="388" y="458"/>
                    </a:lnTo>
                    <a:lnTo>
                      <a:pt x="380" y="464"/>
                    </a:lnTo>
                    <a:lnTo>
                      <a:pt x="378" y="468"/>
                    </a:lnTo>
                    <a:lnTo>
                      <a:pt x="376" y="470"/>
                    </a:lnTo>
                    <a:lnTo>
                      <a:pt x="374" y="472"/>
                    </a:lnTo>
                    <a:lnTo>
                      <a:pt x="372" y="474"/>
                    </a:lnTo>
                    <a:lnTo>
                      <a:pt x="370" y="474"/>
                    </a:lnTo>
                    <a:lnTo>
                      <a:pt x="370" y="474"/>
                    </a:lnTo>
                    <a:lnTo>
                      <a:pt x="370" y="476"/>
                    </a:lnTo>
                    <a:lnTo>
                      <a:pt x="370" y="476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70" y="478"/>
                    </a:lnTo>
                    <a:lnTo>
                      <a:pt x="372" y="480"/>
                    </a:lnTo>
                    <a:lnTo>
                      <a:pt x="372" y="480"/>
                    </a:lnTo>
                    <a:lnTo>
                      <a:pt x="372" y="480"/>
                    </a:lnTo>
                    <a:lnTo>
                      <a:pt x="374" y="480"/>
                    </a:lnTo>
                    <a:lnTo>
                      <a:pt x="374" y="480"/>
                    </a:lnTo>
                    <a:lnTo>
                      <a:pt x="376" y="478"/>
                    </a:lnTo>
                    <a:lnTo>
                      <a:pt x="378" y="478"/>
                    </a:lnTo>
                    <a:lnTo>
                      <a:pt x="380" y="476"/>
                    </a:lnTo>
                    <a:lnTo>
                      <a:pt x="382" y="474"/>
                    </a:lnTo>
                    <a:lnTo>
                      <a:pt x="388" y="470"/>
                    </a:lnTo>
                    <a:lnTo>
                      <a:pt x="394" y="464"/>
                    </a:lnTo>
                    <a:lnTo>
                      <a:pt x="400" y="460"/>
                    </a:lnTo>
                    <a:lnTo>
                      <a:pt x="406" y="456"/>
                    </a:lnTo>
                    <a:lnTo>
                      <a:pt x="408" y="454"/>
                    </a:lnTo>
                    <a:lnTo>
                      <a:pt x="410" y="452"/>
                    </a:lnTo>
                    <a:lnTo>
                      <a:pt x="418" y="446"/>
                    </a:lnTo>
                    <a:lnTo>
                      <a:pt x="424" y="442"/>
                    </a:lnTo>
                    <a:lnTo>
                      <a:pt x="430" y="438"/>
                    </a:lnTo>
                    <a:lnTo>
                      <a:pt x="436" y="432"/>
                    </a:lnTo>
                    <a:lnTo>
                      <a:pt x="442" y="428"/>
                    </a:lnTo>
                    <a:lnTo>
                      <a:pt x="448" y="424"/>
                    </a:lnTo>
                    <a:lnTo>
                      <a:pt x="454" y="422"/>
                    </a:lnTo>
                    <a:lnTo>
                      <a:pt x="456" y="420"/>
                    </a:lnTo>
                    <a:lnTo>
                      <a:pt x="456" y="420"/>
                    </a:lnTo>
                    <a:lnTo>
                      <a:pt x="458" y="420"/>
                    </a:lnTo>
                    <a:lnTo>
                      <a:pt x="458" y="420"/>
                    </a:lnTo>
                    <a:lnTo>
                      <a:pt x="460" y="422"/>
                    </a:lnTo>
                    <a:lnTo>
                      <a:pt x="460" y="422"/>
                    </a:lnTo>
                    <a:lnTo>
                      <a:pt x="460" y="422"/>
                    </a:lnTo>
                    <a:lnTo>
                      <a:pt x="462" y="422"/>
                    </a:lnTo>
                    <a:lnTo>
                      <a:pt x="462" y="422"/>
                    </a:lnTo>
                    <a:lnTo>
                      <a:pt x="462" y="424"/>
                    </a:lnTo>
                    <a:lnTo>
                      <a:pt x="464" y="424"/>
                    </a:lnTo>
                    <a:lnTo>
                      <a:pt x="464" y="424"/>
                    </a:lnTo>
                    <a:lnTo>
                      <a:pt x="468" y="424"/>
                    </a:lnTo>
                    <a:lnTo>
                      <a:pt x="472" y="424"/>
                    </a:lnTo>
                    <a:lnTo>
                      <a:pt x="474" y="422"/>
                    </a:lnTo>
                    <a:lnTo>
                      <a:pt x="474" y="422"/>
                    </a:lnTo>
                    <a:lnTo>
                      <a:pt x="476" y="422"/>
                    </a:lnTo>
                    <a:lnTo>
                      <a:pt x="478" y="422"/>
                    </a:lnTo>
                    <a:lnTo>
                      <a:pt x="478" y="422"/>
                    </a:lnTo>
                    <a:lnTo>
                      <a:pt x="478" y="422"/>
                    </a:lnTo>
                    <a:lnTo>
                      <a:pt x="480" y="420"/>
                    </a:lnTo>
                    <a:lnTo>
                      <a:pt x="482" y="420"/>
                    </a:lnTo>
                    <a:lnTo>
                      <a:pt x="484" y="418"/>
                    </a:lnTo>
                    <a:lnTo>
                      <a:pt x="488" y="414"/>
                    </a:lnTo>
                    <a:lnTo>
                      <a:pt x="492" y="410"/>
                    </a:lnTo>
                    <a:lnTo>
                      <a:pt x="492" y="408"/>
                    </a:lnTo>
                    <a:lnTo>
                      <a:pt x="494" y="406"/>
                    </a:lnTo>
                    <a:lnTo>
                      <a:pt x="494" y="406"/>
                    </a:lnTo>
                    <a:lnTo>
                      <a:pt x="496" y="406"/>
                    </a:lnTo>
                    <a:lnTo>
                      <a:pt x="496" y="406"/>
                    </a:lnTo>
                    <a:lnTo>
                      <a:pt x="496" y="406"/>
                    </a:lnTo>
                    <a:lnTo>
                      <a:pt x="498" y="406"/>
                    </a:lnTo>
                    <a:lnTo>
                      <a:pt x="500" y="404"/>
                    </a:lnTo>
                    <a:lnTo>
                      <a:pt x="502" y="404"/>
                    </a:lnTo>
                    <a:lnTo>
                      <a:pt x="506" y="402"/>
                    </a:lnTo>
                    <a:lnTo>
                      <a:pt x="510" y="400"/>
                    </a:lnTo>
                    <a:lnTo>
                      <a:pt x="512" y="400"/>
                    </a:lnTo>
                    <a:lnTo>
                      <a:pt x="512" y="400"/>
                    </a:lnTo>
                    <a:lnTo>
                      <a:pt x="512" y="400"/>
                    </a:lnTo>
                    <a:lnTo>
                      <a:pt x="512" y="404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0" y="414"/>
                    </a:lnTo>
                    <a:lnTo>
                      <a:pt x="510" y="414"/>
                    </a:lnTo>
                    <a:lnTo>
                      <a:pt x="510" y="414"/>
                    </a:lnTo>
                    <a:lnTo>
                      <a:pt x="510" y="418"/>
                    </a:lnTo>
                    <a:lnTo>
                      <a:pt x="510" y="418"/>
                    </a:lnTo>
                    <a:lnTo>
                      <a:pt x="510" y="418"/>
                    </a:lnTo>
                    <a:lnTo>
                      <a:pt x="512" y="420"/>
                    </a:lnTo>
                    <a:lnTo>
                      <a:pt x="512" y="420"/>
                    </a:lnTo>
                    <a:lnTo>
                      <a:pt x="514" y="422"/>
                    </a:lnTo>
                    <a:lnTo>
                      <a:pt x="516" y="422"/>
                    </a:lnTo>
                    <a:lnTo>
                      <a:pt x="516" y="422"/>
                    </a:lnTo>
                    <a:lnTo>
                      <a:pt x="516" y="422"/>
                    </a:lnTo>
                    <a:lnTo>
                      <a:pt x="518" y="422"/>
                    </a:lnTo>
                    <a:lnTo>
                      <a:pt x="520" y="422"/>
                    </a:lnTo>
                    <a:lnTo>
                      <a:pt x="522" y="422"/>
                    </a:lnTo>
                    <a:lnTo>
                      <a:pt x="526" y="420"/>
                    </a:lnTo>
                    <a:lnTo>
                      <a:pt x="532" y="418"/>
                    </a:lnTo>
                    <a:lnTo>
                      <a:pt x="536" y="418"/>
                    </a:lnTo>
                    <a:lnTo>
                      <a:pt x="538" y="418"/>
                    </a:lnTo>
                    <a:lnTo>
                      <a:pt x="540" y="418"/>
                    </a:lnTo>
                    <a:lnTo>
                      <a:pt x="542" y="418"/>
                    </a:lnTo>
                    <a:lnTo>
                      <a:pt x="546" y="420"/>
                    </a:lnTo>
                    <a:lnTo>
                      <a:pt x="548" y="422"/>
                    </a:lnTo>
                    <a:lnTo>
                      <a:pt x="550" y="422"/>
                    </a:lnTo>
                    <a:lnTo>
                      <a:pt x="550" y="422"/>
                    </a:lnTo>
                    <a:lnTo>
                      <a:pt x="550" y="422"/>
                    </a:lnTo>
                    <a:lnTo>
                      <a:pt x="552" y="424"/>
                    </a:lnTo>
                    <a:lnTo>
                      <a:pt x="552" y="424"/>
                    </a:lnTo>
                    <a:lnTo>
                      <a:pt x="552" y="424"/>
                    </a:lnTo>
                    <a:lnTo>
                      <a:pt x="554" y="424"/>
                    </a:lnTo>
                    <a:lnTo>
                      <a:pt x="554" y="424"/>
                    </a:lnTo>
                    <a:lnTo>
                      <a:pt x="556" y="422"/>
                    </a:lnTo>
                    <a:lnTo>
                      <a:pt x="560" y="422"/>
                    </a:lnTo>
                    <a:lnTo>
                      <a:pt x="560" y="422"/>
                    </a:lnTo>
                    <a:lnTo>
                      <a:pt x="560" y="424"/>
                    </a:lnTo>
                    <a:lnTo>
                      <a:pt x="560" y="426"/>
                    </a:lnTo>
                    <a:lnTo>
                      <a:pt x="560" y="428"/>
                    </a:lnTo>
                    <a:lnTo>
                      <a:pt x="560" y="430"/>
                    </a:lnTo>
                    <a:lnTo>
                      <a:pt x="560" y="430"/>
                    </a:lnTo>
                    <a:lnTo>
                      <a:pt x="560" y="430"/>
                    </a:lnTo>
                    <a:lnTo>
                      <a:pt x="560" y="434"/>
                    </a:lnTo>
                    <a:lnTo>
                      <a:pt x="564" y="436"/>
                    </a:lnTo>
                    <a:lnTo>
                      <a:pt x="568" y="438"/>
                    </a:lnTo>
                    <a:lnTo>
                      <a:pt x="576" y="444"/>
                    </a:lnTo>
                    <a:lnTo>
                      <a:pt x="578" y="448"/>
                    </a:lnTo>
                    <a:lnTo>
                      <a:pt x="582" y="452"/>
                    </a:lnTo>
                    <a:lnTo>
                      <a:pt x="584" y="456"/>
                    </a:lnTo>
                    <a:lnTo>
                      <a:pt x="586" y="458"/>
                    </a:lnTo>
                    <a:lnTo>
                      <a:pt x="586" y="458"/>
                    </a:lnTo>
                    <a:lnTo>
                      <a:pt x="588" y="460"/>
                    </a:lnTo>
                    <a:lnTo>
                      <a:pt x="590" y="462"/>
                    </a:lnTo>
                    <a:lnTo>
                      <a:pt x="590" y="462"/>
                    </a:lnTo>
                    <a:lnTo>
                      <a:pt x="592" y="464"/>
                    </a:lnTo>
                    <a:lnTo>
                      <a:pt x="594" y="466"/>
                    </a:lnTo>
                    <a:lnTo>
                      <a:pt x="594" y="466"/>
                    </a:lnTo>
                    <a:lnTo>
                      <a:pt x="598" y="466"/>
                    </a:lnTo>
                    <a:lnTo>
                      <a:pt x="600" y="466"/>
                    </a:lnTo>
                    <a:lnTo>
                      <a:pt x="600" y="466"/>
                    </a:lnTo>
                    <a:lnTo>
                      <a:pt x="600" y="466"/>
                    </a:lnTo>
                    <a:lnTo>
                      <a:pt x="598" y="468"/>
                    </a:lnTo>
                    <a:lnTo>
                      <a:pt x="598" y="470"/>
                    </a:lnTo>
                    <a:lnTo>
                      <a:pt x="598" y="470"/>
                    </a:lnTo>
                    <a:lnTo>
                      <a:pt x="598" y="470"/>
                    </a:lnTo>
                    <a:lnTo>
                      <a:pt x="598" y="474"/>
                    </a:lnTo>
                    <a:lnTo>
                      <a:pt x="600" y="478"/>
                    </a:lnTo>
                    <a:lnTo>
                      <a:pt x="600" y="478"/>
                    </a:lnTo>
                    <a:lnTo>
                      <a:pt x="602" y="478"/>
                    </a:lnTo>
                    <a:lnTo>
                      <a:pt x="602" y="480"/>
                    </a:lnTo>
                    <a:lnTo>
                      <a:pt x="604" y="482"/>
                    </a:lnTo>
                    <a:lnTo>
                      <a:pt x="606" y="486"/>
                    </a:lnTo>
                    <a:lnTo>
                      <a:pt x="606" y="486"/>
                    </a:lnTo>
                    <a:lnTo>
                      <a:pt x="606" y="486"/>
                    </a:lnTo>
                    <a:lnTo>
                      <a:pt x="610" y="490"/>
                    </a:lnTo>
                    <a:lnTo>
                      <a:pt x="612" y="494"/>
                    </a:lnTo>
                    <a:lnTo>
                      <a:pt x="614" y="498"/>
                    </a:lnTo>
                    <a:lnTo>
                      <a:pt x="614" y="502"/>
                    </a:lnTo>
                    <a:lnTo>
                      <a:pt x="614" y="502"/>
                    </a:lnTo>
                    <a:lnTo>
                      <a:pt x="614" y="504"/>
                    </a:lnTo>
                    <a:lnTo>
                      <a:pt x="614" y="504"/>
                    </a:lnTo>
                    <a:lnTo>
                      <a:pt x="614" y="504"/>
                    </a:lnTo>
                    <a:lnTo>
                      <a:pt x="616" y="508"/>
                    </a:lnTo>
                    <a:lnTo>
                      <a:pt x="618" y="508"/>
                    </a:lnTo>
                    <a:lnTo>
                      <a:pt x="618" y="508"/>
                    </a:lnTo>
                    <a:lnTo>
                      <a:pt x="618" y="508"/>
                    </a:lnTo>
                    <a:lnTo>
                      <a:pt x="618" y="510"/>
                    </a:lnTo>
                    <a:lnTo>
                      <a:pt x="618" y="510"/>
                    </a:lnTo>
                    <a:lnTo>
                      <a:pt x="620" y="510"/>
                    </a:lnTo>
                    <a:lnTo>
                      <a:pt x="620" y="510"/>
                    </a:lnTo>
                    <a:lnTo>
                      <a:pt x="620" y="510"/>
                    </a:lnTo>
                    <a:lnTo>
                      <a:pt x="622" y="510"/>
                    </a:lnTo>
                    <a:lnTo>
                      <a:pt x="622" y="510"/>
                    </a:lnTo>
                    <a:lnTo>
                      <a:pt x="622" y="510"/>
                    </a:lnTo>
                    <a:lnTo>
                      <a:pt x="624" y="510"/>
                    </a:lnTo>
                    <a:lnTo>
                      <a:pt x="624" y="510"/>
                    </a:lnTo>
                    <a:lnTo>
                      <a:pt x="624" y="510"/>
                    </a:lnTo>
                    <a:lnTo>
                      <a:pt x="626" y="508"/>
                    </a:lnTo>
                    <a:lnTo>
                      <a:pt x="626" y="508"/>
                    </a:lnTo>
                    <a:lnTo>
                      <a:pt x="626" y="508"/>
                    </a:lnTo>
                    <a:lnTo>
                      <a:pt x="626" y="506"/>
                    </a:lnTo>
                    <a:lnTo>
                      <a:pt x="628" y="504"/>
                    </a:lnTo>
                    <a:lnTo>
                      <a:pt x="628" y="504"/>
                    </a:lnTo>
                    <a:lnTo>
                      <a:pt x="628" y="502"/>
                    </a:lnTo>
                    <a:lnTo>
                      <a:pt x="628" y="500"/>
                    </a:lnTo>
                    <a:lnTo>
                      <a:pt x="628" y="500"/>
                    </a:lnTo>
                    <a:lnTo>
                      <a:pt x="628" y="498"/>
                    </a:lnTo>
                    <a:lnTo>
                      <a:pt x="626" y="496"/>
                    </a:lnTo>
                    <a:lnTo>
                      <a:pt x="626" y="494"/>
                    </a:lnTo>
                    <a:lnTo>
                      <a:pt x="624" y="492"/>
                    </a:lnTo>
                    <a:lnTo>
                      <a:pt x="624" y="490"/>
                    </a:lnTo>
                    <a:lnTo>
                      <a:pt x="626" y="490"/>
                    </a:lnTo>
                    <a:lnTo>
                      <a:pt x="626" y="490"/>
                    </a:lnTo>
                    <a:lnTo>
                      <a:pt x="628" y="490"/>
                    </a:lnTo>
                    <a:lnTo>
                      <a:pt x="630" y="490"/>
                    </a:lnTo>
                    <a:lnTo>
                      <a:pt x="630" y="490"/>
                    </a:lnTo>
                    <a:lnTo>
                      <a:pt x="630" y="488"/>
                    </a:lnTo>
                    <a:lnTo>
                      <a:pt x="632" y="486"/>
                    </a:lnTo>
                    <a:lnTo>
                      <a:pt x="632" y="486"/>
                    </a:lnTo>
                    <a:lnTo>
                      <a:pt x="632" y="484"/>
                    </a:lnTo>
                    <a:lnTo>
                      <a:pt x="632" y="482"/>
                    </a:lnTo>
                    <a:lnTo>
                      <a:pt x="632" y="482"/>
                    </a:lnTo>
                    <a:lnTo>
                      <a:pt x="632" y="482"/>
                    </a:lnTo>
                    <a:lnTo>
                      <a:pt x="632" y="480"/>
                    </a:lnTo>
                    <a:lnTo>
                      <a:pt x="630" y="478"/>
                    </a:lnTo>
                    <a:lnTo>
                      <a:pt x="630" y="474"/>
                    </a:lnTo>
                    <a:lnTo>
                      <a:pt x="630" y="472"/>
                    </a:lnTo>
                    <a:lnTo>
                      <a:pt x="630" y="470"/>
                    </a:lnTo>
                    <a:lnTo>
                      <a:pt x="630" y="472"/>
                    </a:lnTo>
                    <a:lnTo>
                      <a:pt x="632" y="472"/>
                    </a:lnTo>
                    <a:lnTo>
                      <a:pt x="634" y="476"/>
                    </a:lnTo>
                    <a:lnTo>
                      <a:pt x="634" y="482"/>
                    </a:lnTo>
                    <a:lnTo>
                      <a:pt x="636" y="488"/>
                    </a:lnTo>
                    <a:lnTo>
                      <a:pt x="636" y="488"/>
                    </a:lnTo>
                    <a:lnTo>
                      <a:pt x="638" y="490"/>
                    </a:lnTo>
                    <a:lnTo>
                      <a:pt x="640" y="490"/>
                    </a:lnTo>
                    <a:lnTo>
                      <a:pt x="644" y="492"/>
                    </a:lnTo>
                    <a:lnTo>
                      <a:pt x="644" y="494"/>
                    </a:lnTo>
                    <a:lnTo>
                      <a:pt x="644" y="494"/>
                    </a:lnTo>
                    <a:lnTo>
                      <a:pt x="644" y="492"/>
                    </a:lnTo>
                    <a:lnTo>
                      <a:pt x="640" y="492"/>
                    </a:lnTo>
                    <a:lnTo>
                      <a:pt x="638" y="492"/>
                    </a:lnTo>
                    <a:lnTo>
                      <a:pt x="638" y="492"/>
                    </a:lnTo>
                    <a:lnTo>
                      <a:pt x="638" y="492"/>
                    </a:lnTo>
                    <a:lnTo>
                      <a:pt x="634" y="492"/>
                    </a:lnTo>
                    <a:lnTo>
                      <a:pt x="634" y="492"/>
                    </a:lnTo>
                    <a:lnTo>
                      <a:pt x="634" y="492"/>
                    </a:lnTo>
                    <a:lnTo>
                      <a:pt x="632" y="492"/>
                    </a:lnTo>
                    <a:lnTo>
                      <a:pt x="632" y="492"/>
                    </a:lnTo>
                    <a:lnTo>
                      <a:pt x="632" y="492"/>
                    </a:lnTo>
                    <a:lnTo>
                      <a:pt x="630" y="494"/>
                    </a:lnTo>
                    <a:lnTo>
                      <a:pt x="630" y="494"/>
                    </a:lnTo>
                    <a:lnTo>
                      <a:pt x="630" y="494"/>
                    </a:lnTo>
                    <a:lnTo>
                      <a:pt x="628" y="496"/>
                    </a:lnTo>
                    <a:lnTo>
                      <a:pt x="628" y="496"/>
                    </a:lnTo>
                    <a:lnTo>
                      <a:pt x="628" y="496"/>
                    </a:lnTo>
                    <a:lnTo>
                      <a:pt x="628" y="498"/>
                    </a:lnTo>
                    <a:lnTo>
                      <a:pt x="628" y="498"/>
                    </a:lnTo>
                    <a:lnTo>
                      <a:pt x="628" y="498"/>
                    </a:lnTo>
                    <a:lnTo>
                      <a:pt x="628" y="500"/>
                    </a:lnTo>
                    <a:lnTo>
                      <a:pt x="630" y="504"/>
                    </a:lnTo>
                    <a:lnTo>
                      <a:pt x="630" y="504"/>
                    </a:lnTo>
                    <a:lnTo>
                      <a:pt x="632" y="506"/>
                    </a:lnTo>
                    <a:lnTo>
                      <a:pt x="632" y="506"/>
                    </a:lnTo>
                    <a:lnTo>
                      <a:pt x="634" y="506"/>
                    </a:lnTo>
                    <a:lnTo>
                      <a:pt x="634" y="508"/>
                    </a:lnTo>
                    <a:lnTo>
                      <a:pt x="636" y="508"/>
                    </a:lnTo>
                    <a:lnTo>
                      <a:pt x="640" y="508"/>
                    </a:lnTo>
                    <a:lnTo>
                      <a:pt x="642" y="510"/>
                    </a:lnTo>
                    <a:lnTo>
                      <a:pt x="642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6" y="512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2" y="512"/>
                    </a:lnTo>
                    <a:lnTo>
                      <a:pt x="642" y="512"/>
                    </a:lnTo>
                    <a:lnTo>
                      <a:pt x="640" y="514"/>
                    </a:lnTo>
                    <a:lnTo>
                      <a:pt x="640" y="518"/>
                    </a:lnTo>
                    <a:lnTo>
                      <a:pt x="640" y="520"/>
                    </a:lnTo>
                    <a:lnTo>
                      <a:pt x="640" y="522"/>
                    </a:lnTo>
                    <a:lnTo>
                      <a:pt x="640" y="524"/>
                    </a:lnTo>
                    <a:lnTo>
                      <a:pt x="640" y="528"/>
                    </a:lnTo>
                    <a:lnTo>
                      <a:pt x="640" y="530"/>
                    </a:lnTo>
                    <a:lnTo>
                      <a:pt x="640" y="530"/>
                    </a:lnTo>
                    <a:lnTo>
                      <a:pt x="640" y="532"/>
                    </a:lnTo>
                    <a:lnTo>
                      <a:pt x="640" y="534"/>
                    </a:lnTo>
                    <a:lnTo>
                      <a:pt x="640" y="536"/>
                    </a:lnTo>
                    <a:lnTo>
                      <a:pt x="640" y="538"/>
                    </a:lnTo>
                    <a:lnTo>
                      <a:pt x="642" y="540"/>
                    </a:lnTo>
                    <a:lnTo>
                      <a:pt x="642" y="540"/>
                    </a:lnTo>
                    <a:lnTo>
                      <a:pt x="642" y="542"/>
                    </a:lnTo>
                    <a:lnTo>
                      <a:pt x="644" y="544"/>
                    </a:lnTo>
                    <a:lnTo>
                      <a:pt x="644" y="544"/>
                    </a:lnTo>
                    <a:lnTo>
                      <a:pt x="644" y="544"/>
                    </a:lnTo>
                    <a:lnTo>
                      <a:pt x="646" y="546"/>
                    </a:lnTo>
                    <a:lnTo>
                      <a:pt x="646" y="546"/>
                    </a:lnTo>
                    <a:lnTo>
                      <a:pt x="646" y="546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50" y="548"/>
                    </a:lnTo>
                    <a:lnTo>
                      <a:pt x="650" y="548"/>
                    </a:lnTo>
                    <a:lnTo>
                      <a:pt x="652" y="548"/>
                    </a:lnTo>
                    <a:lnTo>
                      <a:pt x="654" y="546"/>
                    </a:lnTo>
                    <a:lnTo>
                      <a:pt x="656" y="546"/>
                    </a:lnTo>
                    <a:lnTo>
                      <a:pt x="656" y="546"/>
                    </a:lnTo>
                    <a:lnTo>
                      <a:pt x="658" y="544"/>
                    </a:lnTo>
                    <a:lnTo>
                      <a:pt x="662" y="542"/>
                    </a:lnTo>
                    <a:lnTo>
                      <a:pt x="664" y="542"/>
                    </a:lnTo>
                    <a:lnTo>
                      <a:pt x="666" y="540"/>
                    </a:lnTo>
                    <a:lnTo>
                      <a:pt x="668" y="540"/>
                    </a:lnTo>
                    <a:lnTo>
                      <a:pt x="668" y="540"/>
                    </a:lnTo>
                    <a:lnTo>
                      <a:pt x="670" y="542"/>
                    </a:lnTo>
                    <a:lnTo>
                      <a:pt x="672" y="542"/>
                    </a:lnTo>
                    <a:lnTo>
                      <a:pt x="672" y="542"/>
                    </a:lnTo>
                    <a:lnTo>
                      <a:pt x="674" y="542"/>
                    </a:lnTo>
                    <a:lnTo>
                      <a:pt x="674" y="542"/>
                    </a:lnTo>
                    <a:lnTo>
                      <a:pt x="674" y="542"/>
                    </a:lnTo>
                    <a:lnTo>
                      <a:pt x="676" y="542"/>
                    </a:lnTo>
                    <a:lnTo>
                      <a:pt x="678" y="544"/>
                    </a:lnTo>
                    <a:lnTo>
                      <a:pt x="678" y="544"/>
                    </a:lnTo>
                    <a:lnTo>
                      <a:pt x="678" y="544"/>
                    </a:lnTo>
                    <a:lnTo>
                      <a:pt x="680" y="546"/>
                    </a:lnTo>
                    <a:lnTo>
                      <a:pt x="680" y="546"/>
                    </a:lnTo>
                    <a:lnTo>
                      <a:pt x="682" y="546"/>
                    </a:lnTo>
                    <a:lnTo>
                      <a:pt x="682" y="546"/>
                    </a:lnTo>
                    <a:lnTo>
                      <a:pt x="682" y="546"/>
                    </a:lnTo>
                    <a:lnTo>
                      <a:pt x="684" y="544"/>
                    </a:lnTo>
                    <a:lnTo>
                      <a:pt x="686" y="544"/>
                    </a:lnTo>
                    <a:lnTo>
                      <a:pt x="686" y="544"/>
                    </a:lnTo>
                    <a:lnTo>
                      <a:pt x="686" y="542"/>
                    </a:lnTo>
                    <a:lnTo>
                      <a:pt x="686" y="540"/>
                    </a:lnTo>
                    <a:lnTo>
                      <a:pt x="688" y="538"/>
                    </a:lnTo>
                    <a:lnTo>
                      <a:pt x="688" y="534"/>
                    </a:lnTo>
                    <a:lnTo>
                      <a:pt x="688" y="530"/>
                    </a:lnTo>
                    <a:lnTo>
                      <a:pt x="688" y="524"/>
                    </a:lnTo>
                    <a:lnTo>
                      <a:pt x="688" y="520"/>
                    </a:lnTo>
                    <a:lnTo>
                      <a:pt x="688" y="520"/>
                    </a:lnTo>
                    <a:lnTo>
                      <a:pt x="688" y="520"/>
                    </a:lnTo>
                    <a:lnTo>
                      <a:pt x="688" y="518"/>
                    </a:lnTo>
                    <a:lnTo>
                      <a:pt x="688" y="518"/>
                    </a:lnTo>
                    <a:lnTo>
                      <a:pt x="688" y="518"/>
                    </a:lnTo>
                    <a:lnTo>
                      <a:pt x="688" y="518"/>
                    </a:lnTo>
                    <a:close/>
                    <a:moveTo>
                      <a:pt x="294" y="54"/>
                    </a:moveTo>
                    <a:lnTo>
                      <a:pt x="294" y="54"/>
                    </a:lnTo>
                    <a:lnTo>
                      <a:pt x="294" y="54"/>
                    </a:lnTo>
                    <a:lnTo>
                      <a:pt x="294" y="54"/>
                    </a:lnTo>
                    <a:close/>
                    <a:moveTo>
                      <a:pt x="606" y="460"/>
                    </a:move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0"/>
                    </a:lnTo>
                    <a:lnTo>
                      <a:pt x="604" y="458"/>
                    </a:lnTo>
                    <a:lnTo>
                      <a:pt x="604" y="458"/>
                    </a:lnTo>
                    <a:lnTo>
                      <a:pt x="606" y="458"/>
                    </a:lnTo>
                    <a:lnTo>
                      <a:pt x="608" y="460"/>
                    </a:lnTo>
                    <a:lnTo>
                      <a:pt x="606" y="460"/>
                    </a:lnTo>
                    <a:close/>
                    <a:moveTo>
                      <a:pt x="654" y="516"/>
                    </a:moveTo>
                    <a:lnTo>
                      <a:pt x="654" y="516"/>
                    </a:lnTo>
                    <a:lnTo>
                      <a:pt x="652" y="516"/>
                    </a:lnTo>
                    <a:lnTo>
                      <a:pt x="650" y="514"/>
                    </a:lnTo>
                    <a:lnTo>
                      <a:pt x="648" y="514"/>
                    </a:lnTo>
                    <a:lnTo>
                      <a:pt x="648" y="514"/>
                    </a:lnTo>
                    <a:lnTo>
                      <a:pt x="648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2" y="514"/>
                    </a:lnTo>
                    <a:lnTo>
                      <a:pt x="654" y="516"/>
                    </a:lnTo>
                    <a:lnTo>
                      <a:pt x="654" y="516"/>
                    </a:lnTo>
                    <a:lnTo>
                      <a:pt x="654" y="51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8" name="Freeform 24">
                <a:extLst>
                  <a:ext uri="{FF2B5EF4-FFF2-40B4-BE49-F238E27FC236}">
                    <a16:creationId xmlns:a16="http://schemas.microsoft.com/office/drawing/2014/main" id="{24A4BDF3-066F-4667-8F47-DC4AC2B2AE3E}"/>
                  </a:ext>
                </a:extLst>
              </p:cNvPr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gray">
              <a:xfrm>
                <a:off x="2578959" y="4737100"/>
                <a:ext cx="426179" cy="1007062"/>
              </a:xfrm>
              <a:custGeom>
                <a:avLst/>
                <a:gdLst/>
                <a:ahLst/>
                <a:cxnLst/>
                <a:rect l="l" t="t" r="r" b="b"/>
                <a:pathLst>
                  <a:path w="426179" h="1007062">
                    <a:moveTo>
                      <a:pt x="295614" y="854662"/>
                    </a:moveTo>
                    <a:cubicBezTo>
                      <a:pt x="328952" y="856209"/>
                      <a:pt x="348002" y="856209"/>
                      <a:pt x="376577" y="862396"/>
                    </a:cubicBezTo>
                    <a:cubicBezTo>
                      <a:pt x="371815" y="876317"/>
                      <a:pt x="363877" y="879411"/>
                      <a:pt x="349590" y="882505"/>
                    </a:cubicBezTo>
                    <a:cubicBezTo>
                      <a:pt x="341652" y="896426"/>
                      <a:pt x="336890" y="897973"/>
                      <a:pt x="321014" y="901066"/>
                    </a:cubicBezTo>
                    <a:cubicBezTo>
                      <a:pt x="303552" y="914987"/>
                      <a:pt x="297202" y="897973"/>
                      <a:pt x="278152" y="894879"/>
                    </a:cubicBezTo>
                    <a:cubicBezTo>
                      <a:pt x="270214" y="882505"/>
                      <a:pt x="274977" y="874771"/>
                      <a:pt x="287677" y="868583"/>
                    </a:cubicBezTo>
                    <a:cubicBezTo>
                      <a:pt x="294027" y="860849"/>
                      <a:pt x="290852" y="865490"/>
                      <a:pt x="295614" y="854662"/>
                    </a:cubicBezTo>
                    <a:close/>
                    <a:moveTo>
                      <a:pt x="167429" y="363"/>
                    </a:moveTo>
                    <a:cubicBezTo>
                      <a:pt x="170608" y="1534"/>
                      <a:pt x="180528" y="5044"/>
                      <a:pt x="225759" y="3518"/>
                    </a:cubicBezTo>
                    <a:cubicBezTo>
                      <a:pt x="233704" y="8199"/>
                      <a:pt x="252747" y="9725"/>
                      <a:pt x="259094" y="17561"/>
                    </a:cubicBezTo>
                    <a:cubicBezTo>
                      <a:pt x="274984" y="23768"/>
                      <a:pt x="306722" y="40863"/>
                      <a:pt x="314667" y="53380"/>
                    </a:cubicBezTo>
                    <a:cubicBezTo>
                      <a:pt x="333709" y="67422"/>
                      <a:pt x="349599" y="78310"/>
                      <a:pt x="363892" y="97034"/>
                    </a:cubicBezTo>
                    <a:cubicBezTo>
                      <a:pt x="362294" y="106396"/>
                      <a:pt x="359099" y="110975"/>
                      <a:pt x="354349" y="118810"/>
                    </a:cubicBezTo>
                    <a:cubicBezTo>
                      <a:pt x="359099" y="126646"/>
                      <a:pt x="362294" y="129699"/>
                      <a:pt x="371794" y="132853"/>
                    </a:cubicBezTo>
                    <a:cubicBezTo>
                      <a:pt x="386086" y="134380"/>
                      <a:pt x="408324" y="140587"/>
                      <a:pt x="421019" y="134380"/>
                    </a:cubicBezTo>
                    <a:cubicBezTo>
                      <a:pt x="428964" y="137534"/>
                      <a:pt x="425769" y="145268"/>
                      <a:pt x="424214" y="151577"/>
                    </a:cubicBezTo>
                    <a:cubicBezTo>
                      <a:pt x="414671" y="156258"/>
                      <a:pt x="411519" y="160939"/>
                      <a:pt x="406726" y="170199"/>
                    </a:cubicBezTo>
                    <a:cubicBezTo>
                      <a:pt x="398781" y="176508"/>
                      <a:pt x="395629" y="181189"/>
                      <a:pt x="390879" y="188922"/>
                    </a:cubicBezTo>
                    <a:cubicBezTo>
                      <a:pt x="381336" y="196758"/>
                      <a:pt x="374989" y="206119"/>
                      <a:pt x="368642" y="217008"/>
                    </a:cubicBezTo>
                    <a:cubicBezTo>
                      <a:pt x="344806" y="234103"/>
                      <a:pt x="354349" y="287119"/>
                      <a:pt x="354349" y="302688"/>
                    </a:cubicBezTo>
                    <a:cubicBezTo>
                      <a:pt x="357544" y="316731"/>
                      <a:pt x="360696" y="327619"/>
                      <a:pt x="367044" y="340136"/>
                    </a:cubicBezTo>
                    <a:cubicBezTo>
                      <a:pt x="387684" y="355705"/>
                      <a:pt x="382934" y="358757"/>
                      <a:pt x="387684" y="386843"/>
                    </a:cubicBezTo>
                    <a:cubicBezTo>
                      <a:pt x="386086" y="397731"/>
                      <a:pt x="378184" y="397731"/>
                      <a:pt x="376587" y="408619"/>
                    </a:cubicBezTo>
                    <a:cubicBezTo>
                      <a:pt x="367044" y="427343"/>
                      <a:pt x="352751" y="446066"/>
                      <a:pt x="333709" y="455428"/>
                    </a:cubicBezTo>
                    <a:cubicBezTo>
                      <a:pt x="325764" y="456955"/>
                      <a:pt x="270234" y="469471"/>
                      <a:pt x="268637" y="470997"/>
                    </a:cubicBezTo>
                    <a:cubicBezTo>
                      <a:pt x="257496" y="478833"/>
                      <a:pt x="260692" y="494402"/>
                      <a:pt x="257496" y="506816"/>
                    </a:cubicBezTo>
                    <a:cubicBezTo>
                      <a:pt x="246399" y="508445"/>
                      <a:pt x="244801" y="513024"/>
                      <a:pt x="240052" y="522385"/>
                    </a:cubicBezTo>
                    <a:cubicBezTo>
                      <a:pt x="190827" y="525540"/>
                      <a:pt x="190827" y="519333"/>
                      <a:pt x="197174" y="553625"/>
                    </a:cubicBezTo>
                    <a:cubicBezTo>
                      <a:pt x="217814" y="555152"/>
                      <a:pt x="228954" y="559833"/>
                      <a:pt x="224161" y="581609"/>
                    </a:cubicBezTo>
                    <a:cubicBezTo>
                      <a:pt x="198772" y="583237"/>
                      <a:pt x="187674" y="580083"/>
                      <a:pt x="192424" y="606540"/>
                    </a:cubicBezTo>
                    <a:cubicBezTo>
                      <a:pt x="190827" y="617530"/>
                      <a:pt x="187674" y="623737"/>
                      <a:pt x="182881" y="633099"/>
                    </a:cubicBezTo>
                    <a:cubicBezTo>
                      <a:pt x="171784" y="640833"/>
                      <a:pt x="173382" y="650194"/>
                      <a:pt x="168632" y="661083"/>
                    </a:cubicBezTo>
                    <a:cubicBezTo>
                      <a:pt x="136852" y="662711"/>
                      <a:pt x="136852" y="658030"/>
                      <a:pt x="133700" y="686013"/>
                    </a:cubicBezTo>
                    <a:cubicBezTo>
                      <a:pt x="140047" y="695375"/>
                      <a:pt x="144797" y="706263"/>
                      <a:pt x="154340" y="712572"/>
                    </a:cubicBezTo>
                    <a:cubicBezTo>
                      <a:pt x="173382" y="715625"/>
                      <a:pt x="171784" y="723461"/>
                      <a:pt x="176534" y="740556"/>
                    </a:cubicBezTo>
                    <a:cubicBezTo>
                      <a:pt x="171784" y="746865"/>
                      <a:pt x="170187" y="754599"/>
                      <a:pt x="163839" y="760806"/>
                    </a:cubicBezTo>
                    <a:cubicBezTo>
                      <a:pt x="149547" y="774849"/>
                      <a:pt x="138449" y="776477"/>
                      <a:pt x="133700" y="796727"/>
                    </a:cubicBezTo>
                    <a:cubicBezTo>
                      <a:pt x="140047" y="806089"/>
                      <a:pt x="141645" y="810668"/>
                      <a:pt x="135297" y="820030"/>
                    </a:cubicBezTo>
                    <a:cubicBezTo>
                      <a:pt x="100365" y="821658"/>
                      <a:pt x="105114" y="823184"/>
                      <a:pt x="101919" y="859003"/>
                    </a:cubicBezTo>
                    <a:cubicBezTo>
                      <a:pt x="105114" y="866839"/>
                      <a:pt x="109864" y="871520"/>
                      <a:pt x="111462" y="880881"/>
                    </a:cubicBezTo>
                    <a:cubicBezTo>
                      <a:pt x="124157" y="897977"/>
                      <a:pt x="119407" y="910493"/>
                      <a:pt x="121005" y="933796"/>
                    </a:cubicBezTo>
                    <a:cubicBezTo>
                      <a:pt x="130504" y="936950"/>
                      <a:pt x="133700" y="940105"/>
                      <a:pt x="138449" y="947839"/>
                    </a:cubicBezTo>
                    <a:cubicBezTo>
                      <a:pt x="151144" y="957200"/>
                      <a:pt x="155894" y="971243"/>
                      <a:pt x="163839" y="983658"/>
                    </a:cubicBezTo>
                    <a:cubicBezTo>
                      <a:pt x="171784" y="988339"/>
                      <a:pt x="189272" y="999227"/>
                      <a:pt x="197174" y="1002381"/>
                    </a:cubicBezTo>
                    <a:lnTo>
                      <a:pt x="187674" y="1007062"/>
                    </a:lnTo>
                    <a:cubicBezTo>
                      <a:pt x="190827" y="986812"/>
                      <a:pt x="130504" y="991493"/>
                      <a:pt x="116212" y="988339"/>
                    </a:cubicBezTo>
                    <a:cubicBezTo>
                      <a:pt x="109065" y="986812"/>
                      <a:pt x="107090" y="987982"/>
                      <a:pt x="106102" y="988567"/>
                    </a:cubicBezTo>
                    <a:lnTo>
                      <a:pt x="101919" y="985286"/>
                    </a:lnTo>
                    <a:cubicBezTo>
                      <a:pt x="95572" y="977450"/>
                      <a:pt x="84474" y="955674"/>
                      <a:pt x="76529" y="943158"/>
                    </a:cubicBezTo>
                    <a:cubicBezTo>
                      <a:pt x="68584" y="930743"/>
                      <a:pt x="57487" y="921381"/>
                      <a:pt x="49542" y="913546"/>
                    </a:cubicBezTo>
                    <a:cubicBezTo>
                      <a:pt x="41597" y="905812"/>
                      <a:pt x="25750" y="904184"/>
                      <a:pt x="24152" y="894822"/>
                    </a:cubicBezTo>
                    <a:cubicBezTo>
                      <a:pt x="22554" y="885562"/>
                      <a:pt x="38445" y="866839"/>
                      <a:pt x="35249" y="854322"/>
                    </a:cubicBezTo>
                    <a:cubicBezTo>
                      <a:pt x="32097" y="841908"/>
                      <a:pt x="3512" y="835599"/>
                      <a:pt x="360" y="821658"/>
                    </a:cubicBezTo>
                    <a:cubicBezTo>
                      <a:pt x="-2836" y="807615"/>
                      <a:pt x="16207" y="790418"/>
                      <a:pt x="20957" y="773322"/>
                    </a:cubicBezTo>
                    <a:cubicBezTo>
                      <a:pt x="25750" y="756125"/>
                      <a:pt x="28902" y="742184"/>
                      <a:pt x="33695" y="718780"/>
                    </a:cubicBezTo>
                    <a:cubicBezTo>
                      <a:pt x="38445" y="695375"/>
                      <a:pt x="51139" y="656402"/>
                      <a:pt x="49542" y="629944"/>
                    </a:cubicBezTo>
                    <a:cubicBezTo>
                      <a:pt x="47944" y="603487"/>
                      <a:pt x="25750" y="578556"/>
                      <a:pt x="24152" y="559833"/>
                    </a:cubicBezTo>
                    <a:cubicBezTo>
                      <a:pt x="22554" y="541109"/>
                      <a:pt x="32097" y="538056"/>
                      <a:pt x="35249" y="520859"/>
                    </a:cubicBezTo>
                    <a:cubicBezTo>
                      <a:pt x="38445" y="503764"/>
                      <a:pt x="44792" y="481885"/>
                      <a:pt x="47944" y="460109"/>
                    </a:cubicBezTo>
                    <a:cubicBezTo>
                      <a:pt x="51139" y="438231"/>
                      <a:pt x="52737" y="411774"/>
                      <a:pt x="59085" y="389997"/>
                    </a:cubicBezTo>
                    <a:cubicBezTo>
                      <a:pt x="63834" y="377481"/>
                      <a:pt x="84474" y="341662"/>
                      <a:pt x="86072" y="324465"/>
                    </a:cubicBezTo>
                    <a:cubicBezTo>
                      <a:pt x="76529" y="302688"/>
                      <a:pt x="76529" y="270024"/>
                      <a:pt x="73377" y="244991"/>
                    </a:cubicBezTo>
                    <a:cubicBezTo>
                      <a:pt x="76529" y="218534"/>
                      <a:pt x="70182" y="185869"/>
                      <a:pt x="87670" y="165518"/>
                    </a:cubicBezTo>
                    <a:cubicBezTo>
                      <a:pt x="94017" y="149949"/>
                      <a:pt x="106712" y="154629"/>
                      <a:pt x="111462" y="146896"/>
                    </a:cubicBezTo>
                    <a:cubicBezTo>
                      <a:pt x="116212" y="139060"/>
                      <a:pt x="121005" y="128172"/>
                      <a:pt x="121005" y="118810"/>
                    </a:cubicBezTo>
                    <a:cubicBezTo>
                      <a:pt x="121005" y="109449"/>
                      <a:pt x="113060" y="101715"/>
                      <a:pt x="116212" y="90725"/>
                    </a:cubicBezTo>
                    <a:cubicBezTo>
                      <a:pt x="122559" y="76784"/>
                      <a:pt x="121005" y="67422"/>
                      <a:pt x="130504" y="54906"/>
                    </a:cubicBezTo>
                    <a:cubicBezTo>
                      <a:pt x="144797" y="51853"/>
                      <a:pt x="147992" y="23768"/>
                      <a:pt x="149547" y="11251"/>
                    </a:cubicBezTo>
                    <a:cubicBezTo>
                      <a:pt x="167812" y="363"/>
                      <a:pt x="164249" y="-807"/>
                      <a:pt x="167429" y="36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9" name="Freeform 21">
                <a:extLst>
                  <a:ext uri="{FF2B5EF4-FFF2-40B4-BE49-F238E27FC236}">
                    <a16:creationId xmlns:a16="http://schemas.microsoft.com/office/drawing/2014/main" id="{FF718652-D9F1-4808-9700-1F7D31BC6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0125" y="1279525"/>
                <a:ext cx="4076700" cy="1876425"/>
              </a:xfrm>
              <a:custGeom>
                <a:avLst/>
                <a:gdLst>
                  <a:gd name="T0" fmla="*/ 550 w 2568"/>
                  <a:gd name="T1" fmla="*/ 246 h 1182"/>
                  <a:gd name="T2" fmla="*/ 746 w 2568"/>
                  <a:gd name="T3" fmla="*/ 24 h 1182"/>
                  <a:gd name="T4" fmla="*/ 602 w 2568"/>
                  <a:gd name="T5" fmla="*/ 80 h 1182"/>
                  <a:gd name="T6" fmla="*/ 514 w 2568"/>
                  <a:gd name="T7" fmla="*/ 210 h 1182"/>
                  <a:gd name="T8" fmla="*/ 0 w 2568"/>
                  <a:gd name="T9" fmla="*/ 880 h 1182"/>
                  <a:gd name="T10" fmla="*/ 2398 w 2568"/>
                  <a:gd name="T11" fmla="*/ 330 h 1182"/>
                  <a:gd name="T12" fmla="*/ 2492 w 2568"/>
                  <a:gd name="T13" fmla="*/ 480 h 1182"/>
                  <a:gd name="T14" fmla="*/ 2246 w 2568"/>
                  <a:gd name="T15" fmla="*/ 404 h 1182"/>
                  <a:gd name="T16" fmla="*/ 2142 w 2568"/>
                  <a:gd name="T17" fmla="*/ 402 h 1182"/>
                  <a:gd name="T18" fmla="*/ 1968 w 2568"/>
                  <a:gd name="T19" fmla="*/ 284 h 1182"/>
                  <a:gd name="T20" fmla="*/ 1802 w 2568"/>
                  <a:gd name="T21" fmla="*/ 308 h 1182"/>
                  <a:gd name="T22" fmla="*/ 1658 w 2568"/>
                  <a:gd name="T23" fmla="*/ 286 h 1182"/>
                  <a:gd name="T24" fmla="*/ 1562 w 2568"/>
                  <a:gd name="T25" fmla="*/ 232 h 1182"/>
                  <a:gd name="T26" fmla="*/ 1420 w 2568"/>
                  <a:gd name="T27" fmla="*/ 182 h 1182"/>
                  <a:gd name="T28" fmla="*/ 1380 w 2568"/>
                  <a:gd name="T29" fmla="*/ 190 h 1182"/>
                  <a:gd name="T30" fmla="*/ 1344 w 2568"/>
                  <a:gd name="T31" fmla="*/ 206 h 1182"/>
                  <a:gd name="T32" fmla="*/ 1386 w 2568"/>
                  <a:gd name="T33" fmla="*/ 28 h 1182"/>
                  <a:gd name="T34" fmla="*/ 1232 w 2568"/>
                  <a:gd name="T35" fmla="*/ 36 h 1182"/>
                  <a:gd name="T36" fmla="*/ 1096 w 2568"/>
                  <a:gd name="T37" fmla="*/ 94 h 1182"/>
                  <a:gd name="T38" fmla="*/ 928 w 2568"/>
                  <a:gd name="T39" fmla="*/ 210 h 1182"/>
                  <a:gd name="T40" fmla="*/ 896 w 2568"/>
                  <a:gd name="T41" fmla="*/ 264 h 1182"/>
                  <a:gd name="T42" fmla="*/ 838 w 2568"/>
                  <a:gd name="T43" fmla="*/ 234 h 1182"/>
                  <a:gd name="T44" fmla="*/ 826 w 2568"/>
                  <a:gd name="T45" fmla="*/ 444 h 1182"/>
                  <a:gd name="T46" fmla="*/ 796 w 2568"/>
                  <a:gd name="T47" fmla="*/ 308 h 1182"/>
                  <a:gd name="T48" fmla="*/ 622 w 2568"/>
                  <a:gd name="T49" fmla="*/ 388 h 1182"/>
                  <a:gd name="T50" fmla="*/ 534 w 2568"/>
                  <a:gd name="T51" fmla="*/ 444 h 1182"/>
                  <a:gd name="T52" fmla="*/ 388 w 2568"/>
                  <a:gd name="T53" fmla="*/ 484 h 1182"/>
                  <a:gd name="T54" fmla="*/ 328 w 2568"/>
                  <a:gd name="T55" fmla="*/ 534 h 1182"/>
                  <a:gd name="T56" fmla="*/ 268 w 2568"/>
                  <a:gd name="T57" fmla="*/ 612 h 1182"/>
                  <a:gd name="T58" fmla="*/ 324 w 2568"/>
                  <a:gd name="T59" fmla="*/ 496 h 1182"/>
                  <a:gd name="T60" fmla="*/ 144 w 2568"/>
                  <a:gd name="T61" fmla="*/ 466 h 1182"/>
                  <a:gd name="T62" fmla="*/ 136 w 2568"/>
                  <a:gd name="T63" fmla="*/ 722 h 1182"/>
                  <a:gd name="T64" fmla="*/ 160 w 2568"/>
                  <a:gd name="T65" fmla="*/ 860 h 1182"/>
                  <a:gd name="T66" fmla="*/ 282 w 2568"/>
                  <a:gd name="T67" fmla="*/ 988 h 1182"/>
                  <a:gd name="T68" fmla="*/ 310 w 2568"/>
                  <a:gd name="T69" fmla="*/ 1134 h 1182"/>
                  <a:gd name="T70" fmla="*/ 432 w 2568"/>
                  <a:gd name="T71" fmla="*/ 1088 h 1182"/>
                  <a:gd name="T72" fmla="*/ 432 w 2568"/>
                  <a:gd name="T73" fmla="*/ 994 h 1182"/>
                  <a:gd name="T74" fmla="*/ 628 w 2568"/>
                  <a:gd name="T75" fmla="*/ 962 h 1182"/>
                  <a:gd name="T76" fmla="*/ 806 w 2568"/>
                  <a:gd name="T77" fmla="*/ 890 h 1182"/>
                  <a:gd name="T78" fmla="*/ 956 w 2568"/>
                  <a:gd name="T79" fmla="*/ 978 h 1182"/>
                  <a:gd name="T80" fmla="*/ 1188 w 2568"/>
                  <a:gd name="T81" fmla="*/ 998 h 1182"/>
                  <a:gd name="T82" fmla="*/ 1464 w 2568"/>
                  <a:gd name="T83" fmla="*/ 998 h 1182"/>
                  <a:gd name="T84" fmla="*/ 1658 w 2568"/>
                  <a:gd name="T85" fmla="*/ 1010 h 1182"/>
                  <a:gd name="T86" fmla="*/ 1690 w 2568"/>
                  <a:gd name="T87" fmla="*/ 1148 h 1182"/>
                  <a:gd name="T88" fmla="*/ 1796 w 2568"/>
                  <a:gd name="T89" fmla="*/ 890 h 1182"/>
                  <a:gd name="T90" fmla="*/ 1850 w 2568"/>
                  <a:gd name="T91" fmla="*/ 770 h 1182"/>
                  <a:gd name="T92" fmla="*/ 2000 w 2568"/>
                  <a:gd name="T93" fmla="*/ 766 h 1182"/>
                  <a:gd name="T94" fmla="*/ 2144 w 2568"/>
                  <a:gd name="T95" fmla="*/ 706 h 1182"/>
                  <a:gd name="T96" fmla="*/ 2048 w 2568"/>
                  <a:gd name="T97" fmla="*/ 878 h 1182"/>
                  <a:gd name="T98" fmla="*/ 2120 w 2568"/>
                  <a:gd name="T99" fmla="*/ 902 h 1182"/>
                  <a:gd name="T100" fmla="*/ 2156 w 2568"/>
                  <a:gd name="T101" fmla="*/ 794 h 1182"/>
                  <a:gd name="T102" fmla="*/ 2222 w 2568"/>
                  <a:gd name="T103" fmla="*/ 734 h 1182"/>
                  <a:gd name="T104" fmla="*/ 2420 w 2568"/>
                  <a:gd name="T105" fmla="*/ 640 h 1182"/>
                  <a:gd name="T106" fmla="*/ 2460 w 2568"/>
                  <a:gd name="T107" fmla="*/ 560 h 1182"/>
                  <a:gd name="T108" fmla="*/ 2566 w 2568"/>
                  <a:gd name="T109" fmla="*/ 538 h 1182"/>
                  <a:gd name="T110" fmla="*/ 856 w 2568"/>
                  <a:gd name="T111" fmla="*/ 302 h 1182"/>
                  <a:gd name="T112" fmla="*/ 1752 w 2568"/>
                  <a:gd name="T113" fmla="*/ 90 h 1182"/>
                  <a:gd name="T114" fmla="*/ 1762 w 2568"/>
                  <a:gd name="T115" fmla="*/ 200 h 1182"/>
                  <a:gd name="T116" fmla="*/ 1860 w 2568"/>
                  <a:gd name="T117" fmla="*/ 150 h 1182"/>
                  <a:gd name="T118" fmla="*/ 1830 w 2568"/>
                  <a:gd name="T119" fmla="*/ 68 h 1182"/>
                  <a:gd name="T120" fmla="*/ 1972 w 2568"/>
                  <a:gd name="T121" fmla="*/ 146 h 1182"/>
                  <a:gd name="T122" fmla="*/ 1870 w 2568"/>
                  <a:gd name="T123" fmla="*/ 202 h 1182"/>
                  <a:gd name="T124" fmla="*/ 2222 w 2568"/>
                  <a:gd name="T125" fmla="*/ 860 h 1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68" h="1182">
                    <a:moveTo>
                      <a:pt x="486" y="312"/>
                    </a:moveTo>
                    <a:lnTo>
                      <a:pt x="486" y="318"/>
                    </a:lnTo>
                    <a:lnTo>
                      <a:pt x="486" y="318"/>
                    </a:lnTo>
                    <a:lnTo>
                      <a:pt x="486" y="318"/>
                    </a:lnTo>
                    <a:lnTo>
                      <a:pt x="488" y="320"/>
                    </a:lnTo>
                    <a:lnTo>
                      <a:pt x="488" y="320"/>
                    </a:lnTo>
                    <a:lnTo>
                      <a:pt x="488" y="320"/>
                    </a:lnTo>
                    <a:lnTo>
                      <a:pt x="490" y="320"/>
                    </a:lnTo>
                    <a:lnTo>
                      <a:pt x="490" y="320"/>
                    </a:lnTo>
                    <a:lnTo>
                      <a:pt x="490" y="320"/>
                    </a:lnTo>
                    <a:lnTo>
                      <a:pt x="494" y="320"/>
                    </a:lnTo>
                    <a:lnTo>
                      <a:pt x="496" y="320"/>
                    </a:lnTo>
                    <a:lnTo>
                      <a:pt x="496" y="320"/>
                    </a:lnTo>
                    <a:lnTo>
                      <a:pt x="496" y="320"/>
                    </a:lnTo>
                    <a:lnTo>
                      <a:pt x="500" y="326"/>
                    </a:lnTo>
                    <a:lnTo>
                      <a:pt x="502" y="330"/>
                    </a:lnTo>
                    <a:lnTo>
                      <a:pt x="502" y="334"/>
                    </a:lnTo>
                    <a:lnTo>
                      <a:pt x="502" y="336"/>
                    </a:lnTo>
                    <a:lnTo>
                      <a:pt x="502" y="336"/>
                    </a:lnTo>
                    <a:lnTo>
                      <a:pt x="502" y="338"/>
                    </a:lnTo>
                    <a:lnTo>
                      <a:pt x="502" y="338"/>
                    </a:lnTo>
                    <a:lnTo>
                      <a:pt x="500" y="338"/>
                    </a:lnTo>
                    <a:lnTo>
                      <a:pt x="500" y="338"/>
                    </a:lnTo>
                    <a:lnTo>
                      <a:pt x="498" y="340"/>
                    </a:lnTo>
                    <a:lnTo>
                      <a:pt x="498" y="340"/>
                    </a:lnTo>
                    <a:lnTo>
                      <a:pt x="498" y="340"/>
                    </a:lnTo>
                    <a:lnTo>
                      <a:pt x="498" y="342"/>
                    </a:lnTo>
                    <a:lnTo>
                      <a:pt x="500" y="342"/>
                    </a:lnTo>
                    <a:lnTo>
                      <a:pt x="500" y="344"/>
                    </a:lnTo>
                    <a:lnTo>
                      <a:pt x="502" y="344"/>
                    </a:lnTo>
                    <a:lnTo>
                      <a:pt x="504" y="346"/>
                    </a:lnTo>
                    <a:lnTo>
                      <a:pt x="506" y="346"/>
                    </a:lnTo>
                    <a:lnTo>
                      <a:pt x="506" y="348"/>
                    </a:lnTo>
                    <a:lnTo>
                      <a:pt x="506" y="348"/>
                    </a:lnTo>
                    <a:lnTo>
                      <a:pt x="506" y="350"/>
                    </a:lnTo>
                    <a:lnTo>
                      <a:pt x="508" y="352"/>
                    </a:lnTo>
                    <a:lnTo>
                      <a:pt x="508" y="352"/>
                    </a:lnTo>
                    <a:lnTo>
                      <a:pt x="508" y="352"/>
                    </a:lnTo>
                    <a:lnTo>
                      <a:pt x="510" y="356"/>
                    </a:lnTo>
                    <a:lnTo>
                      <a:pt x="510" y="356"/>
                    </a:lnTo>
                    <a:lnTo>
                      <a:pt x="510" y="356"/>
                    </a:lnTo>
                    <a:lnTo>
                      <a:pt x="514" y="358"/>
                    </a:lnTo>
                    <a:lnTo>
                      <a:pt x="514" y="358"/>
                    </a:lnTo>
                    <a:lnTo>
                      <a:pt x="514" y="358"/>
                    </a:lnTo>
                    <a:lnTo>
                      <a:pt x="520" y="360"/>
                    </a:lnTo>
                    <a:lnTo>
                      <a:pt x="520" y="360"/>
                    </a:lnTo>
                    <a:lnTo>
                      <a:pt x="520" y="360"/>
                    </a:lnTo>
                    <a:lnTo>
                      <a:pt x="526" y="364"/>
                    </a:lnTo>
                    <a:lnTo>
                      <a:pt x="526" y="364"/>
                    </a:lnTo>
                    <a:lnTo>
                      <a:pt x="528" y="364"/>
                    </a:lnTo>
                    <a:lnTo>
                      <a:pt x="538" y="362"/>
                    </a:lnTo>
                    <a:lnTo>
                      <a:pt x="550" y="364"/>
                    </a:lnTo>
                    <a:lnTo>
                      <a:pt x="560" y="362"/>
                    </a:lnTo>
                    <a:lnTo>
                      <a:pt x="566" y="362"/>
                    </a:lnTo>
                    <a:lnTo>
                      <a:pt x="570" y="362"/>
                    </a:lnTo>
                    <a:lnTo>
                      <a:pt x="570" y="362"/>
                    </a:lnTo>
                    <a:lnTo>
                      <a:pt x="572" y="360"/>
                    </a:lnTo>
                    <a:lnTo>
                      <a:pt x="574" y="360"/>
                    </a:lnTo>
                    <a:lnTo>
                      <a:pt x="574" y="360"/>
                    </a:lnTo>
                    <a:lnTo>
                      <a:pt x="574" y="358"/>
                    </a:lnTo>
                    <a:lnTo>
                      <a:pt x="574" y="356"/>
                    </a:lnTo>
                    <a:lnTo>
                      <a:pt x="574" y="356"/>
                    </a:lnTo>
                    <a:lnTo>
                      <a:pt x="574" y="356"/>
                    </a:lnTo>
                    <a:lnTo>
                      <a:pt x="574" y="354"/>
                    </a:lnTo>
                    <a:lnTo>
                      <a:pt x="574" y="354"/>
                    </a:lnTo>
                    <a:lnTo>
                      <a:pt x="574" y="354"/>
                    </a:lnTo>
                    <a:lnTo>
                      <a:pt x="572" y="352"/>
                    </a:lnTo>
                    <a:lnTo>
                      <a:pt x="570" y="348"/>
                    </a:lnTo>
                    <a:lnTo>
                      <a:pt x="568" y="346"/>
                    </a:lnTo>
                    <a:lnTo>
                      <a:pt x="568" y="346"/>
                    </a:lnTo>
                    <a:lnTo>
                      <a:pt x="566" y="340"/>
                    </a:lnTo>
                    <a:lnTo>
                      <a:pt x="564" y="336"/>
                    </a:lnTo>
                    <a:lnTo>
                      <a:pt x="562" y="328"/>
                    </a:lnTo>
                    <a:lnTo>
                      <a:pt x="560" y="322"/>
                    </a:lnTo>
                    <a:lnTo>
                      <a:pt x="558" y="318"/>
                    </a:lnTo>
                    <a:lnTo>
                      <a:pt x="558" y="318"/>
                    </a:lnTo>
                    <a:lnTo>
                      <a:pt x="558" y="318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50" y="310"/>
                    </a:lnTo>
                    <a:lnTo>
                      <a:pt x="550" y="308"/>
                    </a:lnTo>
                    <a:lnTo>
                      <a:pt x="550" y="306"/>
                    </a:lnTo>
                    <a:lnTo>
                      <a:pt x="548" y="304"/>
                    </a:lnTo>
                    <a:lnTo>
                      <a:pt x="548" y="304"/>
                    </a:lnTo>
                    <a:lnTo>
                      <a:pt x="548" y="302"/>
                    </a:lnTo>
                    <a:lnTo>
                      <a:pt x="546" y="300"/>
                    </a:lnTo>
                    <a:lnTo>
                      <a:pt x="546" y="300"/>
                    </a:lnTo>
                    <a:lnTo>
                      <a:pt x="548" y="298"/>
                    </a:lnTo>
                    <a:lnTo>
                      <a:pt x="548" y="296"/>
                    </a:lnTo>
                    <a:lnTo>
                      <a:pt x="548" y="294"/>
                    </a:lnTo>
                    <a:lnTo>
                      <a:pt x="548" y="292"/>
                    </a:lnTo>
                    <a:lnTo>
                      <a:pt x="548" y="290"/>
                    </a:lnTo>
                    <a:lnTo>
                      <a:pt x="548" y="288"/>
                    </a:lnTo>
                    <a:lnTo>
                      <a:pt x="550" y="284"/>
                    </a:lnTo>
                    <a:lnTo>
                      <a:pt x="548" y="278"/>
                    </a:lnTo>
                    <a:lnTo>
                      <a:pt x="548" y="268"/>
                    </a:lnTo>
                    <a:lnTo>
                      <a:pt x="548" y="260"/>
                    </a:lnTo>
                    <a:lnTo>
                      <a:pt x="548" y="254"/>
                    </a:lnTo>
                    <a:lnTo>
                      <a:pt x="548" y="248"/>
                    </a:lnTo>
                    <a:lnTo>
                      <a:pt x="550" y="246"/>
                    </a:lnTo>
                    <a:lnTo>
                      <a:pt x="550" y="246"/>
                    </a:lnTo>
                    <a:lnTo>
                      <a:pt x="550" y="242"/>
                    </a:lnTo>
                    <a:lnTo>
                      <a:pt x="552" y="240"/>
                    </a:lnTo>
                    <a:lnTo>
                      <a:pt x="554" y="238"/>
                    </a:lnTo>
                    <a:lnTo>
                      <a:pt x="556" y="236"/>
                    </a:lnTo>
                    <a:lnTo>
                      <a:pt x="560" y="234"/>
                    </a:lnTo>
                    <a:lnTo>
                      <a:pt x="560" y="234"/>
                    </a:lnTo>
                    <a:lnTo>
                      <a:pt x="562" y="232"/>
                    </a:lnTo>
                    <a:lnTo>
                      <a:pt x="562" y="228"/>
                    </a:lnTo>
                    <a:lnTo>
                      <a:pt x="562" y="226"/>
                    </a:lnTo>
                    <a:lnTo>
                      <a:pt x="564" y="220"/>
                    </a:lnTo>
                    <a:lnTo>
                      <a:pt x="564" y="218"/>
                    </a:lnTo>
                    <a:lnTo>
                      <a:pt x="566" y="216"/>
                    </a:lnTo>
                    <a:lnTo>
                      <a:pt x="568" y="214"/>
                    </a:lnTo>
                    <a:lnTo>
                      <a:pt x="570" y="212"/>
                    </a:lnTo>
                    <a:lnTo>
                      <a:pt x="570" y="212"/>
                    </a:lnTo>
                    <a:lnTo>
                      <a:pt x="572" y="210"/>
                    </a:lnTo>
                    <a:lnTo>
                      <a:pt x="574" y="202"/>
                    </a:lnTo>
                    <a:lnTo>
                      <a:pt x="578" y="194"/>
                    </a:lnTo>
                    <a:lnTo>
                      <a:pt x="582" y="186"/>
                    </a:lnTo>
                    <a:lnTo>
                      <a:pt x="584" y="182"/>
                    </a:lnTo>
                    <a:lnTo>
                      <a:pt x="586" y="178"/>
                    </a:lnTo>
                    <a:lnTo>
                      <a:pt x="586" y="178"/>
                    </a:lnTo>
                    <a:lnTo>
                      <a:pt x="586" y="178"/>
                    </a:lnTo>
                    <a:lnTo>
                      <a:pt x="586" y="174"/>
                    </a:lnTo>
                    <a:lnTo>
                      <a:pt x="586" y="170"/>
                    </a:lnTo>
                    <a:lnTo>
                      <a:pt x="588" y="166"/>
                    </a:lnTo>
                    <a:lnTo>
                      <a:pt x="588" y="166"/>
                    </a:lnTo>
                    <a:lnTo>
                      <a:pt x="588" y="166"/>
                    </a:lnTo>
                    <a:lnTo>
                      <a:pt x="590" y="164"/>
                    </a:lnTo>
                    <a:lnTo>
                      <a:pt x="594" y="164"/>
                    </a:lnTo>
                    <a:lnTo>
                      <a:pt x="598" y="164"/>
                    </a:lnTo>
                    <a:lnTo>
                      <a:pt x="602" y="164"/>
                    </a:lnTo>
                    <a:lnTo>
                      <a:pt x="602" y="164"/>
                    </a:lnTo>
                    <a:lnTo>
                      <a:pt x="602" y="164"/>
                    </a:lnTo>
                    <a:lnTo>
                      <a:pt x="606" y="162"/>
                    </a:lnTo>
                    <a:lnTo>
                      <a:pt x="606" y="162"/>
                    </a:lnTo>
                    <a:lnTo>
                      <a:pt x="606" y="162"/>
                    </a:lnTo>
                    <a:lnTo>
                      <a:pt x="608" y="160"/>
                    </a:lnTo>
                    <a:lnTo>
                      <a:pt x="608" y="160"/>
                    </a:lnTo>
                    <a:lnTo>
                      <a:pt x="608" y="158"/>
                    </a:lnTo>
                    <a:lnTo>
                      <a:pt x="610" y="156"/>
                    </a:lnTo>
                    <a:lnTo>
                      <a:pt x="610" y="154"/>
                    </a:lnTo>
                    <a:lnTo>
                      <a:pt x="612" y="154"/>
                    </a:lnTo>
                    <a:lnTo>
                      <a:pt x="612" y="152"/>
                    </a:lnTo>
                    <a:lnTo>
                      <a:pt x="614" y="150"/>
                    </a:lnTo>
                    <a:lnTo>
                      <a:pt x="616" y="150"/>
                    </a:lnTo>
                    <a:lnTo>
                      <a:pt x="616" y="150"/>
                    </a:lnTo>
                    <a:lnTo>
                      <a:pt x="618" y="148"/>
                    </a:lnTo>
                    <a:lnTo>
                      <a:pt x="618" y="144"/>
                    </a:lnTo>
                    <a:lnTo>
                      <a:pt x="620" y="142"/>
                    </a:lnTo>
                    <a:lnTo>
                      <a:pt x="622" y="134"/>
                    </a:lnTo>
                    <a:lnTo>
                      <a:pt x="622" y="130"/>
                    </a:lnTo>
                    <a:lnTo>
                      <a:pt x="624" y="128"/>
                    </a:lnTo>
                    <a:lnTo>
                      <a:pt x="626" y="124"/>
                    </a:lnTo>
                    <a:lnTo>
                      <a:pt x="626" y="124"/>
                    </a:lnTo>
                    <a:lnTo>
                      <a:pt x="630" y="122"/>
                    </a:lnTo>
                    <a:lnTo>
                      <a:pt x="632" y="122"/>
                    </a:lnTo>
                    <a:lnTo>
                      <a:pt x="638" y="120"/>
                    </a:lnTo>
                    <a:lnTo>
                      <a:pt x="642" y="118"/>
                    </a:lnTo>
                    <a:lnTo>
                      <a:pt x="644" y="118"/>
                    </a:lnTo>
                    <a:lnTo>
                      <a:pt x="646" y="118"/>
                    </a:lnTo>
                    <a:lnTo>
                      <a:pt x="646" y="118"/>
                    </a:lnTo>
                    <a:lnTo>
                      <a:pt x="646" y="118"/>
                    </a:lnTo>
                    <a:lnTo>
                      <a:pt x="648" y="118"/>
                    </a:lnTo>
                    <a:lnTo>
                      <a:pt x="652" y="114"/>
                    </a:lnTo>
                    <a:lnTo>
                      <a:pt x="654" y="110"/>
                    </a:lnTo>
                    <a:lnTo>
                      <a:pt x="656" y="108"/>
                    </a:lnTo>
                    <a:lnTo>
                      <a:pt x="658" y="106"/>
                    </a:lnTo>
                    <a:lnTo>
                      <a:pt x="660" y="102"/>
                    </a:lnTo>
                    <a:lnTo>
                      <a:pt x="662" y="100"/>
                    </a:lnTo>
                    <a:lnTo>
                      <a:pt x="662" y="100"/>
                    </a:lnTo>
                    <a:lnTo>
                      <a:pt x="664" y="100"/>
                    </a:lnTo>
                    <a:lnTo>
                      <a:pt x="666" y="98"/>
                    </a:lnTo>
                    <a:lnTo>
                      <a:pt x="668" y="98"/>
                    </a:lnTo>
                    <a:lnTo>
                      <a:pt x="670" y="98"/>
                    </a:lnTo>
                    <a:lnTo>
                      <a:pt x="674" y="98"/>
                    </a:lnTo>
                    <a:lnTo>
                      <a:pt x="678" y="96"/>
                    </a:lnTo>
                    <a:lnTo>
                      <a:pt x="684" y="96"/>
                    </a:lnTo>
                    <a:lnTo>
                      <a:pt x="684" y="96"/>
                    </a:lnTo>
                    <a:lnTo>
                      <a:pt x="686" y="96"/>
                    </a:lnTo>
                    <a:lnTo>
                      <a:pt x="692" y="92"/>
                    </a:lnTo>
                    <a:lnTo>
                      <a:pt x="696" y="90"/>
                    </a:lnTo>
                    <a:lnTo>
                      <a:pt x="708" y="84"/>
                    </a:lnTo>
                    <a:lnTo>
                      <a:pt x="718" y="78"/>
                    </a:lnTo>
                    <a:lnTo>
                      <a:pt x="724" y="74"/>
                    </a:lnTo>
                    <a:lnTo>
                      <a:pt x="728" y="70"/>
                    </a:lnTo>
                    <a:lnTo>
                      <a:pt x="734" y="66"/>
                    </a:lnTo>
                    <a:lnTo>
                      <a:pt x="738" y="62"/>
                    </a:lnTo>
                    <a:lnTo>
                      <a:pt x="746" y="54"/>
                    </a:lnTo>
                    <a:lnTo>
                      <a:pt x="750" y="50"/>
                    </a:lnTo>
                    <a:lnTo>
                      <a:pt x="752" y="46"/>
                    </a:lnTo>
                    <a:lnTo>
                      <a:pt x="754" y="42"/>
                    </a:lnTo>
                    <a:lnTo>
                      <a:pt x="758" y="40"/>
                    </a:lnTo>
                    <a:lnTo>
                      <a:pt x="754" y="38"/>
                    </a:lnTo>
                    <a:lnTo>
                      <a:pt x="754" y="38"/>
                    </a:lnTo>
                    <a:lnTo>
                      <a:pt x="756" y="34"/>
                    </a:lnTo>
                    <a:lnTo>
                      <a:pt x="758" y="32"/>
                    </a:lnTo>
                    <a:lnTo>
                      <a:pt x="756" y="30"/>
                    </a:lnTo>
                    <a:lnTo>
                      <a:pt x="754" y="28"/>
                    </a:lnTo>
                    <a:lnTo>
                      <a:pt x="750" y="26"/>
                    </a:lnTo>
                    <a:lnTo>
                      <a:pt x="746" y="24"/>
                    </a:lnTo>
                    <a:lnTo>
                      <a:pt x="742" y="20"/>
                    </a:lnTo>
                    <a:lnTo>
                      <a:pt x="740" y="18"/>
                    </a:lnTo>
                    <a:lnTo>
                      <a:pt x="736" y="16"/>
                    </a:lnTo>
                    <a:lnTo>
                      <a:pt x="732" y="14"/>
                    </a:lnTo>
                    <a:lnTo>
                      <a:pt x="732" y="14"/>
                    </a:lnTo>
                    <a:lnTo>
                      <a:pt x="732" y="14"/>
                    </a:lnTo>
                    <a:lnTo>
                      <a:pt x="728" y="12"/>
                    </a:lnTo>
                    <a:lnTo>
                      <a:pt x="724" y="12"/>
                    </a:lnTo>
                    <a:lnTo>
                      <a:pt x="718" y="12"/>
                    </a:lnTo>
                    <a:lnTo>
                      <a:pt x="718" y="12"/>
                    </a:lnTo>
                    <a:lnTo>
                      <a:pt x="718" y="12"/>
                    </a:lnTo>
                    <a:lnTo>
                      <a:pt x="712" y="12"/>
                    </a:lnTo>
                    <a:lnTo>
                      <a:pt x="712" y="12"/>
                    </a:lnTo>
                    <a:lnTo>
                      <a:pt x="712" y="12"/>
                    </a:lnTo>
                    <a:lnTo>
                      <a:pt x="706" y="14"/>
                    </a:lnTo>
                    <a:lnTo>
                      <a:pt x="706" y="14"/>
                    </a:lnTo>
                    <a:lnTo>
                      <a:pt x="704" y="16"/>
                    </a:lnTo>
                    <a:lnTo>
                      <a:pt x="702" y="18"/>
                    </a:lnTo>
                    <a:lnTo>
                      <a:pt x="700" y="20"/>
                    </a:lnTo>
                    <a:lnTo>
                      <a:pt x="696" y="26"/>
                    </a:lnTo>
                    <a:lnTo>
                      <a:pt x="694" y="30"/>
                    </a:lnTo>
                    <a:lnTo>
                      <a:pt x="694" y="32"/>
                    </a:lnTo>
                    <a:lnTo>
                      <a:pt x="692" y="34"/>
                    </a:lnTo>
                    <a:lnTo>
                      <a:pt x="692" y="34"/>
                    </a:lnTo>
                    <a:lnTo>
                      <a:pt x="692" y="34"/>
                    </a:lnTo>
                    <a:lnTo>
                      <a:pt x="692" y="36"/>
                    </a:lnTo>
                    <a:lnTo>
                      <a:pt x="692" y="38"/>
                    </a:lnTo>
                    <a:lnTo>
                      <a:pt x="692" y="40"/>
                    </a:lnTo>
                    <a:lnTo>
                      <a:pt x="692" y="42"/>
                    </a:lnTo>
                    <a:lnTo>
                      <a:pt x="692" y="42"/>
                    </a:lnTo>
                    <a:lnTo>
                      <a:pt x="690" y="42"/>
                    </a:lnTo>
                    <a:lnTo>
                      <a:pt x="688" y="44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82" y="44"/>
                    </a:lnTo>
                    <a:lnTo>
                      <a:pt x="680" y="46"/>
                    </a:lnTo>
                    <a:lnTo>
                      <a:pt x="678" y="46"/>
                    </a:lnTo>
                    <a:lnTo>
                      <a:pt x="678" y="46"/>
                    </a:lnTo>
                    <a:lnTo>
                      <a:pt x="678" y="46"/>
                    </a:lnTo>
                    <a:lnTo>
                      <a:pt x="676" y="48"/>
                    </a:lnTo>
                    <a:lnTo>
                      <a:pt x="676" y="48"/>
                    </a:lnTo>
                    <a:lnTo>
                      <a:pt x="676" y="48"/>
                    </a:lnTo>
                    <a:lnTo>
                      <a:pt x="676" y="50"/>
                    </a:lnTo>
                    <a:lnTo>
                      <a:pt x="676" y="50"/>
                    </a:lnTo>
                    <a:lnTo>
                      <a:pt x="676" y="50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2" y="52"/>
                    </a:lnTo>
                    <a:lnTo>
                      <a:pt x="668" y="54"/>
                    </a:lnTo>
                    <a:lnTo>
                      <a:pt x="666" y="54"/>
                    </a:lnTo>
                    <a:lnTo>
                      <a:pt x="664" y="54"/>
                    </a:lnTo>
                    <a:lnTo>
                      <a:pt x="662" y="56"/>
                    </a:lnTo>
                    <a:lnTo>
                      <a:pt x="658" y="56"/>
                    </a:lnTo>
                    <a:lnTo>
                      <a:pt x="656" y="56"/>
                    </a:lnTo>
                    <a:lnTo>
                      <a:pt x="656" y="56"/>
                    </a:lnTo>
                    <a:lnTo>
                      <a:pt x="654" y="56"/>
                    </a:lnTo>
                    <a:lnTo>
                      <a:pt x="652" y="58"/>
                    </a:lnTo>
                    <a:lnTo>
                      <a:pt x="650" y="58"/>
                    </a:lnTo>
                    <a:lnTo>
                      <a:pt x="648" y="58"/>
                    </a:lnTo>
                    <a:lnTo>
                      <a:pt x="646" y="58"/>
                    </a:lnTo>
                    <a:lnTo>
                      <a:pt x="642" y="58"/>
                    </a:lnTo>
                    <a:lnTo>
                      <a:pt x="638" y="58"/>
                    </a:lnTo>
                    <a:lnTo>
                      <a:pt x="634" y="58"/>
                    </a:lnTo>
                    <a:lnTo>
                      <a:pt x="630" y="56"/>
                    </a:lnTo>
                    <a:lnTo>
                      <a:pt x="630" y="56"/>
                    </a:lnTo>
                    <a:lnTo>
                      <a:pt x="630" y="56"/>
                    </a:lnTo>
                    <a:lnTo>
                      <a:pt x="628" y="56"/>
                    </a:lnTo>
                    <a:lnTo>
                      <a:pt x="626" y="54"/>
                    </a:lnTo>
                    <a:lnTo>
                      <a:pt x="626" y="54"/>
                    </a:lnTo>
                    <a:lnTo>
                      <a:pt x="624" y="54"/>
                    </a:lnTo>
                    <a:lnTo>
                      <a:pt x="624" y="54"/>
                    </a:lnTo>
                    <a:lnTo>
                      <a:pt x="624" y="54"/>
                    </a:lnTo>
                    <a:lnTo>
                      <a:pt x="622" y="54"/>
                    </a:lnTo>
                    <a:lnTo>
                      <a:pt x="622" y="56"/>
                    </a:lnTo>
                    <a:lnTo>
                      <a:pt x="622" y="56"/>
                    </a:lnTo>
                    <a:lnTo>
                      <a:pt x="620" y="56"/>
                    </a:lnTo>
                    <a:lnTo>
                      <a:pt x="618" y="60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6" y="66"/>
                    </a:lnTo>
                    <a:lnTo>
                      <a:pt x="616" y="66"/>
                    </a:lnTo>
                    <a:lnTo>
                      <a:pt x="616" y="66"/>
                    </a:lnTo>
                    <a:lnTo>
                      <a:pt x="616" y="68"/>
                    </a:lnTo>
                    <a:lnTo>
                      <a:pt x="616" y="68"/>
                    </a:lnTo>
                    <a:lnTo>
                      <a:pt x="616" y="68"/>
                    </a:lnTo>
                    <a:lnTo>
                      <a:pt x="616" y="70"/>
                    </a:lnTo>
                    <a:lnTo>
                      <a:pt x="616" y="70"/>
                    </a:lnTo>
                    <a:lnTo>
                      <a:pt x="614" y="70"/>
                    </a:lnTo>
                    <a:lnTo>
                      <a:pt x="608" y="70"/>
                    </a:lnTo>
                    <a:lnTo>
                      <a:pt x="608" y="70"/>
                    </a:lnTo>
                    <a:lnTo>
                      <a:pt x="606" y="72"/>
                    </a:lnTo>
                    <a:lnTo>
                      <a:pt x="606" y="76"/>
                    </a:lnTo>
                    <a:lnTo>
                      <a:pt x="604" y="78"/>
                    </a:lnTo>
                    <a:lnTo>
                      <a:pt x="604" y="76"/>
                    </a:lnTo>
                    <a:lnTo>
                      <a:pt x="604" y="78"/>
                    </a:lnTo>
                    <a:lnTo>
                      <a:pt x="602" y="80"/>
                    </a:lnTo>
                    <a:lnTo>
                      <a:pt x="600" y="80"/>
                    </a:lnTo>
                    <a:lnTo>
                      <a:pt x="598" y="82"/>
                    </a:lnTo>
                    <a:lnTo>
                      <a:pt x="596" y="82"/>
                    </a:lnTo>
                    <a:lnTo>
                      <a:pt x="592" y="82"/>
                    </a:lnTo>
                    <a:lnTo>
                      <a:pt x="592" y="82"/>
                    </a:lnTo>
                    <a:lnTo>
                      <a:pt x="590" y="84"/>
                    </a:lnTo>
                    <a:lnTo>
                      <a:pt x="588" y="86"/>
                    </a:lnTo>
                    <a:lnTo>
                      <a:pt x="586" y="88"/>
                    </a:lnTo>
                    <a:lnTo>
                      <a:pt x="582" y="92"/>
                    </a:lnTo>
                    <a:lnTo>
                      <a:pt x="578" y="94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4" y="98"/>
                    </a:lnTo>
                    <a:lnTo>
                      <a:pt x="572" y="102"/>
                    </a:lnTo>
                    <a:lnTo>
                      <a:pt x="570" y="104"/>
                    </a:lnTo>
                    <a:lnTo>
                      <a:pt x="570" y="108"/>
                    </a:lnTo>
                    <a:lnTo>
                      <a:pt x="568" y="108"/>
                    </a:lnTo>
                    <a:lnTo>
                      <a:pt x="568" y="110"/>
                    </a:lnTo>
                    <a:lnTo>
                      <a:pt x="566" y="110"/>
                    </a:lnTo>
                    <a:lnTo>
                      <a:pt x="566" y="110"/>
                    </a:lnTo>
                    <a:lnTo>
                      <a:pt x="566" y="110"/>
                    </a:lnTo>
                    <a:lnTo>
                      <a:pt x="564" y="112"/>
                    </a:lnTo>
                    <a:lnTo>
                      <a:pt x="562" y="112"/>
                    </a:lnTo>
                    <a:lnTo>
                      <a:pt x="560" y="112"/>
                    </a:lnTo>
                    <a:lnTo>
                      <a:pt x="560" y="112"/>
                    </a:lnTo>
                    <a:lnTo>
                      <a:pt x="558" y="114"/>
                    </a:lnTo>
                    <a:lnTo>
                      <a:pt x="558" y="114"/>
                    </a:lnTo>
                    <a:lnTo>
                      <a:pt x="558" y="116"/>
                    </a:lnTo>
                    <a:lnTo>
                      <a:pt x="558" y="118"/>
                    </a:lnTo>
                    <a:lnTo>
                      <a:pt x="560" y="120"/>
                    </a:lnTo>
                    <a:lnTo>
                      <a:pt x="560" y="120"/>
                    </a:lnTo>
                    <a:lnTo>
                      <a:pt x="558" y="120"/>
                    </a:lnTo>
                    <a:lnTo>
                      <a:pt x="554" y="122"/>
                    </a:lnTo>
                    <a:lnTo>
                      <a:pt x="552" y="122"/>
                    </a:lnTo>
                    <a:lnTo>
                      <a:pt x="552" y="122"/>
                    </a:lnTo>
                    <a:lnTo>
                      <a:pt x="550" y="122"/>
                    </a:lnTo>
                    <a:lnTo>
                      <a:pt x="550" y="122"/>
                    </a:lnTo>
                    <a:lnTo>
                      <a:pt x="550" y="122"/>
                    </a:lnTo>
                    <a:lnTo>
                      <a:pt x="548" y="124"/>
                    </a:lnTo>
                    <a:lnTo>
                      <a:pt x="546" y="128"/>
                    </a:lnTo>
                    <a:lnTo>
                      <a:pt x="546" y="128"/>
                    </a:lnTo>
                    <a:lnTo>
                      <a:pt x="544" y="128"/>
                    </a:lnTo>
                    <a:lnTo>
                      <a:pt x="544" y="134"/>
                    </a:lnTo>
                    <a:lnTo>
                      <a:pt x="542" y="138"/>
                    </a:lnTo>
                    <a:lnTo>
                      <a:pt x="542" y="144"/>
                    </a:lnTo>
                    <a:lnTo>
                      <a:pt x="542" y="154"/>
                    </a:lnTo>
                    <a:lnTo>
                      <a:pt x="540" y="158"/>
                    </a:lnTo>
                    <a:lnTo>
                      <a:pt x="540" y="162"/>
                    </a:lnTo>
                    <a:lnTo>
                      <a:pt x="540" y="162"/>
                    </a:lnTo>
                    <a:lnTo>
                      <a:pt x="540" y="166"/>
                    </a:lnTo>
                    <a:lnTo>
                      <a:pt x="540" y="166"/>
                    </a:lnTo>
                    <a:lnTo>
                      <a:pt x="538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4" y="168"/>
                    </a:lnTo>
                    <a:lnTo>
                      <a:pt x="534" y="168"/>
                    </a:lnTo>
                    <a:lnTo>
                      <a:pt x="534" y="170"/>
                    </a:lnTo>
                    <a:lnTo>
                      <a:pt x="534" y="174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2" y="176"/>
                    </a:lnTo>
                    <a:lnTo>
                      <a:pt x="532" y="176"/>
                    </a:lnTo>
                    <a:lnTo>
                      <a:pt x="532" y="176"/>
                    </a:lnTo>
                    <a:lnTo>
                      <a:pt x="530" y="176"/>
                    </a:lnTo>
                    <a:lnTo>
                      <a:pt x="530" y="176"/>
                    </a:lnTo>
                    <a:lnTo>
                      <a:pt x="528" y="176"/>
                    </a:lnTo>
                    <a:lnTo>
                      <a:pt x="528" y="176"/>
                    </a:lnTo>
                    <a:lnTo>
                      <a:pt x="528" y="176"/>
                    </a:lnTo>
                    <a:lnTo>
                      <a:pt x="526" y="176"/>
                    </a:lnTo>
                    <a:lnTo>
                      <a:pt x="526" y="178"/>
                    </a:lnTo>
                    <a:lnTo>
                      <a:pt x="526" y="178"/>
                    </a:lnTo>
                    <a:lnTo>
                      <a:pt x="526" y="178"/>
                    </a:lnTo>
                    <a:lnTo>
                      <a:pt x="526" y="180"/>
                    </a:lnTo>
                    <a:lnTo>
                      <a:pt x="526" y="180"/>
                    </a:lnTo>
                    <a:lnTo>
                      <a:pt x="526" y="180"/>
                    </a:lnTo>
                    <a:lnTo>
                      <a:pt x="526" y="182"/>
                    </a:lnTo>
                    <a:lnTo>
                      <a:pt x="526" y="184"/>
                    </a:lnTo>
                    <a:lnTo>
                      <a:pt x="526" y="186"/>
                    </a:lnTo>
                    <a:lnTo>
                      <a:pt x="524" y="188"/>
                    </a:lnTo>
                    <a:lnTo>
                      <a:pt x="522" y="192"/>
                    </a:lnTo>
                    <a:lnTo>
                      <a:pt x="520" y="194"/>
                    </a:lnTo>
                    <a:lnTo>
                      <a:pt x="518" y="196"/>
                    </a:lnTo>
                    <a:lnTo>
                      <a:pt x="516" y="198"/>
                    </a:lnTo>
                    <a:lnTo>
                      <a:pt x="514" y="198"/>
                    </a:lnTo>
                    <a:lnTo>
                      <a:pt x="514" y="198"/>
                    </a:lnTo>
                    <a:lnTo>
                      <a:pt x="514" y="198"/>
                    </a:lnTo>
                    <a:lnTo>
                      <a:pt x="512" y="200"/>
                    </a:lnTo>
                    <a:lnTo>
                      <a:pt x="512" y="204"/>
                    </a:lnTo>
                    <a:lnTo>
                      <a:pt x="512" y="204"/>
                    </a:lnTo>
                    <a:lnTo>
                      <a:pt x="512" y="204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12" y="208"/>
                    </a:lnTo>
                    <a:lnTo>
                      <a:pt x="514" y="210"/>
                    </a:lnTo>
                    <a:lnTo>
                      <a:pt x="514" y="210"/>
                    </a:lnTo>
                    <a:lnTo>
                      <a:pt x="514" y="210"/>
                    </a:lnTo>
                    <a:lnTo>
                      <a:pt x="516" y="212"/>
                    </a:lnTo>
                    <a:lnTo>
                      <a:pt x="516" y="212"/>
                    </a:lnTo>
                    <a:lnTo>
                      <a:pt x="516" y="212"/>
                    </a:lnTo>
                    <a:lnTo>
                      <a:pt x="518" y="212"/>
                    </a:lnTo>
                    <a:lnTo>
                      <a:pt x="520" y="212"/>
                    </a:lnTo>
                    <a:lnTo>
                      <a:pt x="520" y="214"/>
                    </a:lnTo>
                    <a:lnTo>
                      <a:pt x="518" y="216"/>
                    </a:lnTo>
                    <a:lnTo>
                      <a:pt x="516" y="218"/>
                    </a:lnTo>
                    <a:lnTo>
                      <a:pt x="516" y="218"/>
                    </a:lnTo>
                    <a:lnTo>
                      <a:pt x="516" y="218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2" y="226"/>
                    </a:lnTo>
                    <a:lnTo>
                      <a:pt x="508" y="226"/>
                    </a:lnTo>
                    <a:lnTo>
                      <a:pt x="506" y="226"/>
                    </a:lnTo>
                    <a:lnTo>
                      <a:pt x="500" y="228"/>
                    </a:lnTo>
                    <a:lnTo>
                      <a:pt x="500" y="228"/>
                    </a:lnTo>
                    <a:lnTo>
                      <a:pt x="498" y="230"/>
                    </a:lnTo>
                    <a:lnTo>
                      <a:pt x="498" y="232"/>
                    </a:lnTo>
                    <a:lnTo>
                      <a:pt x="500" y="234"/>
                    </a:lnTo>
                    <a:lnTo>
                      <a:pt x="500" y="236"/>
                    </a:lnTo>
                    <a:lnTo>
                      <a:pt x="500" y="240"/>
                    </a:lnTo>
                    <a:lnTo>
                      <a:pt x="500" y="240"/>
                    </a:lnTo>
                    <a:lnTo>
                      <a:pt x="500" y="244"/>
                    </a:lnTo>
                    <a:lnTo>
                      <a:pt x="498" y="244"/>
                    </a:lnTo>
                    <a:lnTo>
                      <a:pt x="498" y="246"/>
                    </a:lnTo>
                    <a:lnTo>
                      <a:pt x="496" y="248"/>
                    </a:lnTo>
                    <a:lnTo>
                      <a:pt x="492" y="250"/>
                    </a:lnTo>
                    <a:lnTo>
                      <a:pt x="488" y="252"/>
                    </a:lnTo>
                    <a:lnTo>
                      <a:pt x="488" y="252"/>
                    </a:lnTo>
                    <a:lnTo>
                      <a:pt x="486" y="254"/>
                    </a:lnTo>
                    <a:lnTo>
                      <a:pt x="486" y="256"/>
                    </a:lnTo>
                    <a:lnTo>
                      <a:pt x="488" y="258"/>
                    </a:lnTo>
                    <a:lnTo>
                      <a:pt x="490" y="260"/>
                    </a:lnTo>
                    <a:lnTo>
                      <a:pt x="490" y="260"/>
                    </a:lnTo>
                    <a:lnTo>
                      <a:pt x="490" y="262"/>
                    </a:lnTo>
                    <a:lnTo>
                      <a:pt x="490" y="262"/>
                    </a:lnTo>
                    <a:lnTo>
                      <a:pt x="492" y="264"/>
                    </a:lnTo>
                    <a:lnTo>
                      <a:pt x="496" y="266"/>
                    </a:lnTo>
                    <a:lnTo>
                      <a:pt x="496" y="268"/>
                    </a:lnTo>
                    <a:lnTo>
                      <a:pt x="494" y="268"/>
                    </a:lnTo>
                    <a:lnTo>
                      <a:pt x="494" y="268"/>
                    </a:lnTo>
                    <a:lnTo>
                      <a:pt x="494" y="268"/>
                    </a:lnTo>
                    <a:lnTo>
                      <a:pt x="492" y="270"/>
                    </a:lnTo>
                    <a:lnTo>
                      <a:pt x="492" y="270"/>
                    </a:lnTo>
                    <a:lnTo>
                      <a:pt x="492" y="270"/>
                    </a:lnTo>
                    <a:lnTo>
                      <a:pt x="490" y="270"/>
                    </a:lnTo>
                    <a:lnTo>
                      <a:pt x="490" y="270"/>
                    </a:lnTo>
                    <a:lnTo>
                      <a:pt x="490" y="272"/>
                    </a:lnTo>
                    <a:lnTo>
                      <a:pt x="488" y="274"/>
                    </a:lnTo>
                    <a:lnTo>
                      <a:pt x="488" y="274"/>
                    </a:lnTo>
                    <a:lnTo>
                      <a:pt x="488" y="274"/>
                    </a:lnTo>
                    <a:lnTo>
                      <a:pt x="486" y="276"/>
                    </a:lnTo>
                    <a:lnTo>
                      <a:pt x="486" y="278"/>
                    </a:lnTo>
                    <a:lnTo>
                      <a:pt x="484" y="282"/>
                    </a:lnTo>
                    <a:lnTo>
                      <a:pt x="484" y="282"/>
                    </a:lnTo>
                    <a:lnTo>
                      <a:pt x="484" y="282"/>
                    </a:lnTo>
                    <a:lnTo>
                      <a:pt x="484" y="286"/>
                    </a:lnTo>
                    <a:lnTo>
                      <a:pt x="484" y="292"/>
                    </a:lnTo>
                    <a:lnTo>
                      <a:pt x="484" y="300"/>
                    </a:lnTo>
                    <a:lnTo>
                      <a:pt x="484" y="304"/>
                    </a:lnTo>
                    <a:lnTo>
                      <a:pt x="484" y="308"/>
                    </a:lnTo>
                    <a:lnTo>
                      <a:pt x="486" y="312"/>
                    </a:lnTo>
                    <a:close/>
                    <a:moveTo>
                      <a:pt x="52" y="880"/>
                    </a:moveTo>
                    <a:lnTo>
                      <a:pt x="52" y="876"/>
                    </a:lnTo>
                    <a:lnTo>
                      <a:pt x="52" y="874"/>
                    </a:lnTo>
                    <a:lnTo>
                      <a:pt x="52" y="874"/>
                    </a:lnTo>
                    <a:lnTo>
                      <a:pt x="52" y="874"/>
                    </a:lnTo>
                    <a:lnTo>
                      <a:pt x="50" y="870"/>
                    </a:lnTo>
                    <a:lnTo>
                      <a:pt x="50" y="870"/>
                    </a:lnTo>
                    <a:lnTo>
                      <a:pt x="50" y="870"/>
                    </a:lnTo>
                    <a:lnTo>
                      <a:pt x="46" y="868"/>
                    </a:lnTo>
                    <a:lnTo>
                      <a:pt x="46" y="868"/>
                    </a:lnTo>
                    <a:lnTo>
                      <a:pt x="46" y="868"/>
                    </a:lnTo>
                    <a:lnTo>
                      <a:pt x="42" y="866"/>
                    </a:lnTo>
                    <a:lnTo>
                      <a:pt x="42" y="866"/>
                    </a:lnTo>
                    <a:lnTo>
                      <a:pt x="42" y="866"/>
                    </a:lnTo>
                    <a:lnTo>
                      <a:pt x="38" y="864"/>
                    </a:lnTo>
                    <a:lnTo>
                      <a:pt x="32" y="862"/>
                    </a:lnTo>
                    <a:lnTo>
                      <a:pt x="26" y="862"/>
                    </a:lnTo>
                    <a:lnTo>
                      <a:pt x="26" y="862"/>
                    </a:lnTo>
                    <a:lnTo>
                      <a:pt x="24" y="862"/>
                    </a:lnTo>
                    <a:lnTo>
                      <a:pt x="20" y="864"/>
                    </a:lnTo>
                    <a:lnTo>
                      <a:pt x="16" y="866"/>
                    </a:lnTo>
                    <a:lnTo>
                      <a:pt x="10" y="868"/>
                    </a:lnTo>
                    <a:lnTo>
                      <a:pt x="6" y="872"/>
                    </a:lnTo>
                    <a:lnTo>
                      <a:pt x="2" y="874"/>
                    </a:lnTo>
                    <a:lnTo>
                      <a:pt x="2" y="874"/>
                    </a:lnTo>
                    <a:lnTo>
                      <a:pt x="2" y="874"/>
                    </a:lnTo>
                    <a:lnTo>
                      <a:pt x="0" y="876"/>
                    </a:lnTo>
                    <a:lnTo>
                      <a:pt x="0" y="878"/>
                    </a:lnTo>
                    <a:lnTo>
                      <a:pt x="0" y="878"/>
                    </a:lnTo>
                    <a:lnTo>
                      <a:pt x="0" y="878"/>
                    </a:lnTo>
                    <a:lnTo>
                      <a:pt x="0" y="880"/>
                    </a:lnTo>
                    <a:lnTo>
                      <a:pt x="0" y="880"/>
                    </a:lnTo>
                    <a:lnTo>
                      <a:pt x="0" y="880"/>
                    </a:lnTo>
                    <a:lnTo>
                      <a:pt x="0" y="882"/>
                    </a:lnTo>
                    <a:lnTo>
                      <a:pt x="0" y="882"/>
                    </a:lnTo>
                    <a:lnTo>
                      <a:pt x="0" y="882"/>
                    </a:lnTo>
                    <a:lnTo>
                      <a:pt x="0" y="884"/>
                    </a:lnTo>
                    <a:lnTo>
                      <a:pt x="0" y="884"/>
                    </a:lnTo>
                    <a:lnTo>
                      <a:pt x="2" y="884"/>
                    </a:lnTo>
                    <a:lnTo>
                      <a:pt x="4" y="886"/>
                    </a:lnTo>
                    <a:lnTo>
                      <a:pt x="4" y="886"/>
                    </a:lnTo>
                    <a:lnTo>
                      <a:pt x="4" y="886"/>
                    </a:lnTo>
                    <a:lnTo>
                      <a:pt x="10" y="886"/>
                    </a:lnTo>
                    <a:lnTo>
                      <a:pt x="16" y="888"/>
                    </a:lnTo>
                    <a:lnTo>
                      <a:pt x="26" y="888"/>
                    </a:lnTo>
                    <a:lnTo>
                      <a:pt x="38" y="888"/>
                    </a:lnTo>
                    <a:lnTo>
                      <a:pt x="50" y="888"/>
                    </a:lnTo>
                    <a:lnTo>
                      <a:pt x="50" y="888"/>
                    </a:lnTo>
                    <a:lnTo>
                      <a:pt x="52" y="888"/>
                    </a:lnTo>
                    <a:lnTo>
                      <a:pt x="52" y="888"/>
                    </a:lnTo>
                    <a:lnTo>
                      <a:pt x="52" y="886"/>
                    </a:lnTo>
                    <a:lnTo>
                      <a:pt x="52" y="882"/>
                    </a:lnTo>
                    <a:lnTo>
                      <a:pt x="52" y="880"/>
                    </a:lnTo>
                    <a:close/>
                    <a:moveTo>
                      <a:pt x="2398" y="340"/>
                    </a:moveTo>
                    <a:lnTo>
                      <a:pt x="2398" y="340"/>
                    </a:lnTo>
                    <a:lnTo>
                      <a:pt x="2398" y="342"/>
                    </a:lnTo>
                    <a:lnTo>
                      <a:pt x="2398" y="342"/>
                    </a:lnTo>
                    <a:lnTo>
                      <a:pt x="2398" y="342"/>
                    </a:lnTo>
                    <a:lnTo>
                      <a:pt x="2398" y="344"/>
                    </a:lnTo>
                    <a:lnTo>
                      <a:pt x="2400" y="346"/>
                    </a:lnTo>
                    <a:lnTo>
                      <a:pt x="2400" y="346"/>
                    </a:lnTo>
                    <a:lnTo>
                      <a:pt x="2402" y="346"/>
                    </a:lnTo>
                    <a:lnTo>
                      <a:pt x="2402" y="346"/>
                    </a:lnTo>
                    <a:lnTo>
                      <a:pt x="2402" y="346"/>
                    </a:lnTo>
                    <a:lnTo>
                      <a:pt x="2404" y="346"/>
                    </a:lnTo>
                    <a:lnTo>
                      <a:pt x="2406" y="348"/>
                    </a:lnTo>
                    <a:lnTo>
                      <a:pt x="2410" y="348"/>
                    </a:lnTo>
                    <a:lnTo>
                      <a:pt x="2414" y="348"/>
                    </a:lnTo>
                    <a:lnTo>
                      <a:pt x="2420" y="346"/>
                    </a:lnTo>
                    <a:lnTo>
                      <a:pt x="2422" y="346"/>
                    </a:lnTo>
                    <a:lnTo>
                      <a:pt x="2426" y="346"/>
                    </a:lnTo>
                    <a:lnTo>
                      <a:pt x="2428" y="344"/>
                    </a:lnTo>
                    <a:lnTo>
                      <a:pt x="2428" y="344"/>
                    </a:lnTo>
                    <a:lnTo>
                      <a:pt x="2430" y="344"/>
                    </a:lnTo>
                    <a:lnTo>
                      <a:pt x="2432" y="342"/>
                    </a:lnTo>
                    <a:lnTo>
                      <a:pt x="2434" y="342"/>
                    </a:lnTo>
                    <a:lnTo>
                      <a:pt x="2438" y="340"/>
                    </a:lnTo>
                    <a:lnTo>
                      <a:pt x="2436" y="340"/>
                    </a:lnTo>
                    <a:lnTo>
                      <a:pt x="2438" y="338"/>
                    </a:lnTo>
                    <a:lnTo>
                      <a:pt x="2440" y="338"/>
                    </a:lnTo>
                    <a:lnTo>
                      <a:pt x="2446" y="336"/>
                    </a:lnTo>
                    <a:lnTo>
                      <a:pt x="2448" y="334"/>
                    </a:lnTo>
                    <a:lnTo>
                      <a:pt x="2450" y="334"/>
                    </a:lnTo>
                    <a:lnTo>
                      <a:pt x="2450" y="334"/>
                    </a:lnTo>
                    <a:lnTo>
                      <a:pt x="2452" y="334"/>
                    </a:lnTo>
                    <a:lnTo>
                      <a:pt x="2452" y="332"/>
                    </a:lnTo>
                    <a:lnTo>
                      <a:pt x="2452" y="332"/>
                    </a:lnTo>
                    <a:lnTo>
                      <a:pt x="2454" y="332"/>
                    </a:lnTo>
                    <a:lnTo>
                      <a:pt x="2454" y="330"/>
                    </a:lnTo>
                    <a:lnTo>
                      <a:pt x="2454" y="330"/>
                    </a:lnTo>
                    <a:lnTo>
                      <a:pt x="2454" y="330"/>
                    </a:lnTo>
                    <a:lnTo>
                      <a:pt x="2454" y="328"/>
                    </a:lnTo>
                    <a:lnTo>
                      <a:pt x="2454" y="328"/>
                    </a:lnTo>
                    <a:lnTo>
                      <a:pt x="2454" y="328"/>
                    </a:lnTo>
                    <a:lnTo>
                      <a:pt x="2454" y="326"/>
                    </a:lnTo>
                    <a:lnTo>
                      <a:pt x="2454" y="326"/>
                    </a:lnTo>
                    <a:lnTo>
                      <a:pt x="2454" y="324"/>
                    </a:lnTo>
                    <a:lnTo>
                      <a:pt x="2454" y="322"/>
                    </a:lnTo>
                    <a:lnTo>
                      <a:pt x="2454" y="322"/>
                    </a:lnTo>
                    <a:lnTo>
                      <a:pt x="2452" y="320"/>
                    </a:lnTo>
                    <a:lnTo>
                      <a:pt x="2450" y="318"/>
                    </a:lnTo>
                    <a:lnTo>
                      <a:pt x="2450" y="318"/>
                    </a:lnTo>
                    <a:lnTo>
                      <a:pt x="2450" y="316"/>
                    </a:lnTo>
                    <a:lnTo>
                      <a:pt x="2448" y="316"/>
                    </a:lnTo>
                    <a:lnTo>
                      <a:pt x="2446" y="314"/>
                    </a:lnTo>
                    <a:lnTo>
                      <a:pt x="2446" y="314"/>
                    </a:lnTo>
                    <a:lnTo>
                      <a:pt x="2446" y="314"/>
                    </a:lnTo>
                    <a:lnTo>
                      <a:pt x="2444" y="312"/>
                    </a:lnTo>
                    <a:lnTo>
                      <a:pt x="2442" y="310"/>
                    </a:lnTo>
                    <a:lnTo>
                      <a:pt x="2438" y="310"/>
                    </a:lnTo>
                    <a:lnTo>
                      <a:pt x="2436" y="308"/>
                    </a:lnTo>
                    <a:lnTo>
                      <a:pt x="2432" y="308"/>
                    </a:lnTo>
                    <a:lnTo>
                      <a:pt x="2428" y="306"/>
                    </a:lnTo>
                    <a:lnTo>
                      <a:pt x="2428" y="306"/>
                    </a:lnTo>
                    <a:lnTo>
                      <a:pt x="2428" y="306"/>
                    </a:lnTo>
                    <a:lnTo>
                      <a:pt x="2424" y="306"/>
                    </a:lnTo>
                    <a:lnTo>
                      <a:pt x="2422" y="306"/>
                    </a:lnTo>
                    <a:lnTo>
                      <a:pt x="2422" y="306"/>
                    </a:lnTo>
                    <a:lnTo>
                      <a:pt x="2420" y="308"/>
                    </a:lnTo>
                    <a:lnTo>
                      <a:pt x="2418" y="308"/>
                    </a:lnTo>
                    <a:lnTo>
                      <a:pt x="2418" y="308"/>
                    </a:lnTo>
                    <a:lnTo>
                      <a:pt x="2418" y="308"/>
                    </a:lnTo>
                    <a:lnTo>
                      <a:pt x="2414" y="310"/>
                    </a:lnTo>
                    <a:lnTo>
                      <a:pt x="2412" y="312"/>
                    </a:lnTo>
                    <a:lnTo>
                      <a:pt x="2408" y="314"/>
                    </a:lnTo>
                    <a:lnTo>
                      <a:pt x="2406" y="318"/>
                    </a:lnTo>
                    <a:lnTo>
                      <a:pt x="2404" y="320"/>
                    </a:lnTo>
                    <a:lnTo>
                      <a:pt x="2402" y="322"/>
                    </a:lnTo>
                    <a:lnTo>
                      <a:pt x="2400" y="324"/>
                    </a:lnTo>
                    <a:lnTo>
                      <a:pt x="2398" y="326"/>
                    </a:lnTo>
                    <a:lnTo>
                      <a:pt x="2398" y="330"/>
                    </a:lnTo>
                    <a:lnTo>
                      <a:pt x="2398" y="330"/>
                    </a:lnTo>
                    <a:lnTo>
                      <a:pt x="2398" y="330"/>
                    </a:lnTo>
                    <a:lnTo>
                      <a:pt x="2396" y="334"/>
                    </a:lnTo>
                    <a:lnTo>
                      <a:pt x="2396" y="336"/>
                    </a:lnTo>
                    <a:lnTo>
                      <a:pt x="2396" y="338"/>
                    </a:lnTo>
                    <a:lnTo>
                      <a:pt x="2398" y="340"/>
                    </a:lnTo>
                    <a:close/>
                    <a:moveTo>
                      <a:pt x="2568" y="530"/>
                    </a:moveTo>
                    <a:lnTo>
                      <a:pt x="2568" y="530"/>
                    </a:lnTo>
                    <a:lnTo>
                      <a:pt x="2566" y="530"/>
                    </a:lnTo>
                    <a:lnTo>
                      <a:pt x="2566" y="528"/>
                    </a:lnTo>
                    <a:lnTo>
                      <a:pt x="2566" y="528"/>
                    </a:lnTo>
                    <a:lnTo>
                      <a:pt x="2566" y="528"/>
                    </a:lnTo>
                    <a:lnTo>
                      <a:pt x="2564" y="526"/>
                    </a:lnTo>
                    <a:lnTo>
                      <a:pt x="2564" y="526"/>
                    </a:lnTo>
                    <a:lnTo>
                      <a:pt x="2562" y="526"/>
                    </a:lnTo>
                    <a:lnTo>
                      <a:pt x="2560" y="524"/>
                    </a:lnTo>
                    <a:lnTo>
                      <a:pt x="2558" y="522"/>
                    </a:lnTo>
                    <a:lnTo>
                      <a:pt x="2554" y="520"/>
                    </a:lnTo>
                    <a:lnTo>
                      <a:pt x="2552" y="520"/>
                    </a:lnTo>
                    <a:lnTo>
                      <a:pt x="2550" y="518"/>
                    </a:lnTo>
                    <a:lnTo>
                      <a:pt x="2550" y="518"/>
                    </a:lnTo>
                    <a:lnTo>
                      <a:pt x="2550" y="516"/>
                    </a:lnTo>
                    <a:lnTo>
                      <a:pt x="2548" y="514"/>
                    </a:lnTo>
                    <a:lnTo>
                      <a:pt x="2548" y="516"/>
                    </a:lnTo>
                    <a:lnTo>
                      <a:pt x="2548" y="512"/>
                    </a:lnTo>
                    <a:lnTo>
                      <a:pt x="2548" y="508"/>
                    </a:lnTo>
                    <a:lnTo>
                      <a:pt x="2548" y="506"/>
                    </a:lnTo>
                    <a:lnTo>
                      <a:pt x="2548" y="506"/>
                    </a:lnTo>
                    <a:lnTo>
                      <a:pt x="2548" y="506"/>
                    </a:lnTo>
                    <a:lnTo>
                      <a:pt x="2546" y="504"/>
                    </a:lnTo>
                    <a:lnTo>
                      <a:pt x="2546" y="504"/>
                    </a:lnTo>
                    <a:lnTo>
                      <a:pt x="2546" y="504"/>
                    </a:lnTo>
                    <a:lnTo>
                      <a:pt x="2546" y="502"/>
                    </a:lnTo>
                    <a:lnTo>
                      <a:pt x="2546" y="502"/>
                    </a:lnTo>
                    <a:lnTo>
                      <a:pt x="2544" y="502"/>
                    </a:lnTo>
                    <a:lnTo>
                      <a:pt x="2542" y="500"/>
                    </a:lnTo>
                    <a:lnTo>
                      <a:pt x="2542" y="500"/>
                    </a:lnTo>
                    <a:lnTo>
                      <a:pt x="2542" y="498"/>
                    </a:lnTo>
                    <a:lnTo>
                      <a:pt x="2538" y="498"/>
                    </a:lnTo>
                    <a:lnTo>
                      <a:pt x="2538" y="498"/>
                    </a:lnTo>
                    <a:lnTo>
                      <a:pt x="2538" y="498"/>
                    </a:lnTo>
                    <a:lnTo>
                      <a:pt x="2536" y="496"/>
                    </a:lnTo>
                    <a:lnTo>
                      <a:pt x="2534" y="496"/>
                    </a:lnTo>
                    <a:lnTo>
                      <a:pt x="2530" y="496"/>
                    </a:lnTo>
                    <a:lnTo>
                      <a:pt x="2528" y="496"/>
                    </a:lnTo>
                    <a:lnTo>
                      <a:pt x="2524" y="496"/>
                    </a:lnTo>
                    <a:lnTo>
                      <a:pt x="2520" y="496"/>
                    </a:lnTo>
                    <a:lnTo>
                      <a:pt x="2516" y="496"/>
                    </a:lnTo>
                    <a:lnTo>
                      <a:pt x="2512" y="498"/>
                    </a:lnTo>
                    <a:lnTo>
                      <a:pt x="2508" y="498"/>
                    </a:lnTo>
                    <a:lnTo>
                      <a:pt x="2508" y="498"/>
                    </a:lnTo>
                    <a:lnTo>
                      <a:pt x="2508" y="498"/>
                    </a:lnTo>
                    <a:lnTo>
                      <a:pt x="2506" y="498"/>
                    </a:lnTo>
                    <a:lnTo>
                      <a:pt x="2506" y="498"/>
                    </a:lnTo>
                    <a:lnTo>
                      <a:pt x="2506" y="500"/>
                    </a:lnTo>
                    <a:lnTo>
                      <a:pt x="2504" y="500"/>
                    </a:lnTo>
                    <a:lnTo>
                      <a:pt x="2504" y="500"/>
                    </a:lnTo>
                    <a:lnTo>
                      <a:pt x="2504" y="502"/>
                    </a:lnTo>
                    <a:lnTo>
                      <a:pt x="2502" y="502"/>
                    </a:lnTo>
                    <a:lnTo>
                      <a:pt x="2502" y="502"/>
                    </a:lnTo>
                    <a:lnTo>
                      <a:pt x="2502" y="504"/>
                    </a:lnTo>
                    <a:lnTo>
                      <a:pt x="2502" y="504"/>
                    </a:lnTo>
                    <a:lnTo>
                      <a:pt x="2502" y="504"/>
                    </a:lnTo>
                    <a:lnTo>
                      <a:pt x="2502" y="506"/>
                    </a:lnTo>
                    <a:lnTo>
                      <a:pt x="2502" y="508"/>
                    </a:lnTo>
                    <a:lnTo>
                      <a:pt x="2504" y="510"/>
                    </a:lnTo>
                    <a:lnTo>
                      <a:pt x="2504" y="512"/>
                    </a:lnTo>
                    <a:lnTo>
                      <a:pt x="2504" y="514"/>
                    </a:lnTo>
                    <a:lnTo>
                      <a:pt x="2504" y="516"/>
                    </a:lnTo>
                    <a:lnTo>
                      <a:pt x="2504" y="518"/>
                    </a:lnTo>
                    <a:lnTo>
                      <a:pt x="2504" y="522"/>
                    </a:lnTo>
                    <a:lnTo>
                      <a:pt x="2504" y="522"/>
                    </a:lnTo>
                    <a:lnTo>
                      <a:pt x="2504" y="522"/>
                    </a:lnTo>
                    <a:lnTo>
                      <a:pt x="2502" y="520"/>
                    </a:lnTo>
                    <a:lnTo>
                      <a:pt x="2498" y="518"/>
                    </a:lnTo>
                    <a:lnTo>
                      <a:pt x="2498" y="516"/>
                    </a:lnTo>
                    <a:lnTo>
                      <a:pt x="2496" y="514"/>
                    </a:lnTo>
                    <a:lnTo>
                      <a:pt x="2496" y="516"/>
                    </a:lnTo>
                    <a:lnTo>
                      <a:pt x="2496" y="514"/>
                    </a:lnTo>
                    <a:lnTo>
                      <a:pt x="2496" y="514"/>
                    </a:lnTo>
                    <a:lnTo>
                      <a:pt x="2496" y="512"/>
                    </a:lnTo>
                    <a:lnTo>
                      <a:pt x="2496" y="508"/>
                    </a:lnTo>
                    <a:lnTo>
                      <a:pt x="2498" y="504"/>
                    </a:lnTo>
                    <a:lnTo>
                      <a:pt x="2498" y="504"/>
                    </a:lnTo>
                    <a:lnTo>
                      <a:pt x="2498" y="504"/>
                    </a:lnTo>
                    <a:lnTo>
                      <a:pt x="2498" y="502"/>
                    </a:lnTo>
                    <a:lnTo>
                      <a:pt x="2500" y="500"/>
                    </a:lnTo>
                    <a:lnTo>
                      <a:pt x="2500" y="500"/>
                    </a:lnTo>
                    <a:lnTo>
                      <a:pt x="2500" y="500"/>
                    </a:lnTo>
                    <a:lnTo>
                      <a:pt x="2500" y="498"/>
                    </a:lnTo>
                    <a:lnTo>
                      <a:pt x="2502" y="496"/>
                    </a:lnTo>
                    <a:lnTo>
                      <a:pt x="2502" y="496"/>
                    </a:lnTo>
                    <a:lnTo>
                      <a:pt x="2502" y="496"/>
                    </a:lnTo>
                    <a:lnTo>
                      <a:pt x="2502" y="494"/>
                    </a:lnTo>
                    <a:lnTo>
                      <a:pt x="2502" y="494"/>
                    </a:lnTo>
                    <a:lnTo>
                      <a:pt x="2502" y="492"/>
                    </a:lnTo>
                    <a:lnTo>
                      <a:pt x="2502" y="490"/>
                    </a:lnTo>
                    <a:lnTo>
                      <a:pt x="2500" y="490"/>
                    </a:lnTo>
                    <a:lnTo>
                      <a:pt x="2500" y="488"/>
                    </a:lnTo>
                    <a:lnTo>
                      <a:pt x="2498" y="486"/>
                    </a:lnTo>
                    <a:lnTo>
                      <a:pt x="2496" y="484"/>
                    </a:lnTo>
                    <a:lnTo>
                      <a:pt x="2492" y="480"/>
                    </a:lnTo>
                    <a:lnTo>
                      <a:pt x="2490" y="478"/>
                    </a:lnTo>
                    <a:lnTo>
                      <a:pt x="2486" y="476"/>
                    </a:lnTo>
                    <a:lnTo>
                      <a:pt x="2480" y="470"/>
                    </a:lnTo>
                    <a:lnTo>
                      <a:pt x="2472" y="464"/>
                    </a:lnTo>
                    <a:lnTo>
                      <a:pt x="2462" y="456"/>
                    </a:lnTo>
                    <a:lnTo>
                      <a:pt x="2454" y="450"/>
                    </a:lnTo>
                    <a:lnTo>
                      <a:pt x="2448" y="446"/>
                    </a:lnTo>
                    <a:lnTo>
                      <a:pt x="2444" y="442"/>
                    </a:lnTo>
                    <a:lnTo>
                      <a:pt x="2442" y="440"/>
                    </a:lnTo>
                    <a:lnTo>
                      <a:pt x="2438" y="436"/>
                    </a:lnTo>
                    <a:lnTo>
                      <a:pt x="2434" y="432"/>
                    </a:lnTo>
                    <a:lnTo>
                      <a:pt x="2432" y="430"/>
                    </a:lnTo>
                    <a:lnTo>
                      <a:pt x="2430" y="426"/>
                    </a:lnTo>
                    <a:lnTo>
                      <a:pt x="2424" y="420"/>
                    </a:lnTo>
                    <a:lnTo>
                      <a:pt x="2422" y="418"/>
                    </a:lnTo>
                    <a:lnTo>
                      <a:pt x="2418" y="414"/>
                    </a:lnTo>
                    <a:lnTo>
                      <a:pt x="2414" y="412"/>
                    </a:lnTo>
                    <a:lnTo>
                      <a:pt x="2408" y="410"/>
                    </a:lnTo>
                    <a:lnTo>
                      <a:pt x="2398" y="404"/>
                    </a:lnTo>
                    <a:lnTo>
                      <a:pt x="2392" y="402"/>
                    </a:lnTo>
                    <a:lnTo>
                      <a:pt x="2388" y="398"/>
                    </a:lnTo>
                    <a:lnTo>
                      <a:pt x="2384" y="396"/>
                    </a:lnTo>
                    <a:lnTo>
                      <a:pt x="2380" y="394"/>
                    </a:lnTo>
                    <a:lnTo>
                      <a:pt x="2376" y="394"/>
                    </a:lnTo>
                    <a:lnTo>
                      <a:pt x="2374" y="392"/>
                    </a:lnTo>
                    <a:lnTo>
                      <a:pt x="2372" y="392"/>
                    </a:lnTo>
                    <a:lnTo>
                      <a:pt x="2370" y="390"/>
                    </a:lnTo>
                    <a:lnTo>
                      <a:pt x="2368" y="388"/>
                    </a:lnTo>
                    <a:lnTo>
                      <a:pt x="2368" y="388"/>
                    </a:lnTo>
                    <a:lnTo>
                      <a:pt x="2368" y="388"/>
                    </a:lnTo>
                    <a:lnTo>
                      <a:pt x="2366" y="388"/>
                    </a:lnTo>
                    <a:lnTo>
                      <a:pt x="2364" y="388"/>
                    </a:lnTo>
                    <a:lnTo>
                      <a:pt x="2364" y="388"/>
                    </a:lnTo>
                    <a:lnTo>
                      <a:pt x="2358" y="388"/>
                    </a:lnTo>
                    <a:lnTo>
                      <a:pt x="2352" y="388"/>
                    </a:lnTo>
                    <a:lnTo>
                      <a:pt x="2348" y="388"/>
                    </a:lnTo>
                    <a:lnTo>
                      <a:pt x="2342" y="388"/>
                    </a:lnTo>
                    <a:lnTo>
                      <a:pt x="2340" y="388"/>
                    </a:lnTo>
                    <a:lnTo>
                      <a:pt x="2336" y="386"/>
                    </a:lnTo>
                    <a:lnTo>
                      <a:pt x="2330" y="386"/>
                    </a:lnTo>
                    <a:lnTo>
                      <a:pt x="2324" y="384"/>
                    </a:lnTo>
                    <a:lnTo>
                      <a:pt x="2322" y="384"/>
                    </a:lnTo>
                    <a:lnTo>
                      <a:pt x="2318" y="382"/>
                    </a:lnTo>
                    <a:lnTo>
                      <a:pt x="2316" y="382"/>
                    </a:lnTo>
                    <a:lnTo>
                      <a:pt x="2316" y="382"/>
                    </a:lnTo>
                    <a:lnTo>
                      <a:pt x="2312" y="382"/>
                    </a:lnTo>
                    <a:lnTo>
                      <a:pt x="2310" y="380"/>
                    </a:lnTo>
                    <a:lnTo>
                      <a:pt x="2308" y="380"/>
                    </a:lnTo>
                    <a:lnTo>
                      <a:pt x="2306" y="380"/>
                    </a:lnTo>
                    <a:lnTo>
                      <a:pt x="2304" y="380"/>
                    </a:lnTo>
                    <a:lnTo>
                      <a:pt x="2300" y="378"/>
                    </a:lnTo>
                    <a:lnTo>
                      <a:pt x="2294" y="376"/>
                    </a:lnTo>
                    <a:lnTo>
                      <a:pt x="2290" y="376"/>
                    </a:lnTo>
                    <a:lnTo>
                      <a:pt x="2288" y="376"/>
                    </a:lnTo>
                    <a:lnTo>
                      <a:pt x="2286" y="376"/>
                    </a:lnTo>
                    <a:lnTo>
                      <a:pt x="2284" y="376"/>
                    </a:lnTo>
                    <a:lnTo>
                      <a:pt x="2282" y="376"/>
                    </a:lnTo>
                    <a:lnTo>
                      <a:pt x="2282" y="376"/>
                    </a:lnTo>
                    <a:lnTo>
                      <a:pt x="2282" y="376"/>
                    </a:lnTo>
                    <a:lnTo>
                      <a:pt x="2280" y="376"/>
                    </a:lnTo>
                    <a:lnTo>
                      <a:pt x="2280" y="376"/>
                    </a:lnTo>
                    <a:lnTo>
                      <a:pt x="2280" y="376"/>
                    </a:lnTo>
                    <a:lnTo>
                      <a:pt x="2278" y="378"/>
                    </a:lnTo>
                    <a:lnTo>
                      <a:pt x="2278" y="378"/>
                    </a:lnTo>
                    <a:lnTo>
                      <a:pt x="2278" y="378"/>
                    </a:lnTo>
                    <a:lnTo>
                      <a:pt x="2276" y="382"/>
                    </a:lnTo>
                    <a:lnTo>
                      <a:pt x="2276" y="382"/>
                    </a:lnTo>
                    <a:lnTo>
                      <a:pt x="2276" y="382"/>
                    </a:lnTo>
                    <a:lnTo>
                      <a:pt x="2274" y="386"/>
                    </a:lnTo>
                    <a:lnTo>
                      <a:pt x="2274" y="386"/>
                    </a:lnTo>
                    <a:lnTo>
                      <a:pt x="2274" y="392"/>
                    </a:lnTo>
                    <a:lnTo>
                      <a:pt x="2274" y="392"/>
                    </a:lnTo>
                    <a:lnTo>
                      <a:pt x="2274" y="392"/>
                    </a:lnTo>
                    <a:lnTo>
                      <a:pt x="2274" y="394"/>
                    </a:lnTo>
                    <a:lnTo>
                      <a:pt x="2274" y="394"/>
                    </a:lnTo>
                    <a:lnTo>
                      <a:pt x="2276" y="396"/>
                    </a:lnTo>
                    <a:lnTo>
                      <a:pt x="2276" y="400"/>
                    </a:lnTo>
                    <a:lnTo>
                      <a:pt x="2278" y="404"/>
                    </a:lnTo>
                    <a:lnTo>
                      <a:pt x="2280" y="408"/>
                    </a:lnTo>
                    <a:lnTo>
                      <a:pt x="2282" y="412"/>
                    </a:lnTo>
                    <a:lnTo>
                      <a:pt x="2282" y="416"/>
                    </a:lnTo>
                    <a:lnTo>
                      <a:pt x="2284" y="420"/>
                    </a:lnTo>
                    <a:lnTo>
                      <a:pt x="2284" y="420"/>
                    </a:lnTo>
                    <a:lnTo>
                      <a:pt x="2284" y="420"/>
                    </a:lnTo>
                    <a:lnTo>
                      <a:pt x="2282" y="420"/>
                    </a:lnTo>
                    <a:lnTo>
                      <a:pt x="2280" y="420"/>
                    </a:lnTo>
                    <a:lnTo>
                      <a:pt x="2276" y="420"/>
                    </a:lnTo>
                    <a:lnTo>
                      <a:pt x="2272" y="420"/>
                    </a:lnTo>
                    <a:lnTo>
                      <a:pt x="2268" y="418"/>
                    </a:lnTo>
                    <a:lnTo>
                      <a:pt x="2266" y="418"/>
                    </a:lnTo>
                    <a:lnTo>
                      <a:pt x="2262" y="418"/>
                    </a:lnTo>
                    <a:lnTo>
                      <a:pt x="2258" y="416"/>
                    </a:lnTo>
                    <a:lnTo>
                      <a:pt x="2254" y="416"/>
                    </a:lnTo>
                    <a:lnTo>
                      <a:pt x="2250" y="414"/>
                    </a:lnTo>
                    <a:lnTo>
                      <a:pt x="2252" y="416"/>
                    </a:lnTo>
                    <a:lnTo>
                      <a:pt x="2250" y="414"/>
                    </a:lnTo>
                    <a:lnTo>
                      <a:pt x="2250" y="414"/>
                    </a:lnTo>
                    <a:lnTo>
                      <a:pt x="2248" y="412"/>
                    </a:lnTo>
                    <a:lnTo>
                      <a:pt x="2248" y="410"/>
                    </a:lnTo>
                    <a:lnTo>
                      <a:pt x="2248" y="408"/>
                    </a:lnTo>
                    <a:lnTo>
                      <a:pt x="2246" y="404"/>
                    </a:lnTo>
                    <a:lnTo>
                      <a:pt x="2246" y="402"/>
                    </a:lnTo>
                    <a:lnTo>
                      <a:pt x="2246" y="398"/>
                    </a:lnTo>
                    <a:lnTo>
                      <a:pt x="2246" y="400"/>
                    </a:lnTo>
                    <a:lnTo>
                      <a:pt x="2248" y="398"/>
                    </a:lnTo>
                    <a:lnTo>
                      <a:pt x="2248" y="396"/>
                    </a:lnTo>
                    <a:lnTo>
                      <a:pt x="2248" y="396"/>
                    </a:lnTo>
                    <a:lnTo>
                      <a:pt x="2250" y="394"/>
                    </a:lnTo>
                    <a:lnTo>
                      <a:pt x="2252" y="394"/>
                    </a:lnTo>
                    <a:lnTo>
                      <a:pt x="2256" y="394"/>
                    </a:lnTo>
                    <a:lnTo>
                      <a:pt x="2258" y="394"/>
                    </a:lnTo>
                    <a:lnTo>
                      <a:pt x="2262" y="392"/>
                    </a:lnTo>
                    <a:lnTo>
                      <a:pt x="2264" y="392"/>
                    </a:lnTo>
                    <a:lnTo>
                      <a:pt x="2264" y="392"/>
                    </a:lnTo>
                    <a:lnTo>
                      <a:pt x="2264" y="392"/>
                    </a:lnTo>
                    <a:lnTo>
                      <a:pt x="2266" y="390"/>
                    </a:lnTo>
                    <a:lnTo>
                      <a:pt x="2266" y="390"/>
                    </a:lnTo>
                    <a:lnTo>
                      <a:pt x="2266" y="388"/>
                    </a:lnTo>
                    <a:lnTo>
                      <a:pt x="2266" y="386"/>
                    </a:lnTo>
                    <a:lnTo>
                      <a:pt x="2266" y="386"/>
                    </a:lnTo>
                    <a:lnTo>
                      <a:pt x="2264" y="386"/>
                    </a:lnTo>
                    <a:lnTo>
                      <a:pt x="2264" y="384"/>
                    </a:lnTo>
                    <a:lnTo>
                      <a:pt x="2262" y="382"/>
                    </a:lnTo>
                    <a:lnTo>
                      <a:pt x="2258" y="380"/>
                    </a:lnTo>
                    <a:lnTo>
                      <a:pt x="2256" y="378"/>
                    </a:lnTo>
                    <a:lnTo>
                      <a:pt x="2254" y="378"/>
                    </a:lnTo>
                    <a:lnTo>
                      <a:pt x="2254" y="378"/>
                    </a:lnTo>
                    <a:lnTo>
                      <a:pt x="2254" y="378"/>
                    </a:lnTo>
                    <a:lnTo>
                      <a:pt x="2250" y="376"/>
                    </a:lnTo>
                    <a:lnTo>
                      <a:pt x="2250" y="376"/>
                    </a:lnTo>
                    <a:lnTo>
                      <a:pt x="2250" y="376"/>
                    </a:lnTo>
                    <a:lnTo>
                      <a:pt x="2248" y="376"/>
                    </a:lnTo>
                    <a:lnTo>
                      <a:pt x="2248" y="376"/>
                    </a:lnTo>
                    <a:lnTo>
                      <a:pt x="2248" y="376"/>
                    </a:lnTo>
                    <a:lnTo>
                      <a:pt x="2246" y="378"/>
                    </a:lnTo>
                    <a:lnTo>
                      <a:pt x="2246" y="378"/>
                    </a:lnTo>
                    <a:lnTo>
                      <a:pt x="2244" y="378"/>
                    </a:lnTo>
                    <a:lnTo>
                      <a:pt x="2244" y="380"/>
                    </a:lnTo>
                    <a:lnTo>
                      <a:pt x="2244" y="380"/>
                    </a:lnTo>
                    <a:lnTo>
                      <a:pt x="2244" y="380"/>
                    </a:lnTo>
                    <a:lnTo>
                      <a:pt x="2242" y="382"/>
                    </a:lnTo>
                    <a:lnTo>
                      <a:pt x="2240" y="386"/>
                    </a:lnTo>
                    <a:lnTo>
                      <a:pt x="2238" y="390"/>
                    </a:lnTo>
                    <a:lnTo>
                      <a:pt x="2236" y="392"/>
                    </a:lnTo>
                    <a:lnTo>
                      <a:pt x="2234" y="394"/>
                    </a:lnTo>
                    <a:lnTo>
                      <a:pt x="2230" y="398"/>
                    </a:lnTo>
                    <a:lnTo>
                      <a:pt x="2230" y="400"/>
                    </a:lnTo>
                    <a:lnTo>
                      <a:pt x="2228" y="402"/>
                    </a:lnTo>
                    <a:lnTo>
                      <a:pt x="2226" y="402"/>
                    </a:lnTo>
                    <a:lnTo>
                      <a:pt x="2226" y="402"/>
                    </a:lnTo>
                    <a:lnTo>
                      <a:pt x="2226" y="402"/>
                    </a:lnTo>
                    <a:lnTo>
                      <a:pt x="2224" y="402"/>
                    </a:lnTo>
                    <a:lnTo>
                      <a:pt x="2224" y="402"/>
                    </a:lnTo>
                    <a:lnTo>
                      <a:pt x="2222" y="400"/>
                    </a:lnTo>
                    <a:lnTo>
                      <a:pt x="2220" y="398"/>
                    </a:lnTo>
                    <a:lnTo>
                      <a:pt x="2220" y="398"/>
                    </a:lnTo>
                    <a:lnTo>
                      <a:pt x="2220" y="398"/>
                    </a:lnTo>
                    <a:lnTo>
                      <a:pt x="2218" y="398"/>
                    </a:lnTo>
                    <a:lnTo>
                      <a:pt x="2218" y="398"/>
                    </a:lnTo>
                    <a:lnTo>
                      <a:pt x="2216" y="398"/>
                    </a:lnTo>
                    <a:lnTo>
                      <a:pt x="2216" y="396"/>
                    </a:lnTo>
                    <a:lnTo>
                      <a:pt x="2216" y="396"/>
                    </a:lnTo>
                    <a:lnTo>
                      <a:pt x="2214" y="396"/>
                    </a:lnTo>
                    <a:lnTo>
                      <a:pt x="2212" y="396"/>
                    </a:lnTo>
                    <a:lnTo>
                      <a:pt x="2210" y="396"/>
                    </a:lnTo>
                    <a:lnTo>
                      <a:pt x="2204" y="398"/>
                    </a:lnTo>
                    <a:lnTo>
                      <a:pt x="2198" y="398"/>
                    </a:lnTo>
                    <a:lnTo>
                      <a:pt x="2196" y="398"/>
                    </a:lnTo>
                    <a:lnTo>
                      <a:pt x="2194" y="398"/>
                    </a:lnTo>
                    <a:lnTo>
                      <a:pt x="2194" y="398"/>
                    </a:lnTo>
                    <a:lnTo>
                      <a:pt x="2192" y="396"/>
                    </a:lnTo>
                    <a:lnTo>
                      <a:pt x="2192" y="394"/>
                    </a:lnTo>
                    <a:lnTo>
                      <a:pt x="2190" y="390"/>
                    </a:lnTo>
                    <a:lnTo>
                      <a:pt x="2190" y="390"/>
                    </a:lnTo>
                    <a:lnTo>
                      <a:pt x="2190" y="390"/>
                    </a:lnTo>
                    <a:lnTo>
                      <a:pt x="2188" y="390"/>
                    </a:lnTo>
                    <a:lnTo>
                      <a:pt x="2188" y="390"/>
                    </a:lnTo>
                    <a:lnTo>
                      <a:pt x="2186" y="388"/>
                    </a:lnTo>
                    <a:lnTo>
                      <a:pt x="2186" y="388"/>
                    </a:lnTo>
                    <a:lnTo>
                      <a:pt x="2186" y="388"/>
                    </a:lnTo>
                    <a:lnTo>
                      <a:pt x="2184" y="388"/>
                    </a:lnTo>
                    <a:lnTo>
                      <a:pt x="2182" y="388"/>
                    </a:lnTo>
                    <a:lnTo>
                      <a:pt x="2178" y="388"/>
                    </a:lnTo>
                    <a:lnTo>
                      <a:pt x="2176" y="388"/>
                    </a:lnTo>
                    <a:lnTo>
                      <a:pt x="2172" y="388"/>
                    </a:lnTo>
                    <a:lnTo>
                      <a:pt x="2164" y="388"/>
                    </a:lnTo>
                    <a:lnTo>
                      <a:pt x="2162" y="388"/>
                    </a:lnTo>
                    <a:lnTo>
                      <a:pt x="2158" y="388"/>
                    </a:lnTo>
                    <a:lnTo>
                      <a:pt x="2156" y="390"/>
                    </a:lnTo>
                    <a:lnTo>
                      <a:pt x="2154" y="390"/>
                    </a:lnTo>
                    <a:lnTo>
                      <a:pt x="2154" y="390"/>
                    </a:lnTo>
                    <a:lnTo>
                      <a:pt x="2154" y="390"/>
                    </a:lnTo>
                    <a:lnTo>
                      <a:pt x="2150" y="392"/>
                    </a:lnTo>
                    <a:lnTo>
                      <a:pt x="2150" y="392"/>
                    </a:lnTo>
                    <a:lnTo>
                      <a:pt x="2150" y="392"/>
                    </a:lnTo>
                    <a:lnTo>
                      <a:pt x="2148" y="394"/>
                    </a:lnTo>
                    <a:lnTo>
                      <a:pt x="2144" y="398"/>
                    </a:lnTo>
                    <a:lnTo>
                      <a:pt x="2144" y="400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0" y="402"/>
                    </a:lnTo>
                    <a:lnTo>
                      <a:pt x="2140" y="400"/>
                    </a:lnTo>
                    <a:lnTo>
                      <a:pt x="2140" y="400"/>
                    </a:lnTo>
                    <a:lnTo>
                      <a:pt x="2140" y="400"/>
                    </a:lnTo>
                    <a:lnTo>
                      <a:pt x="2138" y="398"/>
                    </a:lnTo>
                    <a:lnTo>
                      <a:pt x="2138" y="398"/>
                    </a:lnTo>
                    <a:lnTo>
                      <a:pt x="2138" y="398"/>
                    </a:lnTo>
                    <a:lnTo>
                      <a:pt x="2136" y="396"/>
                    </a:lnTo>
                    <a:lnTo>
                      <a:pt x="2132" y="394"/>
                    </a:lnTo>
                    <a:lnTo>
                      <a:pt x="2130" y="390"/>
                    </a:lnTo>
                    <a:lnTo>
                      <a:pt x="2128" y="390"/>
                    </a:lnTo>
                    <a:lnTo>
                      <a:pt x="2128" y="390"/>
                    </a:lnTo>
                    <a:lnTo>
                      <a:pt x="2128" y="390"/>
                    </a:lnTo>
                    <a:lnTo>
                      <a:pt x="2126" y="388"/>
                    </a:lnTo>
                    <a:lnTo>
                      <a:pt x="2120" y="388"/>
                    </a:lnTo>
                    <a:lnTo>
                      <a:pt x="2118" y="388"/>
                    </a:lnTo>
                    <a:lnTo>
                      <a:pt x="2118" y="386"/>
                    </a:lnTo>
                    <a:lnTo>
                      <a:pt x="2118" y="386"/>
                    </a:lnTo>
                    <a:lnTo>
                      <a:pt x="2120" y="384"/>
                    </a:lnTo>
                    <a:lnTo>
                      <a:pt x="2124" y="382"/>
                    </a:lnTo>
                    <a:lnTo>
                      <a:pt x="2124" y="382"/>
                    </a:lnTo>
                    <a:lnTo>
                      <a:pt x="2124" y="380"/>
                    </a:lnTo>
                    <a:lnTo>
                      <a:pt x="2124" y="378"/>
                    </a:lnTo>
                    <a:lnTo>
                      <a:pt x="2124" y="378"/>
                    </a:lnTo>
                    <a:lnTo>
                      <a:pt x="2126" y="378"/>
                    </a:lnTo>
                    <a:lnTo>
                      <a:pt x="2126" y="376"/>
                    </a:lnTo>
                    <a:lnTo>
                      <a:pt x="2126" y="376"/>
                    </a:lnTo>
                    <a:lnTo>
                      <a:pt x="2126" y="376"/>
                    </a:lnTo>
                    <a:lnTo>
                      <a:pt x="2126" y="372"/>
                    </a:lnTo>
                    <a:lnTo>
                      <a:pt x="2126" y="372"/>
                    </a:lnTo>
                    <a:lnTo>
                      <a:pt x="2126" y="368"/>
                    </a:lnTo>
                    <a:lnTo>
                      <a:pt x="2126" y="366"/>
                    </a:lnTo>
                    <a:lnTo>
                      <a:pt x="2126" y="362"/>
                    </a:lnTo>
                    <a:lnTo>
                      <a:pt x="2124" y="358"/>
                    </a:lnTo>
                    <a:lnTo>
                      <a:pt x="2122" y="356"/>
                    </a:lnTo>
                    <a:lnTo>
                      <a:pt x="2120" y="354"/>
                    </a:lnTo>
                    <a:lnTo>
                      <a:pt x="2120" y="350"/>
                    </a:lnTo>
                    <a:lnTo>
                      <a:pt x="2116" y="346"/>
                    </a:lnTo>
                    <a:lnTo>
                      <a:pt x="2114" y="342"/>
                    </a:lnTo>
                    <a:lnTo>
                      <a:pt x="2112" y="340"/>
                    </a:lnTo>
                    <a:lnTo>
                      <a:pt x="2108" y="336"/>
                    </a:lnTo>
                    <a:lnTo>
                      <a:pt x="2108" y="336"/>
                    </a:lnTo>
                    <a:lnTo>
                      <a:pt x="2108" y="336"/>
                    </a:lnTo>
                    <a:lnTo>
                      <a:pt x="2104" y="334"/>
                    </a:lnTo>
                    <a:lnTo>
                      <a:pt x="2104" y="334"/>
                    </a:lnTo>
                    <a:lnTo>
                      <a:pt x="2104" y="334"/>
                    </a:lnTo>
                    <a:lnTo>
                      <a:pt x="2098" y="332"/>
                    </a:lnTo>
                    <a:lnTo>
                      <a:pt x="2094" y="330"/>
                    </a:lnTo>
                    <a:lnTo>
                      <a:pt x="2088" y="330"/>
                    </a:lnTo>
                    <a:lnTo>
                      <a:pt x="2082" y="328"/>
                    </a:lnTo>
                    <a:lnTo>
                      <a:pt x="2076" y="328"/>
                    </a:lnTo>
                    <a:lnTo>
                      <a:pt x="2068" y="328"/>
                    </a:lnTo>
                    <a:lnTo>
                      <a:pt x="2062" y="328"/>
                    </a:lnTo>
                    <a:lnTo>
                      <a:pt x="2056" y="328"/>
                    </a:lnTo>
                    <a:lnTo>
                      <a:pt x="2052" y="328"/>
                    </a:lnTo>
                    <a:lnTo>
                      <a:pt x="2048" y="328"/>
                    </a:lnTo>
                    <a:lnTo>
                      <a:pt x="2048" y="328"/>
                    </a:lnTo>
                    <a:lnTo>
                      <a:pt x="2046" y="328"/>
                    </a:lnTo>
                    <a:lnTo>
                      <a:pt x="2044" y="330"/>
                    </a:lnTo>
                    <a:lnTo>
                      <a:pt x="2044" y="330"/>
                    </a:lnTo>
                    <a:lnTo>
                      <a:pt x="2044" y="330"/>
                    </a:lnTo>
                    <a:lnTo>
                      <a:pt x="2042" y="332"/>
                    </a:lnTo>
                    <a:lnTo>
                      <a:pt x="2042" y="332"/>
                    </a:lnTo>
                    <a:lnTo>
                      <a:pt x="2040" y="332"/>
                    </a:lnTo>
                    <a:lnTo>
                      <a:pt x="2038" y="334"/>
                    </a:lnTo>
                    <a:lnTo>
                      <a:pt x="2038" y="336"/>
                    </a:lnTo>
                    <a:lnTo>
                      <a:pt x="2036" y="338"/>
                    </a:lnTo>
                    <a:lnTo>
                      <a:pt x="2036" y="338"/>
                    </a:lnTo>
                    <a:lnTo>
                      <a:pt x="2034" y="340"/>
                    </a:lnTo>
                    <a:lnTo>
                      <a:pt x="2032" y="340"/>
                    </a:lnTo>
                    <a:lnTo>
                      <a:pt x="2030" y="340"/>
                    </a:lnTo>
                    <a:lnTo>
                      <a:pt x="2026" y="340"/>
                    </a:lnTo>
                    <a:lnTo>
                      <a:pt x="2018" y="338"/>
                    </a:lnTo>
                    <a:lnTo>
                      <a:pt x="2014" y="336"/>
                    </a:lnTo>
                    <a:lnTo>
                      <a:pt x="2010" y="336"/>
                    </a:lnTo>
                    <a:lnTo>
                      <a:pt x="2006" y="334"/>
                    </a:lnTo>
                    <a:lnTo>
                      <a:pt x="2004" y="334"/>
                    </a:lnTo>
                    <a:lnTo>
                      <a:pt x="2002" y="332"/>
                    </a:lnTo>
                    <a:lnTo>
                      <a:pt x="2002" y="334"/>
                    </a:lnTo>
                    <a:lnTo>
                      <a:pt x="2000" y="332"/>
                    </a:lnTo>
                    <a:lnTo>
                      <a:pt x="2000" y="332"/>
                    </a:lnTo>
                    <a:lnTo>
                      <a:pt x="2000" y="332"/>
                    </a:lnTo>
                    <a:lnTo>
                      <a:pt x="1998" y="330"/>
                    </a:lnTo>
                    <a:lnTo>
                      <a:pt x="1996" y="328"/>
                    </a:lnTo>
                    <a:lnTo>
                      <a:pt x="1994" y="326"/>
                    </a:lnTo>
                    <a:lnTo>
                      <a:pt x="1992" y="326"/>
                    </a:lnTo>
                    <a:lnTo>
                      <a:pt x="1988" y="322"/>
                    </a:lnTo>
                    <a:lnTo>
                      <a:pt x="1984" y="318"/>
                    </a:lnTo>
                    <a:lnTo>
                      <a:pt x="1980" y="314"/>
                    </a:lnTo>
                    <a:lnTo>
                      <a:pt x="1978" y="310"/>
                    </a:lnTo>
                    <a:lnTo>
                      <a:pt x="1974" y="306"/>
                    </a:lnTo>
                    <a:lnTo>
                      <a:pt x="1972" y="304"/>
                    </a:lnTo>
                    <a:lnTo>
                      <a:pt x="1968" y="300"/>
                    </a:lnTo>
                    <a:lnTo>
                      <a:pt x="1966" y="296"/>
                    </a:lnTo>
                    <a:lnTo>
                      <a:pt x="1966" y="296"/>
                    </a:lnTo>
                    <a:lnTo>
                      <a:pt x="1966" y="294"/>
                    </a:lnTo>
                    <a:lnTo>
                      <a:pt x="1966" y="290"/>
                    </a:lnTo>
                    <a:lnTo>
                      <a:pt x="1968" y="286"/>
                    </a:lnTo>
                    <a:lnTo>
                      <a:pt x="1968" y="284"/>
                    </a:lnTo>
                    <a:lnTo>
                      <a:pt x="1968" y="284"/>
                    </a:lnTo>
                    <a:lnTo>
                      <a:pt x="1968" y="284"/>
                    </a:lnTo>
                    <a:lnTo>
                      <a:pt x="1966" y="282"/>
                    </a:lnTo>
                    <a:lnTo>
                      <a:pt x="1966" y="282"/>
                    </a:lnTo>
                    <a:lnTo>
                      <a:pt x="1966" y="280"/>
                    </a:lnTo>
                    <a:lnTo>
                      <a:pt x="1964" y="278"/>
                    </a:lnTo>
                    <a:lnTo>
                      <a:pt x="1964" y="278"/>
                    </a:lnTo>
                    <a:lnTo>
                      <a:pt x="1964" y="278"/>
                    </a:lnTo>
                    <a:lnTo>
                      <a:pt x="1962" y="276"/>
                    </a:lnTo>
                    <a:lnTo>
                      <a:pt x="1962" y="276"/>
                    </a:lnTo>
                    <a:lnTo>
                      <a:pt x="1962" y="276"/>
                    </a:lnTo>
                    <a:lnTo>
                      <a:pt x="1960" y="274"/>
                    </a:lnTo>
                    <a:lnTo>
                      <a:pt x="1958" y="274"/>
                    </a:lnTo>
                    <a:lnTo>
                      <a:pt x="1954" y="272"/>
                    </a:lnTo>
                    <a:lnTo>
                      <a:pt x="1952" y="270"/>
                    </a:lnTo>
                    <a:lnTo>
                      <a:pt x="1948" y="270"/>
                    </a:lnTo>
                    <a:lnTo>
                      <a:pt x="1944" y="268"/>
                    </a:lnTo>
                    <a:lnTo>
                      <a:pt x="1940" y="268"/>
                    </a:lnTo>
                    <a:lnTo>
                      <a:pt x="1934" y="268"/>
                    </a:lnTo>
                    <a:lnTo>
                      <a:pt x="1924" y="266"/>
                    </a:lnTo>
                    <a:lnTo>
                      <a:pt x="1920" y="266"/>
                    </a:lnTo>
                    <a:lnTo>
                      <a:pt x="1916" y="264"/>
                    </a:lnTo>
                    <a:lnTo>
                      <a:pt x="1914" y="264"/>
                    </a:lnTo>
                    <a:lnTo>
                      <a:pt x="1910" y="262"/>
                    </a:lnTo>
                    <a:lnTo>
                      <a:pt x="1906" y="260"/>
                    </a:lnTo>
                    <a:lnTo>
                      <a:pt x="1900" y="256"/>
                    </a:lnTo>
                    <a:lnTo>
                      <a:pt x="1896" y="254"/>
                    </a:lnTo>
                    <a:lnTo>
                      <a:pt x="1890" y="252"/>
                    </a:lnTo>
                    <a:lnTo>
                      <a:pt x="1884" y="250"/>
                    </a:lnTo>
                    <a:lnTo>
                      <a:pt x="1876" y="248"/>
                    </a:lnTo>
                    <a:lnTo>
                      <a:pt x="1870" y="248"/>
                    </a:lnTo>
                    <a:lnTo>
                      <a:pt x="1870" y="248"/>
                    </a:lnTo>
                    <a:lnTo>
                      <a:pt x="1866" y="248"/>
                    </a:lnTo>
                    <a:lnTo>
                      <a:pt x="1862" y="248"/>
                    </a:lnTo>
                    <a:lnTo>
                      <a:pt x="1852" y="250"/>
                    </a:lnTo>
                    <a:lnTo>
                      <a:pt x="1848" y="252"/>
                    </a:lnTo>
                    <a:lnTo>
                      <a:pt x="1844" y="254"/>
                    </a:lnTo>
                    <a:lnTo>
                      <a:pt x="1840" y="254"/>
                    </a:lnTo>
                    <a:lnTo>
                      <a:pt x="1836" y="256"/>
                    </a:lnTo>
                    <a:lnTo>
                      <a:pt x="1832" y="258"/>
                    </a:lnTo>
                    <a:lnTo>
                      <a:pt x="1828" y="260"/>
                    </a:lnTo>
                    <a:lnTo>
                      <a:pt x="1828" y="260"/>
                    </a:lnTo>
                    <a:lnTo>
                      <a:pt x="1828" y="260"/>
                    </a:lnTo>
                    <a:lnTo>
                      <a:pt x="1824" y="264"/>
                    </a:lnTo>
                    <a:lnTo>
                      <a:pt x="1824" y="264"/>
                    </a:lnTo>
                    <a:lnTo>
                      <a:pt x="1824" y="264"/>
                    </a:lnTo>
                    <a:lnTo>
                      <a:pt x="1822" y="266"/>
                    </a:lnTo>
                    <a:lnTo>
                      <a:pt x="1822" y="266"/>
                    </a:lnTo>
                    <a:lnTo>
                      <a:pt x="1822" y="268"/>
                    </a:lnTo>
                    <a:lnTo>
                      <a:pt x="1820" y="270"/>
                    </a:lnTo>
                    <a:lnTo>
                      <a:pt x="1820" y="274"/>
                    </a:lnTo>
                    <a:lnTo>
                      <a:pt x="1818" y="274"/>
                    </a:lnTo>
                    <a:lnTo>
                      <a:pt x="1818" y="274"/>
                    </a:lnTo>
                    <a:lnTo>
                      <a:pt x="1818" y="270"/>
                    </a:lnTo>
                    <a:lnTo>
                      <a:pt x="1818" y="266"/>
                    </a:lnTo>
                    <a:lnTo>
                      <a:pt x="1818" y="264"/>
                    </a:lnTo>
                    <a:lnTo>
                      <a:pt x="1818" y="262"/>
                    </a:lnTo>
                    <a:lnTo>
                      <a:pt x="1818" y="262"/>
                    </a:lnTo>
                    <a:lnTo>
                      <a:pt x="1818" y="262"/>
                    </a:lnTo>
                    <a:lnTo>
                      <a:pt x="1816" y="262"/>
                    </a:lnTo>
                    <a:lnTo>
                      <a:pt x="1816" y="260"/>
                    </a:lnTo>
                    <a:lnTo>
                      <a:pt x="1816" y="260"/>
                    </a:lnTo>
                    <a:lnTo>
                      <a:pt x="1814" y="260"/>
                    </a:lnTo>
                    <a:lnTo>
                      <a:pt x="1814" y="260"/>
                    </a:lnTo>
                    <a:lnTo>
                      <a:pt x="1814" y="260"/>
                    </a:lnTo>
                    <a:lnTo>
                      <a:pt x="1812" y="260"/>
                    </a:lnTo>
                    <a:lnTo>
                      <a:pt x="1812" y="260"/>
                    </a:lnTo>
                    <a:lnTo>
                      <a:pt x="1812" y="260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08" y="266"/>
                    </a:lnTo>
                    <a:lnTo>
                      <a:pt x="1806" y="268"/>
                    </a:lnTo>
                    <a:lnTo>
                      <a:pt x="1806" y="272"/>
                    </a:lnTo>
                    <a:lnTo>
                      <a:pt x="1804" y="276"/>
                    </a:lnTo>
                    <a:lnTo>
                      <a:pt x="1804" y="278"/>
                    </a:lnTo>
                    <a:lnTo>
                      <a:pt x="1804" y="280"/>
                    </a:lnTo>
                    <a:lnTo>
                      <a:pt x="1804" y="280"/>
                    </a:lnTo>
                    <a:lnTo>
                      <a:pt x="1804" y="282"/>
                    </a:lnTo>
                    <a:lnTo>
                      <a:pt x="1804" y="282"/>
                    </a:lnTo>
                    <a:lnTo>
                      <a:pt x="1804" y="282"/>
                    </a:lnTo>
                    <a:lnTo>
                      <a:pt x="1804" y="284"/>
                    </a:lnTo>
                    <a:lnTo>
                      <a:pt x="1806" y="284"/>
                    </a:lnTo>
                    <a:lnTo>
                      <a:pt x="1806" y="284"/>
                    </a:lnTo>
                    <a:lnTo>
                      <a:pt x="1806" y="286"/>
                    </a:lnTo>
                    <a:lnTo>
                      <a:pt x="1808" y="286"/>
                    </a:lnTo>
                    <a:lnTo>
                      <a:pt x="1810" y="286"/>
                    </a:lnTo>
                    <a:lnTo>
                      <a:pt x="1812" y="288"/>
                    </a:lnTo>
                    <a:lnTo>
                      <a:pt x="1814" y="288"/>
                    </a:lnTo>
                    <a:lnTo>
                      <a:pt x="1814" y="290"/>
                    </a:lnTo>
                    <a:lnTo>
                      <a:pt x="1814" y="292"/>
                    </a:lnTo>
                    <a:lnTo>
                      <a:pt x="1816" y="294"/>
                    </a:lnTo>
                    <a:lnTo>
                      <a:pt x="1816" y="298"/>
                    </a:lnTo>
                    <a:lnTo>
                      <a:pt x="1816" y="302"/>
                    </a:lnTo>
                    <a:lnTo>
                      <a:pt x="1816" y="304"/>
                    </a:lnTo>
                    <a:lnTo>
                      <a:pt x="1816" y="308"/>
                    </a:lnTo>
                    <a:lnTo>
                      <a:pt x="1816" y="310"/>
                    </a:lnTo>
                    <a:lnTo>
                      <a:pt x="1814" y="310"/>
                    </a:lnTo>
                    <a:lnTo>
                      <a:pt x="1814" y="310"/>
                    </a:lnTo>
                    <a:lnTo>
                      <a:pt x="1812" y="310"/>
                    </a:lnTo>
                    <a:lnTo>
                      <a:pt x="1808" y="310"/>
                    </a:lnTo>
                    <a:lnTo>
                      <a:pt x="1802" y="308"/>
                    </a:lnTo>
                    <a:lnTo>
                      <a:pt x="1800" y="306"/>
                    </a:lnTo>
                    <a:lnTo>
                      <a:pt x="1798" y="306"/>
                    </a:lnTo>
                    <a:lnTo>
                      <a:pt x="1798" y="306"/>
                    </a:lnTo>
                    <a:lnTo>
                      <a:pt x="1796" y="306"/>
                    </a:lnTo>
                    <a:lnTo>
                      <a:pt x="1794" y="306"/>
                    </a:lnTo>
                    <a:lnTo>
                      <a:pt x="1794" y="306"/>
                    </a:lnTo>
                    <a:lnTo>
                      <a:pt x="1792" y="308"/>
                    </a:lnTo>
                    <a:lnTo>
                      <a:pt x="1790" y="308"/>
                    </a:lnTo>
                    <a:lnTo>
                      <a:pt x="1790" y="308"/>
                    </a:lnTo>
                    <a:lnTo>
                      <a:pt x="1788" y="308"/>
                    </a:lnTo>
                    <a:lnTo>
                      <a:pt x="1786" y="308"/>
                    </a:lnTo>
                    <a:lnTo>
                      <a:pt x="1782" y="308"/>
                    </a:lnTo>
                    <a:lnTo>
                      <a:pt x="1780" y="308"/>
                    </a:lnTo>
                    <a:lnTo>
                      <a:pt x="1774" y="308"/>
                    </a:lnTo>
                    <a:lnTo>
                      <a:pt x="1770" y="308"/>
                    </a:lnTo>
                    <a:lnTo>
                      <a:pt x="1766" y="308"/>
                    </a:lnTo>
                    <a:lnTo>
                      <a:pt x="1760" y="308"/>
                    </a:lnTo>
                    <a:lnTo>
                      <a:pt x="1756" y="308"/>
                    </a:lnTo>
                    <a:lnTo>
                      <a:pt x="1754" y="308"/>
                    </a:lnTo>
                    <a:lnTo>
                      <a:pt x="1752" y="308"/>
                    </a:lnTo>
                    <a:lnTo>
                      <a:pt x="1752" y="308"/>
                    </a:lnTo>
                    <a:lnTo>
                      <a:pt x="1750" y="308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6" y="310"/>
                    </a:lnTo>
                    <a:lnTo>
                      <a:pt x="1746" y="312"/>
                    </a:lnTo>
                    <a:lnTo>
                      <a:pt x="1744" y="314"/>
                    </a:lnTo>
                    <a:lnTo>
                      <a:pt x="1744" y="314"/>
                    </a:lnTo>
                    <a:lnTo>
                      <a:pt x="1742" y="314"/>
                    </a:lnTo>
                    <a:lnTo>
                      <a:pt x="1742" y="314"/>
                    </a:lnTo>
                    <a:lnTo>
                      <a:pt x="1740" y="314"/>
                    </a:lnTo>
                    <a:lnTo>
                      <a:pt x="1734" y="316"/>
                    </a:lnTo>
                    <a:lnTo>
                      <a:pt x="1730" y="316"/>
                    </a:lnTo>
                    <a:lnTo>
                      <a:pt x="1728" y="316"/>
                    </a:lnTo>
                    <a:lnTo>
                      <a:pt x="1728" y="316"/>
                    </a:lnTo>
                    <a:lnTo>
                      <a:pt x="1726" y="314"/>
                    </a:lnTo>
                    <a:lnTo>
                      <a:pt x="1722" y="312"/>
                    </a:lnTo>
                    <a:lnTo>
                      <a:pt x="1724" y="312"/>
                    </a:lnTo>
                    <a:lnTo>
                      <a:pt x="1722" y="310"/>
                    </a:lnTo>
                    <a:lnTo>
                      <a:pt x="1720" y="306"/>
                    </a:lnTo>
                    <a:lnTo>
                      <a:pt x="1720" y="306"/>
                    </a:lnTo>
                    <a:lnTo>
                      <a:pt x="1720" y="304"/>
                    </a:lnTo>
                    <a:lnTo>
                      <a:pt x="1718" y="302"/>
                    </a:lnTo>
                    <a:lnTo>
                      <a:pt x="1718" y="296"/>
                    </a:lnTo>
                    <a:lnTo>
                      <a:pt x="1718" y="294"/>
                    </a:lnTo>
                    <a:lnTo>
                      <a:pt x="1718" y="292"/>
                    </a:lnTo>
                    <a:lnTo>
                      <a:pt x="1718" y="290"/>
                    </a:lnTo>
                    <a:lnTo>
                      <a:pt x="1718" y="290"/>
                    </a:lnTo>
                    <a:lnTo>
                      <a:pt x="1716" y="288"/>
                    </a:lnTo>
                    <a:lnTo>
                      <a:pt x="1716" y="288"/>
                    </a:lnTo>
                    <a:lnTo>
                      <a:pt x="1716" y="288"/>
                    </a:lnTo>
                    <a:lnTo>
                      <a:pt x="1714" y="286"/>
                    </a:lnTo>
                    <a:lnTo>
                      <a:pt x="1714" y="286"/>
                    </a:lnTo>
                    <a:lnTo>
                      <a:pt x="1714" y="286"/>
                    </a:lnTo>
                    <a:lnTo>
                      <a:pt x="1712" y="288"/>
                    </a:lnTo>
                    <a:lnTo>
                      <a:pt x="1710" y="288"/>
                    </a:lnTo>
                    <a:lnTo>
                      <a:pt x="1710" y="288"/>
                    </a:lnTo>
                    <a:lnTo>
                      <a:pt x="1710" y="288"/>
                    </a:lnTo>
                    <a:lnTo>
                      <a:pt x="1708" y="290"/>
                    </a:lnTo>
                    <a:lnTo>
                      <a:pt x="1706" y="292"/>
                    </a:lnTo>
                    <a:lnTo>
                      <a:pt x="1704" y="296"/>
                    </a:lnTo>
                    <a:lnTo>
                      <a:pt x="1702" y="298"/>
                    </a:lnTo>
                    <a:lnTo>
                      <a:pt x="1702" y="300"/>
                    </a:lnTo>
                    <a:lnTo>
                      <a:pt x="1700" y="302"/>
                    </a:lnTo>
                    <a:lnTo>
                      <a:pt x="1700" y="302"/>
                    </a:lnTo>
                    <a:lnTo>
                      <a:pt x="1700" y="304"/>
                    </a:lnTo>
                    <a:lnTo>
                      <a:pt x="1700" y="306"/>
                    </a:lnTo>
                    <a:lnTo>
                      <a:pt x="1700" y="308"/>
                    </a:lnTo>
                    <a:lnTo>
                      <a:pt x="1700" y="312"/>
                    </a:lnTo>
                    <a:lnTo>
                      <a:pt x="1700" y="316"/>
                    </a:lnTo>
                    <a:lnTo>
                      <a:pt x="1700" y="318"/>
                    </a:lnTo>
                    <a:lnTo>
                      <a:pt x="1698" y="322"/>
                    </a:lnTo>
                    <a:lnTo>
                      <a:pt x="1696" y="326"/>
                    </a:lnTo>
                    <a:lnTo>
                      <a:pt x="1696" y="330"/>
                    </a:lnTo>
                    <a:lnTo>
                      <a:pt x="1694" y="334"/>
                    </a:lnTo>
                    <a:lnTo>
                      <a:pt x="1692" y="338"/>
                    </a:lnTo>
                    <a:lnTo>
                      <a:pt x="1690" y="342"/>
                    </a:lnTo>
                    <a:lnTo>
                      <a:pt x="1688" y="344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4" y="344"/>
                    </a:lnTo>
                    <a:lnTo>
                      <a:pt x="1682" y="342"/>
                    </a:lnTo>
                    <a:lnTo>
                      <a:pt x="1680" y="340"/>
                    </a:lnTo>
                    <a:lnTo>
                      <a:pt x="1678" y="336"/>
                    </a:lnTo>
                    <a:lnTo>
                      <a:pt x="1674" y="334"/>
                    </a:lnTo>
                    <a:lnTo>
                      <a:pt x="1672" y="330"/>
                    </a:lnTo>
                    <a:lnTo>
                      <a:pt x="1668" y="326"/>
                    </a:lnTo>
                    <a:lnTo>
                      <a:pt x="1666" y="322"/>
                    </a:lnTo>
                    <a:lnTo>
                      <a:pt x="1664" y="318"/>
                    </a:lnTo>
                    <a:lnTo>
                      <a:pt x="1662" y="314"/>
                    </a:lnTo>
                    <a:lnTo>
                      <a:pt x="1660" y="312"/>
                    </a:lnTo>
                    <a:lnTo>
                      <a:pt x="1660" y="308"/>
                    </a:lnTo>
                    <a:lnTo>
                      <a:pt x="1658" y="302"/>
                    </a:lnTo>
                    <a:lnTo>
                      <a:pt x="1658" y="294"/>
                    </a:lnTo>
                    <a:lnTo>
                      <a:pt x="1658" y="288"/>
                    </a:lnTo>
                    <a:lnTo>
                      <a:pt x="1658" y="286"/>
                    </a:lnTo>
                    <a:lnTo>
                      <a:pt x="1658" y="284"/>
                    </a:lnTo>
                    <a:lnTo>
                      <a:pt x="1658" y="284"/>
                    </a:lnTo>
                    <a:lnTo>
                      <a:pt x="1660" y="280"/>
                    </a:lnTo>
                    <a:lnTo>
                      <a:pt x="1662" y="276"/>
                    </a:lnTo>
                    <a:lnTo>
                      <a:pt x="1664" y="274"/>
                    </a:lnTo>
                    <a:lnTo>
                      <a:pt x="1664" y="274"/>
                    </a:lnTo>
                    <a:lnTo>
                      <a:pt x="1664" y="274"/>
                    </a:lnTo>
                    <a:lnTo>
                      <a:pt x="1664" y="272"/>
                    </a:lnTo>
                    <a:lnTo>
                      <a:pt x="1664" y="268"/>
                    </a:lnTo>
                    <a:lnTo>
                      <a:pt x="1664" y="264"/>
                    </a:lnTo>
                    <a:lnTo>
                      <a:pt x="1664" y="258"/>
                    </a:lnTo>
                    <a:lnTo>
                      <a:pt x="1664" y="250"/>
                    </a:lnTo>
                    <a:lnTo>
                      <a:pt x="1664" y="244"/>
                    </a:lnTo>
                    <a:lnTo>
                      <a:pt x="1664" y="244"/>
                    </a:lnTo>
                    <a:lnTo>
                      <a:pt x="1664" y="244"/>
                    </a:lnTo>
                    <a:lnTo>
                      <a:pt x="1662" y="240"/>
                    </a:lnTo>
                    <a:lnTo>
                      <a:pt x="1662" y="238"/>
                    </a:lnTo>
                    <a:lnTo>
                      <a:pt x="1658" y="232"/>
                    </a:lnTo>
                    <a:lnTo>
                      <a:pt x="1658" y="232"/>
                    </a:lnTo>
                    <a:lnTo>
                      <a:pt x="1658" y="232"/>
                    </a:lnTo>
                    <a:lnTo>
                      <a:pt x="1654" y="226"/>
                    </a:lnTo>
                    <a:lnTo>
                      <a:pt x="1648" y="222"/>
                    </a:lnTo>
                    <a:lnTo>
                      <a:pt x="1648" y="222"/>
                    </a:lnTo>
                    <a:lnTo>
                      <a:pt x="1648" y="222"/>
                    </a:lnTo>
                    <a:lnTo>
                      <a:pt x="1646" y="220"/>
                    </a:lnTo>
                    <a:lnTo>
                      <a:pt x="1646" y="220"/>
                    </a:lnTo>
                    <a:lnTo>
                      <a:pt x="1646" y="220"/>
                    </a:lnTo>
                    <a:lnTo>
                      <a:pt x="1642" y="218"/>
                    </a:lnTo>
                    <a:lnTo>
                      <a:pt x="1642" y="218"/>
                    </a:lnTo>
                    <a:lnTo>
                      <a:pt x="1642" y="218"/>
                    </a:lnTo>
                    <a:lnTo>
                      <a:pt x="1636" y="216"/>
                    </a:lnTo>
                    <a:lnTo>
                      <a:pt x="1630" y="216"/>
                    </a:lnTo>
                    <a:lnTo>
                      <a:pt x="1626" y="216"/>
                    </a:lnTo>
                    <a:lnTo>
                      <a:pt x="1624" y="214"/>
                    </a:lnTo>
                    <a:lnTo>
                      <a:pt x="1618" y="214"/>
                    </a:lnTo>
                    <a:lnTo>
                      <a:pt x="1614" y="212"/>
                    </a:lnTo>
                    <a:lnTo>
                      <a:pt x="1610" y="210"/>
                    </a:lnTo>
                    <a:lnTo>
                      <a:pt x="1606" y="210"/>
                    </a:lnTo>
                    <a:lnTo>
                      <a:pt x="1606" y="210"/>
                    </a:lnTo>
                    <a:lnTo>
                      <a:pt x="1604" y="208"/>
                    </a:lnTo>
                    <a:lnTo>
                      <a:pt x="1604" y="208"/>
                    </a:lnTo>
                    <a:lnTo>
                      <a:pt x="1602" y="206"/>
                    </a:lnTo>
                    <a:lnTo>
                      <a:pt x="1600" y="204"/>
                    </a:lnTo>
                    <a:lnTo>
                      <a:pt x="1598" y="202"/>
                    </a:lnTo>
                    <a:lnTo>
                      <a:pt x="1596" y="200"/>
                    </a:lnTo>
                    <a:lnTo>
                      <a:pt x="1596" y="200"/>
                    </a:lnTo>
                    <a:lnTo>
                      <a:pt x="1596" y="200"/>
                    </a:lnTo>
                    <a:lnTo>
                      <a:pt x="1594" y="198"/>
                    </a:lnTo>
                    <a:lnTo>
                      <a:pt x="1594" y="198"/>
                    </a:lnTo>
                    <a:lnTo>
                      <a:pt x="1594" y="198"/>
                    </a:lnTo>
                    <a:lnTo>
                      <a:pt x="1592" y="196"/>
                    </a:lnTo>
                    <a:lnTo>
                      <a:pt x="1592" y="196"/>
                    </a:lnTo>
                    <a:lnTo>
                      <a:pt x="1592" y="196"/>
                    </a:lnTo>
                    <a:lnTo>
                      <a:pt x="1586" y="196"/>
                    </a:lnTo>
                    <a:lnTo>
                      <a:pt x="1586" y="196"/>
                    </a:lnTo>
                    <a:lnTo>
                      <a:pt x="1582" y="198"/>
                    </a:lnTo>
                    <a:lnTo>
                      <a:pt x="1582" y="198"/>
                    </a:lnTo>
                    <a:lnTo>
                      <a:pt x="1582" y="198"/>
                    </a:lnTo>
                    <a:lnTo>
                      <a:pt x="1578" y="198"/>
                    </a:lnTo>
                    <a:lnTo>
                      <a:pt x="1578" y="198"/>
                    </a:lnTo>
                    <a:lnTo>
                      <a:pt x="1578" y="198"/>
                    </a:lnTo>
                    <a:lnTo>
                      <a:pt x="1576" y="200"/>
                    </a:lnTo>
                    <a:lnTo>
                      <a:pt x="1574" y="200"/>
                    </a:lnTo>
                    <a:lnTo>
                      <a:pt x="1574" y="200"/>
                    </a:lnTo>
                    <a:lnTo>
                      <a:pt x="1574" y="200"/>
                    </a:lnTo>
                    <a:lnTo>
                      <a:pt x="1572" y="202"/>
                    </a:lnTo>
                    <a:lnTo>
                      <a:pt x="1572" y="202"/>
                    </a:lnTo>
                    <a:lnTo>
                      <a:pt x="1572" y="204"/>
                    </a:lnTo>
                    <a:lnTo>
                      <a:pt x="1570" y="206"/>
                    </a:lnTo>
                    <a:lnTo>
                      <a:pt x="1570" y="206"/>
                    </a:lnTo>
                    <a:lnTo>
                      <a:pt x="1570" y="206"/>
                    </a:lnTo>
                    <a:lnTo>
                      <a:pt x="1568" y="210"/>
                    </a:lnTo>
                    <a:lnTo>
                      <a:pt x="1568" y="210"/>
                    </a:lnTo>
                    <a:lnTo>
                      <a:pt x="1568" y="210"/>
                    </a:lnTo>
                    <a:lnTo>
                      <a:pt x="1568" y="214"/>
                    </a:lnTo>
                    <a:lnTo>
                      <a:pt x="1568" y="214"/>
                    </a:lnTo>
                    <a:lnTo>
                      <a:pt x="1568" y="216"/>
                    </a:lnTo>
                    <a:lnTo>
                      <a:pt x="1568" y="216"/>
                    </a:lnTo>
                    <a:lnTo>
                      <a:pt x="1568" y="216"/>
                    </a:lnTo>
                    <a:lnTo>
                      <a:pt x="1570" y="220"/>
                    </a:lnTo>
                    <a:lnTo>
                      <a:pt x="1570" y="222"/>
                    </a:lnTo>
                    <a:lnTo>
                      <a:pt x="1572" y="224"/>
                    </a:lnTo>
                    <a:lnTo>
                      <a:pt x="1574" y="226"/>
                    </a:lnTo>
                    <a:lnTo>
                      <a:pt x="1574" y="228"/>
                    </a:lnTo>
                    <a:lnTo>
                      <a:pt x="1576" y="230"/>
                    </a:lnTo>
                    <a:lnTo>
                      <a:pt x="1576" y="232"/>
                    </a:lnTo>
                    <a:lnTo>
                      <a:pt x="1576" y="232"/>
                    </a:lnTo>
                    <a:lnTo>
                      <a:pt x="1576" y="234"/>
                    </a:lnTo>
                    <a:lnTo>
                      <a:pt x="1574" y="236"/>
                    </a:lnTo>
                    <a:lnTo>
                      <a:pt x="1570" y="238"/>
                    </a:lnTo>
                    <a:lnTo>
                      <a:pt x="1572" y="238"/>
                    </a:lnTo>
                    <a:lnTo>
                      <a:pt x="1570" y="238"/>
                    </a:lnTo>
                    <a:lnTo>
                      <a:pt x="1570" y="238"/>
                    </a:lnTo>
                    <a:lnTo>
                      <a:pt x="1568" y="236"/>
                    </a:lnTo>
                    <a:lnTo>
                      <a:pt x="1566" y="234"/>
                    </a:lnTo>
                    <a:lnTo>
                      <a:pt x="1566" y="234"/>
                    </a:lnTo>
                    <a:lnTo>
                      <a:pt x="1566" y="234"/>
                    </a:lnTo>
                    <a:lnTo>
                      <a:pt x="1564" y="234"/>
                    </a:lnTo>
                    <a:lnTo>
                      <a:pt x="1564" y="234"/>
                    </a:lnTo>
                    <a:lnTo>
                      <a:pt x="1564" y="234"/>
                    </a:lnTo>
                    <a:lnTo>
                      <a:pt x="1562" y="232"/>
                    </a:lnTo>
                    <a:lnTo>
                      <a:pt x="1560" y="232"/>
                    </a:lnTo>
                    <a:lnTo>
                      <a:pt x="1558" y="234"/>
                    </a:lnTo>
                    <a:lnTo>
                      <a:pt x="1556" y="234"/>
                    </a:lnTo>
                    <a:lnTo>
                      <a:pt x="1550" y="234"/>
                    </a:lnTo>
                    <a:lnTo>
                      <a:pt x="1544" y="236"/>
                    </a:lnTo>
                    <a:lnTo>
                      <a:pt x="1542" y="238"/>
                    </a:lnTo>
                    <a:lnTo>
                      <a:pt x="1540" y="238"/>
                    </a:lnTo>
                    <a:lnTo>
                      <a:pt x="1534" y="238"/>
                    </a:lnTo>
                    <a:lnTo>
                      <a:pt x="1530" y="238"/>
                    </a:lnTo>
                    <a:lnTo>
                      <a:pt x="1526" y="238"/>
                    </a:lnTo>
                    <a:lnTo>
                      <a:pt x="1526" y="238"/>
                    </a:lnTo>
                    <a:lnTo>
                      <a:pt x="1524" y="238"/>
                    </a:lnTo>
                    <a:lnTo>
                      <a:pt x="1524" y="238"/>
                    </a:lnTo>
                    <a:lnTo>
                      <a:pt x="1524" y="238"/>
                    </a:lnTo>
                    <a:lnTo>
                      <a:pt x="1522" y="236"/>
                    </a:lnTo>
                    <a:lnTo>
                      <a:pt x="1524" y="238"/>
                    </a:lnTo>
                    <a:lnTo>
                      <a:pt x="1522" y="234"/>
                    </a:lnTo>
                    <a:lnTo>
                      <a:pt x="1522" y="232"/>
                    </a:lnTo>
                    <a:lnTo>
                      <a:pt x="1522" y="230"/>
                    </a:lnTo>
                    <a:lnTo>
                      <a:pt x="1522" y="230"/>
                    </a:lnTo>
                    <a:lnTo>
                      <a:pt x="1522" y="230"/>
                    </a:lnTo>
                    <a:lnTo>
                      <a:pt x="1522" y="228"/>
                    </a:lnTo>
                    <a:lnTo>
                      <a:pt x="1522" y="228"/>
                    </a:lnTo>
                    <a:lnTo>
                      <a:pt x="1520" y="228"/>
                    </a:lnTo>
                    <a:lnTo>
                      <a:pt x="1520" y="228"/>
                    </a:lnTo>
                    <a:lnTo>
                      <a:pt x="1520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4" y="228"/>
                    </a:lnTo>
                    <a:lnTo>
                      <a:pt x="1512" y="230"/>
                    </a:lnTo>
                    <a:lnTo>
                      <a:pt x="1512" y="232"/>
                    </a:lnTo>
                    <a:lnTo>
                      <a:pt x="1510" y="234"/>
                    </a:lnTo>
                    <a:lnTo>
                      <a:pt x="1510" y="234"/>
                    </a:lnTo>
                    <a:lnTo>
                      <a:pt x="1508" y="234"/>
                    </a:lnTo>
                    <a:lnTo>
                      <a:pt x="1508" y="234"/>
                    </a:lnTo>
                    <a:lnTo>
                      <a:pt x="1508" y="234"/>
                    </a:lnTo>
                    <a:lnTo>
                      <a:pt x="1506" y="232"/>
                    </a:lnTo>
                    <a:lnTo>
                      <a:pt x="1504" y="230"/>
                    </a:lnTo>
                    <a:lnTo>
                      <a:pt x="1504" y="228"/>
                    </a:lnTo>
                    <a:lnTo>
                      <a:pt x="1504" y="228"/>
                    </a:lnTo>
                    <a:lnTo>
                      <a:pt x="1504" y="226"/>
                    </a:lnTo>
                    <a:lnTo>
                      <a:pt x="1506" y="220"/>
                    </a:lnTo>
                    <a:lnTo>
                      <a:pt x="1506" y="218"/>
                    </a:lnTo>
                    <a:lnTo>
                      <a:pt x="1506" y="218"/>
                    </a:lnTo>
                    <a:lnTo>
                      <a:pt x="1508" y="218"/>
                    </a:lnTo>
                    <a:lnTo>
                      <a:pt x="1508" y="216"/>
                    </a:lnTo>
                    <a:lnTo>
                      <a:pt x="1508" y="214"/>
                    </a:lnTo>
                    <a:lnTo>
                      <a:pt x="1508" y="212"/>
                    </a:lnTo>
                    <a:lnTo>
                      <a:pt x="1508" y="212"/>
                    </a:lnTo>
                    <a:lnTo>
                      <a:pt x="1506" y="210"/>
                    </a:lnTo>
                    <a:lnTo>
                      <a:pt x="1506" y="208"/>
                    </a:lnTo>
                    <a:lnTo>
                      <a:pt x="1506" y="208"/>
                    </a:lnTo>
                    <a:lnTo>
                      <a:pt x="1504" y="208"/>
                    </a:lnTo>
                    <a:lnTo>
                      <a:pt x="1502" y="206"/>
                    </a:lnTo>
                    <a:lnTo>
                      <a:pt x="1502" y="206"/>
                    </a:lnTo>
                    <a:lnTo>
                      <a:pt x="1502" y="206"/>
                    </a:lnTo>
                    <a:lnTo>
                      <a:pt x="1498" y="206"/>
                    </a:lnTo>
                    <a:lnTo>
                      <a:pt x="1494" y="204"/>
                    </a:lnTo>
                    <a:lnTo>
                      <a:pt x="1488" y="204"/>
                    </a:lnTo>
                    <a:lnTo>
                      <a:pt x="1480" y="204"/>
                    </a:lnTo>
                    <a:lnTo>
                      <a:pt x="1476" y="204"/>
                    </a:lnTo>
                    <a:lnTo>
                      <a:pt x="1472" y="202"/>
                    </a:lnTo>
                    <a:lnTo>
                      <a:pt x="1466" y="202"/>
                    </a:lnTo>
                    <a:lnTo>
                      <a:pt x="1458" y="202"/>
                    </a:lnTo>
                    <a:lnTo>
                      <a:pt x="1452" y="202"/>
                    </a:lnTo>
                    <a:lnTo>
                      <a:pt x="1446" y="202"/>
                    </a:lnTo>
                    <a:lnTo>
                      <a:pt x="1442" y="204"/>
                    </a:lnTo>
                    <a:lnTo>
                      <a:pt x="1438" y="204"/>
                    </a:lnTo>
                    <a:lnTo>
                      <a:pt x="1432" y="204"/>
                    </a:lnTo>
                    <a:lnTo>
                      <a:pt x="1428" y="204"/>
                    </a:lnTo>
                    <a:lnTo>
                      <a:pt x="1424" y="204"/>
                    </a:lnTo>
                    <a:lnTo>
                      <a:pt x="1424" y="204"/>
                    </a:lnTo>
                    <a:lnTo>
                      <a:pt x="1424" y="204"/>
                    </a:lnTo>
                    <a:lnTo>
                      <a:pt x="1422" y="204"/>
                    </a:lnTo>
                    <a:lnTo>
                      <a:pt x="1422" y="204"/>
                    </a:lnTo>
                    <a:lnTo>
                      <a:pt x="1420" y="206"/>
                    </a:lnTo>
                    <a:lnTo>
                      <a:pt x="1420" y="206"/>
                    </a:lnTo>
                    <a:lnTo>
                      <a:pt x="1418" y="202"/>
                    </a:lnTo>
                    <a:lnTo>
                      <a:pt x="1418" y="198"/>
                    </a:lnTo>
                    <a:lnTo>
                      <a:pt x="1416" y="194"/>
                    </a:lnTo>
                    <a:lnTo>
                      <a:pt x="1416" y="194"/>
                    </a:lnTo>
                    <a:lnTo>
                      <a:pt x="1416" y="194"/>
                    </a:lnTo>
                    <a:lnTo>
                      <a:pt x="1416" y="192"/>
                    </a:lnTo>
                    <a:lnTo>
                      <a:pt x="1416" y="192"/>
                    </a:lnTo>
                    <a:lnTo>
                      <a:pt x="1416" y="192"/>
                    </a:lnTo>
                    <a:lnTo>
                      <a:pt x="1414" y="190"/>
                    </a:lnTo>
                    <a:lnTo>
                      <a:pt x="1414" y="190"/>
                    </a:lnTo>
                    <a:lnTo>
                      <a:pt x="1414" y="190"/>
                    </a:lnTo>
                    <a:lnTo>
                      <a:pt x="1414" y="188"/>
                    </a:lnTo>
                    <a:lnTo>
                      <a:pt x="1414" y="188"/>
                    </a:lnTo>
                    <a:lnTo>
                      <a:pt x="1414" y="186"/>
                    </a:lnTo>
                    <a:lnTo>
                      <a:pt x="1414" y="186"/>
                    </a:lnTo>
                    <a:lnTo>
                      <a:pt x="1416" y="186"/>
                    </a:lnTo>
                    <a:lnTo>
                      <a:pt x="1416" y="186"/>
                    </a:lnTo>
                    <a:lnTo>
                      <a:pt x="1416" y="186"/>
                    </a:lnTo>
                    <a:lnTo>
                      <a:pt x="1418" y="184"/>
                    </a:lnTo>
                    <a:lnTo>
                      <a:pt x="1418" y="184"/>
                    </a:lnTo>
                    <a:lnTo>
                      <a:pt x="1420" y="184"/>
                    </a:lnTo>
                    <a:lnTo>
                      <a:pt x="1420" y="182"/>
                    </a:lnTo>
                    <a:lnTo>
                      <a:pt x="1420" y="182"/>
                    </a:lnTo>
                    <a:lnTo>
                      <a:pt x="1420" y="180"/>
                    </a:lnTo>
                    <a:lnTo>
                      <a:pt x="1420" y="178"/>
                    </a:lnTo>
                    <a:lnTo>
                      <a:pt x="1418" y="176"/>
                    </a:lnTo>
                    <a:lnTo>
                      <a:pt x="1418" y="172"/>
                    </a:lnTo>
                    <a:lnTo>
                      <a:pt x="1416" y="168"/>
                    </a:lnTo>
                    <a:lnTo>
                      <a:pt x="1416" y="166"/>
                    </a:lnTo>
                    <a:lnTo>
                      <a:pt x="1414" y="162"/>
                    </a:lnTo>
                    <a:lnTo>
                      <a:pt x="1412" y="160"/>
                    </a:lnTo>
                    <a:lnTo>
                      <a:pt x="1412" y="160"/>
                    </a:lnTo>
                    <a:lnTo>
                      <a:pt x="1412" y="160"/>
                    </a:lnTo>
                    <a:lnTo>
                      <a:pt x="1410" y="158"/>
                    </a:lnTo>
                    <a:lnTo>
                      <a:pt x="1410" y="158"/>
                    </a:lnTo>
                    <a:lnTo>
                      <a:pt x="1410" y="158"/>
                    </a:lnTo>
                    <a:lnTo>
                      <a:pt x="1408" y="156"/>
                    </a:lnTo>
                    <a:lnTo>
                      <a:pt x="1408" y="156"/>
                    </a:lnTo>
                    <a:lnTo>
                      <a:pt x="1408" y="156"/>
                    </a:lnTo>
                    <a:lnTo>
                      <a:pt x="1406" y="156"/>
                    </a:lnTo>
                    <a:lnTo>
                      <a:pt x="1406" y="156"/>
                    </a:lnTo>
                    <a:lnTo>
                      <a:pt x="1406" y="156"/>
                    </a:lnTo>
                    <a:lnTo>
                      <a:pt x="1400" y="156"/>
                    </a:lnTo>
                    <a:lnTo>
                      <a:pt x="1400" y="156"/>
                    </a:lnTo>
                    <a:lnTo>
                      <a:pt x="1398" y="156"/>
                    </a:lnTo>
                    <a:lnTo>
                      <a:pt x="1398" y="156"/>
                    </a:lnTo>
                    <a:lnTo>
                      <a:pt x="1398" y="156"/>
                    </a:lnTo>
                    <a:lnTo>
                      <a:pt x="1396" y="156"/>
                    </a:lnTo>
                    <a:lnTo>
                      <a:pt x="1396" y="156"/>
                    </a:lnTo>
                    <a:lnTo>
                      <a:pt x="1396" y="156"/>
                    </a:lnTo>
                    <a:lnTo>
                      <a:pt x="1394" y="158"/>
                    </a:lnTo>
                    <a:lnTo>
                      <a:pt x="1394" y="158"/>
                    </a:lnTo>
                    <a:lnTo>
                      <a:pt x="1392" y="158"/>
                    </a:lnTo>
                    <a:lnTo>
                      <a:pt x="1392" y="158"/>
                    </a:lnTo>
                    <a:lnTo>
                      <a:pt x="1392" y="158"/>
                    </a:lnTo>
                    <a:lnTo>
                      <a:pt x="1392" y="160"/>
                    </a:lnTo>
                    <a:lnTo>
                      <a:pt x="1390" y="162"/>
                    </a:lnTo>
                    <a:lnTo>
                      <a:pt x="1390" y="162"/>
                    </a:lnTo>
                    <a:lnTo>
                      <a:pt x="1390" y="162"/>
                    </a:lnTo>
                    <a:lnTo>
                      <a:pt x="1390" y="164"/>
                    </a:lnTo>
                    <a:lnTo>
                      <a:pt x="1390" y="164"/>
                    </a:lnTo>
                    <a:lnTo>
                      <a:pt x="1390" y="170"/>
                    </a:lnTo>
                    <a:lnTo>
                      <a:pt x="1390" y="170"/>
                    </a:lnTo>
                    <a:lnTo>
                      <a:pt x="1390" y="170"/>
                    </a:lnTo>
                    <a:lnTo>
                      <a:pt x="1392" y="174"/>
                    </a:lnTo>
                    <a:lnTo>
                      <a:pt x="1392" y="174"/>
                    </a:lnTo>
                    <a:lnTo>
                      <a:pt x="1392" y="176"/>
                    </a:lnTo>
                    <a:lnTo>
                      <a:pt x="1394" y="178"/>
                    </a:lnTo>
                    <a:lnTo>
                      <a:pt x="1394" y="180"/>
                    </a:lnTo>
                    <a:lnTo>
                      <a:pt x="1394" y="180"/>
                    </a:lnTo>
                    <a:lnTo>
                      <a:pt x="1394" y="180"/>
                    </a:lnTo>
                    <a:lnTo>
                      <a:pt x="1396" y="182"/>
                    </a:lnTo>
                    <a:lnTo>
                      <a:pt x="1396" y="182"/>
                    </a:lnTo>
                    <a:lnTo>
                      <a:pt x="1396" y="182"/>
                    </a:lnTo>
                    <a:lnTo>
                      <a:pt x="1398" y="182"/>
                    </a:lnTo>
                    <a:lnTo>
                      <a:pt x="1398" y="182"/>
                    </a:lnTo>
                    <a:lnTo>
                      <a:pt x="1398" y="182"/>
                    </a:lnTo>
                    <a:lnTo>
                      <a:pt x="1404" y="184"/>
                    </a:lnTo>
                    <a:lnTo>
                      <a:pt x="1404" y="184"/>
                    </a:lnTo>
                    <a:lnTo>
                      <a:pt x="1404" y="184"/>
                    </a:lnTo>
                    <a:lnTo>
                      <a:pt x="1404" y="188"/>
                    </a:lnTo>
                    <a:lnTo>
                      <a:pt x="1404" y="188"/>
                    </a:lnTo>
                    <a:lnTo>
                      <a:pt x="1404" y="188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8" y="192"/>
                    </a:lnTo>
                    <a:lnTo>
                      <a:pt x="1408" y="194"/>
                    </a:lnTo>
                    <a:lnTo>
                      <a:pt x="1408" y="196"/>
                    </a:lnTo>
                    <a:lnTo>
                      <a:pt x="1406" y="200"/>
                    </a:lnTo>
                    <a:lnTo>
                      <a:pt x="1406" y="202"/>
                    </a:lnTo>
                    <a:lnTo>
                      <a:pt x="1404" y="204"/>
                    </a:lnTo>
                    <a:lnTo>
                      <a:pt x="1404" y="204"/>
                    </a:lnTo>
                    <a:lnTo>
                      <a:pt x="1402" y="200"/>
                    </a:lnTo>
                    <a:lnTo>
                      <a:pt x="1402" y="196"/>
                    </a:lnTo>
                    <a:lnTo>
                      <a:pt x="1400" y="192"/>
                    </a:lnTo>
                    <a:lnTo>
                      <a:pt x="1396" y="188"/>
                    </a:lnTo>
                    <a:lnTo>
                      <a:pt x="1394" y="186"/>
                    </a:lnTo>
                    <a:lnTo>
                      <a:pt x="1394" y="186"/>
                    </a:lnTo>
                    <a:lnTo>
                      <a:pt x="1394" y="186"/>
                    </a:lnTo>
                    <a:lnTo>
                      <a:pt x="1394" y="184"/>
                    </a:lnTo>
                    <a:lnTo>
                      <a:pt x="1394" y="184"/>
                    </a:lnTo>
                    <a:lnTo>
                      <a:pt x="1392" y="184"/>
                    </a:lnTo>
                    <a:lnTo>
                      <a:pt x="1392" y="184"/>
                    </a:lnTo>
                    <a:lnTo>
                      <a:pt x="1392" y="184"/>
                    </a:lnTo>
                    <a:lnTo>
                      <a:pt x="1390" y="184"/>
                    </a:lnTo>
                    <a:lnTo>
                      <a:pt x="1390" y="184"/>
                    </a:lnTo>
                    <a:lnTo>
                      <a:pt x="1390" y="184"/>
                    </a:lnTo>
                    <a:lnTo>
                      <a:pt x="1388" y="184"/>
                    </a:lnTo>
                    <a:lnTo>
                      <a:pt x="1388" y="184"/>
                    </a:lnTo>
                    <a:lnTo>
                      <a:pt x="1388" y="184"/>
                    </a:lnTo>
                    <a:lnTo>
                      <a:pt x="1386" y="184"/>
                    </a:lnTo>
                    <a:lnTo>
                      <a:pt x="1384" y="186"/>
                    </a:lnTo>
                    <a:lnTo>
                      <a:pt x="1384" y="186"/>
                    </a:lnTo>
                    <a:lnTo>
                      <a:pt x="1384" y="188"/>
                    </a:lnTo>
                    <a:lnTo>
                      <a:pt x="1382" y="190"/>
                    </a:lnTo>
                    <a:lnTo>
                      <a:pt x="1382" y="192"/>
                    </a:lnTo>
                    <a:lnTo>
                      <a:pt x="1382" y="192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78" y="190"/>
                    </a:lnTo>
                    <a:lnTo>
                      <a:pt x="1378" y="190"/>
                    </a:lnTo>
                    <a:lnTo>
                      <a:pt x="1376" y="190"/>
                    </a:lnTo>
                    <a:lnTo>
                      <a:pt x="1374" y="190"/>
                    </a:lnTo>
                    <a:lnTo>
                      <a:pt x="1370" y="188"/>
                    </a:lnTo>
                    <a:lnTo>
                      <a:pt x="1368" y="190"/>
                    </a:lnTo>
                    <a:lnTo>
                      <a:pt x="1364" y="190"/>
                    </a:lnTo>
                    <a:lnTo>
                      <a:pt x="1362" y="190"/>
                    </a:lnTo>
                    <a:lnTo>
                      <a:pt x="1362" y="190"/>
                    </a:lnTo>
                    <a:lnTo>
                      <a:pt x="1362" y="190"/>
                    </a:lnTo>
                    <a:lnTo>
                      <a:pt x="1362" y="192"/>
                    </a:lnTo>
                    <a:lnTo>
                      <a:pt x="1362" y="192"/>
                    </a:lnTo>
                    <a:lnTo>
                      <a:pt x="1360" y="192"/>
                    </a:lnTo>
                    <a:lnTo>
                      <a:pt x="1360" y="192"/>
                    </a:lnTo>
                    <a:lnTo>
                      <a:pt x="1360" y="192"/>
                    </a:lnTo>
                    <a:lnTo>
                      <a:pt x="1360" y="194"/>
                    </a:lnTo>
                    <a:lnTo>
                      <a:pt x="1360" y="196"/>
                    </a:lnTo>
                    <a:lnTo>
                      <a:pt x="1360" y="196"/>
                    </a:lnTo>
                    <a:lnTo>
                      <a:pt x="1360" y="196"/>
                    </a:lnTo>
                    <a:lnTo>
                      <a:pt x="1362" y="198"/>
                    </a:lnTo>
                    <a:lnTo>
                      <a:pt x="1364" y="200"/>
                    </a:lnTo>
                    <a:lnTo>
                      <a:pt x="1366" y="202"/>
                    </a:lnTo>
                    <a:lnTo>
                      <a:pt x="1368" y="204"/>
                    </a:lnTo>
                    <a:lnTo>
                      <a:pt x="1370" y="206"/>
                    </a:lnTo>
                    <a:lnTo>
                      <a:pt x="1368" y="206"/>
                    </a:lnTo>
                    <a:lnTo>
                      <a:pt x="1366" y="208"/>
                    </a:lnTo>
                    <a:lnTo>
                      <a:pt x="1366" y="210"/>
                    </a:lnTo>
                    <a:lnTo>
                      <a:pt x="1362" y="212"/>
                    </a:lnTo>
                    <a:lnTo>
                      <a:pt x="1356" y="214"/>
                    </a:lnTo>
                    <a:lnTo>
                      <a:pt x="1352" y="216"/>
                    </a:lnTo>
                    <a:lnTo>
                      <a:pt x="1352" y="216"/>
                    </a:lnTo>
                    <a:lnTo>
                      <a:pt x="1352" y="216"/>
                    </a:lnTo>
                    <a:lnTo>
                      <a:pt x="1348" y="218"/>
                    </a:lnTo>
                    <a:lnTo>
                      <a:pt x="1348" y="218"/>
                    </a:lnTo>
                    <a:lnTo>
                      <a:pt x="1348" y="218"/>
                    </a:lnTo>
                    <a:lnTo>
                      <a:pt x="1346" y="218"/>
                    </a:lnTo>
                    <a:lnTo>
                      <a:pt x="1346" y="218"/>
                    </a:lnTo>
                    <a:lnTo>
                      <a:pt x="1346" y="220"/>
                    </a:lnTo>
                    <a:lnTo>
                      <a:pt x="1344" y="222"/>
                    </a:lnTo>
                    <a:lnTo>
                      <a:pt x="1344" y="222"/>
                    </a:lnTo>
                    <a:lnTo>
                      <a:pt x="1344" y="222"/>
                    </a:lnTo>
                    <a:lnTo>
                      <a:pt x="1342" y="226"/>
                    </a:lnTo>
                    <a:lnTo>
                      <a:pt x="1342" y="228"/>
                    </a:lnTo>
                    <a:lnTo>
                      <a:pt x="1340" y="230"/>
                    </a:lnTo>
                    <a:lnTo>
                      <a:pt x="1340" y="230"/>
                    </a:lnTo>
                    <a:lnTo>
                      <a:pt x="1338" y="230"/>
                    </a:lnTo>
                    <a:lnTo>
                      <a:pt x="1336" y="232"/>
                    </a:lnTo>
                    <a:lnTo>
                      <a:pt x="1332" y="232"/>
                    </a:lnTo>
                    <a:lnTo>
                      <a:pt x="1330" y="232"/>
                    </a:lnTo>
                    <a:lnTo>
                      <a:pt x="1330" y="232"/>
                    </a:lnTo>
                    <a:lnTo>
                      <a:pt x="1328" y="232"/>
                    </a:lnTo>
                    <a:lnTo>
                      <a:pt x="1326" y="232"/>
                    </a:lnTo>
                    <a:lnTo>
                      <a:pt x="1324" y="234"/>
                    </a:lnTo>
                    <a:lnTo>
                      <a:pt x="1322" y="234"/>
                    </a:lnTo>
                    <a:lnTo>
                      <a:pt x="1320" y="236"/>
                    </a:lnTo>
                    <a:lnTo>
                      <a:pt x="1318" y="238"/>
                    </a:lnTo>
                    <a:lnTo>
                      <a:pt x="1314" y="240"/>
                    </a:lnTo>
                    <a:lnTo>
                      <a:pt x="1310" y="242"/>
                    </a:lnTo>
                    <a:lnTo>
                      <a:pt x="1306" y="244"/>
                    </a:lnTo>
                    <a:lnTo>
                      <a:pt x="1306" y="244"/>
                    </a:lnTo>
                    <a:lnTo>
                      <a:pt x="1306" y="244"/>
                    </a:lnTo>
                    <a:lnTo>
                      <a:pt x="1310" y="238"/>
                    </a:lnTo>
                    <a:lnTo>
                      <a:pt x="1312" y="236"/>
                    </a:lnTo>
                    <a:lnTo>
                      <a:pt x="1314" y="234"/>
                    </a:lnTo>
                    <a:lnTo>
                      <a:pt x="1314" y="232"/>
                    </a:lnTo>
                    <a:lnTo>
                      <a:pt x="1316" y="230"/>
                    </a:lnTo>
                    <a:lnTo>
                      <a:pt x="1318" y="226"/>
                    </a:lnTo>
                    <a:lnTo>
                      <a:pt x="1320" y="224"/>
                    </a:lnTo>
                    <a:lnTo>
                      <a:pt x="1322" y="222"/>
                    </a:lnTo>
                    <a:lnTo>
                      <a:pt x="1322" y="222"/>
                    </a:lnTo>
                    <a:lnTo>
                      <a:pt x="1322" y="222"/>
                    </a:lnTo>
                    <a:lnTo>
                      <a:pt x="1322" y="220"/>
                    </a:lnTo>
                    <a:lnTo>
                      <a:pt x="1322" y="220"/>
                    </a:lnTo>
                    <a:lnTo>
                      <a:pt x="1324" y="220"/>
                    </a:lnTo>
                    <a:lnTo>
                      <a:pt x="1324" y="218"/>
                    </a:lnTo>
                    <a:lnTo>
                      <a:pt x="1324" y="218"/>
                    </a:lnTo>
                    <a:lnTo>
                      <a:pt x="1324" y="216"/>
                    </a:lnTo>
                    <a:lnTo>
                      <a:pt x="1324" y="216"/>
                    </a:lnTo>
                    <a:lnTo>
                      <a:pt x="1324" y="216"/>
                    </a:lnTo>
                    <a:lnTo>
                      <a:pt x="1322" y="214"/>
                    </a:lnTo>
                    <a:lnTo>
                      <a:pt x="1322" y="212"/>
                    </a:lnTo>
                    <a:lnTo>
                      <a:pt x="1322" y="214"/>
                    </a:lnTo>
                    <a:lnTo>
                      <a:pt x="1322" y="214"/>
                    </a:lnTo>
                    <a:lnTo>
                      <a:pt x="1324" y="214"/>
                    </a:lnTo>
                    <a:lnTo>
                      <a:pt x="1326" y="214"/>
                    </a:lnTo>
                    <a:lnTo>
                      <a:pt x="1326" y="214"/>
                    </a:lnTo>
                    <a:lnTo>
                      <a:pt x="1326" y="214"/>
                    </a:lnTo>
                    <a:lnTo>
                      <a:pt x="1330" y="214"/>
                    </a:lnTo>
                    <a:lnTo>
                      <a:pt x="1330" y="214"/>
                    </a:lnTo>
                    <a:lnTo>
                      <a:pt x="1334" y="212"/>
                    </a:lnTo>
                    <a:lnTo>
                      <a:pt x="1334" y="212"/>
                    </a:lnTo>
                    <a:lnTo>
                      <a:pt x="1334" y="212"/>
                    </a:lnTo>
                    <a:lnTo>
                      <a:pt x="1338" y="210"/>
                    </a:lnTo>
                    <a:lnTo>
                      <a:pt x="1338" y="210"/>
                    </a:lnTo>
                    <a:lnTo>
                      <a:pt x="1338" y="210"/>
                    </a:lnTo>
                    <a:lnTo>
                      <a:pt x="1342" y="208"/>
                    </a:lnTo>
                    <a:lnTo>
                      <a:pt x="1342" y="208"/>
                    </a:lnTo>
                    <a:lnTo>
                      <a:pt x="1342" y="208"/>
                    </a:lnTo>
                    <a:lnTo>
                      <a:pt x="1344" y="206"/>
                    </a:lnTo>
                    <a:lnTo>
                      <a:pt x="1344" y="206"/>
                    </a:lnTo>
                    <a:lnTo>
                      <a:pt x="1344" y="206"/>
                    </a:lnTo>
                    <a:lnTo>
                      <a:pt x="1346" y="204"/>
                    </a:lnTo>
                    <a:lnTo>
                      <a:pt x="1348" y="200"/>
                    </a:lnTo>
                    <a:lnTo>
                      <a:pt x="1352" y="196"/>
                    </a:lnTo>
                    <a:lnTo>
                      <a:pt x="1354" y="192"/>
                    </a:lnTo>
                    <a:lnTo>
                      <a:pt x="1356" y="188"/>
                    </a:lnTo>
                    <a:lnTo>
                      <a:pt x="1358" y="184"/>
                    </a:lnTo>
                    <a:lnTo>
                      <a:pt x="1360" y="180"/>
                    </a:lnTo>
                    <a:lnTo>
                      <a:pt x="1364" y="176"/>
                    </a:lnTo>
                    <a:lnTo>
                      <a:pt x="1366" y="174"/>
                    </a:lnTo>
                    <a:lnTo>
                      <a:pt x="1368" y="172"/>
                    </a:lnTo>
                    <a:lnTo>
                      <a:pt x="1374" y="166"/>
                    </a:lnTo>
                    <a:lnTo>
                      <a:pt x="1378" y="160"/>
                    </a:lnTo>
                    <a:lnTo>
                      <a:pt x="1380" y="158"/>
                    </a:lnTo>
                    <a:lnTo>
                      <a:pt x="1384" y="156"/>
                    </a:lnTo>
                    <a:lnTo>
                      <a:pt x="1386" y="154"/>
                    </a:lnTo>
                    <a:lnTo>
                      <a:pt x="1388" y="154"/>
                    </a:lnTo>
                    <a:lnTo>
                      <a:pt x="1394" y="152"/>
                    </a:lnTo>
                    <a:lnTo>
                      <a:pt x="1396" y="150"/>
                    </a:lnTo>
                    <a:lnTo>
                      <a:pt x="1400" y="148"/>
                    </a:lnTo>
                    <a:lnTo>
                      <a:pt x="1402" y="146"/>
                    </a:lnTo>
                    <a:lnTo>
                      <a:pt x="1404" y="144"/>
                    </a:lnTo>
                    <a:lnTo>
                      <a:pt x="1408" y="140"/>
                    </a:lnTo>
                    <a:lnTo>
                      <a:pt x="1412" y="138"/>
                    </a:lnTo>
                    <a:lnTo>
                      <a:pt x="1414" y="134"/>
                    </a:lnTo>
                    <a:lnTo>
                      <a:pt x="1418" y="130"/>
                    </a:lnTo>
                    <a:lnTo>
                      <a:pt x="1422" y="124"/>
                    </a:lnTo>
                    <a:lnTo>
                      <a:pt x="1424" y="120"/>
                    </a:lnTo>
                    <a:lnTo>
                      <a:pt x="1426" y="118"/>
                    </a:lnTo>
                    <a:lnTo>
                      <a:pt x="1428" y="114"/>
                    </a:lnTo>
                    <a:lnTo>
                      <a:pt x="1430" y="112"/>
                    </a:lnTo>
                    <a:lnTo>
                      <a:pt x="1430" y="112"/>
                    </a:lnTo>
                    <a:lnTo>
                      <a:pt x="1430" y="110"/>
                    </a:lnTo>
                    <a:lnTo>
                      <a:pt x="1430" y="108"/>
                    </a:lnTo>
                    <a:lnTo>
                      <a:pt x="1430" y="108"/>
                    </a:lnTo>
                    <a:lnTo>
                      <a:pt x="1430" y="108"/>
                    </a:lnTo>
                    <a:lnTo>
                      <a:pt x="1430" y="106"/>
                    </a:lnTo>
                    <a:lnTo>
                      <a:pt x="1430" y="106"/>
                    </a:lnTo>
                    <a:lnTo>
                      <a:pt x="1428" y="104"/>
                    </a:lnTo>
                    <a:lnTo>
                      <a:pt x="1428" y="102"/>
                    </a:lnTo>
                    <a:lnTo>
                      <a:pt x="1426" y="98"/>
                    </a:lnTo>
                    <a:lnTo>
                      <a:pt x="1426" y="100"/>
                    </a:lnTo>
                    <a:lnTo>
                      <a:pt x="1426" y="98"/>
                    </a:lnTo>
                    <a:lnTo>
                      <a:pt x="1426" y="98"/>
                    </a:lnTo>
                    <a:lnTo>
                      <a:pt x="1426" y="98"/>
                    </a:lnTo>
                    <a:lnTo>
                      <a:pt x="1426" y="96"/>
                    </a:lnTo>
                    <a:lnTo>
                      <a:pt x="1430" y="94"/>
                    </a:lnTo>
                    <a:lnTo>
                      <a:pt x="1432" y="92"/>
                    </a:lnTo>
                    <a:lnTo>
                      <a:pt x="1432" y="92"/>
                    </a:lnTo>
                    <a:lnTo>
                      <a:pt x="1432" y="90"/>
                    </a:lnTo>
                    <a:lnTo>
                      <a:pt x="1434" y="90"/>
                    </a:lnTo>
                    <a:lnTo>
                      <a:pt x="1434" y="90"/>
                    </a:lnTo>
                    <a:lnTo>
                      <a:pt x="1434" y="88"/>
                    </a:lnTo>
                    <a:lnTo>
                      <a:pt x="1434" y="86"/>
                    </a:lnTo>
                    <a:lnTo>
                      <a:pt x="1434" y="86"/>
                    </a:lnTo>
                    <a:lnTo>
                      <a:pt x="1434" y="84"/>
                    </a:lnTo>
                    <a:lnTo>
                      <a:pt x="1434" y="84"/>
                    </a:lnTo>
                    <a:lnTo>
                      <a:pt x="1434" y="82"/>
                    </a:lnTo>
                    <a:lnTo>
                      <a:pt x="1432" y="80"/>
                    </a:lnTo>
                    <a:lnTo>
                      <a:pt x="1430" y="76"/>
                    </a:lnTo>
                    <a:lnTo>
                      <a:pt x="1428" y="70"/>
                    </a:lnTo>
                    <a:lnTo>
                      <a:pt x="1426" y="68"/>
                    </a:lnTo>
                    <a:lnTo>
                      <a:pt x="1426" y="66"/>
                    </a:lnTo>
                    <a:lnTo>
                      <a:pt x="1426" y="66"/>
                    </a:lnTo>
                    <a:lnTo>
                      <a:pt x="1426" y="64"/>
                    </a:lnTo>
                    <a:lnTo>
                      <a:pt x="1426" y="62"/>
                    </a:lnTo>
                    <a:lnTo>
                      <a:pt x="1426" y="56"/>
                    </a:lnTo>
                    <a:lnTo>
                      <a:pt x="1426" y="54"/>
                    </a:lnTo>
                    <a:lnTo>
                      <a:pt x="1428" y="52"/>
                    </a:lnTo>
                    <a:lnTo>
                      <a:pt x="1428" y="50"/>
                    </a:lnTo>
                    <a:lnTo>
                      <a:pt x="1428" y="50"/>
                    </a:lnTo>
                    <a:lnTo>
                      <a:pt x="1426" y="48"/>
                    </a:lnTo>
                    <a:lnTo>
                      <a:pt x="1426" y="48"/>
                    </a:lnTo>
                    <a:lnTo>
                      <a:pt x="1426" y="48"/>
                    </a:lnTo>
                    <a:lnTo>
                      <a:pt x="1424" y="46"/>
                    </a:lnTo>
                    <a:lnTo>
                      <a:pt x="1424" y="46"/>
                    </a:lnTo>
                    <a:lnTo>
                      <a:pt x="1424" y="46"/>
                    </a:lnTo>
                    <a:lnTo>
                      <a:pt x="1422" y="46"/>
                    </a:lnTo>
                    <a:lnTo>
                      <a:pt x="1420" y="46"/>
                    </a:lnTo>
                    <a:lnTo>
                      <a:pt x="1418" y="46"/>
                    </a:lnTo>
                    <a:lnTo>
                      <a:pt x="1416" y="48"/>
                    </a:lnTo>
                    <a:lnTo>
                      <a:pt x="1410" y="48"/>
                    </a:lnTo>
                    <a:lnTo>
                      <a:pt x="1408" y="50"/>
                    </a:lnTo>
                    <a:lnTo>
                      <a:pt x="1408" y="50"/>
                    </a:lnTo>
                    <a:lnTo>
                      <a:pt x="1408" y="48"/>
                    </a:lnTo>
                    <a:lnTo>
                      <a:pt x="1408" y="46"/>
                    </a:lnTo>
                    <a:lnTo>
                      <a:pt x="1408" y="42"/>
                    </a:lnTo>
                    <a:lnTo>
                      <a:pt x="1408" y="42"/>
                    </a:lnTo>
                    <a:lnTo>
                      <a:pt x="1408" y="42"/>
                    </a:lnTo>
                    <a:lnTo>
                      <a:pt x="1406" y="42"/>
                    </a:lnTo>
                    <a:lnTo>
                      <a:pt x="1406" y="42"/>
                    </a:lnTo>
                    <a:lnTo>
                      <a:pt x="1406" y="40"/>
                    </a:lnTo>
                    <a:lnTo>
                      <a:pt x="1404" y="38"/>
                    </a:lnTo>
                    <a:lnTo>
                      <a:pt x="1402" y="36"/>
                    </a:lnTo>
                    <a:lnTo>
                      <a:pt x="1400" y="34"/>
                    </a:lnTo>
                    <a:lnTo>
                      <a:pt x="1400" y="34"/>
                    </a:lnTo>
                    <a:lnTo>
                      <a:pt x="1400" y="34"/>
                    </a:lnTo>
                    <a:lnTo>
                      <a:pt x="1398" y="32"/>
                    </a:lnTo>
                    <a:lnTo>
                      <a:pt x="1394" y="32"/>
                    </a:lnTo>
                    <a:lnTo>
                      <a:pt x="1392" y="30"/>
                    </a:lnTo>
                    <a:lnTo>
                      <a:pt x="1388" y="30"/>
                    </a:lnTo>
                    <a:lnTo>
                      <a:pt x="1386" y="28"/>
                    </a:lnTo>
                    <a:lnTo>
                      <a:pt x="1384" y="28"/>
                    </a:lnTo>
                    <a:lnTo>
                      <a:pt x="1378" y="28"/>
                    </a:lnTo>
                    <a:lnTo>
                      <a:pt x="1372" y="26"/>
                    </a:lnTo>
                    <a:lnTo>
                      <a:pt x="1366" y="26"/>
                    </a:lnTo>
                    <a:lnTo>
                      <a:pt x="1358" y="26"/>
                    </a:lnTo>
                    <a:lnTo>
                      <a:pt x="1352" y="26"/>
                    </a:lnTo>
                    <a:lnTo>
                      <a:pt x="1348" y="24"/>
                    </a:lnTo>
                    <a:lnTo>
                      <a:pt x="1346" y="26"/>
                    </a:lnTo>
                    <a:lnTo>
                      <a:pt x="1344" y="26"/>
                    </a:lnTo>
                    <a:lnTo>
                      <a:pt x="1344" y="26"/>
                    </a:lnTo>
                    <a:lnTo>
                      <a:pt x="1340" y="26"/>
                    </a:lnTo>
                    <a:lnTo>
                      <a:pt x="1340" y="26"/>
                    </a:lnTo>
                    <a:lnTo>
                      <a:pt x="1340" y="26"/>
                    </a:lnTo>
                    <a:lnTo>
                      <a:pt x="1338" y="28"/>
                    </a:lnTo>
                    <a:lnTo>
                      <a:pt x="1338" y="28"/>
                    </a:lnTo>
                    <a:lnTo>
                      <a:pt x="1338" y="28"/>
                    </a:lnTo>
                    <a:lnTo>
                      <a:pt x="1336" y="30"/>
                    </a:lnTo>
                    <a:lnTo>
                      <a:pt x="1336" y="30"/>
                    </a:lnTo>
                    <a:lnTo>
                      <a:pt x="1336" y="30"/>
                    </a:lnTo>
                    <a:lnTo>
                      <a:pt x="1336" y="32"/>
                    </a:lnTo>
                    <a:lnTo>
                      <a:pt x="1336" y="32"/>
                    </a:lnTo>
                    <a:lnTo>
                      <a:pt x="1336" y="32"/>
                    </a:lnTo>
                    <a:lnTo>
                      <a:pt x="1336" y="34"/>
                    </a:lnTo>
                    <a:lnTo>
                      <a:pt x="1336" y="34"/>
                    </a:lnTo>
                    <a:lnTo>
                      <a:pt x="1336" y="34"/>
                    </a:lnTo>
                    <a:lnTo>
                      <a:pt x="1334" y="36"/>
                    </a:lnTo>
                    <a:lnTo>
                      <a:pt x="1332" y="36"/>
                    </a:lnTo>
                    <a:lnTo>
                      <a:pt x="1326" y="38"/>
                    </a:lnTo>
                    <a:lnTo>
                      <a:pt x="1326" y="38"/>
                    </a:lnTo>
                    <a:lnTo>
                      <a:pt x="1322" y="38"/>
                    </a:lnTo>
                    <a:lnTo>
                      <a:pt x="1322" y="38"/>
                    </a:lnTo>
                    <a:lnTo>
                      <a:pt x="1322" y="38"/>
                    </a:lnTo>
                    <a:lnTo>
                      <a:pt x="1322" y="36"/>
                    </a:lnTo>
                    <a:lnTo>
                      <a:pt x="1324" y="36"/>
                    </a:lnTo>
                    <a:lnTo>
                      <a:pt x="1324" y="36"/>
                    </a:lnTo>
                    <a:lnTo>
                      <a:pt x="1324" y="36"/>
                    </a:lnTo>
                    <a:lnTo>
                      <a:pt x="1326" y="34"/>
                    </a:lnTo>
                    <a:lnTo>
                      <a:pt x="1326" y="30"/>
                    </a:lnTo>
                    <a:lnTo>
                      <a:pt x="1328" y="28"/>
                    </a:lnTo>
                    <a:lnTo>
                      <a:pt x="1330" y="24"/>
                    </a:lnTo>
                    <a:lnTo>
                      <a:pt x="1330" y="20"/>
                    </a:lnTo>
                    <a:lnTo>
                      <a:pt x="1332" y="16"/>
                    </a:lnTo>
                    <a:lnTo>
                      <a:pt x="1332" y="12"/>
                    </a:lnTo>
                    <a:lnTo>
                      <a:pt x="1332" y="10"/>
                    </a:lnTo>
                    <a:lnTo>
                      <a:pt x="1332" y="10"/>
                    </a:lnTo>
                    <a:lnTo>
                      <a:pt x="1332" y="8"/>
                    </a:lnTo>
                    <a:lnTo>
                      <a:pt x="1332" y="6"/>
                    </a:lnTo>
                    <a:lnTo>
                      <a:pt x="1332" y="6"/>
                    </a:lnTo>
                    <a:lnTo>
                      <a:pt x="1332" y="6"/>
                    </a:lnTo>
                    <a:lnTo>
                      <a:pt x="1330" y="4"/>
                    </a:lnTo>
                    <a:lnTo>
                      <a:pt x="1330" y="4"/>
                    </a:lnTo>
                    <a:lnTo>
                      <a:pt x="1330" y="2"/>
                    </a:lnTo>
                    <a:lnTo>
                      <a:pt x="1328" y="2"/>
                    </a:lnTo>
                    <a:lnTo>
                      <a:pt x="1328" y="2"/>
                    </a:lnTo>
                    <a:lnTo>
                      <a:pt x="1326" y="2"/>
                    </a:lnTo>
                    <a:lnTo>
                      <a:pt x="1324" y="0"/>
                    </a:lnTo>
                    <a:lnTo>
                      <a:pt x="1324" y="0"/>
                    </a:lnTo>
                    <a:lnTo>
                      <a:pt x="1322" y="0"/>
                    </a:lnTo>
                    <a:lnTo>
                      <a:pt x="1318" y="0"/>
                    </a:lnTo>
                    <a:lnTo>
                      <a:pt x="1314" y="0"/>
                    </a:lnTo>
                    <a:lnTo>
                      <a:pt x="1310" y="0"/>
                    </a:lnTo>
                    <a:lnTo>
                      <a:pt x="1304" y="0"/>
                    </a:lnTo>
                    <a:lnTo>
                      <a:pt x="1302" y="0"/>
                    </a:lnTo>
                    <a:lnTo>
                      <a:pt x="1298" y="0"/>
                    </a:lnTo>
                    <a:lnTo>
                      <a:pt x="1294" y="0"/>
                    </a:lnTo>
                    <a:lnTo>
                      <a:pt x="1290" y="0"/>
                    </a:lnTo>
                    <a:lnTo>
                      <a:pt x="1280" y="0"/>
                    </a:lnTo>
                    <a:lnTo>
                      <a:pt x="1270" y="0"/>
                    </a:lnTo>
                    <a:lnTo>
                      <a:pt x="1260" y="0"/>
                    </a:lnTo>
                    <a:lnTo>
                      <a:pt x="1250" y="0"/>
                    </a:lnTo>
                    <a:lnTo>
                      <a:pt x="1246" y="0"/>
                    </a:lnTo>
                    <a:lnTo>
                      <a:pt x="1242" y="0"/>
                    </a:lnTo>
                    <a:lnTo>
                      <a:pt x="1240" y="0"/>
                    </a:lnTo>
                    <a:lnTo>
                      <a:pt x="1236" y="0"/>
                    </a:lnTo>
                    <a:lnTo>
                      <a:pt x="1234" y="0"/>
                    </a:lnTo>
                    <a:lnTo>
                      <a:pt x="1232" y="0"/>
                    </a:lnTo>
                    <a:lnTo>
                      <a:pt x="1232" y="0"/>
                    </a:lnTo>
                    <a:lnTo>
                      <a:pt x="1232" y="0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28" y="2"/>
                    </a:lnTo>
                    <a:lnTo>
                      <a:pt x="1228" y="2"/>
                    </a:lnTo>
                    <a:lnTo>
                      <a:pt x="1228" y="6"/>
                    </a:lnTo>
                    <a:lnTo>
                      <a:pt x="1228" y="6"/>
                    </a:lnTo>
                    <a:lnTo>
                      <a:pt x="1228" y="6"/>
                    </a:lnTo>
                    <a:lnTo>
                      <a:pt x="1228" y="8"/>
                    </a:lnTo>
                    <a:lnTo>
                      <a:pt x="1230" y="8"/>
                    </a:lnTo>
                    <a:lnTo>
                      <a:pt x="1230" y="10"/>
                    </a:lnTo>
                    <a:lnTo>
                      <a:pt x="1230" y="10"/>
                    </a:lnTo>
                    <a:lnTo>
                      <a:pt x="1230" y="12"/>
                    </a:lnTo>
                    <a:lnTo>
                      <a:pt x="1230" y="14"/>
                    </a:lnTo>
                    <a:lnTo>
                      <a:pt x="1232" y="16"/>
                    </a:lnTo>
                    <a:lnTo>
                      <a:pt x="1232" y="20"/>
                    </a:lnTo>
                    <a:lnTo>
                      <a:pt x="1234" y="24"/>
                    </a:lnTo>
                    <a:lnTo>
                      <a:pt x="1234" y="26"/>
                    </a:lnTo>
                    <a:lnTo>
                      <a:pt x="1234" y="28"/>
                    </a:lnTo>
                    <a:lnTo>
                      <a:pt x="1234" y="28"/>
                    </a:lnTo>
                    <a:lnTo>
                      <a:pt x="1232" y="30"/>
                    </a:lnTo>
                    <a:lnTo>
                      <a:pt x="1232" y="36"/>
                    </a:lnTo>
                    <a:lnTo>
                      <a:pt x="1232" y="34"/>
                    </a:lnTo>
                    <a:lnTo>
                      <a:pt x="1228" y="38"/>
                    </a:lnTo>
                    <a:lnTo>
                      <a:pt x="1230" y="38"/>
                    </a:lnTo>
                    <a:lnTo>
                      <a:pt x="1228" y="40"/>
                    </a:lnTo>
                    <a:lnTo>
                      <a:pt x="1228" y="40"/>
                    </a:lnTo>
                    <a:lnTo>
                      <a:pt x="1226" y="40"/>
                    </a:lnTo>
                    <a:lnTo>
                      <a:pt x="1224" y="42"/>
                    </a:lnTo>
                    <a:lnTo>
                      <a:pt x="1216" y="42"/>
                    </a:lnTo>
                    <a:lnTo>
                      <a:pt x="1214" y="42"/>
                    </a:lnTo>
                    <a:lnTo>
                      <a:pt x="1214" y="42"/>
                    </a:lnTo>
                    <a:lnTo>
                      <a:pt x="1212" y="42"/>
                    </a:lnTo>
                    <a:lnTo>
                      <a:pt x="1210" y="42"/>
                    </a:lnTo>
                    <a:lnTo>
                      <a:pt x="1210" y="42"/>
                    </a:lnTo>
                    <a:lnTo>
                      <a:pt x="1210" y="42"/>
                    </a:lnTo>
                    <a:lnTo>
                      <a:pt x="1208" y="44"/>
                    </a:lnTo>
                    <a:lnTo>
                      <a:pt x="1208" y="44"/>
                    </a:lnTo>
                    <a:lnTo>
                      <a:pt x="1206" y="44"/>
                    </a:lnTo>
                    <a:lnTo>
                      <a:pt x="1206" y="46"/>
                    </a:lnTo>
                    <a:lnTo>
                      <a:pt x="1206" y="46"/>
                    </a:lnTo>
                    <a:lnTo>
                      <a:pt x="1206" y="48"/>
                    </a:lnTo>
                    <a:lnTo>
                      <a:pt x="1206" y="50"/>
                    </a:lnTo>
                    <a:lnTo>
                      <a:pt x="1206" y="50"/>
                    </a:lnTo>
                    <a:lnTo>
                      <a:pt x="1206" y="52"/>
                    </a:lnTo>
                    <a:lnTo>
                      <a:pt x="1208" y="54"/>
                    </a:lnTo>
                    <a:lnTo>
                      <a:pt x="1208" y="58"/>
                    </a:lnTo>
                    <a:lnTo>
                      <a:pt x="1210" y="60"/>
                    </a:lnTo>
                    <a:lnTo>
                      <a:pt x="1210" y="60"/>
                    </a:lnTo>
                    <a:lnTo>
                      <a:pt x="1208" y="60"/>
                    </a:lnTo>
                    <a:lnTo>
                      <a:pt x="1204" y="58"/>
                    </a:lnTo>
                    <a:lnTo>
                      <a:pt x="1204" y="58"/>
                    </a:lnTo>
                    <a:lnTo>
                      <a:pt x="1204" y="58"/>
                    </a:lnTo>
                    <a:lnTo>
                      <a:pt x="1202" y="56"/>
                    </a:lnTo>
                    <a:lnTo>
                      <a:pt x="1202" y="56"/>
                    </a:lnTo>
                    <a:lnTo>
                      <a:pt x="1202" y="56"/>
                    </a:lnTo>
                    <a:lnTo>
                      <a:pt x="1200" y="56"/>
                    </a:lnTo>
                    <a:lnTo>
                      <a:pt x="1198" y="56"/>
                    </a:lnTo>
                    <a:lnTo>
                      <a:pt x="1196" y="56"/>
                    </a:lnTo>
                    <a:lnTo>
                      <a:pt x="1192" y="56"/>
                    </a:lnTo>
                    <a:lnTo>
                      <a:pt x="1188" y="58"/>
                    </a:lnTo>
                    <a:lnTo>
                      <a:pt x="1182" y="62"/>
                    </a:lnTo>
                    <a:lnTo>
                      <a:pt x="1176" y="64"/>
                    </a:lnTo>
                    <a:lnTo>
                      <a:pt x="1176" y="64"/>
                    </a:lnTo>
                    <a:lnTo>
                      <a:pt x="1174" y="64"/>
                    </a:lnTo>
                    <a:lnTo>
                      <a:pt x="1172" y="66"/>
                    </a:lnTo>
                    <a:lnTo>
                      <a:pt x="1170" y="70"/>
                    </a:lnTo>
                    <a:lnTo>
                      <a:pt x="1166" y="74"/>
                    </a:lnTo>
                    <a:lnTo>
                      <a:pt x="1164" y="76"/>
                    </a:lnTo>
                    <a:lnTo>
                      <a:pt x="1162" y="78"/>
                    </a:lnTo>
                    <a:lnTo>
                      <a:pt x="1160" y="78"/>
                    </a:lnTo>
                    <a:lnTo>
                      <a:pt x="1160" y="78"/>
                    </a:lnTo>
                    <a:lnTo>
                      <a:pt x="1158" y="78"/>
                    </a:lnTo>
                    <a:lnTo>
                      <a:pt x="1158" y="78"/>
                    </a:lnTo>
                    <a:lnTo>
                      <a:pt x="1158" y="78"/>
                    </a:lnTo>
                    <a:lnTo>
                      <a:pt x="1156" y="76"/>
                    </a:lnTo>
                    <a:lnTo>
                      <a:pt x="1152" y="72"/>
                    </a:lnTo>
                    <a:lnTo>
                      <a:pt x="1150" y="70"/>
                    </a:lnTo>
                    <a:lnTo>
                      <a:pt x="1148" y="66"/>
                    </a:lnTo>
                    <a:lnTo>
                      <a:pt x="1144" y="62"/>
                    </a:lnTo>
                    <a:lnTo>
                      <a:pt x="1142" y="58"/>
                    </a:lnTo>
                    <a:lnTo>
                      <a:pt x="1142" y="58"/>
                    </a:lnTo>
                    <a:lnTo>
                      <a:pt x="1142" y="58"/>
                    </a:lnTo>
                    <a:lnTo>
                      <a:pt x="1140" y="58"/>
                    </a:lnTo>
                    <a:lnTo>
                      <a:pt x="1140" y="58"/>
                    </a:lnTo>
                    <a:lnTo>
                      <a:pt x="1140" y="58"/>
                    </a:lnTo>
                    <a:lnTo>
                      <a:pt x="1140" y="56"/>
                    </a:lnTo>
                    <a:lnTo>
                      <a:pt x="1140" y="56"/>
                    </a:lnTo>
                    <a:lnTo>
                      <a:pt x="1138" y="56"/>
                    </a:lnTo>
                    <a:lnTo>
                      <a:pt x="1136" y="56"/>
                    </a:lnTo>
                    <a:lnTo>
                      <a:pt x="1136" y="56"/>
                    </a:lnTo>
                    <a:lnTo>
                      <a:pt x="1136" y="56"/>
                    </a:lnTo>
                    <a:lnTo>
                      <a:pt x="1134" y="56"/>
                    </a:lnTo>
                    <a:lnTo>
                      <a:pt x="1134" y="56"/>
                    </a:lnTo>
                    <a:lnTo>
                      <a:pt x="1132" y="56"/>
                    </a:lnTo>
                    <a:lnTo>
                      <a:pt x="1132" y="58"/>
                    </a:lnTo>
                    <a:lnTo>
                      <a:pt x="1132" y="58"/>
                    </a:lnTo>
                    <a:lnTo>
                      <a:pt x="1130" y="58"/>
                    </a:lnTo>
                    <a:lnTo>
                      <a:pt x="1130" y="60"/>
                    </a:lnTo>
                    <a:lnTo>
                      <a:pt x="1130" y="60"/>
                    </a:lnTo>
                    <a:lnTo>
                      <a:pt x="1130" y="60"/>
                    </a:lnTo>
                    <a:lnTo>
                      <a:pt x="1126" y="62"/>
                    </a:lnTo>
                    <a:lnTo>
                      <a:pt x="1124" y="66"/>
                    </a:lnTo>
                    <a:lnTo>
                      <a:pt x="1120" y="70"/>
                    </a:lnTo>
                    <a:lnTo>
                      <a:pt x="1118" y="74"/>
                    </a:lnTo>
                    <a:lnTo>
                      <a:pt x="1114" y="78"/>
                    </a:lnTo>
                    <a:lnTo>
                      <a:pt x="1112" y="82"/>
                    </a:lnTo>
                    <a:lnTo>
                      <a:pt x="1112" y="82"/>
                    </a:lnTo>
                    <a:lnTo>
                      <a:pt x="1112" y="82"/>
                    </a:lnTo>
                    <a:lnTo>
                      <a:pt x="1112" y="84"/>
                    </a:lnTo>
                    <a:lnTo>
                      <a:pt x="1112" y="84"/>
                    </a:lnTo>
                    <a:lnTo>
                      <a:pt x="1112" y="84"/>
                    </a:lnTo>
                    <a:lnTo>
                      <a:pt x="1112" y="86"/>
                    </a:lnTo>
                    <a:lnTo>
                      <a:pt x="1112" y="86"/>
                    </a:lnTo>
                    <a:lnTo>
                      <a:pt x="1112" y="90"/>
                    </a:lnTo>
                    <a:lnTo>
                      <a:pt x="1112" y="92"/>
                    </a:lnTo>
                    <a:lnTo>
                      <a:pt x="1112" y="92"/>
                    </a:lnTo>
                    <a:lnTo>
                      <a:pt x="1112" y="92"/>
                    </a:lnTo>
                    <a:lnTo>
                      <a:pt x="1110" y="92"/>
                    </a:lnTo>
                    <a:lnTo>
                      <a:pt x="1108" y="94"/>
                    </a:lnTo>
                    <a:lnTo>
                      <a:pt x="1106" y="94"/>
                    </a:lnTo>
                    <a:lnTo>
                      <a:pt x="1102" y="94"/>
                    </a:lnTo>
                    <a:lnTo>
                      <a:pt x="1096" y="94"/>
                    </a:lnTo>
                    <a:lnTo>
                      <a:pt x="1086" y="94"/>
                    </a:lnTo>
                    <a:lnTo>
                      <a:pt x="1084" y="94"/>
                    </a:lnTo>
                    <a:lnTo>
                      <a:pt x="1080" y="94"/>
                    </a:lnTo>
                    <a:lnTo>
                      <a:pt x="1076" y="94"/>
                    </a:lnTo>
                    <a:lnTo>
                      <a:pt x="1072" y="94"/>
                    </a:lnTo>
                    <a:lnTo>
                      <a:pt x="1070" y="94"/>
                    </a:lnTo>
                    <a:lnTo>
                      <a:pt x="1064" y="96"/>
                    </a:lnTo>
                    <a:lnTo>
                      <a:pt x="1056" y="98"/>
                    </a:lnTo>
                    <a:lnTo>
                      <a:pt x="1054" y="98"/>
                    </a:lnTo>
                    <a:lnTo>
                      <a:pt x="1050" y="100"/>
                    </a:lnTo>
                    <a:lnTo>
                      <a:pt x="1050" y="100"/>
                    </a:lnTo>
                    <a:lnTo>
                      <a:pt x="1050" y="100"/>
                    </a:lnTo>
                    <a:lnTo>
                      <a:pt x="1048" y="102"/>
                    </a:lnTo>
                    <a:lnTo>
                      <a:pt x="1048" y="102"/>
                    </a:lnTo>
                    <a:lnTo>
                      <a:pt x="1048" y="102"/>
                    </a:lnTo>
                    <a:lnTo>
                      <a:pt x="1046" y="106"/>
                    </a:lnTo>
                    <a:lnTo>
                      <a:pt x="1042" y="110"/>
                    </a:lnTo>
                    <a:lnTo>
                      <a:pt x="1040" y="116"/>
                    </a:lnTo>
                    <a:lnTo>
                      <a:pt x="1038" y="118"/>
                    </a:lnTo>
                    <a:lnTo>
                      <a:pt x="1038" y="118"/>
                    </a:lnTo>
                    <a:lnTo>
                      <a:pt x="1036" y="120"/>
                    </a:lnTo>
                    <a:lnTo>
                      <a:pt x="1036" y="120"/>
                    </a:lnTo>
                    <a:lnTo>
                      <a:pt x="1032" y="122"/>
                    </a:lnTo>
                    <a:lnTo>
                      <a:pt x="1028" y="122"/>
                    </a:lnTo>
                    <a:lnTo>
                      <a:pt x="1028" y="122"/>
                    </a:lnTo>
                    <a:lnTo>
                      <a:pt x="1028" y="124"/>
                    </a:lnTo>
                    <a:lnTo>
                      <a:pt x="1026" y="124"/>
                    </a:lnTo>
                    <a:lnTo>
                      <a:pt x="1026" y="124"/>
                    </a:lnTo>
                    <a:lnTo>
                      <a:pt x="1026" y="124"/>
                    </a:lnTo>
                    <a:lnTo>
                      <a:pt x="1024" y="126"/>
                    </a:lnTo>
                    <a:lnTo>
                      <a:pt x="1024" y="126"/>
                    </a:lnTo>
                    <a:lnTo>
                      <a:pt x="1024" y="126"/>
                    </a:lnTo>
                    <a:lnTo>
                      <a:pt x="1024" y="128"/>
                    </a:lnTo>
                    <a:lnTo>
                      <a:pt x="1024" y="128"/>
                    </a:lnTo>
                    <a:lnTo>
                      <a:pt x="1024" y="130"/>
                    </a:lnTo>
                    <a:lnTo>
                      <a:pt x="1022" y="132"/>
                    </a:lnTo>
                    <a:lnTo>
                      <a:pt x="1024" y="136"/>
                    </a:lnTo>
                    <a:lnTo>
                      <a:pt x="1024" y="138"/>
                    </a:lnTo>
                    <a:lnTo>
                      <a:pt x="1024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18" y="140"/>
                    </a:lnTo>
                    <a:lnTo>
                      <a:pt x="1016" y="140"/>
                    </a:lnTo>
                    <a:lnTo>
                      <a:pt x="1012" y="140"/>
                    </a:lnTo>
                    <a:lnTo>
                      <a:pt x="1010" y="140"/>
                    </a:lnTo>
                    <a:lnTo>
                      <a:pt x="1010" y="140"/>
                    </a:lnTo>
                    <a:lnTo>
                      <a:pt x="1008" y="140"/>
                    </a:lnTo>
                    <a:lnTo>
                      <a:pt x="1008" y="140"/>
                    </a:lnTo>
                    <a:lnTo>
                      <a:pt x="1006" y="140"/>
                    </a:lnTo>
                    <a:lnTo>
                      <a:pt x="1006" y="140"/>
                    </a:lnTo>
                    <a:lnTo>
                      <a:pt x="1006" y="140"/>
                    </a:lnTo>
                    <a:lnTo>
                      <a:pt x="1004" y="142"/>
                    </a:lnTo>
                    <a:lnTo>
                      <a:pt x="1004" y="142"/>
                    </a:lnTo>
                    <a:lnTo>
                      <a:pt x="1004" y="142"/>
                    </a:lnTo>
                    <a:lnTo>
                      <a:pt x="1004" y="144"/>
                    </a:lnTo>
                    <a:lnTo>
                      <a:pt x="1004" y="146"/>
                    </a:lnTo>
                    <a:lnTo>
                      <a:pt x="1004" y="146"/>
                    </a:lnTo>
                    <a:lnTo>
                      <a:pt x="1004" y="146"/>
                    </a:lnTo>
                    <a:lnTo>
                      <a:pt x="1004" y="148"/>
                    </a:lnTo>
                    <a:lnTo>
                      <a:pt x="1006" y="150"/>
                    </a:lnTo>
                    <a:lnTo>
                      <a:pt x="1008" y="154"/>
                    </a:lnTo>
                    <a:lnTo>
                      <a:pt x="1010" y="156"/>
                    </a:lnTo>
                    <a:lnTo>
                      <a:pt x="1010" y="158"/>
                    </a:lnTo>
                    <a:lnTo>
                      <a:pt x="1012" y="162"/>
                    </a:lnTo>
                    <a:lnTo>
                      <a:pt x="1014" y="166"/>
                    </a:lnTo>
                    <a:lnTo>
                      <a:pt x="1016" y="172"/>
                    </a:lnTo>
                    <a:lnTo>
                      <a:pt x="1018" y="176"/>
                    </a:lnTo>
                    <a:lnTo>
                      <a:pt x="1020" y="180"/>
                    </a:lnTo>
                    <a:lnTo>
                      <a:pt x="1022" y="184"/>
                    </a:lnTo>
                    <a:lnTo>
                      <a:pt x="1022" y="184"/>
                    </a:lnTo>
                    <a:lnTo>
                      <a:pt x="1022" y="186"/>
                    </a:lnTo>
                    <a:lnTo>
                      <a:pt x="1022" y="188"/>
                    </a:lnTo>
                    <a:lnTo>
                      <a:pt x="1022" y="188"/>
                    </a:lnTo>
                    <a:lnTo>
                      <a:pt x="1020" y="190"/>
                    </a:lnTo>
                    <a:lnTo>
                      <a:pt x="1020" y="188"/>
                    </a:lnTo>
                    <a:lnTo>
                      <a:pt x="1018" y="190"/>
                    </a:lnTo>
                    <a:lnTo>
                      <a:pt x="1016" y="192"/>
                    </a:lnTo>
                    <a:lnTo>
                      <a:pt x="1014" y="192"/>
                    </a:lnTo>
                    <a:lnTo>
                      <a:pt x="1008" y="194"/>
                    </a:lnTo>
                    <a:lnTo>
                      <a:pt x="1004" y="196"/>
                    </a:lnTo>
                    <a:lnTo>
                      <a:pt x="1002" y="196"/>
                    </a:lnTo>
                    <a:lnTo>
                      <a:pt x="996" y="198"/>
                    </a:lnTo>
                    <a:lnTo>
                      <a:pt x="990" y="198"/>
                    </a:lnTo>
                    <a:lnTo>
                      <a:pt x="984" y="200"/>
                    </a:lnTo>
                    <a:lnTo>
                      <a:pt x="978" y="202"/>
                    </a:lnTo>
                    <a:lnTo>
                      <a:pt x="972" y="204"/>
                    </a:lnTo>
                    <a:lnTo>
                      <a:pt x="968" y="206"/>
                    </a:lnTo>
                    <a:lnTo>
                      <a:pt x="964" y="208"/>
                    </a:lnTo>
                    <a:lnTo>
                      <a:pt x="962" y="208"/>
                    </a:lnTo>
                    <a:lnTo>
                      <a:pt x="960" y="208"/>
                    </a:lnTo>
                    <a:lnTo>
                      <a:pt x="956" y="208"/>
                    </a:lnTo>
                    <a:lnTo>
                      <a:pt x="952" y="208"/>
                    </a:lnTo>
                    <a:lnTo>
                      <a:pt x="944" y="208"/>
                    </a:lnTo>
                    <a:lnTo>
                      <a:pt x="940" y="208"/>
                    </a:lnTo>
                    <a:lnTo>
                      <a:pt x="936" y="208"/>
                    </a:lnTo>
                    <a:lnTo>
                      <a:pt x="932" y="208"/>
                    </a:lnTo>
                    <a:lnTo>
                      <a:pt x="928" y="208"/>
                    </a:lnTo>
                    <a:lnTo>
                      <a:pt x="928" y="208"/>
                    </a:lnTo>
                    <a:lnTo>
                      <a:pt x="928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4" y="210"/>
                    </a:lnTo>
                    <a:lnTo>
                      <a:pt x="924" y="212"/>
                    </a:lnTo>
                    <a:lnTo>
                      <a:pt x="924" y="212"/>
                    </a:lnTo>
                    <a:lnTo>
                      <a:pt x="922" y="212"/>
                    </a:lnTo>
                    <a:lnTo>
                      <a:pt x="920" y="216"/>
                    </a:lnTo>
                    <a:lnTo>
                      <a:pt x="920" y="216"/>
                    </a:lnTo>
                    <a:lnTo>
                      <a:pt x="920" y="216"/>
                    </a:lnTo>
                    <a:lnTo>
                      <a:pt x="918" y="220"/>
                    </a:lnTo>
                    <a:lnTo>
                      <a:pt x="918" y="220"/>
                    </a:lnTo>
                    <a:lnTo>
                      <a:pt x="918" y="220"/>
                    </a:lnTo>
                    <a:lnTo>
                      <a:pt x="918" y="224"/>
                    </a:lnTo>
                    <a:lnTo>
                      <a:pt x="918" y="224"/>
                    </a:lnTo>
                    <a:lnTo>
                      <a:pt x="918" y="226"/>
                    </a:lnTo>
                    <a:lnTo>
                      <a:pt x="918" y="226"/>
                    </a:lnTo>
                    <a:lnTo>
                      <a:pt x="918" y="226"/>
                    </a:lnTo>
                    <a:lnTo>
                      <a:pt x="920" y="228"/>
                    </a:lnTo>
                    <a:lnTo>
                      <a:pt x="920" y="228"/>
                    </a:lnTo>
                    <a:lnTo>
                      <a:pt x="920" y="228"/>
                    </a:lnTo>
                    <a:lnTo>
                      <a:pt x="922" y="232"/>
                    </a:lnTo>
                    <a:lnTo>
                      <a:pt x="924" y="234"/>
                    </a:lnTo>
                    <a:lnTo>
                      <a:pt x="924" y="234"/>
                    </a:lnTo>
                    <a:lnTo>
                      <a:pt x="926" y="234"/>
                    </a:lnTo>
                    <a:lnTo>
                      <a:pt x="926" y="236"/>
                    </a:lnTo>
                    <a:lnTo>
                      <a:pt x="926" y="236"/>
                    </a:lnTo>
                    <a:lnTo>
                      <a:pt x="926" y="238"/>
                    </a:lnTo>
                    <a:lnTo>
                      <a:pt x="926" y="236"/>
                    </a:lnTo>
                    <a:lnTo>
                      <a:pt x="926" y="240"/>
                    </a:lnTo>
                    <a:lnTo>
                      <a:pt x="924" y="244"/>
                    </a:lnTo>
                    <a:lnTo>
                      <a:pt x="924" y="248"/>
                    </a:lnTo>
                    <a:lnTo>
                      <a:pt x="924" y="252"/>
                    </a:lnTo>
                    <a:lnTo>
                      <a:pt x="924" y="256"/>
                    </a:lnTo>
                    <a:lnTo>
                      <a:pt x="924" y="260"/>
                    </a:lnTo>
                    <a:lnTo>
                      <a:pt x="924" y="262"/>
                    </a:lnTo>
                    <a:lnTo>
                      <a:pt x="924" y="262"/>
                    </a:lnTo>
                    <a:lnTo>
                      <a:pt x="924" y="262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8" y="268"/>
                    </a:lnTo>
                    <a:lnTo>
                      <a:pt x="928" y="268"/>
                    </a:lnTo>
                    <a:lnTo>
                      <a:pt x="930" y="268"/>
                    </a:lnTo>
                    <a:lnTo>
                      <a:pt x="932" y="270"/>
                    </a:lnTo>
                    <a:lnTo>
                      <a:pt x="934" y="272"/>
                    </a:lnTo>
                    <a:lnTo>
                      <a:pt x="938" y="272"/>
                    </a:lnTo>
                    <a:lnTo>
                      <a:pt x="940" y="274"/>
                    </a:lnTo>
                    <a:lnTo>
                      <a:pt x="944" y="274"/>
                    </a:lnTo>
                    <a:lnTo>
                      <a:pt x="946" y="274"/>
                    </a:lnTo>
                    <a:lnTo>
                      <a:pt x="946" y="276"/>
                    </a:lnTo>
                    <a:lnTo>
                      <a:pt x="946" y="276"/>
                    </a:lnTo>
                    <a:lnTo>
                      <a:pt x="948" y="278"/>
                    </a:lnTo>
                    <a:lnTo>
                      <a:pt x="948" y="278"/>
                    </a:lnTo>
                    <a:lnTo>
                      <a:pt x="948" y="282"/>
                    </a:lnTo>
                    <a:lnTo>
                      <a:pt x="948" y="282"/>
                    </a:lnTo>
                    <a:lnTo>
                      <a:pt x="948" y="282"/>
                    </a:lnTo>
                    <a:lnTo>
                      <a:pt x="948" y="284"/>
                    </a:lnTo>
                    <a:lnTo>
                      <a:pt x="948" y="284"/>
                    </a:lnTo>
                    <a:lnTo>
                      <a:pt x="948" y="284"/>
                    </a:lnTo>
                    <a:lnTo>
                      <a:pt x="948" y="288"/>
                    </a:lnTo>
                    <a:lnTo>
                      <a:pt x="948" y="288"/>
                    </a:lnTo>
                    <a:lnTo>
                      <a:pt x="950" y="288"/>
                    </a:lnTo>
                    <a:lnTo>
                      <a:pt x="952" y="290"/>
                    </a:lnTo>
                    <a:lnTo>
                      <a:pt x="954" y="292"/>
                    </a:lnTo>
                    <a:lnTo>
                      <a:pt x="954" y="292"/>
                    </a:lnTo>
                    <a:lnTo>
                      <a:pt x="954" y="292"/>
                    </a:lnTo>
                    <a:lnTo>
                      <a:pt x="956" y="294"/>
                    </a:lnTo>
                    <a:lnTo>
                      <a:pt x="956" y="294"/>
                    </a:lnTo>
                    <a:lnTo>
                      <a:pt x="956" y="296"/>
                    </a:lnTo>
                    <a:lnTo>
                      <a:pt x="958" y="296"/>
                    </a:lnTo>
                    <a:lnTo>
                      <a:pt x="958" y="296"/>
                    </a:lnTo>
                    <a:lnTo>
                      <a:pt x="956" y="298"/>
                    </a:lnTo>
                    <a:lnTo>
                      <a:pt x="954" y="298"/>
                    </a:lnTo>
                    <a:lnTo>
                      <a:pt x="948" y="300"/>
                    </a:lnTo>
                    <a:lnTo>
                      <a:pt x="946" y="302"/>
                    </a:lnTo>
                    <a:lnTo>
                      <a:pt x="944" y="302"/>
                    </a:lnTo>
                    <a:lnTo>
                      <a:pt x="944" y="302"/>
                    </a:lnTo>
                    <a:lnTo>
                      <a:pt x="944" y="302"/>
                    </a:lnTo>
                    <a:lnTo>
                      <a:pt x="942" y="300"/>
                    </a:lnTo>
                    <a:lnTo>
                      <a:pt x="940" y="298"/>
                    </a:lnTo>
                    <a:lnTo>
                      <a:pt x="938" y="296"/>
                    </a:lnTo>
                    <a:lnTo>
                      <a:pt x="936" y="296"/>
                    </a:lnTo>
                    <a:lnTo>
                      <a:pt x="934" y="294"/>
                    </a:lnTo>
                    <a:lnTo>
                      <a:pt x="932" y="292"/>
                    </a:lnTo>
                    <a:lnTo>
                      <a:pt x="928" y="288"/>
                    </a:lnTo>
                    <a:lnTo>
                      <a:pt x="926" y="284"/>
                    </a:lnTo>
                    <a:lnTo>
                      <a:pt x="922" y="282"/>
                    </a:lnTo>
                    <a:lnTo>
                      <a:pt x="918" y="278"/>
                    </a:lnTo>
                    <a:lnTo>
                      <a:pt x="914" y="274"/>
                    </a:lnTo>
                    <a:lnTo>
                      <a:pt x="910" y="272"/>
                    </a:lnTo>
                    <a:lnTo>
                      <a:pt x="908" y="270"/>
                    </a:lnTo>
                    <a:lnTo>
                      <a:pt x="904" y="268"/>
                    </a:lnTo>
                    <a:lnTo>
                      <a:pt x="902" y="266"/>
                    </a:lnTo>
                    <a:lnTo>
                      <a:pt x="900" y="266"/>
                    </a:lnTo>
                    <a:lnTo>
                      <a:pt x="900" y="266"/>
                    </a:lnTo>
                    <a:lnTo>
                      <a:pt x="900" y="266"/>
                    </a:lnTo>
                    <a:lnTo>
                      <a:pt x="898" y="264"/>
                    </a:lnTo>
                    <a:lnTo>
                      <a:pt x="896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0" y="262"/>
                    </a:lnTo>
                    <a:lnTo>
                      <a:pt x="888" y="260"/>
                    </a:lnTo>
                    <a:lnTo>
                      <a:pt x="886" y="258"/>
                    </a:lnTo>
                    <a:lnTo>
                      <a:pt x="886" y="258"/>
                    </a:lnTo>
                    <a:lnTo>
                      <a:pt x="886" y="258"/>
                    </a:lnTo>
                    <a:lnTo>
                      <a:pt x="884" y="258"/>
                    </a:lnTo>
                    <a:lnTo>
                      <a:pt x="884" y="256"/>
                    </a:lnTo>
                    <a:lnTo>
                      <a:pt x="884" y="256"/>
                    </a:lnTo>
                    <a:lnTo>
                      <a:pt x="882" y="256"/>
                    </a:lnTo>
                    <a:lnTo>
                      <a:pt x="882" y="256"/>
                    </a:lnTo>
                    <a:lnTo>
                      <a:pt x="882" y="256"/>
                    </a:lnTo>
                    <a:lnTo>
                      <a:pt x="880" y="256"/>
                    </a:lnTo>
                    <a:lnTo>
                      <a:pt x="878" y="256"/>
                    </a:lnTo>
                    <a:lnTo>
                      <a:pt x="878" y="256"/>
                    </a:lnTo>
                    <a:lnTo>
                      <a:pt x="878" y="256"/>
                    </a:lnTo>
                    <a:lnTo>
                      <a:pt x="876" y="258"/>
                    </a:lnTo>
                    <a:lnTo>
                      <a:pt x="874" y="258"/>
                    </a:lnTo>
                    <a:lnTo>
                      <a:pt x="872" y="260"/>
                    </a:lnTo>
                    <a:lnTo>
                      <a:pt x="870" y="262"/>
                    </a:lnTo>
                    <a:lnTo>
                      <a:pt x="868" y="264"/>
                    </a:lnTo>
                    <a:lnTo>
                      <a:pt x="866" y="266"/>
                    </a:lnTo>
                    <a:lnTo>
                      <a:pt x="866" y="266"/>
                    </a:lnTo>
                    <a:lnTo>
                      <a:pt x="866" y="266"/>
                    </a:lnTo>
                    <a:lnTo>
                      <a:pt x="866" y="268"/>
                    </a:lnTo>
                    <a:lnTo>
                      <a:pt x="866" y="268"/>
                    </a:lnTo>
                    <a:lnTo>
                      <a:pt x="866" y="268"/>
                    </a:lnTo>
                    <a:lnTo>
                      <a:pt x="866" y="270"/>
                    </a:lnTo>
                    <a:lnTo>
                      <a:pt x="866" y="270"/>
                    </a:lnTo>
                    <a:lnTo>
                      <a:pt x="866" y="272"/>
                    </a:lnTo>
                    <a:lnTo>
                      <a:pt x="866" y="272"/>
                    </a:lnTo>
                    <a:lnTo>
                      <a:pt x="866" y="272"/>
                    </a:lnTo>
                    <a:lnTo>
                      <a:pt x="868" y="272"/>
                    </a:lnTo>
                    <a:lnTo>
                      <a:pt x="868" y="274"/>
                    </a:lnTo>
                    <a:lnTo>
                      <a:pt x="868" y="274"/>
                    </a:lnTo>
                    <a:lnTo>
                      <a:pt x="870" y="274"/>
                    </a:lnTo>
                    <a:lnTo>
                      <a:pt x="870" y="274"/>
                    </a:lnTo>
                    <a:lnTo>
                      <a:pt x="874" y="276"/>
                    </a:lnTo>
                    <a:lnTo>
                      <a:pt x="876" y="276"/>
                    </a:lnTo>
                    <a:lnTo>
                      <a:pt x="876" y="278"/>
                    </a:lnTo>
                    <a:lnTo>
                      <a:pt x="878" y="278"/>
                    </a:lnTo>
                    <a:lnTo>
                      <a:pt x="880" y="280"/>
                    </a:lnTo>
                    <a:lnTo>
                      <a:pt x="882" y="284"/>
                    </a:lnTo>
                    <a:lnTo>
                      <a:pt x="882" y="284"/>
                    </a:lnTo>
                    <a:lnTo>
                      <a:pt x="882" y="286"/>
                    </a:lnTo>
                    <a:lnTo>
                      <a:pt x="882" y="286"/>
                    </a:lnTo>
                    <a:lnTo>
                      <a:pt x="882" y="286"/>
                    </a:lnTo>
                    <a:lnTo>
                      <a:pt x="882" y="290"/>
                    </a:lnTo>
                    <a:lnTo>
                      <a:pt x="882" y="290"/>
                    </a:lnTo>
                    <a:lnTo>
                      <a:pt x="882" y="292"/>
                    </a:lnTo>
                    <a:lnTo>
                      <a:pt x="882" y="292"/>
                    </a:lnTo>
                    <a:lnTo>
                      <a:pt x="880" y="292"/>
                    </a:lnTo>
                    <a:lnTo>
                      <a:pt x="878" y="290"/>
                    </a:lnTo>
                    <a:lnTo>
                      <a:pt x="878" y="288"/>
                    </a:lnTo>
                    <a:lnTo>
                      <a:pt x="874" y="286"/>
                    </a:lnTo>
                    <a:lnTo>
                      <a:pt x="872" y="284"/>
                    </a:lnTo>
                    <a:lnTo>
                      <a:pt x="870" y="282"/>
                    </a:lnTo>
                    <a:lnTo>
                      <a:pt x="870" y="282"/>
                    </a:lnTo>
                    <a:lnTo>
                      <a:pt x="870" y="282"/>
                    </a:lnTo>
                    <a:lnTo>
                      <a:pt x="868" y="280"/>
                    </a:lnTo>
                    <a:lnTo>
                      <a:pt x="868" y="280"/>
                    </a:lnTo>
                    <a:lnTo>
                      <a:pt x="868" y="280"/>
                    </a:lnTo>
                    <a:lnTo>
                      <a:pt x="866" y="280"/>
                    </a:lnTo>
                    <a:lnTo>
                      <a:pt x="866" y="280"/>
                    </a:lnTo>
                    <a:lnTo>
                      <a:pt x="866" y="280"/>
                    </a:lnTo>
                    <a:lnTo>
                      <a:pt x="864" y="282"/>
                    </a:lnTo>
                    <a:lnTo>
                      <a:pt x="864" y="282"/>
                    </a:lnTo>
                    <a:lnTo>
                      <a:pt x="864" y="282"/>
                    </a:lnTo>
                    <a:lnTo>
                      <a:pt x="862" y="282"/>
                    </a:lnTo>
                    <a:lnTo>
                      <a:pt x="862" y="282"/>
                    </a:lnTo>
                    <a:lnTo>
                      <a:pt x="862" y="282"/>
                    </a:lnTo>
                    <a:lnTo>
                      <a:pt x="860" y="284"/>
                    </a:lnTo>
                    <a:lnTo>
                      <a:pt x="860" y="284"/>
                    </a:lnTo>
                    <a:lnTo>
                      <a:pt x="858" y="286"/>
                    </a:lnTo>
                    <a:lnTo>
                      <a:pt x="858" y="286"/>
                    </a:lnTo>
                    <a:lnTo>
                      <a:pt x="858" y="288"/>
                    </a:lnTo>
                    <a:lnTo>
                      <a:pt x="856" y="290"/>
                    </a:lnTo>
                    <a:lnTo>
                      <a:pt x="856" y="290"/>
                    </a:lnTo>
                    <a:lnTo>
                      <a:pt x="856" y="288"/>
                    </a:lnTo>
                    <a:lnTo>
                      <a:pt x="856" y="286"/>
                    </a:lnTo>
                    <a:lnTo>
                      <a:pt x="856" y="282"/>
                    </a:lnTo>
                    <a:lnTo>
                      <a:pt x="856" y="278"/>
                    </a:lnTo>
                    <a:lnTo>
                      <a:pt x="856" y="274"/>
                    </a:lnTo>
                    <a:lnTo>
                      <a:pt x="856" y="268"/>
                    </a:lnTo>
                    <a:lnTo>
                      <a:pt x="854" y="264"/>
                    </a:lnTo>
                    <a:lnTo>
                      <a:pt x="854" y="260"/>
                    </a:lnTo>
                    <a:lnTo>
                      <a:pt x="854" y="256"/>
                    </a:lnTo>
                    <a:lnTo>
                      <a:pt x="852" y="252"/>
                    </a:lnTo>
                    <a:lnTo>
                      <a:pt x="850" y="250"/>
                    </a:lnTo>
                    <a:lnTo>
                      <a:pt x="848" y="244"/>
                    </a:lnTo>
                    <a:lnTo>
                      <a:pt x="846" y="240"/>
                    </a:lnTo>
                    <a:lnTo>
                      <a:pt x="844" y="238"/>
                    </a:lnTo>
                    <a:lnTo>
                      <a:pt x="842" y="236"/>
                    </a:lnTo>
                    <a:lnTo>
                      <a:pt x="840" y="236"/>
                    </a:lnTo>
                    <a:lnTo>
                      <a:pt x="840" y="236"/>
                    </a:lnTo>
                    <a:lnTo>
                      <a:pt x="840" y="234"/>
                    </a:lnTo>
                    <a:lnTo>
                      <a:pt x="838" y="234"/>
                    </a:lnTo>
                    <a:lnTo>
                      <a:pt x="838" y="234"/>
                    </a:lnTo>
                    <a:lnTo>
                      <a:pt x="836" y="234"/>
                    </a:lnTo>
                    <a:lnTo>
                      <a:pt x="836" y="234"/>
                    </a:lnTo>
                    <a:lnTo>
                      <a:pt x="836" y="234"/>
                    </a:lnTo>
                    <a:lnTo>
                      <a:pt x="834" y="236"/>
                    </a:lnTo>
                    <a:lnTo>
                      <a:pt x="834" y="236"/>
                    </a:lnTo>
                    <a:lnTo>
                      <a:pt x="834" y="236"/>
                    </a:lnTo>
                    <a:lnTo>
                      <a:pt x="832" y="236"/>
                    </a:lnTo>
                    <a:lnTo>
                      <a:pt x="832" y="238"/>
                    </a:lnTo>
                    <a:lnTo>
                      <a:pt x="832" y="238"/>
                    </a:lnTo>
                    <a:lnTo>
                      <a:pt x="832" y="238"/>
                    </a:lnTo>
                    <a:lnTo>
                      <a:pt x="830" y="242"/>
                    </a:lnTo>
                    <a:lnTo>
                      <a:pt x="830" y="242"/>
                    </a:lnTo>
                    <a:lnTo>
                      <a:pt x="830" y="242"/>
                    </a:lnTo>
                    <a:lnTo>
                      <a:pt x="830" y="244"/>
                    </a:lnTo>
                    <a:lnTo>
                      <a:pt x="830" y="244"/>
                    </a:lnTo>
                    <a:lnTo>
                      <a:pt x="830" y="246"/>
                    </a:lnTo>
                    <a:lnTo>
                      <a:pt x="830" y="246"/>
                    </a:lnTo>
                    <a:lnTo>
                      <a:pt x="830" y="246"/>
                    </a:lnTo>
                    <a:lnTo>
                      <a:pt x="830" y="248"/>
                    </a:lnTo>
                    <a:lnTo>
                      <a:pt x="830" y="250"/>
                    </a:lnTo>
                    <a:lnTo>
                      <a:pt x="830" y="250"/>
                    </a:lnTo>
                    <a:lnTo>
                      <a:pt x="832" y="250"/>
                    </a:lnTo>
                    <a:lnTo>
                      <a:pt x="834" y="252"/>
                    </a:lnTo>
                    <a:lnTo>
                      <a:pt x="836" y="254"/>
                    </a:lnTo>
                    <a:lnTo>
                      <a:pt x="838" y="256"/>
                    </a:lnTo>
                    <a:lnTo>
                      <a:pt x="840" y="256"/>
                    </a:lnTo>
                    <a:lnTo>
                      <a:pt x="842" y="258"/>
                    </a:lnTo>
                    <a:lnTo>
                      <a:pt x="842" y="258"/>
                    </a:lnTo>
                    <a:lnTo>
                      <a:pt x="844" y="260"/>
                    </a:lnTo>
                    <a:lnTo>
                      <a:pt x="844" y="262"/>
                    </a:lnTo>
                    <a:lnTo>
                      <a:pt x="844" y="264"/>
                    </a:lnTo>
                    <a:lnTo>
                      <a:pt x="844" y="266"/>
                    </a:lnTo>
                    <a:lnTo>
                      <a:pt x="842" y="270"/>
                    </a:lnTo>
                    <a:lnTo>
                      <a:pt x="840" y="274"/>
                    </a:lnTo>
                    <a:lnTo>
                      <a:pt x="836" y="280"/>
                    </a:lnTo>
                    <a:lnTo>
                      <a:pt x="834" y="282"/>
                    </a:lnTo>
                    <a:lnTo>
                      <a:pt x="834" y="284"/>
                    </a:lnTo>
                    <a:lnTo>
                      <a:pt x="832" y="286"/>
                    </a:lnTo>
                    <a:lnTo>
                      <a:pt x="832" y="286"/>
                    </a:lnTo>
                    <a:lnTo>
                      <a:pt x="830" y="286"/>
                    </a:lnTo>
                    <a:lnTo>
                      <a:pt x="828" y="286"/>
                    </a:lnTo>
                    <a:lnTo>
                      <a:pt x="828" y="286"/>
                    </a:lnTo>
                    <a:lnTo>
                      <a:pt x="828" y="286"/>
                    </a:lnTo>
                    <a:lnTo>
                      <a:pt x="826" y="286"/>
                    </a:lnTo>
                    <a:lnTo>
                      <a:pt x="826" y="286"/>
                    </a:lnTo>
                    <a:lnTo>
                      <a:pt x="824" y="288"/>
                    </a:lnTo>
                    <a:lnTo>
                      <a:pt x="824" y="288"/>
                    </a:lnTo>
                    <a:lnTo>
                      <a:pt x="824" y="288"/>
                    </a:lnTo>
                    <a:lnTo>
                      <a:pt x="822" y="290"/>
                    </a:lnTo>
                    <a:lnTo>
                      <a:pt x="822" y="290"/>
                    </a:lnTo>
                    <a:lnTo>
                      <a:pt x="820" y="292"/>
                    </a:lnTo>
                    <a:lnTo>
                      <a:pt x="820" y="292"/>
                    </a:lnTo>
                    <a:lnTo>
                      <a:pt x="820" y="292"/>
                    </a:lnTo>
                    <a:lnTo>
                      <a:pt x="820" y="294"/>
                    </a:lnTo>
                    <a:lnTo>
                      <a:pt x="820" y="298"/>
                    </a:lnTo>
                    <a:lnTo>
                      <a:pt x="820" y="300"/>
                    </a:lnTo>
                    <a:lnTo>
                      <a:pt x="820" y="304"/>
                    </a:lnTo>
                    <a:lnTo>
                      <a:pt x="818" y="308"/>
                    </a:lnTo>
                    <a:lnTo>
                      <a:pt x="818" y="318"/>
                    </a:lnTo>
                    <a:lnTo>
                      <a:pt x="820" y="324"/>
                    </a:lnTo>
                    <a:lnTo>
                      <a:pt x="820" y="334"/>
                    </a:lnTo>
                    <a:lnTo>
                      <a:pt x="820" y="346"/>
                    </a:lnTo>
                    <a:lnTo>
                      <a:pt x="820" y="356"/>
                    </a:lnTo>
                    <a:lnTo>
                      <a:pt x="820" y="360"/>
                    </a:lnTo>
                    <a:lnTo>
                      <a:pt x="820" y="364"/>
                    </a:lnTo>
                    <a:lnTo>
                      <a:pt x="820" y="370"/>
                    </a:lnTo>
                    <a:lnTo>
                      <a:pt x="820" y="372"/>
                    </a:lnTo>
                    <a:lnTo>
                      <a:pt x="820" y="378"/>
                    </a:lnTo>
                    <a:lnTo>
                      <a:pt x="820" y="382"/>
                    </a:lnTo>
                    <a:lnTo>
                      <a:pt x="820" y="386"/>
                    </a:lnTo>
                    <a:lnTo>
                      <a:pt x="820" y="390"/>
                    </a:lnTo>
                    <a:lnTo>
                      <a:pt x="818" y="392"/>
                    </a:lnTo>
                    <a:lnTo>
                      <a:pt x="818" y="394"/>
                    </a:lnTo>
                    <a:lnTo>
                      <a:pt x="818" y="396"/>
                    </a:lnTo>
                    <a:lnTo>
                      <a:pt x="818" y="400"/>
                    </a:lnTo>
                    <a:lnTo>
                      <a:pt x="818" y="404"/>
                    </a:lnTo>
                    <a:lnTo>
                      <a:pt x="816" y="410"/>
                    </a:lnTo>
                    <a:lnTo>
                      <a:pt x="818" y="412"/>
                    </a:lnTo>
                    <a:lnTo>
                      <a:pt x="818" y="412"/>
                    </a:lnTo>
                    <a:lnTo>
                      <a:pt x="818" y="414"/>
                    </a:lnTo>
                    <a:lnTo>
                      <a:pt x="818" y="416"/>
                    </a:lnTo>
                    <a:lnTo>
                      <a:pt x="818" y="416"/>
                    </a:lnTo>
                    <a:lnTo>
                      <a:pt x="818" y="416"/>
                    </a:lnTo>
                    <a:lnTo>
                      <a:pt x="820" y="418"/>
                    </a:lnTo>
                    <a:lnTo>
                      <a:pt x="820" y="418"/>
                    </a:lnTo>
                    <a:lnTo>
                      <a:pt x="820" y="418"/>
                    </a:lnTo>
                    <a:lnTo>
                      <a:pt x="822" y="420"/>
                    </a:lnTo>
                    <a:lnTo>
                      <a:pt x="822" y="420"/>
                    </a:lnTo>
                    <a:lnTo>
                      <a:pt x="824" y="420"/>
                    </a:lnTo>
                    <a:lnTo>
                      <a:pt x="826" y="420"/>
                    </a:lnTo>
                    <a:lnTo>
                      <a:pt x="826" y="420"/>
                    </a:lnTo>
                    <a:lnTo>
                      <a:pt x="826" y="420"/>
                    </a:lnTo>
                    <a:lnTo>
                      <a:pt x="830" y="420"/>
                    </a:lnTo>
                    <a:lnTo>
                      <a:pt x="836" y="420"/>
                    </a:lnTo>
                    <a:lnTo>
                      <a:pt x="834" y="422"/>
                    </a:lnTo>
                    <a:lnTo>
                      <a:pt x="832" y="426"/>
                    </a:lnTo>
                    <a:lnTo>
                      <a:pt x="830" y="430"/>
                    </a:lnTo>
                    <a:lnTo>
                      <a:pt x="828" y="434"/>
                    </a:lnTo>
                    <a:lnTo>
                      <a:pt x="828" y="438"/>
                    </a:lnTo>
                    <a:lnTo>
                      <a:pt x="826" y="442"/>
                    </a:lnTo>
                    <a:lnTo>
                      <a:pt x="826" y="444"/>
                    </a:lnTo>
                    <a:lnTo>
                      <a:pt x="826" y="444"/>
                    </a:lnTo>
                    <a:lnTo>
                      <a:pt x="826" y="446"/>
                    </a:lnTo>
                    <a:lnTo>
                      <a:pt x="826" y="446"/>
                    </a:lnTo>
                    <a:lnTo>
                      <a:pt x="826" y="448"/>
                    </a:lnTo>
                    <a:lnTo>
                      <a:pt x="828" y="450"/>
                    </a:lnTo>
                    <a:lnTo>
                      <a:pt x="828" y="450"/>
                    </a:lnTo>
                    <a:lnTo>
                      <a:pt x="828" y="450"/>
                    </a:lnTo>
                    <a:lnTo>
                      <a:pt x="828" y="452"/>
                    </a:lnTo>
                    <a:lnTo>
                      <a:pt x="828" y="454"/>
                    </a:lnTo>
                    <a:lnTo>
                      <a:pt x="828" y="454"/>
                    </a:lnTo>
                    <a:lnTo>
                      <a:pt x="828" y="456"/>
                    </a:lnTo>
                    <a:lnTo>
                      <a:pt x="828" y="460"/>
                    </a:lnTo>
                    <a:lnTo>
                      <a:pt x="828" y="462"/>
                    </a:lnTo>
                    <a:lnTo>
                      <a:pt x="828" y="466"/>
                    </a:lnTo>
                    <a:lnTo>
                      <a:pt x="828" y="470"/>
                    </a:lnTo>
                    <a:lnTo>
                      <a:pt x="826" y="476"/>
                    </a:lnTo>
                    <a:lnTo>
                      <a:pt x="826" y="482"/>
                    </a:lnTo>
                    <a:lnTo>
                      <a:pt x="824" y="486"/>
                    </a:lnTo>
                    <a:lnTo>
                      <a:pt x="824" y="488"/>
                    </a:lnTo>
                    <a:lnTo>
                      <a:pt x="822" y="490"/>
                    </a:lnTo>
                    <a:lnTo>
                      <a:pt x="820" y="492"/>
                    </a:lnTo>
                    <a:lnTo>
                      <a:pt x="820" y="492"/>
                    </a:lnTo>
                    <a:lnTo>
                      <a:pt x="818" y="494"/>
                    </a:lnTo>
                    <a:lnTo>
                      <a:pt x="818" y="494"/>
                    </a:lnTo>
                    <a:lnTo>
                      <a:pt x="816" y="496"/>
                    </a:lnTo>
                    <a:lnTo>
                      <a:pt x="814" y="496"/>
                    </a:lnTo>
                    <a:lnTo>
                      <a:pt x="812" y="498"/>
                    </a:lnTo>
                    <a:lnTo>
                      <a:pt x="806" y="500"/>
                    </a:lnTo>
                    <a:lnTo>
                      <a:pt x="802" y="502"/>
                    </a:lnTo>
                    <a:lnTo>
                      <a:pt x="796" y="506"/>
                    </a:lnTo>
                    <a:lnTo>
                      <a:pt x="790" y="508"/>
                    </a:lnTo>
                    <a:lnTo>
                      <a:pt x="788" y="510"/>
                    </a:lnTo>
                    <a:lnTo>
                      <a:pt x="790" y="508"/>
                    </a:lnTo>
                    <a:lnTo>
                      <a:pt x="792" y="504"/>
                    </a:lnTo>
                    <a:lnTo>
                      <a:pt x="796" y="500"/>
                    </a:lnTo>
                    <a:lnTo>
                      <a:pt x="798" y="496"/>
                    </a:lnTo>
                    <a:lnTo>
                      <a:pt x="800" y="494"/>
                    </a:lnTo>
                    <a:lnTo>
                      <a:pt x="800" y="494"/>
                    </a:lnTo>
                    <a:lnTo>
                      <a:pt x="800" y="494"/>
                    </a:lnTo>
                    <a:lnTo>
                      <a:pt x="800" y="492"/>
                    </a:lnTo>
                    <a:lnTo>
                      <a:pt x="800" y="492"/>
                    </a:lnTo>
                    <a:lnTo>
                      <a:pt x="802" y="490"/>
                    </a:lnTo>
                    <a:lnTo>
                      <a:pt x="802" y="488"/>
                    </a:lnTo>
                    <a:lnTo>
                      <a:pt x="802" y="488"/>
                    </a:lnTo>
                    <a:lnTo>
                      <a:pt x="802" y="488"/>
                    </a:lnTo>
                    <a:lnTo>
                      <a:pt x="802" y="484"/>
                    </a:lnTo>
                    <a:lnTo>
                      <a:pt x="800" y="480"/>
                    </a:lnTo>
                    <a:lnTo>
                      <a:pt x="800" y="476"/>
                    </a:lnTo>
                    <a:lnTo>
                      <a:pt x="800" y="472"/>
                    </a:lnTo>
                    <a:lnTo>
                      <a:pt x="800" y="470"/>
                    </a:lnTo>
                    <a:lnTo>
                      <a:pt x="800" y="470"/>
                    </a:lnTo>
                    <a:lnTo>
                      <a:pt x="800" y="468"/>
                    </a:lnTo>
                    <a:lnTo>
                      <a:pt x="800" y="466"/>
                    </a:lnTo>
                    <a:lnTo>
                      <a:pt x="800" y="462"/>
                    </a:lnTo>
                    <a:lnTo>
                      <a:pt x="800" y="458"/>
                    </a:lnTo>
                    <a:lnTo>
                      <a:pt x="800" y="454"/>
                    </a:lnTo>
                    <a:lnTo>
                      <a:pt x="800" y="452"/>
                    </a:lnTo>
                    <a:lnTo>
                      <a:pt x="800" y="448"/>
                    </a:lnTo>
                    <a:lnTo>
                      <a:pt x="800" y="442"/>
                    </a:lnTo>
                    <a:lnTo>
                      <a:pt x="800" y="436"/>
                    </a:lnTo>
                    <a:lnTo>
                      <a:pt x="800" y="430"/>
                    </a:lnTo>
                    <a:lnTo>
                      <a:pt x="800" y="424"/>
                    </a:lnTo>
                    <a:lnTo>
                      <a:pt x="802" y="418"/>
                    </a:lnTo>
                    <a:lnTo>
                      <a:pt x="802" y="402"/>
                    </a:lnTo>
                    <a:lnTo>
                      <a:pt x="802" y="388"/>
                    </a:lnTo>
                    <a:lnTo>
                      <a:pt x="804" y="382"/>
                    </a:lnTo>
                    <a:lnTo>
                      <a:pt x="804" y="376"/>
                    </a:lnTo>
                    <a:lnTo>
                      <a:pt x="804" y="370"/>
                    </a:lnTo>
                    <a:lnTo>
                      <a:pt x="804" y="364"/>
                    </a:lnTo>
                    <a:lnTo>
                      <a:pt x="804" y="360"/>
                    </a:lnTo>
                    <a:lnTo>
                      <a:pt x="804" y="354"/>
                    </a:lnTo>
                    <a:lnTo>
                      <a:pt x="804" y="352"/>
                    </a:lnTo>
                    <a:lnTo>
                      <a:pt x="804" y="350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2"/>
                    </a:lnTo>
                    <a:lnTo>
                      <a:pt x="802" y="338"/>
                    </a:lnTo>
                    <a:lnTo>
                      <a:pt x="802" y="332"/>
                    </a:lnTo>
                    <a:lnTo>
                      <a:pt x="802" y="326"/>
                    </a:lnTo>
                    <a:lnTo>
                      <a:pt x="802" y="320"/>
                    </a:lnTo>
                    <a:lnTo>
                      <a:pt x="802" y="320"/>
                    </a:lnTo>
                    <a:lnTo>
                      <a:pt x="802" y="316"/>
                    </a:lnTo>
                    <a:lnTo>
                      <a:pt x="802" y="316"/>
                    </a:lnTo>
                    <a:lnTo>
                      <a:pt x="802" y="314"/>
                    </a:lnTo>
                    <a:lnTo>
                      <a:pt x="802" y="312"/>
                    </a:lnTo>
                    <a:lnTo>
                      <a:pt x="802" y="312"/>
                    </a:lnTo>
                    <a:lnTo>
                      <a:pt x="800" y="312"/>
                    </a:lnTo>
                    <a:lnTo>
                      <a:pt x="800" y="310"/>
                    </a:lnTo>
                    <a:lnTo>
                      <a:pt x="800" y="310"/>
                    </a:lnTo>
                    <a:lnTo>
                      <a:pt x="800" y="310"/>
                    </a:lnTo>
                    <a:lnTo>
                      <a:pt x="798" y="310"/>
                    </a:lnTo>
                    <a:lnTo>
                      <a:pt x="798" y="310"/>
                    </a:lnTo>
                    <a:lnTo>
                      <a:pt x="798" y="308"/>
                    </a:lnTo>
                    <a:lnTo>
                      <a:pt x="796" y="308"/>
                    </a:lnTo>
                    <a:lnTo>
                      <a:pt x="796" y="308"/>
                    </a:lnTo>
                    <a:lnTo>
                      <a:pt x="796" y="308"/>
                    </a:lnTo>
                    <a:lnTo>
                      <a:pt x="792" y="308"/>
                    </a:lnTo>
                    <a:lnTo>
                      <a:pt x="790" y="306"/>
                    </a:lnTo>
                    <a:lnTo>
                      <a:pt x="784" y="306"/>
                    </a:lnTo>
                    <a:lnTo>
                      <a:pt x="778" y="306"/>
                    </a:lnTo>
                    <a:lnTo>
                      <a:pt x="770" y="308"/>
                    </a:lnTo>
                    <a:lnTo>
                      <a:pt x="764" y="310"/>
                    </a:lnTo>
                    <a:lnTo>
                      <a:pt x="762" y="310"/>
                    </a:lnTo>
                    <a:lnTo>
                      <a:pt x="762" y="310"/>
                    </a:lnTo>
                    <a:lnTo>
                      <a:pt x="762" y="310"/>
                    </a:lnTo>
                    <a:lnTo>
                      <a:pt x="760" y="312"/>
                    </a:lnTo>
                    <a:lnTo>
                      <a:pt x="758" y="312"/>
                    </a:lnTo>
                    <a:lnTo>
                      <a:pt x="758" y="312"/>
                    </a:lnTo>
                    <a:lnTo>
                      <a:pt x="758" y="314"/>
                    </a:lnTo>
                    <a:lnTo>
                      <a:pt x="756" y="314"/>
                    </a:lnTo>
                    <a:lnTo>
                      <a:pt x="756" y="314"/>
                    </a:lnTo>
                    <a:lnTo>
                      <a:pt x="756" y="316"/>
                    </a:lnTo>
                    <a:lnTo>
                      <a:pt x="756" y="318"/>
                    </a:lnTo>
                    <a:lnTo>
                      <a:pt x="756" y="318"/>
                    </a:lnTo>
                    <a:lnTo>
                      <a:pt x="754" y="318"/>
                    </a:lnTo>
                    <a:lnTo>
                      <a:pt x="754" y="320"/>
                    </a:lnTo>
                    <a:lnTo>
                      <a:pt x="754" y="320"/>
                    </a:lnTo>
                    <a:lnTo>
                      <a:pt x="754" y="322"/>
                    </a:lnTo>
                    <a:lnTo>
                      <a:pt x="754" y="322"/>
                    </a:lnTo>
                    <a:lnTo>
                      <a:pt x="754" y="322"/>
                    </a:lnTo>
                    <a:lnTo>
                      <a:pt x="756" y="326"/>
                    </a:lnTo>
                    <a:lnTo>
                      <a:pt x="758" y="330"/>
                    </a:lnTo>
                    <a:lnTo>
                      <a:pt x="760" y="336"/>
                    </a:lnTo>
                    <a:lnTo>
                      <a:pt x="762" y="342"/>
                    </a:lnTo>
                    <a:lnTo>
                      <a:pt x="764" y="348"/>
                    </a:lnTo>
                    <a:lnTo>
                      <a:pt x="766" y="354"/>
                    </a:lnTo>
                    <a:lnTo>
                      <a:pt x="766" y="356"/>
                    </a:lnTo>
                    <a:lnTo>
                      <a:pt x="766" y="358"/>
                    </a:lnTo>
                    <a:lnTo>
                      <a:pt x="766" y="370"/>
                    </a:lnTo>
                    <a:lnTo>
                      <a:pt x="764" y="380"/>
                    </a:lnTo>
                    <a:lnTo>
                      <a:pt x="762" y="392"/>
                    </a:lnTo>
                    <a:lnTo>
                      <a:pt x="760" y="398"/>
                    </a:lnTo>
                    <a:lnTo>
                      <a:pt x="758" y="404"/>
                    </a:lnTo>
                    <a:lnTo>
                      <a:pt x="758" y="408"/>
                    </a:lnTo>
                    <a:lnTo>
                      <a:pt x="756" y="412"/>
                    </a:lnTo>
                    <a:lnTo>
                      <a:pt x="754" y="420"/>
                    </a:lnTo>
                    <a:lnTo>
                      <a:pt x="750" y="430"/>
                    </a:lnTo>
                    <a:lnTo>
                      <a:pt x="746" y="440"/>
                    </a:lnTo>
                    <a:lnTo>
                      <a:pt x="742" y="450"/>
                    </a:lnTo>
                    <a:lnTo>
                      <a:pt x="740" y="454"/>
                    </a:lnTo>
                    <a:lnTo>
                      <a:pt x="740" y="458"/>
                    </a:lnTo>
                    <a:lnTo>
                      <a:pt x="738" y="460"/>
                    </a:lnTo>
                    <a:lnTo>
                      <a:pt x="736" y="462"/>
                    </a:lnTo>
                    <a:lnTo>
                      <a:pt x="736" y="452"/>
                    </a:lnTo>
                    <a:lnTo>
                      <a:pt x="736" y="448"/>
                    </a:lnTo>
                    <a:lnTo>
                      <a:pt x="736" y="446"/>
                    </a:lnTo>
                    <a:lnTo>
                      <a:pt x="736" y="442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4" y="438"/>
                    </a:lnTo>
                    <a:lnTo>
                      <a:pt x="734" y="436"/>
                    </a:lnTo>
                    <a:lnTo>
                      <a:pt x="734" y="436"/>
                    </a:lnTo>
                    <a:lnTo>
                      <a:pt x="732" y="436"/>
                    </a:lnTo>
                    <a:lnTo>
                      <a:pt x="730" y="436"/>
                    </a:lnTo>
                    <a:lnTo>
                      <a:pt x="730" y="436"/>
                    </a:lnTo>
                    <a:lnTo>
                      <a:pt x="730" y="434"/>
                    </a:lnTo>
                    <a:lnTo>
                      <a:pt x="728" y="434"/>
                    </a:lnTo>
                    <a:lnTo>
                      <a:pt x="728" y="434"/>
                    </a:lnTo>
                    <a:lnTo>
                      <a:pt x="726" y="434"/>
                    </a:lnTo>
                    <a:lnTo>
                      <a:pt x="722" y="434"/>
                    </a:lnTo>
                    <a:lnTo>
                      <a:pt x="722" y="434"/>
                    </a:lnTo>
                    <a:lnTo>
                      <a:pt x="722" y="434"/>
                    </a:lnTo>
                    <a:lnTo>
                      <a:pt x="720" y="434"/>
                    </a:lnTo>
                    <a:lnTo>
                      <a:pt x="718" y="434"/>
                    </a:lnTo>
                    <a:lnTo>
                      <a:pt x="716" y="434"/>
                    </a:lnTo>
                    <a:lnTo>
                      <a:pt x="716" y="432"/>
                    </a:lnTo>
                    <a:lnTo>
                      <a:pt x="716" y="432"/>
                    </a:lnTo>
                    <a:lnTo>
                      <a:pt x="716" y="432"/>
                    </a:lnTo>
                    <a:lnTo>
                      <a:pt x="716" y="430"/>
                    </a:lnTo>
                    <a:lnTo>
                      <a:pt x="714" y="428"/>
                    </a:lnTo>
                    <a:lnTo>
                      <a:pt x="710" y="428"/>
                    </a:lnTo>
                    <a:lnTo>
                      <a:pt x="708" y="426"/>
                    </a:lnTo>
                    <a:lnTo>
                      <a:pt x="702" y="424"/>
                    </a:lnTo>
                    <a:lnTo>
                      <a:pt x="698" y="422"/>
                    </a:lnTo>
                    <a:lnTo>
                      <a:pt x="694" y="418"/>
                    </a:lnTo>
                    <a:lnTo>
                      <a:pt x="690" y="412"/>
                    </a:lnTo>
                    <a:lnTo>
                      <a:pt x="684" y="408"/>
                    </a:lnTo>
                    <a:lnTo>
                      <a:pt x="680" y="402"/>
                    </a:lnTo>
                    <a:lnTo>
                      <a:pt x="674" y="398"/>
                    </a:lnTo>
                    <a:lnTo>
                      <a:pt x="674" y="398"/>
                    </a:lnTo>
                    <a:lnTo>
                      <a:pt x="672" y="398"/>
                    </a:lnTo>
                    <a:lnTo>
                      <a:pt x="670" y="398"/>
                    </a:lnTo>
                    <a:lnTo>
                      <a:pt x="666" y="398"/>
                    </a:lnTo>
                    <a:lnTo>
                      <a:pt x="662" y="396"/>
                    </a:lnTo>
                    <a:lnTo>
                      <a:pt x="656" y="392"/>
                    </a:lnTo>
                    <a:lnTo>
                      <a:pt x="654" y="392"/>
                    </a:lnTo>
                    <a:lnTo>
                      <a:pt x="650" y="390"/>
                    </a:lnTo>
                    <a:lnTo>
                      <a:pt x="650" y="390"/>
                    </a:lnTo>
                    <a:lnTo>
                      <a:pt x="650" y="390"/>
                    </a:lnTo>
                    <a:lnTo>
                      <a:pt x="638" y="390"/>
                    </a:lnTo>
                    <a:lnTo>
                      <a:pt x="626" y="388"/>
                    </a:lnTo>
                    <a:lnTo>
                      <a:pt x="622" y="388"/>
                    </a:lnTo>
                    <a:lnTo>
                      <a:pt x="620" y="386"/>
                    </a:lnTo>
                    <a:lnTo>
                      <a:pt x="616" y="384"/>
                    </a:lnTo>
                    <a:lnTo>
                      <a:pt x="614" y="380"/>
                    </a:lnTo>
                    <a:lnTo>
                      <a:pt x="610" y="374"/>
                    </a:lnTo>
                    <a:lnTo>
                      <a:pt x="606" y="372"/>
                    </a:lnTo>
                    <a:lnTo>
                      <a:pt x="606" y="372"/>
                    </a:lnTo>
                    <a:lnTo>
                      <a:pt x="606" y="372"/>
                    </a:lnTo>
                    <a:lnTo>
                      <a:pt x="604" y="368"/>
                    </a:lnTo>
                    <a:lnTo>
                      <a:pt x="602" y="368"/>
                    </a:lnTo>
                    <a:lnTo>
                      <a:pt x="602" y="368"/>
                    </a:lnTo>
                    <a:lnTo>
                      <a:pt x="600" y="368"/>
                    </a:lnTo>
                    <a:lnTo>
                      <a:pt x="600" y="366"/>
                    </a:lnTo>
                    <a:lnTo>
                      <a:pt x="600" y="366"/>
                    </a:lnTo>
                    <a:lnTo>
                      <a:pt x="598" y="366"/>
                    </a:lnTo>
                    <a:lnTo>
                      <a:pt x="596" y="366"/>
                    </a:lnTo>
                    <a:lnTo>
                      <a:pt x="596" y="366"/>
                    </a:lnTo>
                    <a:lnTo>
                      <a:pt x="596" y="366"/>
                    </a:lnTo>
                    <a:lnTo>
                      <a:pt x="594" y="366"/>
                    </a:lnTo>
                    <a:lnTo>
                      <a:pt x="594" y="366"/>
                    </a:lnTo>
                    <a:lnTo>
                      <a:pt x="594" y="368"/>
                    </a:lnTo>
                    <a:lnTo>
                      <a:pt x="592" y="368"/>
                    </a:lnTo>
                    <a:lnTo>
                      <a:pt x="592" y="368"/>
                    </a:lnTo>
                    <a:lnTo>
                      <a:pt x="592" y="368"/>
                    </a:lnTo>
                    <a:lnTo>
                      <a:pt x="592" y="370"/>
                    </a:lnTo>
                    <a:lnTo>
                      <a:pt x="590" y="372"/>
                    </a:lnTo>
                    <a:lnTo>
                      <a:pt x="590" y="372"/>
                    </a:lnTo>
                    <a:lnTo>
                      <a:pt x="590" y="376"/>
                    </a:lnTo>
                    <a:lnTo>
                      <a:pt x="592" y="380"/>
                    </a:lnTo>
                    <a:lnTo>
                      <a:pt x="594" y="382"/>
                    </a:lnTo>
                    <a:lnTo>
                      <a:pt x="594" y="386"/>
                    </a:lnTo>
                    <a:lnTo>
                      <a:pt x="596" y="388"/>
                    </a:lnTo>
                    <a:lnTo>
                      <a:pt x="596" y="388"/>
                    </a:lnTo>
                    <a:lnTo>
                      <a:pt x="598" y="390"/>
                    </a:lnTo>
                    <a:lnTo>
                      <a:pt x="600" y="392"/>
                    </a:lnTo>
                    <a:lnTo>
                      <a:pt x="602" y="396"/>
                    </a:lnTo>
                    <a:lnTo>
                      <a:pt x="606" y="398"/>
                    </a:lnTo>
                    <a:lnTo>
                      <a:pt x="610" y="402"/>
                    </a:lnTo>
                    <a:lnTo>
                      <a:pt x="614" y="406"/>
                    </a:lnTo>
                    <a:lnTo>
                      <a:pt x="616" y="408"/>
                    </a:lnTo>
                    <a:lnTo>
                      <a:pt x="618" y="412"/>
                    </a:lnTo>
                    <a:lnTo>
                      <a:pt x="620" y="414"/>
                    </a:lnTo>
                    <a:lnTo>
                      <a:pt x="620" y="418"/>
                    </a:lnTo>
                    <a:lnTo>
                      <a:pt x="622" y="422"/>
                    </a:lnTo>
                    <a:lnTo>
                      <a:pt x="622" y="422"/>
                    </a:lnTo>
                    <a:lnTo>
                      <a:pt x="622" y="424"/>
                    </a:lnTo>
                    <a:lnTo>
                      <a:pt x="622" y="424"/>
                    </a:lnTo>
                    <a:lnTo>
                      <a:pt x="620" y="424"/>
                    </a:lnTo>
                    <a:lnTo>
                      <a:pt x="618" y="426"/>
                    </a:lnTo>
                    <a:lnTo>
                      <a:pt x="616" y="426"/>
                    </a:lnTo>
                    <a:lnTo>
                      <a:pt x="614" y="426"/>
                    </a:lnTo>
                    <a:lnTo>
                      <a:pt x="610" y="426"/>
                    </a:lnTo>
                    <a:lnTo>
                      <a:pt x="608" y="426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2"/>
                    </a:lnTo>
                    <a:lnTo>
                      <a:pt x="604" y="422"/>
                    </a:lnTo>
                    <a:lnTo>
                      <a:pt x="604" y="422"/>
                    </a:lnTo>
                    <a:lnTo>
                      <a:pt x="604" y="420"/>
                    </a:lnTo>
                    <a:lnTo>
                      <a:pt x="602" y="416"/>
                    </a:lnTo>
                    <a:lnTo>
                      <a:pt x="600" y="414"/>
                    </a:lnTo>
                    <a:lnTo>
                      <a:pt x="598" y="412"/>
                    </a:lnTo>
                    <a:lnTo>
                      <a:pt x="598" y="412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4" y="410"/>
                    </a:lnTo>
                    <a:lnTo>
                      <a:pt x="592" y="410"/>
                    </a:lnTo>
                    <a:lnTo>
                      <a:pt x="592" y="410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4"/>
                    </a:lnTo>
                    <a:lnTo>
                      <a:pt x="590" y="414"/>
                    </a:lnTo>
                    <a:lnTo>
                      <a:pt x="590" y="414"/>
                    </a:lnTo>
                    <a:lnTo>
                      <a:pt x="590" y="416"/>
                    </a:lnTo>
                    <a:lnTo>
                      <a:pt x="588" y="418"/>
                    </a:lnTo>
                    <a:lnTo>
                      <a:pt x="588" y="422"/>
                    </a:lnTo>
                    <a:lnTo>
                      <a:pt x="588" y="426"/>
                    </a:lnTo>
                    <a:lnTo>
                      <a:pt x="588" y="430"/>
                    </a:lnTo>
                    <a:lnTo>
                      <a:pt x="586" y="432"/>
                    </a:lnTo>
                    <a:lnTo>
                      <a:pt x="582" y="434"/>
                    </a:lnTo>
                    <a:lnTo>
                      <a:pt x="576" y="436"/>
                    </a:lnTo>
                    <a:lnTo>
                      <a:pt x="572" y="440"/>
                    </a:lnTo>
                    <a:lnTo>
                      <a:pt x="568" y="440"/>
                    </a:lnTo>
                    <a:lnTo>
                      <a:pt x="562" y="438"/>
                    </a:lnTo>
                    <a:lnTo>
                      <a:pt x="556" y="438"/>
                    </a:lnTo>
                    <a:lnTo>
                      <a:pt x="550" y="438"/>
                    </a:lnTo>
                    <a:lnTo>
                      <a:pt x="544" y="438"/>
                    </a:lnTo>
                    <a:lnTo>
                      <a:pt x="544" y="438"/>
                    </a:lnTo>
                    <a:lnTo>
                      <a:pt x="544" y="438"/>
                    </a:lnTo>
                    <a:lnTo>
                      <a:pt x="540" y="440"/>
                    </a:lnTo>
                    <a:lnTo>
                      <a:pt x="540" y="440"/>
                    </a:lnTo>
                    <a:lnTo>
                      <a:pt x="538" y="440"/>
                    </a:lnTo>
                    <a:lnTo>
                      <a:pt x="534" y="442"/>
                    </a:lnTo>
                    <a:lnTo>
                      <a:pt x="534" y="442"/>
                    </a:lnTo>
                    <a:lnTo>
                      <a:pt x="534" y="444"/>
                    </a:lnTo>
                    <a:lnTo>
                      <a:pt x="532" y="444"/>
                    </a:lnTo>
                    <a:lnTo>
                      <a:pt x="532" y="444"/>
                    </a:lnTo>
                    <a:lnTo>
                      <a:pt x="532" y="446"/>
                    </a:lnTo>
                    <a:lnTo>
                      <a:pt x="530" y="446"/>
                    </a:lnTo>
                    <a:lnTo>
                      <a:pt x="528" y="446"/>
                    </a:lnTo>
                    <a:lnTo>
                      <a:pt x="524" y="448"/>
                    </a:lnTo>
                    <a:lnTo>
                      <a:pt x="522" y="448"/>
                    </a:lnTo>
                    <a:lnTo>
                      <a:pt x="520" y="448"/>
                    </a:lnTo>
                    <a:lnTo>
                      <a:pt x="520" y="448"/>
                    </a:lnTo>
                    <a:lnTo>
                      <a:pt x="520" y="448"/>
                    </a:lnTo>
                    <a:lnTo>
                      <a:pt x="518" y="446"/>
                    </a:lnTo>
                    <a:lnTo>
                      <a:pt x="520" y="442"/>
                    </a:lnTo>
                    <a:lnTo>
                      <a:pt x="520" y="442"/>
                    </a:lnTo>
                    <a:lnTo>
                      <a:pt x="520" y="440"/>
                    </a:lnTo>
                    <a:lnTo>
                      <a:pt x="522" y="438"/>
                    </a:lnTo>
                    <a:lnTo>
                      <a:pt x="524" y="436"/>
                    </a:lnTo>
                    <a:lnTo>
                      <a:pt x="524" y="436"/>
                    </a:lnTo>
                    <a:lnTo>
                      <a:pt x="524" y="434"/>
                    </a:lnTo>
                    <a:lnTo>
                      <a:pt x="524" y="434"/>
                    </a:lnTo>
                    <a:lnTo>
                      <a:pt x="524" y="434"/>
                    </a:lnTo>
                    <a:lnTo>
                      <a:pt x="524" y="432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0" y="430"/>
                    </a:lnTo>
                    <a:lnTo>
                      <a:pt x="520" y="430"/>
                    </a:lnTo>
                    <a:lnTo>
                      <a:pt x="518" y="430"/>
                    </a:lnTo>
                    <a:lnTo>
                      <a:pt x="516" y="430"/>
                    </a:lnTo>
                    <a:lnTo>
                      <a:pt x="514" y="430"/>
                    </a:lnTo>
                    <a:lnTo>
                      <a:pt x="510" y="428"/>
                    </a:lnTo>
                    <a:lnTo>
                      <a:pt x="506" y="428"/>
                    </a:lnTo>
                    <a:lnTo>
                      <a:pt x="506" y="428"/>
                    </a:lnTo>
                    <a:lnTo>
                      <a:pt x="504" y="428"/>
                    </a:lnTo>
                    <a:lnTo>
                      <a:pt x="498" y="434"/>
                    </a:lnTo>
                    <a:lnTo>
                      <a:pt x="494" y="436"/>
                    </a:lnTo>
                    <a:lnTo>
                      <a:pt x="490" y="438"/>
                    </a:lnTo>
                    <a:lnTo>
                      <a:pt x="490" y="438"/>
                    </a:lnTo>
                    <a:lnTo>
                      <a:pt x="486" y="438"/>
                    </a:lnTo>
                    <a:lnTo>
                      <a:pt x="484" y="438"/>
                    </a:lnTo>
                    <a:lnTo>
                      <a:pt x="476" y="440"/>
                    </a:lnTo>
                    <a:lnTo>
                      <a:pt x="474" y="442"/>
                    </a:lnTo>
                    <a:lnTo>
                      <a:pt x="474" y="442"/>
                    </a:lnTo>
                    <a:lnTo>
                      <a:pt x="474" y="442"/>
                    </a:lnTo>
                    <a:lnTo>
                      <a:pt x="472" y="442"/>
                    </a:lnTo>
                    <a:lnTo>
                      <a:pt x="472" y="442"/>
                    </a:lnTo>
                    <a:lnTo>
                      <a:pt x="470" y="444"/>
                    </a:lnTo>
                    <a:lnTo>
                      <a:pt x="468" y="446"/>
                    </a:lnTo>
                    <a:lnTo>
                      <a:pt x="468" y="446"/>
                    </a:lnTo>
                    <a:lnTo>
                      <a:pt x="468" y="446"/>
                    </a:lnTo>
                    <a:lnTo>
                      <a:pt x="466" y="448"/>
                    </a:lnTo>
                    <a:lnTo>
                      <a:pt x="462" y="454"/>
                    </a:lnTo>
                    <a:lnTo>
                      <a:pt x="460" y="460"/>
                    </a:lnTo>
                    <a:lnTo>
                      <a:pt x="458" y="462"/>
                    </a:lnTo>
                    <a:lnTo>
                      <a:pt x="456" y="464"/>
                    </a:lnTo>
                    <a:lnTo>
                      <a:pt x="452" y="464"/>
                    </a:lnTo>
                    <a:lnTo>
                      <a:pt x="452" y="464"/>
                    </a:lnTo>
                    <a:lnTo>
                      <a:pt x="452" y="464"/>
                    </a:lnTo>
                    <a:lnTo>
                      <a:pt x="446" y="466"/>
                    </a:lnTo>
                    <a:lnTo>
                      <a:pt x="446" y="466"/>
                    </a:lnTo>
                    <a:lnTo>
                      <a:pt x="446" y="466"/>
                    </a:lnTo>
                    <a:lnTo>
                      <a:pt x="442" y="470"/>
                    </a:lnTo>
                    <a:lnTo>
                      <a:pt x="438" y="472"/>
                    </a:lnTo>
                    <a:lnTo>
                      <a:pt x="434" y="476"/>
                    </a:lnTo>
                    <a:lnTo>
                      <a:pt x="430" y="480"/>
                    </a:lnTo>
                    <a:lnTo>
                      <a:pt x="424" y="488"/>
                    </a:lnTo>
                    <a:lnTo>
                      <a:pt x="422" y="490"/>
                    </a:lnTo>
                    <a:lnTo>
                      <a:pt x="420" y="492"/>
                    </a:lnTo>
                    <a:lnTo>
                      <a:pt x="420" y="492"/>
                    </a:lnTo>
                    <a:lnTo>
                      <a:pt x="420" y="492"/>
                    </a:lnTo>
                    <a:lnTo>
                      <a:pt x="418" y="494"/>
                    </a:lnTo>
                    <a:lnTo>
                      <a:pt x="418" y="494"/>
                    </a:lnTo>
                    <a:lnTo>
                      <a:pt x="418" y="494"/>
                    </a:lnTo>
                    <a:lnTo>
                      <a:pt x="416" y="496"/>
                    </a:lnTo>
                    <a:lnTo>
                      <a:pt x="416" y="496"/>
                    </a:lnTo>
                    <a:lnTo>
                      <a:pt x="416" y="496"/>
                    </a:lnTo>
                    <a:lnTo>
                      <a:pt x="416" y="498"/>
                    </a:lnTo>
                    <a:lnTo>
                      <a:pt x="416" y="498"/>
                    </a:lnTo>
                    <a:lnTo>
                      <a:pt x="416" y="498"/>
                    </a:lnTo>
                    <a:lnTo>
                      <a:pt x="416" y="500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2" y="504"/>
                    </a:lnTo>
                    <a:lnTo>
                      <a:pt x="408" y="504"/>
                    </a:lnTo>
                    <a:lnTo>
                      <a:pt x="404" y="504"/>
                    </a:lnTo>
                    <a:lnTo>
                      <a:pt x="400" y="506"/>
                    </a:lnTo>
                    <a:lnTo>
                      <a:pt x="398" y="504"/>
                    </a:lnTo>
                    <a:lnTo>
                      <a:pt x="396" y="502"/>
                    </a:lnTo>
                    <a:lnTo>
                      <a:pt x="392" y="502"/>
                    </a:lnTo>
                    <a:lnTo>
                      <a:pt x="390" y="500"/>
                    </a:lnTo>
                    <a:lnTo>
                      <a:pt x="388" y="498"/>
                    </a:lnTo>
                    <a:lnTo>
                      <a:pt x="388" y="496"/>
                    </a:lnTo>
                    <a:lnTo>
                      <a:pt x="388" y="494"/>
                    </a:lnTo>
                    <a:lnTo>
                      <a:pt x="388" y="490"/>
                    </a:lnTo>
                    <a:lnTo>
                      <a:pt x="388" y="488"/>
                    </a:lnTo>
                    <a:lnTo>
                      <a:pt x="388" y="486"/>
                    </a:lnTo>
                    <a:lnTo>
                      <a:pt x="388" y="484"/>
                    </a:lnTo>
                    <a:lnTo>
                      <a:pt x="388" y="482"/>
                    </a:lnTo>
                    <a:lnTo>
                      <a:pt x="390" y="480"/>
                    </a:lnTo>
                    <a:lnTo>
                      <a:pt x="396" y="476"/>
                    </a:lnTo>
                    <a:lnTo>
                      <a:pt x="398" y="474"/>
                    </a:lnTo>
                    <a:lnTo>
                      <a:pt x="400" y="472"/>
                    </a:lnTo>
                    <a:lnTo>
                      <a:pt x="400" y="472"/>
                    </a:lnTo>
                    <a:lnTo>
                      <a:pt x="402" y="472"/>
                    </a:lnTo>
                    <a:lnTo>
                      <a:pt x="404" y="468"/>
                    </a:lnTo>
                    <a:lnTo>
                      <a:pt x="404" y="468"/>
                    </a:lnTo>
                    <a:lnTo>
                      <a:pt x="404" y="468"/>
                    </a:lnTo>
                    <a:lnTo>
                      <a:pt x="406" y="464"/>
                    </a:lnTo>
                    <a:lnTo>
                      <a:pt x="406" y="464"/>
                    </a:lnTo>
                    <a:lnTo>
                      <a:pt x="406" y="462"/>
                    </a:lnTo>
                    <a:lnTo>
                      <a:pt x="404" y="460"/>
                    </a:lnTo>
                    <a:lnTo>
                      <a:pt x="402" y="460"/>
                    </a:lnTo>
                    <a:lnTo>
                      <a:pt x="402" y="460"/>
                    </a:lnTo>
                    <a:lnTo>
                      <a:pt x="400" y="458"/>
                    </a:lnTo>
                    <a:lnTo>
                      <a:pt x="400" y="458"/>
                    </a:lnTo>
                    <a:lnTo>
                      <a:pt x="400" y="454"/>
                    </a:lnTo>
                    <a:lnTo>
                      <a:pt x="400" y="454"/>
                    </a:lnTo>
                    <a:lnTo>
                      <a:pt x="400" y="454"/>
                    </a:lnTo>
                    <a:lnTo>
                      <a:pt x="398" y="452"/>
                    </a:lnTo>
                    <a:lnTo>
                      <a:pt x="396" y="450"/>
                    </a:lnTo>
                    <a:lnTo>
                      <a:pt x="396" y="450"/>
                    </a:lnTo>
                    <a:lnTo>
                      <a:pt x="396" y="448"/>
                    </a:lnTo>
                    <a:lnTo>
                      <a:pt x="394" y="448"/>
                    </a:lnTo>
                    <a:lnTo>
                      <a:pt x="394" y="448"/>
                    </a:lnTo>
                    <a:lnTo>
                      <a:pt x="392" y="448"/>
                    </a:lnTo>
                    <a:lnTo>
                      <a:pt x="390" y="446"/>
                    </a:lnTo>
                    <a:lnTo>
                      <a:pt x="384" y="446"/>
                    </a:lnTo>
                    <a:lnTo>
                      <a:pt x="378" y="444"/>
                    </a:lnTo>
                    <a:lnTo>
                      <a:pt x="376" y="444"/>
                    </a:lnTo>
                    <a:lnTo>
                      <a:pt x="372" y="444"/>
                    </a:lnTo>
                    <a:lnTo>
                      <a:pt x="370" y="442"/>
                    </a:lnTo>
                    <a:lnTo>
                      <a:pt x="368" y="442"/>
                    </a:lnTo>
                    <a:lnTo>
                      <a:pt x="368" y="440"/>
                    </a:lnTo>
                    <a:lnTo>
                      <a:pt x="366" y="438"/>
                    </a:lnTo>
                    <a:lnTo>
                      <a:pt x="364" y="438"/>
                    </a:lnTo>
                    <a:lnTo>
                      <a:pt x="364" y="438"/>
                    </a:lnTo>
                    <a:lnTo>
                      <a:pt x="362" y="438"/>
                    </a:lnTo>
                    <a:lnTo>
                      <a:pt x="362" y="438"/>
                    </a:lnTo>
                    <a:lnTo>
                      <a:pt x="362" y="438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58" y="442"/>
                    </a:lnTo>
                    <a:lnTo>
                      <a:pt x="358" y="442"/>
                    </a:lnTo>
                    <a:lnTo>
                      <a:pt x="358" y="444"/>
                    </a:lnTo>
                    <a:lnTo>
                      <a:pt x="358" y="444"/>
                    </a:lnTo>
                    <a:lnTo>
                      <a:pt x="358" y="446"/>
                    </a:lnTo>
                    <a:lnTo>
                      <a:pt x="358" y="446"/>
                    </a:lnTo>
                    <a:lnTo>
                      <a:pt x="358" y="448"/>
                    </a:lnTo>
                    <a:lnTo>
                      <a:pt x="360" y="448"/>
                    </a:lnTo>
                    <a:lnTo>
                      <a:pt x="360" y="452"/>
                    </a:lnTo>
                    <a:lnTo>
                      <a:pt x="362" y="454"/>
                    </a:lnTo>
                    <a:lnTo>
                      <a:pt x="364" y="458"/>
                    </a:lnTo>
                    <a:lnTo>
                      <a:pt x="366" y="462"/>
                    </a:lnTo>
                    <a:lnTo>
                      <a:pt x="366" y="464"/>
                    </a:lnTo>
                    <a:lnTo>
                      <a:pt x="368" y="466"/>
                    </a:lnTo>
                    <a:lnTo>
                      <a:pt x="368" y="470"/>
                    </a:lnTo>
                    <a:lnTo>
                      <a:pt x="368" y="474"/>
                    </a:lnTo>
                    <a:lnTo>
                      <a:pt x="366" y="476"/>
                    </a:lnTo>
                    <a:lnTo>
                      <a:pt x="366" y="478"/>
                    </a:lnTo>
                    <a:lnTo>
                      <a:pt x="364" y="480"/>
                    </a:lnTo>
                    <a:lnTo>
                      <a:pt x="362" y="482"/>
                    </a:lnTo>
                    <a:lnTo>
                      <a:pt x="362" y="482"/>
                    </a:lnTo>
                    <a:lnTo>
                      <a:pt x="362" y="482"/>
                    </a:lnTo>
                    <a:lnTo>
                      <a:pt x="360" y="486"/>
                    </a:lnTo>
                    <a:lnTo>
                      <a:pt x="360" y="486"/>
                    </a:lnTo>
                    <a:lnTo>
                      <a:pt x="360" y="486"/>
                    </a:lnTo>
                    <a:lnTo>
                      <a:pt x="360" y="490"/>
                    </a:lnTo>
                    <a:lnTo>
                      <a:pt x="360" y="490"/>
                    </a:lnTo>
                    <a:lnTo>
                      <a:pt x="360" y="492"/>
                    </a:lnTo>
                    <a:lnTo>
                      <a:pt x="362" y="496"/>
                    </a:lnTo>
                    <a:lnTo>
                      <a:pt x="364" y="500"/>
                    </a:lnTo>
                    <a:lnTo>
                      <a:pt x="366" y="502"/>
                    </a:lnTo>
                    <a:lnTo>
                      <a:pt x="368" y="504"/>
                    </a:lnTo>
                    <a:lnTo>
                      <a:pt x="368" y="506"/>
                    </a:lnTo>
                    <a:lnTo>
                      <a:pt x="370" y="510"/>
                    </a:lnTo>
                    <a:lnTo>
                      <a:pt x="370" y="514"/>
                    </a:lnTo>
                    <a:lnTo>
                      <a:pt x="370" y="518"/>
                    </a:lnTo>
                    <a:lnTo>
                      <a:pt x="370" y="520"/>
                    </a:lnTo>
                    <a:lnTo>
                      <a:pt x="368" y="524"/>
                    </a:lnTo>
                    <a:lnTo>
                      <a:pt x="368" y="528"/>
                    </a:lnTo>
                    <a:lnTo>
                      <a:pt x="366" y="530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58" y="530"/>
                    </a:lnTo>
                    <a:lnTo>
                      <a:pt x="354" y="530"/>
                    </a:lnTo>
                    <a:lnTo>
                      <a:pt x="352" y="530"/>
                    </a:lnTo>
                    <a:lnTo>
                      <a:pt x="348" y="530"/>
                    </a:lnTo>
                    <a:lnTo>
                      <a:pt x="344" y="530"/>
                    </a:lnTo>
                    <a:lnTo>
                      <a:pt x="338" y="530"/>
                    </a:lnTo>
                    <a:lnTo>
                      <a:pt x="338" y="530"/>
                    </a:lnTo>
                    <a:lnTo>
                      <a:pt x="338" y="530"/>
                    </a:lnTo>
                    <a:lnTo>
                      <a:pt x="334" y="530"/>
                    </a:lnTo>
                    <a:lnTo>
                      <a:pt x="332" y="530"/>
                    </a:lnTo>
                    <a:lnTo>
                      <a:pt x="332" y="530"/>
                    </a:lnTo>
                    <a:lnTo>
                      <a:pt x="332" y="530"/>
                    </a:lnTo>
                    <a:lnTo>
                      <a:pt x="328" y="534"/>
                    </a:lnTo>
                    <a:lnTo>
                      <a:pt x="324" y="536"/>
                    </a:lnTo>
                    <a:lnTo>
                      <a:pt x="320" y="538"/>
                    </a:lnTo>
                    <a:lnTo>
                      <a:pt x="316" y="538"/>
                    </a:lnTo>
                    <a:lnTo>
                      <a:pt x="314" y="540"/>
                    </a:lnTo>
                    <a:lnTo>
                      <a:pt x="314" y="540"/>
                    </a:lnTo>
                    <a:lnTo>
                      <a:pt x="314" y="540"/>
                    </a:lnTo>
                    <a:lnTo>
                      <a:pt x="312" y="542"/>
                    </a:lnTo>
                    <a:lnTo>
                      <a:pt x="312" y="542"/>
                    </a:lnTo>
                    <a:lnTo>
                      <a:pt x="310" y="542"/>
                    </a:lnTo>
                    <a:lnTo>
                      <a:pt x="308" y="544"/>
                    </a:lnTo>
                    <a:lnTo>
                      <a:pt x="306" y="546"/>
                    </a:lnTo>
                    <a:lnTo>
                      <a:pt x="306" y="548"/>
                    </a:lnTo>
                    <a:lnTo>
                      <a:pt x="302" y="548"/>
                    </a:lnTo>
                    <a:lnTo>
                      <a:pt x="302" y="548"/>
                    </a:lnTo>
                    <a:lnTo>
                      <a:pt x="302" y="548"/>
                    </a:ln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50"/>
                    </a:lnTo>
                    <a:lnTo>
                      <a:pt x="298" y="550"/>
                    </a:lnTo>
                    <a:lnTo>
                      <a:pt x="298" y="550"/>
                    </a:lnTo>
                    <a:lnTo>
                      <a:pt x="298" y="550"/>
                    </a:lnTo>
                    <a:lnTo>
                      <a:pt x="296" y="552"/>
                    </a:lnTo>
                    <a:lnTo>
                      <a:pt x="296" y="552"/>
                    </a:lnTo>
                    <a:lnTo>
                      <a:pt x="296" y="554"/>
                    </a:lnTo>
                    <a:lnTo>
                      <a:pt x="296" y="554"/>
                    </a:lnTo>
                    <a:lnTo>
                      <a:pt x="296" y="554"/>
                    </a:lnTo>
                    <a:lnTo>
                      <a:pt x="296" y="556"/>
                    </a:lnTo>
                    <a:lnTo>
                      <a:pt x="296" y="558"/>
                    </a:lnTo>
                    <a:lnTo>
                      <a:pt x="296" y="558"/>
                    </a:lnTo>
                    <a:lnTo>
                      <a:pt x="296" y="558"/>
                    </a:lnTo>
                    <a:lnTo>
                      <a:pt x="298" y="562"/>
                    </a:lnTo>
                    <a:lnTo>
                      <a:pt x="298" y="562"/>
                    </a:lnTo>
                    <a:lnTo>
                      <a:pt x="298" y="562"/>
                    </a:lnTo>
                    <a:lnTo>
                      <a:pt x="302" y="564"/>
                    </a:lnTo>
                    <a:lnTo>
                      <a:pt x="302" y="564"/>
                    </a:lnTo>
                    <a:lnTo>
                      <a:pt x="304" y="566"/>
                    </a:lnTo>
                    <a:lnTo>
                      <a:pt x="306" y="568"/>
                    </a:lnTo>
                    <a:lnTo>
                      <a:pt x="306" y="570"/>
                    </a:lnTo>
                    <a:lnTo>
                      <a:pt x="306" y="572"/>
                    </a:lnTo>
                    <a:lnTo>
                      <a:pt x="308" y="576"/>
                    </a:lnTo>
                    <a:lnTo>
                      <a:pt x="308" y="578"/>
                    </a:lnTo>
                    <a:lnTo>
                      <a:pt x="308" y="580"/>
                    </a:lnTo>
                    <a:lnTo>
                      <a:pt x="304" y="580"/>
                    </a:lnTo>
                    <a:lnTo>
                      <a:pt x="298" y="580"/>
                    </a:lnTo>
                    <a:lnTo>
                      <a:pt x="290" y="580"/>
                    </a:lnTo>
                    <a:lnTo>
                      <a:pt x="288" y="580"/>
                    </a:lnTo>
                    <a:lnTo>
                      <a:pt x="284" y="578"/>
                    </a:lnTo>
                    <a:lnTo>
                      <a:pt x="280" y="576"/>
                    </a:lnTo>
                    <a:lnTo>
                      <a:pt x="276" y="576"/>
                    </a:lnTo>
                    <a:lnTo>
                      <a:pt x="270" y="572"/>
                    </a:lnTo>
                    <a:lnTo>
                      <a:pt x="266" y="570"/>
                    </a:lnTo>
                    <a:lnTo>
                      <a:pt x="266" y="570"/>
                    </a:lnTo>
                    <a:lnTo>
                      <a:pt x="266" y="570"/>
                    </a:lnTo>
                    <a:lnTo>
                      <a:pt x="266" y="568"/>
                    </a:lnTo>
                    <a:lnTo>
                      <a:pt x="264" y="568"/>
                    </a:lnTo>
                    <a:lnTo>
                      <a:pt x="260" y="568"/>
                    </a:lnTo>
                    <a:lnTo>
                      <a:pt x="258" y="568"/>
                    </a:lnTo>
                    <a:lnTo>
                      <a:pt x="254" y="566"/>
                    </a:lnTo>
                    <a:lnTo>
                      <a:pt x="250" y="566"/>
                    </a:lnTo>
                    <a:lnTo>
                      <a:pt x="246" y="568"/>
                    </a:lnTo>
                    <a:lnTo>
                      <a:pt x="246" y="568"/>
                    </a:lnTo>
                    <a:lnTo>
                      <a:pt x="246" y="568"/>
                    </a:lnTo>
                    <a:lnTo>
                      <a:pt x="244" y="568"/>
                    </a:lnTo>
                    <a:lnTo>
                      <a:pt x="242" y="568"/>
                    </a:lnTo>
                    <a:lnTo>
                      <a:pt x="240" y="568"/>
                    </a:lnTo>
                    <a:lnTo>
                      <a:pt x="238" y="570"/>
                    </a:lnTo>
                    <a:lnTo>
                      <a:pt x="238" y="570"/>
                    </a:lnTo>
                    <a:lnTo>
                      <a:pt x="236" y="570"/>
                    </a:lnTo>
                    <a:lnTo>
                      <a:pt x="236" y="570"/>
                    </a:lnTo>
                    <a:lnTo>
                      <a:pt x="236" y="570"/>
                    </a:lnTo>
                    <a:lnTo>
                      <a:pt x="236" y="574"/>
                    </a:lnTo>
                    <a:lnTo>
                      <a:pt x="236" y="574"/>
                    </a:lnTo>
                    <a:lnTo>
                      <a:pt x="236" y="574"/>
                    </a:lnTo>
                    <a:lnTo>
                      <a:pt x="238" y="576"/>
                    </a:lnTo>
                    <a:lnTo>
                      <a:pt x="238" y="576"/>
                    </a:lnTo>
                    <a:lnTo>
                      <a:pt x="240" y="578"/>
                    </a:lnTo>
                    <a:lnTo>
                      <a:pt x="242" y="578"/>
                    </a:lnTo>
                    <a:lnTo>
                      <a:pt x="242" y="578"/>
                    </a:lnTo>
                    <a:lnTo>
                      <a:pt x="242" y="580"/>
                    </a:lnTo>
                    <a:lnTo>
                      <a:pt x="242" y="580"/>
                    </a:lnTo>
                    <a:lnTo>
                      <a:pt x="244" y="580"/>
                    </a:lnTo>
                    <a:lnTo>
                      <a:pt x="246" y="582"/>
                    </a:lnTo>
                    <a:lnTo>
                      <a:pt x="250" y="584"/>
                    </a:lnTo>
                    <a:lnTo>
                      <a:pt x="252" y="586"/>
                    </a:lnTo>
                    <a:lnTo>
                      <a:pt x="254" y="588"/>
                    </a:lnTo>
                    <a:lnTo>
                      <a:pt x="254" y="588"/>
                    </a:lnTo>
                    <a:lnTo>
                      <a:pt x="254" y="588"/>
                    </a:lnTo>
                    <a:lnTo>
                      <a:pt x="256" y="590"/>
                    </a:lnTo>
                    <a:lnTo>
                      <a:pt x="262" y="592"/>
                    </a:lnTo>
                    <a:lnTo>
                      <a:pt x="268" y="596"/>
                    </a:lnTo>
                    <a:lnTo>
                      <a:pt x="272" y="600"/>
                    </a:lnTo>
                    <a:lnTo>
                      <a:pt x="274" y="602"/>
                    </a:lnTo>
                    <a:lnTo>
                      <a:pt x="276" y="606"/>
                    </a:lnTo>
                    <a:lnTo>
                      <a:pt x="276" y="606"/>
                    </a:lnTo>
                    <a:lnTo>
                      <a:pt x="278" y="608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2" y="612"/>
                    </a:lnTo>
                    <a:lnTo>
                      <a:pt x="268" y="612"/>
                    </a:lnTo>
                    <a:lnTo>
                      <a:pt x="262" y="612"/>
                    </a:lnTo>
                    <a:lnTo>
                      <a:pt x="256" y="612"/>
                    </a:lnTo>
                    <a:lnTo>
                      <a:pt x="252" y="610"/>
                    </a:lnTo>
                    <a:lnTo>
                      <a:pt x="250" y="610"/>
                    </a:lnTo>
                    <a:lnTo>
                      <a:pt x="250" y="610"/>
                    </a:lnTo>
                    <a:lnTo>
                      <a:pt x="248" y="610"/>
                    </a:lnTo>
                    <a:lnTo>
                      <a:pt x="248" y="608"/>
                    </a:lnTo>
                    <a:lnTo>
                      <a:pt x="246" y="606"/>
                    </a:lnTo>
                    <a:lnTo>
                      <a:pt x="244" y="602"/>
                    </a:lnTo>
                    <a:lnTo>
                      <a:pt x="244" y="600"/>
                    </a:lnTo>
                    <a:lnTo>
                      <a:pt x="242" y="598"/>
                    </a:lnTo>
                    <a:lnTo>
                      <a:pt x="242" y="594"/>
                    </a:lnTo>
                    <a:lnTo>
                      <a:pt x="240" y="592"/>
                    </a:lnTo>
                    <a:lnTo>
                      <a:pt x="238" y="584"/>
                    </a:lnTo>
                    <a:lnTo>
                      <a:pt x="236" y="576"/>
                    </a:lnTo>
                    <a:lnTo>
                      <a:pt x="232" y="566"/>
                    </a:lnTo>
                    <a:lnTo>
                      <a:pt x="230" y="558"/>
                    </a:lnTo>
                    <a:lnTo>
                      <a:pt x="228" y="552"/>
                    </a:lnTo>
                    <a:lnTo>
                      <a:pt x="228" y="548"/>
                    </a:lnTo>
                    <a:lnTo>
                      <a:pt x="226" y="546"/>
                    </a:lnTo>
                    <a:lnTo>
                      <a:pt x="226" y="546"/>
                    </a:lnTo>
                    <a:lnTo>
                      <a:pt x="226" y="544"/>
                    </a:lnTo>
                    <a:lnTo>
                      <a:pt x="222" y="542"/>
                    </a:lnTo>
                    <a:lnTo>
                      <a:pt x="220" y="540"/>
                    </a:lnTo>
                    <a:lnTo>
                      <a:pt x="220" y="538"/>
                    </a:lnTo>
                    <a:lnTo>
                      <a:pt x="218" y="536"/>
                    </a:lnTo>
                    <a:lnTo>
                      <a:pt x="218" y="530"/>
                    </a:lnTo>
                    <a:lnTo>
                      <a:pt x="216" y="524"/>
                    </a:lnTo>
                    <a:lnTo>
                      <a:pt x="216" y="524"/>
                    </a:lnTo>
                    <a:lnTo>
                      <a:pt x="214" y="522"/>
                    </a:lnTo>
                    <a:lnTo>
                      <a:pt x="210" y="520"/>
                    </a:lnTo>
                    <a:lnTo>
                      <a:pt x="206" y="518"/>
                    </a:lnTo>
                    <a:lnTo>
                      <a:pt x="200" y="516"/>
                    </a:lnTo>
                    <a:lnTo>
                      <a:pt x="196" y="512"/>
                    </a:lnTo>
                    <a:lnTo>
                      <a:pt x="196" y="512"/>
                    </a:lnTo>
                    <a:lnTo>
                      <a:pt x="192" y="508"/>
                    </a:lnTo>
                    <a:lnTo>
                      <a:pt x="190" y="506"/>
                    </a:lnTo>
                    <a:lnTo>
                      <a:pt x="188" y="504"/>
                    </a:lnTo>
                    <a:lnTo>
                      <a:pt x="188" y="504"/>
                    </a:lnTo>
                    <a:lnTo>
                      <a:pt x="188" y="500"/>
                    </a:lnTo>
                    <a:lnTo>
                      <a:pt x="188" y="500"/>
                    </a:lnTo>
                    <a:lnTo>
                      <a:pt x="188" y="498"/>
                    </a:lnTo>
                    <a:lnTo>
                      <a:pt x="188" y="498"/>
                    </a:lnTo>
                    <a:lnTo>
                      <a:pt x="190" y="498"/>
                    </a:lnTo>
                    <a:lnTo>
                      <a:pt x="192" y="498"/>
                    </a:lnTo>
                    <a:lnTo>
                      <a:pt x="192" y="498"/>
                    </a:lnTo>
                    <a:lnTo>
                      <a:pt x="192" y="498"/>
                    </a:lnTo>
                    <a:lnTo>
                      <a:pt x="192" y="500"/>
                    </a:lnTo>
                    <a:lnTo>
                      <a:pt x="196" y="502"/>
                    </a:lnTo>
                    <a:lnTo>
                      <a:pt x="198" y="506"/>
                    </a:lnTo>
                    <a:lnTo>
                      <a:pt x="200" y="510"/>
                    </a:lnTo>
                    <a:lnTo>
                      <a:pt x="200" y="510"/>
                    </a:lnTo>
                    <a:lnTo>
                      <a:pt x="202" y="510"/>
                    </a:lnTo>
                    <a:lnTo>
                      <a:pt x="206" y="512"/>
                    </a:lnTo>
                    <a:lnTo>
                      <a:pt x="212" y="512"/>
                    </a:lnTo>
                    <a:lnTo>
                      <a:pt x="218" y="514"/>
                    </a:lnTo>
                    <a:lnTo>
                      <a:pt x="222" y="516"/>
                    </a:lnTo>
                    <a:lnTo>
                      <a:pt x="222" y="516"/>
                    </a:lnTo>
                    <a:lnTo>
                      <a:pt x="222" y="516"/>
                    </a:lnTo>
                    <a:lnTo>
                      <a:pt x="224" y="518"/>
                    </a:lnTo>
                    <a:lnTo>
                      <a:pt x="226" y="518"/>
                    </a:lnTo>
                    <a:lnTo>
                      <a:pt x="228" y="518"/>
                    </a:lnTo>
                    <a:lnTo>
                      <a:pt x="228" y="520"/>
                    </a:lnTo>
                    <a:lnTo>
                      <a:pt x="230" y="522"/>
                    </a:lnTo>
                    <a:lnTo>
                      <a:pt x="232" y="524"/>
                    </a:lnTo>
                    <a:lnTo>
                      <a:pt x="234" y="526"/>
                    </a:lnTo>
                    <a:lnTo>
                      <a:pt x="234" y="526"/>
                    </a:lnTo>
                    <a:lnTo>
                      <a:pt x="236" y="526"/>
                    </a:lnTo>
                    <a:lnTo>
                      <a:pt x="240" y="526"/>
                    </a:lnTo>
                    <a:lnTo>
                      <a:pt x="244" y="528"/>
                    </a:lnTo>
                    <a:lnTo>
                      <a:pt x="248" y="530"/>
                    </a:lnTo>
                    <a:lnTo>
                      <a:pt x="252" y="532"/>
                    </a:lnTo>
                    <a:lnTo>
                      <a:pt x="252" y="532"/>
                    </a:lnTo>
                    <a:lnTo>
                      <a:pt x="254" y="532"/>
                    </a:lnTo>
                    <a:lnTo>
                      <a:pt x="258" y="532"/>
                    </a:lnTo>
                    <a:lnTo>
                      <a:pt x="264" y="534"/>
                    </a:lnTo>
                    <a:lnTo>
                      <a:pt x="272" y="536"/>
                    </a:lnTo>
                    <a:lnTo>
                      <a:pt x="276" y="536"/>
                    </a:lnTo>
                    <a:lnTo>
                      <a:pt x="282" y="536"/>
                    </a:lnTo>
                    <a:lnTo>
                      <a:pt x="286" y="538"/>
                    </a:lnTo>
                    <a:lnTo>
                      <a:pt x="292" y="538"/>
                    </a:lnTo>
                    <a:lnTo>
                      <a:pt x="292" y="538"/>
                    </a:lnTo>
                    <a:lnTo>
                      <a:pt x="294" y="538"/>
                    </a:lnTo>
                    <a:lnTo>
                      <a:pt x="298" y="534"/>
                    </a:lnTo>
                    <a:lnTo>
                      <a:pt x="302" y="532"/>
                    </a:lnTo>
                    <a:lnTo>
                      <a:pt x="306" y="530"/>
                    </a:lnTo>
                    <a:lnTo>
                      <a:pt x="312" y="526"/>
                    </a:lnTo>
                    <a:lnTo>
                      <a:pt x="316" y="522"/>
                    </a:lnTo>
                    <a:lnTo>
                      <a:pt x="316" y="522"/>
                    </a:lnTo>
                    <a:lnTo>
                      <a:pt x="316" y="522"/>
                    </a:lnTo>
                    <a:lnTo>
                      <a:pt x="318" y="518"/>
                    </a:lnTo>
                    <a:lnTo>
                      <a:pt x="318" y="518"/>
                    </a:lnTo>
                    <a:lnTo>
                      <a:pt x="320" y="518"/>
                    </a:lnTo>
                    <a:lnTo>
                      <a:pt x="320" y="516"/>
                    </a:lnTo>
                    <a:lnTo>
                      <a:pt x="322" y="512"/>
                    </a:lnTo>
                    <a:lnTo>
                      <a:pt x="322" y="510"/>
                    </a:lnTo>
                    <a:lnTo>
                      <a:pt x="324" y="506"/>
                    </a:lnTo>
                    <a:lnTo>
                      <a:pt x="324" y="502"/>
                    </a:lnTo>
                    <a:lnTo>
                      <a:pt x="324" y="496"/>
                    </a:lnTo>
                    <a:lnTo>
                      <a:pt x="324" y="496"/>
                    </a:lnTo>
                    <a:lnTo>
                      <a:pt x="324" y="496"/>
                    </a:lnTo>
                    <a:lnTo>
                      <a:pt x="324" y="492"/>
                    </a:lnTo>
                    <a:lnTo>
                      <a:pt x="322" y="490"/>
                    </a:lnTo>
                    <a:lnTo>
                      <a:pt x="322" y="486"/>
                    </a:lnTo>
                    <a:lnTo>
                      <a:pt x="322" y="486"/>
                    </a:lnTo>
                    <a:lnTo>
                      <a:pt x="322" y="486"/>
                    </a:lnTo>
                    <a:lnTo>
                      <a:pt x="318" y="482"/>
                    </a:lnTo>
                    <a:lnTo>
                      <a:pt x="316" y="480"/>
                    </a:lnTo>
                    <a:lnTo>
                      <a:pt x="316" y="480"/>
                    </a:lnTo>
                    <a:lnTo>
                      <a:pt x="316" y="478"/>
                    </a:lnTo>
                    <a:lnTo>
                      <a:pt x="312" y="476"/>
                    </a:lnTo>
                    <a:lnTo>
                      <a:pt x="308" y="474"/>
                    </a:lnTo>
                    <a:lnTo>
                      <a:pt x="306" y="472"/>
                    </a:lnTo>
                    <a:lnTo>
                      <a:pt x="304" y="468"/>
                    </a:lnTo>
                    <a:lnTo>
                      <a:pt x="300" y="462"/>
                    </a:lnTo>
                    <a:lnTo>
                      <a:pt x="298" y="458"/>
                    </a:lnTo>
                    <a:lnTo>
                      <a:pt x="296" y="454"/>
                    </a:lnTo>
                    <a:lnTo>
                      <a:pt x="292" y="448"/>
                    </a:lnTo>
                    <a:lnTo>
                      <a:pt x="292" y="448"/>
                    </a:lnTo>
                    <a:lnTo>
                      <a:pt x="286" y="442"/>
                    </a:lnTo>
                    <a:lnTo>
                      <a:pt x="282" y="438"/>
                    </a:lnTo>
                    <a:lnTo>
                      <a:pt x="276" y="434"/>
                    </a:lnTo>
                    <a:lnTo>
                      <a:pt x="276" y="434"/>
                    </a:lnTo>
                    <a:lnTo>
                      <a:pt x="274" y="434"/>
                    </a:lnTo>
                    <a:lnTo>
                      <a:pt x="270" y="434"/>
                    </a:lnTo>
                    <a:lnTo>
                      <a:pt x="266" y="432"/>
                    </a:lnTo>
                    <a:lnTo>
                      <a:pt x="262" y="430"/>
                    </a:lnTo>
                    <a:lnTo>
                      <a:pt x="258" y="428"/>
                    </a:lnTo>
                    <a:lnTo>
                      <a:pt x="248" y="424"/>
                    </a:lnTo>
                    <a:lnTo>
                      <a:pt x="244" y="422"/>
                    </a:lnTo>
                    <a:lnTo>
                      <a:pt x="240" y="418"/>
                    </a:lnTo>
                    <a:lnTo>
                      <a:pt x="240" y="418"/>
                    </a:lnTo>
                    <a:lnTo>
                      <a:pt x="238" y="418"/>
                    </a:lnTo>
                    <a:lnTo>
                      <a:pt x="234" y="418"/>
                    </a:lnTo>
                    <a:lnTo>
                      <a:pt x="230" y="418"/>
                    </a:lnTo>
                    <a:lnTo>
                      <a:pt x="224" y="418"/>
                    </a:lnTo>
                    <a:lnTo>
                      <a:pt x="218" y="418"/>
                    </a:lnTo>
                    <a:lnTo>
                      <a:pt x="214" y="418"/>
                    </a:lnTo>
                    <a:lnTo>
                      <a:pt x="210" y="418"/>
                    </a:lnTo>
                    <a:lnTo>
                      <a:pt x="206" y="418"/>
                    </a:lnTo>
                    <a:lnTo>
                      <a:pt x="206" y="418"/>
                    </a:lnTo>
                    <a:lnTo>
                      <a:pt x="206" y="418"/>
                    </a:lnTo>
                    <a:lnTo>
                      <a:pt x="204" y="418"/>
                    </a:lnTo>
                    <a:lnTo>
                      <a:pt x="204" y="416"/>
                    </a:lnTo>
                    <a:lnTo>
                      <a:pt x="204" y="414"/>
                    </a:lnTo>
                    <a:lnTo>
                      <a:pt x="204" y="410"/>
                    </a:lnTo>
                    <a:lnTo>
                      <a:pt x="204" y="406"/>
                    </a:lnTo>
                    <a:lnTo>
                      <a:pt x="202" y="402"/>
                    </a:lnTo>
                    <a:lnTo>
                      <a:pt x="202" y="402"/>
                    </a:lnTo>
                    <a:lnTo>
                      <a:pt x="200" y="400"/>
                    </a:lnTo>
                    <a:lnTo>
                      <a:pt x="196" y="400"/>
                    </a:lnTo>
                    <a:lnTo>
                      <a:pt x="194" y="398"/>
                    </a:lnTo>
                    <a:lnTo>
                      <a:pt x="186" y="396"/>
                    </a:lnTo>
                    <a:lnTo>
                      <a:pt x="180" y="396"/>
                    </a:lnTo>
                    <a:lnTo>
                      <a:pt x="174" y="396"/>
                    </a:lnTo>
                    <a:lnTo>
                      <a:pt x="174" y="396"/>
                    </a:lnTo>
                    <a:lnTo>
                      <a:pt x="172" y="396"/>
                    </a:lnTo>
                    <a:lnTo>
                      <a:pt x="164" y="400"/>
                    </a:lnTo>
                    <a:lnTo>
                      <a:pt x="156" y="406"/>
                    </a:lnTo>
                    <a:lnTo>
                      <a:pt x="152" y="410"/>
                    </a:lnTo>
                    <a:lnTo>
                      <a:pt x="148" y="412"/>
                    </a:lnTo>
                    <a:lnTo>
                      <a:pt x="144" y="416"/>
                    </a:lnTo>
                    <a:lnTo>
                      <a:pt x="142" y="420"/>
                    </a:lnTo>
                    <a:lnTo>
                      <a:pt x="140" y="422"/>
                    </a:lnTo>
                    <a:lnTo>
                      <a:pt x="138" y="424"/>
                    </a:lnTo>
                    <a:lnTo>
                      <a:pt x="134" y="426"/>
                    </a:lnTo>
                    <a:lnTo>
                      <a:pt x="132" y="428"/>
                    </a:lnTo>
                    <a:lnTo>
                      <a:pt x="132" y="428"/>
                    </a:lnTo>
                    <a:lnTo>
                      <a:pt x="132" y="428"/>
                    </a:lnTo>
                    <a:lnTo>
                      <a:pt x="130" y="428"/>
                    </a:lnTo>
                    <a:lnTo>
                      <a:pt x="130" y="428"/>
                    </a:lnTo>
                    <a:lnTo>
                      <a:pt x="130" y="430"/>
                    </a:lnTo>
                    <a:lnTo>
                      <a:pt x="128" y="432"/>
                    </a:lnTo>
                    <a:lnTo>
                      <a:pt x="128" y="432"/>
                    </a:lnTo>
                    <a:lnTo>
                      <a:pt x="128" y="432"/>
                    </a:lnTo>
                    <a:lnTo>
                      <a:pt x="128" y="434"/>
                    </a:lnTo>
                    <a:lnTo>
                      <a:pt x="128" y="434"/>
                    </a:lnTo>
                    <a:lnTo>
                      <a:pt x="128" y="434"/>
                    </a:lnTo>
                    <a:lnTo>
                      <a:pt x="128" y="436"/>
                    </a:lnTo>
                    <a:lnTo>
                      <a:pt x="128" y="436"/>
                    </a:lnTo>
                    <a:lnTo>
                      <a:pt x="130" y="438"/>
                    </a:lnTo>
                    <a:lnTo>
                      <a:pt x="130" y="440"/>
                    </a:lnTo>
                    <a:lnTo>
                      <a:pt x="132" y="442"/>
                    </a:lnTo>
                    <a:lnTo>
                      <a:pt x="134" y="446"/>
                    </a:lnTo>
                    <a:lnTo>
                      <a:pt x="138" y="448"/>
                    </a:lnTo>
                    <a:lnTo>
                      <a:pt x="138" y="450"/>
                    </a:lnTo>
                    <a:lnTo>
                      <a:pt x="140" y="452"/>
                    </a:lnTo>
                    <a:lnTo>
                      <a:pt x="140" y="452"/>
                    </a:lnTo>
                    <a:lnTo>
                      <a:pt x="140" y="452"/>
                    </a:lnTo>
                    <a:lnTo>
                      <a:pt x="140" y="454"/>
                    </a:lnTo>
                    <a:lnTo>
                      <a:pt x="142" y="454"/>
                    </a:lnTo>
                    <a:lnTo>
                      <a:pt x="142" y="454"/>
                    </a:lnTo>
                    <a:lnTo>
                      <a:pt x="142" y="456"/>
                    </a:lnTo>
                    <a:lnTo>
                      <a:pt x="142" y="456"/>
                    </a:lnTo>
                    <a:lnTo>
                      <a:pt x="142" y="456"/>
                    </a:lnTo>
                    <a:lnTo>
                      <a:pt x="142" y="458"/>
                    </a:lnTo>
                    <a:lnTo>
                      <a:pt x="142" y="458"/>
                    </a:lnTo>
                    <a:lnTo>
                      <a:pt x="142" y="460"/>
                    </a:lnTo>
                    <a:lnTo>
                      <a:pt x="142" y="460"/>
                    </a:lnTo>
                    <a:lnTo>
                      <a:pt x="142" y="460"/>
                    </a:lnTo>
                    <a:lnTo>
                      <a:pt x="142" y="464"/>
                    </a:lnTo>
                    <a:lnTo>
                      <a:pt x="144" y="466"/>
                    </a:lnTo>
                    <a:lnTo>
                      <a:pt x="146" y="472"/>
                    </a:lnTo>
                    <a:lnTo>
                      <a:pt x="148" y="476"/>
                    </a:lnTo>
                    <a:lnTo>
                      <a:pt x="148" y="478"/>
                    </a:lnTo>
                    <a:lnTo>
                      <a:pt x="150" y="482"/>
                    </a:lnTo>
                    <a:lnTo>
                      <a:pt x="150" y="484"/>
                    </a:lnTo>
                    <a:lnTo>
                      <a:pt x="148" y="486"/>
                    </a:lnTo>
                    <a:lnTo>
                      <a:pt x="146" y="490"/>
                    </a:lnTo>
                    <a:lnTo>
                      <a:pt x="144" y="492"/>
                    </a:lnTo>
                    <a:lnTo>
                      <a:pt x="144" y="492"/>
                    </a:lnTo>
                    <a:lnTo>
                      <a:pt x="144" y="492"/>
                    </a:lnTo>
                    <a:lnTo>
                      <a:pt x="144" y="494"/>
                    </a:lnTo>
                    <a:lnTo>
                      <a:pt x="144" y="494"/>
                    </a:lnTo>
                    <a:lnTo>
                      <a:pt x="144" y="496"/>
                    </a:lnTo>
                    <a:lnTo>
                      <a:pt x="144" y="498"/>
                    </a:lnTo>
                    <a:lnTo>
                      <a:pt x="144" y="502"/>
                    </a:lnTo>
                    <a:lnTo>
                      <a:pt x="144" y="504"/>
                    </a:lnTo>
                    <a:lnTo>
                      <a:pt x="144" y="508"/>
                    </a:lnTo>
                    <a:lnTo>
                      <a:pt x="144" y="508"/>
                    </a:lnTo>
                    <a:lnTo>
                      <a:pt x="144" y="510"/>
                    </a:lnTo>
                    <a:lnTo>
                      <a:pt x="148" y="514"/>
                    </a:lnTo>
                    <a:lnTo>
                      <a:pt x="148" y="516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52" y="532"/>
                    </a:lnTo>
                    <a:lnTo>
                      <a:pt x="154" y="542"/>
                    </a:lnTo>
                    <a:lnTo>
                      <a:pt x="154" y="544"/>
                    </a:lnTo>
                    <a:lnTo>
                      <a:pt x="154" y="544"/>
                    </a:lnTo>
                    <a:lnTo>
                      <a:pt x="154" y="546"/>
                    </a:lnTo>
                    <a:lnTo>
                      <a:pt x="156" y="546"/>
                    </a:lnTo>
                    <a:lnTo>
                      <a:pt x="156" y="550"/>
                    </a:lnTo>
                    <a:lnTo>
                      <a:pt x="158" y="552"/>
                    </a:lnTo>
                    <a:lnTo>
                      <a:pt x="158" y="554"/>
                    </a:lnTo>
                    <a:lnTo>
                      <a:pt x="158" y="556"/>
                    </a:lnTo>
                    <a:lnTo>
                      <a:pt x="158" y="560"/>
                    </a:lnTo>
                    <a:lnTo>
                      <a:pt x="158" y="564"/>
                    </a:lnTo>
                    <a:lnTo>
                      <a:pt x="158" y="570"/>
                    </a:lnTo>
                    <a:lnTo>
                      <a:pt x="156" y="576"/>
                    </a:lnTo>
                    <a:lnTo>
                      <a:pt x="156" y="584"/>
                    </a:lnTo>
                    <a:lnTo>
                      <a:pt x="154" y="592"/>
                    </a:lnTo>
                    <a:lnTo>
                      <a:pt x="154" y="598"/>
                    </a:lnTo>
                    <a:lnTo>
                      <a:pt x="154" y="606"/>
                    </a:lnTo>
                    <a:lnTo>
                      <a:pt x="154" y="612"/>
                    </a:lnTo>
                    <a:lnTo>
                      <a:pt x="154" y="612"/>
                    </a:lnTo>
                    <a:lnTo>
                      <a:pt x="154" y="612"/>
                    </a:lnTo>
                    <a:lnTo>
                      <a:pt x="156" y="616"/>
                    </a:lnTo>
                    <a:lnTo>
                      <a:pt x="158" y="622"/>
                    </a:lnTo>
                    <a:lnTo>
                      <a:pt x="164" y="628"/>
                    </a:lnTo>
                    <a:lnTo>
                      <a:pt x="166" y="632"/>
                    </a:lnTo>
                    <a:lnTo>
                      <a:pt x="168" y="636"/>
                    </a:lnTo>
                    <a:lnTo>
                      <a:pt x="170" y="640"/>
                    </a:lnTo>
                    <a:lnTo>
                      <a:pt x="172" y="644"/>
                    </a:lnTo>
                    <a:lnTo>
                      <a:pt x="170" y="648"/>
                    </a:lnTo>
                    <a:lnTo>
                      <a:pt x="170" y="648"/>
                    </a:lnTo>
                    <a:lnTo>
                      <a:pt x="170" y="650"/>
                    </a:lnTo>
                    <a:lnTo>
                      <a:pt x="170" y="656"/>
                    </a:lnTo>
                    <a:lnTo>
                      <a:pt x="168" y="662"/>
                    </a:lnTo>
                    <a:lnTo>
                      <a:pt x="168" y="666"/>
                    </a:lnTo>
                    <a:lnTo>
                      <a:pt x="168" y="668"/>
                    </a:lnTo>
                    <a:lnTo>
                      <a:pt x="166" y="668"/>
                    </a:lnTo>
                    <a:lnTo>
                      <a:pt x="166" y="668"/>
                    </a:lnTo>
                    <a:lnTo>
                      <a:pt x="164" y="668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58" y="670"/>
                    </a:lnTo>
                    <a:lnTo>
                      <a:pt x="158" y="672"/>
                    </a:lnTo>
                    <a:lnTo>
                      <a:pt x="158" y="672"/>
                    </a:lnTo>
                    <a:lnTo>
                      <a:pt x="156" y="672"/>
                    </a:lnTo>
                    <a:lnTo>
                      <a:pt x="156" y="674"/>
                    </a:lnTo>
                    <a:lnTo>
                      <a:pt x="156" y="674"/>
                    </a:lnTo>
                    <a:lnTo>
                      <a:pt x="156" y="674"/>
                    </a:lnTo>
                    <a:lnTo>
                      <a:pt x="156" y="676"/>
                    </a:lnTo>
                    <a:lnTo>
                      <a:pt x="156" y="680"/>
                    </a:lnTo>
                    <a:lnTo>
                      <a:pt x="156" y="684"/>
                    </a:lnTo>
                    <a:lnTo>
                      <a:pt x="154" y="686"/>
                    </a:lnTo>
                    <a:lnTo>
                      <a:pt x="154" y="686"/>
                    </a:lnTo>
                    <a:lnTo>
                      <a:pt x="150" y="688"/>
                    </a:lnTo>
                    <a:lnTo>
                      <a:pt x="146" y="692"/>
                    </a:lnTo>
                    <a:lnTo>
                      <a:pt x="144" y="696"/>
                    </a:lnTo>
                    <a:lnTo>
                      <a:pt x="144" y="696"/>
                    </a:lnTo>
                    <a:lnTo>
                      <a:pt x="144" y="698"/>
                    </a:lnTo>
                    <a:lnTo>
                      <a:pt x="142" y="700"/>
                    </a:lnTo>
                    <a:lnTo>
                      <a:pt x="140" y="702"/>
                    </a:lnTo>
                    <a:lnTo>
                      <a:pt x="138" y="704"/>
                    </a:lnTo>
                    <a:lnTo>
                      <a:pt x="136" y="706"/>
                    </a:lnTo>
                    <a:lnTo>
                      <a:pt x="134" y="708"/>
                    </a:lnTo>
                    <a:lnTo>
                      <a:pt x="134" y="710"/>
                    </a:lnTo>
                    <a:lnTo>
                      <a:pt x="134" y="710"/>
                    </a:lnTo>
                    <a:lnTo>
                      <a:pt x="134" y="710"/>
                    </a:lnTo>
                    <a:lnTo>
                      <a:pt x="132" y="712"/>
                    </a:lnTo>
                    <a:lnTo>
                      <a:pt x="132" y="712"/>
                    </a:lnTo>
                    <a:lnTo>
                      <a:pt x="132" y="712"/>
                    </a:lnTo>
                    <a:lnTo>
                      <a:pt x="132" y="714"/>
                    </a:lnTo>
                    <a:lnTo>
                      <a:pt x="132" y="714"/>
                    </a:lnTo>
                    <a:lnTo>
                      <a:pt x="132" y="716"/>
                    </a:lnTo>
                    <a:lnTo>
                      <a:pt x="134" y="718"/>
                    </a:lnTo>
                    <a:lnTo>
                      <a:pt x="134" y="718"/>
                    </a:lnTo>
                    <a:lnTo>
                      <a:pt x="134" y="718"/>
                    </a:lnTo>
                    <a:lnTo>
                      <a:pt x="136" y="722"/>
                    </a:lnTo>
                    <a:lnTo>
                      <a:pt x="138" y="724"/>
                    </a:lnTo>
                    <a:lnTo>
                      <a:pt x="140" y="728"/>
                    </a:lnTo>
                    <a:lnTo>
                      <a:pt x="140" y="728"/>
                    </a:lnTo>
                    <a:lnTo>
                      <a:pt x="142" y="728"/>
                    </a:lnTo>
                    <a:lnTo>
                      <a:pt x="144" y="732"/>
                    </a:lnTo>
                    <a:lnTo>
                      <a:pt x="146" y="734"/>
                    </a:lnTo>
                    <a:lnTo>
                      <a:pt x="148" y="736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2" y="738"/>
                    </a:lnTo>
                    <a:lnTo>
                      <a:pt x="140" y="740"/>
                    </a:lnTo>
                    <a:lnTo>
                      <a:pt x="140" y="740"/>
                    </a:lnTo>
                    <a:lnTo>
                      <a:pt x="140" y="740"/>
                    </a:lnTo>
                    <a:lnTo>
                      <a:pt x="138" y="740"/>
                    </a:lnTo>
                    <a:lnTo>
                      <a:pt x="138" y="740"/>
                    </a:lnTo>
                    <a:lnTo>
                      <a:pt x="136" y="740"/>
                    </a:lnTo>
                    <a:lnTo>
                      <a:pt x="134" y="742"/>
                    </a:lnTo>
                    <a:lnTo>
                      <a:pt x="134" y="742"/>
                    </a:lnTo>
                    <a:lnTo>
                      <a:pt x="134" y="742"/>
                    </a:lnTo>
                    <a:lnTo>
                      <a:pt x="132" y="744"/>
                    </a:lnTo>
                    <a:lnTo>
                      <a:pt x="132" y="744"/>
                    </a:lnTo>
                    <a:lnTo>
                      <a:pt x="132" y="746"/>
                    </a:lnTo>
                    <a:lnTo>
                      <a:pt x="132" y="748"/>
                    </a:lnTo>
                    <a:lnTo>
                      <a:pt x="130" y="748"/>
                    </a:lnTo>
                    <a:lnTo>
                      <a:pt x="130" y="748"/>
                    </a:lnTo>
                    <a:lnTo>
                      <a:pt x="130" y="750"/>
                    </a:lnTo>
                    <a:lnTo>
                      <a:pt x="130" y="750"/>
                    </a:lnTo>
                    <a:lnTo>
                      <a:pt x="130" y="750"/>
                    </a:lnTo>
                    <a:lnTo>
                      <a:pt x="130" y="752"/>
                    </a:lnTo>
                    <a:lnTo>
                      <a:pt x="128" y="756"/>
                    </a:lnTo>
                    <a:lnTo>
                      <a:pt x="128" y="756"/>
                    </a:lnTo>
                    <a:lnTo>
                      <a:pt x="128" y="756"/>
                    </a:lnTo>
                    <a:lnTo>
                      <a:pt x="128" y="760"/>
                    </a:lnTo>
                    <a:lnTo>
                      <a:pt x="128" y="762"/>
                    </a:lnTo>
                    <a:lnTo>
                      <a:pt x="128" y="766"/>
                    </a:lnTo>
                    <a:lnTo>
                      <a:pt x="126" y="768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124" y="774"/>
                    </a:lnTo>
                    <a:lnTo>
                      <a:pt x="124" y="774"/>
                    </a:lnTo>
                    <a:lnTo>
                      <a:pt x="124" y="776"/>
                    </a:lnTo>
                    <a:lnTo>
                      <a:pt x="124" y="778"/>
                    </a:lnTo>
                    <a:lnTo>
                      <a:pt x="124" y="778"/>
                    </a:lnTo>
                    <a:lnTo>
                      <a:pt x="124" y="778"/>
                    </a:lnTo>
                    <a:lnTo>
                      <a:pt x="124" y="780"/>
                    </a:lnTo>
                    <a:lnTo>
                      <a:pt x="124" y="782"/>
                    </a:lnTo>
                    <a:lnTo>
                      <a:pt x="122" y="784"/>
                    </a:lnTo>
                    <a:lnTo>
                      <a:pt x="122" y="788"/>
                    </a:lnTo>
                    <a:lnTo>
                      <a:pt x="122" y="790"/>
                    </a:lnTo>
                    <a:lnTo>
                      <a:pt x="122" y="792"/>
                    </a:lnTo>
                    <a:lnTo>
                      <a:pt x="122" y="792"/>
                    </a:lnTo>
                    <a:lnTo>
                      <a:pt x="122" y="792"/>
                    </a:lnTo>
                    <a:lnTo>
                      <a:pt x="124" y="794"/>
                    </a:lnTo>
                    <a:lnTo>
                      <a:pt x="124" y="794"/>
                    </a:lnTo>
                    <a:lnTo>
                      <a:pt x="124" y="794"/>
                    </a:lnTo>
                    <a:lnTo>
                      <a:pt x="124" y="796"/>
                    </a:lnTo>
                    <a:lnTo>
                      <a:pt x="124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8" y="796"/>
                    </a:lnTo>
                    <a:lnTo>
                      <a:pt x="128" y="796"/>
                    </a:lnTo>
                    <a:lnTo>
                      <a:pt x="128" y="796"/>
                    </a:lnTo>
                    <a:lnTo>
                      <a:pt x="128" y="798"/>
                    </a:lnTo>
                    <a:lnTo>
                      <a:pt x="130" y="800"/>
                    </a:lnTo>
                    <a:lnTo>
                      <a:pt x="130" y="800"/>
                    </a:lnTo>
                    <a:lnTo>
                      <a:pt x="130" y="800"/>
                    </a:lnTo>
                    <a:lnTo>
                      <a:pt x="132" y="802"/>
                    </a:lnTo>
                    <a:lnTo>
                      <a:pt x="134" y="802"/>
                    </a:lnTo>
                    <a:lnTo>
                      <a:pt x="134" y="804"/>
                    </a:lnTo>
                    <a:lnTo>
                      <a:pt x="134" y="804"/>
                    </a:lnTo>
                    <a:lnTo>
                      <a:pt x="132" y="806"/>
                    </a:lnTo>
                    <a:lnTo>
                      <a:pt x="132" y="808"/>
                    </a:lnTo>
                    <a:lnTo>
                      <a:pt x="132" y="810"/>
                    </a:lnTo>
                    <a:lnTo>
                      <a:pt x="130" y="814"/>
                    </a:lnTo>
                    <a:lnTo>
                      <a:pt x="130" y="818"/>
                    </a:lnTo>
                    <a:lnTo>
                      <a:pt x="128" y="822"/>
                    </a:lnTo>
                    <a:lnTo>
                      <a:pt x="128" y="826"/>
                    </a:lnTo>
                    <a:lnTo>
                      <a:pt x="128" y="828"/>
                    </a:lnTo>
                    <a:lnTo>
                      <a:pt x="128" y="828"/>
                    </a:lnTo>
                    <a:lnTo>
                      <a:pt x="128" y="830"/>
                    </a:lnTo>
                    <a:lnTo>
                      <a:pt x="128" y="832"/>
                    </a:lnTo>
                    <a:lnTo>
                      <a:pt x="128" y="832"/>
                    </a:lnTo>
                    <a:lnTo>
                      <a:pt x="128" y="832"/>
                    </a:lnTo>
                    <a:lnTo>
                      <a:pt x="130" y="834"/>
                    </a:lnTo>
                    <a:lnTo>
                      <a:pt x="130" y="834"/>
                    </a:lnTo>
                    <a:lnTo>
                      <a:pt x="130" y="836"/>
                    </a:lnTo>
                    <a:lnTo>
                      <a:pt x="132" y="838"/>
                    </a:lnTo>
                    <a:lnTo>
                      <a:pt x="132" y="838"/>
                    </a:lnTo>
                    <a:lnTo>
                      <a:pt x="132" y="838"/>
                    </a:lnTo>
                    <a:lnTo>
                      <a:pt x="136" y="840"/>
                    </a:lnTo>
                    <a:lnTo>
                      <a:pt x="140" y="844"/>
                    </a:lnTo>
                    <a:lnTo>
                      <a:pt x="144" y="846"/>
                    </a:lnTo>
                    <a:lnTo>
                      <a:pt x="148" y="848"/>
                    </a:lnTo>
                    <a:lnTo>
                      <a:pt x="152" y="852"/>
                    </a:lnTo>
                    <a:lnTo>
                      <a:pt x="154" y="856"/>
                    </a:lnTo>
                    <a:lnTo>
                      <a:pt x="158" y="858"/>
                    </a:lnTo>
                    <a:lnTo>
                      <a:pt x="160" y="860"/>
                    </a:lnTo>
                    <a:lnTo>
                      <a:pt x="160" y="860"/>
                    </a:lnTo>
                    <a:lnTo>
                      <a:pt x="162" y="862"/>
                    </a:lnTo>
                    <a:lnTo>
                      <a:pt x="162" y="862"/>
                    </a:lnTo>
                    <a:lnTo>
                      <a:pt x="164" y="864"/>
                    </a:lnTo>
                    <a:lnTo>
                      <a:pt x="164" y="866"/>
                    </a:lnTo>
                    <a:lnTo>
                      <a:pt x="164" y="868"/>
                    </a:lnTo>
                    <a:lnTo>
                      <a:pt x="166" y="872"/>
                    </a:lnTo>
                    <a:lnTo>
                      <a:pt x="168" y="878"/>
                    </a:lnTo>
                    <a:lnTo>
                      <a:pt x="170" y="882"/>
                    </a:lnTo>
                    <a:lnTo>
                      <a:pt x="172" y="886"/>
                    </a:lnTo>
                    <a:lnTo>
                      <a:pt x="172" y="890"/>
                    </a:lnTo>
                    <a:lnTo>
                      <a:pt x="172" y="892"/>
                    </a:lnTo>
                    <a:lnTo>
                      <a:pt x="172" y="898"/>
                    </a:lnTo>
                    <a:lnTo>
                      <a:pt x="172" y="902"/>
                    </a:lnTo>
                    <a:lnTo>
                      <a:pt x="172" y="906"/>
                    </a:lnTo>
                    <a:lnTo>
                      <a:pt x="172" y="906"/>
                    </a:lnTo>
                    <a:lnTo>
                      <a:pt x="172" y="906"/>
                    </a:lnTo>
                    <a:lnTo>
                      <a:pt x="172" y="908"/>
                    </a:lnTo>
                    <a:lnTo>
                      <a:pt x="172" y="910"/>
                    </a:lnTo>
                    <a:lnTo>
                      <a:pt x="172" y="912"/>
                    </a:lnTo>
                    <a:lnTo>
                      <a:pt x="174" y="916"/>
                    </a:lnTo>
                    <a:lnTo>
                      <a:pt x="174" y="918"/>
                    </a:lnTo>
                    <a:lnTo>
                      <a:pt x="174" y="920"/>
                    </a:lnTo>
                    <a:lnTo>
                      <a:pt x="174" y="922"/>
                    </a:lnTo>
                    <a:lnTo>
                      <a:pt x="174" y="922"/>
                    </a:lnTo>
                    <a:lnTo>
                      <a:pt x="174" y="924"/>
                    </a:lnTo>
                    <a:lnTo>
                      <a:pt x="172" y="926"/>
                    </a:lnTo>
                    <a:lnTo>
                      <a:pt x="170" y="928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68" y="932"/>
                    </a:lnTo>
                    <a:lnTo>
                      <a:pt x="168" y="932"/>
                    </a:lnTo>
                    <a:lnTo>
                      <a:pt x="168" y="934"/>
                    </a:lnTo>
                    <a:lnTo>
                      <a:pt x="168" y="936"/>
                    </a:lnTo>
                    <a:lnTo>
                      <a:pt x="168" y="936"/>
                    </a:lnTo>
                    <a:lnTo>
                      <a:pt x="170" y="936"/>
                    </a:lnTo>
                    <a:lnTo>
                      <a:pt x="170" y="938"/>
                    </a:lnTo>
                    <a:lnTo>
                      <a:pt x="170" y="938"/>
                    </a:lnTo>
                    <a:lnTo>
                      <a:pt x="170" y="938"/>
                    </a:lnTo>
                    <a:lnTo>
                      <a:pt x="172" y="940"/>
                    </a:lnTo>
                    <a:lnTo>
                      <a:pt x="172" y="940"/>
                    </a:lnTo>
                    <a:lnTo>
                      <a:pt x="172" y="940"/>
                    </a:lnTo>
                    <a:lnTo>
                      <a:pt x="174" y="940"/>
                    </a:lnTo>
                    <a:lnTo>
                      <a:pt x="176" y="942"/>
                    </a:lnTo>
                    <a:lnTo>
                      <a:pt x="178" y="942"/>
                    </a:lnTo>
                    <a:lnTo>
                      <a:pt x="182" y="942"/>
                    </a:lnTo>
                    <a:lnTo>
                      <a:pt x="188" y="942"/>
                    </a:lnTo>
                    <a:lnTo>
                      <a:pt x="194" y="942"/>
                    </a:lnTo>
                    <a:lnTo>
                      <a:pt x="200" y="942"/>
                    </a:lnTo>
                    <a:lnTo>
                      <a:pt x="206" y="942"/>
                    </a:lnTo>
                    <a:lnTo>
                      <a:pt x="210" y="942"/>
                    </a:lnTo>
                    <a:lnTo>
                      <a:pt x="212" y="942"/>
                    </a:lnTo>
                    <a:lnTo>
                      <a:pt x="214" y="942"/>
                    </a:lnTo>
                    <a:lnTo>
                      <a:pt x="216" y="942"/>
                    </a:lnTo>
                    <a:lnTo>
                      <a:pt x="216" y="944"/>
                    </a:lnTo>
                    <a:lnTo>
                      <a:pt x="218" y="946"/>
                    </a:lnTo>
                    <a:lnTo>
                      <a:pt x="218" y="946"/>
                    </a:lnTo>
                    <a:lnTo>
                      <a:pt x="218" y="952"/>
                    </a:lnTo>
                    <a:lnTo>
                      <a:pt x="218" y="954"/>
                    </a:lnTo>
                    <a:lnTo>
                      <a:pt x="218" y="954"/>
                    </a:lnTo>
                    <a:lnTo>
                      <a:pt x="220" y="954"/>
                    </a:lnTo>
                    <a:lnTo>
                      <a:pt x="220" y="956"/>
                    </a:lnTo>
                    <a:lnTo>
                      <a:pt x="220" y="956"/>
                    </a:lnTo>
                    <a:lnTo>
                      <a:pt x="220" y="956"/>
                    </a:lnTo>
                    <a:lnTo>
                      <a:pt x="222" y="958"/>
                    </a:lnTo>
                    <a:lnTo>
                      <a:pt x="222" y="958"/>
                    </a:lnTo>
                    <a:lnTo>
                      <a:pt x="222" y="958"/>
                    </a:lnTo>
                    <a:lnTo>
                      <a:pt x="224" y="960"/>
                    </a:lnTo>
                    <a:lnTo>
                      <a:pt x="224" y="960"/>
                    </a:lnTo>
                    <a:lnTo>
                      <a:pt x="224" y="960"/>
                    </a:lnTo>
                    <a:lnTo>
                      <a:pt x="228" y="962"/>
                    </a:lnTo>
                    <a:lnTo>
                      <a:pt x="232" y="964"/>
                    </a:lnTo>
                    <a:lnTo>
                      <a:pt x="232" y="964"/>
                    </a:lnTo>
                    <a:lnTo>
                      <a:pt x="234" y="966"/>
                    </a:lnTo>
                    <a:lnTo>
                      <a:pt x="234" y="966"/>
                    </a:lnTo>
                    <a:lnTo>
                      <a:pt x="234" y="966"/>
                    </a:lnTo>
                    <a:lnTo>
                      <a:pt x="238" y="970"/>
                    </a:lnTo>
                    <a:lnTo>
                      <a:pt x="242" y="974"/>
                    </a:lnTo>
                    <a:lnTo>
                      <a:pt x="248" y="978"/>
                    </a:lnTo>
                    <a:lnTo>
                      <a:pt x="252" y="980"/>
                    </a:lnTo>
                    <a:lnTo>
                      <a:pt x="252" y="980"/>
                    </a:lnTo>
                    <a:lnTo>
                      <a:pt x="252" y="982"/>
                    </a:lnTo>
                    <a:lnTo>
                      <a:pt x="254" y="982"/>
                    </a:lnTo>
                    <a:lnTo>
                      <a:pt x="254" y="982"/>
                    </a:lnTo>
                    <a:lnTo>
                      <a:pt x="256" y="982"/>
                    </a:lnTo>
                    <a:lnTo>
                      <a:pt x="260" y="982"/>
                    </a:lnTo>
                    <a:lnTo>
                      <a:pt x="266" y="984"/>
                    </a:lnTo>
                    <a:lnTo>
                      <a:pt x="268" y="986"/>
                    </a:lnTo>
                    <a:lnTo>
                      <a:pt x="270" y="986"/>
                    </a:lnTo>
                    <a:lnTo>
                      <a:pt x="272" y="988"/>
                    </a:lnTo>
                    <a:lnTo>
                      <a:pt x="272" y="988"/>
                    </a:lnTo>
                    <a:lnTo>
                      <a:pt x="274" y="988"/>
                    </a:lnTo>
                    <a:lnTo>
                      <a:pt x="274" y="990"/>
                    </a:lnTo>
                    <a:lnTo>
                      <a:pt x="274" y="990"/>
                    </a:lnTo>
                    <a:lnTo>
                      <a:pt x="276" y="990"/>
                    </a:lnTo>
                    <a:lnTo>
                      <a:pt x="278" y="990"/>
                    </a:lnTo>
                    <a:lnTo>
                      <a:pt x="278" y="990"/>
                    </a:lnTo>
                    <a:lnTo>
                      <a:pt x="278" y="990"/>
                    </a:lnTo>
                    <a:lnTo>
                      <a:pt x="280" y="990"/>
                    </a:lnTo>
                    <a:lnTo>
                      <a:pt x="280" y="988"/>
                    </a:lnTo>
                    <a:lnTo>
                      <a:pt x="282" y="988"/>
                    </a:lnTo>
                    <a:lnTo>
                      <a:pt x="284" y="988"/>
                    </a:lnTo>
                    <a:lnTo>
                      <a:pt x="286" y="988"/>
                    </a:lnTo>
                    <a:lnTo>
                      <a:pt x="288" y="988"/>
                    </a:lnTo>
                    <a:lnTo>
                      <a:pt x="290" y="990"/>
                    </a:lnTo>
                    <a:lnTo>
                      <a:pt x="296" y="992"/>
                    </a:lnTo>
                    <a:lnTo>
                      <a:pt x="300" y="994"/>
                    </a:lnTo>
                    <a:lnTo>
                      <a:pt x="304" y="996"/>
                    </a:lnTo>
                    <a:lnTo>
                      <a:pt x="306" y="998"/>
                    </a:lnTo>
                    <a:lnTo>
                      <a:pt x="306" y="998"/>
                    </a:lnTo>
                    <a:lnTo>
                      <a:pt x="308" y="1000"/>
                    </a:lnTo>
                    <a:lnTo>
                      <a:pt x="308" y="1004"/>
                    </a:lnTo>
                    <a:lnTo>
                      <a:pt x="308" y="1004"/>
                    </a:lnTo>
                    <a:lnTo>
                      <a:pt x="310" y="1006"/>
                    </a:lnTo>
                    <a:lnTo>
                      <a:pt x="308" y="1008"/>
                    </a:lnTo>
                    <a:lnTo>
                      <a:pt x="308" y="1010"/>
                    </a:lnTo>
                    <a:lnTo>
                      <a:pt x="308" y="1014"/>
                    </a:lnTo>
                    <a:lnTo>
                      <a:pt x="306" y="1018"/>
                    </a:lnTo>
                    <a:lnTo>
                      <a:pt x="304" y="1024"/>
                    </a:lnTo>
                    <a:lnTo>
                      <a:pt x="302" y="1028"/>
                    </a:lnTo>
                    <a:lnTo>
                      <a:pt x="302" y="1030"/>
                    </a:lnTo>
                    <a:lnTo>
                      <a:pt x="298" y="1036"/>
                    </a:lnTo>
                    <a:lnTo>
                      <a:pt x="298" y="1036"/>
                    </a:lnTo>
                    <a:lnTo>
                      <a:pt x="296" y="1040"/>
                    </a:lnTo>
                    <a:lnTo>
                      <a:pt x="292" y="1042"/>
                    </a:lnTo>
                    <a:lnTo>
                      <a:pt x="290" y="1044"/>
                    </a:lnTo>
                    <a:lnTo>
                      <a:pt x="290" y="1044"/>
                    </a:lnTo>
                    <a:lnTo>
                      <a:pt x="288" y="1044"/>
                    </a:lnTo>
                    <a:lnTo>
                      <a:pt x="288" y="1044"/>
                    </a:lnTo>
                    <a:lnTo>
                      <a:pt x="286" y="1044"/>
                    </a:lnTo>
                    <a:lnTo>
                      <a:pt x="284" y="1042"/>
                    </a:lnTo>
                    <a:lnTo>
                      <a:pt x="284" y="1042"/>
                    </a:lnTo>
                    <a:lnTo>
                      <a:pt x="284" y="1042"/>
                    </a:lnTo>
                    <a:lnTo>
                      <a:pt x="282" y="1042"/>
                    </a:lnTo>
                    <a:lnTo>
                      <a:pt x="282" y="1042"/>
                    </a:lnTo>
                    <a:lnTo>
                      <a:pt x="280" y="1044"/>
                    </a:lnTo>
                    <a:lnTo>
                      <a:pt x="280" y="1044"/>
                    </a:lnTo>
                    <a:lnTo>
                      <a:pt x="280" y="1044"/>
                    </a:lnTo>
                    <a:lnTo>
                      <a:pt x="278" y="1046"/>
                    </a:lnTo>
                    <a:lnTo>
                      <a:pt x="278" y="1046"/>
                    </a:lnTo>
                    <a:lnTo>
                      <a:pt x="278" y="1046"/>
                    </a:lnTo>
                    <a:lnTo>
                      <a:pt x="278" y="1048"/>
                    </a:lnTo>
                    <a:lnTo>
                      <a:pt x="280" y="1050"/>
                    </a:lnTo>
                    <a:lnTo>
                      <a:pt x="284" y="1052"/>
                    </a:lnTo>
                    <a:lnTo>
                      <a:pt x="286" y="1052"/>
                    </a:lnTo>
                    <a:lnTo>
                      <a:pt x="286" y="1054"/>
                    </a:lnTo>
                    <a:lnTo>
                      <a:pt x="288" y="1056"/>
                    </a:lnTo>
                    <a:lnTo>
                      <a:pt x="288" y="1058"/>
                    </a:lnTo>
                    <a:lnTo>
                      <a:pt x="288" y="1058"/>
                    </a:lnTo>
                    <a:lnTo>
                      <a:pt x="288" y="1062"/>
                    </a:lnTo>
                    <a:lnTo>
                      <a:pt x="288" y="1064"/>
                    </a:lnTo>
                    <a:lnTo>
                      <a:pt x="288" y="1066"/>
                    </a:lnTo>
                    <a:lnTo>
                      <a:pt x="288" y="1066"/>
                    </a:lnTo>
                    <a:lnTo>
                      <a:pt x="286" y="1066"/>
                    </a:lnTo>
                    <a:lnTo>
                      <a:pt x="282" y="1066"/>
                    </a:lnTo>
                    <a:lnTo>
                      <a:pt x="282" y="1066"/>
                    </a:lnTo>
                    <a:lnTo>
                      <a:pt x="282" y="1066"/>
                    </a:lnTo>
                    <a:lnTo>
                      <a:pt x="280" y="1068"/>
                    </a:lnTo>
                    <a:lnTo>
                      <a:pt x="280" y="1068"/>
                    </a:lnTo>
                    <a:lnTo>
                      <a:pt x="280" y="1068"/>
                    </a:lnTo>
                    <a:lnTo>
                      <a:pt x="280" y="1070"/>
                    </a:lnTo>
                    <a:lnTo>
                      <a:pt x="280" y="1070"/>
                    </a:lnTo>
                    <a:lnTo>
                      <a:pt x="278" y="1070"/>
                    </a:lnTo>
                    <a:lnTo>
                      <a:pt x="278" y="1072"/>
                    </a:lnTo>
                    <a:lnTo>
                      <a:pt x="278" y="1078"/>
                    </a:lnTo>
                    <a:lnTo>
                      <a:pt x="278" y="1080"/>
                    </a:lnTo>
                    <a:lnTo>
                      <a:pt x="278" y="1082"/>
                    </a:lnTo>
                    <a:lnTo>
                      <a:pt x="278" y="1086"/>
                    </a:lnTo>
                    <a:lnTo>
                      <a:pt x="276" y="1090"/>
                    </a:lnTo>
                    <a:lnTo>
                      <a:pt x="276" y="1092"/>
                    </a:lnTo>
                    <a:lnTo>
                      <a:pt x="276" y="1092"/>
                    </a:lnTo>
                    <a:lnTo>
                      <a:pt x="276" y="1092"/>
                    </a:lnTo>
                    <a:lnTo>
                      <a:pt x="274" y="1092"/>
                    </a:lnTo>
                    <a:lnTo>
                      <a:pt x="272" y="1092"/>
                    </a:lnTo>
                    <a:lnTo>
                      <a:pt x="272" y="1092"/>
                    </a:lnTo>
                    <a:lnTo>
                      <a:pt x="272" y="1092"/>
                    </a:lnTo>
                    <a:lnTo>
                      <a:pt x="270" y="1094"/>
                    </a:lnTo>
                    <a:lnTo>
                      <a:pt x="270" y="1094"/>
                    </a:lnTo>
                    <a:lnTo>
                      <a:pt x="270" y="1094"/>
                    </a:lnTo>
                    <a:lnTo>
                      <a:pt x="268" y="1096"/>
                    </a:lnTo>
                    <a:lnTo>
                      <a:pt x="268" y="1096"/>
                    </a:lnTo>
                    <a:lnTo>
                      <a:pt x="268" y="1096"/>
                    </a:lnTo>
                    <a:lnTo>
                      <a:pt x="266" y="1098"/>
                    </a:lnTo>
                    <a:lnTo>
                      <a:pt x="266" y="1100"/>
                    </a:lnTo>
                    <a:lnTo>
                      <a:pt x="266" y="1102"/>
                    </a:lnTo>
                    <a:lnTo>
                      <a:pt x="266" y="1102"/>
                    </a:lnTo>
                    <a:lnTo>
                      <a:pt x="266" y="1104"/>
                    </a:lnTo>
                    <a:lnTo>
                      <a:pt x="266" y="1104"/>
                    </a:lnTo>
                    <a:lnTo>
                      <a:pt x="274" y="1108"/>
                    </a:lnTo>
                    <a:lnTo>
                      <a:pt x="280" y="1112"/>
                    </a:lnTo>
                    <a:lnTo>
                      <a:pt x="284" y="1116"/>
                    </a:lnTo>
                    <a:lnTo>
                      <a:pt x="286" y="1118"/>
                    </a:lnTo>
                    <a:lnTo>
                      <a:pt x="288" y="1120"/>
                    </a:lnTo>
                    <a:lnTo>
                      <a:pt x="292" y="1124"/>
                    </a:lnTo>
                    <a:lnTo>
                      <a:pt x="292" y="1124"/>
                    </a:lnTo>
                    <a:lnTo>
                      <a:pt x="294" y="1124"/>
                    </a:lnTo>
                    <a:lnTo>
                      <a:pt x="296" y="1126"/>
                    </a:lnTo>
                    <a:lnTo>
                      <a:pt x="298" y="1126"/>
                    </a:lnTo>
                    <a:lnTo>
                      <a:pt x="302" y="1128"/>
                    </a:lnTo>
                    <a:lnTo>
                      <a:pt x="306" y="1132"/>
                    </a:lnTo>
                    <a:lnTo>
                      <a:pt x="310" y="1134"/>
                    </a:lnTo>
                    <a:lnTo>
                      <a:pt x="310" y="1134"/>
                    </a:lnTo>
                    <a:lnTo>
                      <a:pt x="312" y="1134"/>
                    </a:lnTo>
                    <a:lnTo>
                      <a:pt x="318" y="1136"/>
                    </a:lnTo>
                    <a:lnTo>
                      <a:pt x="324" y="1138"/>
                    </a:lnTo>
                    <a:lnTo>
                      <a:pt x="330" y="1140"/>
                    </a:lnTo>
                    <a:lnTo>
                      <a:pt x="332" y="1140"/>
                    </a:lnTo>
                    <a:lnTo>
                      <a:pt x="334" y="1142"/>
                    </a:lnTo>
                    <a:lnTo>
                      <a:pt x="334" y="1142"/>
                    </a:lnTo>
                    <a:lnTo>
                      <a:pt x="336" y="1144"/>
                    </a:lnTo>
                    <a:lnTo>
                      <a:pt x="336" y="1144"/>
                    </a:lnTo>
                    <a:lnTo>
                      <a:pt x="338" y="1144"/>
                    </a:lnTo>
                    <a:lnTo>
                      <a:pt x="340" y="1144"/>
                    </a:lnTo>
                    <a:lnTo>
                      <a:pt x="342" y="1144"/>
                    </a:lnTo>
                    <a:lnTo>
                      <a:pt x="348" y="1146"/>
                    </a:lnTo>
                    <a:lnTo>
                      <a:pt x="350" y="1146"/>
                    </a:lnTo>
                    <a:lnTo>
                      <a:pt x="354" y="1146"/>
                    </a:lnTo>
                    <a:lnTo>
                      <a:pt x="360" y="1146"/>
                    </a:lnTo>
                    <a:lnTo>
                      <a:pt x="364" y="1148"/>
                    </a:lnTo>
                    <a:lnTo>
                      <a:pt x="370" y="1150"/>
                    </a:lnTo>
                    <a:lnTo>
                      <a:pt x="370" y="1150"/>
                    </a:lnTo>
                    <a:lnTo>
                      <a:pt x="374" y="1152"/>
                    </a:lnTo>
                    <a:lnTo>
                      <a:pt x="374" y="1152"/>
                    </a:lnTo>
                    <a:lnTo>
                      <a:pt x="376" y="1152"/>
                    </a:lnTo>
                    <a:lnTo>
                      <a:pt x="380" y="1152"/>
                    </a:lnTo>
                    <a:lnTo>
                      <a:pt x="382" y="1152"/>
                    </a:lnTo>
                    <a:lnTo>
                      <a:pt x="388" y="1154"/>
                    </a:lnTo>
                    <a:lnTo>
                      <a:pt x="390" y="1154"/>
                    </a:lnTo>
                    <a:lnTo>
                      <a:pt x="392" y="1154"/>
                    </a:lnTo>
                    <a:lnTo>
                      <a:pt x="394" y="1156"/>
                    </a:lnTo>
                    <a:lnTo>
                      <a:pt x="396" y="1158"/>
                    </a:lnTo>
                    <a:lnTo>
                      <a:pt x="396" y="1158"/>
                    </a:lnTo>
                    <a:lnTo>
                      <a:pt x="396" y="1158"/>
                    </a:lnTo>
                    <a:lnTo>
                      <a:pt x="398" y="1158"/>
                    </a:lnTo>
                    <a:lnTo>
                      <a:pt x="400" y="1160"/>
                    </a:lnTo>
                    <a:lnTo>
                      <a:pt x="400" y="1160"/>
                    </a:lnTo>
                    <a:lnTo>
                      <a:pt x="400" y="1160"/>
                    </a:lnTo>
                    <a:lnTo>
                      <a:pt x="402" y="1162"/>
                    </a:lnTo>
                    <a:lnTo>
                      <a:pt x="404" y="1166"/>
                    </a:lnTo>
                    <a:lnTo>
                      <a:pt x="408" y="1172"/>
                    </a:lnTo>
                    <a:lnTo>
                      <a:pt x="408" y="1172"/>
                    </a:lnTo>
                    <a:lnTo>
                      <a:pt x="408" y="1172"/>
                    </a:lnTo>
                    <a:lnTo>
                      <a:pt x="410" y="1176"/>
                    </a:lnTo>
                    <a:lnTo>
                      <a:pt x="414" y="1178"/>
                    </a:lnTo>
                    <a:lnTo>
                      <a:pt x="416" y="1180"/>
                    </a:lnTo>
                    <a:lnTo>
                      <a:pt x="418" y="1182"/>
                    </a:lnTo>
                    <a:lnTo>
                      <a:pt x="418" y="1182"/>
                    </a:lnTo>
                    <a:lnTo>
                      <a:pt x="418" y="1182"/>
                    </a:lnTo>
                    <a:lnTo>
                      <a:pt x="420" y="1182"/>
                    </a:lnTo>
                    <a:lnTo>
                      <a:pt x="420" y="1182"/>
                    </a:lnTo>
                    <a:lnTo>
                      <a:pt x="420" y="1182"/>
                    </a:lnTo>
                    <a:lnTo>
                      <a:pt x="422" y="1182"/>
                    </a:lnTo>
                    <a:lnTo>
                      <a:pt x="422" y="1182"/>
                    </a:lnTo>
                    <a:lnTo>
                      <a:pt x="424" y="1182"/>
                    </a:lnTo>
                    <a:lnTo>
                      <a:pt x="424" y="1180"/>
                    </a:lnTo>
                    <a:lnTo>
                      <a:pt x="424" y="1180"/>
                    </a:lnTo>
                    <a:lnTo>
                      <a:pt x="426" y="1180"/>
                    </a:lnTo>
                    <a:lnTo>
                      <a:pt x="426" y="1178"/>
                    </a:lnTo>
                    <a:lnTo>
                      <a:pt x="426" y="1178"/>
                    </a:lnTo>
                    <a:lnTo>
                      <a:pt x="426" y="1178"/>
                    </a:lnTo>
                    <a:lnTo>
                      <a:pt x="428" y="1176"/>
                    </a:lnTo>
                    <a:lnTo>
                      <a:pt x="428" y="1176"/>
                    </a:lnTo>
                    <a:lnTo>
                      <a:pt x="428" y="1176"/>
                    </a:lnTo>
                    <a:lnTo>
                      <a:pt x="428" y="1174"/>
                    </a:lnTo>
                    <a:lnTo>
                      <a:pt x="428" y="1170"/>
                    </a:lnTo>
                    <a:lnTo>
                      <a:pt x="428" y="1168"/>
                    </a:lnTo>
                    <a:lnTo>
                      <a:pt x="428" y="1166"/>
                    </a:lnTo>
                    <a:lnTo>
                      <a:pt x="428" y="1166"/>
                    </a:lnTo>
                    <a:lnTo>
                      <a:pt x="428" y="1164"/>
                    </a:lnTo>
                    <a:lnTo>
                      <a:pt x="426" y="1162"/>
                    </a:lnTo>
                    <a:lnTo>
                      <a:pt x="426" y="1162"/>
                    </a:lnTo>
                    <a:lnTo>
                      <a:pt x="424" y="1162"/>
                    </a:lnTo>
                    <a:lnTo>
                      <a:pt x="424" y="1160"/>
                    </a:lnTo>
                    <a:lnTo>
                      <a:pt x="426" y="1158"/>
                    </a:lnTo>
                    <a:lnTo>
                      <a:pt x="426" y="1152"/>
                    </a:lnTo>
                    <a:lnTo>
                      <a:pt x="426" y="1150"/>
                    </a:lnTo>
                    <a:lnTo>
                      <a:pt x="426" y="1150"/>
                    </a:lnTo>
                    <a:lnTo>
                      <a:pt x="426" y="1150"/>
                    </a:lnTo>
                    <a:lnTo>
                      <a:pt x="426" y="1146"/>
                    </a:lnTo>
                    <a:lnTo>
                      <a:pt x="426" y="1146"/>
                    </a:lnTo>
                    <a:lnTo>
                      <a:pt x="426" y="1144"/>
                    </a:lnTo>
                    <a:lnTo>
                      <a:pt x="422" y="1136"/>
                    </a:lnTo>
                    <a:lnTo>
                      <a:pt x="420" y="1128"/>
                    </a:lnTo>
                    <a:lnTo>
                      <a:pt x="418" y="1120"/>
                    </a:lnTo>
                    <a:lnTo>
                      <a:pt x="418" y="1118"/>
                    </a:lnTo>
                    <a:lnTo>
                      <a:pt x="418" y="1114"/>
                    </a:lnTo>
                    <a:lnTo>
                      <a:pt x="420" y="1112"/>
                    </a:lnTo>
                    <a:lnTo>
                      <a:pt x="420" y="1108"/>
                    </a:lnTo>
                    <a:lnTo>
                      <a:pt x="422" y="1106"/>
                    </a:lnTo>
                    <a:lnTo>
                      <a:pt x="422" y="1104"/>
                    </a:lnTo>
                    <a:lnTo>
                      <a:pt x="424" y="1102"/>
                    </a:lnTo>
                    <a:lnTo>
                      <a:pt x="424" y="1102"/>
                    </a:lnTo>
                    <a:lnTo>
                      <a:pt x="424" y="1102"/>
                    </a:lnTo>
                    <a:lnTo>
                      <a:pt x="426" y="1100"/>
                    </a:lnTo>
                    <a:lnTo>
                      <a:pt x="426" y="1100"/>
                    </a:lnTo>
                    <a:lnTo>
                      <a:pt x="426" y="1100"/>
                    </a:lnTo>
                    <a:lnTo>
                      <a:pt x="428" y="1098"/>
                    </a:lnTo>
                    <a:lnTo>
                      <a:pt x="428" y="1098"/>
                    </a:lnTo>
                    <a:lnTo>
                      <a:pt x="428" y="1098"/>
                    </a:lnTo>
                    <a:lnTo>
                      <a:pt x="430" y="1094"/>
                    </a:lnTo>
                    <a:lnTo>
                      <a:pt x="430" y="1092"/>
                    </a:lnTo>
                    <a:lnTo>
                      <a:pt x="430" y="1090"/>
                    </a:lnTo>
                    <a:lnTo>
                      <a:pt x="432" y="1088"/>
                    </a:lnTo>
                    <a:lnTo>
                      <a:pt x="432" y="1088"/>
                    </a:lnTo>
                    <a:lnTo>
                      <a:pt x="432" y="1086"/>
                    </a:lnTo>
                    <a:lnTo>
                      <a:pt x="434" y="1084"/>
                    </a:lnTo>
                    <a:lnTo>
                      <a:pt x="434" y="1084"/>
                    </a:lnTo>
                    <a:lnTo>
                      <a:pt x="436" y="1084"/>
                    </a:lnTo>
                    <a:lnTo>
                      <a:pt x="438" y="1082"/>
                    </a:lnTo>
                    <a:lnTo>
                      <a:pt x="438" y="1082"/>
                    </a:lnTo>
                    <a:lnTo>
                      <a:pt x="438" y="1082"/>
                    </a:lnTo>
                    <a:lnTo>
                      <a:pt x="440" y="1080"/>
                    </a:lnTo>
                    <a:lnTo>
                      <a:pt x="440" y="1080"/>
                    </a:lnTo>
                    <a:lnTo>
                      <a:pt x="440" y="1080"/>
                    </a:lnTo>
                    <a:lnTo>
                      <a:pt x="440" y="1078"/>
                    </a:lnTo>
                    <a:lnTo>
                      <a:pt x="440" y="1078"/>
                    </a:lnTo>
                    <a:lnTo>
                      <a:pt x="440" y="1076"/>
                    </a:lnTo>
                    <a:lnTo>
                      <a:pt x="440" y="1074"/>
                    </a:lnTo>
                    <a:lnTo>
                      <a:pt x="440" y="1074"/>
                    </a:lnTo>
                    <a:lnTo>
                      <a:pt x="440" y="1074"/>
                    </a:lnTo>
                    <a:lnTo>
                      <a:pt x="440" y="1072"/>
                    </a:lnTo>
                    <a:lnTo>
                      <a:pt x="438" y="1066"/>
                    </a:lnTo>
                    <a:lnTo>
                      <a:pt x="438" y="1066"/>
                    </a:lnTo>
                    <a:lnTo>
                      <a:pt x="436" y="1064"/>
                    </a:lnTo>
                    <a:lnTo>
                      <a:pt x="434" y="1064"/>
                    </a:lnTo>
                    <a:lnTo>
                      <a:pt x="432" y="1062"/>
                    </a:lnTo>
                    <a:lnTo>
                      <a:pt x="432" y="1062"/>
                    </a:lnTo>
                    <a:lnTo>
                      <a:pt x="432" y="1062"/>
                    </a:lnTo>
                    <a:lnTo>
                      <a:pt x="430" y="1060"/>
                    </a:lnTo>
                    <a:lnTo>
                      <a:pt x="430" y="1058"/>
                    </a:lnTo>
                    <a:lnTo>
                      <a:pt x="430" y="1056"/>
                    </a:lnTo>
                    <a:lnTo>
                      <a:pt x="430" y="1054"/>
                    </a:lnTo>
                    <a:lnTo>
                      <a:pt x="430" y="1050"/>
                    </a:lnTo>
                    <a:lnTo>
                      <a:pt x="430" y="1050"/>
                    </a:lnTo>
                    <a:lnTo>
                      <a:pt x="428" y="1048"/>
                    </a:lnTo>
                    <a:lnTo>
                      <a:pt x="426" y="1048"/>
                    </a:lnTo>
                    <a:lnTo>
                      <a:pt x="424" y="1048"/>
                    </a:lnTo>
                    <a:lnTo>
                      <a:pt x="422" y="1048"/>
                    </a:lnTo>
                    <a:lnTo>
                      <a:pt x="420" y="1046"/>
                    </a:lnTo>
                    <a:lnTo>
                      <a:pt x="420" y="1046"/>
                    </a:lnTo>
                    <a:lnTo>
                      <a:pt x="420" y="1046"/>
                    </a:lnTo>
                    <a:lnTo>
                      <a:pt x="420" y="1044"/>
                    </a:lnTo>
                    <a:lnTo>
                      <a:pt x="418" y="1042"/>
                    </a:lnTo>
                    <a:lnTo>
                      <a:pt x="418" y="1042"/>
                    </a:lnTo>
                    <a:lnTo>
                      <a:pt x="416" y="1042"/>
                    </a:lnTo>
                    <a:lnTo>
                      <a:pt x="414" y="1040"/>
                    </a:lnTo>
                    <a:lnTo>
                      <a:pt x="410" y="1038"/>
                    </a:lnTo>
                    <a:lnTo>
                      <a:pt x="404" y="1034"/>
                    </a:lnTo>
                    <a:lnTo>
                      <a:pt x="404" y="1034"/>
                    </a:lnTo>
                    <a:lnTo>
                      <a:pt x="404" y="1034"/>
                    </a:lnTo>
                    <a:lnTo>
                      <a:pt x="400" y="1032"/>
                    </a:lnTo>
                    <a:lnTo>
                      <a:pt x="402" y="1032"/>
                    </a:lnTo>
                    <a:lnTo>
                      <a:pt x="400" y="1032"/>
                    </a:lnTo>
                    <a:lnTo>
                      <a:pt x="400" y="1032"/>
                    </a:lnTo>
                    <a:lnTo>
                      <a:pt x="400" y="1032"/>
                    </a:lnTo>
                    <a:lnTo>
                      <a:pt x="400" y="1030"/>
                    </a:lnTo>
                    <a:lnTo>
                      <a:pt x="400" y="1030"/>
                    </a:lnTo>
                    <a:lnTo>
                      <a:pt x="400" y="1028"/>
                    </a:lnTo>
                    <a:lnTo>
                      <a:pt x="400" y="1026"/>
                    </a:lnTo>
                    <a:lnTo>
                      <a:pt x="400" y="1026"/>
                    </a:lnTo>
                    <a:lnTo>
                      <a:pt x="400" y="1024"/>
                    </a:lnTo>
                    <a:lnTo>
                      <a:pt x="402" y="1024"/>
                    </a:lnTo>
                    <a:lnTo>
                      <a:pt x="404" y="1022"/>
                    </a:lnTo>
                    <a:lnTo>
                      <a:pt x="408" y="1020"/>
                    </a:lnTo>
                    <a:lnTo>
                      <a:pt x="408" y="1020"/>
                    </a:lnTo>
                    <a:lnTo>
                      <a:pt x="408" y="1020"/>
                    </a:lnTo>
                    <a:lnTo>
                      <a:pt x="410" y="1018"/>
                    </a:lnTo>
                    <a:lnTo>
                      <a:pt x="410" y="1018"/>
                    </a:lnTo>
                    <a:lnTo>
                      <a:pt x="410" y="1018"/>
                    </a:lnTo>
                    <a:lnTo>
                      <a:pt x="412" y="1018"/>
                    </a:lnTo>
                    <a:lnTo>
                      <a:pt x="412" y="1018"/>
                    </a:lnTo>
                    <a:lnTo>
                      <a:pt x="412" y="1016"/>
                    </a:lnTo>
                    <a:lnTo>
                      <a:pt x="414" y="1014"/>
                    </a:lnTo>
                    <a:lnTo>
                      <a:pt x="414" y="1014"/>
                    </a:lnTo>
                    <a:lnTo>
                      <a:pt x="414" y="1012"/>
                    </a:lnTo>
                    <a:lnTo>
                      <a:pt x="414" y="1010"/>
                    </a:lnTo>
                    <a:lnTo>
                      <a:pt x="414" y="1006"/>
                    </a:lnTo>
                    <a:lnTo>
                      <a:pt x="416" y="1004"/>
                    </a:lnTo>
                    <a:lnTo>
                      <a:pt x="416" y="1002"/>
                    </a:lnTo>
                    <a:lnTo>
                      <a:pt x="416" y="1002"/>
                    </a:lnTo>
                    <a:lnTo>
                      <a:pt x="416" y="1000"/>
                    </a:lnTo>
                    <a:lnTo>
                      <a:pt x="416" y="998"/>
                    </a:lnTo>
                    <a:lnTo>
                      <a:pt x="416" y="994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20" y="992"/>
                    </a:lnTo>
                    <a:lnTo>
                      <a:pt x="422" y="994"/>
                    </a:lnTo>
                    <a:lnTo>
                      <a:pt x="424" y="994"/>
                    </a:lnTo>
                    <a:lnTo>
                      <a:pt x="426" y="996"/>
                    </a:lnTo>
                    <a:lnTo>
                      <a:pt x="426" y="996"/>
                    </a:lnTo>
                    <a:lnTo>
                      <a:pt x="426" y="996"/>
                    </a:lnTo>
                    <a:lnTo>
                      <a:pt x="428" y="996"/>
                    </a:lnTo>
                    <a:lnTo>
                      <a:pt x="428" y="996"/>
                    </a:lnTo>
                    <a:lnTo>
                      <a:pt x="428" y="996"/>
                    </a:lnTo>
                    <a:lnTo>
                      <a:pt x="430" y="996"/>
                    </a:lnTo>
                    <a:lnTo>
                      <a:pt x="430" y="996"/>
                    </a:lnTo>
                    <a:lnTo>
                      <a:pt x="430" y="996"/>
                    </a:lnTo>
                    <a:lnTo>
                      <a:pt x="432" y="996"/>
                    </a:lnTo>
                    <a:lnTo>
                      <a:pt x="432" y="996"/>
                    </a:lnTo>
                    <a:lnTo>
                      <a:pt x="432" y="994"/>
                    </a:lnTo>
                    <a:lnTo>
                      <a:pt x="432" y="994"/>
                    </a:lnTo>
                    <a:lnTo>
                      <a:pt x="432" y="994"/>
                    </a:lnTo>
                    <a:lnTo>
                      <a:pt x="434" y="994"/>
                    </a:lnTo>
                    <a:lnTo>
                      <a:pt x="434" y="992"/>
                    </a:lnTo>
                    <a:lnTo>
                      <a:pt x="434" y="992"/>
                    </a:lnTo>
                    <a:lnTo>
                      <a:pt x="434" y="992"/>
                    </a:lnTo>
                    <a:lnTo>
                      <a:pt x="434" y="990"/>
                    </a:lnTo>
                    <a:lnTo>
                      <a:pt x="434" y="988"/>
                    </a:lnTo>
                    <a:lnTo>
                      <a:pt x="436" y="986"/>
                    </a:lnTo>
                    <a:lnTo>
                      <a:pt x="436" y="984"/>
                    </a:lnTo>
                    <a:lnTo>
                      <a:pt x="438" y="980"/>
                    </a:lnTo>
                    <a:lnTo>
                      <a:pt x="438" y="978"/>
                    </a:lnTo>
                    <a:lnTo>
                      <a:pt x="440" y="978"/>
                    </a:lnTo>
                    <a:lnTo>
                      <a:pt x="442" y="976"/>
                    </a:lnTo>
                    <a:lnTo>
                      <a:pt x="444" y="976"/>
                    </a:lnTo>
                    <a:lnTo>
                      <a:pt x="444" y="976"/>
                    </a:lnTo>
                    <a:lnTo>
                      <a:pt x="444" y="976"/>
                    </a:lnTo>
                    <a:lnTo>
                      <a:pt x="446" y="974"/>
                    </a:lnTo>
                    <a:lnTo>
                      <a:pt x="446" y="974"/>
                    </a:lnTo>
                    <a:lnTo>
                      <a:pt x="446" y="974"/>
                    </a:lnTo>
                    <a:lnTo>
                      <a:pt x="448" y="972"/>
                    </a:lnTo>
                    <a:lnTo>
                      <a:pt x="448" y="972"/>
                    </a:lnTo>
                    <a:lnTo>
                      <a:pt x="448" y="972"/>
                    </a:lnTo>
                    <a:lnTo>
                      <a:pt x="448" y="970"/>
                    </a:lnTo>
                    <a:lnTo>
                      <a:pt x="448" y="970"/>
                    </a:lnTo>
                    <a:lnTo>
                      <a:pt x="448" y="970"/>
                    </a:lnTo>
                    <a:lnTo>
                      <a:pt x="448" y="968"/>
                    </a:lnTo>
                    <a:lnTo>
                      <a:pt x="450" y="968"/>
                    </a:lnTo>
                    <a:lnTo>
                      <a:pt x="454" y="966"/>
                    </a:lnTo>
                    <a:lnTo>
                      <a:pt x="458" y="964"/>
                    </a:lnTo>
                    <a:lnTo>
                      <a:pt x="462" y="960"/>
                    </a:lnTo>
                    <a:lnTo>
                      <a:pt x="464" y="960"/>
                    </a:lnTo>
                    <a:lnTo>
                      <a:pt x="466" y="958"/>
                    </a:lnTo>
                    <a:lnTo>
                      <a:pt x="470" y="956"/>
                    </a:lnTo>
                    <a:lnTo>
                      <a:pt x="476" y="956"/>
                    </a:lnTo>
                    <a:lnTo>
                      <a:pt x="482" y="954"/>
                    </a:lnTo>
                    <a:lnTo>
                      <a:pt x="486" y="954"/>
                    </a:lnTo>
                    <a:lnTo>
                      <a:pt x="490" y="954"/>
                    </a:lnTo>
                    <a:lnTo>
                      <a:pt x="492" y="954"/>
                    </a:lnTo>
                    <a:lnTo>
                      <a:pt x="496" y="956"/>
                    </a:lnTo>
                    <a:lnTo>
                      <a:pt x="502" y="958"/>
                    </a:lnTo>
                    <a:lnTo>
                      <a:pt x="506" y="960"/>
                    </a:lnTo>
                    <a:lnTo>
                      <a:pt x="506" y="960"/>
                    </a:lnTo>
                    <a:lnTo>
                      <a:pt x="506" y="960"/>
                    </a:lnTo>
                    <a:lnTo>
                      <a:pt x="508" y="960"/>
                    </a:lnTo>
                    <a:lnTo>
                      <a:pt x="510" y="962"/>
                    </a:lnTo>
                    <a:lnTo>
                      <a:pt x="510" y="962"/>
                    </a:lnTo>
                    <a:lnTo>
                      <a:pt x="512" y="962"/>
                    </a:lnTo>
                    <a:lnTo>
                      <a:pt x="514" y="966"/>
                    </a:lnTo>
                    <a:lnTo>
                      <a:pt x="516" y="966"/>
                    </a:lnTo>
                    <a:lnTo>
                      <a:pt x="518" y="968"/>
                    </a:lnTo>
                    <a:lnTo>
                      <a:pt x="518" y="968"/>
                    </a:lnTo>
                    <a:lnTo>
                      <a:pt x="518" y="970"/>
                    </a:lnTo>
                    <a:lnTo>
                      <a:pt x="522" y="970"/>
                    </a:lnTo>
                    <a:lnTo>
                      <a:pt x="524" y="972"/>
                    </a:lnTo>
                    <a:lnTo>
                      <a:pt x="530" y="974"/>
                    </a:lnTo>
                    <a:lnTo>
                      <a:pt x="536" y="976"/>
                    </a:lnTo>
                    <a:lnTo>
                      <a:pt x="540" y="978"/>
                    </a:lnTo>
                    <a:lnTo>
                      <a:pt x="544" y="980"/>
                    </a:lnTo>
                    <a:lnTo>
                      <a:pt x="544" y="980"/>
                    </a:lnTo>
                    <a:lnTo>
                      <a:pt x="546" y="978"/>
                    </a:lnTo>
                    <a:lnTo>
                      <a:pt x="548" y="976"/>
                    </a:lnTo>
                    <a:lnTo>
                      <a:pt x="552" y="976"/>
                    </a:lnTo>
                    <a:lnTo>
                      <a:pt x="558" y="974"/>
                    </a:lnTo>
                    <a:lnTo>
                      <a:pt x="560" y="972"/>
                    </a:lnTo>
                    <a:lnTo>
                      <a:pt x="562" y="972"/>
                    </a:lnTo>
                    <a:lnTo>
                      <a:pt x="566" y="970"/>
                    </a:lnTo>
                    <a:lnTo>
                      <a:pt x="570" y="970"/>
                    </a:lnTo>
                    <a:lnTo>
                      <a:pt x="572" y="972"/>
                    </a:lnTo>
                    <a:lnTo>
                      <a:pt x="576" y="972"/>
                    </a:lnTo>
                    <a:lnTo>
                      <a:pt x="580" y="974"/>
                    </a:lnTo>
                    <a:lnTo>
                      <a:pt x="582" y="976"/>
                    </a:lnTo>
                    <a:lnTo>
                      <a:pt x="586" y="976"/>
                    </a:lnTo>
                    <a:lnTo>
                      <a:pt x="590" y="978"/>
                    </a:lnTo>
                    <a:lnTo>
                      <a:pt x="596" y="980"/>
                    </a:lnTo>
                    <a:lnTo>
                      <a:pt x="600" y="982"/>
                    </a:lnTo>
                    <a:lnTo>
                      <a:pt x="600" y="982"/>
                    </a:lnTo>
                    <a:lnTo>
                      <a:pt x="600" y="982"/>
                    </a:lnTo>
                    <a:lnTo>
                      <a:pt x="604" y="982"/>
                    </a:lnTo>
                    <a:lnTo>
                      <a:pt x="606" y="982"/>
                    </a:lnTo>
                    <a:lnTo>
                      <a:pt x="612" y="980"/>
                    </a:lnTo>
                    <a:lnTo>
                      <a:pt x="616" y="980"/>
                    </a:lnTo>
                    <a:lnTo>
                      <a:pt x="618" y="980"/>
                    </a:lnTo>
                    <a:lnTo>
                      <a:pt x="622" y="978"/>
                    </a:lnTo>
                    <a:lnTo>
                      <a:pt x="624" y="978"/>
                    </a:lnTo>
                    <a:lnTo>
                      <a:pt x="624" y="978"/>
                    </a:lnTo>
                    <a:lnTo>
                      <a:pt x="624" y="978"/>
                    </a:lnTo>
                    <a:lnTo>
                      <a:pt x="626" y="976"/>
                    </a:lnTo>
                    <a:lnTo>
                      <a:pt x="626" y="976"/>
                    </a:lnTo>
                    <a:lnTo>
                      <a:pt x="628" y="974"/>
                    </a:lnTo>
                    <a:lnTo>
                      <a:pt x="628" y="972"/>
                    </a:lnTo>
                    <a:lnTo>
                      <a:pt x="628" y="972"/>
                    </a:lnTo>
                    <a:lnTo>
                      <a:pt x="630" y="972"/>
                    </a:lnTo>
                    <a:lnTo>
                      <a:pt x="630" y="968"/>
                    </a:lnTo>
                    <a:lnTo>
                      <a:pt x="630" y="968"/>
                    </a:lnTo>
                    <a:lnTo>
                      <a:pt x="630" y="968"/>
                    </a:lnTo>
                    <a:lnTo>
                      <a:pt x="630" y="966"/>
                    </a:lnTo>
                    <a:lnTo>
                      <a:pt x="630" y="966"/>
                    </a:lnTo>
                    <a:lnTo>
                      <a:pt x="630" y="964"/>
                    </a:lnTo>
                    <a:lnTo>
                      <a:pt x="628" y="964"/>
                    </a:lnTo>
                    <a:lnTo>
                      <a:pt x="628" y="964"/>
                    </a:lnTo>
                    <a:lnTo>
                      <a:pt x="628" y="962"/>
                    </a:lnTo>
                    <a:lnTo>
                      <a:pt x="626" y="960"/>
                    </a:lnTo>
                    <a:lnTo>
                      <a:pt x="624" y="958"/>
                    </a:lnTo>
                    <a:lnTo>
                      <a:pt x="618" y="954"/>
                    </a:lnTo>
                    <a:lnTo>
                      <a:pt x="614" y="950"/>
                    </a:lnTo>
                    <a:lnTo>
                      <a:pt x="612" y="948"/>
                    </a:lnTo>
                    <a:lnTo>
                      <a:pt x="614" y="948"/>
                    </a:lnTo>
                    <a:lnTo>
                      <a:pt x="614" y="948"/>
                    </a:lnTo>
                    <a:lnTo>
                      <a:pt x="614" y="946"/>
                    </a:lnTo>
                    <a:lnTo>
                      <a:pt x="618" y="942"/>
                    </a:lnTo>
                    <a:lnTo>
                      <a:pt x="618" y="942"/>
                    </a:lnTo>
                    <a:lnTo>
                      <a:pt x="618" y="942"/>
                    </a:lnTo>
                    <a:lnTo>
                      <a:pt x="620" y="938"/>
                    </a:lnTo>
                    <a:lnTo>
                      <a:pt x="620" y="938"/>
                    </a:lnTo>
                    <a:lnTo>
                      <a:pt x="622" y="936"/>
                    </a:lnTo>
                    <a:lnTo>
                      <a:pt x="622" y="934"/>
                    </a:lnTo>
                    <a:lnTo>
                      <a:pt x="622" y="934"/>
                    </a:lnTo>
                    <a:lnTo>
                      <a:pt x="622" y="934"/>
                    </a:lnTo>
                    <a:lnTo>
                      <a:pt x="622" y="932"/>
                    </a:lnTo>
                    <a:lnTo>
                      <a:pt x="624" y="928"/>
                    </a:lnTo>
                    <a:lnTo>
                      <a:pt x="626" y="924"/>
                    </a:lnTo>
                    <a:lnTo>
                      <a:pt x="628" y="920"/>
                    </a:lnTo>
                    <a:lnTo>
                      <a:pt x="628" y="918"/>
                    </a:lnTo>
                    <a:lnTo>
                      <a:pt x="628" y="914"/>
                    </a:lnTo>
                    <a:lnTo>
                      <a:pt x="628" y="910"/>
                    </a:lnTo>
                    <a:lnTo>
                      <a:pt x="628" y="906"/>
                    </a:lnTo>
                    <a:lnTo>
                      <a:pt x="628" y="902"/>
                    </a:lnTo>
                    <a:lnTo>
                      <a:pt x="630" y="902"/>
                    </a:lnTo>
                    <a:lnTo>
                      <a:pt x="630" y="900"/>
                    </a:lnTo>
                    <a:lnTo>
                      <a:pt x="632" y="900"/>
                    </a:lnTo>
                    <a:lnTo>
                      <a:pt x="634" y="898"/>
                    </a:lnTo>
                    <a:lnTo>
                      <a:pt x="638" y="898"/>
                    </a:lnTo>
                    <a:lnTo>
                      <a:pt x="642" y="898"/>
                    </a:lnTo>
                    <a:lnTo>
                      <a:pt x="646" y="898"/>
                    </a:lnTo>
                    <a:lnTo>
                      <a:pt x="652" y="898"/>
                    </a:lnTo>
                    <a:lnTo>
                      <a:pt x="658" y="896"/>
                    </a:lnTo>
                    <a:lnTo>
                      <a:pt x="660" y="896"/>
                    </a:lnTo>
                    <a:lnTo>
                      <a:pt x="664" y="896"/>
                    </a:lnTo>
                    <a:lnTo>
                      <a:pt x="668" y="894"/>
                    </a:lnTo>
                    <a:lnTo>
                      <a:pt x="672" y="894"/>
                    </a:lnTo>
                    <a:lnTo>
                      <a:pt x="678" y="894"/>
                    </a:lnTo>
                    <a:lnTo>
                      <a:pt x="678" y="894"/>
                    </a:lnTo>
                    <a:lnTo>
                      <a:pt x="678" y="894"/>
                    </a:lnTo>
                    <a:lnTo>
                      <a:pt x="680" y="892"/>
                    </a:lnTo>
                    <a:lnTo>
                      <a:pt x="680" y="892"/>
                    </a:lnTo>
                    <a:lnTo>
                      <a:pt x="682" y="892"/>
                    </a:lnTo>
                    <a:lnTo>
                      <a:pt x="682" y="892"/>
                    </a:lnTo>
                    <a:lnTo>
                      <a:pt x="682" y="892"/>
                    </a:lnTo>
                    <a:lnTo>
                      <a:pt x="684" y="890"/>
                    </a:lnTo>
                    <a:lnTo>
                      <a:pt x="684" y="890"/>
                    </a:lnTo>
                    <a:lnTo>
                      <a:pt x="686" y="888"/>
                    </a:lnTo>
                    <a:lnTo>
                      <a:pt x="688" y="886"/>
                    </a:lnTo>
                    <a:lnTo>
                      <a:pt x="688" y="886"/>
                    </a:lnTo>
                    <a:lnTo>
                      <a:pt x="690" y="886"/>
                    </a:lnTo>
                    <a:lnTo>
                      <a:pt x="690" y="886"/>
                    </a:lnTo>
                    <a:lnTo>
                      <a:pt x="692" y="884"/>
                    </a:lnTo>
                    <a:lnTo>
                      <a:pt x="696" y="884"/>
                    </a:lnTo>
                    <a:lnTo>
                      <a:pt x="698" y="884"/>
                    </a:lnTo>
                    <a:lnTo>
                      <a:pt x="702" y="882"/>
                    </a:lnTo>
                    <a:lnTo>
                      <a:pt x="706" y="882"/>
                    </a:lnTo>
                    <a:lnTo>
                      <a:pt x="712" y="880"/>
                    </a:lnTo>
                    <a:lnTo>
                      <a:pt x="718" y="878"/>
                    </a:lnTo>
                    <a:lnTo>
                      <a:pt x="720" y="880"/>
                    </a:lnTo>
                    <a:lnTo>
                      <a:pt x="722" y="878"/>
                    </a:lnTo>
                    <a:lnTo>
                      <a:pt x="724" y="876"/>
                    </a:lnTo>
                    <a:lnTo>
                      <a:pt x="730" y="874"/>
                    </a:lnTo>
                    <a:lnTo>
                      <a:pt x="734" y="874"/>
                    </a:lnTo>
                    <a:lnTo>
                      <a:pt x="738" y="872"/>
                    </a:lnTo>
                    <a:lnTo>
                      <a:pt x="742" y="870"/>
                    </a:lnTo>
                    <a:lnTo>
                      <a:pt x="744" y="870"/>
                    </a:lnTo>
                    <a:lnTo>
                      <a:pt x="748" y="868"/>
                    </a:lnTo>
                    <a:lnTo>
                      <a:pt x="748" y="868"/>
                    </a:lnTo>
                    <a:lnTo>
                      <a:pt x="750" y="872"/>
                    </a:lnTo>
                    <a:lnTo>
                      <a:pt x="754" y="876"/>
                    </a:lnTo>
                    <a:lnTo>
                      <a:pt x="758" y="880"/>
                    </a:lnTo>
                    <a:lnTo>
                      <a:pt x="762" y="884"/>
                    </a:lnTo>
                    <a:lnTo>
                      <a:pt x="764" y="888"/>
                    </a:lnTo>
                    <a:lnTo>
                      <a:pt x="766" y="890"/>
                    </a:lnTo>
                    <a:lnTo>
                      <a:pt x="766" y="890"/>
                    </a:lnTo>
                    <a:lnTo>
                      <a:pt x="766" y="890"/>
                    </a:lnTo>
                    <a:lnTo>
                      <a:pt x="768" y="890"/>
                    </a:lnTo>
                    <a:lnTo>
                      <a:pt x="768" y="890"/>
                    </a:lnTo>
                    <a:lnTo>
                      <a:pt x="768" y="890"/>
                    </a:lnTo>
                    <a:lnTo>
                      <a:pt x="770" y="890"/>
                    </a:lnTo>
                    <a:lnTo>
                      <a:pt x="770" y="890"/>
                    </a:lnTo>
                    <a:lnTo>
                      <a:pt x="772" y="892"/>
                    </a:lnTo>
                    <a:lnTo>
                      <a:pt x="772" y="892"/>
                    </a:lnTo>
                    <a:lnTo>
                      <a:pt x="772" y="890"/>
                    </a:lnTo>
                    <a:lnTo>
                      <a:pt x="774" y="890"/>
                    </a:lnTo>
                    <a:lnTo>
                      <a:pt x="774" y="890"/>
                    </a:lnTo>
                    <a:lnTo>
                      <a:pt x="776" y="890"/>
                    </a:lnTo>
                    <a:lnTo>
                      <a:pt x="778" y="888"/>
                    </a:lnTo>
                    <a:lnTo>
                      <a:pt x="780" y="886"/>
                    </a:lnTo>
                    <a:lnTo>
                      <a:pt x="782" y="884"/>
                    </a:lnTo>
                    <a:lnTo>
                      <a:pt x="782" y="884"/>
                    </a:lnTo>
                    <a:lnTo>
                      <a:pt x="784" y="884"/>
                    </a:lnTo>
                    <a:lnTo>
                      <a:pt x="784" y="882"/>
                    </a:lnTo>
                    <a:lnTo>
                      <a:pt x="788" y="882"/>
                    </a:lnTo>
                    <a:lnTo>
                      <a:pt x="790" y="884"/>
                    </a:lnTo>
                    <a:lnTo>
                      <a:pt x="794" y="886"/>
                    </a:lnTo>
                    <a:lnTo>
                      <a:pt x="800" y="888"/>
                    </a:lnTo>
                    <a:lnTo>
                      <a:pt x="806" y="890"/>
                    </a:lnTo>
                    <a:lnTo>
                      <a:pt x="810" y="892"/>
                    </a:lnTo>
                    <a:lnTo>
                      <a:pt x="816" y="896"/>
                    </a:lnTo>
                    <a:lnTo>
                      <a:pt x="818" y="898"/>
                    </a:lnTo>
                    <a:lnTo>
                      <a:pt x="822" y="900"/>
                    </a:lnTo>
                    <a:lnTo>
                      <a:pt x="822" y="902"/>
                    </a:lnTo>
                    <a:lnTo>
                      <a:pt x="824" y="902"/>
                    </a:lnTo>
                    <a:lnTo>
                      <a:pt x="824" y="904"/>
                    </a:lnTo>
                    <a:lnTo>
                      <a:pt x="822" y="904"/>
                    </a:lnTo>
                    <a:lnTo>
                      <a:pt x="822" y="906"/>
                    </a:lnTo>
                    <a:lnTo>
                      <a:pt x="822" y="908"/>
                    </a:lnTo>
                    <a:lnTo>
                      <a:pt x="822" y="908"/>
                    </a:lnTo>
                    <a:lnTo>
                      <a:pt x="822" y="908"/>
                    </a:lnTo>
                    <a:lnTo>
                      <a:pt x="822" y="910"/>
                    </a:lnTo>
                    <a:lnTo>
                      <a:pt x="822" y="910"/>
                    </a:lnTo>
                    <a:lnTo>
                      <a:pt x="824" y="912"/>
                    </a:lnTo>
                    <a:lnTo>
                      <a:pt x="824" y="912"/>
                    </a:lnTo>
                    <a:lnTo>
                      <a:pt x="824" y="912"/>
                    </a:lnTo>
                    <a:lnTo>
                      <a:pt x="826" y="912"/>
                    </a:lnTo>
                    <a:lnTo>
                      <a:pt x="828" y="912"/>
                    </a:lnTo>
                    <a:lnTo>
                      <a:pt x="828" y="912"/>
                    </a:lnTo>
                    <a:lnTo>
                      <a:pt x="828" y="912"/>
                    </a:lnTo>
                    <a:lnTo>
                      <a:pt x="830" y="912"/>
                    </a:lnTo>
                    <a:lnTo>
                      <a:pt x="832" y="910"/>
                    </a:lnTo>
                    <a:lnTo>
                      <a:pt x="834" y="908"/>
                    </a:lnTo>
                    <a:lnTo>
                      <a:pt x="838" y="906"/>
                    </a:lnTo>
                    <a:lnTo>
                      <a:pt x="844" y="902"/>
                    </a:lnTo>
                    <a:lnTo>
                      <a:pt x="846" y="900"/>
                    </a:lnTo>
                    <a:lnTo>
                      <a:pt x="850" y="898"/>
                    </a:lnTo>
                    <a:lnTo>
                      <a:pt x="856" y="894"/>
                    </a:lnTo>
                    <a:lnTo>
                      <a:pt x="858" y="894"/>
                    </a:lnTo>
                    <a:lnTo>
                      <a:pt x="862" y="892"/>
                    </a:lnTo>
                    <a:lnTo>
                      <a:pt x="864" y="892"/>
                    </a:lnTo>
                    <a:lnTo>
                      <a:pt x="864" y="892"/>
                    </a:lnTo>
                    <a:lnTo>
                      <a:pt x="866" y="892"/>
                    </a:lnTo>
                    <a:lnTo>
                      <a:pt x="866" y="892"/>
                    </a:lnTo>
                    <a:lnTo>
                      <a:pt x="866" y="894"/>
                    </a:lnTo>
                    <a:lnTo>
                      <a:pt x="866" y="896"/>
                    </a:lnTo>
                    <a:lnTo>
                      <a:pt x="866" y="902"/>
                    </a:lnTo>
                    <a:lnTo>
                      <a:pt x="866" y="902"/>
                    </a:lnTo>
                    <a:lnTo>
                      <a:pt x="866" y="902"/>
                    </a:lnTo>
                    <a:lnTo>
                      <a:pt x="868" y="906"/>
                    </a:lnTo>
                    <a:lnTo>
                      <a:pt x="868" y="906"/>
                    </a:lnTo>
                    <a:lnTo>
                      <a:pt x="868" y="906"/>
                    </a:lnTo>
                    <a:lnTo>
                      <a:pt x="870" y="908"/>
                    </a:lnTo>
                    <a:lnTo>
                      <a:pt x="870" y="908"/>
                    </a:lnTo>
                    <a:lnTo>
                      <a:pt x="870" y="908"/>
                    </a:lnTo>
                    <a:lnTo>
                      <a:pt x="872" y="910"/>
                    </a:lnTo>
                    <a:lnTo>
                      <a:pt x="872" y="910"/>
                    </a:lnTo>
                    <a:lnTo>
                      <a:pt x="872" y="910"/>
                    </a:lnTo>
                    <a:lnTo>
                      <a:pt x="874" y="912"/>
                    </a:lnTo>
                    <a:lnTo>
                      <a:pt x="880" y="916"/>
                    </a:lnTo>
                    <a:lnTo>
                      <a:pt x="886" y="918"/>
                    </a:lnTo>
                    <a:lnTo>
                      <a:pt x="888" y="920"/>
                    </a:lnTo>
                    <a:lnTo>
                      <a:pt x="890" y="922"/>
                    </a:lnTo>
                    <a:lnTo>
                      <a:pt x="890" y="922"/>
                    </a:lnTo>
                    <a:lnTo>
                      <a:pt x="894" y="928"/>
                    </a:lnTo>
                    <a:lnTo>
                      <a:pt x="898" y="932"/>
                    </a:lnTo>
                    <a:lnTo>
                      <a:pt x="900" y="938"/>
                    </a:lnTo>
                    <a:lnTo>
                      <a:pt x="902" y="942"/>
                    </a:lnTo>
                    <a:lnTo>
                      <a:pt x="904" y="944"/>
                    </a:lnTo>
                    <a:lnTo>
                      <a:pt x="904" y="948"/>
                    </a:lnTo>
                    <a:lnTo>
                      <a:pt x="904" y="954"/>
                    </a:lnTo>
                    <a:lnTo>
                      <a:pt x="906" y="958"/>
                    </a:lnTo>
                    <a:lnTo>
                      <a:pt x="906" y="960"/>
                    </a:lnTo>
                    <a:lnTo>
                      <a:pt x="906" y="964"/>
                    </a:lnTo>
                    <a:lnTo>
                      <a:pt x="906" y="968"/>
                    </a:lnTo>
                    <a:lnTo>
                      <a:pt x="908" y="970"/>
                    </a:lnTo>
                    <a:lnTo>
                      <a:pt x="908" y="970"/>
                    </a:lnTo>
                    <a:lnTo>
                      <a:pt x="908" y="970"/>
                    </a:lnTo>
                    <a:lnTo>
                      <a:pt x="910" y="972"/>
                    </a:lnTo>
                    <a:lnTo>
                      <a:pt x="910" y="972"/>
                    </a:lnTo>
                    <a:lnTo>
                      <a:pt x="910" y="974"/>
                    </a:lnTo>
                    <a:lnTo>
                      <a:pt x="912" y="976"/>
                    </a:lnTo>
                    <a:lnTo>
                      <a:pt x="912" y="976"/>
                    </a:lnTo>
                    <a:lnTo>
                      <a:pt x="914" y="976"/>
                    </a:lnTo>
                    <a:lnTo>
                      <a:pt x="914" y="976"/>
                    </a:lnTo>
                    <a:lnTo>
                      <a:pt x="914" y="976"/>
                    </a:lnTo>
                    <a:lnTo>
                      <a:pt x="916" y="976"/>
                    </a:lnTo>
                    <a:lnTo>
                      <a:pt x="918" y="974"/>
                    </a:lnTo>
                    <a:lnTo>
                      <a:pt x="920" y="974"/>
                    </a:lnTo>
                    <a:lnTo>
                      <a:pt x="922" y="972"/>
                    </a:lnTo>
                    <a:lnTo>
                      <a:pt x="924" y="970"/>
                    </a:lnTo>
                    <a:lnTo>
                      <a:pt x="926" y="970"/>
                    </a:lnTo>
                    <a:lnTo>
                      <a:pt x="926" y="970"/>
                    </a:lnTo>
                    <a:lnTo>
                      <a:pt x="928" y="970"/>
                    </a:lnTo>
                    <a:lnTo>
                      <a:pt x="930" y="970"/>
                    </a:lnTo>
                    <a:lnTo>
                      <a:pt x="932" y="970"/>
                    </a:lnTo>
                    <a:lnTo>
                      <a:pt x="934" y="970"/>
                    </a:lnTo>
                    <a:lnTo>
                      <a:pt x="938" y="974"/>
                    </a:lnTo>
                    <a:lnTo>
                      <a:pt x="942" y="976"/>
                    </a:lnTo>
                    <a:lnTo>
                      <a:pt x="942" y="976"/>
                    </a:lnTo>
                    <a:lnTo>
                      <a:pt x="942" y="976"/>
                    </a:lnTo>
                    <a:lnTo>
                      <a:pt x="944" y="978"/>
                    </a:lnTo>
                    <a:lnTo>
                      <a:pt x="944" y="978"/>
                    </a:lnTo>
                    <a:lnTo>
                      <a:pt x="946" y="978"/>
                    </a:lnTo>
                    <a:lnTo>
                      <a:pt x="948" y="978"/>
                    </a:lnTo>
                    <a:lnTo>
                      <a:pt x="948" y="978"/>
                    </a:lnTo>
                    <a:lnTo>
                      <a:pt x="948" y="978"/>
                    </a:lnTo>
                    <a:lnTo>
                      <a:pt x="952" y="978"/>
                    </a:lnTo>
                    <a:lnTo>
                      <a:pt x="952" y="978"/>
                    </a:lnTo>
                    <a:lnTo>
                      <a:pt x="956" y="978"/>
                    </a:lnTo>
                    <a:lnTo>
                      <a:pt x="958" y="976"/>
                    </a:lnTo>
                    <a:lnTo>
                      <a:pt x="962" y="976"/>
                    </a:lnTo>
                    <a:lnTo>
                      <a:pt x="964" y="974"/>
                    </a:lnTo>
                    <a:lnTo>
                      <a:pt x="966" y="974"/>
                    </a:lnTo>
                    <a:lnTo>
                      <a:pt x="970" y="974"/>
                    </a:lnTo>
                    <a:lnTo>
                      <a:pt x="972" y="974"/>
                    </a:lnTo>
                    <a:lnTo>
                      <a:pt x="974" y="976"/>
                    </a:lnTo>
                    <a:lnTo>
                      <a:pt x="976" y="978"/>
                    </a:lnTo>
                    <a:lnTo>
                      <a:pt x="980" y="982"/>
                    </a:lnTo>
                    <a:lnTo>
                      <a:pt x="982" y="986"/>
                    </a:lnTo>
                    <a:lnTo>
                      <a:pt x="986" y="990"/>
                    </a:lnTo>
                    <a:lnTo>
                      <a:pt x="990" y="994"/>
                    </a:lnTo>
                    <a:lnTo>
                      <a:pt x="992" y="996"/>
                    </a:lnTo>
                    <a:lnTo>
                      <a:pt x="996" y="998"/>
                    </a:lnTo>
                    <a:lnTo>
                      <a:pt x="998" y="1000"/>
                    </a:lnTo>
                    <a:lnTo>
                      <a:pt x="1000" y="1002"/>
                    </a:lnTo>
                    <a:lnTo>
                      <a:pt x="1002" y="1002"/>
                    </a:lnTo>
                    <a:lnTo>
                      <a:pt x="1002" y="1002"/>
                    </a:lnTo>
                    <a:lnTo>
                      <a:pt x="1002" y="1002"/>
                    </a:lnTo>
                    <a:lnTo>
                      <a:pt x="1004" y="1004"/>
                    </a:lnTo>
                    <a:lnTo>
                      <a:pt x="1006" y="1004"/>
                    </a:lnTo>
                    <a:lnTo>
                      <a:pt x="1008" y="1004"/>
                    </a:lnTo>
                    <a:lnTo>
                      <a:pt x="1012" y="1004"/>
                    </a:lnTo>
                    <a:lnTo>
                      <a:pt x="1014" y="1004"/>
                    </a:lnTo>
                    <a:lnTo>
                      <a:pt x="1018" y="1004"/>
                    </a:lnTo>
                    <a:lnTo>
                      <a:pt x="1024" y="1006"/>
                    </a:lnTo>
                    <a:lnTo>
                      <a:pt x="1028" y="1006"/>
                    </a:lnTo>
                    <a:lnTo>
                      <a:pt x="1034" y="1008"/>
                    </a:lnTo>
                    <a:lnTo>
                      <a:pt x="1040" y="1008"/>
                    </a:lnTo>
                    <a:lnTo>
                      <a:pt x="1044" y="1008"/>
                    </a:lnTo>
                    <a:lnTo>
                      <a:pt x="1050" y="1008"/>
                    </a:lnTo>
                    <a:lnTo>
                      <a:pt x="1050" y="1008"/>
                    </a:lnTo>
                    <a:lnTo>
                      <a:pt x="1052" y="1008"/>
                    </a:lnTo>
                    <a:lnTo>
                      <a:pt x="1052" y="1008"/>
                    </a:lnTo>
                    <a:lnTo>
                      <a:pt x="1052" y="1008"/>
                    </a:lnTo>
                    <a:lnTo>
                      <a:pt x="1054" y="1008"/>
                    </a:lnTo>
                    <a:lnTo>
                      <a:pt x="1054" y="1008"/>
                    </a:lnTo>
                    <a:lnTo>
                      <a:pt x="1054" y="1008"/>
                    </a:lnTo>
                    <a:lnTo>
                      <a:pt x="1054" y="1006"/>
                    </a:lnTo>
                    <a:lnTo>
                      <a:pt x="1054" y="1006"/>
                    </a:lnTo>
                    <a:lnTo>
                      <a:pt x="1056" y="1004"/>
                    </a:lnTo>
                    <a:lnTo>
                      <a:pt x="1056" y="1004"/>
                    </a:lnTo>
                    <a:lnTo>
                      <a:pt x="1056" y="1004"/>
                    </a:lnTo>
                    <a:lnTo>
                      <a:pt x="1054" y="1002"/>
                    </a:lnTo>
                    <a:lnTo>
                      <a:pt x="1054" y="1000"/>
                    </a:lnTo>
                    <a:lnTo>
                      <a:pt x="1052" y="998"/>
                    </a:lnTo>
                    <a:lnTo>
                      <a:pt x="1052" y="998"/>
                    </a:lnTo>
                    <a:lnTo>
                      <a:pt x="1052" y="998"/>
                    </a:lnTo>
                    <a:lnTo>
                      <a:pt x="1054" y="998"/>
                    </a:lnTo>
                    <a:lnTo>
                      <a:pt x="1058" y="998"/>
                    </a:lnTo>
                    <a:lnTo>
                      <a:pt x="1058" y="998"/>
                    </a:lnTo>
                    <a:lnTo>
                      <a:pt x="1060" y="998"/>
                    </a:lnTo>
                    <a:lnTo>
                      <a:pt x="1062" y="998"/>
                    </a:lnTo>
                    <a:lnTo>
                      <a:pt x="1064" y="998"/>
                    </a:lnTo>
                    <a:lnTo>
                      <a:pt x="1064" y="998"/>
                    </a:lnTo>
                    <a:lnTo>
                      <a:pt x="1064" y="998"/>
                    </a:lnTo>
                    <a:lnTo>
                      <a:pt x="1068" y="998"/>
                    </a:lnTo>
                    <a:lnTo>
                      <a:pt x="1068" y="998"/>
                    </a:lnTo>
                    <a:lnTo>
                      <a:pt x="1068" y="996"/>
                    </a:lnTo>
                    <a:lnTo>
                      <a:pt x="1070" y="996"/>
                    </a:lnTo>
                    <a:lnTo>
                      <a:pt x="1074" y="992"/>
                    </a:lnTo>
                    <a:lnTo>
                      <a:pt x="1076" y="990"/>
                    </a:lnTo>
                    <a:lnTo>
                      <a:pt x="1082" y="986"/>
                    </a:lnTo>
                    <a:lnTo>
                      <a:pt x="1084" y="984"/>
                    </a:lnTo>
                    <a:lnTo>
                      <a:pt x="1086" y="984"/>
                    </a:lnTo>
                    <a:lnTo>
                      <a:pt x="1092" y="982"/>
                    </a:lnTo>
                    <a:lnTo>
                      <a:pt x="1096" y="980"/>
                    </a:lnTo>
                    <a:lnTo>
                      <a:pt x="1102" y="978"/>
                    </a:lnTo>
                    <a:lnTo>
                      <a:pt x="1100" y="978"/>
                    </a:lnTo>
                    <a:lnTo>
                      <a:pt x="1102" y="978"/>
                    </a:lnTo>
                    <a:lnTo>
                      <a:pt x="1106" y="978"/>
                    </a:lnTo>
                    <a:lnTo>
                      <a:pt x="1108" y="978"/>
                    </a:lnTo>
                    <a:lnTo>
                      <a:pt x="1110" y="980"/>
                    </a:lnTo>
                    <a:lnTo>
                      <a:pt x="1118" y="982"/>
                    </a:lnTo>
                    <a:lnTo>
                      <a:pt x="1124" y="984"/>
                    </a:lnTo>
                    <a:lnTo>
                      <a:pt x="1128" y="986"/>
                    </a:lnTo>
                    <a:lnTo>
                      <a:pt x="1130" y="986"/>
                    </a:lnTo>
                    <a:lnTo>
                      <a:pt x="1132" y="988"/>
                    </a:lnTo>
                    <a:lnTo>
                      <a:pt x="1134" y="990"/>
                    </a:lnTo>
                    <a:lnTo>
                      <a:pt x="1138" y="994"/>
                    </a:lnTo>
                    <a:lnTo>
                      <a:pt x="1140" y="996"/>
                    </a:lnTo>
                    <a:lnTo>
                      <a:pt x="1142" y="998"/>
                    </a:lnTo>
                    <a:lnTo>
                      <a:pt x="1142" y="998"/>
                    </a:lnTo>
                    <a:lnTo>
                      <a:pt x="1142" y="998"/>
                    </a:lnTo>
                    <a:lnTo>
                      <a:pt x="1146" y="1000"/>
                    </a:lnTo>
                    <a:lnTo>
                      <a:pt x="1146" y="1000"/>
                    </a:lnTo>
                    <a:lnTo>
                      <a:pt x="1146" y="1000"/>
                    </a:lnTo>
                    <a:lnTo>
                      <a:pt x="1150" y="1002"/>
                    </a:lnTo>
                    <a:lnTo>
                      <a:pt x="1152" y="1002"/>
                    </a:lnTo>
                    <a:lnTo>
                      <a:pt x="1158" y="1002"/>
                    </a:lnTo>
                    <a:lnTo>
                      <a:pt x="1162" y="1004"/>
                    </a:lnTo>
                    <a:lnTo>
                      <a:pt x="1168" y="1004"/>
                    </a:lnTo>
                    <a:lnTo>
                      <a:pt x="1174" y="1002"/>
                    </a:lnTo>
                    <a:lnTo>
                      <a:pt x="1178" y="1002"/>
                    </a:lnTo>
                    <a:lnTo>
                      <a:pt x="1178" y="1002"/>
                    </a:lnTo>
                    <a:lnTo>
                      <a:pt x="1178" y="1002"/>
                    </a:lnTo>
                    <a:lnTo>
                      <a:pt x="1184" y="1000"/>
                    </a:lnTo>
                    <a:lnTo>
                      <a:pt x="1184" y="1000"/>
                    </a:lnTo>
                    <a:lnTo>
                      <a:pt x="1184" y="1000"/>
                    </a:lnTo>
                    <a:lnTo>
                      <a:pt x="1188" y="998"/>
                    </a:lnTo>
                    <a:lnTo>
                      <a:pt x="1188" y="998"/>
                    </a:lnTo>
                    <a:lnTo>
                      <a:pt x="1188" y="998"/>
                    </a:lnTo>
                    <a:lnTo>
                      <a:pt x="1190" y="996"/>
                    </a:lnTo>
                    <a:lnTo>
                      <a:pt x="1190" y="996"/>
                    </a:lnTo>
                    <a:lnTo>
                      <a:pt x="1190" y="996"/>
                    </a:lnTo>
                    <a:lnTo>
                      <a:pt x="1190" y="994"/>
                    </a:lnTo>
                    <a:lnTo>
                      <a:pt x="1190" y="994"/>
                    </a:lnTo>
                    <a:lnTo>
                      <a:pt x="1190" y="992"/>
                    </a:lnTo>
                    <a:lnTo>
                      <a:pt x="1192" y="990"/>
                    </a:lnTo>
                    <a:lnTo>
                      <a:pt x="1192" y="988"/>
                    </a:lnTo>
                    <a:lnTo>
                      <a:pt x="1192" y="982"/>
                    </a:lnTo>
                    <a:lnTo>
                      <a:pt x="1192" y="974"/>
                    </a:lnTo>
                    <a:lnTo>
                      <a:pt x="1194" y="968"/>
                    </a:lnTo>
                    <a:lnTo>
                      <a:pt x="1194" y="962"/>
                    </a:lnTo>
                    <a:lnTo>
                      <a:pt x="1194" y="960"/>
                    </a:lnTo>
                    <a:lnTo>
                      <a:pt x="1194" y="958"/>
                    </a:lnTo>
                    <a:lnTo>
                      <a:pt x="1196" y="956"/>
                    </a:lnTo>
                    <a:lnTo>
                      <a:pt x="1196" y="956"/>
                    </a:lnTo>
                    <a:lnTo>
                      <a:pt x="1200" y="954"/>
                    </a:lnTo>
                    <a:lnTo>
                      <a:pt x="1202" y="954"/>
                    </a:lnTo>
                    <a:lnTo>
                      <a:pt x="1208" y="954"/>
                    </a:lnTo>
                    <a:lnTo>
                      <a:pt x="1212" y="954"/>
                    </a:lnTo>
                    <a:lnTo>
                      <a:pt x="1218" y="954"/>
                    </a:lnTo>
                    <a:lnTo>
                      <a:pt x="1222" y="956"/>
                    </a:lnTo>
                    <a:lnTo>
                      <a:pt x="1228" y="956"/>
                    </a:lnTo>
                    <a:lnTo>
                      <a:pt x="1230" y="958"/>
                    </a:lnTo>
                    <a:lnTo>
                      <a:pt x="1234" y="958"/>
                    </a:lnTo>
                    <a:lnTo>
                      <a:pt x="1236" y="958"/>
                    </a:lnTo>
                    <a:lnTo>
                      <a:pt x="1242" y="960"/>
                    </a:lnTo>
                    <a:lnTo>
                      <a:pt x="1242" y="960"/>
                    </a:lnTo>
                    <a:lnTo>
                      <a:pt x="1246" y="962"/>
                    </a:lnTo>
                    <a:lnTo>
                      <a:pt x="1248" y="966"/>
                    </a:lnTo>
                    <a:lnTo>
                      <a:pt x="1250" y="968"/>
                    </a:lnTo>
                    <a:lnTo>
                      <a:pt x="1250" y="970"/>
                    </a:lnTo>
                    <a:lnTo>
                      <a:pt x="1252" y="972"/>
                    </a:lnTo>
                    <a:lnTo>
                      <a:pt x="1254" y="976"/>
                    </a:lnTo>
                    <a:lnTo>
                      <a:pt x="1254" y="980"/>
                    </a:lnTo>
                    <a:lnTo>
                      <a:pt x="1254" y="980"/>
                    </a:lnTo>
                    <a:lnTo>
                      <a:pt x="1256" y="980"/>
                    </a:lnTo>
                    <a:lnTo>
                      <a:pt x="1258" y="984"/>
                    </a:lnTo>
                    <a:lnTo>
                      <a:pt x="1258" y="984"/>
                    </a:lnTo>
                    <a:lnTo>
                      <a:pt x="1258" y="984"/>
                    </a:lnTo>
                    <a:lnTo>
                      <a:pt x="1260" y="986"/>
                    </a:lnTo>
                    <a:lnTo>
                      <a:pt x="1260" y="986"/>
                    </a:lnTo>
                    <a:lnTo>
                      <a:pt x="1260" y="988"/>
                    </a:lnTo>
                    <a:lnTo>
                      <a:pt x="1264" y="990"/>
                    </a:lnTo>
                    <a:lnTo>
                      <a:pt x="1264" y="990"/>
                    </a:lnTo>
                    <a:lnTo>
                      <a:pt x="1266" y="990"/>
                    </a:lnTo>
                    <a:lnTo>
                      <a:pt x="1270" y="990"/>
                    </a:lnTo>
                    <a:lnTo>
                      <a:pt x="1270" y="990"/>
                    </a:lnTo>
                    <a:lnTo>
                      <a:pt x="1270" y="990"/>
                    </a:lnTo>
                    <a:lnTo>
                      <a:pt x="1276" y="990"/>
                    </a:lnTo>
                    <a:lnTo>
                      <a:pt x="1284" y="990"/>
                    </a:lnTo>
                    <a:lnTo>
                      <a:pt x="1290" y="990"/>
                    </a:lnTo>
                    <a:lnTo>
                      <a:pt x="1298" y="988"/>
                    </a:lnTo>
                    <a:lnTo>
                      <a:pt x="1304" y="988"/>
                    </a:lnTo>
                    <a:lnTo>
                      <a:pt x="1310" y="988"/>
                    </a:lnTo>
                    <a:lnTo>
                      <a:pt x="1310" y="988"/>
                    </a:lnTo>
                    <a:lnTo>
                      <a:pt x="1316" y="990"/>
                    </a:lnTo>
                    <a:lnTo>
                      <a:pt x="1320" y="992"/>
                    </a:lnTo>
                    <a:lnTo>
                      <a:pt x="1322" y="994"/>
                    </a:lnTo>
                    <a:lnTo>
                      <a:pt x="1324" y="996"/>
                    </a:lnTo>
                    <a:lnTo>
                      <a:pt x="1328" y="1000"/>
                    </a:lnTo>
                    <a:lnTo>
                      <a:pt x="1330" y="1004"/>
                    </a:lnTo>
                    <a:lnTo>
                      <a:pt x="1332" y="1008"/>
                    </a:lnTo>
                    <a:lnTo>
                      <a:pt x="1332" y="1008"/>
                    </a:lnTo>
                    <a:lnTo>
                      <a:pt x="1332" y="1008"/>
                    </a:lnTo>
                    <a:lnTo>
                      <a:pt x="1336" y="1010"/>
                    </a:lnTo>
                    <a:lnTo>
                      <a:pt x="1336" y="1010"/>
                    </a:lnTo>
                    <a:lnTo>
                      <a:pt x="1336" y="1012"/>
                    </a:lnTo>
                    <a:lnTo>
                      <a:pt x="1340" y="1014"/>
                    </a:lnTo>
                    <a:lnTo>
                      <a:pt x="1340" y="1014"/>
                    </a:lnTo>
                    <a:lnTo>
                      <a:pt x="1340" y="1014"/>
                    </a:lnTo>
                    <a:lnTo>
                      <a:pt x="1346" y="1014"/>
                    </a:lnTo>
                    <a:lnTo>
                      <a:pt x="1352" y="1016"/>
                    </a:lnTo>
                    <a:lnTo>
                      <a:pt x="1358" y="1016"/>
                    </a:lnTo>
                    <a:lnTo>
                      <a:pt x="1364" y="1016"/>
                    </a:lnTo>
                    <a:lnTo>
                      <a:pt x="1378" y="1016"/>
                    </a:lnTo>
                    <a:lnTo>
                      <a:pt x="1384" y="1014"/>
                    </a:lnTo>
                    <a:lnTo>
                      <a:pt x="1390" y="1014"/>
                    </a:lnTo>
                    <a:lnTo>
                      <a:pt x="1398" y="1012"/>
                    </a:lnTo>
                    <a:lnTo>
                      <a:pt x="1404" y="1008"/>
                    </a:lnTo>
                    <a:lnTo>
                      <a:pt x="1412" y="1006"/>
                    </a:lnTo>
                    <a:lnTo>
                      <a:pt x="1418" y="1002"/>
                    </a:lnTo>
                    <a:lnTo>
                      <a:pt x="1426" y="998"/>
                    </a:lnTo>
                    <a:lnTo>
                      <a:pt x="1432" y="996"/>
                    </a:lnTo>
                    <a:lnTo>
                      <a:pt x="1438" y="994"/>
                    </a:lnTo>
                    <a:lnTo>
                      <a:pt x="1442" y="992"/>
                    </a:lnTo>
                    <a:lnTo>
                      <a:pt x="1442" y="992"/>
                    </a:lnTo>
                    <a:lnTo>
                      <a:pt x="1446" y="992"/>
                    </a:lnTo>
                    <a:lnTo>
                      <a:pt x="1448" y="992"/>
                    </a:lnTo>
                    <a:lnTo>
                      <a:pt x="1450" y="992"/>
                    </a:lnTo>
                    <a:lnTo>
                      <a:pt x="1450" y="994"/>
                    </a:lnTo>
                    <a:lnTo>
                      <a:pt x="1452" y="996"/>
                    </a:lnTo>
                    <a:lnTo>
                      <a:pt x="1454" y="996"/>
                    </a:lnTo>
                    <a:lnTo>
                      <a:pt x="1454" y="996"/>
                    </a:lnTo>
                    <a:lnTo>
                      <a:pt x="1454" y="996"/>
                    </a:lnTo>
                    <a:lnTo>
                      <a:pt x="1456" y="998"/>
                    </a:lnTo>
                    <a:lnTo>
                      <a:pt x="1456" y="998"/>
                    </a:lnTo>
                    <a:lnTo>
                      <a:pt x="1458" y="998"/>
                    </a:lnTo>
                    <a:lnTo>
                      <a:pt x="1460" y="998"/>
                    </a:lnTo>
                    <a:lnTo>
                      <a:pt x="1464" y="998"/>
                    </a:lnTo>
                    <a:lnTo>
                      <a:pt x="1468" y="1000"/>
                    </a:lnTo>
                    <a:lnTo>
                      <a:pt x="1478" y="1000"/>
                    </a:lnTo>
                    <a:lnTo>
                      <a:pt x="1488" y="1000"/>
                    </a:lnTo>
                    <a:lnTo>
                      <a:pt x="1492" y="998"/>
                    </a:lnTo>
                    <a:lnTo>
                      <a:pt x="1496" y="998"/>
                    </a:lnTo>
                    <a:lnTo>
                      <a:pt x="1498" y="998"/>
                    </a:lnTo>
                    <a:lnTo>
                      <a:pt x="1500" y="998"/>
                    </a:lnTo>
                    <a:lnTo>
                      <a:pt x="1502" y="996"/>
                    </a:lnTo>
                    <a:lnTo>
                      <a:pt x="1504" y="996"/>
                    </a:lnTo>
                    <a:lnTo>
                      <a:pt x="1504" y="996"/>
                    </a:lnTo>
                    <a:lnTo>
                      <a:pt x="1504" y="996"/>
                    </a:lnTo>
                    <a:lnTo>
                      <a:pt x="1506" y="994"/>
                    </a:lnTo>
                    <a:lnTo>
                      <a:pt x="1506" y="994"/>
                    </a:lnTo>
                    <a:lnTo>
                      <a:pt x="1506" y="994"/>
                    </a:lnTo>
                    <a:lnTo>
                      <a:pt x="1508" y="992"/>
                    </a:lnTo>
                    <a:lnTo>
                      <a:pt x="1510" y="990"/>
                    </a:lnTo>
                    <a:lnTo>
                      <a:pt x="1512" y="988"/>
                    </a:lnTo>
                    <a:lnTo>
                      <a:pt x="1514" y="984"/>
                    </a:lnTo>
                    <a:lnTo>
                      <a:pt x="1516" y="980"/>
                    </a:lnTo>
                    <a:lnTo>
                      <a:pt x="1518" y="974"/>
                    </a:lnTo>
                    <a:lnTo>
                      <a:pt x="1522" y="970"/>
                    </a:lnTo>
                    <a:lnTo>
                      <a:pt x="1524" y="964"/>
                    </a:lnTo>
                    <a:lnTo>
                      <a:pt x="1526" y="958"/>
                    </a:lnTo>
                    <a:lnTo>
                      <a:pt x="1528" y="952"/>
                    </a:lnTo>
                    <a:lnTo>
                      <a:pt x="1530" y="946"/>
                    </a:lnTo>
                    <a:lnTo>
                      <a:pt x="1530" y="946"/>
                    </a:lnTo>
                    <a:lnTo>
                      <a:pt x="1530" y="946"/>
                    </a:lnTo>
                    <a:lnTo>
                      <a:pt x="1530" y="940"/>
                    </a:lnTo>
                    <a:lnTo>
                      <a:pt x="1530" y="940"/>
                    </a:lnTo>
                    <a:lnTo>
                      <a:pt x="1528" y="934"/>
                    </a:lnTo>
                    <a:lnTo>
                      <a:pt x="1528" y="930"/>
                    </a:lnTo>
                    <a:lnTo>
                      <a:pt x="1526" y="924"/>
                    </a:lnTo>
                    <a:lnTo>
                      <a:pt x="1524" y="920"/>
                    </a:lnTo>
                    <a:lnTo>
                      <a:pt x="1522" y="916"/>
                    </a:lnTo>
                    <a:lnTo>
                      <a:pt x="1522" y="916"/>
                    </a:lnTo>
                    <a:lnTo>
                      <a:pt x="1522" y="912"/>
                    </a:lnTo>
                    <a:lnTo>
                      <a:pt x="1522" y="912"/>
                    </a:lnTo>
                    <a:lnTo>
                      <a:pt x="1522" y="912"/>
                    </a:lnTo>
                    <a:lnTo>
                      <a:pt x="1524" y="912"/>
                    </a:lnTo>
                    <a:lnTo>
                      <a:pt x="1526" y="910"/>
                    </a:lnTo>
                    <a:lnTo>
                      <a:pt x="1528" y="908"/>
                    </a:lnTo>
                    <a:lnTo>
                      <a:pt x="1528" y="908"/>
                    </a:lnTo>
                    <a:lnTo>
                      <a:pt x="1532" y="906"/>
                    </a:lnTo>
                    <a:lnTo>
                      <a:pt x="1536" y="904"/>
                    </a:lnTo>
                    <a:lnTo>
                      <a:pt x="1542" y="904"/>
                    </a:lnTo>
                    <a:lnTo>
                      <a:pt x="1548" y="904"/>
                    </a:lnTo>
                    <a:lnTo>
                      <a:pt x="1558" y="902"/>
                    </a:lnTo>
                    <a:lnTo>
                      <a:pt x="1564" y="902"/>
                    </a:lnTo>
                    <a:lnTo>
                      <a:pt x="1570" y="902"/>
                    </a:lnTo>
                    <a:lnTo>
                      <a:pt x="1576" y="902"/>
                    </a:lnTo>
                    <a:lnTo>
                      <a:pt x="1582" y="902"/>
                    </a:lnTo>
                    <a:lnTo>
                      <a:pt x="1588" y="904"/>
                    </a:lnTo>
                    <a:lnTo>
                      <a:pt x="1594" y="904"/>
                    </a:lnTo>
                    <a:lnTo>
                      <a:pt x="1598" y="906"/>
                    </a:lnTo>
                    <a:lnTo>
                      <a:pt x="1602" y="908"/>
                    </a:lnTo>
                    <a:lnTo>
                      <a:pt x="1606" y="910"/>
                    </a:lnTo>
                    <a:lnTo>
                      <a:pt x="1604" y="910"/>
                    </a:lnTo>
                    <a:lnTo>
                      <a:pt x="1608" y="914"/>
                    </a:lnTo>
                    <a:lnTo>
                      <a:pt x="1608" y="918"/>
                    </a:lnTo>
                    <a:lnTo>
                      <a:pt x="1610" y="922"/>
                    </a:lnTo>
                    <a:lnTo>
                      <a:pt x="1610" y="928"/>
                    </a:lnTo>
                    <a:lnTo>
                      <a:pt x="1612" y="932"/>
                    </a:lnTo>
                    <a:lnTo>
                      <a:pt x="1612" y="936"/>
                    </a:lnTo>
                    <a:lnTo>
                      <a:pt x="1614" y="940"/>
                    </a:lnTo>
                    <a:lnTo>
                      <a:pt x="1614" y="940"/>
                    </a:lnTo>
                    <a:lnTo>
                      <a:pt x="1614" y="940"/>
                    </a:lnTo>
                    <a:lnTo>
                      <a:pt x="1616" y="944"/>
                    </a:lnTo>
                    <a:lnTo>
                      <a:pt x="1618" y="946"/>
                    </a:lnTo>
                    <a:lnTo>
                      <a:pt x="1618" y="946"/>
                    </a:lnTo>
                    <a:lnTo>
                      <a:pt x="1618" y="946"/>
                    </a:lnTo>
                    <a:lnTo>
                      <a:pt x="1620" y="950"/>
                    </a:lnTo>
                    <a:lnTo>
                      <a:pt x="1622" y="950"/>
                    </a:lnTo>
                    <a:lnTo>
                      <a:pt x="1624" y="952"/>
                    </a:lnTo>
                    <a:lnTo>
                      <a:pt x="1626" y="954"/>
                    </a:lnTo>
                    <a:lnTo>
                      <a:pt x="1626" y="954"/>
                    </a:lnTo>
                    <a:lnTo>
                      <a:pt x="1626" y="956"/>
                    </a:lnTo>
                    <a:lnTo>
                      <a:pt x="1628" y="958"/>
                    </a:lnTo>
                    <a:lnTo>
                      <a:pt x="1628" y="958"/>
                    </a:lnTo>
                    <a:lnTo>
                      <a:pt x="1630" y="962"/>
                    </a:lnTo>
                    <a:lnTo>
                      <a:pt x="1630" y="966"/>
                    </a:lnTo>
                    <a:lnTo>
                      <a:pt x="1632" y="972"/>
                    </a:lnTo>
                    <a:lnTo>
                      <a:pt x="1632" y="978"/>
                    </a:lnTo>
                    <a:lnTo>
                      <a:pt x="1634" y="984"/>
                    </a:lnTo>
                    <a:lnTo>
                      <a:pt x="1634" y="988"/>
                    </a:lnTo>
                    <a:lnTo>
                      <a:pt x="1636" y="994"/>
                    </a:lnTo>
                    <a:lnTo>
                      <a:pt x="1638" y="996"/>
                    </a:lnTo>
                    <a:lnTo>
                      <a:pt x="1638" y="996"/>
                    </a:lnTo>
                    <a:lnTo>
                      <a:pt x="1638" y="998"/>
                    </a:lnTo>
                    <a:lnTo>
                      <a:pt x="1640" y="1000"/>
                    </a:lnTo>
                    <a:lnTo>
                      <a:pt x="1640" y="1000"/>
                    </a:lnTo>
                    <a:lnTo>
                      <a:pt x="1640" y="1000"/>
                    </a:lnTo>
                    <a:lnTo>
                      <a:pt x="1642" y="1002"/>
                    </a:lnTo>
                    <a:lnTo>
                      <a:pt x="1642" y="1002"/>
                    </a:lnTo>
                    <a:lnTo>
                      <a:pt x="1642" y="1004"/>
                    </a:lnTo>
                    <a:lnTo>
                      <a:pt x="1646" y="1006"/>
                    </a:lnTo>
                    <a:lnTo>
                      <a:pt x="1648" y="1006"/>
                    </a:lnTo>
                    <a:lnTo>
                      <a:pt x="1650" y="1008"/>
                    </a:lnTo>
                    <a:lnTo>
                      <a:pt x="1654" y="1010"/>
                    </a:lnTo>
                    <a:lnTo>
                      <a:pt x="1656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60" y="1010"/>
                    </a:lnTo>
                    <a:lnTo>
                      <a:pt x="1660" y="1010"/>
                    </a:lnTo>
                    <a:lnTo>
                      <a:pt x="1660" y="1010"/>
                    </a:lnTo>
                    <a:lnTo>
                      <a:pt x="1662" y="1008"/>
                    </a:lnTo>
                    <a:lnTo>
                      <a:pt x="1662" y="1010"/>
                    </a:lnTo>
                    <a:lnTo>
                      <a:pt x="1666" y="1012"/>
                    </a:lnTo>
                    <a:lnTo>
                      <a:pt x="1668" y="1014"/>
                    </a:lnTo>
                    <a:lnTo>
                      <a:pt x="1674" y="1018"/>
                    </a:lnTo>
                    <a:lnTo>
                      <a:pt x="1676" y="1022"/>
                    </a:lnTo>
                    <a:lnTo>
                      <a:pt x="1678" y="1024"/>
                    </a:lnTo>
                    <a:lnTo>
                      <a:pt x="1678" y="1024"/>
                    </a:lnTo>
                    <a:lnTo>
                      <a:pt x="1678" y="1026"/>
                    </a:lnTo>
                    <a:lnTo>
                      <a:pt x="1680" y="1030"/>
                    </a:lnTo>
                    <a:lnTo>
                      <a:pt x="1682" y="1036"/>
                    </a:lnTo>
                    <a:lnTo>
                      <a:pt x="1682" y="1040"/>
                    </a:lnTo>
                    <a:lnTo>
                      <a:pt x="1684" y="1044"/>
                    </a:lnTo>
                    <a:lnTo>
                      <a:pt x="1684" y="1046"/>
                    </a:lnTo>
                    <a:lnTo>
                      <a:pt x="1684" y="1046"/>
                    </a:lnTo>
                    <a:lnTo>
                      <a:pt x="1686" y="1046"/>
                    </a:lnTo>
                    <a:lnTo>
                      <a:pt x="1686" y="1048"/>
                    </a:lnTo>
                    <a:lnTo>
                      <a:pt x="1686" y="1048"/>
                    </a:lnTo>
                    <a:lnTo>
                      <a:pt x="1688" y="1048"/>
                    </a:lnTo>
                    <a:lnTo>
                      <a:pt x="1690" y="1050"/>
                    </a:lnTo>
                    <a:lnTo>
                      <a:pt x="1690" y="1050"/>
                    </a:lnTo>
                    <a:lnTo>
                      <a:pt x="1690" y="1050"/>
                    </a:lnTo>
                    <a:lnTo>
                      <a:pt x="1692" y="1050"/>
                    </a:lnTo>
                    <a:lnTo>
                      <a:pt x="1692" y="1050"/>
                    </a:lnTo>
                    <a:lnTo>
                      <a:pt x="1692" y="1050"/>
                    </a:lnTo>
                    <a:lnTo>
                      <a:pt x="1694" y="1050"/>
                    </a:lnTo>
                    <a:lnTo>
                      <a:pt x="1696" y="1050"/>
                    </a:lnTo>
                    <a:lnTo>
                      <a:pt x="1696" y="1050"/>
                    </a:lnTo>
                    <a:lnTo>
                      <a:pt x="1698" y="1050"/>
                    </a:lnTo>
                    <a:lnTo>
                      <a:pt x="1702" y="1048"/>
                    </a:lnTo>
                    <a:lnTo>
                      <a:pt x="1708" y="1046"/>
                    </a:lnTo>
                    <a:lnTo>
                      <a:pt x="1710" y="1044"/>
                    </a:lnTo>
                    <a:lnTo>
                      <a:pt x="1712" y="1044"/>
                    </a:lnTo>
                    <a:lnTo>
                      <a:pt x="1718" y="1040"/>
                    </a:lnTo>
                    <a:lnTo>
                      <a:pt x="1722" y="1036"/>
                    </a:lnTo>
                    <a:lnTo>
                      <a:pt x="1728" y="1032"/>
                    </a:lnTo>
                    <a:lnTo>
                      <a:pt x="1734" y="1028"/>
                    </a:lnTo>
                    <a:lnTo>
                      <a:pt x="1736" y="1026"/>
                    </a:lnTo>
                    <a:lnTo>
                      <a:pt x="1738" y="1026"/>
                    </a:lnTo>
                    <a:lnTo>
                      <a:pt x="1740" y="1024"/>
                    </a:lnTo>
                    <a:lnTo>
                      <a:pt x="1740" y="1026"/>
                    </a:lnTo>
                    <a:lnTo>
                      <a:pt x="1740" y="1028"/>
                    </a:lnTo>
                    <a:lnTo>
                      <a:pt x="1738" y="1032"/>
                    </a:lnTo>
                    <a:lnTo>
                      <a:pt x="1738" y="1036"/>
                    </a:lnTo>
                    <a:lnTo>
                      <a:pt x="1736" y="1040"/>
                    </a:lnTo>
                    <a:lnTo>
                      <a:pt x="1736" y="1044"/>
                    </a:lnTo>
                    <a:lnTo>
                      <a:pt x="1732" y="1056"/>
                    </a:lnTo>
                    <a:lnTo>
                      <a:pt x="1728" y="1066"/>
                    </a:lnTo>
                    <a:lnTo>
                      <a:pt x="1726" y="1070"/>
                    </a:lnTo>
                    <a:lnTo>
                      <a:pt x="1724" y="1076"/>
                    </a:lnTo>
                    <a:lnTo>
                      <a:pt x="1722" y="1080"/>
                    </a:lnTo>
                    <a:lnTo>
                      <a:pt x="1720" y="1084"/>
                    </a:lnTo>
                    <a:lnTo>
                      <a:pt x="1720" y="1088"/>
                    </a:lnTo>
                    <a:lnTo>
                      <a:pt x="1718" y="1090"/>
                    </a:lnTo>
                    <a:lnTo>
                      <a:pt x="1716" y="1092"/>
                    </a:lnTo>
                    <a:lnTo>
                      <a:pt x="1716" y="1092"/>
                    </a:lnTo>
                    <a:lnTo>
                      <a:pt x="1716" y="1092"/>
                    </a:lnTo>
                    <a:lnTo>
                      <a:pt x="1714" y="1092"/>
                    </a:lnTo>
                    <a:lnTo>
                      <a:pt x="1712" y="1094"/>
                    </a:lnTo>
                    <a:lnTo>
                      <a:pt x="1708" y="1092"/>
                    </a:lnTo>
                    <a:lnTo>
                      <a:pt x="1708" y="1092"/>
                    </a:lnTo>
                    <a:lnTo>
                      <a:pt x="1704" y="1092"/>
                    </a:lnTo>
                    <a:lnTo>
                      <a:pt x="1700" y="1090"/>
                    </a:lnTo>
                    <a:lnTo>
                      <a:pt x="1696" y="1090"/>
                    </a:lnTo>
                    <a:lnTo>
                      <a:pt x="1694" y="1090"/>
                    </a:lnTo>
                    <a:lnTo>
                      <a:pt x="1694" y="1090"/>
                    </a:lnTo>
                    <a:lnTo>
                      <a:pt x="1694" y="1090"/>
                    </a:lnTo>
                    <a:lnTo>
                      <a:pt x="1692" y="1090"/>
                    </a:lnTo>
                    <a:lnTo>
                      <a:pt x="1692" y="1090"/>
                    </a:lnTo>
                    <a:lnTo>
                      <a:pt x="1690" y="1090"/>
                    </a:lnTo>
                    <a:lnTo>
                      <a:pt x="1690" y="1092"/>
                    </a:lnTo>
                    <a:lnTo>
                      <a:pt x="1690" y="1092"/>
                    </a:lnTo>
                    <a:lnTo>
                      <a:pt x="1688" y="1092"/>
                    </a:lnTo>
                    <a:lnTo>
                      <a:pt x="1688" y="1094"/>
                    </a:lnTo>
                    <a:lnTo>
                      <a:pt x="1688" y="1094"/>
                    </a:lnTo>
                    <a:lnTo>
                      <a:pt x="1688" y="1094"/>
                    </a:lnTo>
                    <a:lnTo>
                      <a:pt x="1686" y="1096"/>
                    </a:lnTo>
                    <a:lnTo>
                      <a:pt x="1686" y="1100"/>
                    </a:lnTo>
                    <a:lnTo>
                      <a:pt x="1684" y="1102"/>
                    </a:lnTo>
                    <a:lnTo>
                      <a:pt x="1684" y="1106"/>
                    </a:lnTo>
                    <a:lnTo>
                      <a:pt x="1684" y="1112"/>
                    </a:lnTo>
                    <a:lnTo>
                      <a:pt x="1682" y="1120"/>
                    </a:lnTo>
                    <a:lnTo>
                      <a:pt x="1682" y="1128"/>
                    </a:lnTo>
                    <a:lnTo>
                      <a:pt x="1684" y="1134"/>
                    </a:lnTo>
                    <a:lnTo>
                      <a:pt x="1684" y="1138"/>
                    </a:lnTo>
                    <a:lnTo>
                      <a:pt x="1684" y="1140"/>
                    </a:lnTo>
                    <a:lnTo>
                      <a:pt x="1686" y="1142"/>
                    </a:lnTo>
                    <a:lnTo>
                      <a:pt x="1686" y="1142"/>
                    </a:lnTo>
                    <a:lnTo>
                      <a:pt x="1686" y="1144"/>
                    </a:lnTo>
                    <a:lnTo>
                      <a:pt x="1686" y="1144"/>
                    </a:lnTo>
                    <a:lnTo>
                      <a:pt x="1686" y="1144"/>
                    </a:lnTo>
                    <a:lnTo>
                      <a:pt x="1686" y="1146"/>
                    </a:lnTo>
                    <a:lnTo>
                      <a:pt x="1690" y="1148"/>
                    </a:lnTo>
                    <a:lnTo>
                      <a:pt x="1690" y="1148"/>
                    </a:lnTo>
                    <a:lnTo>
                      <a:pt x="1690" y="1148"/>
                    </a:lnTo>
                    <a:lnTo>
                      <a:pt x="1694" y="1150"/>
                    </a:lnTo>
                    <a:lnTo>
                      <a:pt x="1694" y="1150"/>
                    </a:lnTo>
                    <a:lnTo>
                      <a:pt x="1696" y="1150"/>
                    </a:lnTo>
                    <a:lnTo>
                      <a:pt x="1700" y="1152"/>
                    </a:lnTo>
                    <a:lnTo>
                      <a:pt x="1700" y="1152"/>
                    </a:lnTo>
                    <a:lnTo>
                      <a:pt x="1706" y="1152"/>
                    </a:lnTo>
                    <a:lnTo>
                      <a:pt x="1712" y="1152"/>
                    </a:lnTo>
                    <a:lnTo>
                      <a:pt x="1718" y="1152"/>
                    </a:lnTo>
                    <a:lnTo>
                      <a:pt x="1724" y="1150"/>
                    </a:lnTo>
                    <a:lnTo>
                      <a:pt x="1730" y="1148"/>
                    </a:lnTo>
                    <a:lnTo>
                      <a:pt x="1736" y="1146"/>
                    </a:lnTo>
                    <a:lnTo>
                      <a:pt x="1740" y="1142"/>
                    </a:lnTo>
                    <a:lnTo>
                      <a:pt x="1746" y="1138"/>
                    </a:lnTo>
                    <a:lnTo>
                      <a:pt x="1750" y="1134"/>
                    </a:lnTo>
                    <a:lnTo>
                      <a:pt x="1756" y="1130"/>
                    </a:lnTo>
                    <a:lnTo>
                      <a:pt x="1760" y="1124"/>
                    </a:lnTo>
                    <a:lnTo>
                      <a:pt x="1766" y="1116"/>
                    </a:lnTo>
                    <a:lnTo>
                      <a:pt x="1772" y="1110"/>
                    </a:lnTo>
                    <a:lnTo>
                      <a:pt x="1774" y="1104"/>
                    </a:lnTo>
                    <a:lnTo>
                      <a:pt x="1778" y="1100"/>
                    </a:lnTo>
                    <a:lnTo>
                      <a:pt x="1782" y="1094"/>
                    </a:lnTo>
                    <a:lnTo>
                      <a:pt x="1786" y="1088"/>
                    </a:lnTo>
                    <a:lnTo>
                      <a:pt x="1794" y="1074"/>
                    </a:lnTo>
                    <a:lnTo>
                      <a:pt x="1804" y="1060"/>
                    </a:lnTo>
                    <a:lnTo>
                      <a:pt x="1812" y="1048"/>
                    </a:lnTo>
                    <a:lnTo>
                      <a:pt x="1820" y="1034"/>
                    </a:lnTo>
                    <a:lnTo>
                      <a:pt x="1824" y="1028"/>
                    </a:lnTo>
                    <a:lnTo>
                      <a:pt x="1826" y="1022"/>
                    </a:lnTo>
                    <a:lnTo>
                      <a:pt x="1830" y="1016"/>
                    </a:lnTo>
                    <a:lnTo>
                      <a:pt x="1832" y="1012"/>
                    </a:lnTo>
                    <a:lnTo>
                      <a:pt x="1834" y="1008"/>
                    </a:lnTo>
                    <a:lnTo>
                      <a:pt x="1834" y="1004"/>
                    </a:lnTo>
                    <a:lnTo>
                      <a:pt x="1836" y="1000"/>
                    </a:lnTo>
                    <a:lnTo>
                      <a:pt x="1836" y="996"/>
                    </a:lnTo>
                    <a:lnTo>
                      <a:pt x="1836" y="992"/>
                    </a:lnTo>
                    <a:lnTo>
                      <a:pt x="1836" y="986"/>
                    </a:lnTo>
                    <a:lnTo>
                      <a:pt x="1834" y="984"/>
                    </a:lnTo>
                    <a:lnTo>
                      <a:pt x="1832" y="980"/>
                    </a:lnTo>
                    <a:lnTo>
                      <a:pt x="1832" y="976"/>
                    </a:lnTo>
                    <a:lnTo>
                      <a:pt x="1832" y="976"/>
                    </a:lnTo>
                    <a:lnTo>
                      <a:pt x="1832" y="972"/>
                    </a:lnTo>
                    <a:lnTo>
                      <a:pt x="1832" y="968"/>
                    </a:lnTo>
                    <a:lnTo>
                      <a:pt x="1834" y="962"/>
                    </a:lnTo>
                    <a:lnTo>
                      <a:pt x="1836" y="952"/>
                    </a:lnTo>
                    <a:lnTo>
                      <a:pt x="1838" y="946"/>
                    </a:lnTo>
                    <a:lnTo>
                      <a:pt x="1840" y="940"/>
                    </a:lnTo>
                    <a:lnTo>
                      <a:pt x="1840" y="936"/>
                    </a:lnTo>
                    <a:lnTo>
                      <a:pt x="1840" y="930"/>
                    </a:lnTo>
                    <a:lnTo>
                      <a:pt x="1842" y="926"/>
                    </a:lnTo>
                    <a:lnTo>
                      <a:pt x="1842" y="924"/>
                    </a:lnTo>
                    <a:lnTo>
                      <a:pt x="1840" y="920"/>
                    </a:lnTo>
                    <a:lnTo>
                      <a:pt x="1840" y="918"/>
                    </a:lnTo>
                    <a:lnTo>
                      <a:pt x="1840" y="918"/>
                    </a:lnTo>
                    <a:lnTo>
                      <a:pt x="1840" y="918"/>
                    </a:lnTo>
                    <a:lnTo>
                      <a:pt x="1838" y="912"/>
                    </a:lnTo>
                    <a:lnTo>
                      <a:pt x="1836" y="908"/>
                    </a:lnTo>
                    <a:lnTo>
                      <a:pt x="1834" y="904"/>
                    </a:lnTo>
                    <a:lnTo>
                      <a:pt x="1832" y="902"/>
                    </a:lnTo>
                    <a:lnTo>
                      <a:pt x="1826" y="896"/>
                    </a:lnTo>
                    <a:lnTo>
                      <a:pt x="1822" y="892"/>
                    </a:lnTo>
                    <a:lnTo>
                      <a:pt x="1818" y="890"/>
                    </a:lnTo>
                    <a:lnTo>
                      <a:pt x="1816" y="888"/>
                    </a:lnTo>
                    <a:lnTo>
                      <a:pt x="1814" y="888"/>
                    </a:lnTo>
                    <a:lnTo>
                      <a:pt x="1814" y="888"/>
                    </a:lnTo>
                    <a:lnTo>
                      <a:pt x="1814" y="886"/>
                    </a:lnTo>
                    <a:lnTo>
                      <a:pt x="1812" y="886"/>
                    </a:lnTo>
                    <a:lnTo>
                      <a:pt x="1812" y="886"/>
                    </a:lnTo>
                    <a:lnTo>
                      <a:pt x="1812" y="886"/>
                    </a:lnTo>
                    <a:lnTo>
                      <a:pt x="1808" y="886"/>
                    </a:lnTo>
                    <a:lnTo>
                      <a:pt x="1808" y="886"/>
                    </a:lnTo>
                    <a:lnTo>
                      <a:pt x="1806" y="886"/>
                    </a:lnTo>
                    <a:lnTo>
                      <a:pt x="1804" y="888"/>
                    </a:lnTo>
                    <a:lnTo>
                      <a:pt x="1804" y="888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0" y="888"/>
                    </a:lnTo>
                    <a:lnTo>
                      <a:pt x="1800" y="890"/>
                    </a:lnTo>
                    <a:lnTo>
                      <a:pt x="1800" y="890"/>
                    </a:lnTo>
                    <a:lnTo>
                      <a:pt x="1800" y="890"/>
                    </a:lnTo>
                    <a:lnTo>
                      <a:pt x="1798" y="892"/>
                    </a:lnTo>
                    <a:lnTo>
                      <a:pt x="1798" y="892"/>
                    </a:lnTo>
                    <a:lnTo>
                      <a:pt x="1798" y="894"/>
                    </a:lnTo>
                    <a:lnTo>
                      <a:pt x="1798" y="896"/>
                    </a:lnTo>
                    <a:lnTo>
                      <a:pt x="1798" y="898"/>
                    </a:lnTo>
                    <a:lnTo>
                      <a:pt x="1800" y="902"/>
                    </a:lnTo>
                    <a:lnTo>
                      <a:pt x="1800" y="904"/>
                    </a:lnTo>
                    <a:lnTo>
                      <a:pt x="1800" y="906"/>
                    </a:lnTo>
                    <a:lnTo>
                      <a:pt x="1800" y="908"/>
                    </a:lnTo>
                    <a:lnTo>
                      <a:pt x="1798" y="908"/>
                    </a:lnTo>
                    <a:lnTo>
                      <a:pt x="1798" y="908"/>
                    </a:lnTo>
                    <a:lnTo>
                      <a:pt x="1796" y="908"/>
                    </a:lnTo>
                    <a:lnTo>
                      <a:pt x="1794" y="908"/>
                    </a:lnTo>
                    <a:lnTo>
                      <a:pt x="1792" y="906"/>
                    </a:lnTo>
                    <a:lnTo>
                      <a:pt x="1792" y="906"/>
                    </a:lnTo>
                    <a:lnTo>
                      <a:pt x="1792" y="904"/>
                    </a:lnTo>
                    <a:lnTo>
                      <a:pt x="1792" y="904"/>
                    </a:lnTo>
                    <a:lnTo>
                      <a:pt x="1792" y="904"/>
                    </a:lnTo>
                    <a:lnTo>
                      <a:pt x="1792" y="900"/>
                    </a:lnTo>
                    <a:lnTo>
                      <a:pt x="1794" y="894"/>
                    </a:lnTo>
                    <a:lnTo>
                      <a:pt x="1796" y="890"/>
                    </a:lnTo>
                    <a:lnTo>
                      <a:pt x="1798" y="884"/>
                    </a:lnTo>
                    <a:lnTo>
                      <a:pt x="1798" y="880"/>
                    </a:lnTo>
                    <a:lnTo>
                      <a:pt x="1800" y="876"/>
                    </a:lnTo>
                    <a:lnTo>
                      <a:pt x="1800" y="874"/>
                    </a:lnTo>
                    <a:lnTo>
                      <a:pt x="1800" y="874"/>
                    </a:lnTo>
                    <a:lnTo>
                      <a:pt x="1800" y="872"/>
                    </a:lnTo>
                    <a:lnTo>
                      <a:pt x="1800" y="872"/>
                    </a:lnTo>
                    <a:lnTo>
                      <a:pt x="1798" y="870"/>
                    </a:lnTo>
                    <a:lnTo>
                      <a:pt x="1798" y="870"/>
                    </a:lnTo>
                    <a:lnTo>
                      <a:pt x="1798" y="870"/>
                    </a:lnTo>
                    <a:lnTo>
                      <a:pt x="1796" y="870"/>
                    </a:lnTo>
                    <a:lnTo>
                      <a:pt x="1794" y="870"/>
                    </a:lnTo>
                    <a:lnTo>
                      <a:pt x="1794" y="870"/>
                    </a:lnTo>
                    <a:lnTo>
                      <a:pt x="1794" y="870"/>
                    </a:lnTo>
                    <a:lnTo>
                      <a:pt x="1792" y="872"/>
                    </a:lnTo>
                    <a:lnTo>
                      <a:pt x="1790" y="872"/>
                    </a:lnTo>
                    <a:lnTo>
                      <a:pt x="1786" y="876"/>
                    </a:lnTo>
                    <a:lnTo>
                      <a:pt x="1782" y="878"/>
                    </a:lnTo>
                    <a:lnTo>
                      <a:pt x="1780" y="878"/>
                    </a:lnTo>
                    <a:lnTo>
                      <a:pt x="1778" y="880"/>
                    </a:lnTo>
                    <a:lnTo>
                      <a:pt x="1772" y="880"/>
                    </a:lnTo>
                    <a:lnTo>
                      <a:pt x="1768" y="880"/>
                    </a:lnTo>
                    <a:lnTo>
                      <a:pt x="1764" y="880"/>
                    </a:lnTo>
                    <a:lnTo>
                      <a:pt x="1758" y="880"/>
                    </a:lnTo>
                    <a:lnTo>
                      <a:pt x="1754" y="880"/>
                    </a:lnTo>
                    <a:lnTo>
                      <a:pt x="1752" y="880"/>
                    </a:lnTo>
                    <a:lnTo>
                      <a:pt x="1750" y="880"/>
                    </a:lnTo>
                    <a:lnTo>
                      <a:pt x="1748" y="880"/>
                    </a:lnTo>
                    <a:lnTo>
                      <a:pt x="1748" y="878"/>
                    </a:lnTo>
                    <a:lnTo>
                      <a:pt x="1750" y="878"/>
                    </a:lnTo>
                    <a:lnTo>
                      <a:pt x="1750" y="876"/>
                    </a:lnTo>
                    <a:lnTo>
                      <a:pt x="1754" y="872"/>
                    </a:lnTo>
                    <a:lnTo>
                      <a:pt x="1754" y="872"/>
                    </a:lnTo>
                    <a:lnTo>
                      <a:pt x="1758" y="868"/>
                    </a:lnTo>
                    <a:lnTo>
                      <a:pt x="1760" y="866"/>
                    </a:lnTo>
                    <a:lnTo>
                      <a:pt x="1762" y="864"/>
                    </a:lnTo>
                    <a:lnTo>
                      <a:pt x="1770" y="860"/>
                    </a:lnTo>
                    <a:lnTo>
                      <a:pt x="1772" y="858"/>
                    </a:lnTo>
                    <a:lnTo>
                      <a:pt x="1776" y="854"/>
                    </a:lnTo>
                    <a:lnTo>
                      <a:pt x="1780" y="850"/>
                    </a:lnTo>
                    <a:lnTo>
                      <a:pt x="1786" y="846"/>
                    </a:lnTo>
                    <a:lnTo>
                      <a:pt x="1790" y="842"/>
                    </a:lnTo>
                    <a:lnTo>
                      <a:pt x="1794" y="838"/>
                    </a:lnTo>
                    <a:lnTo>
                      <a:pt x="1796" y="836"/>
                    </a:lnTo>
                    <a:lnTo>
                      <a:pt x="1796" y="836"/>
                    </a:lnTo>
                    <a:lnTo>
                      <a:pt x="1796" y="836"/>
                    </a:lnTo>
                    <a:lnTo>
                      <a:pt x="1798" y="834"/>
                    </a:lnTo>
                    <a:lnTo>
                      <a:pt x="1798" y="834"/>
                    </a:lnTo>
                    <a:lnTo>
                      <a:pt x="1798" y="834"/>
                    </a:lnTo>
                    <a:lnTo>
                      <a:pt x="1798" y="830"/>
                    </a:lnTo>
                    <a:lnTo>
                      <a:pt x="1800" y="826"/>
                    </a:lnTo>
                    <a:lnTo>
                      <a:pt x="1800" y="828"/>
                    </a:lnTo>
                    <a:lnTo>
                      <a:pt x="1800" y="826"/>
                    </a:lnTo>
                    <a:lnTo>
                      <a:pt x="1802" y="824"/>
                    </a:lnTo>
                    <a:lnTo>
                      <a:pt x="1802" y="824"/>
                    </a:lnTo>
                    <a:lnTo>
                      <a:pt x="1804" y="822"/>
                    </a:lnTo>
                    <a:lnTo>
                      <a:pt x="1808" y="820"/>
                    </a:lnTo>
                    <a:lnTo>
                      <a:pt x="1812" y="818"/>
                    </a:lnTo>
                    <a:lnTo>
                      <a:pt x="1814" y="816"/>
                    </a:lnTo>
                    <a:lnTo>
                      <a:pt x="1816" y="816"/>
                    </a:lnTo>
                    <a:lnTo>
                      <a:pt x="1818" y="814"/>
                    </a:lnTo>
                    <a:lnTo>
                      <a:pt x="1818" y="812"/>
                    </a:lnTo>
                    <a:lnTo>
                      <a:pt x="1818" y="812"/>
                    </a:lnTo>
                    <a:lnTo>
                      <a:pt x="1818" y="812"/>
                    </a:lnTo>
                    <a:lnTo>
                      <a:pt x="1820" y="810"/>
                    </a:lnTo>
                    <a:lnTo>
                      <a:pt x="1822" y="808"/>
                    </a:lnTo>
                    <a:lnTo>
                      <a:pt x="1822" y="806"/>
                    </a:lnTo>
                    <a:lnTo>
                      <a:pt x="1824" y="804"/>
                    </a:lnTo>
                    <a:lnTo>
                      <a:pt x="1828" y="800"/>
                    </a:lnTo>
                    <a:lnTo>
                      <a:pt x="1828" y="800"/>
                    </a:lnTo>
                    <a:lnTo>
                      <a:pt x="1830" y="800"/>
                    </a:lnTo>
                    <a:lnTo>
                      <a:pt x="1832" y="796"/>
                    </a:lnTo>
                    <a:lnTo>
                      <a:pt x="1832" y="796"/>
                    </a:lnTo>
                    <a:lnTo>
                      <a:pt x="1832" y="796"/>
                    </a:lnTo>
                    <a:lnTo>
                      <a:pt x="1832" y="794"/>
                    </a:lnTo>
                    <a:lnTo>
                      <a:pt x="1832" y="792"/>
                    </a:lnTo>
                    <a:lnTo>
                      <a:pt x="1834" y="788"/>
                    </a:lnTo>
                    <a:lnTo>
                      <a:pt x="1834" y="786"/>
                    </a:lnTo>
                    <a:lnTo>
                      <a:pt x="1834" y="784"/>
                    </a:lnTo>
                    <a:lnTo>
                      <a:pt x="1834" y="782"/>
                    </a:lnTo>
                    <a:lnTo>
                      <a:pt x="1836" y="782"/>
                    </a:lnTo>
                    <a:lnTo>
                      <a:pt x="1836" y="782"/>
                    </a:lnTo>
                    <a:lnTo>
                      <a:pt x="1838" y="782"/>
                    </a:lnTo>
                    <a:lnTo>
                      <a:pt x="1842" y="784"/>
                    </a:lnTo>
                    <a:lnTo>
                      <a:pt x="1842" y="784"/>
                    </a:lnTo>
                    <a:lnTo>
                      <a:pt x="1842" y="784"/>
                    </a:lnTo>
                    <a:lnTo>
                      <a:pt x="1844" y="784"/>
                    </a:lnTo>
                    <a:lnTo>
                      <a:pt x="1844" y="784"/>
                    </a:lnTo>
                    <a:lnTo>
                      <a:pt x="1844" y="784"/>
                    </a:lnTo>
                    <a:lnTo>
                      <a:pt x="1846" y="782"/>
                    </a:lnTo>
                    <a:lnTo>
                      <a:pt x="1846" y="782"/>
                    </a:lnTo>
                    <a:lnTo>
                      <a:pt x="1848" y="782"/>
                    </a:lnTo>
                    <a:lnTo>
                      <a:pt x="1848" y="782"/>
                    </a:lnTo>
                    <a:lnTo>
                      <a:pt x="1848" y="782"/>
                    </a:lnTo>
                    <a:lnTo>
                      <a:pt x="1848" y="780"/>
                    </a:lnTo>
                    <a:lnTo>
                      <a:pt x="1850" y="778"/>
                    </a:lnTo>
                    <a:lnTo>
                      <a:pt x="1850" y="778"/>
                    </a:lnTo>
                    <a:lnTo>
                      <a:pt x="1850" y="778"/>
                    </a:lnTo>
                    <a:lnTo>
                      <a:pt x="1850" y="774"/>
                    </a:lnTo>
                    <a:lnTo>
                      <a:pt x="1850" y="772"/>
                    </a:lnTo>
                    <a:lnTo>
                      <a:pt x="1850" y="770"/>
                    </a:lnTo>
                    <a:lnTo>
                      <a:pt x="1850" y="770"/>
                    </a:lnTo>
                    <a:lnTo>
                      <a:pt x="1854" y="764"/>
                    </a:lnTo>
                    <a:lnTo>
                      <a:pt x="1854" y="760"/>
                    </a:lnTo>
                    <a:lnTo>
                      <a:pt x="1856" y="758"/>
                    </a:lnTo>
                    <a:lnTo>
                      <a:pt x="1856" y="760"/>
                    </a:lnTo>
                    <a:lnTo>
                      <a:pt x="1856" y="758"/>
                    </a:lnTo>
                    <a:lnTo>
                      <a:pt x="1858" y="758"/>
                    </a:lnTo>
                    <a:lnTo>
                      <a:pt x="1862" y="756"/>
                    </a:lnTo>
                    <a:lnTo>
                      <a:pt x="1866" y="754"/>
                    </a:lnTo>
                    <a:lnTo>
                      <a:pt x="1870" y="754"/>
                    </a:lnTo>
                    <a:lnTo>
                      <a:pt x="1874" y="754"/>
                    </a:lnTo>
                    <a:lnTo>
                      <a:pt x="1878" y="754"/>
                    </a:lnTo>
                    <a:lnTo>
                      <a:pt x="1884" y="754"/>
                    </a:lnTo>
                    <a:lnTo>
                      <a:pt x="1888" y="754"/>
                    </a:lnTo>
                    <a:lnTo>
                      <a:pt x="1892" y="754"/>
                    </a:lnTo>
                    <a:lnTo>
                      <a:pt x="1896" y="754"/>
                    </a:lnTo>
                    <a:lnTo>
                      <a:pt x="1900" y="754"/>
                    </a:lnTo>
                    <a:lnTo>
                      <a:pt x="1902" y="754"/>
                    </a:lnTo>
                    <a:lnTo>
                      <a:pt x="1902" y="754"/>
                    </a:lnTo>
                    <a:lnTo>
                      <a:pt x="1904" y="756"/>
                    </a:lnTo>
                    <a:lnTo>
                      <a:pt x="1904" y="754"/>
                    </a:lnTo>
                    <a:lnTo>
                      <a:pt x="1906" y="758"/>
                    </a:lnTo>
                    <a:lnTo>
                      <a:pt x="1908" y="760"/>
                    </a:lnTo>
                    <a:lnTo>
                      <a:pt x="1908" y="760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2" y="762"/>
                    </a:lnTo>
                    <a:lnTo>
                      <a:pt x="1912" y="762"/>
                    </a:lnTo>
                    <a:lnTo>
                      <a:pt x="1914" y="762"/>
                    </a:lnTo>
                    <a:lnTo>
                      <a:pt x="1914" y="760"/>
                    </a:lnTo>
                    <a:lnTo>
                      <a:pt x="1914" y="760"/>
                    </a:lnTo>
                    <a:lnTo>
                      <a:pt x="1916" y="760"/>
                    </a:lnTo>
                    <a:lnTo>
                      <a:pt x="1916" y="758"/>
                    </a:lnTo>
                    <a:lnTo>
                      <a:pt x="1914" y="756"/>
                    </a:lnTo>
                    <a:lnTo>
                      <a:pt x="1916" y="758"/>
                    </a:lnTo>
                    <a:lnTo>
                      <a:pt x="1918" y="760"/>
                    </a:lnTo>
                    <a:lnTo>
                      <a:pt x="1918" y="760"/>
                    </a:lnTo>
                    <a:lnTo>
                      <a:pt x="1918" y="760"/>
                    </a:lnTo>
                    <a:lnTo>
                      <a:pt x="1920" y="762"/>
                    </a:lnTo>
                    <a:lnTo>
                      <a:pt x="1920" y="762"/>
                    </a:lnTo>
                    <a:lnTo>
                      <a:pt x="1922" y="762"/>
                    </a:lnTo>
                    <a:lnTo>
                      <a:pt x="1924" y="762"/>
                    </a:lnTo>
                    <a:lnTo>
                      <a:pt x="1924" y="762"/>
                    </a:lnTo>
                    <a:lnTo>
                      <a:pt x="1924" y="762"/>
                    </a:lnTo>
                    <a:lnTo>
                      <a:pt x="1926" y="762"/>
                    </a:lnTo>
                    <a:lnTo>
                      <a:pt x="1930" y="760"/>
                    </a:lnTo>
                    <a:lnTo>
                      <a:pt x="1934" y="758"/>
                    </a:lnTo>
                    <a:lnTo>
                      <a:pt x="1938" y="756"/>
                    </a:lnTo>
                    <a:lnTo>
                      <a:pt x="1940" y="756"/>
                    </a:lnTo>
                    <a:lnTo>
                      <a:pt x="1942" y="756"/>
                    </a:lnTo>
                    <a:lnTo>
                      <a:pt x="1942" y="756"/>
                    </a:lnTo>
                    <a:lnTo>
                      <a:pt x="1944" y="756"/>
                    </a:lnTo>
                    <a:lnTo>
                      <a:pt x="1946" y="756"/>
                    </a:lnTo>
                    <a:lnTo>
                      <a:pt x="1950" y="756"/>
                    </a:lnTo>
                    <a:lnTo>
                      <a:pt x="1954" y="758"/>
                    </a:lnTo>
                    <a:lnTo>
                      <a:pt x="1954" y="758"/>
                    </a:lnTo>
                    <a:lnTo>
                      <a:pt x="1954" y="758"/>
                    </a:lnTo>
                    <a:lnTo>
                      <a:pt x="1956" y="758"/>
                    </a:lnTo>
                    <a:lnTo>
                      <a:pt x="1956" y="758"/>
                    </a:lnTo>
                    <a:lnTo>
                      <a:pt x="1956" y="758"/>
                    </a:lnTo>
                    <a:lnTo>
                      <a:pt x="1958" y="756"/>
                    </a:lnTo>
                    <a:lnTo>
                      <a:pt x="1958" y="756"/>
                    </a:lnTo>
                    <a:lnTo>
                      <a:pt x="1960" y="756"/>
                    </a:lnTo>
                    <a:lnTo>
                      <a:pt x="1960" y="754"/>
                    </a:lnTo>
                    <a:lnTo>
                      <a:pt x="1960" y="754"/>
                    </a:lnTo>
                    <a:lnTo>
                      <a:pt x="1960" y="754"/>
                    </a:lnTo>
                    <a:lnTo>
                      <a:pt x="1960" y="752"/>
                    </a:lnTo>
                    <a:lnTo>
                      <a:pt x="1960" y="752"/>
                    </a:lnTo>
                    <a:lnTo>
                      <a:pt x="1960" y="750"/>
                    </a:lnTo>
                    <a:lnTo>
                      <a:pt x="1960" y="748"/>
                    </a:lnTo>
                    <a:lnTo>
                      <a:pt x="1960" y="746"/>
                    </a:lnTo>
                    <a:lnTo>
                      <a:pt x="1960" y="744"/>
                    </a:lnTo>
                    <a:lnTo>
                      <a:pt x="1960" y="742"/>
                    </a:lnTo>
                    <a:lnTo>
                      <a:pt x="1960" y="740"/>
                    </a:lnTo>
                    <a:lnTo>
                      <a:pt x="1960" y="740"/>
                    </a:lnTo>
                    <a:lnTo>
                      <a:pt x="1962" y="740"/>
                    </a:lnTo>
                    <a:lnTo>
                      <a:pt x="1964" y="740"/>
                    </a:lnTo>
                    <a:lnTo>
                      <a:pt x="1964" y="740"/>
                    </a:lnTo>
                    <a:lnTo>
                      <a:pt x="1966" y="742"/>
                    </a:lnTo>
                    <a:lnTo>
                      <a:pt x="1968" y="742"/>
                    </a:lnTo>
                    <a:lnTo>
                      <a:pt x="1970" y="744"/>
                    </a:lnTo>
                    <a:lnTo>
                      <a:pt x="1976" y="748"/>
                    </a:lnTo>
                    <a:lnTo>
                      <a:pt x="1982" y="752"/>
                    </a:lnTo>
                    <a:lnTo>
                      <a:pt x="1984" y="754"/>
                    </a:lnTo>
                    <a:lnTo>
                      <a:pt x="1986" y="756"/>
                    </a:lnTo>
                    <a:lnTo>
                      <a:pt x="1988" y="758"/>
                    </a:lnTo>
                    <a:lnTo>
                      <a:pt x="1988" y="758"/>
                    </a:lnTo>
                    <a:lnTo>
                      <a:pt x="1990" y="762"/>
                    </a:lnTo>
                    <a:lnTo>
                      <a:pt x="1992" y="764"/>
                    </a:lnTo>
                    <a:lnTo>
                      <a:pt x="1992" y="764"/>
                    </a:lnTo>
                    <a:lnTo>
                      <a:pt x="1994" y="764"/>
                    </a:lnTo>
                    <a:lnTo>
                      <a:pt x="1996" y="764"/>
                    </a:lnTo>
                    <a:lnTo>
                      <a:pt x="1996" y="764"/>
                    </a:lnTo>
                    <a:lnTo>
                      <a:pt x="1996" y="766"/>
                    </a:lnTo>
                    <a:lnTo>
                      <a:pt x="1998" y="766"/>
                    </a:lnTo>
                    <a:lnTo>
                      <a:pt x="1998" y="766"/>
                    </a:lnTo>
                    <a:lnTo>
                      <a:pt x="1998" y="766"/>
                    </a:lnTo>
                    <a:lnTo>
                      <a:pt x="2000" y="766"/>
                    </a:lnTo>
                    <a:lnTo>
                      <a:pt x="2000" y="766"/>
                    </a:lnTo>
                    <a:lnTo>
                      <a:pt x="2002" y="766"/>
                    </a:lnTo>
                    <a:lnTo>
                      <a:pt x="2002" y="766"/>
                    </a:lnTo>
                    <a:lnTo>
                      <a:pt x="2004" y="766"/>
                    </a:lnTo>
                    <a:lnTo>
                      <a:pt x="2008" y="764"/>
                    </a:lnTo>
                    <a:lnTo>
                      <a:pt x="2012" y="762"/>
                    </a:lnTo>
                    <a:lnTo>
                      <a:pt x="2018" y="760"/>
                    </a:lnTo>
                    <a:lnTo>
                      <a:pt x="2018" y="760"/>
                    </a:lnTo>
                    <a:lnTo>
                      <a:pt x="2022" y="758"/>
                    </a:lnTo>
                    <a:lnTo>
                      <a:pt x="2028" y="758"/>
                    </a:lnTo>
                    <a:lnTo>
                      <a:pt x="2030" y="758"/>
                    </a:lnTo>
                    <a:lnTo>
                      <a:pt x="2032" y="758"/>
                    </a:lnTo>
                    <a:lnTo>
                      <a:pt x="2032" y="758"/>
                    </a:lnTo>
                    <a:lnTo>
                      <a:pt x="2034" y="758"/>
                    </a:lnTo>
                    <a:lnTo>
                      <a:pt x="2036" y="758"/>
                    </a:lnTo>
                    <a:lnTo>
                      <a:pt x="2036" y="758"/>
                    </a:lnTo>
                    <a:lnTo>
                      <a:pt x="2036" y="756"/>
                    </a:lnTo>
                    <a:lnTo>
                      <a:pt x="2038" y="756"/>
                    </a:lnTo>
                    <a:lnTo>
                      <a:pt x="2038" y="756"/>
                    </a:lnTo>
                    <a:lnTo>
                      <a:pt x="2038" y="754"/>
                    </a:lnTo>
                    <a:lnTo>
                      <a:pt x="2040" y="752"/>
                    </a:lnTo>
                    <a:lnTo>
                      <a:pt x="2040" y="752"/>
                    </a:lnTo>
                    <a:lnTo>
                      <a:pt x="2040" y="752"/>
                    </a:lnTo>
                    <a:lnTo>
                      <a:pt x="2042" y="748"/>
                    </a:lnTo>
                    <a:lnTo>
                      <a:pt x="2042" y="744"/>
                    </a:lnTo>
                    <a:lnTo>
                      <a:pt x="2042" y="742"/>
                    </a:lnTo>
                    <a:lnTo>
                      <a:pt x="2042" y="734"/>
                    </a:lnTo>
                    <a:lnTo>
                      <a:pt x="2044" y="730"/>
                    </a:lnTo>
                    <a:lnTo>
                      <a:pt x="2044" y="732"/>
                    </a:lnTo>
                    <a:lnTo>
                      <a:pt x="2044" y="728"/>
                    </a:lnTo>
                    <a:lnTo>
                      <a:pt x="2046" y="726"/>
                    </a:lnTo>
                    <a:lnTo>
                      <a:pt x="2046" y="726"/>
                    </a:lnTo>
                    <a:lnTo>
                      <a:pt x="2048" y="724"/>
                    </a:lnTo>
                    <a:lnTo>
                      <a:pt x="2048" y="726"/>
                    </a:lnTo>
                    <a:lnTo>
                      <a:pt x="2054" y="722"/>
                    </a:lnTo>
                    <a:lnTo>
                      <a:pt x="2058" y="720"/>
                    </a:lnTo>
                    <a:lnTo>
                      <a:pt x="2060" y="718"/>
                    </a:lnTo>
                    <a:lnTo>
                      <a:pt x="2060" y="718"/>
                    </a:lnTo>
                    <a:lnTo>
                      <a:pt x="2062" y="718"/>
                    </a:lnTo>
                    <a:lnTo>
                      <a:pt x="2062" y="716"/>
                    </a:lnTo>
                    <a:lnTo>
                      <a:pt x="2062" y="716"/>
                    </a:lnTo>
                    <a:lnTo>
                      <a:pt x="2064" y="716"/>
                    </a:lnTo>
                    <a:lnTo>
                      <a:pt x="2064" y="714"/>
                    </a:lnTo>
                    <a:lnTo>
                      <a:pt x="2066" y="712"/>
                    </a:lnTo>
                    <a:lnTo>
                      <a:pt x="2066" y="712"/>
                    </a:lnTo>
                    <a:lnTo>
                      <a:pt x="2066" y="712"/>
                    </a:lnTo>
                    <a:lnTo>
                      <a:pt x="2068" y="708"/>
                    </a:lnTo>
                    <a:lnTo>
                      <a:pt x="2068" y="706"/>
                    </a:lnTo>
                    <a:lnTo>
                      <a:pt x="2070" y="704"/>
                    </a:lnTo>
                    <a:lnTo>
                      <a:pt x="2072" y="700"/>
                    </a:lnTo>
                    <a:lnTo>
                      <a:pt x="2072" y="696"/>
                    </a:lnTo>
                    <a:lnTo>
                      <a:pt x="2074" y="694"/>
                    </a:lnTo>
                    <a:lnTo>
                      <a:pt x="2076" y="692"/>
                    </a:lnTo>
                    <a:lnTo>
                      <a:pt x="2076" y="690"/>
                    </a:lnTo>
                    <a:lnTo>
                      <a:pt x="2078" y="688"/>
                    </a:lnTo>
                    <a:lnTo>
                      <a:pt x="2080" y="686"/>
                    </a:lnTo>
                    <a:lnTo>
                      <a:pt x="2084" y="684"/>
                    </a:lnTo>
                    <a:lnTo>
                      <a:pt x="2086" y="684"/>
                    </a:lnTo>
                    <a:lnTo>
                      <a:pt x="2088" y="682"/>
                    </a:lnTo>
                    <a:lnTo>
                      <a:pt x="2092" y="682"/>
                    </a:lnTo>
                    <a:lnTo>
                      <a:pt x="2098" y="680"/>
                    </a:lnTo>
                    <a:lnTo>
                      <a:pt x="2100" y="680"/>
                    </a:lnTo>
                    <a:lnTo>
                      <a:pt x="2104" y="678"/>
                    </a:lnTo>
                    <a:lnTo>
                      <a:pt x="2106" y="680"/>
                    </a:lnTo>
                    <a:lnTo>
                      <a:pt x="2106" y="680"/>
                    </a:lnTo>
                    <a:lnTo>
                      <a:pt x="2108" y="680"/>
                    </a:lnTo>
                    <a:lnTo>
                      <a:pt x="2110" y="682"/>
                    </a:lnTo>
                    <a:lnTo>
                      <a:pt x="2112" y="684"/>
                    </a:lnTo>
                    <a:lnTo>
                      <a:pt x="2114" y="686"/>
                    </a:lnTo>
                    <a:lnTo>
                      <a:pt x="2114" y="686"/>
                    </a:lnTo>
                    <a:lnTo>
                      <a:pt x="2114" y="686"/>
                    </a:lnTo>
                    <a:lnTo>
                      <a:pt x="2114" y="690"/>
                    </a:lnTo>
                    <a:lnTo>
                      <a:pt x="2114" y="694"/>
                    </a:lnTo>
                    <a:lnTo>
                      <a:pt x="2114" y="696"/>
                    </a:lnTo>
                    <a:lnTo>
                      <a:pt x="2114" y="698"/>
                    </a:lnTo>
                    <a:lnTo>
                      <a:pt x="2114" y="700"/>
                    </a:lnTo>
                    <a:lnTo>
                      <a:pt x="2116" y="702"/>
                    </a:lnTo>
                    <a:lnTo>
                      <a:pt x="2116" y="708"/>
                    </a:lnTo>
                    <a:lnTo>
                      <a:pt x="2118" y="710"/>
                    </a:lnTo>
                    <a:lnTo>
                      <a:pt x="2118" y="712"/>
                    </a:lnTo>
                    <a:lnTo>
                      <a:pt x="2118" y="712"/>
                    </a:lnTo>
                    <a:lnTo>
                      <a:pt x="2118" y="712"/>
                    </a:lnTo>
                    <a:lnTo>
                      <a:pt x="2120" y="714"/>
                    </a:lnTo>
                    <a:lnTo>
                      <a:pt x="2120" y="714"/>
                    </a:lnTo>
                    <a:lnTo>
                      <a:pt x="2120" y="716"/>
                    </a:lnTo>
                    <a:lnTo>
                      <a:pt x="2122" y="716"/>
                    </a:lnTo>
                    <a:lnTo>
                      <a:pt x="2122" y="716"/>
                    </a:lnTo>
                    <a:lnTo>
                      <a:pt x="2122" y="716"/>
                    </a:lnTo>
                    <a:lnTo>
                      <a:pt x="2124" y="718"/>
                    </a:lnTo>
                    <a:lnTo>
                      <a:pt x="2124" y="718"/>
                    </a:lnTo>
                    <a:lnTo>
                      <a:pt x="2124" y="718"/>
                    </a:lnTo>
                    <a:lnTo>
                      <a:pt x="2126" y="718"/>
                    </a:lnTo>
                    <a:lnTo>
                      <a:pt x="2126" y="718"/>
                    </a:lnTo>
                    <a:lnTo>
                      <a:pt x="2128" y="718"/>
                    </a:lnTo>
                    <a:lnTo>
                      <a:pt x="2130" y="716"/>
                    </a:lnTo>
                    <a:lnTo>
                      <a:pt x="2130" y="716"/>
                    </a:lnTo>
                    <a:lnTo>
                      <a:pt x="2130" y="716"/>
                    </a:lnTo>
                    <a:lnTo>
                      <a:pt x="2132" y="714"/>
                    </a:lnTo>
                    <a:lnTo>
                      <a:pt x="2138" y="712"/>
                    </a:lnTo>
                    <a:lnTo>
                      <a:pt x="2142" y="708"/>
                    </a:lnTo>
                    <a:lnTo>
                      <a:pt x="2144" y="706"/>
                    </a:lnTo>
                    <a:lnTo>
                      <a:pt x="2148" y="704"/>
                    </a:lnTo>
                    <a:lnTo>
                      <a:pt x="2152" y="696"/>
                    </a:lnTo>
                    <a:lnTo>
                      <a:pt x="2156" y="690"/>
                    </a:lnTo>
                    <a:lnTo>
                      <a:pt x="2158" y="688"/>
                    </a:lnTo>
                    <a:lnTo>
                      <a:pt x="2160" y="686"/>
                    </a:lnTo>
                    <a:lnTo>
                      <a:pt x="2162" y="684"/>
                    </a:lnTo>
                    <a:lnTo>
                      <a:pt x="2162" y="684"/>
                    </a:lnTo>
                    <a:lnTo>
                      <a:pt x="2166" y="682"/>
                    </a:lnTo>
                    <a:lnTo>
                      <a:pt x="2168" y="680"/>
                    </a:lnTo>
                    <a:lnTo>
                      <a:pt x="2168" y="680"/>
                    </a:lnTo>
                    <a:lnTo>
                      <a:pt x="2168" y="680"/>
                    </a:lnTo>
                    <a:lnTo>
                      <a:pt x="2170" y="678"/>
                    </a:lnTo>
                    <a:lnTo>
                      <a:pt x="2170" y="678"/>
                    </a:lnTo>
                    <a:lnTo>
                      <a:pt x="2170" y="678"/>
                    </a:lnTo>
                    <a:lnTo>
                      <a:pt x="2170" y="676"/>
                    </a:lnTo>
                    <a:lnTo>
                      <a:pt x="2170" y="676"/>
                    </a:lnTo>
                    <a:lnTo>
                      <a:pt x="2172" y="676"/>
                    </a:lnTo>
                    <a:lnTo>
                      <a:pt x="2172" y="674"/>
                    </a:lnTo>
                    <a:lnTo>
                      <a:pt x="2172" y="674"/>
                    </a:lnTo>
                    <a:lnTo>
                      <a:pt x="2172" y="672"/>
                    </a:lnTo>
                    <a:lnTo>
                      <a:pt x="2170" y="672"/>
                    </a:lnTo>
                    <a:lnTo>
                      <a:pt x="2170" y="672"/>
                    </a:lnTo>
                    <a:lnTo>
                      <a:pt x="2170" y="670"/>
                    </a:lnTo>
                    <a:lnTo>
                      <a:pt x="2168" y="666"/>
                    </a:lnTo>
                    <a:lnTo>
                      <a:pt x="2168" y="664"/>
                    </a:lnTo>
                    <a:lnTo>
                      <a:pt x="2168" y="664"/>
                    </a:lnTo>
                    <a:lnTo>
                      <a:pt x="2166" y="662"/>
                    </a:lnTo>
                    <a:lnTo>
                      <a:pt x="2166" y="662"/>
                    </a:lnTo>
                    <a:lnTo>
                      <a:pt x="2168" y="658"/>
                    </a:lnTo>
                    <a:lnTo>
                      <a:pt x="2168" y="656"/>
                    </a:lnTo>
                    <a:lnTo>
                      <a:pt x="2168" y="656"/>
                    </a:lnTo>
                    <a:lnTo>
                      <a:pt x="2168" y="656"/>
                    </a:lnTo>
                    <a:lnTo>
                      <a:pt x="2170" y="654"/>
                    </a:lnTo>
                    <a:lnTo>
                      <a:pt x="2170" y="654"/>
                    </a:lnTo>
                    <a:lnTo>
                      <a:pt x="2172" y="654"/>
                    </a:lnTo>
                    <a:lnTo>
                      <a:pt x="2172" y="654"/>
                    </a:lnTo>
                    <a:lnTo>
                      <a:pt x="2174" y="654"/>
                    </a:lnTo>
                    <a:lnTo>
                      <a:pt x="2176" y="654"/>
                    </a:lnTo>
                    <a:lnTo>
                      <a:pt x="2180" y="654"/>
                    </a:lnTo>
                    <a:lnTo>
                      <a:pt x="2184" y="654"/>
                    </a:lnTo>
                    <a:lnTo>
                      <a:pt x="2188" y="654"/>
                    </a:lnTo>
                    <a:lnTo>
                      <a:pt x="2192" y="654"/>
                    </a:lnTo>
                    <a:lnTo>
                      <a:pt x="2190" y="654"/>
                    </a:lnTo>
                    <a:lnTo>
                      <a:pt x="2186" y="658"/>
                    </a:lnTo>
                    <a:lnTo>
                      <a:pt x="2186" y="658"/>
                    </a:lnTo>
                    <a:lnTo>
                      <a:pt x="2186" y="658"/>
                    </a:lnTo>
                    <a:lnTo>
                      <a:pt x="2184" y="662"/>
                    </a:lnTo>
                    <a:lnTo>
                      <a:pt x="2184" y="662"/>
                    </a:lnTo>
                    <a:lnTo>
                      <a:pt x="2184" y="662"/>
                    </a:lnTo>
                    <a:lnTo>
                      <a:pt x="2182" y="664"/>
                    </a:lnTo>
                    <a:lnTo>
                      <a:pt x="2182" y="664"/>
                    </a:lnTo>
                    <a:lnTo>
                      <a:pt x="2182" y="666"/>
                    </a:lnTo>
                    <a:lnTo>
                      <a:pt x="2180" y="668"/>
                    </a:lnTo>
                    <a:lnTo>
                      <a:pt x="2180" y="670"/>
                    </a:lnTo>
                    <a:lnTo>
                      <a:pt x="2180" y="674"/>
                    </a:lnTo>
                    <a:lnTo>
                      <a:pt x="2180" y="684"/>
                    </a:lnTo>
                    <a:lnTo>
                      <a:pt x="2180" y="688"/>
                    </a:lnTo>
                    <a:lnTo>
                      <a:pt x="2180" y="694"/>
                    </a:lnTo>
                    <a:lnTo>
                      <a:pt x="2178" y="698"/>
                    </a:lnTo>
                    <a:lnTo>
                      <a:pt x="2178" y="700"/>
                    </a:lnTo>
                    <a:lnTo>
                      <a:pt x="2176" y="704"/>
                    </a:lnTo>
                    <a:lnTo>
                      <a:pt x="2172" y="706"/>
                    </a:lnTo>
                    <a:lnTo>
                      <a:pt x="2174" y="706"/>
                    </a:lnTo>
                    <a:lnTo>
                      <a:pt x="2170" y="708"/>
                    </a:lnTo>
                    <a:lnTo>
                      <a:pt x="2166" y="710"/>
                    </a:lnTo>
                    <a:lnTo>
                      <a:pt x="2158" y="714"/>
                    </a:lnTo>
                    <a:lnTo>
                      <a:pt x="2154" y="716"/>
                    </a:lnTo>
                    <a:lnTo>
                      <a:pt x="2152" y="718"/>
                    </a:lnTo>
                    <a:lnTo>
                      <a:pt x="2148" y="720"/>
                    </a:lnTo>
                    <a:lnTo>
                      <a:pt x="2146" y="722"/>
                    </a:lnTo>
                    <a:lnTo>
                      <a:pt x="2142" y="724"/>
                    </a:lnTo>
                    <a:lnTo>
                      <a:pt x="2140" y="726"/>
                    </a:lnTo>
                    <a:lnTo>
                      <a:pt x="2136" y="728"/>
                    </a:lnTo>
                    <a:lnTo>
                      <a:pt x="2134" y="732"/>
                    </a:lnTo>
                    <a:lnTo>
                      <a:pt x="2132" y="734"/>
                    </a:lnTo>
                    <a:lnTo>
                      <a:pt x="2130" y="738"/>
                    </a:lnTo>
                    <a:lnTo>
                      <a:pt x="2126" y="742"/>
                    </a:lnTo>
                    <a:lnTo>
                      <a:pt x="2122" y="746"/>
                    </a:lnTo>
                    <a:lnTo>
                      <a:pt x="2120" y="752"/>
                    </a:lnTo>
                    <a:lnTo>
                      <a:pt x="2112" y="762"/>
                    </a:lnTo>
                    <a:lnTo>
                      <a:pt x="2110" y="766"/>
                    </a:lnTo>
                    <a:lnTo>
                      <a:pt x="2106" y="770"/>
                    </a:lnTo>
                    <a:lnTo>
                      <a:pt x="2098" y="776"/>
                    </a:lnTo>
                    <a:lnTo>
                      <a:pt x="2092" y="784"/>
                    </a:lnTo>
                    <a:lnTo>
                      <a:pt x="2084" y="790"/>
                    </a:lnTo>
                    <a:lnTo>
                      <a:pt x="2078" y="796"/>
                    </a:lnTo>
                    <a:lnTo>
                      <a:pt x="2074" y="800"/>
                    </a:lnTo>
                    <a:lnTo>
                      <a:pt x="2070" y="802"/>
                    </a:lnTo>
                    <a:lnTo>
                      <a:pt x="2064" y="808"/>
                    </a:lnTo>
                    <a:lnTo>
                      <a:pt x="2062" y="812"/>
                    </a:lnTo>
                    <a:lnTo>
                      <a:pt x="2058" y="816"/>
                    </a:lnTo>
                    <a:lnTo>
                      <a:pt x="2056" y="820"/>
                    </a:lnTo>
                    <a:lnTo>
                      <a:pt x="2054" y="824"/>
                    </a:lnTo>
                    <a:lnTo>
                      <a:pt x="2052" y="830"/>
                    </a:lnTo>
                    <a:lnTo>
                      <a:pt x="2050" y="836"/>
                    </a:lnTo>
                    <a:lnTo>
                      <a:pt x="2048" y="844"/>
                    </a:lnTo>
                    <a:lnTo>
                      <a:pt x="2048" y="850"/>
                    </a:lnTo>
                    <a:lnTo>
                      <a:pt x="2048" y="858"/>
                    </a:lnTo>
                    <a:lnTo>
                      <a:pt x="2048" y="866"/>
                    </a:lnTo>
                    <a:lnTo>
                      <a:pt x="2046" y="872"/>
                    </a:lnTo>
                    <a:lnTo>
                      <a:pt x="2048" y="878"/>
                    </a:lnTo>
                    <a:lnTo>
                      <a:pt x="2048" y="882"/>
                    </a:lnTo>
                    <a:lnTo>
                      <a:pt x="2048" y="882"/>
                    </a:lnTo>
                    <a:lnTo>
                      <a:pt x="2048" y="882"/>
                    </a:lnTo>
                    <a:lnTo>
                      <a:pt x="2050" y="884"/>
                    </a:lnTo>
                    <a:lnTo>
                      <a:pt x="2050" y="884"/>
                    </a:lnTo>
                    <a:lnTo>
                      <a:pt x="2050" y="886"/>
                    </a:lnTo>
                    <a:lnTo>
                      <a:pt x="2052" y="888"/>
                    </a:lnTo>
                    <a:lnTo>
                      <a:pt x="2052" y="888"/>
                    </a:lnTo>
                    <a:lnTo>
                      <a:pt x="2052" y="888"/>
                    </a:lnTo>
                    <a:lnTo>
                      <a:pt x="2054" y="890"/>
                    </a:lnTo>
                    <a:lnTo>
                      <a:pt x="2058" y="894"/>
                    </a:lnTo>
                    <a:lnTo>
                      <a:pt x="2058" y="894"/>
                    </a:lnTo>
                    <a:lnTo>
                      <a:pt x="2058" y="896"/>
                    </a:lnTo>
                    <a:lnTo>
                      <a:pt x="2060" y="898"/>
                    </a:lnTo>
                    <a:lnTo>
                      <a:pt x="2060" y="900"/>
                    </a:lnTo>
                    <a:lnTo>
                      <a:pt x="2060" y="904"/>
                    </a:lnTo>
                    <a:lnTo>
                      <a:pt x="2060" y="910"/>
                    </a:lnTo>
                    <a:lnTo>
                      <a:pt x="2058" y="918"/>
                    </a:lnTo>
                    <a:lnTo>
                      <a:pt x="2058" y="922"/>
                    </a:lnTo>
                    <a:lnTo>
                      <a:pt x="2058" y="924"/>
                    </a:lnTo>
                    <a:lnTo>
                      <a:pt x="2058" y="926"/>
                    </a:lnTo>
                    <a:lnTo>
                      <a:pt x="2058" y="928"/>
                    </a:lnTo>
                    <a:lnTo>
                      <a:pt x="2058" y="928"/>
                    </a:lnTo>
                    <a:lnTo>
                      <a:pt x="2060" y="928"/>
                    </a:lnTo>
                    <a:lnTo>
                      <a:pt x="2060" y="930"/>
                    </a:lnTo>
                    <a:lnTo>
                      <a:pt x="2062" y="934"/>
                    </a:lnTo>
                    <a:lnTo>
                      <a:pt x="2064" y="938"/>
                    </a:lnTo>
                    <a:lnTo>
                      <a:pt x="2064" y="940"/>
                    </a:lnTo>
                    <a:lnTo>
                      <a:pt x="2066" y="942"/>
                    </a:lnTo>
                    <a:lnTo>
                      <a:pt x="2066" y="944"/>
                    </a:lnTo>
                    <a:lnTo>
                      <a:pt x="2066" y="948"/>
                    </a:lnTo>
                    <a:lnTo>
                      <a:pt x="2066" y="952"/>
                    </a:lnTo>
                    <a:lnTo>
                      <a:pt x="2066" y="956"/>
                    </a:lnTo>
                    <a:lnTo>
                      <a:pt x="2066" y="960"/>
                    </a:lnTo>
                    <a:lnTo>
                      <a:pt x="2064" y="964"/>
                    </a:lnTo>
                    <a:lnTo>
                      <a:pt x="2066" y="968"/>
                    </a:lnTo>
                    <a:lnTo>
                      <a:pt x="2066" y="970"/>
                    </a:lnTo>
                    <a:lnTo>
                      <a:pt x="2066" y="970"/>
                    </a:lnTo>
                    <a:lnTo>
                      <a:pt x="2066" y="970"/>
                    </a:lnTo>
                    <a:lnTo>
                      <a:pt x="2066" y="972"/>
                    </a:lnTo>
                    <a:lnTo>
                      <a:pt x="2066" y="972"/>
                    </a:lnTo>
                    <a:lnTo>
                      <a:pt x="2070" y="972"/>
                    </a:lnTo>
                    <a:lnTo>
                      <a:pt x="2070" y="972"/>
                    </a:lnTo>
                    <a:lnTo>
                      <a:pt x="2070" y="972"/>
                    </a:lnTo>
                    <a:lnTo>
                      <a:pt x="2072" y="972"/>
                    </a:lnTo>
                    <a:lnTo>
                      <a:pt x="2072" y="970"/>
                    </a:lnTo>
                    <a:lnTo>
                      <a:pt x="2074" y="970"/>
                    </a:lnTo>
                    <a:lnTo>
                      <a:pt x="2076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82" y="966"/>
                    </a:lnTo>
                    <a:lnTo>
                      <a:pt x="2084" y="966"/>
                    </a:lnTo>
                    <a:lnTo>
                      <a:pt x="2084" y="966"/>
                    </a:lnTo>
                    <a:lnTo>
                      <a:pt x="2084" y="966"/>
                    </a:lnTo>
                    <a:lnTo>
                      <a:pt x="2086" y="966"/>
                    </a:lnTo>
                    <a:lnTo>
                      <a:pt x="2086" y="966"/>
                    </a:lnTo>
                    <a:lnTo>
                      <a:pt x="2086" y="966"/>
                    </a:lnTo>
                    <a:lnTo>
                      <a:pt x="2088" y="964"/>
                    </a:lnTo>
                    <a:lnTo>
                      <a:pt x="2088" y="964"/>
                    </a:lnTo>
                    <a:lnTo>
                      <a:pt x="2088" y="964"/>
                    </a:lnTo>
                    <a:lnTo>
                      <a:pt x="2090" y="962"/>
                    </a:lnTo>
                    <a:lnTo>
                      <a:pt x="2090" y="962"/>
                    </a:lnTo>
                    <a:lnTo>
                      <a:pt x="2090" y="962"/>
                    </a:lnTo>
                    <a:lnTo>
                      <a:pt x="2092" y="960"/>
                    </a:lnTo>
                    <a:lnTo>
                      <a:pt x="2094" y="956"/>
                    </a:lnTo>
                    <a:lnTo>
                      <a:pt x="2096" y="954"/>
                    </a:lnTo>
                    <a:lnTo>
                      <a:pt x="2098" y="950"/>
                    </a:lnTo>
                    <a:lnTo>
                      <a:pt x="2100" y="942"/>
                    </a:lnTo>
                    <a:lnTo>
                      <a:pt x="2102" y="940"/>
                    </a:lnTo>
                    <a:lnTo>
                      <a:pt x="2102" y="936"/>
                    </a:lnTo>
                    <a:lnTo>
                      <a:pt x="2104" y="932"/>
                    </a:lnTo>
                    <a:lnTo>
                      <a:pt x="2106" y="926"/>
                    </a:lnTo>
                    <a:lnTo>
                      <a:pt x="2108" y="924"/>
                    </a:lnTo>
                    <a:lnTo>
                      <a:pt x="2108" y="922"/>
                    </a:lnTo>
                    <a:lnTo>
                      <a:pt x="2110" y="922"/>
                    </a:lnTo>
                    <a:lnTo>
                      <a:pt x="2110" y="922"/>
                    </a:lnTo>
                    <a:lnTo>
                      <a:pt x="2110" y="922"/>
                    </a:lnTo>
                    <a:lnTo>
                      <a:pt x="2112" y="922"/>
                    </a:lnTo>
                    <a:lnTo>
                      <a:pt x="2112" y="924"/>
                    </a:lnTo>
                    <a:lnTo>
                      <a:pt x="2114" y="926"/>
                    </a:lnTo>
                    <a:lnTo>
                      <a:pt x="2116" y="928"/>
                    </a:lnTo>
                    <a:lnTo>
                      <a:pt x="2116" y="928"/>
                    </a:lnTo>
                    <a:lnTo>
                      <a:pt x="2118" y="928"/>
                    </a:lnTo>
                    <a:lnTo>
                      <a:pt x="2118" y="928"/>
                    </a:lnTo>
                    <a:lnTo>
                      <a:pt x="2118" y="928"/>
                    </a:lnTo>
                    <a:lnTo>
                      <a:pt x="2122" y="928"/>
                    </a:lnTo>
                    <a:lnTo>
                      <a:pt x="2122" y="926"/>
                    </a:lnTo>
                    <a:lnTo>
                      <a:pt x="2122" y="926"/>
                    </a:lnTo>
                    <a:lnTo>
                      <a:pt x="2124" y="924"/>
                    </a:lnTo>
                    <a:lnTo>
                      <a:pt x="2124" y="924"/>
                    </a:lnTo>
                    <a:lnTo>
                      <a:pt x="2124" y="922"/>
                    </a:lnTo>
                    <a:lnTo>
                      <a:pt x="2122" y="920"/>
                    </a:lnTo>
                    <a:lnTo>
                      <a:pt x="2122" y="918"/>
                    </a:lnTo>
                    <a:lnTo>
                      <a:pt x="2122" y="914"/>
                    </a:lnTo>
                    <a:lnTo>
                      <a:pt x="2120" y="910"/>
                    </a:lnTo>
                    <a:lnTo>
                      <a:pt x="2120" y="908"/>
                    </a:lnTo>
                    <a:lnTo>
                      <a:pt x="2120" y="904"/>
                    </a:lnTo>
                    <a:lnTo>
                      <a:pt x="2118" y="902"/>
                    </a:lnTo>
                    <a:lnTo>
                      <a:pt x="2120" y="902"/>
                    </a:lnTo>
                    <a:lnTo>
                      <a:pt x="2120" y="900"/>
                    </a:lnTo>
                    <a:lnTo>
                      <a:pt x="2120" y="900"/>
                    </a:lnTo>
                    <a:lnTo>
                      <a:pt x="2122" y="898"/>
                    </a:lnTo>
                    <a:lnTo>
                      <a:pt x="2124" y="896"/>
                    </a:lnTo>
                    <a:lnTo>
                      <a:pt x="2126" y="894"/>
                    </a:lnTo>
                    <a:lnTo>
                      <a:pt x="2128" y="892"/>
                    </a:lnTo>
                    <a:lnTo>
                      <a:pt x="2132" y="890"/>
                    </a:lnTo>
                    <a:lnTo>
                      <a:pt x="2130" y="890"/>
                    </a:lnTo>
                    <a:lnTo>
                      <a:pt x="2134" y="888"/>
                    </a:lnTo>
                    <a:lnTo>
                      <a:pt x="2134" y="888"/>
                    </a:lnTo>
                    <a:lnTo>
                      <a:pt x="2134" y="888"/>
                    </a:lnTo>
                    <a:lnTo>
                      <a:pt x="2138" y="888"/>
                    </a:lnTo>
                    <a:lnTo>
                      <a:pt x="2142" y="890"/>
                    </a:lnTo>
                    <a:lnTo>
                      <a:pt x="2142" y="890"/>
                    </a:lnTo>
                    <a:lnTo>
                      <a:pt x="2142" y="890"/>
                    </a:lnTo>
                    <a:lnTo>
                      <a:pt x="2144" y="890"/>
                    </a:lnTo>
                    <a:lnTo>
                      <a:pt x="2144" y="890"/>
                    </a:lnTo>
                    <a:lnTo>
                      <a:pt x="2144" y="888"/>
                    </a:lnTo>
                    <a:lnTo>
                      <a:pt x="2146" y="888"/>
                    </a:lnTo>
                    <a:lnTo>
                      <a:pt x="2146" y="888"/>
                    </a:lnTo>
                    <a:lnTo>
                      <a:pt x="2146" y="888"/>
                    </a:lnTo>
                    <a:lnTo>
                      <a:pt x="2148" y="886"/>
                    </a:lnTo>
                    <a:lnTo>
                      <a:pt x="2148" y="886"/>
                    </a:lnTo>
                    <a:lnTo>
                      <a:pt x="2148" y="886"/>
                    </a:lnTo>
                    <a:lnTo>
                      <a:pt x="2152" y="884"/>
                    </a:lnTo>
                    <a:lnTo>
                      <a:pt x="2154" y="880"/>
                    </a:lnTo>
                    <a:lnTo>
                      <a:pt x="2154" y="880"/>
                    </a:lnTo>
                    <a:lnTo>
                      <a:pt x="2154" y="880"/>
                    </a:lnTo>
                    <a:lnTo>
                      <a:pt x="2154" y="878"/>
                    </a:lnTo>
                    <a:lnTo>
                      <a:pt x="2154" y="878"/>
                    </a:lnTo>
                    <a:lnTo>
                      <a:pt x="2154" y="878"/>
                    </a:lnTo>
                    <a:lnTo>
                      <a:pt x="2156" y="874"/>
                    </a:lnTo>
                    <a:lnTo>
                      <a:pt x="2156" y="874"/>
                    </a:lnTo>
                    <a:lnTo>
                      <a:pt x="2156" y="872"/>
                    </a:lnTo>
                    <a:lnTo>
                      <a:pt x="2156" y="868"/>
                    </a:lnTo>
                    <a:lnTo>
                      <a:pt x="2154" y="864"/>
                    </a:lnTo>
                    <a:lnTo>
                      <a:pt x="2154" y="860"/>
                    </a:lnTo>
                    <a:lnTo>
                      <a:pt x="2154" y="856"/>
                    </a:lnTo>
                    <a:lnTo>
                      <a:pt x="2154" y="852"/>
                    </a:lnTo>
                    <a:lnTo>
                      <a:pt x="2154" y="852"/>
                    </a:lnTo>
                    <a:lnTo>
                      <a:pt x="2154" y="850"/>
                    </a:lnTo>
                    <a:lnTo>
                      <a:pt x="2154" y="850"/>
                    </a:lnTo>
                    <a:lnTo>
                      <a:pt x="2156" y="850"/>
                    </a:lnTo>
                    <a:lnTo>
                      <a:pt x="2158" y="852"/>
                    </a:lnTo>
                    <a:lnTo>
                      <a:pt x="2162" y="852"/>
                    </a:lnTo>
                    <a:lnTo>
                      <a:pt x="2166" y="852"/>
                    </a:lnTo>
                    <a:lnTo>
                      <a:pt x="2168" y="852"/>
                    </a:lnTo>
                    <a:lnTo>
                      <a:pt x="2168" y="852"/>
                    </a:lnTo>
                    <a:lnTo>
                      <a:pt x="2170" y="852"/>
                    </a:lnTo>
                    <a:lnTo>
                      <a:pt x="2170" y="852"/>
                    </a:lnTo>
                    <a:lnTo>
                      <a:pt x="2172" y="852"/>
                    </a:lnTo>
                    <a:lnTo>
                      <a:pt x="2174" y="852"/>
                    </a:lnTo>
                    <a:lnTo>
                      <a:pt x="2174" y="852"/>
                    </a:lnTo>
                    <a:lnTo>
                      <a:pt x="2174" y="850"/>
                    </a:lnTo>
                    <a:lnTo>
                      <a:pt x="2176" y="848"/>
                    </a:lnTo>
                    <a:lnTo>
                      <a:pt x="2176" y="848"/>
                    </a:lnTo>
                    <a:lnTo>
                      <a:pt x="2176" y="848"/>
                    </a:lnTo>
                    <a:lnTo>
                      <a:pt x="2176" y="846"/>
                    </a:lnTo>
                    <a:lnTo>
                      <a:pt x="2176" y="846"/>
                    </a:lnTo>
                    <a:lnTo>
                      <a:pt x="2176" y="846"/>
                    </a:lnTo>
                    <a:lnTo>
                      <a:pt x="2176" y="844"/>
                    </a:lnTo>
                    <a:lnTo>
                      <a:pt x="2176" y="840"/>
                    </a:lnTo>
                    <a:lnTo>
                      <a:pt x="2174" y="836"/>
                    </a:lnTo>
                    <a:lnTo>
                      <a:pt x="2174" y="830"/>
                    </a:lnTo>
                    <a:lnTo>
                      <a:pt x="2174" y="828"/>
                    </a:lnTo>
                    <a:lnTo>
                      <a:pt x="2174" y="828"/>
                    </a:lnTo>
                    <a:lnTo>
                      <a:pt x="2174" y="828"/>
                    </a:lnTo>
                    <a:lnTo>
                      <a:pt x="2172" y="824"/>
                    </a:lnTo>
                    <a:lnTo>
                      <a:pt x="2168" y="820"/>
                    </a:lnTo>
                    <a:lnTo>
                      <a:pt x="2168" y="818"/>
                    </a:lnTo>
                    <a:lnTo>
                      <a:pt x="2166" y="816"/>
                    </a:lnTo>
                    <a:lnTo>
                      <a:pt x="2166" y="814"/>
                    </a:lnTo>
                    <a:lnTo>
                      <a:pt x="2166" y="812"/>
                    </a:lnTo>
                    <a:lnTo>
                      <a:pt x="2166" y="812"/>
                    </a:lnTo>
                    <a:lnTo>
                      <a:pt x="2166" y="810"/>
                    </a:lnTo>
                    <a:lnTo>
                      <a:pt x="2168" y="808"/>
                    </a:lnTo>
                    <a:lnTo>
                      <a:pt x="2170" y="806"/>
                    </a:lnTo>
                    <a:lnTo>
                      <a:pt x="2172" y="804"/>
                    </a:lnTo>
                    <a:lnTo>
                      <a:pt x="2174" y="804"/>
                    </a:lnTo>
                    <a:lnTo>
                      <a:pt x="2174" y="804"/>
                    </a:lnTo>
                    <a:lnTo>
                      <a:pt x="2174" y="802"/>
                    </a:lnTo>
                    <a:lnTo>
                      <a:pt x="2174" y="802"/>
                    </a:lnTo>
                    <a:lnTo>
                      <a:pt x="2174" y="802"/>
                    </a:lnTo>
                    <a:lnTo>
                      <a:pt x="2174" y="800"/>
                    </a:lnTo>
                    <a:lnTo>
                      <a:pt x="2174" y="800"/>
                    </a:lnTo>
                    <a:lnTo>
                      <a:pt x="2174" y="800"/>
                    </a:lnTo>
                    <a:lnTo>
                      <a:pt x="2174" y="798"/>
                    </a:lnTo>
                    <a:lnTo>
                      <a:pt x="2174" y="796"/>
                    </a:lnTo>
                    <a:lnTo>
                      <a:pt x="2172" y="796"/>
                    </a:lnTo>
                    <a:lnTo>
                      <a:pt x="2172" y="796"/>
                    </a:lnTo>
                    <a:lnTo>
                      <a:pt x="2172" y="796"/>
                    </a:lnTo>
                    <a:lnTo>
                      <a:pt x="2168" y="796"/>
                    </a:lnTo>
                    <a:lnTo>
                      <a:pt x="2166" y="796"/>
                    </a:lnTo>
                    <a:lnTo>
                      <a:pt x="2164" y="798"/>
                    </a:lnTo>
                    <a:lnTo>
                      <a:pt x="2160" y="798"/>
                    </a:lnTo>
                    <a:lnTo>
                      <a:pt x="2158" y="798"/>
                    </a:lnTo>
                    <a:lnTo>
                      <a:pt x="2158" y="798"/>
                    </a:lnTo>
                    <a:lnTo>
                      <a:pt x="2156" y="798"/>
                    </a:lnTo>
                    <a:lnTo>
                      <a:pt x="2156" y="798"/>
                    </a:lnTo>
                    <a:lnTo>
                      <a:pt x="2156" y="798"/>
                    </a:lnTo>
                    <a:lnTo>
                      <a:pt x="2156" y="794"/>
                    </a:lnTo>
                    <a:lnTo>
                      <a:pt x="2156" y="790"/>
                    </a:lnTo>
                    <a:lnTo>
                      <a:pt x="2156" y="786"/>
                    </a:lnTo>
                    <a:lnTo>
                      <a:pt x="2156" y="782"/>
                    </a:lnTo>
                    <a:lnTo>
                      <a:pt x="2156" y="780"/>
                    </a:lnTo>
                    <a:lnTo>
                      <a:pt x="2156" y="776"/>
                    </a:lnTo>
                    <a:lnTo>
                      <a:pt x="2158" y="774"/>
                    </a:lnTo>
                    <a:lnTo>
                      <a:pt x="2158" y="772"/>
                    </a:lnTo>
                    <a:lnTo>
                      <a:pt x="2160" y="770"/>
                    </a:lnTo>
                    <a:lnTo>
                      <a:pt x="2162" y="768"/>
                    </a:lnTo>
                    <a:lnTo>
                      <a:pt x="2164" y="766"/>
                    </a:lnTo>
                    <a:lnTo>
                      <a:pt x="2166" y="766"/>
                    </a:lnTo>
                    <a:lnTo>
                      <a:pt x="2168" y="766"/>
                    </a:lnTo>
                    <a:lnTo>
                      <a:pt x="2168" y="766"/>
                    </a:lnTo>
                    <a:lnTo>
                      <a:pt x="2168" y="770"/>
                    </a:lnTo>
                    <a:lnTo>
                      <a:pt x="2168" y="772"/>
                    </a:lnTo>
                    <a:lnTo>
                      <a:pt x="2168" y="772"/>
                    </a:lnTo>
                    <a:lnTo>
                      <a:pt x="2168" y="774"/>
                    </a:lnTo>
                    <a:lnTo>
                      <a:pt x="2168" y="774"/>
                    </a:lnTo>
                    <a:lnTo>
                      <a:pt x="2168" y="776"/>
                    </a:lnTo>
                    <a:lnTo>
                      <a:pt x="2170" y="776"/>
                    </a:lnTo>
                    <a:lnTo>
                      <a:pt x="2170" y="776"/>
                    </a:lnTo>
                    <a:lnTo>
                      <a:pt x="2172" y="778"/>
                    </a:lnTo>
                    <a:lnTo>
                      <a:pt x="2172" y="778"/>
                    </a:lnTo>
                    <a:lnTo>
                      <a:pt x="2172" y="778"/>
                    </a:lnTo>
                    <a:lnTo>
                      <a:pt x="2174" y="778"/>
                    </a:lnTo>
                    <a:lnTo>
                      <a:pt x="2176" y="778"/>
                    </a:lnTo>
                    <a:lnTo>
                      <a:pt x="2178" y="778"/>
                    </a:lnTo>
                    <a:lnTo>
                      <a:pt x="2182" y="778"/>
                    </a:lnTo>
                    <a:lnTo>
                      <a:pt x="2184" y="776"/>
                    </a:lnTo>
                    <a:lnTo>
                      <a:pt x="2188" y="776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2" y="772"/>
                    </a:lnTo>
                    <a:lnTo>
                      <a:pt x="2194" y="770"/>
                    </a:lnTo>
                    <a:lnTo>
                      <a:pt x="2194" y="770"/>
                    </a:lnTo>
                    <a:lnTo>
                      <a:pt x="2194" y="768"/>
                    </a:lnTo>
                    <a:lnTo>
                      <a:pt x="2194" y="766"/>
                    </a:lnTo>
                    <a:lnTo>
                      <a:pt x="2194" y="766"/>
                    </a:lnTo>
                    <a:lnTo>
                      <a:pt x="2194" y="764"/>
                    </a:lnTo>
                    <a:lnTo>
                      <a:pt x="2194" y="762"/>
                    </a:lnTo>
                    <a:lnTo>
                      <a:pt x="2194" y="762"/>
                    </a:lnTo>
                    <a:lnTo>
                      <a:pt x="2194" y="762"/>
                    </a:lnTo>
                    <a:lnTo>
                      <a:pt x="2194" y="760"/>
                    </a:lnTo>
                    <a:lnTo>
                      <a:pt x="2194" y="760"/>
                    </a:lnTo>
                    <a:lnTo>
                      <a:pt x="2194" y="760"/>
                    </a:lnTo>
                    <a:lnTo>
                      <a:pt x="2192" y="758"/>
                    </a:lnTo>
                    <a:lnTo>
                      <a:pt x="2192" y="758"/>
                    </a:lnTo>
                    <a:lnTo>
                      <a:pt x="2192" y="758"/>
                    </a:lnTo>
                    <a:lnTo>
                      <a:pt x="2190" y="756"/>
                    </a:lnTo>
                    <a:lnTo>
                      <a:pt x="2190" y="756"/>
                    </a:lnTo>
                    <a:lnTo>
                      <a:pt x="2190" y="756"/>
                    </a:lnTo>
                    <a:lnTo>
                      <a:pt x="2188" y="756"/>
                    </a:lnTo>
                    <a:lnTo>
                      <a:pt x="2188" y="756"/>
                    </a:lnTo>
                    <a:lnTo>
                      <a:pt x="2184" y="756"/>
                    </a:lnTo>
                    <a:lnTo>
                      <a:pt x="2180" y="758"/>
                    </a:lnTo>
                    <a:lnTo>
                      <a:pt x="2178" y="758"/>
                    </a:lnTo>
                    <a:lnTo>
                      <a:pt x="2178" y="758"/>
                    </a:lnTo>
                    <a:lnTo>
                      <a:pt x="2176" y="756"/>
                    </a:lnTo>
                    <a:lnTo>
                      <a:pt x="2174" y="756"/>
                    </a:lnTo>
                    <a:lnTo>
                      <a:pt x="2168" y="754"/>
                    </a:lnTo>
                    <a:lnTo>
                      <a:pt x="2166" y="754"/>
                    </a:lnTo>
                    <a:lnTo>
                      <a:pt x="2166" y="754"/>
                    </a:lnTo>
                    <a:lnTo>
                      <a:pt x="2166" y="752"/>
                    </a:lnTo>
                    <a:lnTo>
                      <a:pt x="2168" y="752"/>
                    </a:lnTo>
                    <a:lnTo>
                      <a:pt x="2172" y="750"/>
                    </a:lnTo>
                    <a:lnTo>
                      <a:pt x="2178" y="746"/>
                    </a:lnTo>
                    <a:lnTo>
                      <a:pt x="2182" y="744"/>
                    </a:lnTo>
                    <a:lnTo>
                      <a:pt x="2184" y="744"/>
                    </a:lnTo>
                    <a:lnTo>
                      <a:pt x="2190" y="742"/>
                    </a:lnTo>
                    <a:lnTo>
                      <a:pt x="2196" y="740"/>
                    </a:lnTo>
                    <a:lnTo>
                      <a:pt x="2202" y="738"/>
                    </a:lnTo>
                    <a:lnTo>
                      <a:pt x="2204" y="736"/>
                    </a:lnTo>
                    <a:lnTo>
                      <a:pt x="2204" y="736"/>
                    </a:lnTo>
                    <a:lnTo>
                      <a:pt x="2204" y="736"/>
                    </a:lnTo>
                    <a:lnTo>
                      <a:pt x="2206" y="736"/>
                    </a:lnTo>
                    <a:lnTo>
                      <a:pt x="2206" y="736"/>
                    </a:lnTo>
                    <a:lnTo>
                      <a:pt x="2208" y="734"/>
                    </a:lnTo>
                    <a:lnTo>
                      <a:pt x="2208" y="734"/>
                    </a:lnTo>
                    <a:lnTo>
                      <a:pt x="2208" y="734"/>
                    </a:lnTo>
                    <a:lnTo>
                      <a:pt x="2210" y="732"/>
                    </a:lnTo>
                    <a:lnTo>
                      <a:pt x="2210" y="730"/>
                    </a:lnTo>
                    <a:lnTo>
                      <a:pt x="2210" y="730"/>
                    </a:lnTo>
                    <a:lnTo>
                      <a:pt x="2212" y="730"/>
                    </a:lnTo>
                    <a:lnTo>
                      <a:pt x="2214" y="726"/>
                    </a:lnTo>
                    <a:lnTo>
                      <a:pt x="2214" y="724"/>
                    </a:lnTo>
                    <a:lnTo>
                      <a:pt x="2214" y="726"/>
                    </a:lnTo>
                    <a:lnTo>
                      <a:pt x="2214" y="728"/>
                    </a:lnTo>
                    <a:lnTo>
                      <a:pt x="2216" y="730"/>
                    </a:lnTo>
                    <a:lnTo>
                      <a:pt x="2216" y="730"/>
                    </a:lnTo>
                    <a:lnTo>
                      <a:pt x="2216" y="730"/>
                    </a:lnTo>
                    <a:lnTo>
                      <a:pt x="2216" y="732"/>
                    </a:lnTo>
                    <a:lnTo>
                      <a:pt x="2216" y="732"/>
                    </a:lnTo>
                    <a:lnTo>
                      <a:pt x="2218" y="734"/>
                    </a:lnTo>
                    <a:lnTo>
                      <a:pt x="2218" y="734"/>
                    </a:lnTo>
                    <a:lnTo>
                      <a:pt x="2218" y="734"/>
                    </a:lnTo>
                    <a:lnTo>
                      <a:pt x="2220" y="734"/>
                    </a:lnTo>
                    <a:lnTo>
                      <a:pt x="2222" y="734"/>
                    </a:lnTo>
                    <a:lnTo>
                      <a:pt x="2222" y="734"/>
                    </a:lnTo>
                    <a:lnTo>
                      <a:pt x="2222" y="734"/>
                    </a:lnTo>
                    <a:lnTo>
                      <a:pt x="2224" y="734"/>
                    </a:lnTo>
                    <a:lnTo>
                      <a:pt x="2224" y="734"/>
                    </a:lnTo>
                    <a:lnTo>
                      <a:pt x="2226" y="734"/>
                    </a:lnTo>
                    <a:lnTo>
                      <a:pt x="2228" y="732"/>
                    </a:lnTo>
                    <a:lnTo>
                      <a:pt x="2230" y="732"/>
                    </a:lnTo>
                    <a:lnTo>
                      <a:pt x="2236" y="728"/>
                    </a:lnTo>
                    <a:lnTo>
                      <a:pt x="2238" y="726"/>
                    </a:lnTo>
                    <a:lnTo>
                      <a:pt x="2240" y="726"/>
                    </a:lnTo>
                    <a:lnTo>
                      <a:pt x="2238" y="726"/>
                    </a:lnTo>
                    <a:lnTo>
                      <a:pt x="2242" y="724"/>
                    </a:lnTo>
                    <a:lnTo>
                      <a:pt x="2246" y="724"/>
                    </a:lnTo>
                    <a:lnTo>
                      <a:pt x="2250" y="724"/>
                    </a:lnTo>
                    <a:lnTo>
                      <a:pt x="2254" y="724"/>
                    </a:lnTo>
                    <a:lnTo>
                      <a:pt x="2258" y="724"/>
                    </a:lnTo>
                    <a:lnTo>
                      <a:pt x="2260" y="724"/>
                    </a:lnTo>
                    <a:lnTo>
                      <a:pt x="2262" y="724"/>
                    </a:lnTo>
                    <a:lnTo>
                      <a:pt x="2264" y="724"/>
                    </a:lnTo>
                    <a:lnTo>
                      <a:pt x="2264" y="724"/>
                    </a:lnTo>
                    <a:lnTo>
                      <a:pt x="2264" y="726"/>
                    </a:lnTo>
                    <a:lnTo>
                      <a:pt x="2266" y="726"/>
                    </a:lnTo>
                    <a:lnTo>
                      <a:pt x="2266" y="730"/>
                    </a:lnTo>
                    <a:lnTo>
                      <a:pt x="2266" y="732"/>
                    </a:lnTo>
                    <a:lnTo>
                      <a:pt x="2268" y="734"/>
                    </a:lnTo>
                    <a:lnTo>
                      <a:pt x="2268" y="736"/>
                    </a:lnTo>
                    <a:lnTo>
                      <a:pt x="2268" y="736"/>
                    </a:lnTo>
                    <a:lnTo>
                      <a:pt x="2268" y="738"/>
                    </a:lnTo>
                    <a:lnTo>
                      <a:pt x="2270" y="738"/>
                    </a:lnTo>
                    <a:lnTo>
                      <a:pt x="2270" y="738"/>
                    </a:lnTo>
                    <a:lnTo>
                      <a:pt x="2272" y="738"/>
                    </a:lnTo>
                    <a:lnTo>
                      <a:pt x="2272" y="738"/>
                    </a:lnTo>
                    <a:lnTo>
                      <a:pt x="2272" y="738"/>
                    </a:lnTo>
                    <a:lnTo>
                      <a:pt x="2274" y="738"/>
                    </a:lnTo>
                    <a:lnTo>
                      <a:pt x="2274" y="738"/>
                    </a:lnTo>
                    <a:lnTo>
                      <a:pt x="2274" y="738"/>
                    </a:lnTo>
                    <a:lnTo>
                      <a:pt x="2276" y="736"/>
                    </a:lnTo>
                    <a:lnTo>
                      <a:pt x="2276" y="736"/>
                    </a:lnTo>
                    <a:lnTo>
                      <a:pt x="2276" y="734"/>
                    </a:lnTo>
                    <a:lnTo>
                      <a:pt x="2278" y="730"/>
                    </a:lnTo>
                    <a:lnTo>
                      <a:pt x="2278" y="730"/>
                    </a:lnTo>
                    <a:lnTo>
                      <a:pt x="2280" y="728"/>
                    </a:lnTo>
                    <a:lnTo>
                      <a:pt x="2280" y="728"/>
                    </a:lnTo>
                    <a:lnTo>
                      <a:pt x="2282" y="728"/>
                    </a:lnTo>
                    <a:lnTo>
                      <a:pt x="2284" y="726"/>
                    </a:lnTo>
                    <a:lnTo>
                      <a:pt x="2286" y="726"/>
                    </a:lnTo>
                    <a:lnTo>
                      <a:pt x="2286" y="726"/>
                    </a:lnTo>
                    <a:lnTo>
                      <a:pt x="2286" y="726"/>
                    </a:lnTo>
                    <a:lnTo>
                      <a:pt x="2288" y="724"/>
                    </a:lnTo>
                    <a:lnTo>
                      <a:pt x="2288" y="724"/>
                    </a:lnTo>
                    <a:lnTo>
                      <a:pt x="2292" y="722"/>
                    </a:lnTo>
                    <a:lnTo>
                      <a:pt x="2294" y="720"/>
                    </a:lnTo>
                    <a:lnTo>
                      <a:pt x="2298" y="714"/>
                    </a:lnTo>
                    <a:lnTo>
                      <a:pt x="2304" y="708"/>
                    </a:lnTo>
                    <a:lnTo>
                      <a:pt x="2308" y="704"/>
                    </a:lnTo>
                    <a:lnTo>
                      <a:pt x="2312" y="700"/>
                    </a:lnTo>
                    <a:lnTo>
                      <a:pt x="2316" y="694"/>
                    </a:lnTo>
                    <a:lnTo>
                      <a:pt x="2318" y="692"/>
                    </a:lnTo>
                    <a:lnTo>
                      <a:pt x="2322" y="690"/>
                    </a:lnTo>
                    <a:lnTo>
                      <a:pt x="2324" y="688"/>
                    </a:lnTo>
                    <a:lnTo>
                      <a:pt x="2328" y="684"/>
                    </a:lnTo>
                    <a:lnTo>
                      <a:pt x="2332" y="682"/>
                    </a:lnTo>
                    <a:lnTo>
                      <a:pt x="2334" y="682"/>
                    </a:lnTo>
                    <a:lnTo>
                      <a:pt x="2340" y="678"/>
                    </a:lnTo>
                    <a:lnTo>
                      <a:pt x="2348" y="674"/>
                    </a:lnTo>
                    <a:lnTo>
                      <a:pt x="2356" y="672"/>
                    </a:lnTo>
                    <a:lnTo>
                      <a:pt x="2362" y="668"/>
                    </a:lnTo>
                    <a:lnTo>
                      <a:pt x="2370" y="664"/>
                    </a:lnTo>
                    <a:lnTo>
                      <a:pt x="2376" y="662"/>
                    </a:lnTo>
                    <a:lnTo>
                      <a:pt x="2378" y="660"/>
                    </a:lnTo>
                    <a:lnTo>
                      <a:pt x="2386" y="658"/>
                    </a:lnTo>
                    <a:lnTo>
                      <a:pt x="2386" y="656"/>
                    </a:lnTo>
                    <a:lnTo>
                      <a:pt x="2388" y="656"/>
                    </a:lnTo>
                    <a:lnTo>
                      <a:pt x="2388" y="656"/>
                    </a:lnTo>
                    <a:lnTo>
                      <a:pt x="2388" y="656"/>
                    </a:lnTo>
                    <a:lnTo>
                      <a:pt x="2390" y="656"/>
                    </a:lnTo>
                    <a:lnTo>
                      <a:pt x="2392" y="658"/>
                    </a:lnTo>
                    <a:lnTo>
                      <a:pt x="2394" y="658"/>
                    </a:lnTo>
                    <a:lnTo>
                      <a:pt x="2400" y="660"/>
                    </a:lnTo>
                    <a:lnTo>
                      <a:pt x="2402" y="662"/>
                    </a:lnTo>
                    <a:lnTo>
                      <a:pt x="2404" y="662"/>
                    </a:lnTo>
                    <a:lnTo>
                      <a:pt x="2404" y="662"/>
                    </a:lnTo>
                    <a:lnTo>
                      <a:pt x="2404" y="662"/>
                    </a:lnTo>
                    <a:lnTo>
                      <a:pt x="2408" y="664"/>
                    </a:lnTo>
                    <a:lnTo>
                      <a:pt x="2408" y="664"/>
                    </a:lnTo>
                    <a:lnTo>
                      <a:pt x="2410" y="662"/>
                    </a:lnTo>
                    <a:lnTo>
                      <a:pt x="2410" y="662"/>
                    </a:lnTo>
                    <a:lnTo>
                      <a:pt x="2410" y="662"/>
                    </a:lnTo>
                    <a:lnTo>
                      <a:pt x="2412" y="662"/>
                    </a:lnTo>
                    <a:lnTo>
                      <a:pt x="2412" y="662"/>
                    </a:lnTo>
                    <a:lnTo>
                      <a:pt x="2414" y="660"/>
                    </a:lnTo>
                    <a:lnTo>
                      <a:pt x="2414" y="660"/>
                    </a:lnTo>
                    <a:lnTo>
                      <a:pt x="2414" y="660"/>
                    </a:lnTo>
                    <a:lnTo>
                      <a:pt x="2416" y="658"/>
                    </a:lnTo>
                    <a:lnTo>
                      <a:pt x="2416" y="656"/>
                    </a:lnTo>
                    <a:lnTo>
                      <a:pt x="2418" y="654"/>
                    </a:lnTo>
                    <a:lnTo>
                      <a:pt x="2420" y="648"/>
                    </a:lnTo>
                    <a:lnTo>
                      <a:pt x="2420" y="644"/>
                    </a:lnTo>
                    <a:lnTo>
                      <a:pt x="2422" y="642"/>
                    </a:lnTo>
                    <a:lnTo>
                      <a:pt x="2422" y="642"/>
                    </a:lnTo>
                    <a:lnTo>
                      <a:pt x="2422" y="642"/>
                    </a:lnTo>
                    <a:lnTo>
                      <a:pt x="2420" y="640"/>
                    </a:lnTo>
                    <a:lnTo>
                      <a:pt x="2420" y="640"/>
                    </a:lnTo>
                    <a:lnTo>
                      <a:pt x="2420" y="638"/>
                    </a:lnTo>
                    <a:lnTo>
                      <a:pt x="2420" y="638"/>
                    </a:lnTo>
                    <a:lnTo>
                      <a:pt x="2420" y="638"/>
                    </a:lnTo>
                    <a:lnTo>
                      <a:pt x="2420" y="636"/>
                    </a:lnTo>
                    <a:lnTo>
                      <a:pt x="2418" y="636"/>
                    </a:lnTo>
                    <a:lnTo>
                      <a:pt x="2416" y="634"/>
                    </a:lnTo>
                    <a:lnTo>
                      <a:pt x="2414" y="630"/>
                    </a:lnTo>
                    <a:lnTo>
                      <a:pt x="2412" y="628"/>
                    </a:lnTo>
                    <a:lnTo>
                      <a:pt x="2410" y="626"/>
                    </a:lnTo>
                    <a:lnTo>
                      <a:pt x="2410" y="624"/>
                    </a:lnTo>
                    <a:lnTo>
                      <a:pt x="2408" y="622"/>
                    </a:lnTo>
                    <a:lnTo>
                      <a:pt x="2404" y="614"/>
                    </a:lnTo>
                    <a:lnTo>
                      <a:pt x="2404" y="612"/>
                    </a:lnTo>
                    <a:lnTo>
                      <a:pt x="2402" y="608"/>
                    </a:lnTo>
                    <a:lnTo>
                      <a:pt x="2400" y="604"/>
                    </a:lnTo>
                    <a:lnTo>
                      <a:pt x="2398" y="602"/>
                    </a:lnTo>
                    <a:lnTo>
                      <a:pt x="2398" y="600"/>
                    </a:lnTo>
                    <a:lnTo>
                      <a:pt x="2396" y="600"/>
                    </a:lnTo>
                    <a:lnTo>
                      <a:pt x="2396" y="600"/>
                    </a:lnTo>
                    <a:lnTo>
                      <a:pt x="2396" y="598"/>
                    </a:lnTo>
                    <a:lnTo>
                      <a:pt x="2394" y="596"/>
                    </a:lnTo>
                    <a:lnTo>
                      <a:pt x="2392" y="594"/>
                    </a:lnTo>
                    <a:lnTo>
                      <a:pt x="2390" y="592"/>
                    </a:lnTo>
                    <a:lnTo>
                      <a:pt x="2386" y="592"/>
                    </a:lnTo>
                    <a:lnTo>
                      <a:pt x="2386" y="592"/>
                    </a:lnTo>
                    <a:lnTo>
                      <a:pt x="2386" y="590"/>
                    </a:lnTo>
                    <a:lnTo>
                      <a:pt x="2384" y="590"/>
                    </a:lnTo>
                    <a:lnTo>
                      <a:pt x="2382" y="588"/>
                    </a:lnTo>
                    <a:lnTo>
                      <a:pt x="2382" y="588"/>
                    </a:lnTo>
                    <a:lnTo>
                      <a:pt x="2380" y="584"/>
                    </a:lnTo>
                    <a:lnTo>
                      <a:pt x="2378" y="582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8" y="578"/>
                    </a:lnTo>
                    <a:lnTo>
                      <a:pt x="2382" y="576"/>
                    </a:lnTo>
                    <a:lnTo>
                      <a:pt x="2382" y="576"/>
                    </a:lnTo>
                    <a:lnTo>
                      <a:pt x="2384" y="576"/>
                    </a:lnTo>
                    <a:lnTo>
                      <a:pt x="2384" y="578"/>
                    </a:lnTo>
                    <a:lnTo>
                      <a:pt x="2384" y="578"/>
                    </a:lnTo>
                    <a:lnTo>
                      <a:pt x="2386" y="580"/>
                    </a:lnTo>
                    <a:lnTo>
                      <a:pt x="2388" y="584"/>
                    </a:lnTo>
                    <a:lnTo>
                      <a:pt x="2388" y="584"/>
                    </a:lnTo>
                    <a:lnTo>
                      <a:pt x="2390" y="584"/>
                    </a:lnTo>
                    <a:lnTo>
                      <a:pt x="2390" y="584"/>
                    </a:lnTo>
                    <a:lnTo>
                      <a:pt x="2390" y="584"/>
                    </a:lnTo>
                    <a:lnTo>
                      <a:pt x="2392" y="586"/>
                    </a:lnTo>
                    <a:lnTo>
                      <a:pt x="2394" y="586"/>
                    </a:lnTo>
                    <a:lnTo>
                      <a:pt x="2394" y="586"/>
                    </a:lnTo>
                    <a:lnTo>
                      <a:pt x="2394" y="586"/>
                    </a:lnTo>
                    <a:lnTo>
                      <a:pt x="2396" y="586"/>
                    </a:lnTo>
                    <a:lnTo>
                      <a:pt x="2400" y="586"/>
                    </a:lnTo>
                    <a:lnTo>
                      <a:pt x="2406" y="586"/>
                    </a:lnTo>
                    <a:lnTo>
                      <a:pt x="2412" y="584"/>
                    </a:lnTo>
                    <a:lnTo>
                      <a:pt x="2414" y="584"/>
                    </a:lnTo>
                    <a:lnTo>
                      <a:pt x="2416" y="582"/>
                    </a:lnTo>
                    <a:lnTo>
                      <a:pt x="2416" y="582"/>
                    </a:lnTo>
                    <a:lnTo>
                      <a:pt x="2418" y="582"/>
                    </a:lnTo>
                    <a:lnTo>
                      <a:pt x="2420" y="580"/>
                    </a:lnTo>
                    <a:lnTo>
                      <a:pt x="2420" y="580"/>
                    </a:lnTo>
                    <a:lnTo>
                      <a:pt x="2420" y="580"/>
                    </a:lnTo>
                    <a:lnTo>
                      <a:pt x="2422" y="578"/>
                    </a:lnTo>
                    <a:lnTo>
                      <a:pt x="2424" y="576"/>
                    </a:lnTo>
                    <a:lnTo>
                      <a:pt x="2424" y="572"/>
                    </a:lnTo>
                    <a:lnTo>
                      <a:pt x="2426" y="570"/>
                    </a:lnTo>
                    <a:lnTo>
                      <a:pt x="2426" y="570"/>
                    </a:lnTo>
                    <a:lnTo>
                      <a:pt x="2426" y="570"/>
                    </a:lnTo>
                    <a:lnTo>
                      <a:pt x="2426" y="566"/>
                    </a:lnTo>
                    <a:lnTo>
                      <a:pt x="2428" y="564"/>
                    </a:lnTo>
                    <a:lnTo>
                      <a:pt x="2428" y="562"/>
                    </a:lnTo>
                    <a:lnTo>
                      <a:pt x="2428" y="560"/>
                    </a:lnTo>
                    <a:lnTo>
                      <a:pt x="2430" y="560"/>
                    </a:lnTo>
                    <a:lnTo>
                      <a:pt x="2432" y="558"/>
                    </a:lnTo>
                    <a:lnTo>
                      <a:pt x="2432" y="558"/>
                    </a:lnTo>
                    <a:lnTo>
                      <a:pt x="2432" y="558"/>
                    </a:lnTo>
                    <a:lnTo>
                      <a:pt x="2432" y="556"/>
                    </a:lnTo>
                    <a:lnTo>
                      <a:pt x="2432" y="556"/>
                    </a:lnTo>
                    <a:lnTo>
                      <a:pt x="2432" y="556"/>
                    </a:lnTo>
                    <a:lnTo>
                      <a:pt x="2432" y="558"/>
                    </a:lnTo>
                    <a:lnTo>
                      <a:pt x="2434" y="560"/>
                    </a:lnTo>
                    <a:lnTo>
                      <a:pt x="2434" y="560"/>
                    </a:lnTo>
                    <a:lnTo>
                      <a:pt x="2434" y="560"/>
                    </a:lnTo>
                    <a:lnTo>
                      <a:pt x="2436" y="562"/>
                    </a:lnTo>
                    <a:lnTo>
                      <a:pt x="2436" y="562"/>
                    </a:lnTo>
                    <a:lnTo>
                      <a:pt x="2436" y="562"/>
                    </a:lnTo>
                    <a:lnTo>
                      <a:pt x="2438" y="562"/>
                    </a:lnTo>
                    <a:lnTo>
                      <a:pt x="2438" y="562"/>
                    </a:lnTo>
                    <a:lnTo>
                      <a:pt x="2440" y="564"/>
                    </a:lnTo>
                    <a:lnTo>
                      <a:pt x="2442" y="564"/>
                    </a:lnTo>
                    <a:lnTo>
                      <a:pt x="2444" y="564"/>
                    </a:lnTo>
                    <a:lnTo>
                      <a:pt x="2450" y="562"/>
                    </a:lnTo>
                    <a:lnTo>
                      <a:pt x="2452" y="562"/>
                    </a:lnTo>
                    <a:lnTo>
                      <a:pt x="2456" y="562"/>
                    </a:lnTo>
                    <a:lnTo>
                      <a:pt x="2458" y="562"/>
                    </a:lnTo>
                    <a:lnTo>
                      <a:pt x="2458" y="562"/>
                    </a:lnTo>
                    <a:lnTo>
                      <a:pt x="2458" y="562"/>
                    </a:lnTo>
                    <a:lnTo>
                      <a:pt x="2460" y="560"/>
                    </a:lnTo>
                    <a:lnTo>
                      <a:pt x="2460" y="560"/>
                    </a:lnTo>
                    <a:lnTo>
                      <a:pt x="2460" y="560"/>
                    </a:lnTo>
                    <a:lnTo>
                      <a:pt x="2462" y="558"/>
                    </a:lnTo>
                    <a:lnTo>
                      <a:pt x="2466" y="556"/>
                    </a:lnTo>
                    <a:lnTo>
                      <a:pt x="2466" y="556"/>
                    </a:lnTo>
                    <a:lnTo>
                      <a:pt x="2466" y="556"/>
                    </a:lnTo>
                    <a:lnTo>
                      <a:pt x="2468" y="556"/>
                    </a:lnTo>
                    <a:lnTo>
                      <a:pt x="2472" y="556"/>
                    </a:lnTo>
                    <a:lnTo>
                      <a:pt x="2472" y="556"/>
                    </a:lnTo>
                    <a:lnTo>
                      <a:pt x="2474" y="556"/>
                    </a:lnTo>
                    <a:lnTo>
                      <a:pt x="2474" y="556"/>
                    </a:lnTo>
                    <a:lnTo>
                      <a:pt x="2474" y="558"/>
                    </a:lnTo>
                    <a:lnTo>
                      <a:pt x="2474" y="560"/>
                    </a:lnTo>
                    <a:lnTo>
                      <a:pt x="2472" y="564"/>
                    </a:lnTo>
                    <a:lnTo>
                      <a:pt x="2470" y="566"/>
                    </a:lnTo>
                    <a:lnTo>
                      <a:pt x="2470" y="570"/>
                    </a:lnTo>
                    <a:lnTo>
                      <a:pt x="2470" y="570"/>
                    </a:lnTo>
                    <a:lnTo>
                      <a:pt x="2470" y="572"/>
                    </a:lnTo>
                    <a:lnTo>
                      <a:pt x="2470" y="572"/>
                    </a:lnTo>
                    <a:lnTo>
                      <a:pt x="2470" y="572"/>
                    </a:lnTo>
                    <a:lnTo>
                      <a:pt x="2470" y="574"/>
                    </a:lnTo>
                    <a:lnTo>
                      <a:pt x="2470" y="574"/>
                    </a:lnTo>
                    <a:lnTo>
                      <a:pt x="2470" y="576"/>
                    </a:lnTo>
                    <a:lnTo>
                      <a:pt x="2472" y="578"/>
                    </a:lnTo>
                    <a:lnTo>
                      <a:pt x="2472" y="578"/>
                    </a:lnTo>
                    <a:lnTo>
                      <a:pt x="2472" y="578"/>
                    </a:lnTo>
                    <a:lnTo>
                      <a:pt x="2474" y="578"/>
                    </a:lnTo>
                    <a:lnTo>
                      <a:pt x="2474" y="578"/>
                    </a:lnTo>
                    <a:lnTo>
                      <a:pt x="2476" y="580"/>
                    </a:lnTo>
                    <a:lnTo>
                      <a:pt x="2478" y="580"/>
                    </a:lnTo>
                    <a:lnTo>
                      <a:pt x="2480" y="580"/>
                    </a:lnTo>
                    <a:lnTo>
                      <a:pt x="2486" y="580"/>
                    </a:lnTo>
                    <a:lnTo>
                      <a:pt x="2488" y="580"/>
                    </a:lnTo>
                    <a:lnTo>
                      <a:pt x="2490" y="582"/>
                    </a:lnTo>
                    <a:lnTo>
                      <a:pt x="2492" y="582"/>
                    </a:lnTo>
                    <a:lnTo>
                      <a:pt x="2492" y="584"/>
                    </a:lnTo>
                    <a:lnTo>
                      <a:pt x="2494" y="588"/>
                    </a:lnTo>
                    <a:lnTo>
                      <a:pt x="2496" y="592"/>
                    </a:lnTo>
                    <a:lnTo>
                      <a:pt x="2498" y="594"/>
                    </a:lnTo>
                    <a:lnTo>
                      <a:pt x="2500" y="596"/>
                    </a:lnTo>
                    <a:lnTo>
                      <a:pt x="2500" y="596"/>
                    </a:lnTo>
                    <a:lnTo>
                      <a:pt x="2500" y="596"/>
                    </a:lnTo>
                    <a:lnTo>
                      <a:pt x="2502" y="598"/>
                    </a:lnTo>
                    <a:lnTo>
                      <a:pt x="2504" y="600"/>
                    </a:lnTo>
                    <a:lnTo>
                      <a:pt x="2510" y="602"/>
                    </a:lnTo>
                    <a:lnTo>
                      <a:pt x="2512" y="604"/>
                    </a:lnTo>
                    <a:lnTo>
                      <a:pt x="2514" y="604"/>
                    </a:lnTo>
                    <a:lnTo>
                      <a:pt x="2514" y="604"/>
                    </a:lnTo>
                    <a:lnTo>
                      <a:pt x="2516" y="604"/>
                    </a:lnTo>
                    <a:lnTo>
                      <a:pt x="2516" y="604"/>
                    </a:lnTo>
                    <a:lnTo>
                      <a:pt x="2518" y="604"/>
                    </a:lnTo>
                    <a:lnTo>
                      <a:pt x="2520" y="604"/>
                    </a:lnTo>
                    <a:lnTo>
                      <a:pt x="2520" y="604"/>
                    </a:lnTo>
                    <a:lnTo>
                      <a:pt x="2520" y="602"/>
                    </a:lnTo>
                    <a:lnTo>
                      <a:pt x="2522" y="602"/>
                    </a:lnTo>
                    <a:lnTo>
                      <a:pt x="2522" y="602"/>
                    </a:lnTo>
                    <a:lnTo>
                      <a:pt x="2522" y="600"/>
                    </a:lnTo>
                    <a:lnTo>
                      <a:pt x="2522" y="598"/>
                    </a:lnTo>
                    <a:lnTo>
                      <a:pt x="2522" y="596"/>
                    </a:lnTo>
                    <a:lnTo>
                      <a:pt x="2522" y="594"/>
                    </a:lnTo>
                    <a:lnTo>
                      <a:pt x="2522" y="588"/>
                    </a:lnTo>
                    <a:lnTo>
                      <a:pt x="2522" y="586"/>
                    </a:lnTo>
                    <a:lnTo>
                      <a:pt x="2522" y="586"/>
                    </a:lnTo>
                    <a:lnTo>
                      <a:pt x="2522" y="584"/>
                    </a:lnTo>
                    <a:lnTo>
                      <a:pt x="2522" y="584"/>
                    </a:lnTo>
                    <a:lnTo>
                      <a:pt x="2524" y="580"/>
                    </a:lnTo>
                    <a:lnTo>
                      <a:pt x="2526" y="578"/>
                    </a:lnTo>
                    <a:lnTo>
                      <a:pt x="2528" y="574"/>
                    </a:lnTo>
                    <a:lnTo>
                      <a:pt x="2530" y="570"/>
                    </a:lnTo>
                    <a:lnTo>
                      <a:pt x="2534" y="566"/>
                    </a:lnTo>
                    <a:lnTo>
                      <a:pt x="2536" y="562"/>
                    </a:lnTo>
                    <a:lnTo>
                      <a:pt x="2538" y="560"/>
                    </a:lnTo>
                    <a:lnTo>
                      <a:pt x="2538" y="560"/>
                    </a:lnTo>
                    <a:lnTo>
                      <a:pt x="2538" y="560"/>
                    </a:lnTo>
                    <a:lnTo>
                      <a:pt x="2540" y="558"/>
                    </a:lnTo>
                    <a:lnTo>
                      <a:pt x="2540" y="558"/>
                    </a:lnTo>
                    <a:lnTo>
                      <a:pt x="2540" y="556"/>
                    </a:lnTo>
                    <a:lnTo>
                      <a:pt x="2540" y="556"/>
                    </a:lnTo>
                    <a:lnTo>
                      <a:pt x="2540" y="556"/>
                    </a:lnTo>
                    <a:lnTo>
                      <a:pt x="2540" y="554"/>
                    </a:lnTo>
                    <a:lnTo>
                      <a:pt x="2542" y="554"/>
                    </a:lnTo>
                    <a:lnTo>
                      <a:pt x="2544" y="554"/>
                    </a:lnTo>
                    <a:lnTo>
                      <a:pt x="2548" y="556"/>
                    </a:lnTo>
                    <a:lnTo>
                      <a:pt x="2548" y="556"/>
                    </a:lnTo>
                    <a:lnTo>
                      <a:pt x="2548" y="556"/>
                    </a:lnTo>
                    <a:lnTo>
                      <a:pt x="2552" y="554"/>
                    </a:lnTo>
                    <a:lnTo>
                      <a:pt x="2552" y="554"/>
                    </a:lnTo>
                    <a:lnTo>
                      <a:pt x="2552" y="554"/>
                    </a:lnTo>
                    <a:lnTo>
                      <a:pt x="2554" y="554"/>
                    </a:lnTo>
                    <a:lnTo>
                      <a:pt x="2554" y="554"/>
                    </a:lnTo>
                    <a:lnTo>
                      <a:pt x="2556" y="554"/>
                    </a:lnTo>
                    <a:lnTo>
                      <a:pt x="2558" y="552"/>
                    </a:lnTo>
                    <a:lnTo>
                      <a:pt x="2558" y="552"/>
                    </a:lnTo>
                    <a:lnTo>
                      <a:pt x="2558" y="552"/>
                    </a:lnTo>
                    <a:lnTo>
                      <a:pt x="2560" y="550"/>
                    </a:lnTo>
                    <a:lnTo>
                      <a:pt x="2562" y="548"/>
                    </a:lnTo>
                    <a:lnTo>
                      <a:pt x="2564" y="546"/>
                    </a:lnTo>
                    <a:lnTo>
                      <a:pt x="2566" y="542"/>
                    </a:lnTo>
                    <a:lnTo>
                      <a:pt x="2566" y="542"/>
                    </a:lnTo>
                    <a:lnTo>
                      <a:pt x="2566" y="540"/>
                    </a:lnTo>
                    <a:lnTo>
                      <a:pt x="2566" y="538"/>
                    </a:lnTo>
                    <a:lnTo>
                      <a:pt x="2566" y="538"/>
                    </a:lnTo>
                    <a:lnTo>
                      <a:pt x="2566" y="538"/>
                    </a:lnTo>
                    <a:lnTo>
                      <a:pt x="2568" y="536"/>
                    </a:lnTo>
                    <a:lnTo>
                      <a:pt x="2568" y="536"/>
                    </a:lnTo>
                    <a:lnTo>
                      <a:pt x="2568" y="534"/>
                    </a:lnTo>
                    <a:lnTo>
                      <a:pt x="2568" y="534"/>
                    </a:lnTo>
                    <a:lnTo>
                      <a:pt x="2568" y="532"/>
                    </a:lnTo>
                    <a:lnTo>
                      <a:pt x="2568" y="530"/>
                    </a:lnTo>
                    <a:close/>
                    <a:moveTo>
                      <a:pt x="874" y="436"/>
                    </a:moveTo>
                    <a:lnTo>
                      <a:pt x="872" y="434"/>
                    </a:lnTo>
                    <a:lnTo>
                      <a:pt x="870" y="434"/>
                    </a:lnTo>
                    <a:lnTo>
                      <a:pt x="870" y="432"/>
                    </a:lnTo>
                    <a:lnTo>
                      <a:pt x="868" y="428"/>
                    </a:lnTo>
                    <a:lnTo>
                      <a:pt x="866" y="426"/>
                    </a:lnTo>
                    <a:lnTo>
                      <a:pt x="864" y="422"/>
                    </a:lnTo>
                    <a:lnTo>
                      <a:pt x="862" y="418"/>
                    </a:lnTo>
                    <a:lnTo>
                      <a:pt x="862" y="414"/>
                    </a:lnTo>
                    <a:lnTo>
                      <a:pt x="860" y="414"/>
                    </a:lnTo>
                    <a:lnTo>
                      <a:pt x="862" y="414"/>
                    </a:lnTo>
                    <a:lnTo>
                      <a:pt x="864" y="414"/>
                    </a:lnTo>
                    <a:lnTo>
                      <a:pt x="864" y="414"/>
                    </a:lnTo>
                    <a:lnTo>
                      <a:pt x="866" y="414"/>
                    </a:lnTo>
                    <a:lnTo>
                      <a:pt x="868" y="416"/>
                    </a:lnTo>
                    <a:lnTo>
                      <a:pt x="868" y="414"/>
                    </a:lnTo>
                    <a:lnTo>
                      <a:pt x="870" y="416"/>
                    </a:lnTo>
                    <a:lnTo>
                      <a:pt x="874" y="420"/>
                    </a:lnTo>
                    <a:lnTo>
                      <a:pt x="876" y="422"/>
                    </a:lnTo>
                    <a:lnTo>
                      <a:pt x="880" y="424"/>
                    </a:lnTo>
                    <a:lnTo>
                      <a:pt x="880" y="428"/>
                    </a:lnTo>
                    <a:lnTo>
                      <a:pt x="880" y="428"/>
                    </a:lnTo>
                    <a:lnTo>
                      <a:pt x="882" y="430"/>
                    </a:lnTo>
                    <a:lnTo>
                      <a:pt x="882" y="432"/>
                    </a:lnTo>
                    <a:lnTo>
                      <a:pt x="882" y="438"/>
                    </a:lnTo>
                    <a:lnTo>
                      <a:pt x="882" y="442"/>
                    </a:lnTo>
                    <a:lnTo>
                      <a:pt x="880" y="442"/>
                    </a:lnTo>
                    <a:lnTo>
                      <a:pt x="880" y="442"/>
                    </a:lnTo>
                    <a:lnTo>
                      <a:pt x="880" y="442"/>
                    </a:lnTo>
                    <a:lnTo>
                      <a:pt x="880" y="440"/>
                    </a:lnTo>
                    <a:lnTo>
                      <a:pt x="878" y="440"/>
                    </a:lnTo>
                    <a:lnTo>
                      <a:pt x="876" y="438"/>
                    </a:lnTo>
                    <a:lnTo>
                      <a:pt x="874" y="436"/>
                    </a:lnTo>
                    <a:close/>
                    <a:moveTo>
                      <a:pt x="886" y="474"/>
                    </a:moveTo>
                    <a:lnTo>
                      <a:pt x="882" y="472"/>
                    </a:lnTo>
                    <a:lnTo>
                      <a:pt x="880" y="470"/>
                    </a:lnTo>
                    <a:lnTo>
                      <a:pt x="878" y="466"/>
                    </a:lnTo>
                    <a:lnTo>
                      <a:pt x="880" y="468"/>
                    </a:lnTo>
                    <a:lnTo>
                      <a:pt x="878" y="466"/>
                    </a:lnTo>
                    <a:lnTo>
                      <a:pt x="878" y="464"/>
                    </a:lnTo>
                    <a:lnTo>
                      <a:pt x="878" y="462"/>
                    </a:lnTo>
                    <a:lnTo>
                      <a:pt x="878" y="458"/>
                    </a:lnTo>
                    <a:lnTo>
                      <a:pt x="880" y="456"/>
                    </a:lnTo>
                    <a:lnTo>
                      <a:pt x="880" y="450"/>
                    </a:lnTo>
                    <a:lnTo>
                      <a:pt x="880" y="452"/>
                    </a:lnTo>
                    <a:lnTo>
                      <a:pt x="880" y="454"/>
                    </a:lnTo>
                    <a:lnTo>
                      <a:pt x="882" y="456"/>
                    </a:lnTo>
                    <a:lnTo>
                      <a:pt x="882" y="458"/>
                    </a:lnTo>
                    <a:lnTo>
                      <a:pt x="882" y="460"/>
                    </a:lnTo>
                    <a:lnTo>
                      <a:pt x="882" y="462"/>
                    </a:lnTo>
                    <a:lnTo>
                      <a:pt x="884" y="466"/>
                    </a:lnTo>
                    <a:lnTo>
                      <a:pt x="884" y="468"/>
                    </a:lnTo>
                    <a:lnTo>
                      <a:pt x="886" y="472"/>
                    </a:lnTo>
                    <a:lnTo>
                      <a:pt x="886" y="474"/>
                    </a:lnTo>
                    <a:lnTo>
                      <a:pt x="886" y="474"/>
                    </a:lnTo>
                    <a:close/>
                    <a:moveTo>
                      <a:pt x="888" y="330"/>
                    </a:moveTo>
                    <a:lnTo>
                      <a:pt x="886" y="330"/>
                    </a:lnTo>
                    <a:lnTo>
                      <a:pt x="882" y="330"/>
                    </a:lnTo>
                    <a:lnTo>
                      <a:pt x="878" y="330"/>
                    </a:lnTo>
                    <a:lnTo>
                      <a:pt x="874" y="330"/>
                    </a:lnTo>
                    <a:lnTo>
                      <a:pt x="872" y="328"/>
                    </a:lnTo>
                    <a:lnTo>
                      <a:pt x="868" y="328"/>
                    </a:lnTo>
                    <a:lnTo>
                      <a:pt x="866" y="326"/>
                    </a:lnTo>
                    <a:lnTo>
                      <a:pt x="862" y="324"/>
                    </a:lnTo>
                    <a:lnTo>
                      <a:pt x="858" y="320"/>
                    </a:lnTo>
                    <a:lnTo>
                      <a:pt x="854" y="318"/>
                    </a:lnTo>
                    <a:lnTo>
                      <a:pt x="852" y="316"/>
                    </a:lnTo>
                    <a:lnTo>
                      <a:pt x="848" y="314"/>
                    </a:lnTo>
                    <a:lnTo>
                      <a:pt x="846" y="310"/>
                    </a:lnTo>
                    <a:lnTo>
                      <a:pt x="848" y="312"/>
                    </a:lnTo>
                    <a:lnTo>
                      <a:pt x="846" y="310"/>
                    </a:lnTo>
                    <a:lnTo>
                      <a:pt x="846" y="308"/>
                    </a:lnTo>
                    <a:lnTo>
                      <a:pt x="846" y="308"/>
                    </a:lnTo>
                    <a:lnTo>
                      <a:pt x="846" y="306"/>
                    </a:lnTo>
                    <a:lnTo>
                      <a:pt x="846" y="304"/>
                    </a:lnTo>
                    <a:lnTo>
                      <a:pt x="846" y="300"/>
                    </a:lnTo>
                    <a:lnTo>
                      <a:pt x="848" y="296"/>
                    </a:lnTo>
                    <a:lnTo>
                      <a:pt x="848" y="296"/>
                    </a:lnTo>
                    <a:lnTo>
                      <a:pt x="848" y="296"/>
                    </a:lnTo>
                    <a:lnTo>
                      <a:pt x="850" y="296"/>
                    </a:lnTo>
                    <a:lnTo>
                      <a:pt x="852" y="296"/>
                    </a:lnTo>
                    <a:lnTo>
                      <a:pt x="852" y="296"/>
                    </a:lnTo>
                    <a:lnTo>
                      <a:pt x="852" y="294"/>
                    </a:lnTo>
                    <a:lnTo>
                      <a:pt x="854" y="294"/>
                    </a:lnTo>
                    <a:lnTo>
                      <a:pt x="854" y="294"/>
                    </a:lnTo>
                    <a:lnTo>
                      <a:pt x="854" y="294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4" y="294"/>
                    </a:lnTo>
                    <a:lnTo>
                      <a:pt x="854" y="298"/>
                    </a:lnTo>
                    <a:lnTo>
                      <a:pt x="854" y="298"/>
                    </a:lnTo>
                    <a:lnTo>
                      <a:pt x="856" y="300"/>
                    </a:lnTo>
                    <a:lnTo>
                      <a:pt x="856" y="302"/>
                    </a:lnTo>
                    <a:lnTo>
                      <a:pt x="856" y="302"/>
                    </a:lnTo>
                    <a:lnTo>
                      <a:pt x="856" y="302"/>
                    </a:lnTo>
                    <a:lnTo>
                      <a:pt x="856" y="304"/>
                    </a:lnTo>
                    <a:lnTo>
                      <a:pt x="856" y="304"/>
                    </a:lnTo>
                    <a:lnTo>
                      <a:pt x="856" y="304"/>
                    </a:lnTo>
                    <a:lnTo>
                      <a:pt x="858" y="306"/>
                    </a:lnTo>
                    <a:lnTo>
                      <a:pt x="858" y="306"/>
                    </a:lnTo>
                    <a:lnTo>
                      <a:pt x="858" y="308"/>
                    </a:lnTo>
                    <a:lnTo>
                      <a:pt x="860" y="310"/>
                    </a:lnTo>
                    <a:lnTo>
                      <a:pt x="862" y="312"/>
                    </a:lnTo>
                    <a:lnTo>
                      <a:pt x="864" y="312"/>
                    </a:lnTo>
                    <a:lnTo>
                      <a:pt x="868" y="316"/>
                    </a:lnTo>
                    <a:lnTo>
                      <a:pt x="874" y="318"/>
                    </a:lnTo>
                    <a:lnTo>
                      <a:pt x="878" y="322"/>
                    </a:lnTo>
                    <a:lnTo>
                      <a:pt x="884" y="324"/>
                    </a:lnTo>
                    <a:lnTo>
                      <a:pt x="888" y="326"/>
                    </a:lnTo>
                    <a:lnTo>
                      <a:pt x="888" y="328"/>
                    </a:lnTo>
                    <a:lnTo>
                      <a:pt x="890" y="328"/>
                    </a:lnTo>
                    <a:lnTo>
                      <a:pt x="888" y="330"/>
                    </a:lnTo>
                    <a:close/>
                    <a:moveTo>
                      <a:pt x="966" y="316"/>
                    </a:moveTo>
                    <a:lnTo>
                      <a:pt x="966" y="320"/>
                    </a:lnTo>
                    <a:lnTo>
                      <a:pt x="966" y="322"/>
                    </a:lnTo>
                    <a:lnTo>
                      <a:pt x="966" y="330"/>
                    </a:lnTo>
                    <a:lnTo>
                      <a:pt x="966" y="332"/>
                    </a:lnTo>
                    <a:lnTo>
                      <a:pt x="964" y="334"/>
                    </a:lnTo>
                    <a:lnTo>
                      <a:pt x="964" y="336"/>
                    </a:lnTo>
                    <a:lnTo>
                      <a:pt x="964" y="336"/>
                    </a:lnTo>
                    <a:lnTo>
                      <a:pt x="964" y="338"/>
                    </a:lnTo>
                    <a:lnTo>
                      <a:pt x="964" y="338"/>
                    </a:lnTo>
                    <a:lnTo>
                      <a:pt x="962" y="338"/>
                    </a:lnTo>
                    <a:lnTo>
                      <a:pt x="960" y="338"/>
                    </a:lnTo>
                    <a:lnTo>
                      <a:pt x="958" y="336"/>
                    </a:lnTo>
                    <a:lnTo>
                      <a:pt x="956" y="336"/>
                    </a:lnTo>
                    <a:lnTo>
                      <a:pt x="954" y="334"/>
                    </a:lnTo>
                    <a:lnTo>
                      <a:pt x="954" y="334"/>
                    </a:lnTo>
                    <a:lnTo>
                      <a:pt x="952" y="332"/>
                    </a:lnTo>
                    <a:lnTo>
                      <a:pt x="952" y="332"/>
                    </a:lnTo>
                    <a:lnTo>
                      <a:pt x="952" y="330"/>
                    </a:lnTo>
                    <a:lnTo>
                      <a:pt x="952" y="328"/>
                    </a:lnTo>
                    <a:lnTo>
                      <a:pt x="952" y="324"/>
                    </a:lnTo>
                    <a:lnTo>
                      <a:pt x="952" y="322"/>
                    </a:lnTo>
                    <a:lnTo>
                      <a:pt x="952" y="322"/>
                    </a:lnTo>
                    <a:lnTo>
                      <a:pt x="954" y="320"/>
                    </a:lnTo>
                    <a:lnTo>
                      <a:pt x="956" y="320"/>
                    </a:lnTo>
                    <a:lnTo>
                      <a:pt x="960" y="318"/>
                    </a:lnTo>
                    <a:lnTo>
                      <a:pt x="962" y="316"/>
                    </a:lnTo>
                    <a:lnTo>
                      <a:pt x="964" y="316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6"/>
                    </a:lnTo>
                    <a:close/>
                    <a:moveTo>
                      <a:pt x="1746" y="118"/>
                    </a:moveTo>
                    <a:lnTo>
                      <a:pt x="1746" y="118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50" y="122"/>
                    </a:lnTo>
                    <a:lnTo>
                      <a:pt x="1750" y="122"/>
                    </a:lnTo>
                    <a:lnTo>
                      <a:pt x="1752" y="118"/>
                    </a:lnTo>
                    <a:lnTo>
                      <a:pt x="1752" y="118"/>
                    </a:lnTo>
                    <a:lnTo>
                      <a:pt x="1752" y="118"/>
                    </a:lnTo>
                    <a:lnTo>
                      <a:pt x="1756" y="118"/>
                    </a:lnTo>
                    <a:lnTo>
                      <a:pt x="1756" y="118"/>
                    </a:lnTo>
                    <a:lnTo>
                      <a:pt x="1756" y="118"/>
                    </a:lnTo>
                    <a:lnTo>
                      <a:pt x="1760" y="116"/>
                    </a:lnTo>
                    <a:lnTo>
                      <a:pt x="1760" y="116"/>
                    </a:lnTo>
                    <a:lnTo>
                      <a:pt x="1760" y="116"/>
                    </a:lnTo>
                    <a:lnTo>
                      <a:pt x="1762" y="114"/>
                    </a:lnTo>
                    <a:lnTo>
                      <a:pt x="1762" y="114"/>
                    </a:lnTo>
                    <a:lnTo>
                      <a:pt x="1764" y="112"/>
                    </a:lnTo>
                    <a:lnTo>
                      <a:pt x="1766" y="110"/>
                    </a:lnTo>
                    <a:lnTo>
                      <a:pt x="1766" y="110"/>
                    </a:lnTo>
                    <a:lnTo>
                      <a:pt x="1766" y="110"/>
                    </a:lnTo>
                    <a:lnTo>
                      <a:pt x="1766" y="106"/>
                    </a:lnTo>
                    <a:lnTo>
                      <a:pt x="1766" y="106"/>
                    </a:lnTo>
                    <a:lnTo>
                      <a:pt x="1766" y="106"/>
                    </a:lnTo>
                    <a:lnTo>
                      <a:pt x="1766" y="102"/>
                    </a:lnTo>
                    <a:lnTo>
                      <a:pt x="1766" y="102"/>
                    </a:lnTo>
                    <a:lnTo>
                      <a:pt x="1764" y="102"/>
                    </a:lnTo>
                    <a:lnTo>
                      <a:pt x="1762" y="98"/>
                    </a:lnTo>
                    <a:lnTo>
                      <a:pt x="1762" y="98"/>
                    </a:lnTo>
                    <a:lnTo>
                      <a:pt x="1762" y="96"/>
                    </a:lnTo>
                    <a:lnTo>
                      <a:pt x="1760" y="92"/>
                    </a:lnTo>
                    <a:lnTo>
                      <a:pt x="1760" y="90"/>
                    </a:lnTo>
                    <a:lnTo>
                      <a:pt x="1760" y="88"/>
                    </a:lnTo>
                    <a:lnTo>
                      <a:pt x="1760" y="88"/>
                    </a:lnTo>
                    <a:lnTo>
                      <a:pt x="1760" y="88"/>
                    </a:lnTo>
                    <a:lnTo>
                      <a:pt x="1758" y="86"/>
                    </a:lnTo>
                    <a:lnTo>
                      <a:pt x="1758" y="86"/>
                    </a:lnTo>
                    <a:lnTo>
                      <a:pt x="1758" y="84"/>
                    </a:lnTo>
                    <a:lnTo>
                      <a:pt x="1756" y="84"/>
                    </a:lnTo>
                    <a:lnTo>
                      <a:pt x="1756" y="84"/>
                    </a:lnTo>
                    <a:lnTo>
                      <a:pt x="1754" y="84"/>
                    </a:lnTo>
                    <a:lnTo>
                      <a:pt x="1752" y="86"/>
                    </a:lnTo>
                    <a:lnTo>
                      <a:pt x="1752" y="86"/>
                    </a:lnTo>
                    <a:lnTo>
                      <a:pt x="1752" y="86"/>
                    </a:lnTo>
                    <a:lnTo>
                      <a:pt x="1752" y="88"/>
                    </a:lnTo>
                    <a:lnTo>
                      <a:pt x="1752" y="90"/>
                    </a:lnTo>
                    <a:lnTo>
                      <a:pt x="1750" y="92"/>
                    </a:lnTo>
                    <a:lnTo>
                      <a:pt x="1750" y="98"/>
                    </a:lnTo>
                    <a:lnTo>
                      <a:pt x="1748" y="102"/>
                    </a:lnTo>
                    <a:lnTo>
                      <a:pt x="1746" y="108"/>
                    </a:lnTo>
                    <a:lnTo>
                      <a:pt x="1746" y="110"/>
                    </a:lnTo>
                    <a:lnTo>
                      <a:pt x="1746" y="112"/>
                    </a:lnTo>
                    <a:lnTo>
                      <a:pt x="1746" y="112"/>
                    </a:lnTo>
                    <a:lnTo>
                      <a:pt x="1746" y="114"/>
                    </a:lnTo>
                    <a:lnTo>
                      <a:pt x="1746" y="116"/>
                    </a:lnTo>
                    <a:lnTo>
                      <a:pt x="1746" y="118"/>
                    </a:lnTo>
                    <a:close/>
                    <a:moveTo>
                      <a:pt x="1942" y="36"/>
                    </a:moveTo>
                    <a:lnTo>
                      <a:pt x="1944" y="38"/>
                    </a:lnTo>
                    <a:lnTo>
                      <a:pt x="1944" y="38"/>
                    </a:lnTo>
                    <a:lnTo>
                      <a:pt x="1944" y="40"/>
                    </a:lnTo>
                    <a:lnTo>
                      <a:pt x="1946" y="40"/>
                    </a:lnTo>
                    <a:lnTo>
                      <a:pt x="1950" y="40"/>
                    </a:lnTo>
                    <a:lnTo>
                      <a:pt x="1954" y="40"/>
                    </a:lnTo>
                    <a:lnTo>
                      <a:pt x="1956" y="38"/>
                    </a:lnTo>
                    <a:lnTo>
                      <a:pt x="1960" y="38"/>
                    </a:lnTo>
                    <a:lnTo>
                      <a:pt x="1960" y="38"/>
                    </a:lnTo>
                    <a:lnTo>
                      <a:pt x="1960" y="38"/>
                    </a:lnTo>
                    <a:lnTo>
                      <a:pt x="1962" y="38"/>
                    </a:lnTo>
                    <a:lnTo>
                      <a:pt x="1962" y="38"/>
                    </a:lnTo>
                    <a:lnTo>
                      <a:pt x="1962" y="36"/>
                    </a:lnTo>
                    <a:lnTo>
                      <a:pt x="1964" y="36"/>
                    </a:lnTo>
                    <a:lnTo>
                      <a:pt x="1964" y="36"/>
                    </a:lnTo>
                    <a:lnTo>
                      <a:pt x="1964" y="36"/>
                    </a:lnTo>
                    <a:lnTo>
                      <a:pt x="1966" y="34"/>
                    </a:lnTo>
                    <a:lnTo>
                      <a:pt x="1966" y="34"/>
                    </a:lnTo>
                    <a:lnTo>
                      <a:pt x="1966" y="32"/>
                    </a:lnTo>
                    <a:lnTo>
                      <a:pt x="1968" y="30"/>
                    </a:lnTo>
                    <a:lnTo>
                      <a:pt x="1968" y="30"/>
                    </a:lnTo>
                    <a:lnTo>
                      <a:pt x="1968" y="28"/>
                    </a:lnTo>
                    <a:lnTo>
                      <a:pt x="1968" y="28"/>
                    </a:lnTo>
                    <a:lnTo>
                      <a:pt x="1968" y="26"/>
                    </a:lnTo>
                    <a:lnTo>
                      <a:pt x="1964" y="24"/>
                    </a:lnTo>
                    <a:lnTo>
                      <a:pt x="1964" y="24"/>
                    </a:lnTo>
                    <a:lnTo>
                      <a:pt x="1962" y="24"/>
                    </a:lnTo>
                    <a:lnTo>
                      <a:pt x="1958" y="24"/>
                    </a:lnTo>
                    <a:lnTo>
                      <a:pt x="1958" y="24"/>
                    </a:lnTo>
                    <a:lnTo>
                      <a:pt x="1958" y="24"/>
                    </a:lnTo>
                    <a:lnTo>
                      <a:pt x="1954" y="24"/>
                    </a:lnTo>
                    <a:lnTo>
                      <a:pt x="1954" y="24"/>
                    </a:lnTo>
                    <a:lnTo>
                      <a:pt x="1954" y="24"/>
                    </a:lnTo>
                    <a:lnTo>
                      <a:pt x="1950" y="24"/>
                    </a:lnTo>
                    <a:lnTo>
                      <a:pt x="1950" y="24"/>
                    </a:lnTo>
                    <a:lnTo>
                      <a:pt x="1950" y="24"/>
                    </a:lnTo>
                    <a:lnTo>
                      <a:pt x="1946" y="26"/>
                    </a:lnTo>
                    <a:lnTo>
                      <a:pt x="1946" y="26"/>
                    </a:lnTo>
                    <a:lnTo>
                      <a:pt x="1946" y="26"/>
                    </a:lnTo>
                    <a:lnTo>
                      <a:pt x="1944" y="30"/>
                    </a:lnTo>
                    <a:lnTo>
                      <a:pt x="1944" y="30"/>
                    </a:lnTo>
                    <a:lnTo>
                      <a:pt x="1944" y="30"/>
                    </a:lnTo>
                    <a:lnTo>
                      <a:pt x="1942" y="32"/>
                    </a:lnTo>
                    <a:lnTo>
                      <a:pt x="1942" y="32"/>
                    </a:lnTo>
                    <a:lnTo>
                      <a:pt x="1942" y="32"/>
                    </a:lnTo>
                    <a:lnTo>
                      <a:pt x="1942" y="34"/>
                    </a:lnTo>
                    <a:lnTo>
                      <a:pt x="1942" y="34"/>
                    </a:lnTo>
                    <a:lnTo>
                      <a:pt x="1942" y="34"/>
                    </a:lnTo>
                    <a:lnTo>
                      <a:pt x="1942" y="36"/>
                    </a:lnTo>
                    <a:lnTo>
                      <a:pt x="1942" y="36"/>
                    </a:lnTo>
                    <a:lnTo>
                      <a:pt x="1942" y="36"/>
                    </a:lnTo>
                    <a:lnTo>
                      <a:pt x="1942" y="36"/>
                    </a:lnTo>
                    <a:close/>
                    <a:moveTo>
                      <a:pt x="1764" y="180"/>
                    </a:moveTo>
                    <a:lnTo>
                      <a:pt x="1762" y="180"/>
                    </a:lnTo>
                    <a:lnTo>
                      <a:pt x="1762" y="180"/>
                    </a:lnTo>
                    <a:lnTo>
                      <a:pt x="1762" y="180"/>
                    </a:lnTo>
                    <a:lnTo>
                      <a:pt x="1760" y="178"/>
                    </a:lnTo>
                    <a:lnTo>
                      <a:pt x="1760" y="178"/>
                    </a:lnTo>
                    <a:lnTo>
                      <a:pt x="1760" y="178"/>
                    </a:lnTo>
                    <a:lnTo>
                      <a:pt x="1758" y="176"/>
                    </a:lnTo>
                    <a:lnTo>
                      <a:pt x="1758" y="176"/>
                    </a:lnTo>
                    <a:lnTo>
                      <a:pt x="1756" y="176"/>
                    </a:lnTo>
                    <a:lnTo>
                      <a:pt x="1754" y="176"/>
                    </a:lnTo>
                    <a:lnTo>
                      <a:pt x="1754" y="176"/>
                    </a:lnTo>
                    <a:lnTo>
                      <a:pt x="1752" y="176"/>
                    </a:lnTo>
                    <a:lnTo>
                      <a:pt x="1748" y="178"/>
                    </a:lnTo>
                    <a:lnTo>
                      <a:pt x="1748" y="178"/>
                    </a:lnTo>
                    <a:lnTo>
                      <a:pt x="1748" y="178"/>
                    </a:lnTo>
                    <a:lnTo>
                      <a:pt x="1748" y="180"/>
                    </a:lnTo>
                    <a:lnTo>
                      <a:pt x="1748" y="180"/>
                    </a:lnTo>
                    <a:lnTo>
                      <a:pt x="1746" y="182"/>
                    </a:lnTo>
                    <a:lnTo>
                      <a:pt x="1746" y="182"/>
                    </a:lnTo>
                    <a:lnTo>
                      <a:pt x="1746" y="182"/>
                    </a:lnTo>
                    <a:lnTo>
                      <a:pt x="1746" y="184"/>
                    </a:lnTo>
                    <a:lnTo>
                      <a:pt x="1746" y="184"/>
                    </a:lnTo>
                    <a:lnTo>
                      <a:pt x="1746" y="184"/>
                    </a:lnTo>
                    <a:lnTo>
                      <a:pt x="1746" y="186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8" y="190"/>
                    </a:lnTo>
                    <a:lnTo>
                      <a:pt x="1750" y="192"/>
                    </a:lnTo>
                    <a:lnTo>
                      <a:pt x="1752" y="194"/>
                    </a:lnTo>
                    <a:lnTo>
                      <a:pt x="1752" y="194"/>
                    </a:lnTo>
                    <a:lnTo>
                      <a:pt x="1752" y="194"/>
                    </a:lnTo>
                    <a:lnTo>
                      <a:pt x="1756" y="196"/>
                    </a:lnTo>
                    <a:lnTo>
                      <a:pt x="1760" y="198"/>
                    </a:lnTo>
                    <a:lnTo>
                      <a:pt x="1762" y="198"/>
                    </a:lnTo>
                    <a:lnTo>
                      <a:pt x="1762" y="198"/>
                    </a:lnTo>
                    <a:lnTo>
                      <a:pt x="1762" y="200"/>
                    </a:lnTo>
                    <a:lnTo>
                      <a:pt x="1764" y="200"/>
                    </a:lnTo>
                    <a:lnTo>
                      <a:pt x="1764" y="200"/>
                    </a:lnTo>
                    <a:lnTo>
                      <a:pt x="1766" y="200"/>
                    </a:lnTo>
                    <a:lnTo>
                      <a:pt x="1768" y="198"/>
                    </a:lnTo>
                    <a:lnTo>
                      <a:pt x="1768" y="198"/>
                    </a:lnTo>
                    <a:lnTo>
                      <a:pt x="1768" y="198"/>
                    </a:lnTo>
                    <a:lnTo>
                      <a:pt x="1770" y="196"/>
                    </a:lnTo>
                    <a:lnTo>
                      <a:pt x="1770" y="196"/>
                    </a:lnTo>
                    <a:lnTo>
                      <a:pt x="1770" y="196"/>
                    </a:lnTo>
                    <a:lnTo>
                      <a:pt x="1772" y="194"/>
                    </a:lnTo>
                    <a:lnTo>
                      <a:pt x="1772" y="194"/>
                    </a:lnTo>
                    <a:lnTo>
                      <a:pt x="1772" y="194"/>
                    </a:lnTo>
                    <a:lnTo>
                      <a:pt x="1774" y="190"/>
                    </a:lnTo>
                    <a:lnTo>
                      <a:pt x="1774" y="190"/>
                    </a:lnTo>
                    <a:lnTo>
                      <a:pt x="1774" y="188"/>
                    </a:lnTo>
                    <a:lnTo>
                      <a:pt x="1774" y="188"/>
                    </a:lnTo>
                    <a:lnTo>
                      <a:pt x="1772" y="186"/>
                    </a:lnTo>
                    <a:lnTo>
                      <a:pt x="1768" y="184"/>
                    </a:lnTo>
                    <a:lnTo>
                      <a:pt x="1768" y="184"/>
                    </a:lnTo>
                    <a:lnTo>
                      <a:pt x="1766" y="182"/>
                    </a:lnTo>
                    <a:lnTo>
                      <a:pt x="1764" y="180"/>
                    </a:lnTo>
                    <a:close/>
                    <a:moveTo>
                      <a:pt x="1774" y="106"/>
                    </a:moveTo>
                    <a:lnTo>
                      <a:pt x="1774" y="112"/>
                    </a:lnTo>
                    <a:lnTo>
                      <a:pt x="1774" y="116"/>
                    </a:lnTo>
                    <a:lnTo>
                      <a:pt x="1774" y="118"/>
                    </a:lnTo>
                    <a:lnTo>
                      <a:pt x="1774" y="122"/>
                    </a:lnTo>
                    <a:lnTo>
                      <a:pt x="1774" y="124"/>
                    </a:lnTo>
                    <a:lnTo>
                      <a:pt x="1774" y="128"/>
                    </a:lnTo>
                    <a:lnTo>
                      <a:pt x="1774" y="128"/>
                    </a:lnTo>
                    <a:lnTo>
                      <a:pt x="1774" y="128"/>
                    </a:lnTo>
                    <a:lnTo>
                      <a:pt x="1776" y="132"/>
                    </a:lnTo>
                    <a:lnTo>
                      <a:pt x="1776" y="132"/>
                    </a:lnTo>
                    <a:lnTo>
                      <a:pt x="1776" y="132"/>
                    </a:lnTo>
                    <a:lnTo>
                      <a:pt x="1776" y="134"/>
                    </a:lnTo>
                    <a:lnTo>
                      <a:pt x="1778" y="136"/>
                    </a:lnTo>
                    <a:lnTo>
                      <a:pt x="1778" y="136"/>
                    </a:lnTo>
                    <a:lnTo>
                      <a:pt x="1778" y="136"/>
                    </a:lnTo>
                    <a:lnTo>
                      <a:pt x="1780" y="138"/>
                    </a:lnTo>
                    <a:lnTo>
                      <a:pt x="1780" y="138"/>
                    </a:lnTo>
                    <a:lnTo>
                      <a:pt x="1780" y="138"/>
                    </a:lnTo>
                    <a:lnTo>
                      <a:pt x="1782" y="140"/>
                    </a:lnTo>
                    <a:lnTo>
                      <a:pt x="1784" y="142"/>
                    </a:lnTo>
                    <a:lnTo>
                      <a:pt x="1786" y="144"/>
                    </a:lnTo>
                    <a:lnTo>
                      <a:pt x="1792" y="148"/>
                    </a:lnTo>
                    <a:lnTo>
                      <a:pt x="1796" y="150"/>
                    </a:lnTo>
                    <a:lnTo>
                      <a:pt x="1798" y="152"/>
                    </a:lnTo>
                    <a:lnTo>
                      <a:pt x="1802" y="154"/>
                    </a:lnTo>
                    <a:lnTo>
                      <a:pt x="1804" y="156"/>
                    </a:lnTo>
                    <a:lnTo>
                      <a:pt x="1806" y="156"/>
                    </a:lnTo>
                    <a:lnTo>
                      <a:pt x="1808" y="158"/>
                    </a:lnTo>
                    <a:lnTo>
                      <a:pt x="1808" y="158"/>
                    </a:lnTo>
                    <a:lnTo>
                      <a:pt x="1808" y="158"/>
                    </a:lnTo>
                    <a:lnTo>
                      <a:pt x="1810" y="158"/>
                    </a:lnTo>
                    <a:lnTo>
                      <a:pt x="1810" y="158"/>
                    </a:lnTo>
                    <a:lnTo>
                      <a:pt x="1810" y="158"/>
                    </a:lnTo>
                    <a:lnTo>
                      <a:pt x="1812" y="156"/>
                    </a:lnTo>
                    <a:lnTo>
                      <a:pt x="1812" y="156"/>
                    </a:lnTo>
                    <a:lnTo>
                      <a:pt x="1812" y="156"/>
                    </a:lnTo>
                    <a:lnTo>
                      <a:pt x="1814" y="154"/>
                    </a:lnTo>
                    <a:lnTo>
                      <a:pt x="1814" y="154"/>
                    </a:lnTo>
                    <a:lnTo>
                      <a:pt x="1814" y="154"/>
                    </a:lnTo>
                    <a:lnTo>
                      <a:pt x="1814" y="152"/>
                    </a:lnTo>
                    <a:lnTo>
                      <a:pt x="1814" y="148"/>
                    </a:lnTo>
                    <a:lnTo>
                      <a:pt x="1812" y="146"/>
                    </a:lnTo>
                    <a:lnTo>
                      <a:pt x="1812" y="144"/>
                    </a:lnTo>
                    <a:lnTo>
                      <a:pt x="1812" y="142"/>
                    </a:lnTo>
                    <a:lnTo>
                      <a:pt x="1812" y="142"/>
                    </a:lnTo>
                    <a:lnTo>
                      <a:pt x="1812" y="142"/>
                    </a:lnTo>
                    <a:lnTo>
                      <a:pt x="1814" y="142"/>
                    </a:lnTo>
                    <a:lnTo>
                      <a:pt x="1816" y="142"/>
                    </a:lnTo>
                    <a:lnTo>
                      <a:pt x="1818" y="142"/>
                    </a:lnTo>
                    <a:lnTo>
                      <a:pt x="1824" y="142"/>
                    </a:lnTo>
                    <a:lnTo>
                      <a:pt x="1828" y="144"/>
                    </a:lnTo>
                    <a:lnTo>
                      <a:pt x="1830" y="144"/>
                    </a:lnTo>
                    <a:lnTo>
                      <a:pt x="1830" y="144"/>
                    </a:lnTo>
                    <a:lnTo>
                      <a:pt x="1830" y="144"/>
                    </a:lnTo>
                    <a:lnTo>
                      <a:pt x="1832" y="142"/>
                    </a:lnTo>
                    <a:lnTo>
                      <a:pt x="1832" y="142"/>
                    </a:lnTo>
                    <a:lnTo>
                      <a:pt x="1832" y="142"/>
                    </a:lnTo>
                    <a:lnTo>
                      <a:pt x="1834" y="142"/>
                    </a:lnTo>
                    <a:lnTo>
                      <a:pt x="1838" y="140"/>
                    </a:lnTo>
                    <a:lnTo>
                      <a:pt x="1842" y="140"/>
                    </a:lnTo>
                    <a:lnTo>
                      <a:pt x="1842" y="140"/>
                    </a:lnTo>
                    <a:lnTo>
                      <a:pt x="1844" y="140"/>
                    </a:lnTo>
                    <a:lnTo>
                      <a:pt x="1844" y="140"/>
                    </a:lnTo>
                    <a:lnTo>
                      <a:pt x="1844" y="140"/>
                    </a:lnTo>
                    <a:lnTo>
                      <a:pt x="1846" y="142"/>
                    </a:lnTo>
                    <a:lnTo>
                      <a:pt x="1848" y="144"/>
                    </a:lnTo>
                    <a:lnTo>
                      <a:pt x="1848" y="144"/>
                    </a:lnTo>
                    <a:lnTo>
                      <a:pt x="1848" y="146"/>
                    </a:lnTo>
                    <a:lnTo>
                      <a:pt x="1850" y="146"/>
                    </a:lnTo>
                    <a:lnTo>
                      <a:pt x="1850" y="146"/>
                    </a:lnTo>
                    <a:lnTo>
                      <a:pt x="1850" y="146"/>
                    </a:lnTo>
                    <a:lnTo>
                      <a:pt x="1852" y="148"/>
                    </a:lnTo>
                    <a:lnTo>
                      <a:pt x="1852" y="148"/>
                    </a:lnTo>
                    <a:lnTo>
                      <a:pt x="1852" y="148"/>
                    </a:lnTo>
                    <a:lnTo>
                      <a:pt x="1856" y="150"/>
                    </a:lnTo>
                    <a:lnTo>
                      <a:pt x="1856" y="150"/>
                    </a:lnTo>
                    <a:lnTo>
                      <a:pt x="1856" y="150"/>
                    </a:lnTo>
                    <a:lnTo>
                      <a:pt x="1860" y="150"/>
                    </a:lnTo>
                    <a:lnTo>
                      <a:pt x="1860" y="150"/>
                    </a:lnTo>
                    <a:lnTo>
                      <a:pt x="1860" y="150"/>
                    </a:lnTo>
                    <a:lnTo>
                      <a:pt x="1864" y="150"/>
                    </a:lnTo>
                    <a:lnTo>
                      <a:pt x="1864" y="150"/>
                    </a:lnTo>
                    <a:lnTo>
                      <a:pt x="1864" y="150"/>
                    </a:lnTo>
                    <a:lnTo>
                      <a:pt x="1868" y="148"/>
                    </a:lnTo>
                    <a:lnTo>
                      <a:pt x="1868" y="148"/>
                    </a:lnTo>
                    <a:lnTo>
                      <a:pt x="1868" y="148"/>
                    </a:lnTo>
                    <a:lnTo>
                      <a:pt x="1870" y="146"/>
                    </a:lnTo>
                    <a:lnTo>
                      <a:pt x="1870" y="146"/>
                    </a:lnTo>
                    <a:lnTo>
                      <a:pt x="1870" y="146"/>
                    </a:lnTo>
                    <a:lnTo>
                      <a:pt x="1870" y="144"/>
                    </a:lnTo>
                    <a:lnTo>
                      <a:pt x="1870" y="144"/>
                    </a:lnTo>
                    <a:lnTo>
                      <a:pt x="1870" y="144"/>
                    </a:lnTo>
                    <a:lnTo>
                      <a:pt x="1872" y="140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6" y="136"/>
                    </a:lnTo>
                    <a:lnTo>
                      <a:pt x="1878" y="136"/>
                    </a:lnTo>
                    <a:lnTo>
                      <a:pt x="1882" y="134"/>
                    </a:lnTo>
                    <a:lnTo>
                      <a:pt x="1882" y="134"/>
                    </a:lnTo>
                    <a:lnTo>
                      <a:pt x="1882" y="134"/>
                    </a:lnTo>
                    <a:lnTo>
                      <a:pt x="1884" y="134"/>
                    </a:lnTo>
                    <a:lnTo>
                      <a:pt x="1884" y="134"/>
                    </a:lnTo>
                    <a:lnTo>
                      <a:pt x="1884" y="134"/>
                    </a:lnTo>
                    <a:lnTo>
                      <a:pt x="1886" y="132"/>
                    </a:lnTo>
                    <a:lnTo>
                      <a:pt x="1886" y="132"/>
                    </a:lnTo>
                    <a:lnTo>
                      <a:pt x="1886" y="132"/>
                    </a:lnTo>
                    <a:lnTo>
                      <a:pt x="1888" y="130"/>
                    </a:lnTo>
                    <a:lnTo>
                      <a:pt x="1890" y="128"/>
                    </a:lnTo>
                    <a:lnTo>
                      <a:pt x="1892" y="124"/>
                    </a:lnTo>
                    <a:lnTo>
                      <a:pt x="1894" y="118"/>
                    </a:lnTo>
                    <a:lnTo>
                      <a:pt x="1894" y="116"/>
                    </a:lnTo>
                    <a:lnTo>
                      <a:pt x="1896" y="114"/>
                    </a:lnTo>
                    <a:lnTo>
                      <a:pt x="1898" y="114"/>
                    </a:lnTo>
                    <a:lnTo>
                      <a:pt x="1898" y="112"/>
                    </a:lnTo>
                    <a:lnTo>
                      <a:pt x="1902" y="110"/>
                    </a:lnTo>
                    <a:lnTo>
                      <a:pt x="1902" y="108"/>
                    </a:lnTo>
                    <a:lnTo>
                      <a:pt x="1904" y="106"/>
                    </a:lnTo>
                    <a:lnTo>
                      <a:pt x="1904" y="106"/>
                    </a:lnTo>
                    <a:lnTo>
                      <a:pt x="1904" y="106"/>
                    </a:lnTo>
                    <a:lnTo>
                      <a:pt x="1906" y="104"/>
                    </a:lnTo>
                    <a:lnTo>
                      <a:pt x="1906" y="104"/>
                    </a:lnTo>
                    <a:lnTo>
                      <a:pt x="1906" y="102"/>
                    </a:lnTo>
                    <a:lnTo>
                      <a:pt x="1906" y="102"/>
                    </a:lnTo>
                    <a:lnTo>
                      <a:pt x="1906" y="102"/>
                    </a:lnTo>
                    <a:lnTo>
                      <a:pt x="1906" y="100"/>
                    </a:lnTo>
                    <a:lnTo>
                      <a:pt x="1904" y="98"/>
                    </a:lnTo>
                    <a:lnTo>
                      <a:pt x="1904" y="98"/>
                    </a:lnTo>
                    <a:lnTo>
                      <a:pt x="1904" y="98"/>
                    </a:lnTo>
                    <a:lnTo>
                      <a:pt x="1902" y="96"/>
                    </a:lnTo>
                    <a:lnTo>
                      <a:pt x="1902" y="96"/>
                    </a:lnTo>
                    <a:lnTo>
                      <a:pt x="1902" y="96"/>
                    </a:lnTo>
                    <a:lnTo>
                      <a:pt x="1900" y="96"/>
                    </a:lnTo>
                    <a:lnTo>
                      <a:pt x="1898" y="94"/>
                    </a:lnTo>
                    <a:lnTo>
                      <a:pt x="1892" y="92"/>
                    </a:lnTo>
                    <a:lnTo>
                      <a:pt x="1890" y="90"/>
                    </a:lnTo>
                    <a:lnTo>
                      <a:pt x="1888" y="90"/>
                    </a:lnTo>
                    <a:lnTo>
                      <a:pt x="1886" y="88"/>
                    </a:lnTo>
                    <a:lnTo>
                      <a:pt x="1884" y="84"/>
                    </a:lnTo>
                    <a:lnTo>
                      <a:pt x="1880" y="82"/>
                    </a:lnTo>
                    <a:lnTo>
                      <a:pt x="1876" y="80"/>
                    </a:lnTo>
                    <a:lnTo>
                      <a:pt x="1876" y="80"/>
                    </a:lnTo>
                    <a:lnTo>
                      <a:pt x="1876" y="80"/>
                    </a:lnTo>
                    <a:lnTo>
                      <a:pt x="1874" y="80"/>
                    </a:lnTo>
                    <a:lnTo>
                      <a:pt x="1874" y="80"/>
                    </a:lnTo>
                    <a:lnTo>
                      <a:pt x="1874" y="78"/>
                    </a:lnTo>
                    <a:lnTo>
                      <a:pt x="1872" y="78"/>
                    </a:lnTo>
                    <a:lnTo>
                      <a:pt x="1868" y="78"/>
                    </a:lnTo>
                    <a:lnTo>
                      <a:pt x="1862" y="78"/>
                    </a:lnTo>
                    <a:lnTo>
                      <a:pt x="1862" y="78"/>
                    </a:lnTo>
                    <a:lnTo>
                      <a:pt x="1860" y="76"/>
                    </a:lnTo>
                    <a:lnTo>
                      <a:pt x="1858" y="76"/>
                    </a:lnTo>
                    <a:lnTo>
                      <a:pt x="1856" y="74"/>
                    </a:lnTo>
                    <a:lnTo>
                      <a:pt x="1854" y="70"/>
                    </a:lnTo>
                    <a:lnTo>
                      <a:pt x="1854" y="70"/>
                    </a:lnTo>
                    <a:lnTo>
                      <a:pt x="1854" y="70"/>
                    </a:lnTo>
                    <a:lnTo>
                      <a:pt x="1852" y="68"/>
                    </a:lnTo>
                    <a:lnTo>
                      <a:pt x="1852" y="68"/>
                    </a:lnTo>
                    <a:lnTo>
                      <a:pt x="1852" y="68"/>
                    </a:lnTo>
                    <a:lnTo>
                      <a:pt x="1850" y="68"/>
                    </a:lnTo>
                    <a:lnTo>
                      <a:pt x="1848" y="66"/>
                    </a:lnTo>
                    <a:lnTo>
                      <a:pt x="1842" y="64"/>
                    </a:lnTo>
                    <a:lnTo>
                      <a:pt x="1842" y="64"/>
                    </a:lnTo>
                    <a:lnTo>
                      <a:pt x="1842" y="64"/>
                    </a:lnTo>
                    <a:lnTo>
                      <a:pt x="1838" y="64"/>
                    </a:lnTo>
                    <a:lnTo>
                      <a:pt x="1838" y="64"/>
                    </a:lnTo>
                    <a:lnTo>
                      <a:pt x="1838" y="64"/>
                    </a:lnTo>
                    <a:lnTo>
                      <a:pt x="1836" y="64"/>
                    </a:lnTo>
                    <a:lnTo>
                      <a:pt x="1836" y="64"/>
                    </a:lnTo>
                    <a:lnTo>
                      <a:pt x="1834" y="64"/>
                    </a:lnTo>
                    <a:lnTo>
                      <a:pt x="1834" y="64"/>
                    </a:lnTo>
                    <a:lnTo>
                      <a:pt x="1834" y="64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0" y="68"/>
                    </a:lnTo>
                    <a:lnTo>
                      <a:pt x="1830" y="68"/>
                    </a:lnTo>
                    <a:lnTo>
                      <a:pt x="1830" y="68"/>
                    </a:lnTo>
                    <a:lnTo>
                      <a:pt x="1830" y="72"/>
                    </a:lnTo>
                    <a:lnTo>
                      <a:pt x="1830" y="72"/>
                    </a:lnTo>
                    <a:lnTo>
                      <a:pt x="1830" y="72"/>
                    </a:lnTo>
                    <a:lnTo>
                      <a:pt x="1828" y="76"/>
                    </a:lnTo>
                    <a:lnTo>
                      <a:pt x="1828" y="80"/>
                    </a:lnTo>
                    <a:lnTo>
                      <a:pt x="1828" y="82"/>
                    </a:lnTo>
                    <a:lnTo>
                      <a:pt x="1830" y="84"/>
                    </a:lnTo>
                    <a:lnTo>
                      <a:pt x="1830" y="88"/>
                    </a:lnTo>
                    <a:lnTo>
                      <a:pt x="1830" y="86"/>
                    </a:lnTo>
                    <a:lnTo>
                      <a:pt x="1826" y="82"/>
                    </a:lnTo>
                    <a:lnTo>
                      <a:pt x="1824" y="78"/>
                    </a:lnTo>
                    <a:lnTo>
                      <a:pt x="1820" y="74"/>
                    </a:lnTo>
                    <a:lnTo>
                      <a:pt x="1818" y="72"/>
                    </a:lnTo>
                    <a:lnTo>
                      <a:pt x="1814" y="66"/>
                    </a:lnTo>
                    <a:lnTo>
                      <a:pt x="1810" y="62"/>
                    </a:lnTo>
                    <a:lnTo>
                      <a:pt x="1808" y="60"/>
                    </a:lnTo>
                    <a:lnTo>
                      <a:pt x="1806" y="58"/>
                    </a:lnTo>
                    <a:lnTo>
                      <a:pt x="1804" y="58"/>
                    </a:lnTo>
                    <a:lnTo>
                      <a:pt x="1804" y="58"/>
                    </a:lnTo>
                    <a:lnTo>
                      <a:pt x="1804" y="58"/>
                    </a:lnTo>
                    <a:lnTo>
                      <a:pt x="1802" y="56"/>
                    </a:lnTo>
                    <a:lnTo>
                      <a:pt x="1802" y="56"/>
                    </a:lnTo>
                    <a:lnTo>
                      <a:pt x="1800" y="56"/>
                    </a:lnTo>
                    <a:lnTo>
                      <a:pt x="1800" y="58"/>
                    </a:lnTo>
                    <a:lnTo>
                      <a:pt x="1800" y="58"/>
                    </a:lnTo>
                    <a:lnTo>
                      <a:pt x="1798" y="58"/>
                    </a:lnTo>
                    <a:lnTo>
                      <a:pt x="1796" y="58"/>
                    </a:lnTo>
                    <a:lnTo>
                      <a:pt x="1796" y="58"/>
                    </a:lnTo>
                    <a:lnTo>
                      <a:pt x="1796" y="60"/>
                    </a:lnTo>
                    <a:lnTo>
                      <a:pt x="1796" y="60"/>
                    </a:lnTo>
                    <a:lnTo>
                      <a:pt x="1794" y="62"/>
                    </a:lnTo>
                    <a:lnTo>
                      <a:pt x="1792" y="66"/>
                    </a:lnTo>
                    <a:lnTo>
                      <a:pt x="1792" y="68"/>
                    </a:lnTo>
                    <a:lnTo>
                      <a:pt x="1792" y="68"/>
                    </a:lnTo>
                    <a:lnTo>
                      <a:pt x="1788" y="70"/>
                    </a:lnTo>
                    <a:lnTo>
                      <a:pt x="1786" y="72"/>
                    </a:lnTo>
                    <a:lnTo>
                      <a:pt x="1784" y="74"/>
                    </a:lnTo>
                    <a:lnTo>
                      <a:pt x="1784" y="74"/>
                    </a:lnTo>
                    <a:lnTo>
                      <a:pt x="1784" y="74"/>
                    </a:lnTo>
                    <a:lnTo>
                      <a:pt x="1782" y="76"/>
                    </a:lnTo>
                    <a:lnTo>
                      <a:pt x="1782" y="76"/>
                    </a:lnTo>
                    <a:lnTo>
                      <a:pt x="1780" y="76"/>
                    </a:lnTo>
                    <a:lnTo>
                      <a:pt x="1778" y="78"/>
                    </a:lnTo>
                    <a:lnTo>
                      <a:pt x="1778" y="78"/>
                    </a:lnTo>
                    <a:lnTo>
                      <a:pt x="1778" y="78"/>
                    </a:lnTo>
                    <a:lnTo>
                      <a:pt x="1778" y="80"/>
                    </a:lnTo>
                    <a:lnTo>
                      <a:pt x="1778" y="80"/>
                    </a:lnTo>
                    <a:lnTo>
                      <a:pt x="1778" y="80"/>
                    </a:lnTo>
                    <a:lnTo>
                      <a:pt x="1776" y="80"/>
                    </a:lnTo>
                    <a:lnTo>
                      <a:pt x="1776" y="80"/>
                    </a:lnTo>
                    <a:lnTo>
                      <a:pt x="1776" y="82"/>
                    </a:lnTo>
                    <a:lnTo>
                      <a:pt x="1776" y="84"/>
                    </a:lnTo>
                    <a:lnTo>
                      <a:pt x="1776" y="84"/>
                    </a:lnTo>
                    <a:lnTo>
                      <a:pt x="1776" y="84"/>
                    </a:lnTo>
                    <a:lnTo>
                      <a:pt x="1774" y="86"/>
                    </a:lnTo>
                    <a:lnTo>
                      <a:pt x="1774" y="90"/>
                    </a:lnTo>
                    <a:lnTo>
                      <a:pt x="1774" y="94"/>
                    </a:lnTo>
                    <a:lnTo>
                      <a:pt x="1774" y="98"/>
                    </a:lnTo>
                    <a:lnTo>
                      <a:pt x="1774" y="102"/>
                    </a:lnTo>
                    <a:lnTo>
                      <a:pt x="1774" y="106"/>
                    </a:lnTo>
                    <a:close/>
                    <a:moveTo>
                      <a:pt x="1912" y="124"/>
                    </a:moveTo>
                    <a:lnTo>
                      <a:pt x="1912" y="126"/>
                    </a:lnTo>
                    <a:lnTo>
                      <a:pt x="1912" y="126"/>
                    </a:lnTo>
                    <a:lnTo>
                      <a:pt x="1912" y="126"/>
                    </a:lnTo>
                    <a:lnTo>
                      <a:pt x="1914" y="128"/>
                    </a:lnTo>
                    <a:lnTo>
                      <a:pt x="1916" y="130"/>
                    </a:lnTo>
                    <a:lnTo>
                      <a:pt x="1918" y="132"/>
                    </a:lnTo>
                    <a:lnTo>
                      <a:pt x="1922" y="134"/>
                    </a:lnTo>
                    <a:lnTo>
                      <a:pt x="1924" y="136"/>
                    </a:lnTo>
                    <a:lnTo>
                      <a:pt x="1932" y="140"/>
                    </a:lnTo>
                    <a:lnTo>
                      <a:pt x="1934" y="142"/>
                    </a:lnTo>
                    <a:lnTo>
                      <a:pt x="1936" y="144"/>
                    </a:lnTo>
                    <a:lnTo>
                      <a:pt x="1938" y="144"/>
                    </a:lnTo>
                    <a:lnTo>
                      <a:pt x="1938" y="144"/>
                    </a:lnTo>
                    <a:lnTo>
                      <a:pt x="1938" y="144"/>
                    </a:lnTo>
                    <a:lnTo>
                      <a:pt x="1940" y="146"/>
                    </a:lnTo>
                    <a:lnTo>
                      <a:pt x="1940" y="146"/>
                    </a:lnTo>
                    <a:lnTo>
                      <a:pt x="1940" y="146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4" y="150"/>
                    </a:lnTo>
                    <a:lnTo>
                      <a:pt x="1944" y="150"/>
                    </a:lnTo>
                    <a:lnTo>
                      <a:pt x="1948" y="150"/>
                    </a:lnTo>
                    <a:lnTo>
                      <a:pt x="1950" y="150"/>
                    </a:lnTo>
                    <a:lnTo>
                      <a:pt x="1956" y="150"/>
                    </a:lnTo>
                    <a:lnTo>
                      <a:pt x="1960" y="150"/>
                    </a:lnTo>
                    <a:lnTo>
                      <a:pt x="1964" y="150"/>
                    </a:lnTo>
                    <a:lnTo>
                      <a:pt x="1966" y="150"/>
                    </a:lnTo>
                    <a:lnTo>
                      <a:pt x="1966" y="150"/>
                    </a:lnTo>
                    <a:lnTo>
                      <a:pt x="1966" y="150"/>
                    </a:lnTo>
                    <a:lnTo>
                      <a:pt x="1968" y="150"/>
                    </a:lnTo>
                    <a:lnTo>
                      <a:pt x="1968" y="150"/>
                    </a:lnTo>
                    <a:lnTo>
                      <a:pt x="1970" y="148"/>
                    </a:lnTo>
                    <a:lnTo>
                      <a:pt x="1972" y="148"/>
                    </a:lnTo>
                    <a:lnTo>
                      <a:pt x="1972" y="148"/>
                    </a:lnTo>
                    <a:lnTo>
                      <a:pt x="1972" y="148"/>
                    </a:lnTo>
                    <a:lnTo>
                      <a:pt x="1972" y="146"/>
                    </a:lnTo>
                    <a:lnTo>
                      <a:pt x="1972" y="146"/>
                    </a:lnTo>
                    <a:lnTo>
                      <a:pt x="1972" y="144"/>
                    </a:lnTo>
                    <a:lnTo>
                      <a:pt x="1974" y="142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6" y="136"/>
                    </a:lnTo>
                    <a:lnTo>
                      <a:pt x="1976" y="136"/>
                    </a:lnTo>
                    <a:lnTo>
                      <a:pt x="1982" y="136"/>
                    </a:lnTo>
                    <a:lnTo>
                      <a:pt x="1984" y="138"/>
                    </a:lnTo>
                    <a:lnTo>
                      <a:pt x="1986" y="138"/>
                    </a:lnTo>
                    <a:lnTo>
                      <a:pt x="1988" y="138"/>
                    </a:lnTo>
                    <a:lnTo>
                      <a:pt x="1988" y="138"/>
                    </a:lnTo>
                    <a:lnTo>
                      <a:pt x="1990" y="136"/>
                    </a:lnTo>
                    <a:lnTo>
                      <a:pt x="1990" y="136"/>
                    </a:lnTo>
                    <a:lnTo>
                      <a:pt x="1990" y="136"/>
                    </a:lnTo>
                    <a:lnTo>
                      <a:pt x="1990" y="132"/>
                    </a:lnTo>
                    <a:lnTo>
                      <a:pt x="1990" y="132"/>
                    </a:lnTo>
                    <a:lnTo>
                      <a:pt x="1990" y="132"/>
                    </a:lnTo>
                    <a:lnTo>
                      <a:pt x="1990" y="130"/>
                    </a:lnTo>
                    <a:lnTo>
                      <a:pt x="1988" y="130"/>
                    </a:lnTo>
                    <a:lnTo>
                      <a:pt x="1986" y="128"/>
                    </a:lnTo>
                    <a:lnTo>
                      <a:pt x="1984" y="126"/>
                    </a:lnTo>
                    <a:lnTo>
                      <a:pt x="1978" y="122"/>
                    </a:lnTo>
                    <a:lnTo>
                      <a:pt x="1974" y="120"/>
                    </a:lnTo>
                    <a:lnTo>
                      <a:pt x="1972" y="118"/>
                    </a:lnTo>
                    <a:lnTo>
                      <a:pt x="1972" y="118"/>
                    </a:lnTo>
                    <a:lnTo>
                      <a:pt x="1972" y="118"/>
                    </a:lnTo>
                    <a:lnTo>
                      <a:pt x="1966" y="118"/>
                    </a:lnTo>
                    <a:lnTo>
                      <a:pt x="1962" y="118"/>
                    </a:lnTo>
                    <a:lnTo>
                      <a:pt x="1956" y="116"/>
                    </a:lnTo>
                    <a:lnTo>
                      <a:pt x="1956" y="116"/>
                    </a:lnTo>
                    <a:lnTo>
                      <a:pt x="1954" y="116"/>
                    </a:lnTo>
                    <a:lnTo>
                      <a:pt x="1954" y="116"/>
                    </a:lnTo>
                    <a:lnTo>
                      <a:pt x="1952" y="114"/>
                    </a:lnTo>
                    <a:lnTo>
                      <a:pt x="1952" y="112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48" y="106"/>
                    </a:lnTo>
                    <a:lnTo>
                      <a:pt x="1948" y="106"/>
                    </a:lnTo>
                    <a:lnTo>
                      <a:pt x="1948" y="106"/>
                    </a:lnTo>
                    <a:lnTo>
                      <a:pt x="1946" y="104"/>
                    </a:lnTo>
                    <a:lnTo>
                      <a:pt x="1944" y="104"/>
                    </a:lnTo>
                    <a:lnTo>
                      <a:pt x="1944" y="104"/>
                    </a:lnTo>
                    <a:lnTo>
                      <a:pt x="1944" y="104"/>
                    </a:lnTo>
                    <a:lnTo>
                      <a:pt x="1940" y="104"/>
                    </a:lnTo>
                    <a:lnTo>
                      <a:pt x="1940" y="104"/>
                    </a:lnTo>
                    <a:lnTo>
                      <a:pt x="1936" y="104"/>
                    </a:lnTo>
                    <a:lnTo>
                      <a:pt x="1932" y="104"/>
                    </a:lnTo>
                    <a:lnTo>
                      <a:pt x="1932" y="104"/>
                    </a:lnTo>
                    <a:lnTo>
                      <a:pt x="1932" y="104"/>
                    </a:lnTo>
                    <a:lnTo>
                      <a:pt x="1932" y="106"/>
                    </a:lnTo>
                    <a:lnTo>
                      <a:pt x="1932" y="106"/>
                    </a:lnTo>
                    <a:lnTo>
                      <a:pt x="1930" y="106"/>
                    </a:lnTo>
                    <a:lnTo>
                      <a:pt x="1930" y="106"/>
                    </a:lnTo>
                    <a:lnTo>
                      <a:pt x="1928" y="108"/>
                    </a:lnTo>
                    <a:lnTo>
                      <a:pt x="1926" y="110"/>
                    </a:lnTo>
                    <a:lnTo>
                      <a:pt x="1926" y="110"/>
                    </a:lnTo>
                    <a:lnTo>
                      <a:pt x="1924" y="108"/>
                    </a:lnTo>
                    <a:lnTo>
                      <a:pt x="1924" y="106"/>
                    </a:lnTo>
                    <a:lnTo>
                      <a:pt x="1922" y="104"/>
                    </a:lnTo>
                    <a:lnTo>
                      <a:pt x="1922" y="104"/>
                    </a:lnTo>
                    <a:lnTo>
                      <a:pt x="1922" y="104"/>
                    </a:lnTo>
                    <a:lnTo>
                      <a:pt x="1922" y="102"/>
                    </a:lnTo>
                    <a:lnTo>
                      <a:pt x="1922" y="102"/>
                    </a:lnTo>
                    <a:lnTo>
                      <a:pt x="1920" y="102"/>
                    </a:lnTo>
                    <a:lnTo>
                      <a:pt x="1920" y="100"/>
                    </a:lnTo>
                    <a:lnTo>
                      <a:pt x="1920" y="100"/>
                    </a:lnTo>
                    <a:lnTo>
                      <a:pt x="1918" y="100"/>
                    </a:lnTo>
                    <a:lnTo>
                      <a:pt x="1916" y="102"/>
                    </a:lnTo>
                    <a:lnTo>
                      <a:pt x="1916" y="102"/>
                    </a:lnTo>
                    <a:lnTo>
                      <a:pt x="1916" y="102"/>
                    </a:lnTo>
                    <a:lnTo>
                      <a:pt x="1914" y="104"/>
                    </a:lnTo>
                    <a:lnTo>
                      <a:pt x="1914" y="104"/>
                    </a:lnTo>
                    <a:lnTo>
                      <a:pt x="1914" y="104"/>
                    </a:lnTo>
                    <a:lnTo>
                      <a:pt x="1914" y="106"/>
                    </a:lnTo>
                    <a:lnTo>
                      <a:pt x="1914" y="108"/>
                    </a:lnTo>
                    <a:lnTo>
                      <a:pt x="1912" y="112"/>
                    </a:lnTo>
                    <a:lnTo>
                      <a:pt x="1912" y="114"/>
                    </a:lnTo>
                    <a:lnTo>
                      <a:pt x="1912" y="116"/>
                    </a:lnTo>
                    <a:lnTo>
                      <a:pt x="1912" y="118"/>
                    </a:lnTo>
                    <a:lnTo>
                      <a:pt x="1912" y="120"/>
                    </a:lnTo>
                    <a:lnTo>
                      <a:pt x="1912" y="120"/>
                    </a:lnTo>
                    <a:lnTo>
                      <a:pt x="1912" y="122"/>
                    </a:lnTo>
                    <a:lnTo>
                      <a:pt x="1912" y="122"/>
                    </a:lnTo>
                    <a:lnTo>
                      <a:pt x="1912" y="124"/>
                    </a:lnTo>
                    <a:lnTo>
                      <a:pt x="1912" y="124"/>
                    </a:lnTo>
                    <a:lnTo>
                      <a:pt x="1912" y="124"/>
                    </a:lnTo>
                    <a:lnTo>
                      <a:pt x="1912" y="124"/>
                    </a:lnTo>
                    <a:close/>
                    <a:moveTo>
                      <a:pt x="1880" y="222"/>
                    </a:moveTo>
                    <a:lnTo>
                      <a:pt x="1878" y="218"/>
                    </a:lnTo>
                    <a:lnTo>
                      <a:pt x="1878" y="216"/>
                    </a:lnTo>
                    <a:lnTo>
                      <a:pt x="1874" y="210"/>
                    </a:lnTo>
                    <a:lnTo>
                      <a:pt x="1872" y="206"/>
                    </a:lnTo>
                    <a:lnTo>
                      <a:pt x="1872" y="204"/>
                    </a:lnTo>
                    <a:lnTo>
                      <a:pt x="1870" y="202"/>
                    </a:lnTo>
                    <a:lnTo>
                      <a:pt x="1870" y="202"/>
                    </a:lnTo>
                    <a:lnTo>
                      <a:pt x="1870" y="202"/>
                    </a:lnTo>
                    <a:lnTo>
                      <a:pt x="1868" y="198"/>
                    </a:lnTo>
                    <a:lnTo>
                      <a:pt x="1866" y="196"/>
                    </a:lnTo>
                    <a:lnTo>
                      <a:pt x="1864" y="194"/>
                    </a:lnTo>
                    <a:lnTo>
                      <a:pt x="1862" y="192"/>
                    </a:lnTo>
                    <a:lnTo>
                      <a:pt x="1860" y="190"/>
                    </a:lnTo>
                    <a:lnTo>
                      <a:pt x="1858" y="190"/>
                    </a:lnTo>
                    <a:lnTo>
                      <a:pt x="1858" y="190"/>
                    </a:lnTo>
                    <a:lnTo>
                      <a:pt x="1856" y="188"/>
                    </a:lnTo>
                    <a:lnTo>
                      <a:pt x="1856" y="188"/>
                    </a:lnTo>
                    <a:lnTo>
                      <a:pt x="1856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2" y="188"/>
                    </a:lnTo>
                    <a:lnTo>
                      <a:pt x="1850" y="188"/>
                    </a:lnTo>
                    <a:lnTo>
                      <a:pt x="1846" y="190"/>
                    </a:lnTo>
                    <a:lnTo>
                      <a:pt x="1846" y="190"/>
                    </a:lnTo>
                    <a:lnTo>
                      <a:pt x="1844" y="190"/>
                    </a:lnTo>
                    <a:lnTo>
                      <a:pt x="1840" y="192"/>
                    </a:lnTo>
                    <a:lnTo>
                      <a:pt x="1840" y="192"/>
                    </a:lnTo>
                    <a:lnTo>
                      <a:pt x="1840" y="192"/>
                    </a:lnTo>
                    <a:lnTo>
                      <a:pt x="1838" y="192"/>
                    </a:lnTo>
                    <a:lnTo>
                      <a:pt x="1838" y="192"/>
                    </a:lnTo>
                    <a:lnTo>
                      <a:pt x="1838" y="194"/>
                    </a:lnTo>
                    <a:lnTo>
                      <a:pt x="1836" y="194"/>
                    </a:lnTo>
                    <a:lnTo>
                      <a:pt x="1836" y="194"/>
                    </a:lnTo>
                    <a:lnTo>
                      <a:pt x="1836" y="196"/>
                    </a:lnTo>
                    <a:lnTo>
                      <a:pt x="1834" y="198"/>
                    </a:lnTo>
                    <a:lnTo>
                      <a:pt x="1834" y="198"/>
                    </a:lnTo>
                    <a:lnTo>
                      <a:pt x="1834" y="198"/>
                    </a:lnTo>
                    <a:lnTo>
                      <a:pt x="1834" y="200"/>
                    </a:lnTo>
                    <a:lnTo>
                      <a:pt x="1834" y="200"/>
                    </a:lnTo>
                    <a:lnTo>
                      <a:pt x="1834" y="200"/>
                    </a:lnTo>
                    <a:lnTo>
                      <a:pt x="1834" y="206"/>
                    </a:lnTo>
                    <a:lnTo>
                      <a:pt x="1834" y="210"/>
                    </a:lnTo>
                    <a:lnTo>
                      <a:pt x="1834" y="212"/>
                    </a:lnTo>
                    <a:lnTo>
                      <a:pt x="1834" y="212"/>
                    </a:lnTo>
                    <a:lnTo>
                      <a:pt x="1832" y="212"/>
                    </a:lnTo>
                    <a:lnTo>
                      <a:pt x="1830" y="212"/>
                    </a:lnTo>
                    <a:lnTo>
                      <a:pt x="1826" y="214"/>
                    </a:lnTo>
                    <a:lnTo>
                      <a:pt x="1824" y="214"/>
                    </a:lnTo>
                    <a:lnTo>
                      <a:pt x="1822" y="214"/>
                    </a:lnTo>
                    <a:lnTo>
                      <a:pt x="1820" y="214"/>
                    </a:lnTo>
                    <a:lnTo>
                      <a:pt x="1820" y="214"/>
                    </a:lnTo>
                    <a:lnTo>
                      <a:pt x="1818" y="216"/>
                    </a:lnTo>
                    <a:lnTo>
                      <a:pt x="1818" y="216"/>
                    </a:lnTo>
                    <a:lnTo>
                      <a:pt x="1818" y="216"/>
                    </a:lnTo>
                    <a:lnTo>
                      <a:pt x="1818" y="218"/>
                    </a:lnTo>
                    <a:lnTo>
                      <a:pt x="1818" y="218"/>
                    </a:lnTo>
                    <a:lnTo>
                      <a:pt x="1820" y="220"/>
                    </a:lnTo>
                    <a:lnTo>
                      <a:pt x="1820" y="220"/>
                    </a:lnTo>
                    <a:lnTo>
                      <a:pt x="1820" y="220"/>
                    </a:lnTo>
                    <a:lnTo>
                      <a:pt x="1822" y="220"/>
                    </a:lnTo>
                    <a:lnTo>
                      <a:pt x="1824" y="220"/>
                    </a:lnTo>
                    <a:lnTo>
                      <a:pt x="1826" y="220"/>
                    </a:lnTo>
                    <a:lnTo>
                      <a:pt x="1828" y="220"/>
                    </a:lnTo>
                    <a:lnTo>
                      <a:pt x="1834" y="222"/>
                    </a:lnTo>
                    <a:lnTo>
                      <a:pt x="1836" y="222"/>
                    </a:lnTo>
                    <a:lnTo>
                      <a:pt x="1838" y="222"/>
                    </a:lnTo>
                    <a:lnTo>
                      <a:pt x="1840" y="224"/>
                    </a:lnTo>
                    <a:lnTo>
                      <a:pt x="1842" y="224"/>
                    </a:lnTo>
                    <a:lnTo>
                      <a:pt x="1844" y="228"/>
                    </a:lnTo>
                    <a:lnTo>
                      <a:pt x="1848" y="230"/>
                    </a:lnTo>
                    <a:lnTo>
                      <a:pt x="1848" y="230"/>
                    </a:lnTo>
                    <a:lnTo>
                      <a:pt x="1848" y="230"/>
                    </a:lnTo>
                    <a:lnTo>
                      <a:pt x="1850" y="232"/>
                    </a:lnTo>
                    <a:lnTo>
                      <a:pt x="1850" y="232"/>
                    </a:lnTo>
                    <a:lnTo>
                      <a:pt x="1852" y="232"/>
                    </a:lnTo>
                    <a:lnTo>
                      <a:pt x="1854" y="232"/>
                    </a:lnTo>
                    <a:lnTo>
                      <a:pt x="1854" y="232"/>
                    </a:lnTo>
                    <a:lnTo>
                      <a:pt x="1854" y="232"/>
                    </a:lnTo>
                    <a:lnTo>
                      <a:pt x="1856" y="234"/>
                    </a:lnTo>
                    <a:lnTo>
                      <a:pt x="1860" y="234"/>
                    </a:lnTo>
                    <a:lnTo>
                      <a:pt x="1868" y="234"/>
                    </a:lnTo>
                    <a:lnTo>
                      <a:pt x="1872" y="232"/>
                    </a:lnTo>
                    <a:lnTo>
                      <a:pt x="1874" y="232"/>
                    </a:lnTo>
                    <a:lnTo>
                      <a:pt x="1874" y="232"/>
                    </a:lnTo>
                    <a:lnTo>
                      <a:pt x="1876" y="232"/>
                    </a:lnTo>
                    <a:lnTo>
                      <a:pt x="1878" y="232"/>
                    </a:lnTo>
                    <a:lnTo>
                      <a:pt x="1878" y="232"/>
                    </a:lnTo>
                    <a:lnTo>
                      <a:pt x="1878" y="230"/>
                    </a:lnTo>
                    <a:lnTo>
                      <a:pt x="1880" y="230"/>
                    </a:lnTo>
                    <a:lnTo>
                      <a:pt x="1880" y="230"/>
                    </a:lnTo>
                    <a:lnTo>
                      <a:pt x="1880" y="228"/>
                    </a:lnTo>
                    <a:lnTo>
                      <a:pt x="1880" y="226"/>
                    </a:lnTo>
                    <a:lnTo>
                      <a:pt x="1880" y="226"/>
                    </a:lnTo>
                    <a:lnTo>
                      <a:pt x="1880" y="224"/>
                    </a:lnTo>
                    <a:lnTo>
                      <a:pt x="1880" y="222"/>
                    </a:lnTo>
                    <a:lnTo>
                      <a:pt x="1880" y="222"/>
                    </a:lnTo>
                    <a:lnTo>
                      <a:pt x="1880" y="222"/>
                    </a:lnTo>
                    <a:lnTo>
                      <a:pt x="1880" y="222"/>
                    </a:lnTo>
                    <a:close/>
                    <a:moveTo>
                      <a:pt x="2236" y="868"/>
                    </a:moveTo>
                    <a:lnTo>
                      <a:pt x="2236" y="868"/>
                    </a:lnTo>
                    <a:lnTo>
                      <a:pt x="2236" y="868"/>
                    </a:lnTo>
                    <a:lnTo>
                      <a:pt x="2234" y="866"/>
                    </a:lnTo>
                    <a:lnTo>
                      <a:pt x="2234" y="866"/>
                    </a:lnTo>
                    <a:lnTo>
                      <a:pt x="2232" y="864"/>
                    </a:lnTo>
                    <a:lnTo>
                      <a:pt x="2228" y="862"/>
                    </a:lnTo>
                    <a:lnTo>
                      <a:pt x="2226" y="860"/>
                    </a:lnTo>
                    <a:lnTo>
                      <a:pt x="2222" y="860"/>
                    </a:lnTo>
                    <a:lnTo>
                      <a:pt x="2218" y="858"/>
                    </a:lnTo>
                    <a:lnTo>
                      <a:pt x="2214" y="856"/>
                    </a:lnTo>
                    <a:lnTo>
                      <a:pt x="2208" y="856"/>
                    </a:lnTo>
                    <a:lnTo>
                      <a:pt x="2208" y="856"/>
                    </a:lnTo>
                    <a:lnTo>
                      <a:pt x="2206" y="856"/>
                    </a:lnTo>
                    <a:lnTo>
                      <a:pt x="2206" y="856"/>
                    </a:lnTo>
                    <a:lnTo>
                      <a:pt x="2204" y="858"/>
                    </a:lnTo>
                    <a:lnTo>
                      <a:pt x="2204" y="862"/>
                    </a:lnTo>
                    <a:lnTo>
                      <a:pt x="2204" y="864"/>
                    </a:lnTo>
                    <a:lnTo>
                      <a:pt x="2204" y="868"/>
                    </a:lnTo>
                    <a:lnTo>
                      <a:pt x="2204" y="870"/>
                    </a:lnTo>
                    <a:lnTo>
                      <a:pt x="2204" y="872"/>
                    </a:lnTo>
                    <a:lnTo>
                      <a:pt x="2204" y="874"/>
                    </a:lnTo>
                    <a:lnTo>
                      <a:pt x="2204" y="874"/>
                    </a:lnTo>
                    <a:lnTo>
                      <a:pt x="2204" y="876"/>
                    </a:lnTo>
                    <a:lnTo>
                      <a:pt x="2206" y="878"/>
                    </a:lnTo>
                    <a:lnTo>
                      <a:pt x="2206" y="878"/>
                    </a:lnTo>
                    <a:lnTo>
                      <a:pt x="2206" y="878"/>
                    </a:lnTo>
                    <a:lnTo>
                      <a:pt x="2206" y="880"/>
                    </a:lnTo>
                    <a:lnTo>
                      <a:pt x="2208" y="880"/>
                    </a:lnTo>
                    <a:lnTo>
                      <a:pt x="2210" y="882"/>
                    </a:lnTo>
                    <a:lnTo>
                      <a:pt x="2212" y="884"/>
                    </a:lnTo>
                    <a:lnTo>
                      <a:pt x="2212" y="888"/>
                    </a:lnTo>
                    <a:lnTo>
                      <a:pt x="2216" y="892"/>
                    </a:lnTo>
                    <a:lnTo>
                      <a:pt x="2216" y="892"/>
                    </a:lnTo>
                    <a:lnTo>
                      <a:pt x="2218" y="892"/>
                    </a:lnTo>
                    <a:lnTo>
                      <a:pt x="2218" y="892"/>
                    </a:lnTo>
                    <a:lnTo>
                      <a:pt x="2220" y="892"/>
                    </a:lnTo>
                    <a:lnTo>
                      <a:pt x="2224" y="888"/>
                    </a:lnTo>
                    <a:lnTo>
                      <a:pt x="2228" y="886"/>
                    </a:lnTo>
                    <a:lnTo>
                      <a:pt x="2232" y="882"/>
                    </a:lnTo>
                    <a:lnTo>
                      <a:pt x="2234" y="880"/>
                    </a:lnTo>
                    <a:lnTo>
                      <a:pt x="2234" y="880"/>
                    </a:lnTo>
                    <a:lnTo>
                      <a:pt x="2236" y="878"/>
                    </a:lnTo>
                    <a:lnTo>
                      <a:pt x="2236" y="878"/>
                    </a:lnTo>
                    <a:lnTo>
                      <a:pt x="2236" y="876"/>
                    </a:lnTo>
                    <a:lnTo>
                      <a:pt x="2236" y="874"/>
                    </a:lnTo>
                    <a:lnTo>
                      <a:pt x="2236" y="874"/>
                    </a:lnTo>
                    <a:lnTo>
                      <a:pt x="2236" y="874"/>
                    </a:lnTo>
                    <a:lnTo>
                      <a:pt x="2236" y="872"/>
                    </a:lnTo>
                    <a:lnTo>
                      <a:pt x="2236" y="872"/>
                    </a:lnTo>
                    <a:lnTo>
                      <a:pt x="2236" y="870"/>
                    </a:lnTo>
                    <a:lnTo>
                      <a:pt x="2236" y="86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0" name="Freeform 171">
                <a:extLst>
                  <a:ext uri="{FF2B5EF4-FFF2-40B4-BE49-F238E27FC236}">
                    <a16:creationId xmlns:a16="http://schemas.microsoft.com/office/drawing/2014/main" id="{6159A974-3B2D-47E5-8059-37C27A4EDB7C}"/>
                  </a:ext>
                </a:extLst>
              </p:cNvPr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gray">
              <a:xfrm>
                <a:off x="4225133" y="2794794"/>
                <a:ext cx="330050" cy="323637"/>
              </a:xfrm>
              <a:custGeom>
                <a:avLst/>
                <a:gdLst/>
                <a:ahLst/>
                <a:cxnLst/>
                <a:rect l="l" t="t" r="r" b="b"/>
                <a:pathLst>
                  <a:path w="330050" h="323637">
                    <a:moveTo>
                      <a:pt x="318742" y="280797"/>
                    </a:moveTo>
                    <a:cubicBezTo>
                      <a:pt x="322512" y="280018"/>
                      <a:pt x="327275" y="280404"/>
                      <a:pt x="328069" y="281954"/>
                    </a:cubicBezTo>
                    <a:cubicBezTo>
                      <a:pt x="331241" y="292853"/>
                      <a:pt x="329653" y="303747"/>
                      <a:pt x="329653" y="314646"/>
                    </a:cubicBezTo>
                    <a:cubicBezTo>
                      <a:pt x="325154" y="323205"/>
                      <a:pt x="310605" y="326083"/>
                      <a:pt x="308223" y="321408"/>
                    </a:cubicBezTo>
                    <a:cubicBezTo>
                      <a:pt x="330450" y="318299"/>
                      <a:pt x="312195" y="305301"/>
                      <a:pt x="315368" y="286629"/>
                    </a:cubicBezTo>
                    <a:cubicBezTo>
                      <a:pt x="312194" y="283520"/>
                      <a:pt x="314972" y="281576"/>
                      <a:pt x="318742" y="280797"/>
                    </a:cubicBezTo>
                    <a:close/>
                    <a:moveTo>
                      <a:pt x="177056" y="323"/>
                    </a:moveTo>
                    <a:cubicBezTo>
                      <a:pt x="181620" y="-260"/>
                      <a:pt x="185986" y="-260"/>
                      <a:pt x="189954" y="2071"/>
                    </a:cubicBezTo>
                    <a:cubicBezTo>
                      <a:pt x="205829" y="12950"/>
                      <a:pt x="232817" y="44031"/>
                      <a:pt x="243929" y="61126"/>
                    </a:cubicBezTo>
                    <a:cubicBezTo>
                      <a:pt x="264567" y="73559"/>
                      <a:pt x="293142" y="61126"/>
                      <a:pt x="296317" y="81329"/>
                    </a:cubicBezTo>
                    <a:cubicBezTo>
                      <a:pt x="302667" y="89100"/>
                      <a:pt x="283617" y="98424"/>
                      <a:pt x="282029" y="104640"/>
                    </a:cubicBezTo>
                    <a:cubicBezTo>
                      <a:pt x="280442" y="110857"/>
                      <a:pt x="291554" y="112411"/>
                      <a:pt x="285204" y="123289"/>
                    </a:cubicBezTo>
                    <a:cubicBezTo>
                      <a:pt x="270917" y="127952"/>
                      <a:pt x="239167" y="143492"/>
                      <a:pt x="253454" y="160587"/>
                    </a:cubicBezTo>
                    <a:cubicBezTo>
                      <a:pt x="283617" y="177682"/>
                      <a:pt x="275679" y="168358"/>
                      <a:pt x="277267" y="219642"/>
                    </a:cubicBezTo>
                    <a:cubicBezTo>
                      <a:pt x="302667" y="267819"/>
                      <a:pt x="261392" y="256940"/>
                      <a:pt x="215354" y="258494"/>
                    </a:cubicBezTo>
                    <a:cubicBezTo>
                      <a:pt x="199479" y="256940"/>
                      <a:pt x="193129" y="252278"/>
                      <a:pt x="189954" y="267819"/>
                    </a:cubicBezTo>
                    <a:cubicBezTo>
                      <a:pt x="186779" y="275589"/>
                      <a:pt x="182017" y="281806"/>
                      <a:pt x="177254" y="289576"/>
                    </a:cubicBezTo>
                    <a:cubicBezTo>
                      <a:pt x="172492" y="292684"/>
                      <a:pt x="162967" y="289576"/>
                      <a:pt x="158204" y="286468"/>
                    </a:cubicBezTo>
                    <a:cubicBezTo>
                      <a:pt x="153442" y="283360"/>
                      <a:pt x="156617" y="275589"/>
                      <a:pt x="143917" y="272481"/>
                    </a:cubicBezTo>
                    <a:cubicBezTo>
                      <a:pt x="112167" y="270927"/>
                      <a:pt x="105817" y="274035"/>
                      <a:pt x="85179" y="258494"/>
                    </a:cubicBezTo>
                    <a:cubicBezTo>
                      <a:pt x="66129" y="255386"/>
                      <a:pt x="77242" y="230521"/>
                      <a:pt x="77242" y="214980"/>
                    </a:cubicBezTo>
                    <a:cubicBezTo>
                      <a:pt x="86767" y="210318"/>
                      <a:pt x="89942" y="208764"/>
                      <a:pt x="91529" y="197885"/>
                    </a:cubicBezTo>
                    <a:cubicBezTo>
                      <a:pt x="85179" y="188561"/>
                      <a:pt x="77242" y="183898"/>
                      <a:pt x="72479" y="173020"/>
                    </a:cubicBezTo>
                    <a:cubicBezTo>
                      <a:pt x="64542" y="155925"/>
                      <a:pt x="72479" y="138830"/>
                      <a:pt x="56604" y="127952"/>
                    </a:cubicBezTo>
                    <a:cubicBezTo>
                      <a:pt x="45492" y="126397"/>
                      <a:pt x="32792" y="123289"/>
                      <a:pt x="23267" y="117073"/>
                    </a:cubicBezTo>
                    <a:cubicBezTo>
                      <a:pt x="1042" y="112411"/>
                      <a:pt x="-2133" y="107748"/>
                      <a:pt x="1042" y="84437"/>
                    </a:cubicBezTo>
                    <a:cubicBezTo>
                      <a:pt x="31204" y="79775"/>
                      <a:pt x="28029" y="76667"/>
                      <a:pt x="48667" y="90654"/>
                    </a:cubicBezTo>
                    <a:cubicBezTo>
                      <a:pt x="61367" y="87545"/>
                      <a:pt x="70892" y="87545"/>
                      <a:pt x="75654" y="75113"/>
                    </a:cubicBezTo>
                    <a:cubicBezTo>
                      <a:pt x="70892" y="67342"/>
                      <a:pt x="66129" y="62680"/>
                      <a:pt x="56604" y="58018"/>
                    </a:cubicBezTo>
                    <a:cubicBezTo>
                      <a:pt x="45492" y="56464"/>
                      <a:pt x="43507" y="54133"/>
                      <a:pt x="45492" y="51413"/>
                    </a:cubicBezTo>
                    <a:lnTo>
                      <a:pt x="58192" y="42477"/>
                    </a:lnTo>
                    <a:cubicBezTo>
                      <a:pt x="69304" y="48693"/>
                      <a:pt x="75654" y="56464"/>
                      <a:pt x="85179" y="62680"/>
                    </a:cubicBezTo>
                    <a:cubicBezTo>
                      <a:pt x="148679" y="67342"/>
                      <a:pt x="110579" y="72005"/>
                      <a:pt x="129629" y="47139"/>
                    </a:cubicBezTo>
                    <a:cubicBezTo>
                      <a:pt x="155029" y="33153"/>
                      <a:pt x="132804" y="8287"/>
                      <a:pt x="162967" y="2071"/>
                    </a:cubicBezTo>
                    <a:cubicBezTo>
                      <a:pt x="167729" y="2071"/>
                      <a:pt x="172492" y="906"/>
                      <a:pt x="177056" y="32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1" name="Freeform 172">
                <a:extLst>
                  <a:ext uri="{FF2B5EF4-FFF2-40B4-BE49-F238E27FC236}">
                    <a16:creationId xmlns:a16="http://schemas.microsoft.com/office/drawing/2014/main" id="{1267CFA1-0434-4DDD-91C5-3D7959559817}"/>
                  </a:ext>
                </a:extLst>
              </p:cNvPr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gray">
              <a:xfrm>
                <a:off x="4501784" y="2948030"/>
                <a:ext cx="278077" cy="311019"/>
              </a:xfrm>
              <a:custGeom>
                <a:avLst/>
                <a:gdLst/>
                <a:ahLst/>
                <a:cxnLst/>
                <a:rect l="l" t="t" r="r" b="b"/>
                <a:pathLst>
                  <a:path w="278077" h="311019">
                    <a:moveTo>
                      <a:pt x="42763" y="185722"/>
                    </a:moveTo>
                    <a:cubicBezTo>
                      <a:pt x="50272" y="185101"/>
                      <a:pt x="58295" y="185679"/>
                      <a:pt x="61734" y="188662"/>
                    </a:cubicBezTo>
                    <a:cubicBezTo>
                      <a:pt x="68612" y="194629"/>
                      <a:pt x="66025" y="217687"/>
                      <a:pt x="68150" y="225777"/>
                    </a:cubicBezTo>
                    <a:cubicBezTo>
                      <a:pt x="61802" y="233553"/>
                      <a:pt x="58626" y="239786"/>
                      <a:pt x="55450" y="249118"/>
                    </a:cubicBezTo>
                    <a:cubicBezTo>
                      <a:pt x="48441" y="248550"/>
                      <a:pt x="30843" y="232229"/>
                      <a:pt x="26081" y="222364"/>
                    </a:cubicBezTo>
                    <a:cubicBezTo>
                      <a:pt x="21323" y="212524"/>
                      <a:pt x="21980" y="198485"/>
                      <a:pt x="26874" y="189981"/>
                    </a:cubicBezTo>
                    <a:cubicBezTo>
                      <a:pt x="28258" y="188165"/>
                      <a:pt x="35254" y="186344"/>
                      <a:pt x="42763" y="185722"/>
                    </a:cubicBezTo>
                    <a:close/>
                    <a:moveTo>
                      <a:pt x="34737" y="93844"/>
                    </a:moveTo>
                    <a:lnTo>
                      <a:pt x="12511" y="103195"/>
                    </a:lnTo>
                    <a:lnTo>
                      <a:pt x="22869" y="96731"/>
                    </a:lnTo>
                    <a:cubicBezTo>
                      <a:pt x="27546" y="96686"/>
                      <a:pt x="32592" y="93844"/>
                      <a:pt x="34737" y="93844"/>
                    </a:cubicBezTo>
                    <a:close/>
                    <a:moveTo>
                      <a:pt x="104795" y="94"/>
                    </a:moveTo>
                    <a:cubicBezTo>
                      <a:pt x="113330" y="-297"/>
                      <a:pt x="121268" y="477"/>
                      <a:pt x="126817" y="3589"/>
                    </a:cubicBezTo>
                    <a:cubicBezTo>
                      <a:pt x="145868" y="6716"/>
                      <a:pt x="149043" y="26934"/>
                      <a:pt x="141120" y="42509"/>
                    </a:cubicBezTo>
                    <a:cubicBezTo>
                      <a:pt x="118893" y="50280"/>
                      <a:pt x="125244" y="51828"/>
                      <a:pt x="122069" y="79850"/>
                    </a:cubicBezTo>
                    <a:lnTo>
                      <a:pt x="141120" y="107871"/>
                    </a:lnTo>
                    <a:cubicBezTo>
                      <a:pt x="153820" y="115642"/>
                      <a:pt x="161744" y="128089"/>
                      <a:pt x="168094" y="140536"/>
                    </a:cubicBezTo>
                    <a:cubicBezTo>
                      <a:pt x="176046" y="145212"/>
                      <a:pt x="179222" y="151435"/>
                      <a:pt x="183970" y="159207"/>
                    </a:cubicBezTo>
                    <a:cubicBezTo>
                      <a:pt x="183970" y="159207"/>
                      <a:pt x="203021" y="160755"/>
                      <a:pt x="212547" y="163882"/>
                    </a:cubicBezTo>
                    <a:cubicBezTo>
                      <a:pt x="217324" y="165430"/>
                      <a:pt x="217324" y="173233"/>
                      <a:pt x="222072" y="176329"/>
                    </a:cubicBezTo>
                    <a:cubicBezTo>
                      <a:pt x="234773" y="179457"/>
                      <a:pt x="249075" y="188776"/>
                      <a:pt x="255426" y="199675"/>
                    </a:cubicBezTo>
                    <a:cubicBezTo>
                      <a:pt x="255426" y="199675"/>
                      <a:pt x="274477" y="207446"/>
                      <a:pt x="277652" y="215249"/>
                    </a:cubicBezTo>
                    <a:cubicBezTo>
                      <a:pt x="279225" y="218345"/>
                      <a:pt x="276050" y="219893"/>
                      <a:pt x="274477" y="223021"/>
                    </a:cubicBezTo>
                    <a:cubicBezTo>
                      <a:pt x="256999" y="226117"/>
                      <a:pt x="255426" y="227696"/>
                      <a:pt x="250649" y="209026"/>
                    </a:cubicBezTo>
                    <a:cubicBezTo>
                      <a:pt x="241123" y="204350"/>
                      <a:pt x="236375" y="207446"/>
                      <a:pt x="234773" y="218345"/>
                    </a:cubicBezTo>
                    <a:cubicBezTo>
                      <a:pt x="230024" y="229244"/>
                      <a:pt x="237948" y="230792"/>
                      <a:pt x="244298" y="238564"/>
                    </a:cubicBezTo>
                    <a:cubicBezTo>
                      <a:pt x="239550" y="246367"/>
                      <a:pt x="234773" y="252590"/>
                      <a:pt x="230024" y="260362"/>
                    </a:cubicBezTo>
                    <a:cubicBezTo>
                      <a:pt x="206196" y="274356"/>
                      <a:pt x="214148" y="286835"/>
                      <a:pt x="203021" y="308601"/>
                    </a:cubicBezTo>
                    <a:cubicBezTo>
                      <a:pt x="183970" y="311729"/>
                      <a:pt x="182397" y="313277"/>
                      <a:pt x="168094" y="303926"/>
                    </a:cubicBezTo>
                    <a:cubicBezTo>
                      <a:pt x="158569" y="302378"/>
                      <a:pt x="152219" y="299282"/>
                      <a:pt x="144295" y="294606"/>
                    </a:cubicBezTo>
                    <a:cubicBezTo>
                      <a:pt x="129992" y="291479"/>
                      <a:pt x="129992" y="291479"/>
                      <a:pt x="126817" y="275936"/>
                    </a:cubicBezTo>
                    <a:cubicBezTo>
                      <a:pt x="180795" y="271260"/>
                      <a:pt x="209372" y="289931"/>
                      <a:pt x="212547" y="237016"/>
                    </a:cubicBezTo>
                    <a:cubicBezTo>
                      <a:pt x="210973" y="227696"/>
                      <a:pt x="206196" y="223021"/>
                      <a:pt x="201448" y="215249"/>
                    </a:cubicBezTo>
                    <a:cubicBezTo>
                      <a:pt x="190321" y="213670"/>
                      <a:pt x="193496" y="209026"/>
                      <a:pt x="187145" y="199675"/>
                    </a:cubicBezTo>
                    <a:cubicBezTo>
                      <a:pt x="176046" y="193451"/>
                      <a:pt x="174445" y="182552"/>
                      <a:pt x="163346" y="177877"/>
                    </a:cubicBezTo>
                    <a:cubicBezTo>
                      <a:pt x="147470" y="174781"/>
                      <a:pt x="123642" y="159207"/>
                      <a:pt x="117292" y="145212"/>
                    </a:cubicBezTo>
                    <a:cubicBezTo>
                      <a:pt x="107766" y="137409"/>
                      <a:pt x="106193" y="128089"/>
                      <a:pt x="96667" y="121866"/>
                    </a:cubicBezTo>
                    <a:cubicBezTo>
                      <a:pt x="82365" y="118738"/>
                      <a:pt x="83967" y="112515"/>
                      <a:pt x="82365" y="98520"/>
                    </a:cubicBezTo>
                    <a:cubicBezTo>
                      <a:pt x="76015" y="84525"/>
                      <a:pt x="56964" y="89169"/>
                      <a:pt x="44263" y="87621"/>
                    </a:cubicBezTo>
                    <a:cubicBezTo>
                      <a:pt x="35798" y="88653"/>
                      <a:pt x="29454" y="92463"/>
                      <a:pt x="22869" y="96731"/>
                    </a:cubicBezTo>
                    <a:lnTo>
                      <a:pt x="17288" y="96972"/>
                    </a:lnTo>
                    <a:cubicBezTo>
                      <a:pt x="12511" y="93844"/>
                      <a:pt x="4587" y="82946"/>
                      <a:pt x="1412" y="75174"/>
                    </a:cubicBezTo>
                    <a:cubicBezTo>
                      <a:pt x="-1763" y="67403"/>
                      <a:pt x="1412" y="58052"/>
                      <a:pt x="1412" y="50280"/>
                    </a:cubicBezTo>
                    <a:cubicBezTo>
                      <a:pt x="2986" y="42509"/>
                      <a:pt x="6161" y="36285"/>
                      <a:pt x="7763" y="28482"/>
                    </a:cubicBezTo>
                    <a:cubicBezTo>
                      <a:pt x="17288" y="26934"/>
                      <a:pt x="26814" y="28482"/>
                      <a:pt x="34737" y="22259"/>
                    </a:cubicBezTo>
                    <a:cubicBezTo>
                      <a:pt x="45865" y="17583"/>
                      <a:pt x="63314" y="6716"/>
                      <a:pt x="79190" y="3589"/>
                    </a:cubicBezTo>
                    <a:cubicBezTo>
                      <a:pt x="87128" y="2041"/>
                      <a:pt x="96260" y="485"/>
                      <a:pt x="104795" y="9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2" name="Freeform 56">
                <a:extLst>
                  <a:ext uri="{FF2B5EF4-FFF2-40B4-BE49-F238E27FC236}">
                    <a16:creationId xmlns:a16="http://schemas.microsoft.com/office/drawing/2014/main" id="{3596706E-8FCC-4B36-ACC7-443BD113C8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2575" y="4060826"/>
                <a:ext cx="1114425" cy="400050"/>
              </a:xfrm>
              <a:custGeom>
                <a:avLst/>
                <a:gdLst>
                  <a:gd name="T0" fmla="*/ 628 w 702"/>
                  <a:gd name="T1" fmla="*/ 114 h 252"/>
                  <a:gd name="T2" fmla="*/ 576 w 702"/>
                  <a:gd name="T3" fmla="*/ 84 h 252"/>
                  <a:gd name="T4" fmla="*/ 542 w 702"/>
                  <a:gd name="T5" fmla="*/ 106 h 252"/>
                  <a:gd name="T6" fmla="*/ 564 w 702"/>
                  <a:gd name="T7" fmla="*/ 122 h 252"/>
                  <a:gd name="T8" fmla="*/ 574 w 702"/>
                  <a:gd name="T9" fmla="*/ 146 h 252"/>
                  <a:gd name="T10" fmla="*/ 646 w 702"/>
                  <a:gd name="T11" fmla="*/ 212 h 252"/>
                  <a:gd name="T12" fmla="*/ 702 w 702"/>
                  <a:gd name="T13" fmla="*/ 218 h 252"/>
                  <a:gd name="T14" fmla="*/ 32 w 702"/>
                  <a:gd name="T15" fmla="*/ 56 h 252"/>
                  <a:gd name="T16" fmla="*/ 50 w 702"/>
                  <a:gd name="T17" fmla="*/ 80 h 252"/>
                  <a:gd name="T18" fmla="*/ 50 w 702"/>
                  <a:gd name="T19" fmla="*/ 100 h 252"/>
                  <a:gd name="T20" fmla="*/ 74 w 702"/>
                  <a:gd name="T21" fmla="*/ 96 h 252"/>
                  <a:gd name="T22" fmla="*/ 530 w 702"/>
                  <a:gd name="T23" fmla="*/ 222 h 252"/>
                  <a:gd name="T24" fmla="*/ 556 w 702"/>
                  <a:gd name="T25" fmla="*/ 200 h 252"/>
                  <a:gd name="T26" fmla="*/ 274 w 702"/>
                  <a:gd name="T27" fmla="*/ 198 h 252"/>
                  <a:gd name="T28" fmla="*/ 232 w 702"/>
                  <a:gd name="T29" fmla="*/ 182 h 252"/>
                  <a:gd name="T30" fmla="*/ 170 w 702"/>
                  <a:gd name="T31" fmla="*/ 168 h 252"/>
                  <a:gd name="T32" fmla="*/ 196 w 702"/>
                  <a:gd name="T33" fmla="*/ 204 h 252"/>
                  <a:gd name="T34" fmla="*/ 296 w 702"/>
                  <a:gd name="T35" fmla="*/ 208 h 252"/>
                  <a:gd name="T36" fmla="*/ 612 w 702"/>
                  <a:gd name="T37" fmla="*/ 172 h 252"/>
                  <a:gd name="T38" fmla="*/ 206 w 702"/>
                  <a:gd name="T39" fmla="*/ 144 h 252"/>
                  <a:gd name="T40" fmla="*/ 188 w 702"/>
                  <a:gd name="T41" fmla="*/ 122 h 252"/>
                  <a:gd name="T42" fmla="*/ 382 w 702"/>
                  <a:gd name="T43" fmla="*/ 228 h 252"/>
                  <a:gd name="T44" fmla="*/ 388 w 702"/>
                  <a:gd name="T45" fmla="*/ 252 h 252"/>
                  <a:gd name="T46" fmla="*/ 458 w 702"/>
                  <a:gd name="T47" fmla="*/ 208 h 252"/>
                  <a:gd name="T48" fmla="*/ 450 w 702"/>
                  <a:gd name="T49" fmla="*/ 244 h 252"/>
                  <a:gd name="T50" fmla="*/ 224 w 702"/>
                  <a:gd name="T51" fmla="*/ 106 h 252"/>
                  <a:gd name="T52" fmla="*/ 254 w 702"/>
                  <a:gd name="T53" fmla="*/ 138 h 252"/>
                  <a:gd name="T54" fmla="*/ 326 w 702"/>
                  <a:gd name="T55" fmla="*/ 136 h 252"/>
                  <a:gd name="T56" fmla="*/ 352 w 702"/>
                  <a:gd name="T57" fmla="*/ 80 h 252"/>
                  <a:gd name="T58" fmla="*/ 352 w 702"/>
                  <a:gd name="T59" fmla="*/ 54 h 252"/>
                  <a:gd name="T60" fmla="*/ 350 w 702"/>
                  <a:gd name="T61" fmla="*/ 20 h 252"/>
                  <a:gd name="T62" fmla="*/ 262 w 702"/>
                  <a:gd name="T63" fmla="*/ 56 h 252"/>
                  <a:gd name="T64" fmla="*/ 204 w 702"/>
                  <a:gd name="T65" fmla="*/ 66 h 252"/>
                  <a:gd name="T66" fmla="*/ 172 w 702"/>
                  <a:gd name="T67" fmla="*/ 134 h 252"/>
                  <a:gd name="T68" fmla="*/ 182 w 702"/>
                  <a:gd name="T69" fmla="*/ 124 h 252"/>
                  <a:gd name="T70" fmla="*/ 152 w 702"/>
                  <a:gd name="T71" fmla="*/ 114 h 252"/>
                  <a:gd name="T72" fmla="*/ 124 w 702"/>
                  <a:gd name="T73" fmla="*/ 76 h 252"/>
                  <a:gd name="T74" fmla="*/ 34 w 702"/>
                  <a:gd name="T75" fmla="*/ 8 h 252"/>
                  <a:gd name="T76" fmla="*/ 2 w 702"/>
                  <a:gd name="T77" fmla="*/ 14 h 252"/>
                  <a:gd name="T78" fmla="*/ 60 w 702"/>
                  <a:gd name="T79" fmla="*/ 80 h 252"/>
                  <a:gd name="T80" fmla="*/ 158 w 702"/>
                  <a:gd name="T81" fmla="*/ 174 h 252"/>
                  <a:gd name="T82" fmla="*/ 324 w 702"/>
                  <a:gd name="T83" fmla="*/ 208 h 252"/>
                  <a:gd name="T84" fmla="*/ 334 w 702"/>
                  <a:gd name="T85" fmla="*/ 232 h 252"/>
                  <a:gd name="T86" fmla="*/ 442 w 702"/>
                  <a:gd name="T87" fmla="*/ 210 h 252"/>
                  <a:gd name="T88" fmla="*/ 368 w 702"/>
                  <a:gd name="T89" fmla="*/ 138 h 252"/>
                  <a:gd name="T90" fmla="*/ 382 w 702"/>
                  <a:gd name="T91" fmla="*/ 164 h 252"/>
                  <a:gd name="T92" fmla="*/ 388 w 702"/>
                  <a:gd name="T93" fmla="*/ 138 h 252"/>
                  <a:gd name="T94" fmla="*/ 416 w 702"/>
                  <a:gd name="T95" fmla="*/ 172 h 252"/>
                  <a:gd name="T96" fmla="*/ 430 w 702"/>
                  <a:gd name="T97" fmla="*/ 154 h 252"/>
                  <a:gd name="T98" fmla="*/ 404 w 702"/>
                  <a:gd name="T99" fmla="*/ 116 h 252"/>
                  <a:gd name="T100" fmla="*/ 426 w 702"/>
                  <a:gd name="T101" fmla="*/ 96 h 252"/>
                  <a:gd name="T102" fmla="*/ 390 w 702"/>
                  <a:gd name="T103" fmla="*/ 82 h 252"/>
                  <a:gd name="T104" fmla="*/ 454 w 702"/>
                  <a:gd name="T105" fmla="*/ 56 h 252"/>
                  <a:gd name="T106" fmla="*/ 386 w 702"/>
                  <a:gd name="T107" fmla="*/ 76 h 252"/>
                  <a:gd name="T108" fmla="*/ 494 w 702"/>
                  <a:gd name="T109" fmla="*/ 90 h 252"/>
                  <a:gd name="T110" fmla="*/ 508 w 702"/>
                  <a:gd name="T111" fmla="*/ 98 h 252"/>
                  <a:gd name="T112" fmla="*/ 508 w 702"/>
                  <a:gd name="T113" fmla="*/ 58 h 252"/>
                  <a:gd name="T114" fmla="*/ 496 w 702"/>
                  <a:gd name="T115" fmla="*/ 48 h 252"/>
                  <a:gd name="T116" fmla="*/ 494 w 702"/>
                  <a:gd name="T117" fmla="*/ 90 h 252"/>
                  <a:gd name="T118" fmla="*/ 488 w 702"/>
                  <a:gd name="T119" fmla="*/ 156 h 252"/>
                  <a:gd name="T120" fmla="*/ 544 w 702"/>
                  <a:gd name="T121" fmla="*/ 146 h 252"/>
                  <a:gd name="T122" fmla="*/ 528 w 702"/>
                  <a:gd name="T123" fmla="*/ 122 h 252"/>
                  <a:gd name="T124" fmla="*/ 544 w 702"/>
                  <a:gd name="T125" fmla="*/ 146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" h="252">
                    <a:moveTo>
                      <a:pt x="700" y="124"/>
                    </a:moveTo>
                    <a:lnTo>
                      <a:pt x="698" y="124"/>
                    </a:lnTo>
                    <a:lnTo>
                      <a:pt x="700" y="122"/>
                    </a:lnTo>
                    <a:lnTo>
                      <a:pt x="650" y="104"/>
                    </a:lnTo>
                    <a:lnTo>
                      <a:pt x="650" y="104"/>
                    </a:lnTo>
                    <a:lnTo>
                      <a:pt x="648" y="104"/>
                    </a:lnTo>
                    <a:lnTo>
                      <a:pt x="628" y="114"/>
                    </a:lnTo>
                    <a:lnTo>
                      <a:pt x="628" y="114"/>
                    </a:lnTo>
                    <a:lnTo>
                      <a:pt x="628" y="114"/>
                    </a:lnTo>
                    <a:lnTo>
                      <a:pt x="612" y="130"/>
                    </a:lnTo>
                    <a:lnTo>
                      <a:pt x="594" y="114"/>
                    </a:lnTo>
                    <a:lnTo>
                      <a:pt x="594" y="98"/>
                    </a:lnTo>
                    <a:lnTo>
                      <a:pt x="594" y="98"/>
                    </a:lnTo>
                    <a:lnTo>
                      <a:pt x="594" y="96"/>
                    </a:lnTo>
                    <a:lnTo>
                      <a:pt x="576" y="84"/>
                    </a:lnTo>
                    <a:lnTo>
                      <a:pt x="576" y="84"/>
                    </a:lnTo>
                    <a:lnTo>
                      <a:pt x="574" y="84"/>
                    </a:lnTo>
                    <a:lnTo>
                      <a:pt x="564" y="84"/>
                    </a:lnTo>
                    <a:lnTo>
                      <a:pt x="564" y="84"/>
                    </a:lnTo>
                    <a:lnTo>
                      <a:pt x="562" y="86"/>
                    </a:lnTo>
                    <a:lnTo>
                      <a:pt x="542" y="104"/>
                    </a:lnTo>
                    <a:lnTo>
                      <a:pt x="542" y="104"/>
                    </a:lnTo>
                    <a:lnTo>
                      <a:pt x="542" y="106"/>
                    </a:lnTo>
                    <a:lnTo>
                      <a:pt x="542" y="106"/>
                    </a:lnTo>
                    <a:lnTo>
                      <a:pt x="544" y="108"/>
                    </a:lnTo>
                    <a:lnTo>
                      <a:pt x="550" y="108"/>
                    </a:lnTo>
                    <a:lnTo>
                      <a:pt x="562" y="118"/>
                    </a:lnTo>
                    <a:lnTo>
                      <a:pt x="562" y="118"/>
                    </a:lnTo>
                    <a:lnTo>
                      <a:pt x="564" y="120"/>
                    </a:lnTo>
                    <a:lnTo>
                      <a:pt x="584" y="120"/>
                    </a:lnTo>
                    <a:lnTo>
                      <a:pt x="580" y="122"/>
                    </a:lnTo>
                    <a:lnTo>
                      <a:pt x="564" y="122"/>
                    </a:lnTo>
                    <a:lnTo>
                      <a:pt x="564" y="122"/>
                    </a:lnTo>
                    <a:lnTo>
                      <a:pt x="560" y="124"/>
                    </a:lnTo>
                    <a:lnTo>
                      <a:pt x="560" y="124"/>
                    </a:lnTo>
                    <a:lnTo>
                      <a:pt x="562" y="126"/>
                    </a:lnTo>
                    <a:lnTo>
                      <a:pt x="572" y="136"/>
                    </a:lnTo>
                    <a:lnTo>
                      <a:pt x="572" y="144"/>
                    </a:lnTo>
                    <a:lnTo>
                      <a:pt x="572" y="144"/>
                    </a:lnTo>
                    <a:lnTo>
                      <a:pt x="574" y="146"/>
                    </a:lnTo>
                    <a:lnTo>
                      <a:pt x="574" y="146"/>
                    </a:lnTo>
                    <a:lnTo>
                      <a:pt x="576" y="146"/>
                    </a:lnTo>
                    <a:lnTo>
                      <a:pt x="582" y="138"/>
                    </a:lnTo>
                    <a:lnTo>
                      <a:pt x="646" y="172"/>
                    </a:lnTo>
                    <a:lnTo>
                      <a:pt x="656" y="19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6" y="212"/>
                    </a:lnTo>
                    <a:lnTo>
                      <a:pt x="646" y="212"/>
                    </a:lnTo>
                    <a:lnTo>
                      <a:pt x="650" y="214"/>
                    </a:lnTo>
                    <a:lnTo>
                      <a:pt x="678" y="204"/>
                    </a:lnTo>
                    <a:lnTo>
                      <a:pt x="698" y="220"/>
                    </a:lnTo>
                    <a:lnTo>
                      <a:pt x="698" y="220"/>
                    </a:lnTo>
                    <a:lnTo>
                      <a:pt x="700" y="220"/>
                    </a:lnTo>
                    <a:lnTo>
                      <a:pt x="700" y="220"/>
                    </a:lnTo>
                    <a:lnTo>
                      <a:pt x="702" y="218"/>
                    </a:lnTo>
                    <a:lnTo>
                      <a:pt x="702" y="124"/>
                    </a:lnTo>
                    <a:lnTo>
                      <a:pt x="700" y="124"/>
                    </a:lnTo>
                    <a:close/>
                    <a:moveTo>
                      <a:pt x="54" y="80"/>
                    </a:moveTo>
                    <a:lnTo>
                      <a:pt x="54" y="80"/>
                    </a:lnTo>
                    <a:lnTo>
                      <a:pt x="54" y="78"/>
                    </a:lnTo>
                    <a:lnTo>
                      <a:pt x="52" y="7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8"/>
                    </a:lnTo>
                    <a:lnTo>
                      <a:pt x="28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2" y="80"/>
                    </a:lnTo>
                    <a:lnTo>
                      <a:pt x="54" y="80"/>
                    </a:lnTo>
                    <a:lnTo>
                      <a:pt x="54" y="80"/>
                    </a:lnTo>
                    <a:close/>
                    <a:moveTo>
                      <a:pt x="72" y="96"/>
                    </a:moveTo>
                    <a:lnTo>
                      <a:pt x="52" y="96"/>
                    </a:lnTo>
                    <a:lnTo>
                      <a:pt x="52" y="98"/>
                    </a:lnTo>
                    <a:lnTo>
                      <a:pt x="50" y="100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4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4" y="96"/>
                    </a:lnTo>
                    <a:lnTo>
                      <a:pt x="72" y="96"/>
                    </a:lnTo>
                    <a:lnTo>
                      <a:pt x="72" y="96"/>
                    </a:lnTo>
                    <a:close/>
                    <a:moveTo>
                      <a:pt x="552" y="200"/>
                    </a:moveTo>
                    <a:lnTo>
                      <a:pt x="534" y="200"/>
                    </a:lnTo>
                    <a:lnTo>
                      <a:pt x="534" y="200"/>
                    </a:lnTo>
                    <a:lnTo>
                      <a:pt x="532" y="200"/>
                    </a:lnTo>
                    <a:lnTo>
                      <a:pt x="530" y="202"/>
                    </a:lnTo>
                    <a:lnTo>
                      <a:pt x="530" y="222"/>
                    </a:lnTo>
                    <a:lnTo>
                      <a:pt x="534" y="222"/>
                    </a:lnTo>
                    <a:lnTo>
                      <a:pt x="534" y="224"/>
                    </a:lnTo>
                    <a:lnTo>
                      <a:pt x="544" y="224"/>
                    </a:lnTo>
                    <a:lnTo>
                      <a:pt x="544" y="224"/>
                    </a:lnTo>
                    <a:lnTo>
                      <a:pt x="546" y="222"/>
                    </a:lnTo>
                    <a:lnTo>
                      <a:pt x="556" y="204"/>
                    </a:lnTo>
                    <a:lnTo>
                      <a:pt x="556" y="204"/>
                    </a:lnTo>
                    <a:lnTo>
                      <a:pt x="556" y="200"/>
                    </a:lnTo>
                    <a:lnTo>
                      <a:pt x="556" y="200"/>
                    </a:lnTo>
                    <a:lnTo>
                      <a:pt x="552" y="200"/>
                    </a:lnTo>
                    <a:lnTo>
                      <a:pt x="552" y="200"/>
                    </a:lnTo>
                    <a:close/>
                    <a:moveTo>
                      <a:pt x="296" y="200"/>
                    </a:moveTo>
                    <a:lnTo>
                      <a:pt x="296" y="200"/>
                    </a:lnTo>
                    <a:lnTo>
                      <a:pt x="296" y="198"/>
                    </a:lnTo>
                    <a:lnTo>
                      <a:pt x="294" y="198"/>
                    </a:lnTo>
                    <a:lnTo>
                      <a:pt x="274" y="198"/>
                    </a:lnTo>
                    <a:lnTo>
                      <a:pt x="266" y="190"/>
                    </a:lnTo>
                    <a:lnTo>
                      <a:pt x="266" y="190"/>
                    </a:lnTo>
                    <a:lnTo>
                      <a:pt x="266" y="188"/>
                    </a:lnTo>
                    <a:lnTo>
                      <a:pt x="236" y="180"/>
                    </a:lnTo>
                    <a:lnTo>
                      <a:pt x="236" y="180"/>
                    </a:lnTo>
                    <a:lnTo>
                      <a:pt x="234" y="180"/>
                    </a:lnTo>
                    <a:lnTo>
                      <a:pt x="234" y="180"/>
                    </a:lnTo>
                    <a:lnTo>
                      <a:pt x="232" y="182"/>
                    </a:lnTo>
                    <a:lnTo>
                      <a:pt x="232" y="186"/>
                    </a:lnTo>
                    <a:lnTo>
                      <a:pt x="218" y="180"/>
                    </a:lnTo>
                    <a:lnTo>
                      <a:pt x="218" y="180"/>
                    </a:lnTo>
                    <a:lnTo>
                      <a:pt x="218" y="180"/>
                    </a:lnTo>
                    <a:lnTo>
                      <a:pt x="188" y="168"/>
                    </a:lnTo>
                    <a:lnTo>
                      <a:pt x="188" y="168"/>
                    </a:lnTo>
                    <a:lnTo>
                      <a:pt x="188" y="168"/>
                    </a:lnTo>
                    <a:lnTo>
                      <a:pt x="170" y="168"/>
                    </a:lnTo>
                    <a:lnTo>
                      <a:pt x="170" y="168"/>
                    </a:lnTo>
                    <a:lnTo>
                      <a:pt x="168" y="170"/>
                    </a:lnTo>
                    <a:lnTo>
                      <a:pt x="156" y="180"/>
                    </a:lnTo>
                    <a:lnTo>
                      <a:pt x="158" y="182"/>
                    </a:lnTo>
                    <a:lnTo>
                      <a:pt x="158" y="184"/>
                    </a:lnTo>
                    <a:lnTo>
                      <a:pt x="196" y="204"/>
                    </a:lnTo>
                    <a:lnTo>
                      <a:pt x="196" y="204"/>
                    </a:lnTo>
                    <a:lnTo>
                      <a:pt x="196" y="204"/>
                    </a:lnTo>
                    <a:lnTo>
                      <a:pt x="294" y="214"/>
                    </a:lnTo>
                    <a:lnTo>
                      <a:pt x="294" y="214"/>
                    </a:lnTo>
                    <a:lnTo>
                      <a:pt x="296" y="214"/>
                    </a:lnTo>
                    <a:lnTo>
                      <a:pt x="296" y="214"/>
                    </a:lnTo>
                    <a:lnTo>
                      <a:pt x="296" y="214"/>
                    </a:lnTo>
                    <a:lnTo>
                      <a:pt x="318" y="214"/>
                    </a:lnTo>
                    <a:lnTo>
                      <a:pt x="318" y="208"/>
                    </a:lnTo>
                    <a:lnTo>
                      <a:pt x="296" y="208"/>
                    </a:lnTo>
                    <a:lnTo>
                      <a:pt x="296" y="200"/>
                    </a:lnTo>
                    <a:close/>
                    <a:moveTo>
                      <a:pt x="612" y="160"/>
                    </a:moveTo>
                    <a:lnTo>
                      <a:pt x="612" y="160"/>
                    </a:lnTo>
                    <a:lnTo>
                      <a:pt x="608" y="162"/>
                    </a:lnTo>
                    <a:lnTo>
                      <a:pt x="590" y="188"/>
                    </a:lnTo>
                    <a:lnTo>
                      <a:pt x="592" y="190"/>
                    </a:lnTo>
                    <a:lnTo>
                      <a:pt x="594" y="192"/>
                    </a:lnTo>
                    <a:lnTo>
                      <a:pt x="612" y="172"/>
                    </a:lnTo>
                    <a:lnTo>
                      <a:pt x="612" y="172"/>
                    </a:lnTo>
                    <a:lnTo>
                      <a:pt x="614" y="170"/>
                    </a:lnTo>
                    <a:lnTo>
                      <a:pt x="614" y="162"/>
                    </a:lnTo>
                    <a:lnTo>
                      <a:pt x="614" y="162"/>
                    </a:lnTo>
                    <a:lnTo>
                      <a:pt x="612" y="160"/>
                    </a:lnTo>
                    <a:lnTo>
                      <a:pt x="612" y="160"/>
                    </a:lnTo>
                    <a:close/>
                    <a:moveTo>
                      <a:pt x="188" y="144"/>
                    </a:moveTo>
                    <a:lnTo>
                      <a:pt x="206" y="144"/>
                    </a:lnTo>
                    <a:lnTo>
                      <a:pt x="206" y="144"/>
                    </a:lnTo>
                    <a:lnTo>
                      <a:pt x="208" y="144"/>
                    </a:lnTo>
                    <a:lnTo>
                      <a:pt x="210" y="142"/>
                    </a:lnTo>
                    <a:lnTo>
                      <a:pt x="210" y="124"/>
                    </a:lnTo>
                    <a:lnTo>
                      <a:pt x="210" y="124"/>
                    </a:lnTo>
                    <a:lnTo>
                      <a:pt x="208" y="122"/>
                    </a:lnTo>
                    <a:lnTo>
                      <a:pt x="206" y="122"/>
                    </a:lnTo>
                    <a:lnTo>
                      <a:pt x="188" y="122"/>
                    </a:lnTo>
                    <a:lnTo>
                      <a:pt x="188" y="122"/>
                    </a:lnTo>
                    <a:lnTo>
                      <a:pt x="186" y="122"/>
                    </a:lnTo>
                    <a:lnTo>
                      <a:pt x="184" y="124"/>
                    </a:lnTo>
                    <a:lnTo>
                      <a:pt x="184" y="142"/>
                    </a:lnTo>
                    <a:lnTo>
                      <a:pt x="188" y="142"/>
                    </a:lnTo>
                    <a:lnTo>
                      <a:pt x="188" y="144"/>
                    </a:lnTo>
                    <a:close/>
                    <a:moveTo>
                      <a:pt x="382" y="228"/>
                    </a:moveTo>
                    <a:lnTo>
                      <a:pt x="382" y="228"/>
                    </a:lnTo>
                    <a:lnTo>
                      <a:pt x="380" y="228"/>
                    </a:lnTo>
                    <a:lnTo>
                      <a:pt x="360" y="228"/>
                    </a:lnTo>
                    <a:lnTo>
                      <a:pt x="360" y="230"/>
                    </a:lnTo>
                    <a:lnTo>
                      <a:pt x="358" y="232"/>
                    </a:lnTo>
                    <a:lnTo>
                      <a:pt x="378" y="252"/>
                    </a:lnTo>
                    <a:lnTo>
                      <a:pt x="378" y="252"/>
                    </a:lnTo>
                    <a:lnTo>
                      <a:pt x="380" y="252"/>
                    </a:lnTo>
                    <a:lnTo>
                      <a:pt x="388" y="252"/>
                    </a:lnTo>
                    <a:lnTo>
                      <a:pt x="388" y="252"/>
                    </a:lnTo>
                    <a:lnTo>
                      <a:pt x="392" y="250"/>
                    </a:lnTo>
                    <a:lnTo>
                      <a:pt x="392" y="250"/>
                    </a:lnTo>
                    <a:lnTo>
                      <a:pt x="392" y="248"/>
                    </a:lnTo>
                    <a:lnTo>
                      <a:pt x="382" y="228"/>
                    </a:lnTo>
                    <a:close/>
                    <a:moveTo>
                      <a:pt x="486" y="208"/>
                    </a:moveTo>
                    <a:lnTo>
                      <a:pt x="458" y="208"/>
                    </a:lnTo>
                    <a:lnTo>
                      <a:pt x="458" y="208"/>
                    </a:lnTo>
                    <a:lnTo>
                      <a:pt x="454" y="208"/>
                    </a:lnTo>
                    <a:lnTo>
                      <a:pt x="436" y="228"/>
                    </a:lnTo>
                    <a:lnTo>
                      <a:pt x="426" y="240"/>
                    </a:lnTo>
                    <a:lnTo>
                      <a:pt x="428" y="242"/>
                    </a:lnTo>
                    <a:lnTo>
                      <a:pt x="428" y="244"/>
                    </a:lnTo>
                    <a:lnTo>
                      <a:pt x="448" y="244"/>
                    </a:lnTo>
                    <a:lnTo>
                      <a:pt x="448" y="244"/>
                    </a:lnTo>
                    <a:lnTo>
                      <a:pt x="450" y="244"/>
                    </a:lnTo>
                    <a:lnTo>
                      <a:pt x="488" y="214"/>
                    </a:lnTo>
                    <a:lnTo>
                      <a:pt x="488" y="214"/>
                    </a:lnTo>
                    <a:lnTo>
                      <a:pt x="490" y="210"/>
                    </a:lnTo>
                    <a:lnTo>
                      <a:pt x="490" y="210"/>
                    </a:lnTo>
                    <a:lnTo>
                      <a:pt x="486" y="208"/>
                    </a:lnTo>
                    <a:lnTo>
                      <a:pt x="486" y="208"/>
                    </a:lnTo>
                    <a:close/>
                    <a:moveTo>
                      <a:pt x="214" y="88"/>
                    </a:moveTo>
                    <a:lnTo>
                      <a:pt x="224" y="106"/>
                    </a:lnTo>
                    <a:lnTo>
                      <a:pt x="232" y="126"/>
                    </a:lnTo>
                    <a:lnTo>
                      <a:pt x="232" y="126"/>
                    </a:lnTo>
                    <a:lnTo>
                      <a:pt x="236" y="126"/>
                    </a:lnTo>
                    <a:lnTo>
                      <a:pt x="252" y="126"/>
                    </a:lnTo>
                    <a:lnTo>
                      <a:pt x="252" y="134"/>
                    </a:lnTo>
                    <a:lnTo>
                      <a:pt x="252" y="134"/>
                    </a:lnTo>
                    <a:lnTo>
                      <a:pt x="252" y="136"/>
                    </a:lnTo>
                    <a:lnTo>
                      <a:pt x="254" y="138"/>
                    </a:lnTo>
                    <a:lnTo>
                      <a:pt x="294" y="138"/>
                    </a:lnTo>
                    <a:lnTo>
                      <a:pt x="300" y="146"/>
                    </a:lnTo>
                    <a:lnTo>
                      <a:pt x="300" y="146"/>
                    </a:lnTo>
                    <a:lnTo>
                      <a:pt x="300" y="146"/>
                    </a:lnTo>
                    <a:lnTo>
                      <a:pt x="302" y="146"/>
                    </a:lnTo>
                    <a:lnTo>
                      <a:pt x="324" y="136"/>
                    </a:lnTo>
                    <a:lnTo>
                      <a:pt x="324" y="136"/>
                    </a:lnTo>
                    <a:lnTo>
                      <a:pt x="326" y="136"/>
                    </a:lnTo>
                    <a:lnTo>
                      <a:pt x="334" y="116"/>
                    </a:lnTo>
                    <a:lnTo>
                      <a:pt x="334" y="116"/>
                    </a:lnTo>
                    <a:lnTo>
                      <a:pt x="334" y="114"/>
                    </a:lnTo>
                    <a:lnTo>
                      <a:pt x="334" y="114"/>
                    </a:lnTo>
                    <a:lnTo>
                      <a:pt x="332" y="112"/>
                    </a:lnTo>
                    <a:lnTo>
                      <a:pt x="328" y="112"/>
                    </a:lnTo>
                    <a:lnTo>
                      <a:pt x="334" y="98"/>
                    </a:lnTo>
                    <a:lnTo>
                      <a:pt x="352" y="80"/>
                    </a:lnTo>
                    <a:lnTo>
                      <a:pt x="362" y="70"/>
                    </a:lnTo>
                    <a:lnTo>
                      <a:pt x="362" y="70"/>
                    </a:lnTo>
                    <a:lnTo>
                      <a:pt x="362" y="68"/>
                    </a:lnTo>
                    <a:lnTo>
                      <a:pt x="362" y="68"/>
                    </a:lnTo>
                    <a:lnTo>
                      <a:pt x="362" y="66"/>
                    </a:lnTo>
                    <a:lnTo>
                      <a:pt x="348" y="58"/>
                    </a:lnTo>
                    <a:lnTo>
                      <a:pt x="352" y="54"/>
                    </a:lnTo>
                    <a:lnTo>
                      <a:pt x="352" y="54"/>
                    </a:lnTo>
                    <a:lnTo>
                      <a:pt x="354" y="52"/>
                    </a:lnTo>
                    <a:lnTo>
                      <a:pt x="352" y="50"/>
                    </a:lnTo>
                    <a:lnTo>
                      <a:pt x="346" y="40"/>
                    </a:lnTo>
                    <a:lnTo>
                      <a:pt x="354" y="24"/>
                    </a:lnTo>
                    <a:lnTo>
                      <a:pt x="354" y="24"/>
                    </a:lnTo>
                    <a:lnTo>
                      <a:pt x="352" y="20"/>
                    </a:lnTo>
                    <a:lnTo>
                      <a:pt x="352" y="20"/>
                    </a:lnTo>
                    <a:lnTo>
                      <a:pt x="350" y="20"/>
                    </a:lnTo>
                    <a:lnTo>
                      <a:pt x="324" y="20"/>
                    </a:lnTo>
                    <a:lnTo>
                      <a:pt x="324" y="20"/>
                    </a:lnTo>
                    <a:lnTo>
                      <a:pt x="320" y="20"/>
                    </a:lnTo>
                    <a:lnTo>
                      <a:pt x="292" y="56"/>
                    </a:lnTo>
                    <a:lnTo>
                      <a:pt x="284" y="64"/>
                    </a:lnTo>
                    <a:lnTo>
                      <a:pt x="266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2" y="66"/>
                    </a:lnTo>
                    <a:lnTo>
                      <a:pt x="236" y="66"/>
                    </a:lnTo>
                    <a:lnTo>
                      <a:pt x="218" y="56"/>
                    </a:lnTo>
                    <a:lnTo>
                      <a:pt x="218" y="58"/>
                    </a:lnTo>
                    <a:lnTo>
                      <a:pt x="218" y="58"/>
                    </a:lnTo>
                    <a:lnTo>
                      <a:pt x="218" y="58"/>
                    </a:lnTo>
                    <a:lnTo>
                      <a:pt x="216" y="56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8"/>
                    </a:lnTo>
                    <a:lnTo>
                      <a:pt x="204" y="70"/>
                    </a:lnTo>
                    <a:lnTo>
                      <a:pt x="214" y="88"/>
                    </a:lnTo>
                    <a:close/>
                    <a:moveTo>
                      <a:pt x="160" y="172"/>
                    </a:moveTo>
                    <a:lnTo>
                      <a:pt x="172" y="136"/>
                    </a:lnTo>
                    <a:lnTo>
                      <a:pt x="172" y="136"/>
                    </a:lnTo>
                    <a:lnTo>
                      <a:pt x="172" y="134"/>
                    </a:lnTo>
                    <a:lnTo>
                      <a:pt x="168" y="128"/>
                    </a:lnTo>
                    <a:lnTo>
                      <a:pt x="176" y="136"/>
                    </a:lnTo>
                    <a:lnTo>
                      <a:pt x="176" y="136"/>
                    </a:lnTo>
                    <a:lnTo>
                      <a:pt x="180" y="138"/>
                    </a:lnTo>
                    <a:lnTo>
                      <a:pt x="180" y="138"/>
                    </a:lnTo>
                    <a:lnTo>
                      <a:pt x="182" y="134"/>
                    </a:lnTo>
                    <a:lnTo>
                      <a:pt x="182" y="124"/>
                    </a:lnTo>
                    <a:lnTo>
                      <a:pt x="182" y="124"/>
                    </a:lnTo>
                    <a:lnTo>
                      <a:pt x="182" y="122"/>
                    </a:lnTo>
                    <a:lnTo>
                      <a:pt x="172" y="104"/>
                    </a:lnTo>
                    <a:lnTo>
                      <a:pt x="172" y="104"/>
                    </a:lnTo>
                    <a:lnTo>
                      <a:pt x="168" y="102"/>
                    </a:lnTo>
                    <a:lnTo>
                      <a:pt x="168" y="102"/>
                    </a:lnTo>
                    <a:lnTo>
                      <a:pt x="166" y="104"/>
                    </a:lnTo>
                    <a:lnTo>
                      <a:pt x="156" y="114"/>
                    </a:lnTo>
                    <a:lnTo>
                      <a:pt x="152" y="114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40" y="94"/>
                    </a:lnTo>
                    <a:lnTo>
                      <a:pt x="134" y="94"/>
                    </a:lnTo>
                    <a:lnTo>
                      <a:pt x="134" y="88"/>
                    </a:lnTo>
                    <a:lnTo>
                      <a:pt x="134" y="88"/>
                    </a:lnTo>
                    <a:lnTo>
                      <a:pt x="134" y="84"/>
                    </a:lnTo>
                    <a:lnTo>
                      <a:pt x="124" y="76"/>
                    </a:lnTo>
                    <a:lnTo>
                      <a:pt x="124" y="68"/>
                    </a:lnTo>
                    <a:lnTo>
                      <a:pt x="124" y="68"/>
                    </a:lnTo>
                    <a:lnTo>
                      <a:pt x="122" y="66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2" y="48"/>
                    </a:lnTo>
                    <a:lnTo>
                      <a:pt x="82" y="4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4" y="3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2" y="54"/>
                    </a:lnTo>
                    <a:lnTo>
                      <a:pt x="52" y="60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0"/>
                    </a:lnTo>
                    <a:lnTo>
                      <a:pt x="78" y="100"/>
                    </a:lnTo>
                    <a:lnTo>
                      <a:pt x="100" y="136"/>
                    </a:lnTo>
                    <a:lnTo>
                      <a:pt x="100" y="136"/>
                    </a:lnTo>
                    <a:lnTo>
                      <a:pt x="100" y="138"/>
                    </a:lnTo>
                    <a:lnTo>
                      <a:pt x="138" y="174"/>
                    </a:lnTo>
                    <a:lnTo>
                      <a:pt x="138" y="174"/>
                    </a:lnTo>
                    <a:lnTo>
                      <a:pt x="140" y="174"/>
                    </a:lnTo>
                    <a:lnTo>
                      <a:pt x="158" y="174"/>
                    </a:lnTo>
                    <a:lnTo>
                      <a:pt x="158" y="174"/>
                    </a:lnTo>
                    <a:lnTo>
                      <a:pt x="160" y="172"/>
                    </a:lnTo>
                    <a:lnTo>
                      <a:pt x="160" y="172"/>
                    </a:lnTo>
                    <a:close/>
                    <a:moveTo>
                      <a:pt x="442" y="210"/>
                    </a:moveTo>
                    <a:lnTo>
                      <a:pt x="442" y="210"/>
                    </a:lnTo>
                    <a:lnTo>
                      <a:pt x="440" y="208"/>
                    </a:lnTo>
                    <a:lnTo>
                      <a:pt x="324" y="208"/>
                    </a:lnTo>
                    <a:lnTo>
                      <a:pt x="324" y="208"/>
                    </a:lnTo>
                    <a:lnTo>
                      <a:pt x="322" y="208"/>
                    </a:lnTo>
                    <a:lnTo>
                      <a:pt x="320" y="210"/>
                    </a:lnTo>
                    <a:lnTo>
                      <a:pt x="320" y="230"/>
                    </a:lnTo>
                    <a:lnTo>
                      <a:pt x="324" y="230"/>
                    </a:lnTo>
                    <a:lnTo>
                      <a:pt x="324" y="232"/>
                    </a:lnTo>
                    <a:lnTo>
                      <a:pt x="332" y="232"/>
                    </a:lnTo>
                    <a:lnTo>
                      <a:pt x="332" y="232"/>
                    </a:lnTo>
                    <a:lnTo>
                      <a:pt x="334" y="232"/>
                    </a:lnTo>
                    <a:lnTo>
                      <a:pt x="372" y="214"/>
                    </a:lnTo>
                    <a:lnTo>
                      <a:pt x="410" y="232"/>
                    </a:lnTo>
                    <a:lnTo>
                      <a:pt x="410" y="232"/>
                    </a:lnTo>
                    <a:lnTo>
                      <a:pt x="412" y="232"/>
                    </a:lnTo>
                    <a:lnTo>
                      <a:pt x="442" y="214"/>
                    </a:lnTo>
                    <a:lnTo>
                      <a:pt x="442" y="214"/>
                    </a:lnTo>
                    <a:lnTo>
                      <a:pt x="442" y="210"/>
                    </a:lnTo>
                    <a:lnTo>
                      <a:pt x="442" y="210"/>
                    </a:lnTo>
                    <a:close/>
                    <a:moveTo>
                      <a:pt x="360" y="124"/>
                    </a:moveTo>
                    <a:lnTo>
                      <a:pt x="360" y="124"/>
                    </a:lnTo>
                    <a:lnTo>
                      <a:pt x="358" y="124"/>
                    </a:lnTo>
                    <a:lnTo>
                      <a:pt x="358" y="136"/>
                    </a:lnTo>
                    <a:lnTo>
                      <a:pt x="358" y="136"/>
                    </a:lnTo>
                    <a:lnTo>
                      <a:pt x="358" y="138"/>
                    </a:lnTo>
                    <a:lnTo>
                      <a:pt x="360" y="138"/>
                    </a:lnTo>
                    <a:lnTo>
                      <a:pt x="368" y="138"/>
                    </a:lnTo>
                    <a:lnTo>
                      <a:pt x="368" y="172"/>
                    </a:lnTo>
                    <a:lnTo>
                      <a:pt x="368" y="172"/>
                    </a:lnTo>
                    <a:lnTo>
                      <a:pt x="370" y="174"/>
                    </a:lnTo>
                    <a:lnTo>
                      <a:pt x="370" y="174"/>
                    </a:lnTo>
                    <a:lnTo>
                      <a:pt x="374" y="174"/>
                    </a:lnTo>
                    <a:lnTo>
                      <a:pt x="382" y="166"/>
                    </a:lnTo>
                    <a:lnTo>
                      <a:pt x="382" y="166"/>
                    </a:lnTo>
                    <a:lnTo>
                      <a:pt x="382" y="164"/>
                    </a:lnTo>
                    <a:lnTo>
                      <a:pt x="382" y="136"/>
                    </a:lnTo>
                    <a:lnTo>
                      <a:pt x="390" y="128"/>
                    </a:lnTo>
                    <a:lnTo>
                      <a:pt x="392" y="128"/>
                    </a:lnTo>
                    <a:lnTo>
                      <a:pt x="388" y="134"/>
                    </a:lnTo>
                    <a:lnTo>
                      <a:pt x="388" y="134"/>
                    </a:lnTo>
                    <a:lnTo>
                      <a:pt x="386" y="136"/>
                    </a:lnTo>
                    <a:lnTo>
                      <a:pt x="386" y="136"/>
                    </a:lnTo>
                    <a:lnTo>
                      <a:pt x="388" y="138"/>
                    </a:lnTo>
                    <a:lnTo>
                      <a:pt x="398" y="146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6"/>
                    </a:lnTo>
                    <a:lnTo>
                      <a:pt x="400" y="156"/>
                    </a:lnTo>
                    <a:lnTo>
                      <a:pt x="416" y="156"/>
                    </a:lnTo>
                    <a:lnTo>
                      <a:pt x="416" y="172"/>
                    </a:lnTo>
                    <a:lnTo>
                      <a:pt x="416" y="172"/>
                    </a:lnTo>
                    <a:lnTo>
                      <a:pt x="418" y="174"/>
                    </a:lnTo>
                    <a:lnTo>
                      <a:pt x="418" y="174"/>
                    </a:lnTo>
                    <a:lnTo>
                      <a:pt x="420" y="174"/>
                    </a:lnTo>
                    <a:lnTo>
                      <a:pt x="428" y="166"/>
                    </a:lnTo>
                    <a:lnTo>
                      <a:pt x="428" y="166"/>
                    </a:lnTo>
                    <a:lnTo>
                      <a:pt x="430" y="164"/>
                    </a:lnTo>
                    <a:lnTo>
                      <a:pt x="430" y="154"/>
                    </a:lnTo>
                    <a:lnTo>
                      <a:pt x="430" y="154"/>
                    </a:lnTo>
                    <a:lnTo>
                      <a:pt x="428" y="152"/>
                    </a:lnTo>
                    <a:lnTo>
                      <a:pt x="416" y="138"/>
                    </a:lnTo>
                    <a:lnTo>
                      <a:pt x="418" y="138"/>
                    </a:lnTo>
                    <a:lnTo>
                      <a:pt x="418" y="138"/>
                    </a:lnTo>
                    <a:lnTo>
                      <a:pt x="422" y="136"/>
                    </a:lnTo>
                    <a:lnTo>
                      <a:pt x="422" y="136"/>
                    </a:lnTo>
                    <a:lnTo>
                      <a:pt x="420" y="134"/>
                    </a:lnTo>
                    <a:lnTo>
                      <a:pt x="404" y="116"/>
                    </a:lnTo>
                    <a:lnTo>
                      <a:pt x="418" y="102"/>
                    </a:lnTo>
                    <a:lnTo>
                      <a:pt x="428" y="100"/>
                    </a:lnTo>
                    <a:lnTo>
                      <a:pt x="428" y="100"/>
                    </a:lnTo>
                    <a:lnTo>
                      <a:pt x="430" y="100"/>
                    </a:lnTo>
                    <a:lnTo>
                      <a:pt x="430" y="98"/>
                    </a:lnTo>
                    <a:lnTo>
                      <a:pt x="430" y="98"/>
                    </a:lnTo>
                    <a:lnTo>
                      <a:pt x="428" y="96"/>
                    </a:lnTo>
                    <a:lnTo>
                      <a:pt x="426" y="96"/>
                    </a:lnTo>
                    <a:lnTo>
                      <a:pt x="418" y="96"/>
                    </a:lnTo>
                    <a:lnTo>
                      <a:pt x="418" y="96"/>
                    </a:lnTo>
                    <a:lnTo>
                      <a:pt x="416" y="96"/>
                    </a:lnTo>
                    <a:lnTo>
                      <a:pt x="414" y="98"/>
                    </a:lnTo>
                    <a:lnTo>
                      <a:pt x="390" y="104"/>
                    </a:lnTo>
                    <a:lnTo>
                      <a:pt x="382" y="96"/>
                    </a:lnTo>
                    <a:lnTo>
                      <a:pt x="382" y="88"/>
                    </a:lnTo>
                    <a:lnTo>
                      <a:pt x="390" y="82"/>
                    </a:lnTo>
                    <a:lnTo>
                      <a:pt x="448" y="82"/>
                    </a:lnTo>
                    <a:lnTo>
                      <a:pt x="448" y="82"/>
                    </a:lnTo>
                    <a:lnTo>
                      <a:pt x="450" y="80"/>
                    </a:lnTo>
                    <a:lnTo>
                      <a:pt x="458" y="60"/>
                    </a:lnTo>
                    <a:lnTo>
                      <a:pt x="458" y="60"/>
                    </a:lnTo>
                    <a:lnTo>
                      <a:pt x="458" y="56"/>
                    </a:lnTo>
                    <a:lnTo>
                      <a:pt x="458" y="56"/>
                    </a:lnTo>
                    <a:lnTo>
                      <a:pt x="454" y="56"/>
                    </a:lnTo>
                    <a:lnTo>
                      <a:pt x="436" y="66"/>
                    </a:lnTo>
                    <a:lnTo>
                      <a:pt x="418" y="76"/>
                    </a:lnTo>
                    <a:lnTo>
                      <a:pt x="390" y="66"/>
                    </a:lnTo>
                    <a:lnTo>
                      <a:pt x="390" y="66"/>
                    </a:lnTo>
                    <a:lnTo>
                      <a:pt x="388" y="66"/>
                    </a:lnTo>
                    <a:lnTo>
                      <a:pt x="388" y="66"/>
                    </a:lnTo>
                    <a:lnTo>
                      <a:pt x="386" y="68"/>
                    </a:lnTo>
                    <a:lnTo>
                      <a:pt x="386" y="76"/>
                    </a:lnTo>
                    <a:lnTo>
                      <a:pt x="380" y="76"/>
                    </a:lnTo>
                    <a:lnTo>
                      <a:pt x="380" y="76"/>
                    </a:lnTo>
                    <a:lnTo>
                      <a:pt x="378" y="76"/>
                    </a:lnTo>
                    <a:lnTo>
                      <a:pt x="378" y="78"/>
                    </a:lnTo>
                    <a:lnTo>
                      <a:pt x="378" y="98"/>
                    </a:lnTo>
                    <a:lnTo>
                      <a:pt x="358" y="124"/>
                    </a:lnTo>
                    <a:lnTo>
                      <a:pt x="360" y="124"/>
                    </a:lnTo>
                    <a:close/>
                    <a:moveTo>
                      <a:pt x="494" y="90"/>
                    </a:moveTo>
                    <a:lnTo>
                      <a:pt x="494" y="90"/>
                    </a:lnTo>
                    <a:lnTo>
                      <a:pt x="494" y="90"/>
                    </a:lnTo>
                    <a:lnTo>
                      <a:pt x="504" y="100"/>
                    </a:lnTo>
                    <a:lnTo>
                      <a:pt x="504" y="100"/>
                    </a:lnTo>
                    <a:lnTo>
                      <a:pt x="506" y="102"/>
                    </a:lnTo>
                    <a:lnTo>
                      <a:pt x="508" y="100"/>
                    </a:lnTo>
                    <a:lnTo>
                      <a:pt x="508" y="100"/>
                    </a:lnTo>
                    <a:lnTo>
                      <a:pt x="508" y="98"/>
                    </a:lnTo>
                    <a:lnTo>
                      <a:pt x="508" y="96"/>
                    </a:lnTo>
                    <a:lnTo>
                      <a:pt x="500" y="86"/>
                    </a:lnTo>
                    <a:lnTo>
                      <a:pt x="500" y="82"/>
                    </a:lnTo>
                    <a:lnTo>
                      <a:pt x="506" y="82"/>
                    </a:lnTo>
                    <a:lnTo>
                      <a:pt x="506" y="82"/>
                    </a:lnTo>
                    <a:lnTo>
                      <a:pt x="508" y="80"/>
                    </a:lnTo>
                    <a:lnTo>
                      <a:pt x="508" y="78"/>
                    </a:lnTo>
                    <a:lnTo>
                      <a:pt x="508" y="58"/>
                    </a:lnTo>
                    <a:lnTo>
                      <a:pt x="508" y="58"/>
                    </a:lnTo>
                    <a:lnTo>
                      <a:pt x="508" y="56"/>
                    </a:lnTo>
                    <a:lnTo>
                      <a:pt x="506" y="56"/>
                    </a:lnTo>
                    <a:lnTo>
                      <a:pt x="504" y="56"/>
                    </a:lnTo>
                    <a:lnTo>
                      <a:pt x="504" y="58"/>
                    </a:lnTo>
                    <a:lnTo>
                      <a:pt x="498" y="50"/>
                    </a:lnTo>
                    <a:lnTo>
                      <a:pt x="498" y="50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4" y="50"/>
                    </a:lnTo>
                    <a:lnTo>
                      <a:pt x="484" y="68"/>
                    </a:lnTo>
                    <a:lnTo>
                      <a:pt x="486" y="70"/>
                    </a:lnTo>
                    <a:lnTo>
                      <a:pt x="486" y="70"/>
                    </a:lnTo>
                    <a:lnTo>
                      <a:pt x="486" y="70"/>
                    </a:lnTo>
                    <a:lnTo>
                      <a:pt x="484" y="70"/>
                    </a:lnTo>
                    <a:lnTo>
                      <a:pt x="494" y="90"/>
                    </a:lnTo>
                    <a:close/>
                    <a:moveTo>
                      <a:pt x="486" y="132"/>
                    </a:moveTo>
                    <a:lnTo>
                      <a:pt x="468" y="132"/>
                    </a:lnTo>
                    <a:lnTo>
                      <a:pt x="468" y="136"/>
                    </a:lnTo>
                    <a:lnTo>
                      <a:pt x="466" y="138"/>
                    </a:lnTo>
                    <a:lnTo>
                      <a:pt x="484" y="156"/>
                    </a:lnTo>
                    <a:lnTo>
                      <a:pt x="484" y="156"/>
                    </a:lnTo>
                    <a:lnTo>
                      <a:pt x="488" y="156"/>
                    </a:lnTo>
                    <a:lnTo>
                      <a:pt x="488" y="156"/>
                    </a:lnTo>
                    <a:lnTo>
                      <a:pt x="490" y="154"/>
                    </a:lnTo>
                    <a:lnTo>
                      <a:pt x="490" y="136"/>
                    </a:lnTo>
                    <a:lnTo>
                      <a:pt x="490" y="136"/>
                    </a:lnTo>
                    <a:lnTo>
                      <a:pt x="488" y="134"/>
                    </a:lnTo>
                    <a:lnTo>
                      <a:pt x="486" y="132"/>
                    </a:lnTo>
                    <a:lnTo>
                      <a:pt x="486" y="132"/>
                    </a:lnTo>
                    <a:close/>
                    <a:moveTo>
                      <a:pt x="544" y="146"/>
                    </a:move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44"/>
                    </a:lnTo>
                    <a:lnTo>
                      <a:pt x="546" y="144"/>
                    </a:lnTo>
                    <a:lnTo>
                      <a:pt x="548" y="142"/>
                    </a:lnTo>
                    <a:lnTo>
                      <a:pt x="546" y="142"/>
                    </a:lnTo>
                    <a:lnTo>
                      <a:pt x="536" y="132"/>
                    </a:lnTo>
                    <a:lnTo>
                      <a:pt x="528" y="122"/>
                    </a:lnTo>
                    <a:lnTo>
                      <a:pt x="528" y="122"/>
                    </a:lnTo>
                    <a:lnTo>
                      <a:pt x="524" y="122"/>
                    </a:lnTo>
                    <a:lnTo>
                      <a:pt x="504" y="122"/>
                    </a:lnTo>
                    <a:lnTo>
                      <a:pt x="504" y="122"/>
                    </a:lnTo>
                    <a:lnTo>
                      <a:pt x="500" y="122"/>
                    </a:lnTo>
                    <a:lnTo>
                      <a:pt x="492" y="132"/>
                    </a:lnTo>
                    <a:lnTo>
                      <a:pt x="494" y="134"/>
                    </a:lnTo>
                    <a:lnTo>
                      <a:pt x="494" y="138"/>
                    </a:lnTo>
                    <a:lnTo>
                      <a:pt x="544" y="14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223" name="Freeform 280">
              <a:extLst>
                <a:ext uri="{FF2B5EF4-FFF2-40B4-BE49-F238E27FC236}">
                  <a16:creationId xmlns:a16="http://schemas.microsoft.com/office/drawing/2014/main" id="{55127273-3F75-4AFA-86E4-41312B295A75}"/>
                </a:ext>
              </a:extLst>
            </p:cNvPr>
            <p:cNvSpPr/>
            <p:nvPr/>
          </p:nvSpPr>
          <p:spPr>
            <a:xfrm>
              <a:off x="4161615" y="2301874"/>
              <a:ext cx="30973" cy="49473"/>
            </a:xfrm>
            <a:custGeom>
              <a:avLst/>
              <a:gdLst>
                <a:gd name="connsiteX0" fmla="*/ 0 w 45244"/>
                <a:gd name="connsiteY0" fmla="*/ 23812 h 23812"/>
                <a:gd name="connsiteX1" fmla="*/ 45244 w 45244"/>
                <a:gd name="connsiteY1" fmla="*/ 0 h 23812"/>
                <a:gd name="connsiteX2" fmla="*/ 0 w 45244"/>
                <a:gd name="connsiteY2" fmla="*/ 23812 h 23812"/>
                <a:gd name="connsiteX0" fmla="*/ 0 w 23813"/>
                <a:gd name="connsiteY0" fmla="*/ 0 h 33338"/>
                <a:gd name="connsiteX1" fmla="*/ 23813 w 23813"/>
                <a:gd name="connsiteY1" fmla="*/ 33338 h 33338"/>
                <a:gd name="connsiteX2" fmla="*/ 0 w 23813"/>
                <a:gd name="connsiteY2" fmla="*/ 0 h 33338"/>
                <a:gd name="connsiteX0" fmla="*/ 0 w 35942"/>
                <a:gd name="connsiteY0" fmla="*/ 1209 h 55714"/>
                <a:gd name="connsiteX1" fmla="*/ 23813 w 35942"/>
                <a:gd name="connsiteY1" fmla="*/ 34547 h 55714"/>
                <a:gd name="connsiteX2" fmla="*/ 0 w 35942"/>
                <a:gd name="connsiteY2" fmla="*/ 1209 h 55714"/>
                <a:gd name="connsiteX0" fmla="*/ 262 w 24331"/>
                <a:gd name="connsiteY0" fmla="*/ 11 h 35874"/>
                <a:gd name="connsiteX1" fmla="*/ 24075 w 24331"/>
                <a:gd name="connsiteY1" fmla="*/ 33349 h 35874"/>
                <a:gd name="connsiteX2" fmla="*/ 12116 w 24331"/>
                <a:gd name="connsiteY2" fmla="*/ 29784 h 35874"/>
                <a:gd name="connsiteX3" fmla="*/ 262 w 24331"/>
                <a:gd name="connsiteY3" fmla="*/ 11 h 35874"/>
                <a:gd name="connsiteX0" fmla="*/ 639 w 34065"/>
                <a:gd name="connsiteY0" fmla="*/ 1389 h 36767"/>
                <a:gd name="connsiteX1" fmla="*/ 33087 w 34065"/>
                <a:gd name="connsiteY1" fmla="*/ 7946 h 36767"/>
                <a:gd name="connsiteX2" fmla="*/ 24452 w 34065"/>
                <a:gd name="connsiteY2" fmla="*/ 34727 h 36767"/>
                <a:gd name="connsiteX3" fmla="*/ 12493 w 34065"/>
                <a:gd name="connsiteY3" fmla="*/ 31162 h 36767"/>
                <a:gd name="connsiteX4" fmla="*/ 639 w 34065"/>
                <a:gd name="connsiteY4" fmla="*/ 1389 h 36767"/>
                <a:gd name="connsiteX0" fmla="*/ 639 w 35387"/>
                <a:gd name="connsiteY0" fmla="*/ 1389 h 44263"/>
                <a:gd name="connsiteX1" fmla="*/ 33087 w 35387"/>
                <a:gd name="connsiteY1" fmla="*/ 7946 h 44263"/>
                <a:gd name="connsiteX2" fmla="*/ 31940 w 35387"/>
                <a:gd name="connsiteY2" fmla="*/ 43432 h 44263"/>
                <a:gd name="connsiteX3" fmla="*/ 12493 w 35387"/>
                <a:gd name="connsiteY3" fmla="*/ 31162 h 44263"/>
                <a:gd name="connsiteX4" fmla="*/ 639 w 35387"/>
                <a:gd name="connsiteY4" fmla="*/ 1389 h 44263"/>
                <a:gd name="connsiteX0" fmla="*/ 639 w 35118"/>
                <a:gd name="connsiteY0" fmla="*/ 1389 h 60290"/>
                <a:gd name="connsiteX1" fmla="*/ 33087 w 35118"/>
                <a:gd name="connsiteY1" fmla="*/ 7946 h 60290"/>
                <a:gd name="connsiteX2" fmla="*/ 31940 w 35118"/>
                <a:gd name="connsiteY2" fmla="*/ 43432 h 60290"/>
                <a:gd name="connsiteX3" fmla="*/ 18293 w 35118"/>
                <a:gd name="connsiteY3" fmla="*/ 60021 h 60290"/>
                <a:gd name="connsiteX4" fmla="*/ 12493 w 35118"/>
                <a:gd name="connsiteY4" fmla="*/ 31162 h 60290"/>
                <a:gd name="connsiteX5" fmla="*/ 639 w 35118"/>
                <a:gd name="connsiteY5" fmla="*/ 1389 h 60290"/>
                <a:gd name="connsiteX0" fmla="*/ 6372 w 24002"/>
                <a:gd name="connsiteY0" fmla="*/ 12252 h 53744"/>
                <a:gd name="connsiteX1" fmla="*/ 21971 w 24002"/>
                <a:gd name="connsiteY1" fmla="*/ 1398 h 53744"/>
                <a:gd name="connsiteX2" fmla="*/ 20824 w 24002"/>
                <a:gd name="connsiteY2" fmla="*/ 36884 h 53744"/>
                <a:gd name="connsiteX3" fmla="*/ 7177 w 24002"/>
                <a:gd name="connsiteY3" fmla="*/ 53473 h 53744"/>
                <a:gd name="connsiteX4" fmla="*/ 1377 w 24002"/>
                <a:gd name="connsiteY4" fmla="*/ 24614 h 53744"/>
                <a:gd name="connsiteX5" fmla="*/ 6372 w 24002"/>
                <a:gd name="connsiteY5" fmla="*/ 12252 h 53744"/>
                <a:gd name="connsiteX0" fmla="*/ 4848 w 24350"/>
                <a:gd name="connsiteY0" fmla="*/ 1388 h 60289"/>
                <a:gd name="connsiteX1" fmla="*/ 22319 w 24350"/>
                <a:gd name="connsiteY1" fmla="*/ 7944 h 60289"/>
                <a:gd name="connsiteX2" fmla="*/ 21172 w 24350"/>
                <a:gd name="connsiteY2" fmla="*/ 43430 h 60289"/>
                <a:gd name="connsiteX3" fmla="*/ 7525 w 24350"/>
                <a:gd name="connsiteY3" fmla="*/ 60019 h 60289"/>
                <a:gd name="connsiteX4" fmla="*/ 1725 w 24350"/>
                <a:gd name="connsiteY4" fmla="*/ 31160 h 60289"/>
                <a:gd name="connsiteX5" fmla="*/ 4848 w 24350"/>
                <a:gd name="connsiteY5" fmla="*/ 1388 h 60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50" h="60289">
                  <a:moveTo>
                    <a:pt x="4848" y="1388"/>
                  </a:moveTo>
                  <a:cubicBezTo>
                    <a:pt x="8280" y="-2481"/>
                    <a:pt x="18350" y="2388"/>
                    <a:pt x="22319" y="7944"/>
                  </a:cubicBezTo>
                  <a:cubicBezTo>
                    <a:pt x="26288" y="13500"/>
                    <a:pt x="23638" y="34751"/>
                    <a:pt x="21172" y="43430"/>
                  </a:cubicBezTo>
                  <a:cubicBezTo>
                    <a:pt x="18706" y="52109"/>
                    <a:pt x="10766" y="62064"/>
                    <a:pt x="7525" y="60019"/>
                  </a:cubicBezTo>
                  <a:cubicBezTo>
                    <a:pt x="4284" y="57974"/>
                    <a:pt x="4667" y="38030"/>
                    <a:pt x="1725" y="31160"/>
                  </a:cubicBezTo>
                  <a:cubicBezTo>
                    <a:pt x="-2244" y="25604"/>
                    <a:pt x="1416" y="5257"/>
                    <a:pt x="4848" y="1388"/>
                  </a:cubicBezTo>
                  <a:close/>
                </a:path>
              </a:pathLst>
            </a:custGeom>
            <a:grpFill/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24" name="Freeform 244">
              <a:extLst>
                <a:ext uri="{FF2B5EF4-FFF2-40B4-BE49-F238E27FC236}">
                  <a16:creationId xmlns:a16="http://schemas.microsoft.com/office/drawing/2014/main" id="{3346A11B-AF80-47C2-9DB5-FCEA19BDC12A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4121151" y="2377009"/>
              <a:ext cx="247650" cy="456256"/>
            </a:xfrm>
            <a:custGeom>
              <a:avLst/>
              <a:gdLst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52388 w 247650"/>
                <a:gd name="connsiteY61" fmla="*/ 37322 h 526236"/>
                <a:gd name="connsiteX62" fmla="*/ 36513 w 247650"/>
                <a:gd name="connsiteY62" fmla="*/ 23326 h 526236"/>
                <a:gd name="connsiteX63" fmla="*/ 46038 w 247650"/>
                <a:gd name="connsiteY63" fmla="*/ 0 h 526236"/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36513 w 247650"/>
                <a:gd name="connsiteY61" fmla="*/ 23326 h 526236"/>
                <a:gd name="connsiteX62" fmla="*/ 46038 w 247650"/>
                <a:gd name="connsiteY62" fmla="*/ 0 h 526236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44798 w 247650"/>
                <a:gd name="connsiteY60" fmla="*/ 26024 h 502910"/>
                <a:gd name="connsiteX61" fmla="*/ 36513 w 247650"/>
                <a:gd name="connsiteY61" fmla="*/ 0 h 502910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36513 w 247650"/>
                <a:gd name="connsiteY60" fmla="*/ 0 h 502910"/>
                <a:gd name="connsiteX0" fmla="*/ 23812 w 247650"/>
                <a:gd name="connsiteY0" fmla="*/ 247492 h 456256"/>
                <a:gd name="connsiteX1" fmla="*/ 60325 w 247650"/>
                <a:gd name="connsiteY1" fmla="*/ 266176 h 456256"/>
                <a:gd name="connsiteX2" fmla="*/ 66675 w 247650"/>
                <a:gd name="connsiteY2" fmla="*/ 280189 h 456256"/>
                <a:gd name="connsiteX3" fmla="*/ 77787 w 247650"/>
                <a:gd name="connsiteY3" fmla="*/ 314442 h 456256"/>
                <a:gd name="connsiteX4" fmla="*/ 52387 w 247650"/>
                <a:gd name="connsiteY4" fmla="*/ 325341 h 456256"/>
                <a:gd name="connsiteX5" fmla="*/ 20637 w 247650"/>
                <a:gd name="connsiteY5" fmla="*/ 319113 h 456256"/>
                <a:gd name="connsiteX6" fmla="*/ 0 w 247650"/>
                <a:gd name="connsiteY6" fmla="*/ 300429 h 456256"/>
                <a:gd name="connsiteX7" fmla="*/ 4762 w 247650"/>
                <a:gd name="connsiteY7" fmla="*/ 281746 h 456256"/>
                <a:gd name="connsiteX8" fmla="*/ 23812 w 247650"/>
                <a:gd name="connsiteY8" fmla="*/ 247492 h 456256"/>
                <a:gd name="connsiteX9" fmla="*/ 147637 w 247650"/>
                <a:gd name="connsiteY9" fmla="*/ 73089 h 456256"/>
                <a:gd name="connsiteX10" fmla="*/ 150812 w 247650"/>
                <a:gd name="connsiteY10" fmla="*/ 111967 h 456256"/>
                <a:gd name="connsiteX11" fmla="*/ 122237 w 247650"/>
                <a:gd name="connsiteY11" fmla="*/ 149289 h 456256"/>
                <a:gd name="connsiteX12" fmla="*/ 174625 w 247650"/>
                <a:gd name="connsiteY12" fmla="*/ 158620 h 456256"/>
                <a:gd name="connsiteX13" fmla="*/ 152400 w 247650"/>
                <a:gd name="connsiteY13" fmla="*/ 205273 h 456256"/>
                <a:gd name="connsiteX14" fmla="*/ 161925 w 247650"/>
                <a:gd name="connsiteY14" fmla="*/ 228600 h 456256"/>
                <a:gd name="connsiteX15" fmla="*/ 174625 w 247650"/>
                <a:gd name="connsiteY15" fmla="*/ 250371 h 456256"/>
                <a:gd name="connsiteX16" fmla="*/ 185738 w 247650"/>
                <a:gd name="connsiteY16" fmla="*/ 275253 h 456256"/>
                <a:gd name="connsiteX17" fmla="*/ 214313 w 247650"/>
                <a:gd name="connsiteY17" fmla="*/ 307910 h 456256"/>
                <a:gd name="connsiteX18" fmla="*/ 223838 w 247650"/>
                <a:gd name="connsiteY18" fmla="*/ 335902 h 456256"/>
                <a:gd name="connsiteX19" fmla="*/ 247650 w 247650"/>
                <a:gd name="connsiteY19" fmla="*/ 381000 h 456256"/>
                <a:gd name="connsiteX20" fmla="*/ 219075 w 247650"/>
                <a:gd name="connsiteY20" fmla="*/ 399661 h 456256"/>
                <a:gd name="connsiteX21" fmla="*/ 236538 w 247650"/>
                <a:gd name="connsiteY21" fmla="*/ 422988 h 456256"/>
                <a:gd name="connsiteX22" fmla="*/ 204788 w 247650"/>
                <a:gd name="connsiteY22" fmla="*/ 429208 h 456256"/>
                <a:gd name="connsiteX23" fmla="*/ 150812 w 247650"/>
                <a:gd name="connsiteY23" fmla="*/ 432318 h 456256"/>
                <a:gd name="connsiteX24" fmla="*/ 127000 w 247650"/>
                <a:gd name="connsiteY24" fmla="*/ 443204 h 456256"/>
                <a:gd name="connsiteX25" fmla="*/ 98425 w 247650"/>
                <a:gd name="connsiteY25" fmla="*/ 450979 h 456256"/>
                <a:gd name="connsiteX26" fmla="*/ 76200 w 247650"/>
                <a:gd name="connsiteY26" fmla="*/ 452535 h 456256"/>
                <a:gd name="connsiteX27" fmla="*/ 61912 w 247650"/>
                <a:gd name="connsiteY27" fmla="*/ 450979 h 456256"/>
                <a:gd name="connsiteX28" fmla="*/ 69850 w 247650"/>
                <a:gd name="connsiteY28" fmla="*/ 447869 h 456256"/>
                <a:gd name="connsiteX29" fmla="*/ 98425 w 247650"/>
                <a:gd name="connsiteY29" fmla="*/ 424543 h 456256"/>
                <a:gd name="connsiteX30" fmla="*/ 112712 w 247650"/>
                <a:gd name="connsiteY30" fmla="*/ 396551 h 456256"/>
                <a:gd name="connsiteX31" fmla="*/ 93662 w 247650"/>
                <a:gd name="connsiteY31" fmla="*/ 376334 h 456256"/>
                <a:gd name="connsiteX32" fmla="*/ 107950 w 247650"/>
                <a:gd name="connsiteY32" fmla="*/ 343677 h 456256"/>
                <a:gd name="connsiteX33" fmla="*/ 104824 w 247650"/>
                <a:gd name="connsiteY33" fmla="*/ 335877 h 456256"/>
                <a:gd name="connsiteX34" fmla="*/ 136525 w 247650"/>
                <a:gd name="connsiteY34" fmla="*/ 334347 h 456256"/>
                <a:gd name="connsiteX35" fmla="*/ 138112 w 247650"/>
                <a:gd name="connsiteY35" fmla="*/ 301689 h 456256"/>
                <a:gd name="connsiteX36" fmla="*/ 127000 w 247650"/>
                <a:gd name="connsiteY36" fmla="*/ 278363 h 456256"/>
                <a:gd name="connsiteX37" fmla="*/ 128587 w 247650"/>
                <a:gd name="connsiteY37" fmla="*/ 265922 h 456256"/>
                <a:gd name="connsiteX38" fmla="*/ 90487 w 247650"/>
                <a:gd name="connsiteY38" fmla="*/ 259702 h 456256"/>
                <a:gd name="connsiteX39" fmla="*/ 60325 w 247650"/>
                <a:gd name="connsiteY39" fmla="*/ 214604 h 456256"/>
                <a:gd name="connsiteX40" fmla="*/ 61912 w 247650"/>
                <a:gd name="connsiteY40" fmla="*/ 189722 h 456256"/>
                <a:gd name="connsiteX41" fmla="*/ 36512 w 247650"/>
                <a:gd name="connsiteY41" fmla="*/ 171061 h 456256"/>
                <a:gd name="connsiteX42" fmla="*/ 38100 w 247650"/>
                <a:gd name="connsiteY42" fmla="*/ 130628 h 456256"/>
                <a:gd name="connsiteX43" fmla="*/ 61912 w 247650"/>
                <a:gd name="connsiteY43" fmla="*/ 116632 h 456256"/>
                <a:gd name="connsiteX44" fmla="*/ 74191 w 247650"/>
                <a:gd name="connsiteY44" fmla="*/ 140250 h 456256"/>
                <a:gd name="connsiteX45" fmla="*/ 76200 w 247650"/>
                <a:gd name="connsiteY45" fmla="*/ 133738 h 456256"/>
                <a:gd name="connsiteX46" fmla="*/ 104775 w 247650"/>
                <a:gd name="connsiteY46" fmla="*/ 110412 h 456256"/>
                <a:gd name="connsiteX47" fmla="*/ 128587 w 247650"/>
                <a:gd name="connsiteY47" fmla="*/ 91750 h 456256"/>
                <a:gd name="connsiteX48" fmla="*/ 147637 w 247650"/>
                <a:gd name="connsiteY48" fmla="*/ 73089 h 456256"/>
                <a:gd name="connsiteX49" fmla="*/ 195263 w 247650"/>
                <a:gd name="connsiteY49" fmla="*/ 0 h 456256"/>
                <a:gd name="connsiteX50" fmla="*/ 204788 w 247650"/>
                <a:gd name="connsiteY50" fmla="*/ 18661 h 456256"/>
                <a:gd name="connsiteX51" fmla="*/ 193676 w 247650"/>
                <a:gd name="connsiteY51" fmla="*/ 49763 h 456256"/>
                <a:gd name="connsiteX52" fmla="*/ 179388 w 247650"/>
                <a:gd name="connsiteY52" fmla="*/ 69980 h 456256"/>
                <a:gd name="connsiteX53" fmla="*/ 174625 w 247650"/>
                <a:gd name="connsiteY53" fmla="*/ 77755 h 456256"/>
                <a:gd name="connsiteX54" fmla="*/ 176213 w 247650"/>
                <a:gd name="connsiteY54" fmla="*/ 68424 h 456256"/>
                <a:gd name="connsiteX55" fmla="*/ 179388 w 247650"/>
                <a:gd name="connsiteY55" fmla="*/ 41988 h 456256"/>
                <a:gd name="connsiteX56" fmla="*/ 176213 w 247650"/>
                <a:gd name="connsiteY56" fmla="*/ 13996 h 456256"/>
                <a:gd name="connsiteX57" fmla="*/ 195263 w 247650"/>
                <a:gd name="connsiteY57" fmla="*/ 0 h 45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47650" h="456256">
                  <a:moveTo>
                    <a:pt x="23812" y="247492"/>
                  </a:moveTo>
                  <a:cubicBezTo>
                    <a:pt x="33337" y="244378"/>
                    <a:pt x="53975" y="261505"/>
                    <a:pt x="60325" y="266176"/>
                  </a:cubicBezTo>
                  <a:cubicBezTo>
                    <a:pt x="66675" y="270847"/>
                    <a:pt x="61912" y="272404"/>
                    <a:pt x="66675" y="280189"/>
                  </a:cubicBezTo>
                  <a:cubicBezTo>
                    <a:pt x="69850" y="287974"/>
                    <a:pt x="79375" y="306657"/>
                    <a:pt x="77787" y="314442"/>
                  </a:cubicBezTo>
                  <a:lnTo>
                    <a:pt x="52387" y="325341"/>
                  </a:lnTo>
                  <a:lnTo>
                    <a:pt x="20637" y="319113"/>
                  </a:lnTo>
                  <a:lnTo>
                    <a:pt x="0" y="300429"/>
                  </a:lnTo>
                  <a:lnTo>
                    <a:pt x="4762" y="281746"/>
                  </a:lnTo>
                  <a:lnTo>
                    <a:pt x="23812" y="247492"/>
                  </a:lnTo>
                  <a:close/>
                  <a:moveTo>
                    <a:pt x="147637" y="73089"/>
                  </a:moveTo>
                  <a:cubicBezTo>
                    <a:pt x="161925" y="90195"/>
                    <a:pt x="155575" y="77754"/>
                    <a:pt x="150812" y="111967"/>
                  </a:cubicBezTo>
                  <a:cubicBezTo>
                    <a:pt x="133350" y="122852"/>
                    <a:pt x="133350" y="135293"/>
                    <a:pt x="122237" y="149289"/>
                  </a:cubicBezTo>
                  <a:cubicBezTo>
                    <a:pt x="139700" y="153955"/>
                    <a:pt x="158750" y="149289"/>
                    <a:pt x="174625" y="158620"/>
                  </a:cubicBezTo>
                  <a:cubicBezTo>
                    <a:pt x="169862" y="172616"/>
                    <a:pt x="160337" y="194387"/>
                    <a:pt x="152400" y="205273"/>
                  </a:cubicBezTo>
                  <a:cubicBezTo>
                    <a:pt x="157162" y="214604"/>
                    <a:pt x="160337" y="219269"/>
                    <a:pt x="161925" y="228600"/>
                  </a:cubicBezTo>
                  <a:cubicBezTo>
                    <a:pt x="165100" y="236375"/>
                    <a:pt x="169862" y="242595"/>
                    <a:pt x="174625" y="250371"/>
                  </a:cubicBezTo>
                  <a:cubicBezTo>
                    <a:pt x="187325" y="259702"/>
                    <a:pt x="177800" y="264367"/>
                    <a:pt x="185738" y="275253"/>
                  </a:cubicBezTo>
                  <a:cubicBezTo>
                    <a:pt x="203200" y="284583"/>
                    <a:pt x="211138" y="287693"/>
                    <a:pt x="214313" y="307910"/>
                  </a:cubicBezTo>
                  <a:cubicBezTo>
                    <a:pt x="219075" y="320351"/>
                    <a:pt x="222250" y="321906"/>
                    <a:pt x="223838" y="335902"/>
                  </a:cubicBezTo>
                  <a:cubicBezTo>
                    <a:pt x="228600" y="348343"/>
                    <a:pt x="247650" y="370114"/>
                    <a:pt x="247650" y="381000"/>
                  </a:cubicBezTo>
                  <a:cubicBezTo>
                    <a:pt x="247650" y="391885"/>
                    <a:pt x="219075" y="390330"/>
                    <a:pt x="219075" y="399661"/>
                  </a:cubicBezTo>
                  <a:cubicBezTo>
                    <a:pt x="207963" y="405881"/>
                    <a:pt x="242888" y="413657"/>
                    <a:pt x="236538" y="422988"/>
                  </a:cubicBezTo>
                  <a:cubicBezTo>
                    <a:pt x="222250" y="424543"/>
                    <a:pt x="217488" y="426098"/>
                    <a:pt x="204788" y="429208"/>
                  </a:cubicBezTo>
                  <a:cubicBezTo>
                    <a:pt x="187325" y="427653"/>
                    <a:pt x="168275" y="424543"/>
                    <a:pt x="150812" y="432318"/>
                  </a:cubicBezTo>
                  <a:cubicBezTo>
                    <a:pt x="138112" y="433873"/>
                    <a:pt x="134937" y="433873"/>
                    <a:pt x="127000" y="443204"/>
                  </a:cubicBezTo>
                  <a:cubicBezTo>
                    <a:pt x="117475" y="446314"/>
                    <a:pt x="107950" y="447869"/>
                    <a:pt x="98425" y="450979"/>
                  </a:cubicBezTo>
                  <a:cubicBezTo>
                    <a:pt x="90487" y="450979"/>
                    <a:pt x="84137" y="450979"/>
                    <a:pt x="76200" y="452535"/>
                  </a:cubicBezTo>
                  <a:cubicBezTo>
                    <a:pt x="74612" y="452535"/>
                    <a:pt x="61912" y="461865"/>
                    <a:pt x="61912" y="450979"/>
                  </a:cubicBezTo>
                  <a:cubicBezTo>
                    <a:pt x="61912" y="447869"/>
                    <a:pt x="66675" y="449424"/>
                    <a:pt x="69850" y="447869"/>
                  </a:cubicBezTo>
                  <a:cubicBezTo>
                    <a:pt x="90487" y="446314"/>
                    <a:pt x="93662" y="443204"/>
                    <a:pt x="98425" y="424543"/>
                  </a:cubicBezTo>
                  <a:cubicBezTo>
                    <a:pt x="107950" y="412102"/>
                    <a:pt x="109537" y="416767"/>
                    <a:pt x="112712" y="396551"/>
                  </a:cubicBezTo>
                  <a:cubicBezTo>
                    <a:pt x="96837" y="394996"/>
                    <a:pt x="84137" y="394996"/>
                    <a:pt x="93662" y="376334"/>
                  </a:cubicBezTo>
                  <a:cubicBezTo>
                    <a:pt x="115887" y="368559"/>
                    <a:pt x="111125" y="362338"/>
                    <a:pt x="107950" y="343677"/>
                  </a:cubicBezTo>
                  <a:lnTo>
                    <a:pt x="104824" y="335877"/>
                  </a:lnTo>
                  <a:cubicBezTo>
                    <a:pt x="105569" y="335804"/>
                    <a:pt x="117475" y="353008"/>
                    <a:pt x="136525" y="334347"/>
                  </a:cubicBezTo>
                  <a:cubicBezTo>
                    <a:pt x="144462" y="326571"/>
                    <a:pt x="138112" y="312575"/>
                    <a:pt x="138112" y="301689"/>
                  </a:cubicBezTo>
                  <a:cubicBezTo>
                    <a:pt x="136525" y="289249"/>
                    <a:pt x="128587" y="290804"/>
                    <a:pt x="127000" y="278363"/>
                  </a:cubicBezTo>
                  <a:cubicBezTo>
                    <a:pt x="125412" y="272142"/>
                    <a:pt x="134937" y="269032"/>
                    <a:pt x="128587" y="265922"/>
                  </a:cubicBezTo>
                  <a:cubicBezTo>
                    <a:pt x="122717" y="260789"/>
                    <a:pt x="81223" y="253219"/>
                    <a:pt x="90487" y="259702"/>
                  </a:cubicBezTo>
                  <a:cubicBezTo>
                    <a:pt x="109537" y="256591"/>
                    <a:pt x="58737" y="228600"/>
                    <a:pt x="60325" y="214604"/>
                  </a:cubicBezTo>
                  <a:cubicBezTo>
                    <a:pt x="46037" y="211493"/>
                    <a:pt x="57150" y="202163"/>
                    <a:pt x="61912" y="189722"/>
                  </a:cubicBezTo>
                  <a:cubicBezTo>
                    <a:pt x="53975" y="178836"/>
                    <a:pt x="38100" y="186612"/>
                    <a:pt x="36512" y="171061"/>
                  </a:cubicBezTo>
                  <a:cubicBezTo>
                    <a:pt x="38100" y="158620"/>
                    <a:pt x="34925" y="143069"/>
                    <a:pt x="38100" y="130628"/>
                  </a:cubicBezTo>
                  <a:cubicBezTo>
                    <a:pt x="49212" y="124408"/>
                    <a:pt x="49212" y="119742"/>
                    <a:pt x="61912" y="116632"/>
                  </a:cubicBezTo>
                  <a:cubicBezTo>
                    <a:pt x="70247" y="120131"/>
                    <a:pt x="72330" y="139376"/>
                    <a:pt x="74191" y="140250"/>
                  </a:cubicBezTo>
                  <a:lnTo>
                    <a:pt x="76200" y="133738"/>
                  </a:lnTo>
                  <a:cubicBezTo>
                    <a:pt x="90487" y="125963"/>
                    <a:pt x="84137" y="113522"/>
                    <a:pt x="104775" y="110412"/>
                  </a:cubicBezTo>
                  <a:cubicBezTo>
                    <a:pt x="125412" y="111967"/>
                    <a:pt x="127000" y="111967"/>
                    <a:pt x="128587" y="91750"/>
                  </a:cubicBezTo>
                  <a:cubicBezTo>
                    <a:pt x="133350" y="82420"/>
                    <a:pt x="139700" y="80865"/>
                    <a:pt x="147637" y="73089"/>
                  </a:cubicBezTo>
                  <a:close/>
                  <a:moveTo>
                    <a:pt x="195263" y="0"/>
                  </a:moveTo>
                  <a:cubicBezTo>
                    <a:pt x="195263" y="13996"/>
                    <a:pt x="201613" y="3110"/>
                    <a:pt x="204788" y="18661"/>
                  </a:cubicBezTo>
                  <a:cubicBezTo>
                    <a:pt x="201613" y="34212"/>
                    <a:pt x="195263" y="29547"/>
                    <a:pt x="193676" y="49763"/>
                  </a:cubicBezTo>
                  <a:cubicBezTo>
                    <a:pt x="182563" y="55984"/>
                    <a:pt x="180975" y="57539"/>
                    <a:pt x="179388" y="69980"/>
                  </a:cubicBezTo>
                  <a:cubicBezTo>
                    <a:pt x="177800" y="73090"/>
                    <a:pt x="177800" y="79310"/>
                    <a:pt x="174625" y="77755"/>
                  </a:cubicBezTo>
                  <a:cubicBezTo>
                    <a:pt x="171450" y="76200"/>
                    <a:pt x="176213" y="71535"/>
                    <a:pt x="176213" y="68424"/>
                  </a:cubicBezTo>
                  <a:cubicBezTo>
                    <a:pt x="177800" y="59094"/>
                    <a:pt x="177800" y="51318"/>
                    <a:pt x="179388" y="41988"/>
                  </a:cubicBezTo>
                  <a:cubicBezTo>
                    <a:pt x="174625" y="32657"/>
                    <a:pt x="174625" y="24882"/>
                    <a:pt x="176213" y="13996"/>
                  </a:cubicBezTo>
                  <a:cubicBezTo>
                    <a:pt x="188913" y="12441"/>
                    <a:pt x="185738" y="7776"/>
                    <a:pt x="195263" y="0"/>
                  </a:cubicBezTo>
                  <a:close/>
                </a:path>
              </a:pathLst>
            </a:custGeom>
            <a:grpFill/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431" name="Rectangle 430">
            <a:extLst>
              <a:ext uri="{FF2B5EF4-FFF2-40B4-BE49-F238E27FC236}">
                <a16:creationId xmlns:a16="http://schemas.microsoft.com/office/drawing/2014/main" id="{8F97F6BC-7996-40EE-BD2C-6CF7C085C603}"/>
              </a:ext>
            </a:extLst>
          </p:cNvPr>
          <p:cNvSpPr/>
          <p:nvPr/>
        </p:nvSpPr>
        <p:spPr>
          <a:xfrm>
            <a:off x="147976" y="1954323"/>
            <a:ext cx="2132267" cy="4418311"/>
          </a:xfrm>
          <a:prstGeom prst="rect">
            <a:avLst/>
          </a:prstGeom>
          <a:ln>
            <a:solidFill>
              <a:srgbClr val="4C6C9C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aphicFrame>
        <p:nvGraphicFramePr>
          <p:cNvPr id="446" name="Chart 445">
            <a:extLst>
              <a:ext uri="{FF2B5EF4-FFF2-40B4-BE49-F238E27FC236}">
                <a16:creationId xmlns:a16="http://schemas.microsoft.com/office/drawing/2014/main" id="{FE25CCFA-E8FA-47E6-8964-0346931BF609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10909300" y="987425"/>
          <a:ext cx="1133475" cy="544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0"/>
          </a:graphicData>
        </a:graphic>
      </p:graphicFrame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8B1E862E-2876-4EFC-A4A6-55509167A63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555413" y="1495425"/>
            <a:ext cx="3238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fld id="{2B5C40A0-7E90-49EE-8572-2FF57CEC4FA4}" type="datetime'''''20''''5''0''''''''''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ctr" defTabSz="89525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335F"/>
                </a:buClr>
                <a:buSzPct val="100000"/>
                <a:buFontTx/>
                <a:buNone/>
                <a:tabLst/>
                <a:defRPr/>
              </a:pPr>
              <a:t>2050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3F1CB818-95B9-44F2-A60E-9650287E17A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071225" y="1495425"/>
            <a:ext cx="3238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2014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graphicFrame>
        <p:nvGraphicFramePr>
          <p:cNvPr id="476" name="Chart 475">
            <a:extLst>
              <a:ext uri="{FF2B5EF4-FFF2-40B4-BE49-F238E27FC236}">
                <a16:creationId xmlns:a16="http://schemas.microsoft.com/office/drawing/2014/main" id="{645ED695-E3C5-4AE0-9752-82E3E1DFDCBE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3859213" y="2230438"/>
          <a:ext cx="1785937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1"/>
          </a:graphicData>
        </a:graphic>
      </p:graphicFrame>
      <p:sp>
        <p:nvSpPr>
          <p:cNvPr id="804" name="TextBox 803"/>
          <p:cNvSpPr txBox="1"/>
          <p:nvPr/>
        </p:nvSpPr>
        <p:spPr>
          <a:xfrm>
            <a:off x="4424075" y="4307102"/>
            <a:ext cx="66516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mericas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ECCC725F-7F9A-42C8-93A3-DD5FDD00C5D4}"/>
              </a:ext>
            </a:extLst>
          </p:cNvPr>
          <p:cNvSpPr txBox="1"/>
          <p:nvPr/>
        </p:nvSpPr>
        <p:spPr>
          <a:xfrm>
            <a:off x="6676248" y="3069749"/>
            <a:ext cx="66516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ctr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urope</a:t>
            </a:r>
          </a:p>
        </p:txBody>
      </p:sp>
      <p:graphicFrame>
        <p:nvGraphicFramePr>
          <p:cNvPr id="465" name="Chart 464">
            <a:extLst>
              <a:ext uri="{FF2B5EF4-FFF2-40B4-BE49-F238E27FC236}">
                <a16:creationId xmlns:a16="http://schemas.microsoft.com/office/drawing/2014/main" id="{3B6B65CE-F8EF-42AD-9D68-4F26D38F4C07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6054725" y="992188"/>
          <a:ext cx="1905000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2"/>
          </a:graphicData>
        </a:graphic>
      </p:graphicFrame>
      <p:graphicFrame>
        <p:nvGraphicFramePr>
          <p:cNvPr id="456" name="Chart 455">
            <a:extLst>
              <a:ext uri="{FF2B5EF4-FFF2-40B4-BE49-F238E27FC236}">
                <a16:creationId xmlns:a16="http://schemas.microsoft.com/office/drawing/2014/main" id="{48A598F9-C1BB-405A-909D-63FE3DE3FDC5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7826375" y="784225"/>
          <a:ext cx="1905000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3"/>
          </a:graphicData>
        </a:graphic>
      </p:graphicFrame>
      <p:sp>
        <p:nvSpPr>
          <p:cNvPr id="240" name="TextBox 783">
            <a:extLst>
              <a:ext uri="{FF2B5EF4-FFF2-40B4-BE49-F238E27FC236}">
                <a16:creationId xmlns:a16="http://schemas.microsoft.com/office/drawing/2014/main" id="{C862BA08-4228-4ED4-B2EC-92BE0275E5C2}"/>
              </a:ext>
            </a:extLst>
          </p:cNvPr>
          <p:cNvSpPr txBox="1"/>
          <p:nvPr/>
        </p:nvSpPr>
        <p:spPr>
          <a:xfrm>
            <a:off x="8540928" y="2860675"/>
            <a:ext cx="485775" cy="1698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urasia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C6EC42C3-32D4-4940-B51D-E176DBCA058F}"/>
              </a:ext>
            </a:extLst>
          </p:cNvPr>
          <p:cNvSpPr txBox="1"/>
          <p:nvPr/>
        </p:nvSpPr>
        <p:spPr>
          <a:xfrm>
            <a:off x="7400925" y="3713163"/>
            <a:ext cx="782638" cy="1698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iddle East</a:t>
            </a:r>
          </a:p>
        </p:txBody>
      </p:sp>
      <p:graphicFrame>
        <p:nvGraphicFramePr>
          <p:cNvPr id="470" name="Chart 469">
            <a:extLst>
              <a:ext uri="{FF2B5EF4-FFF2-40B4-BE49-F238E27FC236}">
                <a16:creationId xmlns:a16="http://schemas.microsoft.com/office/drawing/2014/main" id="{5F6B2045-616E-48C3-9140-4795B4592C5E}"/>
              </a:ext>
            </a:extLst>
          </p:cNvPr>
          <p:cNvGraphicFramePr/>
          <p:nvPr>
            <p:custDataLst>
              <p:tags r:id="rId11"/>
            </p:custDataLst>
            <p:extLst/>
          </p:nvPr>
        </p:nvGraphicFramePr>
        <p:xfrm>
          <a:off x="6837363" y="1643063"/>
          <a:ext cx="1905000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4"/>
          </a:graphicData>
        </a:graphic>
      </p:graphicFrame>
      <p:graphicFrame>
        <p:nvGraphicFramePr>
          <p:cNvPr id="473" name="Chart 472">
            <a:extLst>
              <a:ext uri="{FF2B5EF4-FFF2-40B4-BE49-F238E27FC236}">
                <a16:creationId xmlns:a16="http://schemas.microsoft.com/office/drawing/2014/main" id="{111E5B2A-807D-488D-BDA6-F29B47044119}"/>
              </a:ext>
            </a:extLst>
          </p:cNvPr>
          <p:cNvGraphicFramePr/>
          <p:nvPr>
            <p:custDataLst>
              <p:tags r:id="rId12"/>
            </p:custDataLst>
            <p:extLst/>
          </p:nvPr>
        </p:nvGraphicFramePr>
        <p:xfrm>
          <a:off x="6399213" y="2930525"/>
          <a:ext cx="1905000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5"/>
          </a:graphicData>
        </a:graphic>
      </p:graphicFrame>
      <p:sp>
        <p:nvSpPr>
          <p:cNvPr id="269" name="TextBox 268">
            <a:extLst>
              <a:ext uri="{FF2B5EF4-FFF2-40B4-BE49-F238E27FC236}">
                <a16:creationId xmlns:a16="http://schemas.microsoft.com/office/drawing/2014/main" id="{00C8C3A2-B475-40B4-84E2-5F6AC0194F4C}"/>
              </a:ext>
            </a:extLst>
          </p:cNvPr>
          <p:cNvSpPr txBox="1"/>
          <p:nvPr/>
        </p:nvSpPr>
        <p:spPr>
          <a:xfrm>
            <a:off x="7151211" y="5029620"/>
            <a:ext cx="404813" cy="1698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frica</a:t>
            </a:r>
          </a:p>
        </p:txBody>
      </p:sp>
      <p:graphicFrame>
        <p:nvGraphicFramePr>
          <p:cNvPr id="460" name="Chart 459">
            <a:extLst>
              <a:ext uri="{FF2B5EF4-FFF2-40B4-BE49-F238E27FC236}">
                <a16:creationId xmlns:a16="http://schemas.microsoft.com/office/drawing/2014/main" id="{0E8C8A18-CE6D-4072-BA18-690D17E5C466}"/>
              </a:ext>
            </a:extLst>
          </p:cNvPr>
          <p:cNvGraphicFramePr/>
          <p:nvPr>
            <p:custDataLst>
              <p:tags r:id="rId13"/>
            </p:custDataLst>
            <p:extLst/>
          </p:nvPr>
        </p:nvGraphicFramePr>
        <p:xfrm>
          <a:off x="7923213" y="2778125"/>
          <a:ext cx="1905000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6"/>
          </a:graphicData>
        </a:graphic>
      </p:graphicFrame>
      <p:sp>
        <p:nvSpPr>
          <p:cNvPr id="286" name="TextBox 285">
            <a:extLst>
              <a:ext uri="{FF2B5EF4-FFF2-40B4-BE49-F238E27FC236}">
                <a16:creationId xmlns:a16="http://schemas.microsoft.com/office/drawing/2014/main" id="{3AC11D7B-117C-474B-9E25-BF741A0FC132}"/>
              </a:ext>
            </a:extLst>
          </p:cNvPr>
          <p:cNvSpPr txBox="1"/>
          <p:nvPr/>
        </p:nvSpPr>
        <p:spPr>
          <a:xfrm>
            <a:off x="8702706" y="4876800"/>
            <a:ext cx="344488" cy="1698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dia</a:t>
            </a:r>
          </a:p>
        </p:txBody>
      </p:sp>
      <p:graphicFrame>
        <p:nvGraphicFramePr>
          <p:cNvPr id="452" name="Chart 451">
            <a:extLst>
              <a:ext uri="{FF2B5EF4-FFF2-40B4-BE49-F238E27FC236}">
                <a16:creationId xmlns:a16="http://schemas.microsoft.com/office/drawing/2014/main" id="{E3239200-A419-49DE-949D-8E3D24F25999}"/>
              </a:ext>
            </a:extLst>
          </p:cNvPr>
          <p:cNvGraphicFramePr/>
          <p:nvPr>
            <p:custDataLst>
              <p:tags r:id="rId14"/>
            </p:custDataLst>
            <p:extLst/>
          </p:nvPr>
        </p:nvGraphicFramePr>
        <p:xfrm>
          <a:off x="9083675" y="1638300"/>
          <a:ext cx="2484438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7"/>
          </a:graphicData>
        </a:graphic>
      </p:graphicFrame>
      <p:sp>
        <p:nvSpPr>
          <p:cNvPr id="299" name="TextBox 298">
            <a:extLst>
              <a:ext uri="{FF2B5EF4-FFF2-40B4-BE49-F238E27FC236}">
                <a16:creationId xmlns:a16="http://schemas.microsoft.com/office/drawing/2014/main" id="{37917E37-1FB4-4A4A-9CA9-BEECC4243B7F}"/>
              </a:ext>
            </a:extLst>
          </p:cNvPr>
          <p:cNvSpPr txBox="1"/>
          <p:nvPr/>
        </p:nvSpPr>
        <p:spPr>
          <a:xfrm>
            <a:off x="10086199" y="3696999"/>
            <a:ext cx="406400" cy="1698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ina</a:t>
            </a:r>
            <a:endParaRPr kumimoji="0" lang="en-US" sz="1100" b="1" i="0" u="none" strike="noStrike" kern="1200" cap="none" spc="0" normalizeH="0" baseline="3000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aphicFrame>
        <p:nvGraphicFramePr>
          <p:cNvPr id="433" name="Chart 432">
            <a:extLst>
              <a:ext uri="{FF2B5EF4-FFF2-40B4-BE49-F238E27FC236}">
                <a16:creationId xmlns:a16="http://schemas.microsoft.com/office/drawing/2014/main" id="{D1702936-EE31-4CD6-84E2-282DCB51ABCA}"/>
              </a:ext>
            </a:extLst>
          </p:cNvPr>
          <p:cNvGraphicFramePr/>
          <p:nvPr>
            <p:custDataLst>
              <p:tags r:id="rId15"/>
            </p:custDataLst>
            <p:extLst/>
          </p:nvPr>
        </p:nvGraphicFramePr>
        <p:xfrm>
          <a:off x="9456738" y="3548063"/>
          <a:ext cx="1905000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8"/>
          </a:graphicData>
        </a:graphic>
      </p:graphicFrame>
      <p:sp>
        <p:nvSpPr>
          <p:cNvPr id="239" name="TextBox 238">
            <a:extLst>
              <a:ext uri="{FF2B5EF4-FFF2-40B4-BE49-F238E27FC236}">
                <a16:creationId xmlns:a16="http://schemas.microsoft.com/office/drawing/2014/main" id="{E6E8B477-BE66-45A8-BA95-0EC4FB0D05C9}"/>
              </a:ext>
            </a:extLst>
          </p:cNvPr>
          <p:cNvSpPr txBox="1"/>
          <p:nvPr/>
        </p:nvSpPr>
        <p:spPr>
          <a:xfrm>
            <a:off x="9734550" y="5659438"/>
            <a:ext cx="1212850" cy="1698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ther Asia Pacific</a:t>
            </a:r>
          </a:p>
        </p:txBody>
      </p:sp>
      <p:graphicFrame>
        <p:nvGraphicFramePr>
          <p:cNvPr id="241" name="Chart 240">
            <a:extLst>
              <a:ext uri="{FF2B5EF4-FFF2-40B4-BE49-F238E27FC236}">
                <a16:creationId xmlns:a16="http://schemas.microsoft.com/office/drawing/2014/main" id="{5B3A5857-2EF7-43C8-9D66-D0818EA70EB5}"/>
              </a:ext>
            </a:extLst>
          </p:cNvPr>
          <p:cNvGraphicFramePr/>
          <p:nvPr>
            <p:custDataLst>
              <p:tags r:id="rId16"/>
            </p:custDataLst>
            <p:extLst/>
          </p:nvPr>
        </p:nvGraphicFramePr>
        <p:xfrm>
          <a:off x="-125413" y="2406650"/>
          <a:ext cx="2635250" cy="3648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9"/>
          </a:graphicData>
        </a:graphic>
      </p:graphicFrame>
      <p:sp>
        <p:nvSpPr>
          <p:cNvPr id="255" name="Rectangle 254">
            <a:extLst>
              <a:ext uri="{FF2B5EF4-FFF2-40B4-BE49-F238E27FC236}">
                <a16:creationId xmlns:a16="http://schemas.microsoft.com/office/drawing/2014/main" id="{CA78C3B4-5805-44E8-8294-5E800FDF0A6F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558800" y="6022975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98FFCEE-5A4E-4D36-AD9E-2F286CAF1D10}" type="datetime'''''''''''''''2''''''''01''''''''''''4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323787DB-C0EE-466C-9B5C-125123856CED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474788" y="6022975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E9F73EB-FF43-49E5-B4D4-A12EA4B18998}" type="datetime'''2''''''''''''''''05''''''''''''''0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5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9BD2843B-D2AB-4108-A734-DCD338E55CD7}"/>
              </a:ext>
            </a:extLst>
          </p:cNvPr>
          <p:cNvSpPr/>
          <p:nvPr/>
        </p:nvSpPr>
        <p:spPr>
          <a:xfrm>
            <a:off x="10361613" y="-421631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2.2</a:t>
            </a:r>
          </a:p>
        </p:txBody>
      </p:sp>
      <p:sp>
        <p:nvSpPr>
          <p:cNvPr id="440" name="AutoShape 250">
            <a:extLst>
              <a:ext uri="{FF2B5EF4-FFF2-40B4-BE49-F238E27FC236}">
                <a16:creationId xmlns:a16="http://schemas.microsoft.com/office/drawing/2014/main" id="{AC9FCA8B-0D6E-41BC-8E15-32F2390A08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746" y="999756"/>
            <a:ext cx="10544318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B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lobal cement produ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t per year, IEA Reference Technology Scenario</a:t>
            </a:r>
          </a:p>
        </p:txBody>
      </p:sp>
      <p:grpSp>
        <p:nvGrpSpPr>
          <p:cNvPr id="441" name="Group 440">
            <a:extLst>
              <a:ext uri="{FF2B5EF4-FFF2-40B4-BE49-F238E27FC236}">
                <a16:creationId xmlns:a16="http://schemas.microsoft.com/office/drawing/2014/main" id="{F134E42E-58FF-4562-A504-27F0D8B7E801}"/>
              </a:ext>
            </a:extLst>
          </p:cNvPr>
          <p:cNvGrpSpPr/>
          <p:nvPr/>
        </p:nvGrpSpPr>
        <p:grpSpPr>
          <a:xfrm>
            <a:off x="45694" y="1656588"/>
            <a:ext cx="5765056" cy="292389"/>
            <a:chOff x="77593" y="1497093"/>
            <a:chExt cx="5765056" cy="292389"/>
          </a:xfrm>
        </p:grpSpPr>
        <p:sp>
          <p:nvSpPr>
            <p:cNvPr id="442" name="TextBox 441">
              <a:extLst>
                <a:ext uri="{FF2B5EF4-FFF2-40B4-BE49-F238E27FC236}">
                  <a16:creationId xmlns:a16="http://schemas.microsoft.com/office/drawing/2014/main" id="{D91ED160-3FC0-4A8F-83D5-98A0279623BE}"/>
                </a:ext>
              </a:extLst>
            </p:cNvPr>
            <p:cNvSpPr txBox="1"/>
            <p:nvPr/>
          </p:nvSpPr>
          <p:spPr>
            <a:xfrm>
              <a:off x="77593" y="1497094"/>
              <a:ext cx="3211792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lobal production</a:t>
              </a:r>
            </a:p>
          </p:txBody>
        </p:sp>
        <p:sp>
          <p:nvSpPr>
            <p:cNvPr id="443" name="TextBox 442">
              <a:extLst>
                <a:ext uri="{FF2B5EF4-FFF2-40B4-BE49-F238E27FC236}">
                  <a16:creationId xmlns:a16="http://schemas.microsoft.com/office/drawing/2014/main" id="{FD1FD32C-4205-4E5D-A006-55D07E39F8CF}"/>
                </a:ext>
              </a:extLst>
            </p:cNvPr>
            <p:cNvSpPr txBox="1"/>
            <p:nvPr/>
          </p:nvSpPr>
          <p:spPr>
            <a:xfrm>
              <a:off x="2630857" y="1497093"/>
              <a:ext cx="3211792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Regional production</a:t>
              </a:r>
            </a:p>
          </p:txBody>
        </p:sp>
      </p:grpSp>
      <p:cxnSp>
        <p:nvCxnSpPr>
          <p:cNvPr id="445" name="AutoShape 249">
            <a:extLst>
              <a:ext uri="{FF2B5EF4-FFF2-40B4-BE49-F238E27FC236}">
                <a16:creationId xmlns:a16="http://schemas.microsoft.com/office/drawing/2014/main" id="{83C416E7-EB05-464C-A9C2-CF17B1B9980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76746" y="1449110"/>
            <a:ext cx="10544318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9" name="5. Source">
            <a:extLst>
              <a:ext uri="{FF2B5EF4-FFF2-40B4-BE49-F238E27FC236}">
                <a16:creationId xmlns:a16="http://schemas.microsoft.com/office/drawing/2014/main" id="{B9BB57AE-3F4A-4453-8C47-9DC442CD8A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15505"/>
            <a:ext cx="11778784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Global and China bar graphs are not on the same scale as other regions/countries.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EA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echnology Perspectives;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EA-CSI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echnology Roadmap – Low-carbon transition in the cement industry</a:t>
            </a:r>
          </a:p>
        </p:txBody>
      </p:sp>
      <p:sp>
        <p:nvSpPr>
          <p:cNvPr id="220" name="Title 1">
            <a:extLst>
              <a:ext uri="{FF2B5EF4-FFF2-40B4-BE49-F238E27FC236}">
                <a16:creationId xmlns:a16="http://schemas.microsoft.com/office/drawing/2014/main" id="{C5AAABE0-55DA-4667-B7D7-A684DCE5F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02" y="277727"/>
            <a:ext cx="11172835" cy="3140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Cement annual global production is expected to increase by 12% by mid-centur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49649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Slide" r:id="rId220" imgW="526" imgH="526" progId="TCLayout.ActiveDocument.1">
                  <p:embed/>
                </p:oleObj>
              </mc:Choice>
              <mc:Fallback>
                <p:oleObj name="think-cell Slide" r:id="rId220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221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0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41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Arial Unicode MS"/>
              <a:cs typeface="+mn-cs"/>
              <a:sym typeface="Century Gothic" panose="020B0502020202020204" pitchFamily="34" charset="0"/>
            </a:endParaRPr>
          </a:p>
        </p:txBody>
      </p: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78837ED2-0427-4E98-98EF-24E9393DF976}"/>
              </a:ext>
            </a:extLst>
          </p:cNvPr>
          <p:cNvGrpSpPr>
            <a:grpSpLocks/>
          </p:cNvGrpSpPr>
          <p:nvPr/>
        </p:nvGrpSpPr>
        <p:grpSpPr>
          <a:xfrm>
            <a:off x="2460633" y="1784869"/>
            <a:ext cx="9007786" cy="4601603"/>
            <a:chOff x="38163" y="1274763"/>
            <a:chExt cx="8848662" cy="4519612"/>
          </a:xfrm>
          <a:solidFill>
            <a:schemeClr val="accent6">
              <a:lumMod val="20000"/>
              <a:lumOff val="80000"/>
            </a:schemeClr>
          </a:solidFill>
        </p:grpSpPr>
        <p:grpSp>
          <p:nvGrpSpPr>
            <p:cNvPr id="243" name="Group 242">
              <a:extLst>
                <a:ext uri="{FF2B5EF4-FFF2-40B4-BE49-F238E27FC236}">
                  <a16:creationId xmlns:a16="http://schemas.microsoft.com/office/drawing/2014/main" id="{77152CAC-42EA-4BA8-87A3-0E0EB708FC0F}"/>
                </a:ext>
              </a:extLst>
            </p:cNvPr>
            <p:cNvGrpSpPr/>
            <p:nvPr/>
          </p:nvGrpSpPr>
          <p:grpSpPr>
            <a:xfrm>
              <a:off x="38163" y="1274763"/>
              <a:ext cx="8848662" cy="4519612"/>
              <a:chOff x="38163" y="1274763"/>
              <a:chExt cx="8848662" cy="4519612"/>
            </a:xfrm>
            <a:grpFill/>
          </p:grpSpPr>
          <p:sp>
            <p:nvSpPr>
              <p:cNvPr id="248" name="Freeform 5">
                <a:extLst>
                  <a:ext uri="{FF2B5EF4-FFF2-40B4-BE49-F238E27FC236}">
                    <a16:creationId xmlns:a16="http://schemas.microsoft.com/office/drawing/2014/main" id="{AD50247B-C92D-41AC-8DC7-FE21FEF2EA19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121151" y="3248025"/>
                <a:ext cx="504825" cy="490538"/>
              </a:xfrm>
              <a:custGeom>
                <a:avLst/>
                <a:gdLst>
                  <a:gd name="T0" fmla="*/ 192 w 313"/>
                  <a:gd name="T1" fmla="*/ 306 h 309"/>
                  <a:gd name="T2" fmla="*/ 171 w 313"/>
                  <a:gd name="T3" fmla="*/ 294 h 309"/>
                  <a:gd name="T4" fmla="*/ 131 w 313"/>
                  <a:gd name="T5" fmla="*/ 264 h 309"/>
                  <a:gd name="T6" fmla="*/ 102 w 313"/>
                  <a:gd name="T7" fmla="*/ 246 h 309"/>
                  <a:gd name="T8" fmla="*/ 86 w 313"/>
                  <a:gd name="T9" fmla="*/ 231 h 309"/>
                  <a:gd name="T10" fmla="*/ 45 w 313"/>
                  <a:gd name="T11" fmla="*/ 205 h 309"/>
                  <a:gd name="T12" fmla="*/ 17 w 313"/>
                  <a:gd name="T13" fmla="*/ 187 h 309"/>
                  <a:gd name="T14" fmla="*/ 15 w 313"/>
                  <a:gd name="T15" fmla="*/ 180 h 309"/>
                  <a:gd name="T16" fmla="*/ 0 w 313"/>
                  <a:gd name="T17" fmla="*/ 165 h 309"/>
                  <a:gd name="T18" fmla="*/ 14 w 313"/>
                  <a:gd name="T19" fmla="*/ 147 h 309"/>
                  <a:gd name="T20" fmla="*/ 24 w 313"/>
                  <a:gd name="T21" fmla="*/ 139 h 309"/>
                  <a:gd name="T22" fmla="*/ 38 w 313"/>
                  <a:gd name="T23" fmla="*/ 138 h 309"/>
                  <a:gd name="T24" fmla="*/ 53 w 313"/>
                  <a:gd name="T25" fmla="*/ 129 h 309"/>
                  <a:gd name="T26" fmla="*/ 62 w 313"/>
                  <a:gd name="T27" fmla="*/ 120 h 309"/>
                  <a:gd name="T28" fmla="*/ 77 w 313"/>
                  <a:gd name="T29" fmla="*/ 114 h 309"/>
                  <a:gd name="T30" fmla="*/ 89 w 313"/>
                  <a:gd name="T31" fmla="*/ 102 h 309"/>
                  <a:gd name="T32" fmla="*/ 92 w 313"/>
                  <a:gd name="T33" fmla="*/ 91 h 309"/>
                  <a:gd name="T34" fmla="*/ 108 w 313"/>
                  <a:gd name="T35" fmla="*/ 90 h 309"/>
                  <a:gd name="T36" fmla="*/ 110 w 313"/>
                  <a:gd name="T37" fmla="*/ 73 h 309"/>
                  <a:gd name="T38" fmla="*/ 110 w 313"/>
                  <a:gd name="T39" fmla="*/ 44 h 309"/>
                  <a:gd name="T40" fmla="*/ 116 w 313"/>
                  <a:gd name="T41" fmla="*/ 33 h 309"/>
                  <a:gd name="T42" fmla="*/ 131 w 313"/>
                  <a:gd name="T43" fmla="*/ 28 h 309"/>
                  <a:gd name="T44" fmla="*/ 149 w 313"/>
                  <a:gd name="T45" fmla="*/ 18 h 309"/>
                  <a:gd name="T46" fmla="*/ 188 w 313"/>
                  <a:gd name="T47" fmla="*/ 12 h 309"/>
                  <a:gd name="T48" fmla="*/ 228 w 313"/>
                  <a:gd name="T49" fmla="*/ 19 h 309"/>
                  <a:gd name="T50" fmla="*/ 222 w 313"/>
                  <a:gd name="T51" fmla="*/ 9 h 309"/>
                  <a:gd name="T52" fmla="*/ 258 w 313"/>
                  <a:gd name="T53" fmla="*/ 18 h 309"/>
                  <a:gd name="T54" fmla="*/ 251 w 313"/>
                  <a:gd name="T55" fmla="*/ 52 h 309"/>
                  <a:gd name="T56" fmla="*/ 254 w 313"/>
                  <a:gd name="T57" fmla="*/ 84 h 309"/>
                  <a:gd name="T58" fmla="*/ 255 w 313"/>
                  <a:gd name="T59" fmla="*/ 90 h 309"/>
                  <a:gd name="T60" fmla="*/ 260 w 313"/>
                  <a:gd name="T61" fmla="*/ 91 h 309"/>
                  <a:gd name="T62" fmla="*/ 270 w 313"/>
                  <a:gd name="T63" fmla="*/ 102 h 309"/>
                  <a:gd name="T64" fmla="*/ 281 w 313"/>
                  <a:gd name="T65" fmla="*/ 111 h 309"/>
                  <a:gd name="T66" fmla="*/ 279 w 313"/>
                  <a:gd name="T67" fmla="*/ 142 h 309"/>
                  <a:gd name="T68" fmla="*/ 279 w 313"/>
                  <a:gd name="T69" fmla="*/ 154 h 309"/>
                  <a:gd name="T70" fmla="*/ 288 w 313"/>
                  <a:gd name="T71" fmla="*/ 181 h 309"/>
                  <a:gd name="T72" fmla="*/ 272 w 313"/>
                  <a:gd name="T73" fmla="*/ 198 h 309"/>
                  <a:gd name="T74" fmla="*/ 281 w 313"/>
                  <a:gd name="T75" fmla="*/ 211 h 309"/>
                  <a:gd name="T76" fmla="*/ 296 w 313"/>
                  <a:gd name="T77" fmla="*/ 226 h 309"/>
                  <a:gd name="T78" fmla="*/ 305 w 313"/>
                  <a:gd name="T79" fmla="*/ 232 h 309"/>
                  <a:gd name="T80" fmla="*/ 290 w 313"/>
                  <a:gd name="T81" fmla="*/ 250 h 309"/>
                  <a:gd name="T82" fmla="*/ 273 w 313"/>
                  <a:gd name="T83" fmla="*/ 256 h 309"/>
                  <a:gd name="T84" fmla="*/ 258 w 313"/>
                  <a:gd name="T85" fmla="*/ 265 h 309"/>
                  <a:gd name="T86" fmla="*/ 246 w 313"/>
                  <a:gd name="T87" fmla="*/ 280 h 309"/>
                  <a:gd name="T88" fmla="*/ 237 w 313"/>
                  <a:gd name="T89" fmla="*/ 286 h 309"/>
                  <a:gd name="T90" fmla="*/ 218 w 313"/>
                  <a:gd name="T91" fmla="*/ 304 h 309"/>
                  <a:gd name="T92" fmla="*/ 192 w 313"/>
                  <a:gd name="T93" fmla="*/ 306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13" h="309">
                    <a:moveTo>
                      <a:pt x="192" y="306"/>
                    </a:moveTo>
                    <a:cubicBezTo>
                      <a:pt x="176" y="303"/>
                      <a:pt x="184" y="296"/>
                      <a:pt x="171" y="294"/>
                    </a:cubicBezTo>
                    <a:cubicBezTo>
                      <a:pt x="161" y="287"/>
                      <a:pt x="142" y="272"/>
                      <a:pt x="131" y="264"/>
                    </a:cubicBezTo>
                    <a:cubicBezTo>
                      <a:pt x="123" y="257"/>
                      <a:pt x="109" y="251"/>
                      <a:pt x="102" y="246"/>
                    </a:cubicBezTo>
                    <a:cubicBezTo>
                      <a:pt x="100" y="245"/>
                      <a:pt x="89" y="233"/>
                      <a:pt x="86" y="231"/>
                    </a:cubicBezTo>
                    <a:cubicBezTo>
                      <a:pt x="72" y="222"/>
                      <a:pt x="58" y="215"/>
                      <a:pt x="45" y="205"/>
                    </a:cubicBezTo>
                    <a:cubicBezTo>
                      <a:pt x="37" y="199"/>
                      <a:pt x="28" y="189"/>
                      <a:pt x="17" y="187"/>
                    </a:cubicBezTo>
                    <a:cubicBezTo>
                      <a:pt x="11" y="182"/>
                      <a:pt x="18" y="184"/>
                      <a:pt x="15" y="180"/>
                    </a:cubicBezTo>
                    <a:cubicBezTo>
                      <a:pt x="12" y="176"/>
                      <a:pt x="0" y="170"/>
                      <a:pt x="0" y="165"/>
                    </a:cubicBezTo>
                    <a:cubicBezTo>
                      <a:pt x="0" y="160"/>
                      <a:pt x="10" y="151"/>
                      <a:pt x="14" y="147"/>
                    </a:cubicBezTo>
                    <a:cubicBezTo>
                      <a:pt x="17" y="141"/>
                      <a:pt x="20" y="140"/>
                      <a:pt x="24" y="139"/>
                    </a:cubicBezTo>
                    <a:cubicBezTo>
                      <a:pt x="28" y="138"/>
                      <a:pt x="33" y="140"/>
                      <a:pt x="38" y="138"/>
                    </a:cubicBezTo>
                    <a:cubicBezTo>
                      <a:pt x="45" y="135"/>
                      <a:pt x="49" y="132"/>
                      <a:pt x="53" y="129"/>
                    </a:cubicBezTo>
                    <a:cubicBezTo>
                      <a:pt x="57" y="126"/>
                      <a:pt x="58" y="123"/>
                      <a:pt x="62" y="120"/>
                    </a:cubicBezTo>
                    <a:cubicBezTo>
                      <a:pt x="64" y="117"/>
                      <a:pt x="75" y="117"/>
                      <a:pt x="77" y="114"/>
                    </a:cubicBezTo>
                    <a:cubicBezTo>
                      <a:pt x="81" y="111"/>
                      <a:pt x="87" y="106"/>
                      <a:pt x="89" y="102"/>
                    </a:cubicBezTo>
                    <a:cubicBezTo>
                      <a:pt x="91" y="98"/>
                      <a:pt x="89" y="93"/>
                      <a:pt x="92" y="91"/>
                    </a:cubicBezTo>
                    <a:cubicBezTo>
                      <a:pt x="97" y="89"/>
                      <a:pt x="101" y="91"/>
                      <a:pt x="108" y="90"/>
                    </a:cubicBezTo>
                    <a:cubicBezTo>
                      <a:pt x="110" y="81"/>
                      <a:pt x="112" y="82"/>
                      <a:pt x="110" y="73"/>
                    </a:cubicBezTo>
                    <a:cubicBezTo>
                      <a:pt x="110" y="65"/>
                      <a:pt x="109" y="51"/>
                      <a:pt x="110" y="44"/>
                    </a:cubicBezTo>
                    <a:cubicBezTo>
                      <a:pt x="111" y="37"/>
                      <a:pt x="112" y="36"/>
                      <a:pt x="116" y="33"/>
                    </a:cubicBezTo>
                    <a:cubicBezTo>
                      <a:pt x="118" y="22"/>
                      <a:pt x="123" y="26"/>
                      <a:pt x="131" y="28"/>
                    </a:cubicBezTo>
                    <a:cubicBezTo>
                      <a:pt x="136" y="21"/>
                      <a:pt x="141" y="20"/>
                      <a:pt x="149" y="18"/>
                    </a:cubicBezTo>
                    <a:cubicBezTo>
                      <a:pt x="161" y="9"/>
                      <a:pt x="169" y="13"/>
                      <a:pt x="188" y="12"/>
                    </a:cubicBezTo>
                    <a:cubicBezTo>
                      <a:pt x="200" y="3"/>
                      <a:pt x="215" y="17"/>
                      <a:pt x="228" y="19"/>
                    </a:cubicBezTo>
                    <a:cubicBezTo>
                      <a:pt x="239" y="23"/>
                      <a:pt x="227" y="15"/>
                      <a:pt x="222" y="9"/>
                    </a:cubicBezTo>
                    <a:cubicBezTo>
                      <a:pt x="237" y="0"/>
                      <a:pt x="282" y="4"/>
                      <a:pt x="258" y="18"/>
                    </a:cubicBezTo>
                    <a:cubicBezTo>
                      <a:pt x="251" y="27"/>
                      <a:pt x="263" y="43"/>
                      <a:pt x="251" y="52"/>
                    </a:cubicBezTo>
                    <a:cubicBezTo>
                      <a:pt x="248" y="64"/>
                      <a:pt x="245" y="75"/>
                      <a:pt x="254" y="84"/>
                    </a:cubicBezTo>
                    <a:cubicBezTo>
                      <a:pt x="254" y="86"/>
                      <a:pt x="254" y="88"/>
                      <a:pt x="255" y="90"/>
                    </a:cubicBezTo>
                    <a:cubicBezTo>
                      <a:pt x="256" y="91"/>
                      <a:pt x="259" y="90"/>
                      <a:pt x="260" y="91"/>
                    </a:cubicBezTo>
                    <a:cubicBezTo>
                      <a:pt x="262" y="93"/>
                      <a:pt x="269" y="99"/>
                      <a:pt x="270" y="102"/>
                    </a:cubicBezTo>
                    <a:cubicBezTo>
                      <a:pt x="271" y="108"/>
                      <a:pt x="278" y="105"/>
                      <a:pt x="281" y="111"/>
                    </a:cubicBezTo>
                    <a:cubicBezTo>
                      <a:pt x="282" y="117"/>
                      <a:pt x="279" y="135"/>
                      <a:pt x="279" y="142"/>
                    </a:cubicBezTo>
                    <a:cubicBezTo>
                      <a:pt x="279" y="149"/>
                      <a:pt x="278" y="148"/>
                      <a:pt x="279" y="154"/>
                    </a:cubicBezTo>
                    <a:cubicBezTo>
                      <a:pt x="280" y="160"/>
                      <a:pt x="289" y="174"/>
                      <a:pt x="288" y="181"/>
                    </a:cubicBezTo>
                    <a:cubicBezTo>
                      <a:pt x="287" y="188"/>
                      <a:pt x="273" y="193"/>
                      <a:pt x="272" y="198"/>
                    </a:cubicBezTo>
                    <a:cubicBezTo>
                      <a:pt x="275" y="202"/>
                      <a:pt x="278" y="207"/>
                      <a:pt x="281" y="211"/>
                    </a:cubicBezTo>
                    <a:cubicBezTo>
                      <a:pt x="283" y="220"/>
                      <a:pt x="288" y="225"/>
                      <a:pt x="296" y="226"/>
                    </a:cubicBezTo>
                    <a:cubicBezTo>
                      <a:pt x="303" y="230"/>
                      <a:pt x="296" y="228"/>
                      <a:pt x="305" y="232"/>
                    </a:cubicBezTo>
                    <a:cubicBezTo>
                      <a:pt x="313" y="242"/>
                      <a:pt x="295" y="250"/>
                      <a:pt x="290" y="250"/>
                    </a:cubicBezTo>
                    <a:cubicBezTo>
                      <a:pt x="283" y="253"/>
                      <a:pt x="280" y="253"/>
                      <a:pt x="273" y="256"/>
                    </a:cubicBezTo>
                    <a:cubicBezTo>
                      <a:pt x="268" y="263"/>
                      <a:pt x="267" y="263"/>
                      <a:pt x="258" y="265"/>
                    </a:cubicBezTo>
                    <a:cubicBezTo>
                      <a:pt x="254" y="268"/>
                      <a:pt x="250" y="277"/>
                      <a:pt x="246" y="280"/>
                    </a:cubicBezTo>
                    <a:cubicBezTo>
                      <a:pt x="243" y="286"/>
                      <a:pt x="244" y="285"/>
                      <a:pt x="237" y="286"/>
                    </a:cubicBezTo>
                    <a:cubicBezTo>
                      <a:pt x="231" y="290"/>
                      <a:pt x="225" y="303"/>
                      <a:pt x="218" y="304"/>
                    </a:cubicBezTo>
                    <a:cubicBezTo>
                      <a:pt x="211" y="309"/>
                      <a:pt x="200" y="306"/>
                      <a:pt x="192" y="30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0" name="Freeform 6">
                <a:extLst>
                  <a:ext uri="{FF2B5EF4-FFF2-40B4-BE49-F238E27FC236}">
                    <a16:creationId xmlns:a16="http://schemas.microsoft.com/office/drawing/2014/main" id="{6FE668F7-FE2B-4FE2-8EBD-8BB473A2E117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59301" y="3371850"/>
                <a:ext cx="381000" cy="355600"/>
              </a:xfrm>
              <a:custGeom>
                <a:avLst/>
                <a:gdLst>
                  <a:gd name="T0" fmla="*/ 6 w 236"/>
                  <a:gd name="T1" fmla="*/ 43 h 224"/>
                  <a:gd name="T2" fmla="*/ 16 w 236"/>
                  <a:gd name="T3" fmla="*/ 22 h 224"/>
                  <a:gd name="T4" fmla="*/ 28 w 236"/>
                  <a:gd name="T5" fmla="*/ 15 h 224"/>
                  <a:gd name="T6" fmla="*/ 48 w 236"/>
                  <a:gd name="T7" fmla="*/ 0 h 224"/>
                  <a:gd name="T8" fmla="*/ 85 w 236"/>
                  <a:gd name="T9" fmla="*/ 6 h 224"/>
                  <a:gd name="T10" fmla="*/ 118 w 236"/>
                  <a:gd name="T11" fmla="*/ 30 h 224"/>
                  <a:gd name="T12" fmla="*/ 142 w 236"/>
                  <a:gd name="T13" fmla="*/ 40 h 224"/>
                  <a:gd name="T14" fmla="*/ 150 w 236"/>
                  <a:gd name="T15" fmla="*/ 43 h 224"/>
                  <a:gd name="T16" fmla="*/ 160 w 236"/>
                  <a:gd name="T17" fmla="*/ 30 h 224"/>
                  <a:gd name="T18" fmla="*/ 156 w 236"/>
                  <a:gd name="T19" fmla="*/ 13 h 224"/>
                  <a:gd name="T20" fmla="*/ 174 w 236"/>
                  <a:gd name="T21" fmla="*/ 3 h 224"/>
                  <a:gd name="T22" fmla="*/ 213 w 236"/>
                  <a:gd name="T23" fmla="*/ 12 h 224"/>
                  <a:gd name="T24" fmla="*/ 226 w 236"/>
                  <a:gd name="T25" fmla="*/ 21 h 224"/>
                  <a:gd name="T26" fmla="*/ 228 w 236"/>
                  <a:gd name="T27" fmla="*/ 34 h 224"/>
                  <a:gd name="T28" fmla="*/ 229 w 236"/>
                  <a:gd name="T29" fmla="*/ 66 h 224"/>
                  <a:gd name="T30" fmla="*/ 231 w 236"/>
                  <a:gd name="T31" fmla="*/ 183 h 224"/>
                  <a:gd name="T32" fmla="*/ 232 w 236"/>
                  <a:gd name="T33" fmla="*/ 217 h 224"/>
                  <a:gd name="T34" fmla="*/ 208 w 236"/>
                  <a:gd name="T35" fmla="*/ 223 h 224"/>
                  <a:gd name="T36" fmla="*/ 186 w 236"/>
                  <a:gd name="T37" fmla="*/ 208 h 224"/>
                  <a:gd name="T38" fmla="*/ 168 w 236"/>
                  <a:gd name="T39" fmla="*/ 198 h 224"/>
                  <a:gd name="T40" fmla="*/ 153 w 236"/>
                  <a:gd name="T41" fmla="*/ 195 h 224"/>
                  <a:gd name="T42" fmla="*/ 145 w 236"/>
                  <a:gd name="T43" fmla="*/ 187 h 224"/>
                  <a:gd name="T44" fmla="*/ 129 w 236"/>
                  <a:gd name="T45" fmla="*/ 175 h 224"/>
                  <a:gd name="T46" fmla="*/ 103 w 236"/>
                  <a:gd name="T47" fmla="*/ 168 h 224"/>
                  <a:gd name="T48" fmla="*/ 78 w 236"/>
                  <a:gd name="T49" fmla="*/ 171 h 224"/>
                  <a:gd name="T50" fmla="*/ 58 w 236"/>
                  <a:gd name="T51" fmla="*/ 163 h 224"/>
                  <a:gd name="T52" fmla="*/ 39 w 236"/>
                  <a:gd name="T53" fmla="*/ 160 h 224"/>
                  <a:gd name="T54" fmla="*/ 12 w 236"/>
                  <a:gd name="T55" fmla="*/ 139 h 224"/>
                  <a:gd name="T56" fmla="*/ 1 w 236"/>
                  <a:gd name="T57" fmla="*/ 127 h 224"/>
                  <a:gd name="T58" fmla="*/ 15 w 236"/>
                  <a:gd name="T59" fmla="*/ 106 h 224"/>
                  <a:gd name="T60" fmla="*/ 7 w 236"/>
                  <a:gd name="T61" fmla="*/ 73 h 224"/>
                  <a:gd name="T62" fmla="*/ 6 w 236"/>
                  <a:gd name="T63" fmla="*/ 4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224">
                    <a:moveTo>
                      <a:pt x="6" y="43"/>
                    </a:moveTo>
                    <a:cubicBezTo>
                      <a:pt x="8" y="35"/>
                      <a:pt x="12" y="27"/>
                      <a:pt x="16" y="22"/>
                    </a:cubicBezTo>
                    <a:cubicBezTo>
                      <a:pt x="20" y="17"/>
                      <a:pt x="23" y="19"/>
                      <a:pt x="28" y="15"/>
                    </a:cubicBezTo>
                    <a:cubicBezTo>
                      <a:pt x="34" y="5"/>
                      <a:pt x="37" y="2"/>
                      <a:pt x="48" y="0"/>
                    </a:cubicBezTo>
                    <a:cubicBezTo>
                      <a:pt x="73" y="1"/>
                      <a:pt x="67" y="2"/>
                      <a:pt x="85" y="6"/>
                    </a:cubicBezTo>
                    <a:cubicBezTo>
                      <a:pt x="103" y="30"/>
                      <a:pt x="74" y="26"/>
                      <a:pt x="118" y="30"/>
                    </a:cubicBezTo>
                    <a:cubicBezTo>
                      <a:pt x="127" y="32"/>
                      <a:pt x="133" y="38"/>
                      <a:pt x="142" y="40"/>
                    </a:cubicBezTo>
                    <a:cubicBezTo>
                      <a:pt x="144" y="44"/>
                      <a:pt x="145" y="48"/>
                      <a:pt x="150" y="43"/>
                    </a:cubicBezTo>
                    <a:cubicBezTo>
                      <a:pt x="154" y="39"/>
                      <a:pt x="160" y="30"/>
                      <a:pt x="160" y="30"/>
                    </a:cubicBezTo>
                    <a:cubicBezTo>
                      <a:pt x="159" y="23"/>
                      <a:pt x="157" y="19"/>
                      <a:pt x="156" y="13"/>
                    </a:cubicBezTo>
                    <a:cubicBezTo>
                      <a:pt x="161" y="9"/>
                      <a:pt x="168" y="7"/>
                      <a:pt x="174" y="3"/>
                    </a:cubicBezTo>
                    <a:cubicBezTo>
                      <a:pt x="197" y="4"/>
                      <a:pt x="194" y="8"/>
                      <a:pt x="213" y="12"/>
                    </a:cubicBezTo>
                    <a:cubicBezTo>
                      <a:pt x="217" y="15"/>
                      <a:pt x="222" y="18"/>
                      <a:pt x="226" y="21"/>
                    </a:cubicBezTo>
                    <a:cubicBezTo>
                      <a:pt x="229" y="27"/>
                      <a:pt x="229" y="28"/>
                      <a:pt x="228" y="34"/>
                    </a:cubicBezTo>
                    <a:cubicBezTo>
                      <a:pt x="230" y="44"/>
                      <a:pt x="227" y="56"/>
                      <a:pt x="229" y="66"/>
                    </a:cubicBezTo>
                    <a:cubicBezTo>
                      <a:pt x="232" y="90"/>
                      <a:pt x="234" y="157"/>
                      <a:pt x="231" y="183"/>
                    </a:cubicBezTo>
                    <a:cubicBezTo>
                      <a:pt x="231" y="208"/>
                      <a:pt x="236" y="210"/>
                      <a:pt x="232" y="217"/>
                    </a:cubicBezTo>
                    <a:cubicBezTo>
                      <a:pt x="228" y="224"/>
                      <a:pt x="216" y="224"/>
                      <a:pt x="208" y="223"/>
                    </a:cubicBezTo>
                    <a:cubicBezTo>
                      <a:pt x="201" y="222"/>
                      <a:pt x="193" y="212"/>
                      <a:pt x="186" y="208"/>
                    </a:cubicBezTo>
                    <a:cubicBezTo>
                      <a:pt x="179" y="204"/>
                      <a:pt x="173" y="200"/>
                      <a:pt x="168" y="198"/>
                    </a:cubicBezTo>
                    <a:cubicBezTo>
                      <a:pt x="163" y="194"/>
                      <a:pt x="155" y="197"/>
                      <a:pt x="153" y="195"/>
                    </a:cubicBezTo>
                    <a:cubicBezTo>
                      <a:pt x="149" y="193"/>
                      <a:pt x="149" y="190"/>
                      <a:pt x="145" y="187"/>
                    </a:cubicBezTo>
                    <a:cubicBezTo>
                      <a:pt x="139" y="183"/>
                      <a:pt x="136" y="178"/>
                      <a:pt x="129" y="175"/>
                    </a:cubicBezTo>
                    <a:cubicBezTo>
                      <a:pt x="122" y="172"/>
                      <a:pt x="111" y="169"/>
                      <a:pt x="103" y="168"/>
                    </a:cubicBezTo>
                    <a:cubicBezTo>
                      <a:pt x="75" y="169"/>
                      <a:pt x="94" y="162"/>
                      <a:pt x="78" y="171"/>
                    </a:cubicBezTo>
                    <a:cubicBezTo>
                      <a:pt x="74" y="170"/>
                      <a:pt x="62" y="164"/>
                      <a:pt x="58" y="163"/>
                    </a:cubicBezTo>
                    <a:cubicBezTo>
                      <a:pt x="52" y="161"/>
                      <a:pt x="39" y="160"/>
                      <a:pt x="39" y="160"/>
                    </a:cubicBezTo>
                    <a:cubicBezTo>
                      <a:pt x="30" y="154"/>
                      <a:pt x="20" y="147"/>
                      <a:pt x="12" y="139"/>
                    </a:cubicBezTo>
                    <a:cubicBezTo>
                      <a:pt x="7" y="134"/>
                      <a:pt x="7" y="131"/>
                      <a:pt x="1" y="127"/>
                    </a:cubicBezTo>
                    <a:cubicBezTo>
                      <a:pt x="0" y="119"/>
                      <a:pt x="10" y="112"/>
                      <a:pt x="15" y="106"/>
                    </a:cubicBezTo>
                    <a:cubicBezTo>
                      <a:pt x="17" y="94"/>
                      <a:pt x="11" y="84"/>
                      <a:pt x="7" y="73"/>
                    </a:cubicBezTo>
                    <a:cubicBezTo>
                      <a:pt x="6" y="61"/>
                      <a:pt x="6" y="54"/>
                      <a:pt x="6" y="4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1" name="Freeform 7">
                <a:extLst>
                  <a:ext uri="{FF2B5EF4-FFF2-40B4-BE49-F238E27FC236}">
                    <a16:creationId xmlns:a16="http://schemas.microsoft.com/office/drawing/2014/main" id="{47577783-0A6A-40CC-ABC6-A030B0004A5E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862513" y="2749550"/>
                <a:ext cx="463550" cy="282575"/>
              </a:xfrm>
              <a:custGeom>
                <a:avLst/>
                <a:gdLst>
                  <a:gd name="T0" fmla="*/ 107 w 287"/>
                  <a:gd name="T1" fmla="*/ 158 h 178"/>
                  <a:gd name="T2" fmla="*/ 131 w 287"/>
                  <a:gd name="T3" fmla="*/ 137 h 178"/>
                  <a:gd name="T4" fmla="*/ 151 w 287"/>
                  <a:gd name="T5" fmla="*/ 132 h 178"/>
                  <a:gd name="T6" fmla="*/ 152 w 287"/>
                  <a:gd name="T7" fmla="*/ 149 h 178"/>
                  <a:gd name="T8" fmla="*/ 163 w 287"/>
                  <a:gd name="T9" fmla="*/ 156 h 178"/>
                  <a:gd name="T10" fmla="*/ 176 w 287"/>
                  <a:gd name="T11" fmla="*/ 176 h 178"/>
                  <a:gd name="T12" fmla="*/ 211 w 287"/>
                  <a:gd name="T13" fmla="*/ 164 h 178"/>
                  <a:gd name="T14" fmla="*/ 194 w 287"/>
                  <a:gd name="T15" fmla="*/ 149 h 178"/>
                  <a:gd name="T16" fmla="*/ 185 w 287"/>
                  <a:gd name="T17" fmla="*/ 143 h 178"/>
                  <a:gd name="T18" fmla="*/ 199 w 287"/>
                  <a:gd name="T19" fmla="*/ 134 h 178"/>
                  <a:gd name="T20" fmla="*/ 217 w 287"/>
                  <a:gd name="T21" fmla="*/ 125 h 178"/>
                  <a:gd name="T22" fmla="*/ 251 w 287"/>
                  <a:gd name="T23" fmla="*/ 114 h 178"/>
                  <a:gd name="T24" fmla="*/ 263 w 287"/>
                  <a:gd name="T25" fmla="*/ 104 h 178"/>
                  <a:gd name="T26" fmla="*/ 263 w 287"/>
                  <a:gd name="T27" fmla="*/ 63 h 178"/>
                  <a:gd name="T28" fmla="*/ 225 w 287"/>
                  <a:gd name="T29" fmla="*/ 52 h 178"/>
                  <a:gd name="T30" fmla="*/ 214 w 287"/>
                  <a:gd name="T31" fmla="*/ 45 h 178"/>
                  <a:gd name="T32" fmla="*/ 187 w 287"/>
                  <a:gd name="T33" fmla="*/ 29 h 178"/>
                  <a:gd name="T34" fmla="*/ 179 w 287"/>
                  <a:gd name="T35" fmla="*/ 11 h 178"/>
                  <a:gd name="T36" fmla="*/ 142 w 287"/>
                  <a:gd name="T37" fmla="*/ 8 h 178"/>
                  <a:gd name="T38" fmla="*/ 122 w 287"/>
                  <a:gd name="T39" fmla="*/ 12 h 178"/>
                  <a:gd name="T40" fmla="*/ 109 w 287"/>
                  <a:gd name="T41" fmla="*/ 18 h 178"/>
                  <a:gd name="T42" fmla="*/ 92 w 287"/>
                  <a:gd name="T43" fmla="*/ 17 h 178"/>
                  <a:gd name="T44" fmla="*/ 31 w 287"/>
                  <a:gd name="T45" fmla="*/ 15 h 178"/>
                  <a:gd name="T46" fmla="*/ 28 w 287"/>
                  <a:gd name="T47" fmla="*/ 32 h 178"/>
                  <a:gd name="T48" fmla="*/ 14 w 287"/>
                  <a:gd name="T49" fmla="*/ 53 h 178"/>
                  <a:gd name="T50" fmla="*/ 5 w 287"/>
                  <a:gd name="T51" fmla="*/ 63 h 178"/>
                  <a:gd name="T52" fmla="*/ 7 w 287"/>
                  <a:gd name="T53" fmla="*/ 72 h 178"/>
                  <a:gd name="T54" fmla="*/ 5 w 287"/>
                  <a:gd name="T55" fmla="*/ 84 h 178"/>
                  <a:gd name="T56" fmla="*/ 7 w 287"/>
                  <a:gd name="T57" fmla="*/ 96 h 178"/>
                  <a:gd name="T58" fmla="*/ 47 w 287"/>
                  <a:gd name="T59" fmla="*/ 98 h 178"/>
                  <a:gd name="T60" fmla="*/ 65 w 287"/>
                  <a:gd name="T61" fmla="*/ 95 h 178"/>
                  <a:gd name="T62" fmla="*/ 73 w 287"/>
                  <a:gd name="T63" fmla="*/ 89 h 178"/>
                  <a:gd name="T64" fmla="*/ 91 w 287"/>
                  <a:gd name="T65" fmla="*/ 90 h 178"/>
                  <a:gd name="T66" fmla="*/ 103 w 287"/>
                  <a:gd name="T67" fmla="*/ 99 h 178"/>
                  <a:gd name="T68" fmla="*/ 109 w 287"/>
                  <a:gd name="T69" fmla="*/ 117 h 178"/>
                  <a:gd name="T70" fmla="*/ 110 w 287"/>
                  <a:gd name="T71" fmla="*/ 132 h 178"/>
                  <a:gd name="T72" fmla="*/ 104 w 287"/>
                  <a:gd name="T73" fmla="*/ 144 h 178"/>
                  <a:gd name="T74" fmla="*/ 98 w 287"/>
                  <a:gd name="T75" fmla="*/ 150 h 178"/>
                  <a:gd name="T76" fmla="*/ 107 w 287"/>
                  <a:gd name="T77" fmla="*/ 15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7" h="178">
                    <a:moveTo>
                      <a:pt x="107" y="158"/>
                    </a:moveTo>
                    <a:cubicBezTo>
                      <a:pt x="117" y="154"/>
                      <a:pt x="123" y="143"/>
                      <a:pt x="131" y="137"/>
                    </a:cubicBezTo>
                    <a:cubicBezTo>
                      <a:pt x="135" y="126"/>
                      <a:pt x="141" y="130"/>
                      <a:pt x="151" y="132"/>
                    </a:cubicBezTo>
                    <a:cubicBezTo>
                      <a:pt x="155" y="139"/>
                      <a:pt x="156" y="142"/>
                      <a:pt x="152" y="149"/>
                    </a:cubicBezTo>
                    <a:cubicBezTo>
                      <a:pt x="155" y="155"/>
                      <a:pt x="157" y="155"/>
                      <a:pt x="163" y="156"/>
                    </a:cubicBezTo>
                    <a:cubicBezTo>
                      <a:pt x="170" y="168"/>
                      <a:pt x="159" y="178"/>
                      <a:pt x="176" y="176"/>
                    </a:cubicBezTo>
                    <a:cubicBezTo>
                      <a:pt x="190" y="162"/>
                      <a:pt x="186" y="165"/>
                      <a:pt x="211" y="164"/>
                    </a:cubicBezTo>
                    <a:cubicBezTo>
                      <a:pt x="217" y="154"/>
                      <a:pt x="202" y="150"/>
                      <a:pt x="194" y="149"/>
                    </a:cubicBezTo>
                    <a:cubicBezTo>
                      <a:pt x="191" y="147"/>
                      <a:pt x="185" y="147"/>
                      <a:pt x="185" y="143"/>
                    </a:cubicBezTo>
                    <a:cubicBezTo>
                      <a:pt x="185" y="138"/>
                      <a:pt x="196" y="135"/>
                      <a:pt x="199" y="134"/>
                    </a:cubicBezTo>
                    <a:cubicBezTo>
                      <a:pt x="205" y="131"/>
                      <a:pt x="211" y="129"/>
                      <a:pt x="217" y="125"/>
                    </a:cubicBezTo>
                    <a:cubicBezTo>
                      <a:pt x="223" y="115"/>
                      <a:pt x="240" y="116"/>
                      <a:pt x="251" y="114"/>
                    </a:cubicBezTo>
                    <a:cubicBezTo>
                      <a:pt x="256" y="111"/>
                      <a:pt x="259" y="109"/>
                      <a:pt x="263" y="104"/>
                    </a:cubicBezTo>
                    <a:cubicBezTo>
                      <a:pt x="266" y="84"/>
                      <a:pt x="287" y="67"/>
                      <a:pt x="263" y="63"/>
                    </a:cubicBezTo>
                    <a:cubicBezTo>
                      <a:pt x="257" y="54"/>
                      <a:pt x="234" y="54"/>
                      <a:pt x="225" y="52"/>
                    </a:cubicBezTo>
                    <a:cubicBezTo>
                      <a:pt x="217" y="49"/>
                      <a:pt x="220" y="49"/>
                      <a:pt x="214" y="45"/>
                    </a:cubicBezTo>
                    <a:cubicBezTo>
                      <a:pt x="209" y="38"/>
                      <a:pt x="195" y="34"/>
                      <a:pt x="187" y="29"/>
                    </a:cubicBezTo>
                    <a:cubicBezTo>
                      <a:pt x="183" y="24"/>
                      <a:pt x="183" y="16"/>
                      <a:pt x="179" y="11"/>
                    </a:cubicBezTo>
                    <a:cubicBezTo>
                      <a:pt x="177" y="0"/>
                      <a:pt x="151" y="9"/>
                      <a:pt x="142" y="8"/>
                    </a:cubicBezTo>
                    <a:cubicBezTo>
                      <a:pt x="133" y="9"/>
                      <a:pt x="130" y="10"/>
                      <a:pt x="122" y="12"/>
                    </a:cubicBezTo>
                    <a:cubicBezTo>
                      <a:pt x="117" y="14"/>
                      <a:pt x="114" y="17"/>
                      <a:pt x="109" y="18"/>
                    </a:cubicBezTo>
                    <a:cubicBezTo>
                      <a:pt x="104" y="19"/>
                      <a:pt x="105" y="17"/>
                      <a:pt x="92" y="17"/>
                    </a:cubicBezTo>
                    <a:cubicBezTo>
                      <a:pt x="74" y="8"/>
                      <a:pt x="46" y="15"/>
                      <a:pt x="31" y="15"/>
                    </a:cubicBezTo>
                    <a:cubicBezTo>
                      <a:pt x="21" y="19"/>
                      <a:pt x="23" y="24"/>
                      <a:pt x="28" y="32"/>
                    </a:cubicBezTo>
                    <a:cubicBezTo>
                      <a:pt x="26" y="41"/>
                      <a:pt x="22" y="48"/>
                      <a:pt x="14" y="53"/>
                    </a:cubicBezTo>
                    <a:cubicBezTo>
                      <a:pt x="11" y="58"/>
                      <a:pt x="6" y="60"/>
                      <a:pt x="5" y="63"/>
                    </a:cubicBezTo>
                    <a:cubicBezTo>
                      <a:pt x="4" y="66"/>
                      <a:pt x="7" y="69"/>
                      <a:pt x="7" y="72"/>
                    </a:cubicBezTo>
                    <a:cubicBezTo>
                      <a:pt x="7" y="75"/>
                      <a:pt x="5" y="80"/>
                      <a:pt x="5" y="84"/>
                    </a:cubicBezTo>
                    <a:cubicBezTo>
                      <a:pt x="6" y="88"/>
                      <a:pt x="0" y="94"/>
                      <a:pt x="7" y="96"/>
                    </a:cubicBezTo>
                    <a:cubicBezTo>
                      <a:pt x="14" y="98"/>
                      <a:pt x="37" y="98"/>
                      <a:pt x="47" y="98"/>
                    </a:cubicBezTo>
                    <a:cubicBezTo>
                      <a:pt x="56" y="97"/>
                      <a:pt x="61" y="96"/>
                      <a:pt x="65" y="95"/>
                    </a:cubicBezTo>
                    <a:cubicBezTo>
                      <a:pt x="69" y="94"/>
                      <a:pt x="69" y="90"/>
                      <a:pt x="73" y="89"/>
                    </a:cubicBezTo>
                    <a:cubicBezTo>
                      <a:pt x="79" y="86"/>
                      <a:pt x="84" y="89"/>
                      <a:pt x="91" y="90"/>
                    </a:cubicBezTo>
                    <a:cubicBezTo>
                      <a:pt x="96" y="93"/>
                      <a:pt x="99" y="94"/>
                      <a:pt x="103" y="99"/>
                    </a:cubicBezTo>
                    <a:cubicBezTo>
                      <a:pt x="104" y="107"/>
                      <a:pt x="104" y="111"/>
                      <a:pt x="109" y="117"/>
                    </a:cubicBezTo>
                    <a:cubicBezTo>
                      <a:pt x="111" y="125"/>
                      <a:pt x="114" y="124"/>
                      <a:pt x="110" y="132"/>
                    </a:cubicBezTo>
                    <a:cubicBezTo>
                      <a:pt x="110" y="136"/>
                      <a:pt x="106" y="141"/>
                      <a:pt x="104" y="144"/>
                    </a:cubicBezTo>
                    <a:cubicBezTo>
                      <a:pt x="102" y="147"/>
                      <a:pt x="98" y="148"/>
                      <a:pt x="98" y="150"/>
                    </a:cubicBezTo>
                    <a:cubicBezTo>
                      <a:pt x="96" y="159"/>
                      <a:pt x="99" y="159"/>
                      <a:pt x="107" y="15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2" name="Freeform 8">
                <a:extLst>
                  <a:ext uri="{FF2B5EF4-FFF2-40B4-BE49-F238E27FC236}">
                    <a16:creationId xmlns:a16="http://schemas.microsoft.com/office/drawing/2014/main" id="{FA84153D-2508-4FAD-B377-32F89C55C30F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5673726" y="3000375"/>
                <a:ext cx="393700" cy="258763"/>
              </a:xfrm>
              <a:custGeom>
                <a:avLst/>
                <a:gdLst>
                  <a:gd name="T0" fmla="*/ 174 w 244"/>
                  <a:gd name="T1" fmla="*/ 93 h 163"/>
                  <a:gd name="T2" fmla="*/ 189 w 244"/>
                  <a:gd name="T3" fmla="*/ 82 h 163"/>
                  <a:gd name="T4" fmla="*/ 219 w 244"/>
                  <a:gd name="T5" fmla="*/ 61 h 163"/>
                  <a:gd name="T6" fmla="*/ 237 w 244"/>
                  <a:gd name="T7" fmla="*/ 73 h 163"/>
                  <a:gd name="T8" fmla="*/ 244 w 244"/>
                  <a:gd name="T9" fmla="*/ 84 h 163"/>
                  <a:gd name="T10" fmla="*/ 196 w 244"/>
                  <a:gd name="T11" fmla="*/ 97 h 163"/>
                  <a:gd name="T12" fmla="*/ 183 w 244"/>
                  <a:gd name="T13" fmla="*/ 106 h 163"/>
                  <a:gd name="T14" fmla="*/ 172 w 244"/>
                  <a:gd name="T15" fmla="*/ 115 h 163"/>
                  <a:gd name="T16" fmla="*/ 177 w 244"/>
                  <a:gd name="T17" fmla="*/ 142 h 163"/>
                  <a:gd name="T18" fmla="*/ 153 w 244"/>
                  <a:gd name="T19" fmla="*/ 157 h 163"/>
                  <a:gd name="T20" fmla="*/ 150 w 244"/>
                  <a:gd name="T21" fmla="*/ 153 h 163"/>
                  <a:gd name="T22" fmla="*/ 148 w 244"/>
                  <a:gd name="T23" fmla="*/ 147 h 163"/>
                  <a:gd name="T24" fmla="*/ 121 w 244"/>
                  <a:gd name="T25" fmla="*/ 129 h 163"/>
                  <a:gd name="T26" fmla="*/ 99 w 244"/>
                  <a:gd name="T27" fmla="*/ 112 h 163"/>
                  <a:gd name="T28" fmla="*/ 91 w 244"/>
                  <a:gd name="T29" fmla="*/ 93 h 163"/>
                  <a:gd name="T30" fmla="*/ 76 w 244"/>
                  <a:gd name="T31" fmla="*/ 78 h 163"/>
                  <a:gd name="T32" fmla="*/ 58 w 244"/>
                  <a:gd name="T33" fmla="*/ 73 h 163"/>
                  <a:gd name="T34" fmla="*/ 49 w 244"/>
                  <a:gd name="T35" fmla="*/ 57 h 163"/>
                  <a:gd name="T36" fmla="*/ 18 w 244"/>
                  <a:gd name="T37" fmla="*/ 72 h 163"/>
                  <a:gd name="T38" fmla="*/ 4 w 244"/>
                  <a:gd name="T39" fmla="*/ 79 h 163"/>
                  <a:gd name="T40" fmla="*/ 4 w 244"/>
                  <a:gd name="T41" fmla="*/ 19 h 163"/>
                  <a:gd name="T42" fmla="*/ 30 w 244"/>
                  <a:gd name="T43" fmla="*/ 9 h 163"/>
                  <a:gd name="T44" fmla="*/ 43 w 244"/>
                  <a:gd name="T45" fmla="*/ 0 h 163"/>
                  <a:gd name="T46" fmla="*/ 51 w 244"/>
                  <a:gd name="T47" fmla="*/ 9 h 163"/>
                  <a:gd name="T48" fmla="*/ 61 w 244"/>
                  <a:gd name="T49" fmla="*/ 12 h 163"/>
                  <a:gd name="T50" fmla="*/ 69 w 244"/>
                  <a:gd name="T51" fmla="*/ 25 h 163"/>
                  <a:gd name="T52" fmla="*/ 90 w 244"/>
                  <a:gd name="T53" fmla="*/ 34 h 163"/>
                  <a:gd name="T54" fmla="*/ 105 w 244"/>
                  <a:gd name="T55" fmla="*/ 46 h 163"/>
                  <a:gd name="T56" fmla="*/ 139 w 244"/>
                  <a:gd name="T57" fmla="*/ 46 h 163"/>
                  <a:gd name="T58" fmla="*/ 150 w 244"/>
                  <a:gd name="T59" fmla="*/ 63 h 163"/>
                  <a:gd name="T60" fmla="*/ 156 w 244"/>
                  <a:gd name="T61" fmla="*/ 75 h 163"/>
                  <a:gd name="T62" fmla="*/ 165 w 244"/>
                  <a:gd name="T63" fmla="*/ 81 h 163"/>
                  <a:gd name="T64" fmla="*/ 174 w 244"/>
                  <a:gd name="T65" fmla="*/ 9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4" h="163">
                    <a:moveTo>
                      <a:pt x="174" y="93"/>
                    </a:moveTo>
                    <a:cubicBezTo>
                      <a:pt x="186" y="84"/>
                      <a:pt x="180" y="87"/>
                      <a:pt x="189" y="82"/>
                    </a:cubicBezTo>
                    <a:cubicBezTo>
                      <a:pt x="196" y="73"/>
                      <a:pt x="209" y="65"/>
                      <a:pt x="219" y="61"/>
                    </a:cubicBezTo>
                    <a:cubicBezTo>
                      <a:pt x="227" y="64"/>
                      <a:pt x="229" y="71"/>
                      <a:pt x="237" y="73"/>
                    </a:cubicBezTo>
                    <a:cubicBezTo>
                      <a:pt x="243" y="76"/>
                      <a:pt x="243" y="78"/>
                      <a:pt x="244" y="84"/>
                    </a:cubicBezTo>
                    <a:cubicBezTo>
                      <a:pt x="242" y="101"/>
                      <a:pt x="211" y="95"/>
                      <a:pt x="196" y="97"/>
                    </a:cubicBezTo>
                    <a:cubicBezTo>
                      <a:pt x="192" y="100"/>
                      <a:pt x="187" y="103"/>
                      <a:pt x="183" y="106"/>
                    </a:cubicBezTo>
                    <a:cubicBezTo>
                      <a:pt x="180" y="112"/>
                      <a:pt x="179" y="114"/>
                      <a:pt x="172" y="115"/>
                    </a:cubicBezTo>
                    <a:cubicBezTo>
                      <a:pt x="174" y="124"/>
                      <a:pt x="173" y="134"/>
                      <a:pt x="177" y="142"/>
                    </a:cubicBezTo>
                    <a:cubicBezTo>
                      <a:pt x="174" y="163"/>
                      <a:pt x="175" y="159"/>
                      <a:pt x="153" y="157"/>
                    </a:cubicBezTo>
                    <a:cubicBezTo>
                      <a:pt x="152" y="156"/>
                      <a:pt x="151" y="154"/>
                      <a:pt x="150" y="153"/>
                    </a:cubicBezTo>
                    <a:cubicBezTo>
                      <a:pt x="149" y="151"/>
                      <a:pt x="149" y="149"/>
                      <a:pt x="148" y="147"/>
                    </a:cubicBezTo>
                    <a:cubicBezTo>
                      <a:pt x="143" y="140"/>
                      <a:pt x="128" y="133"/>
                      <a:pt x="121" y="129"/>
                    </a:cubicBezTo>
                    <a:cubicBezTo>
                      <a:pt x="116" y="121"/>
                      <a:pt x="106" y="118"/>
                      <a:pt x="99" y="112"/>
                    </a:cubicBezTo>
                    <a:cubicBezTo>
                      <a:pt x="95" y="106"/>
                      <a:pt x="94" y="99"/>
                      <a:pt x="91" y="93"/>
                    </a:cubicBezTo>
                    <a:cubicBezTo>
                      <a:pt x="90" y="86"/>
                      <a:pt x="83" y="79"/>
                      <a:pt x="76" y="78"/>
                    </a:cubicBezTo>
                    <a:cubicBezTo>
                      <a:pt x="72" y="74"/>
                      <a:pt x="62" y="76"/>
                      <a:pt x="58" y="73"/>
                    </a:cubicBezTo>
                    <a:cubicBezTo>
                      <a:pt x="54" y="70"/>
                      <a:pt x="56" y="57"/>
                      <a:pt x="49" y="57"/>
                    </a:cubicBezTo>
                    <a:cubicBezTo>
                      <a:pt x="31" y="58"/>
                      <a:pt x="24" y="58"/>
                      <a:pt x="18" y="72"/>
                    </a:cubicBezTo>
                    <a:cubicBezTo>
                      <a:pt x="17" y="79"/>
                      <a:pt x="9" y="75"/>
                      <a:pt x="4" y="79"/>
                    </a:cubicBezTo>
                    <a:cubicBezTo>
                      <a:pt x="5" y="72"/>
                      <a:pt x="0" y="30"/>
                      <a:pt x="4" y="19"/>
                    </a:cubicBezTo>
                    <a:cubicBezTo>
                      <a:pt x="8" y="8"/>
                      <a:pt x="24" y="12"/>
                      <a:pt x="30" y="9"/>
                    </a:cubicBezTo>
                    <a:cubicBezTo>
                      <a:pt x="34" y="6"/>
                      <a:pt x="39" y="3"/>
                      <a:pt x="43" y="0"/>
                    </a:cubicBezTo>
                    <a:cubicBezTo>
                      <a:pt x="46" y="0"/>
                      <a:pt x="48" y="7"/>
                      <a:pt x="51" y="9"/>
                    </a:cubicBezTo>
                    <a:cubicBezTo>
                      <a:pt x="54" y="11"/>
                      <a:pt x="58" y="9"/>
                      <a:pt x="61" y="12"/>
                    </a:cubicBezTo>
                    <a:cubicBezTo>
                      <a:pt x="64" y="14"/>
                      <a:pt x="66" y="22"/>
                      <a:pt x="69" y="25"/>
                    </a:cubicBezTo>
                    <a:cubicBezTo>
                      <a:pt x="74" y="29"/>
                      <a:pt x="73" y="31"/>
                      <a:pt x="90" y="34"/>
                    </a:cubicBezTo>
                    <a:cubicBezTo>
                      <a:pt x="95" y="37"/>
                      <a:pt x="97" y="44"/>
                      <a:pt x="105" y="46"/>
                    </a:cubicBezTo>
                    <a:cubicBezTo>
                      <a:pt x="113" y="48"/>
                      <a:pt x="132" y="43"/>
                      <a:pt x="139" y="46"/>
                    </a:cubicBezTo>
                    <a:cubicBezTo>
                      <a:pt x="148" y="51"/>
                      <a:pt x="141" y="56"/>
                      <a:pt x="150" y="63"/>
                    </a:cubicBezTo>
                    <a:cubicBezTo>
                      <a:pt x="152" y="68"/>
                      <a:pt x="154" y="72"/>
                      <a:pt x="156" y="75"/>
                    </a:cubicBezTo>
                    <a:cubicBezTo>
                      <a:pt x="158" y="78"/>
                      <a:pt x="162" y="78"/>
                      <a:pt x="165" y="81"/>
                    </a:cubicBezTo>
                    <a:cubicBezTo>
                      <a:pt x="172" y="76"/>
                      <a:pt x="165" y="87"/>
                      <a:pt x="174" y="9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3" name="Freeform 9">
                <a:extLst>
                  <a:ext uri="{FF2B5EF4-FFF2-40B4-BE49-F238E27FC236}">
                    <a16:creationId xmlns:a16="http://schemas.microsoft.com/office/drawing/2014/main" id="{3CF36F1D-B1F6-488A-AD72-3659ACA40B11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5410201" y="3105150"/>
                <a:ext cx="117475" cy="104775"/>
              </a:xfrm>
              <a:custGeom>
                <a:avLst/>
                <a:gdLst>
                  <a:gd name="T0" fmla="*/ 44 w 73"/>
                  <a:gd name="T1" fmla="*/ 22 h 66"/>
                  <a:gd name="T2" fmla="*/ 31 w 73"/>
                  <a:gd name="T3" fmla="*/ 18 h 66"/>
                  <a:gd name="T4" fmla="*/ 20 w 73"/>
                  <a:gd name="T5" fmla="*/ 0 h 66"/>
                  <a:gd name="T6" fmla="*/ 4 w 73"/>
                  <a:gd name="T7" fmla="*/ 7 h 66"/>
                  <a:gd name="T8" fmla="*/ 7 w 73"/>
                  <a:gd name="T9" fmla="*/ 28 h 66"/>
                  <a:gd name="T10" fmla="*/ 13 w 73"/>
                  <a:gd name="T11" fmla="*/ 36 h 66"/>
                  <a:gd name="T12" fmla="*/ 16 w 73"/>
                  <a:gd name="T13" fmla="*/ 46 h 66"/>
                  <a:gd name="T14" fmla="*/ 28 w 73"/>
                  <a:gd name="T15" fmla="*/ 51 h 66"/>
                  <a:gd name="T16" fmla="*/ 41 w 73"/>
                  <a:gd name="T17" fmla="*/ 48 h 66"/>
                  <a:gd name="T18" fmla="*/ 56 w 73"/>
                  <a:gd name="T19" fmla="*/ 66 h 66"/>
                  <a:gd name="T20" fmla="*/ 62 w 73"/>
                  <a:gd name="T21" fmla="*/ 45 h 66"/>
                  <a:gd name="T22" fmla="*/ 73 w 73"/>
                  <a:gd name="T23" fmla="*/ 31 h 66"/>
                  <a:gd name="T24" fmla="*/ 61 w 73"/>
                  <a:gd name="T25" fmla="*/ 18 h 66"/>
                  <a:gd name="T26" fmla="*/ 49 w 73"/>
                  <a:gd name="T27" fmla="*/ 4 h 66"/>
                  <a:gd name="T28" fmla="*/ 44 w 73"/>
                  <a:gd name="T29" fmla="*/ 2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3" h="66">
                    <a:moveTo>
                      <a:pt x="44" y="22"/>
                    </a:moveTo>
                    <a:cubicBezTo>
                      <a:pt x="39" y="21"/>
                      <a:pt x="36" y="19"/>
                      <a:pt x="31" y="18"/>
                    </a:cubicBezTo>
                    <a:cubicBezTo>
                      <a:pt x="24" y="13"/>
                      <a:pt x="28" y="5"/>
                      <a:pt x="20" y="0"/>
                    </a:cubicBezTo>
                    <a:cubicBezTo>
                      <a:pt x="15" y="2"/>
                      <a:pt x="8" y="4"/>
                      <a:pt x="4" y="7"/>
                    </a:cubicBezTo>
                    <a:cubicBezTo>
                      <a:pt x="0" y="16"/>
                      <a:pt x="1" y="20"/>
                      <a:pt x="7" y="28"/>
                    </a:cubicBezTo>
                    <a:cubicBezTo>
                      <a:pt x="10" y="42"/>
                      <a:pt x="5" y="24"/>
                      <a:pt x="13" y="36"/>
                    </a:cubicBezTo>
                    <a:cubicBezTo>
                      <a:pt x="15" y="39"/>
                      <a:pt x="14" y="43"/>
                      <a:pt x="16" y="46"/>
                    </a:cubicBezTo>
                    <a:cubicBezTo>
                      <a:pt x="18" y="54"/>
                      <a:pt x="21" y="52"/>
                      <a:pt x="28" y="51"/>
                    </a:cubicBezTo>
                    <a:cubicBezTo>
                      <a:pt x="32" y="44"/>
                      <a:pt x="35" y="43"/>
                      <a:pt x="41" y="48"/>
                    </a:cubicBezTo>
                    <a:cubicBezTo>
                      <a:pt x="46" y="57"/>
                      <a:pt x="46" y="61"/>
                      <a:pt x="56" y="66"/>
                    </a:cubicBezTo>
                    <a:cubicBezTo>
                      <a:pt x="68" y="62"/>
                      <a:pt x="58" y="55"/>
                      <a:pt x="62" y="45"/>
                    </a:cubicBezTo>
                    <a:cubicBezTo>
                      <a:pt x="63" y="41"/>
                      <a:pt x="71" y="35"/>
                      <a:pt x="73" y="31"/>
                    </a:cubicBezTo>
                    <a:cubicBezTo>
                      <a:pt x="71" y="26"/>
                      <a:pt x="65" y="21"/>
                      <a:pt x="61" y="18"/>
                    </a:cubicBezTo>
                    <a:cubicBezTo>
                      <a:pt x="59" y="12"/>
                      <a:pt x="54" y="7"/>
                      <a:pt x="49" y="4"/>
                    </a:cubicBezTo>
                    <a:cubicBezTo>
                      <a:pt x="47" y="10"/>
                      <a:pt x="47" y="16"/>
                      <a:pt x="44" y="2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4" name="Freeform 10">
                <a:extLst>
                  <a:ext uri="{FF2B5EF4-FFF2-40B4-BE49-F238E27FC236}">
                    <a16:creationId xmlns:a16="http://schemas.microsoft.com/office/drawing/2014/main" id="{A4054AE8-FE36-4C01-95D8-0C7E02F51F88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4960938" y="2884488"/>
                <a:ext cx="84138" cy="107950"/>
              </a:xfrm>
              <a:custGeom>
                <a:avLst/>
                <a:gdLst>
                  <a:gd name="T0" fmla="*/ 0 w 52"/>
                  <a:gd name="T1" fmla="*/ 11 h 68"/>
                  <a:gd name="T2" fmla="*/ 25 w 52"/>
                  <a:gd name="T3" fmla="*/ 1 h 68"/>
                  <a:gd name="T4" fmla="*/ 42 w 52"/>
                  <a:gd name="T5" fmla="*/ 11 h 68"/>
                  <a:gd name="T6" fmla="*/ 45 w 52"/>
                  <a:gd name="T7" fmla="*/ 29 h 68"/>
                  <a:gd name="T8" fmla="*/ 52 w 52"/>
                  <a:gd name="T9" fmla="*/ 43 h 68"/>
                  <a:gd name="T10" fmla="*/ 46 w 52"/>
                  <a:gd name="T11" fmla="*/ 55 h 68"/>
                  <a:gd name="T12" fmla="*/ 34 w 52"/>
                  <a:gd name="T13" fmla="*/ 68 h 68"/>
                  <a:gd name="T14" fmla="*/ 18 w 52"/>
                  <a:gd name="T15" fmla="*/ 28 h 68"/>
                  <a:gd name="T16" fmla="*/ 0 w 52"/>
                  <a:gd name="T17" fmla="*/ 1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68">
                    <a:moveTo>
                      <a:pt x="0" y="11"/>
                    </a:moveTo>
                    <a:cubicBezTo>
                      <a:pt x="2" y="1"/>
                      <a:pt x="14" y="0"/>
                      <a:pt x="25" y="1"/>
                    </a:cubicBezTo>
                    <a:cubicBezTo>
                      <a:pt x="34" y="4"/>
                      <a:pt x="31" y="10"/>
                      <a:pt x="42" y="11"/>
                    </a:cubicBezTo>
                    <a:cubicBezTo>
                      <a:pt x="46" y="15"/>
                      <a:pt x="43" y="24"/>
                      <a:pt x="45" y="29"/>
                    </a:cubicBezTo>
                    <a:cubicBezTo>
                      <a:pt x="47" y="34"/>
                      <a:pt x="52" y="39"/>
                      <a:pt x="52" y="43"/>
                    </a:cubicBezTo>
                    <a:cubicBezTo>
                      <a:pt x="48" y="46"/>
                      <a:pt x="50" y="52"/>
                      <a:pt x="46" y="55"/>
                    </a:cubicBezTo>
                    <a:cubicBezTo>
                      <a:pt x="43" y="62"/>
                      <a:pt x="40" y="63"/>
                      <a:pt x="34" y="68"/>
                    </a:cubicBezTo>
                    <a:cubicBezTo>
                      <a:pt x="14" y="66"/>
                      <a:pt x="37" y="42"/>
                      <a:pt x="18" y="28"/>
                    </a:cubicBezTo>
                    <a:cubicBezTo>
                      <a:pt x="16" y="24"/>
                      <a:pt x="2" y="4"/>
                      <a:pt x="0" y="1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5" name="Freeform 11">
                <a:extLst>
                  <a:ext uri="{FF2B5EF4-FFF2-40B4-BE49-F238E27FC236}">
                    <a16:creationId xmlns:a16="http://schemas.microsoft.com/office/drawing/2014/main" id="{0985BA5E-AAF4-4A84-8D96-4ED0B74C768C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5305426" y="3071813"/>
                <a:ext cx="125413" cy="66675"/>
              </a:xfrm>
              <a:custGeom>
                <a:avLst/>
                <a:gdLst>
                  <a:gd name="T0" fmla="*/ 34 w 78"/>
                  <a:gd name="T1" fmla="*/ 31 h 42"/>
                  <a:gd name="T2" fmla="*/ 12 w 78"/>
                  <a:gd name="T3" fmla="*/ 13 h 42"/>
                  <a:gd name="T4" fmla="*/ 37 w 78"/>
                  <a:gd name="T5" fmla="*/ 7 h 42"/>
                  <a:gd name="T6" fmla="*/ 57 w 78"/>
                  <a:gd name="T7" fmla="*/ 10 h 42"/>
                  <a:gd name="T8" fmla="*/ 78 w 78"/>
                  <a:gd name="T9" fmla="*/ 19 h 42"/>
                  <a:gd name="T10" fmla="*/ 64 w 78"/>
                  <a:gd name="T11" fmla="*/ 36 h 42"/>
                  <a:gd name="T12" fmla="*/ 34 w 78"/>
                  <a:gd name="T13" fmla="*/ 3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42">
                    <a:moveTo>
                      <a:pt x="34" y="31"/>
                    </a:moveTo>
                    <a:cubicBezTo>
                      <a:pt x="0" y="25"/>
                      <a:pt x="34" y="30"/>
                      <a:pt x="12" y="13"/>
                    </a:cubicBezTo>
                    <a:cubicBezTo>
                      <a:pt x="6" y="0"/>
                      <a:pt x="35" y="7"/>
                      <a:pt x="37" y="7"/>
                    </a:cubicBezTo>
                    <a:cubicBezTo>
                      <a:pt x="51" y="13"/>
                      <a:pt x="27" y="4"/>
                      <a:pt x="57" y="10"/>
                    </a:cubicBezTo>
                    <a:cubicBezTo>
                      <a:pt x="64" y="11"/>
                      <a:pt x="70" y="18"/>
                      <a:pt x="78" y="19"/>
                    </a:cubicBezTo>
                    <a:cubicBezTo>
                      <a:pt x="67" y="23"/>
                      <a:pt x="73" y="32"/>
                      <a:pt x="64" y="36"/>
                    </a:cubicBezTo>
                    <a:cubicBezTo>
                      <a:pt x="35" y="34"/>
                      <a:pt x="41" y="42"/>
                      <a:pt x="34" y="3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6" name="Freeform 12">
                <a:extLst>
                  <a:ext uri="{FF2B5EF4-FFF2-40B4-BE49-F238E27FC236}">
                    <a16:creationId xmlns:a16="http://schemas.microsoft.com/office/drawing/2014/main" id="{EC677120-FC26-4AFB-86F0-B39163D34252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786313" y="3092450"/>
                <a:ext cx="65088" cy="74613"/>
              </a:xfrm>
              <a:custGeom>
                <a:avLst/>
                <a:gdLst>
                  <a:gd name="T0" fmla="*/ 8 w 41"/>
                  <a:gd name="T1" fmla="*/ 3 h 47"/>
                  <a:gd name="T2" fmla="*/ 23 w 41"/>
                  <a:gd name="T3" fmla="*/ 6 h 47"/>
                  <a:gd name="T4" fmla="*/ 40 w 41"/>
                  <a:gd name="T5" fmla="*/ 32 h 47"/>
                  <a:gd name="T6" fmla="*/ 26 w 41"/>
                  <a:gd name="T7" fmla="*/ 42 h 47"/>
                  <a:gd name="T8" fmla="*/ 10 w 41"/>
                  <a:gd name="T9" fmla="*/ 45 h 47"/>
                  <a:gd name="T10" fmla="*/ 5 w 41"/>
                  <a:gd name="T11" fmla="*/ 18 h 47"/>
                  <a:gd name="T12" fmla="*/ 8 w 41"/>
                  <a:gd name="T13" fmla="*/ 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47">
                    <a:moveTo>
                      <a:pt x="8" y="3"/>
                    </a:moveTo>
                    <a:cubicBezTo>
                      <a:pt x="15" y="2"/>
                      <a:pt x="20" y="0"/>
                      <a:pt x="23" y="6"/>
                    </a:cubicBezTo>
                    <a:cubicBezTo>
                      <a:pt x="25" y="17"/>
                      <a:pt x="31" y="26"/>
                      <a:pt x="40" y="32"/>
                    </a:cubicBezTo>
                    <a:cubicBezTo>
                      <a:pt x="41" y="39"/>
                      <a:pt x="33" y="41"/>
                      <a:pt x="26" y="42"/>
                    </a:cubicBezTo>
                    <a:cubicBezTo>
                      <a:pt x="20" y="47"/>
                      <a:pt x="18" y="47"/>
                      <a:pt x="10" y="45"/>
                    </a:cubicBezTo>
                    <a:cubicBezTo>
                      <a:pt x="0" y="39"/>
                      <a:pt x="4" y="30"/>
                      <a:pt x="5" y="18"/>
                    </a:cubicBezTo>
                    <a:cubicBezTo>
                      <a:pt x="5" y="14"/>
                      <a:pt x="1" y="3"/>
                      <a:pt x="8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7" name="Freeform 13">
                <a:extLst>
                  <a:ext uri="{FF2B5EF4-FFF2-40B4-BE49-F238E27FC236}">
                    <a16:creationId xmlns:a16="http://schemas.microsoft.com/office/drawing/2014/main" id="{EC62CD7A-5176-4677-9391-3EB2653B6783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4816476" y="3095625"/>
                <a:ext cx="88900" cy="44450"/>
              </a:xfrm>
              <a:custGeom>
                <a:avLst/>
                <a:gdLst>
                  <a:gd name="T0" fmla="*/ 4 w 55"/>
                  <a:gd name="T1" fmla="*/ 7 h 28"/>
                  <a:gd name="T2" fmla="*/ 21 w 55"/>
                  <a:gd name="T3" fmla="*/ 0 h 28"/>
                  <a:gd name="T4" fmla="*/ 46 w 55"/>
                  <a:gd name="T5" fmla="*/ 15 h 28"/>
                  <a:gd name="T6" fmla="*/ 31 w 55"/>
                  <a:gd name="T7" fmla="*/ 19 h 28"/>
                  <a:gd name="T8" fmla="*/ 19 w 55"/>
                  <a:gd name="T9" fmla="*/ 28 h 28"/>
                  <a:gd name="T10" fmla="*/ 4 w 55"/>
                  <a:gd name="T11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28">
                    <a:moveTo>
                      <a:pt x="4" y="7"/>
                    </a:moveTo>
                    <a:cubicBezTo>
                      <a:pt x="17" y="6"/>
                      <a:pt x="10" y="2"/>
                      <a:pt x="21" y="0"/>
                    </a:cubicBezTo>
                    <a:cubicBezTo>
                      <a:pt x="55" y="2"/>
                      <a:pt x="28" y="2"/>
                      <a:pt x="46" y="15"/>
                    </a:cubicBezTo>
                    <a:cubicBezTo>
                      <a:pt x="41" y="16"/>
                      <a:pt x="36" y="18"/>
                      <a:pt x="31" y="19"/>
                    </a:cubicBezTo>
                    <a:cubicBezTo>
                      <a:pt x="26" y="22"/>
                      <a:pt x="22" y="23"/>
                      <a:pt x="19" y="28"/>
                    </a:cubicBezTo>
                    <a:cubicBezTo>
                      <a:pt x="14" y="26"/>
                      <a:pt x="0" y="7"/>
                      <a:pt x="4" y="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8" name="Freeform 14">
                <a:extLst>
                  <a:ext uri="{FF2B5EF4-FFF2-40B4-BE49-F238E27FC236}">
                    <a16:creationId xmlns:a16="http://schemas.microsoft.com/office/drawing/2014/main" id="{BD19B13A-CCC8-4F9D-AEED-87550E7D0724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4870451" y="3036888"/>
                <a:ext cx="150813" cy="92075"/>
              </a:xfrm>
              <a:custGeom>
                <a:avLst/>
                <a:gdLst>
                  <a:gd name="T0" fmla="*/ 6 w 94"/>
                  <a:gd name="T1" fmla="*/ 34 h 58"/>
                  <a:gd name="T2" fmla="*/ 7 w 94"/>
                  <a:gd name="T3" fmla="*/ 29 h 58"/>
                  <a:gd name="T4" fmla="*/ 12 w 94"/>
                  <a:gd name="T5" fmla="*/ 25 h 58"/>
                  <a:gd name="T6" fmla="*/ 0 w 94"/>
                  <a:gd name="T7" fmla="*/ 8 h 58"/>
                  <a:gd name="T8" fmla="*/ 36 w 94"/>
                  <a:gd name="T9" fmla="*/ 8 h 58"/>
                  <a:gd name="T10" fmla="*/ 66 w 94"/>
                  <a:gd name="T11" fmla="*/ 1 h 58"/>
                  <a:gd name="T12" fmla="*/ 84 w 94"/>
                  <a:gd name="T13" fmla="*/ 8 h 58"/>
                  <a:gd name="T14" fmla="*/ 63 w 94"/>
                  <a:gd name="T15" fmla="*/ 34 h 58"/>
                  <a:gd name="T16" fmla="*/ 52 w 94"/>
                  <a:gd name="T17" fmla="*/ 52 h 58"/>
                  <a:gd name="T18" fmla="*/ 34 w 94"/>
                  <a:gd name="T19" fmla="*/ 55 h 58"/>
                  <a:gd name="T20" fmla="*/ 12 w 94"/>
                  <a:gd name="T21" fmla="*/ 49 h 58"/>
                  <a:gd name="T22" fmla="*/ 6 w 94"/>
                  <a:gd name="T23" fmla="*/ 3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58">
                    <a:moveTo>
                      <a:pt x="6" y="34"/>
                    </a:moveTo>
                    <a:cubicBezTo>
                      <a:pt x="6" y="32"/>
                      <a:pt x="6" y="30"/>
                      <a:pt x="7" y="29"/>
                    </a:cubicBezTo>
                    <a:cubicBezTo>
                      <a:pt x="8" y="27"/>
                      <a:pt x="11" y="27"/>
                      <a:pt x="12" y="25"/>
                    </a:cubicBezTo>
                    <a:cubicBezTo>
                      <a:pt x="14" y="17"/>
                      <a:pt x="5" y="12"/>
                      <a:pt x="0" y="8"/>
                    </a:cubicBezTo>
                    <a:cubicBezTo>
                      <a:pt x="10" y="0"/>
                      <a:pt x="24" y="6"/>
                      <a:pt x="36" y="8"/>
                    </a:cubicBezTo>
                    <a:cubicBezTo>
                      <a:pt x="49" y="7"/>
                      <a:pt x="54" y="3"/>
                      <a:pt x="66" y="1"/>
                    </a:cubicBezTo>
                    <a:cubicBezTo>
                      <a:pt x="75" y="2"/>
                      <a:pt x="77" y="2"/>
                      <a:pt x="84" y="8"/>
                    </a:cubicBezTo>
                    <a:cubicBezTo>
                      <a:pt x="94" y="25"/>
                      <a:pt x="75" y="32"/>
                      <a:pt x="63" y="34"/>
                    </a:cubicBezTo>
                    <a:cubicBezTo>
                      <a:pt x="60" y="43"/>
                      <a:pt x="62" y="49"/>
                      <a:pt x="52" y="52"/>
                    </a:cubicBezTo>
                    <a:cubicBezTo>
                      <a:pt x="44" y="58"/>
                      <a:pt x="43" y="57"/>
                      <a:pt x="34" y="55"/>
                    </a:cubicBezTo>
                    <a:cubicBezTo>
                      <a:pt x="26" y="49"/>
                      <a:pt x="23" y="50"/>
                      <a:pt x="12" y="49"/>
                    </a:cubicBezTo>
                    <a:cubicBezTo>
                      <a:pt x="8" y="43"/>
                      <a:pt x="6" y="41"/>
                      <a:pt x="6" y="3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0" name="Freeform 15">
                <a:extLst>
                  <a:ext uri="{FF2B5EF4-FFF2-40B4-BE49-F238E27FC236}">
                    <a16:creationId xmlns:a16="http://schemas.microsoft.com/office/drawing/2014/main" id="{9EADC364-913B-4844-A6B3-2347DF007BE1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4829176" y="2889250"/>
                <a:ext cx="215900" cy="173038"/>
              </a:xfrm>
              <a:custGeom>
                <a:avLst/>
                <a:gdLst>
                  <a:gd name="T0" fmla="*/ 116 w 134"/>
                  <a:gd name="T1" fmla="*/ 109 h 109"/>
                  <a:gd name="T2" fmla="*/ 124 w 134"/>
                  <a:gd name="T3" fmla="*/ 85 h 109"/>
                  <a:gd name="T4" fmla="*/ 134 w 134"/>
                  <a:gd name="T5" fmla="*/ 74 h 109"/>
                  <a:gd name="T6" fmla="*/ 113 w 134"/>
                  <a:gd name="T7" fmla="*/ 67 h 109"/>
                  <a:gd name="T8" fmla="*/ 109 w 134"/>
                  <a:gd name="T9" fmla="*/ 53 h 109"/>
                  <a:gd name="T10" fmla="*/ 101 w 134"/>
                  <a:gd name="T11" fmla="*/ 22 h 109"/>
                  <a:gd name="T12" fmla="*/ 88 w 134"/>
                  <a:gd name="T13" fmla="*/ 8 h 109"/>
                  <a:gd name="T14" fmla="*/ 23 w 134"/>
                  <a:gd name="T15" fmla="*/ 14 h 109"/>
                  <a:gd name="T16" fmla="*/ 5 w 134"/>
                  <a:gd name="T17" fmla="*/ 40 h 109"/>
                  <a:gd name="T18" fmla="*/ 10 w 134"/>
                  <a:gd name="T19" fmla="*/ 70 h 109"/>
                  <a:gd name="T20" fmla="*/ 22 w 134"/>
                  <a:gd name="T21" fmla="*/ 88 h 109"/>
                  <a:gd name="T22" fmla="*/ 28 w 134"/>
                  <a:gd name="T23" fmla="*/ 100 h 109"/>
                  <a:gd name="T24" fmla="*/ 43 w 134"/>
                  <a:gd name="T25" fmla="*/ 97 h 109"/>
                  <a:gd name="T26" fmla="*/ 67 w 134"/>
                  <a:gd name="T27" fmla="*/ 103 h 109"/>
                  <a:gd name="T28" fmla="*/ 85 w 134"/>
                  <a:gd name="T29" fmla="*/ 94 h 109"/>
                  <a:gd name="T30" fmla="*/ 86 w 134"/>
                  <a:gd name="T31" fmla="*/ 107 h 109"/>
                  <a:gd name="T32" fmla="*/ 110 w 134"/>
                  <a:gd name="T33" fmla="*/ 10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4" h="109">
                    <a:moveTo>
                      <a:pt x="116" y="109"/>
                    </a:moveTo>
                    <a:cubicBezTo>
                      <a:pt x="117" y="99"/>
                      <a:pt x="115" y="90"/>
                      <a:pt x="124" y="85"/>
                    </a:cubicBezTo>
                    <a:cubicBezTo>
                      <a:pt x="128" y="78"/>
                      <a:pt x="132" y="82"/>
                      <a:pt x="134" y="74"/>
                    </a:cubicBezTo>
                    <a:cubicBezTo>
                      <a:pt x="133" y="70"/>
                      <a:pt x="117" y="70"/>
                      <a:pt x="113" y="67"/>
                    </a:cubicBezTo>
                    <a:cubicBezTo>
                      <a:pt x="109" y="64"/>
                      <a:pt x="111" y="60"/>
                      <a:pt x="109" y="53"/>
                    </a:cubicBezTo>
                    <a:cubicBezTo>
                      <a:pt x="107" y="39"/>
                      <a:pt x="109" y="32"/>
                      <a:pt x="101" y="22"/>
                    </a:cubicBezTo>
                    <a:cubicBezTo>
                      <a:pt x="100" y="16"/>
                      <a:pt x="94" y="11"/>
                      <a:pt x="88" y="8"/>
                    </a:cubicBezTo>
                    <a:cubicBezTo>
                      <a:pt x="48" y="9"/>
                      <a:pt x="47" y="0"/>
                      <a:pt x="23" y="14"/>
                    </a:cubicBezTo>
                    <a:cubicBezTo>
                      <a:pt x="22" y="26"/>
                      <a:pt x="16" y="35"/>
                      <a:pt x="5" y="40"/>
                    </a:cubicBezTo>
                    <a:cubicBezTo>
                      <a:pt x="4" y="50"/>
                      <a:pt x="0" y="64"/>
                      <a:pt x="10" y="70"/>
                    </a:cubicBezTo>
                    <a:cubicBezTo>
                      <a:pt x="14" y="76"/>
                      <a:pt x="18" y="82"/>
                      <a:pt x="22" y="88"/>
                    </a:cubicBezTo>
                    <a:cubicBezTo>
                      <a:pt x="25" y="91"/>
                      <a:pt x="21" y="98"/>
                      <a:pt x="28" y="100"/>
                    </a:cubicBezTo>
                    <a:cubicBezTo>
                      <a:pt x="31" y="101"/>
                      <a:pt x="37" y="97"/>
                      <a:pt x="43" y="97"/>
                    </a:cubicBezTo>
                    <a:cubicBezTo>
                      <a:pt x="49" y="97"/>
                      <a:pt x="60" y="103"/>
                      <a:pt x="67" y="103"/>
                    </a:cubicBezTo>
                    <a:cubicBezTo>
                      <a:pt x="74" y="103"/>
                      <a:pt x="82" y="93"/>
                      <a:pt x="85" y="94"/>
                    </a:cubicBezTo>
                    <a:cubicBezTo>
                      <a:pt x="88" y="95"/>
                      <a:pt x="82" y="105"/>
                      <a:pt x="86" y="107"/>
                    </a:cubicBezTo>
                    <a:cubicBezTo>
                      <a:pt x="90" y="109"/>
                      <a:pt x="105" y="106"/>
                      <a:pt x="110" y="106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1" name="Freeform 16">
                <a:extLst>
                  <a:ext uri="{FF2B5EF4-FFF2-40B4-BE49-F238E27FC236}">
                    <a16:creationId xmlns:a16="http://schemas.microsoft.com/office/drawing/2014/main" id="{82FDD1B0-BCAE-44D0-B265-1E0FAB52B30B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4776788" y="3054350"/>
                <a:ext cx="47625" cy="52388"/>
              </a:xfrm>
              <a:custGeom>
                <a:avLst/>
                <a:gdLst>
                  <a:gd name="T0" fmla="*/ 13 w 30"/>
                  <a:gd name="T1" fmla="*/ 33 h 33"/>
                  <a:gd name="T2" fmla="*/ 2 w 30"/>
                  <a:gd name="T3" fmla="*/ 15 h 33"/>
                  <a:gd name="T4" fmla="*/ 7 w 30"/>
                  <a:gd name="T5" fmla="*/ 0 h 33"/>
                  <a:gd name="T6" fmla="*/ 28 w 30"/>
                  <a:gd name="T7" fmla="*/ 15 h 33"/>
                  <a:gd name="T8" fmla="*/ 17 w 30"/>
                  <a:gd name="T9" fmla="*/ 27 h 33"/>
                  <a:gd name="T10" fmla="*/ 13 w 30"/>
                  <a:gd name="T1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33">
                    <a:moveTo>
                      <a:pt x="13" y="33"/>
                    </a:moveTo>
                    <a:cubicBezTo>
                      <a:pt x="9" y="27"/>
                      <a:pt x="6" y="21"/>
                      <a:pt x="2" y="15"/>
                    </a:cubicBezTo>
                    <a:cubicBezTo>
                      <a:pt x="1" y="7"/>
                      <a:pt x="0" y="4"/>
                      <a:pt x="7" y="0"/>
                    </a:cubicBezTo>
                    <a:cubicBezTo>
                      <a:pt x="18" y="3"/>
                      <a:pt x="17" y="13"/>
                      <a:pt x="28" y="15"/>
                    </a:cubicBezTo>
                    <a:cubicBezTo>
                      <a:pt x="30" y="24"/>
                      <a:pt x="25" y="25"/>
                      <a:pt x="17" y="27"/>
                    </a:cubicBezTo>
                    <a:cubicBezTo>
                      <a:pt x="12" y="30"/>
                      <a:pt x="13" y="28"/>
                      <a:pt x="13" y="3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2" name="Freeform 17">
                <a:extLst>
                  <a:ext uri="{FF2B5EF4-FFF2-40B4-BE49-F238E27FC236}">
                    <a16:creationId xmlns:a16="http://schemas.microsoft.com/office/drawing/2014/main" id="{05588473-76E9-40D6-920A-3A32C455A767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4713288" y="2998788"/>
                <a:ext cx="85725" cy="77788"/>
              </a:xfrm>
              <a:custGeom>
                <a:avLst/>
                <a:gdLst>
                  <a:gd name="T0" fmla="*/ 53 w 53"/>
                  <a:gd name="T1" fmla="*/ 40 h 49"/>
                  <a:gd name="T2" fmla="*/ 37 w 53"/>
                  <a:gd name="T3" fmla="*/ 5 h 49"/>
                  <a:gd name="T4" fmla="*/ 2 w 53"/>
                  <a:gd name="T5" fmla="*/ 16 h 49"/>
                  <a:gd name="T6" fmla="*/ 17 w 53"/>
                  <a:gd name="T7" fmla="*/ 25 h 49"/>
                  <a:gd name="T8" fmla="*/ 26 w 53"/>
                  <a:gd name="T9" fmla="*/ 37 h 49"/>
                  <a:gd name="T10" fmla="*/ 35 w 53"/>
                  <a:gd name="T11" fmla="*/ 49 h 49"/>
                  <a:gd name="T12" fmla="*/ 53 w 53"/>
                  <a:gd name="T1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49">
                    <a:moveTo>
                      <a:pt x="53" y="40"/>
                    </a:moveTo>
                    <a:cubicBezTo>
                      <a:pt x="51" y="23"/>
                      <a:pt x="50" y="15"/>
                      <a:pt x="37" y="5"/>
                    </a:cubicBezTo>
                    <a:cubicBezTo>
                      <a:pt x="3" y="7"/>
                      <a:pt x="12" y="0"/>
                      <a:pt x="2" y="16"/>
                    </a:cubicBezTo>
                    <a:cubicBezTo>
                      <a:pt x="0" y="26"/>
                      <a:pt x="8" y="23"/>
                      <a:pt x="17" y="25"/>
                    </a:cubicBezTo>
                    <a:cubicBezTo>
                      <a:pt x="20" y="30"/>
                      <a:pt x="21" y="33"/>
                      <a:pt x="26" y="37"/>
                    </a:cubicBezTo>
                    <a:cubicBezTo>
                      <a:pt x="28" y="42"/>
                      <a:pt x="32" y="44"/>
                      <a:pt x="35" y="49"/>
                    </a:cubicBezTo>
                    <a:cubicBezTo>
                      <a:pt x="42" y="46"/>
                      <a:pt x="45" y="26"/>
                      <a:pt x="53" y="4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3" name="Freeform 18">
                <a:extLst>
                  <a:ext uri="{FF2B5EF4-FFF2-40B4-BE49-F238E27FC236}">
                    <a16:creationId xmlns:a16="http://schemas.microsoft.com/office/drawing/2014/main" id="{BFE3C1A0-E69E-413E-80CE-9CDA998703B5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4657726" y="2957513"/>
                <a:ext cx="130175" cy="134938"/>
              </a:xfrm>
              <a:custGeom>
                <a:avLst/>
                <a:gdLst>
                  <a:gd name="T0" fmla="*/ 72 w 80"/>
                  <a:gd name="T1" fmla="*/ 15 h 85"/>
                  <a:gd name="T2" fmla="*/ 54 w 80"/>
                  <a:gd name="T3" fmla="*/ 7 h 85"/>
                  <a:gd name="T4" fmla="*/ 39 w 80"/>
                  <a:gd name="T5" fmla="*/ 1 h 85"/>
                  <a:gd name="T6" fmla="*/ 21 w 80"/>
                  <a:gd name="T7" fmla="*/ 15 h 85"/>
                  <a:gd name="T8" fmla="*/ 9 w 80"/>
                  <a:gd name="T9" fmla="*/ 21 h 85"/>
                  <a:gd name="T10" fmla="*/ 8 w 80"/>
                  <a:gd name="T11" fmla="*/ 31 h 85"/>
                  <a:gd name="T12" fmla="*/ 18 w 80"/>
                  <a:gd name="T13" fmla="*/ 49 h 85"/>
                  <a:gd name="T14" fmla="*/ 27 w 80"/>
                  <a:gd name="T15" fmla="*/ 61 h 85"/>
                  <a:gd name="T16" fmla="*/ 44 w 80"/>
                  <a:gd name="T17" fmla="*/ 73 h 85"/>
                  <a:gd name="T18" fmla="*/ 72 w 80"/>
                  <a:gd name="T19" fmla="*/ 85 h 85"/>
                  <a:gd name="T20" fmla="*/ 68 w 80"/>
                  <a:gd name="T21" fmla="*/ 76 h 85"/>
                  <a:gd name="T22" fmla="*/ 56 w 80"/>
                  <a:gd name="T23" fmla="*/ 58 h 85"/>
                  <a:gd name="T24" fmla="*/ 39 w 80"/>
                  <a:gd name="T25" fmla="*/ 48 h 85"/>
                  <a:gd name="T26" fmla="*/ 42 w 80"/>
                  <a:gd name="T27" fmla="*/ 30 h 85"/>
                  <a:gd name="T28" fmla="*/ 80 w 80"/>
                  <a:gd name="T29" fmla="*/ 31 h 85"/>
                  <a:gd name="T30" fmla="*/ 77 w 80"/>
                  <a:gd name="T31" fmla="*/ 1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0" h="85">
                    <a:moveTo>
                      <a:pt x="72" y="15"/>
                    </a:moveTo>
                    <a:cubicBezTo>
                      <a:pt x="66" y="12"/>
                      <a:pt x="60" y="9"/>
                      <a:pt x="54" y="7"/>
                    </a:cubicBezTo>
                    <a:cubicBezTo>
                      <a:pt x="49" y="2"/>
                      <a:pt x="47" y="0"/>
                      <a:pt x="39" y="1"/>
                    </a:cubicBezTo>
                    <a:cubicBezTo>
                      <a:pt x="36" y="7"/>
                      <a:pt x="27" y="11"/>
                      <a:pt x="21" y="15"/>
                    </a:cubicBezTo>
                    <a:cubicBezTo>
                      <a:pt x="20" y="24"/>
                      <a:pt x="17" y="22"/>
                      <a:pt x="9" y="21"/>
                    </a:cubicBezTo>
                    <a:cubicBezTo>
                      <a:pt x="0" y="23"/>
                      <a:pt x="4" y="25"/>
                      <a:pt x="8" y="31"/>
                    </a:cubicBezTo>
                    <a:cubicBezTo>
                      <a:pt x="9" y="45"/>
                      <a:pt x="9" y="42"/>
                      <a:pt x="18" y="49"/>
                    </a:cubicBezTo>
                    <a:cubicBezTo>
                      <a:pt x="20" y="55"/>
                      <a:pt x="22" y="57"/>
                      <a:pt x="27" y="61"/>
                    </a:cubicBezTo>
                    <a:cubicBezTo>
                      <a:pt x="31" y="67"/>
                      <a:pt x="37" y="72"/>
                      <a:pt x="44" y="73"/>
                    </a:cubicBezTo>
                    <a:cubicBezTo>
                      <a:pt x="53" y="80"/>
                      <a:pt x="61" y="84"/>
                      <a:pt x="72" y="85"/>
                    </a:cubicBezTo>
                    <a:cubicBezTo>
                      <a:pt x="76" y="84"/>
                      <a:pt x="71" y="80"/>
                      <a:pt x="68" y="76"/>
                    </a:cubicBezTo>
                    <a:cubicBezTo>
                      <a:pt x="65" y="72"/>
                      <a:pt x="61" y="63"/>
                      <a:pt x="56" y="58"/>
                    </a:cubicBezTo>
                    <a:cubicBezTo>
                      <a:pt x="52" y="52"/>
                      <a:pt x="46" y="49"/>
                      <a:pt x="39" y="48"/>
                    </a:cubicBezTo>
                    <a:cubicBezTo>
                      <a:pt x="35" y="41"/>
                      <a:pt x="35" y="35"/>
                      <a:pt x="42" y="30"/>
                    </a:cubicBezTo>
                    <a:cubicBezTo>
                      <a:pt x="49" y="27"/>
                      <a:pt x="74" y="33"/>
                      <a:pt x="80" y="31"/>
                    </a:cubicBezTo>
                    <a:cubicBezTo>
                      <a:pt x="78" y="20"/>
                      <a:pt x="79" y="24"/>
                      <a:pt x="77" y="18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5" name="Freeform 19">
                <a:extLst>
                  <a:ext uri="{FF2B5EF4-FFF2-40B4-BE49-F238E27FC236}">
                    <a16:creationId xmlns:a16="http://schemas.microsoft.com/office/drawing/2014/main" id="{7689AC81-0E32-4739-92B0-2C4C6C49E670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4783138" y="2962275"/>
                <a:ext cx="106363" cy="144463"/>
              </a:xfrm>
              <a:custGeom>
                <a:avLst/>
                <a:gdLst>
                  <a:gd name="T0" fmla="*/ 1 w 66"/>
                  <a:gd name="T1" fmla="*/ 13 h 91"/>
                  <a:gd name="T2" fmla="*/ 34 w 66"/>
                  <a:gd name="T3" fmla="*/ 3 h 91"/>
                  <a:gd name="T4" fmla="*/ 33 w 66"/>
                  <a:gd name="T5" fmla="*/ 18 h 91"/>
                  <a:gd name="T6" fmla="*/ 43 w 66"/>
                  <a:gd name="T7" fmla="*/ 31 h 91"/>
                  <a:gd name="T8" fmla="*/ 52 w 66"/>
                  <a:gd name="T9" fmla="*/ 43 h 91"/>
                  <a:gd name="T10" fmla="*/ 66 w 66"/>
                  <a:gd name="T11" fmla="*/ 67 h 91"/>
                  <a:gd name="T12" fmla="*/ 58 w 66"/>
                  <a:gd name="T13" fmla="*/ 81 h 91"/>
                  <a:gd name="T14" fmla="*/ 27 w 66"/>
                  <a:gd name="T15" fmla="*/ 90 h 91"/>
                  <a:gd name="T16" fmla="*/ 21 w 66"/>
                  <a:gd name="T17" fmla="*/ 75 h 91"/>
                  <a:gd name="T18" fmla="*/ 6 w 66"/>
                  <a:gd name="T19" fmla="*/ 58 h 91"/>
                  <a:gd name="T20" fmla="*/ 9 w 66"/>
                  <a:gd name="T21" fmla="*/ 48 h 91"/>
                  <a:gd name="T22" fmla="*/ 6 w 66"/>
                  <a:gd name="T23" fmla="*/ 39 h 91"/>
                  <a:gd name="T24" fmla="*/ 1 w 66"/>
                  <a:gd name="T25" fmla="*/ 33 h 91"/>
                  <a:gd name="T26" fmla="*/ 1 w 66"/>
                  <a:gd name="T27" fmla="*/ 21 h 91"/>
                  <a:gd name="T28" fmla="*/ 1 w 66"/>
                  <a:gd name="T29" fmla="*/ 12 h 91"/>
                  <a:gd name="T30" fmla="*/ 1 w 66"/>
                  <a:gd name="T31" fmla="*/ 1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6" h="91">
                    <a:moveTo>
                      <a:pt x="1" y="13"/>
                    </a:moveTo>
                    <a:cubicBezTo>
                      <a:pt x="8" y="0"/>
                      <a:pt x="14" y="1"/>
                      <a:pt x="34" y="3"/>
                    </a:cubicBezTo>
                    <a:cubicBezTo>
                      <a:pt x="40" y="4"/>
                      <a:pt x="32" y="13"/>
                      <a:pt x="33" y="18"/>
                    </a:cubicBezTo>
                    <a:cubicBezTo>
                      <a:pt x="34" y="23"/>
                      <a:pt x="40" y="27"/>
                      <a:pt x="43" y="31"/>
                    </a:cubicBezTo>
                    <a:cubicBezTo>
                      <a:pt x="46" y="36"/>
                      <a:pt x="47" y="39"/>
                      <a:pt x="52" y="43"/>
                    </a:cubicBezTo>
                    <a:cubicBezTo>
                      <a:pt x="56" y="53"/>
                      <a:pt x="61" y="58"/>
                      <a:pt x="66" y="67"/>
                    </a:cubicBezTo>
                    <a:cubicBezTo>
                      <a:pt x="66" y="73"/>
                      <a:pt x="65" y="77"/>
                      <a:pt x="58" y="81"/>
                    </a:cubicBezTo>
                    <a:cubicBezTo>
                      <a:pt x="51" y="85"/>
                      <a:pt x="33" y="91"/>
                      <a:pt x="27" y="90"/>
                    </a:cubicBezTo>
                    <a:cubicBezTo>
                      <a:pt x="25" y="85"/>
                      <a:pt x="23" y="80"/>
                      <a:pt x="21" y="75"/>
                    </a:cubicBezTo>
                    <a:cubicBezTo>
                      <a:pt x="20" y="68"/>
                      <a:pt x="9" y="64"/>
                      <a:pt x="6" y="58"/>
                    </a:cubicBezTo>
                    <a:cubicBezTo>
                      <a:pt x="3" y="53"/>
                      <a:pt x="9" y="52"/>
                      <a:pt x="9" y="48"/>
                    </a:cubicBezTo>
                    <a:cubicBezTo>
                      <a:pt x="9" y="45"/>
                      <a:pt x="7" y="41"/>
                      <a:pt x="6" y="39"/>
                    </a:cubicBezTo>
                    <a:cubicBezTo>
                      <a:pt x="5" y="37"/>
                      <a:pt x="2" y="36"/>
                      <a:pt x="1" y="33"/>
                    </a:cubicBezTo>
                    <a:cubicBezTo>
                      <a:pt x="0" y="27"/>
                      <a:pt x="1" y="24"/>
                      <a:pt x="1" y="21"/>
                    </a:cubicBezTo>
                    <a:cubicBezTo>
                      <a:pt x="1" y="18"/>
                      <a:pt x="1" y="13"/>
                      <a:pt x="1" y="12"/>
                    </a:cubicBezTo>
                    <a:cubicBezTo>
                      <a:pt x="0" y="5"/>
                      <a:pt x="0" y="5"/>
                      <a:pt x="1" y="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6" name="Freeform 20">
                <a:extLst>
                  <a:ext uri="{FF2B5EF4-FFF2-40B4-BE49-F238E27FC236}">
                    <a16:creationId xmlns:a16="http://schemas.microsoft.com/office/drawing/2014/main" id="{D778C530-4873-4DAA-8D75-6940A476304E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4721226" y="2882900"/>
                <a:ext cx="149225" cy="100013"/>
              </a:xfrm>
              <a:custGeom>
                <a:avLst/>
                <a:gdLst>
                  <a:gd name="T0" fmla="*/ 21 w 92"/>
                  <a:gd name="T1" fmla="*/ 57 h 63"/>
                  <a:gd name="T2" fmla="*/ 12 w 92"/>
                  <a:gd name="T3" fmla="*/ 53 h 63"/>
                  <a:gd name="T4" fmla="*/ 5 w 92"/>
                  <a:gd name="T5" fmla="*/ 44 h 63"/>
                  <a:gd name="T6" fmla="*/ 0 w 92"/>
                  <a:gd name="T7" fmla="*/ 41 h 63"/>
                  <a:gd name="T8" fmla="*/ 11 w 92"/>
                  <a:gd name="T9" fmla="*/ 23 h 63"/>
                  <a:gd name="T10" fmla="*/ 26 w 92"/>
                  <a:gd name="T11" fmla="*/ 11 h 63"/>
                  <a:gd name="T12" fmla="*/ 51 w 92"/>
                  <a:gd name="T13" fmla="*/ 8 h 63"/>
                  <a:gd name="T14" fmla="*/ 66 w 92"/>
                  <a:gd name="T15" fmla="*/ 0 h 63"/>
                  <a:gd name="T16" fmla="*/ 92 w 92"/>
                  <a:gd name="T17" fmla="*/ 5 h 63"/>
                  <a:gd name="T18" fmla="*/ 84 w 92"/>
                  <a:gd name="T19" fmla="*/ 33 h 63"/>
                  <a:gd name="T20" fmla="*/ 72 w 92"/>
                  <a:gd name="T21" fmla="*/ 50 h 63"/>
                  <a:gd name="T22" fmla="*/ 45 w 92"/>
                  <a:gd name="T23" fmla="*/ 54 h 63"/>
                  <a:gd name="T24" fmla="*/ 32 w 92"/>
                  <a:gd name="T25" fmla="*/ 62 h 63"/>
                  <a:gd name="T26" fmla="*/ 21 w 92"/>
                  <a:gd name="T27" fmla="*/ 57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63">
                    <a:moveTo>
                      <a:pt x="21" y="57"/>
                    </a:moveTo>
                    <a:cubicBezTo>
                      <a:pt x="18" y="55"/>
                      <a:pt x="15" y="55"/>
                      <a:pt x="12" y="53"/>
                    </a:cubicBezTo>
                    <a:cubicBezTo>
                      <a:pt x="9" y="51"/>
                      <a:pt x="8" y="46"/>
                      <a:pt x="5" y="44"/>
                    </a:cubicBezTo>
                    <a:cubicBezTo>
                      <a:pt x="3" y="43"/>
                      <a:pt x="2" y="42"/>
                      <a:pt x="0" y="41"/>
                    </a:cubicBezTo>
                    <a:cubicBezTo>
                      <a:pt x="2" y="31"/>
                      <a:pt x="1" y="25"/>
                      <a:pt x="11" y="23"/>
                    </a:cubicBezTo>
                    <a:cubicBezTo>
                      <a:pt x="19" y="17"/>
                      <a:pt x="17" y="13"/>
                      <a:pt x="26" y="11"/>
                    </a:cubicBezTo>
                    <a:cubicBezTo>
                      <a:pt x="31" y="2"/>
                      <a:pt x="39" y="6"/>
                      <a:pt x="51" y="8"/>
                    </a:cubicBezTo>
                    <a:cubicBezTo>
                      <a:pt x="60" y="6"/>
                      <a:pt x="59" y="3"/>
                      <a:pt x="66" y="0"/>
                    </a:cubicBezTo>
                    <a:cubicBezTo>
                      <a:pt x="75" y="2"/>
                      <a:pt x="92" y="5"/>
                      <a:pt x="92" y="5"/>
                    </a:cubicBezTo>
                    <a:cubicBezTo>
                      <a:pt x="91" y="16"/>
                      <a:pt x="89" y="24"/>
                      <a:pt x="84" y="33"/>
                    </a:cubicBezTo>
                    <a:cubicBezTo>
                      <a:pt x="80" y="40"/>
                      <a:pt x="78" y="47"/>
                      <a:pt x="72" y="50"/>
                    </a:cubicBezTo>
                    <a:cubicBezTo>
                      <a:pt x="66" y="53"/>
                      <a:pt x="52" y="52"/>
                      <a:pt x="45" y="54"/>
                    </a:cubicBezTo>
                    <a:cubicBezTo>
                      <a:pt x="40" y="60"/>
                      <a:pt x="38" y="59"/>
                      <a:pt x="32" y="62"/>
                    </a:cubicBezTo>
                    <a:cubicBezTo>
                      <a:pt x="22" y="60"/>
                      <a:pt x="25" y="63"/>
                      <a:pt x="21" y="5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9" name="Freeform 21">
                <a:extLst>
                  <a:ext uri="{FF2B5EF4-FFF2-40B4-BE49-F238E27FC236}">
                    <a16:creationId xmlns:a16="http://schemas.microsoft.com/office/drawing/2014/main" id="{DED13C17-0E04-4AA0-92CB-62E3FFB4D937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4729163" y="2835275"/>
                <a:ext cx="147638" cy="76200"/>
              </a:xfrm>
              <a:custGeom>
                <a:avLst/>
                <a:gdLst>
                  <a:gd name="T0" fmla="*/ 90 w 91"/>
                  <a:gd name="T1" fmla="*/ 35 h 48"/>
                  <a:gd name="T2" fmla="*/ 91 w 91"/>
                  <a:gd name="T3" fmla="*/ 18 h 48"/>
                  <a:gd name="T4" fmla="*/ 51 w 91"/>
                  <a:gd name="T5" fmla="*/ 11 h 48"/>
                  <a:gd name="T6" fmla="*/ 25 w 91"/>
                  <a:gd name="T7" fmla="*/ 12 h 48"/>
                  <a:gd name="T8" fmla="*/ 4 w 91"/>
                  <a:gd name="T9" fmla="*/ 24 h 48"/>
                  <a:gd name="T10" fmla="*/ 10 w 91"/>
                  <a:gd name="T11" fmla="*/ 45 h 48"/>
                  <a:gd name="T12" fmla="*/ 25 w 91"/>
                  <a:gd name="T13" fmla="*/ 36 h 48"/>
                  <a:gd name="T14" fmla="*/ 49 w 91"/>
                  <a:gd name="T15" fmla="*/ 35 h 48"/>
                  <a:gd name="T16" fmla="*/ 90 w 91"/>
                  <a:gd name="T17" fmla="*/ 3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48">
                    <a:moveTo>
                      <a:pt x="90" y="35"/>
                    </a:moveTo>
                    <a:cubicBezTo>
                      <a:pt x="91" y="27"/>
                      <a:pt x="90" y="26"/>
                      <a:pt x="91" y="18"/>
                    </a:cubicBezTo>
                    <a:cubicBezTo>
                      <a:pt x="88" y="0"/>
                      <a:pt x="66" y="10"/>
                      <a:pt x="51" y="11"/>
                    </a:cubicBezTo>
                    <a:cubicBezTo>
                      <a:pt x="42" y="8"/>
                      <a:pt x="34" y="10"/>
                      <a:pt x="25" y="12"/>
                    </a:cubicBezTo>
                    <a:cubicBezTo>
                      <a:pt x="16" y="19"/>
                      <a:pt x="17" y="23"/>
                      <a:pt x="4" y="24"/>
                    </a:cubicBezTo>
                    <a:cubicBezTo>
                      <a:pt x="0" y="30"/>
                      <a:pt x="4" y="40"/>
                      <a:pt x="10" y="45"/>
                    </a:cubicBezTo>
                    <a:cubicBezTo>
                      <a:pt x="13" y="48"/>
                      <a:pt x="19" y="38"/>
                      <a:pt x="25" y="36"/>
                    </a:cubicBezTo>
                    <a:cubicBezTo>
                      <a:pt x="31" y="34"/>
                      <a:pt x="38" y="35"/>
                      <a:pt x="49" y="35"/>
                    </a:cubicBezTo>
                    <a:cubicBezTo>
                      <a:pt x="63" y="27"/>
                      <a:pt x="66" y="32"/>
                      <a:pt x="90" y="3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0" name="Freeform 22">
                <a:extLst>
                  <a:ext uri="{FF2B5EF4-FFF2-40B4-BE49-F238E27FC236}">
                    <a16:creationId xmlns:a16="http://schemas.microsoft.com/office/drawing/2014/main" id="{45B95E18-7B4E-4EA7-BE98-81B314545C96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4625976" y="2792413"/>
                <a:ext cx="161925" cy="88900"/>
              </a:xfrm>
              <a:custGeom>
                <a:avLst/>
                <a:gdLst>
                  <a:gd name="T0" fmla="*/ 100 w 100"/>
                  <a:gd name="T1" fmla="*/ 35 h 56"/>
                  <a:gd name="T2" fmla="*/ 86 w 100"/>
                  <a:gd name="T3" fmla="*/ 26 h 56"/>
                  <a:gd name="T4" fmla="*/ 55 w 100"/>
                  <a:gd name="T5" fmla="*/ 3 h 56"/>
                  <a:gd name="T6" fmla="*/ 35 w 100"/>
                  <a:gd name="T7" fmla="*/ 2 h 56"/>
                  <a:gd name="T8" fmla="*/ 20 w 100"/>
                  <a:gd name="T9" fmla="*/ 12 h 56"/>
                  <a:gd name="T10" fmla="*/ 2 w 100"/>
                  <a:gd name="T11" fmla="*/ 23 h 56"/>
                  <a:gd name="T12" fmla="*/ 11 w 100"/>
                  <a:gd name="T13" fmla="*/ 38 h 56"/>
                  <a:gd name="T14" fmla="*/ 23 w 100"/>
                  <a:gd name="T15" fmla="*/ 56 h 56"/>
                  <a:gd name="T16" fmla="*/ 41 w 100"/>
                  <a:gd name="T17" fmla="*/ 45 h 56"/>
                  <a:gd name="T18" fmla="*/ 59 w 100"/>
                  <a:gd name="T19" fmla="*/ 56 h 56"/>
                  <a:gd name="T20" fmla="*/ 64 w 100"/>
                  <a:gd name="T21" fmla="*/ 54 h 56"/>
                  <a:gd name="T22" fmla="*/ 68 w 100"/>
                  <a:gd name="T23" fmla="*/ 56 h 56"/>
                  <a:gd name="T24" fmla="*/ 88 w 100"/>
                  <a:gd name="T25" fmla="*/ 42 h 56"/>
                  <a:gd name="T26" fmla="*/ 100 w 100"/>
                  <a:gd name="T27" fmla="*/ 3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0" h="56">
                    <a:moveTo>
                      <a:pt x="100" y="35"/>
                    </a:moveTo>
                    <a:cubicBezTo>
                      <a:pt x="94" y="32"/>
                      <a:pt x="93" y="27"/>
                      <a:pt x="86" y="26"/>
                    </a:cubicBezTo>
                    <a:cubicBezTo>
                      <a:pt x="75" y="18"/>
                      <a:pt x="66" y="11"/>
                      <a:pt x="55" y="3"/>
                    </a:cubicBezTo>
                    <a:cubicBezTo>
                      <a:pt x="47" y="0"/>
                      <a:pt x="41" y="1"/>
                      <a:pt x="35" y="2"/>
                    </a:cubicBezTo>
                    <a:cubicBezTo>
                      <a:pt x="29" y="3"/>
                      <a:pt x="25" y="9"/>
                      <a:pt x="20" y="12"/>
                    </a:cubicBezTo>
                    <a:cubicBezTo>
                      <a:pt x="13" y="20"/>
                      <a:pt x="6" y="13"/>
                      <a:pt x="2" y="23"/>
                    </a:cubicBezTo>
                    <a:cubicBezTo>
                      <a:pt x="6" y="41"/>
                      <a:pt x="0" y="29"/>
                      <a:pt x="11" y="38"/>
                    </a:cubicBezTo>
                    <a:cubicBezTo>
                      <a:pt x="13" y="43"/>
                      <a:pt x="20" y="51"/>
                      <a:pt x="23" y="56"/>
                    </a:cubicBezTo>
                    <a:cubicBezTo>
                      <a:pt x="30" y="53"/>
                      <a:pt x="35" y="49"/>
                      <a:pt x="41" y="45"/>
                    </a:cubicBezTo>
                    <a:cubicBezTo>
                      <a:pt x="47" y="49"/>
                      <a:pt x="53" y="52"/>
                      <a:pt x="59" y="56"/>
                    </a:cubicBezTo>
                    <a:cubicBezTo>
                      <a:pt x="61" y="55"/>
                      <a:pt x="62" y="54"/>
                      <a:pt x="64" y="54"/>
                    </a:cubicBezTo>
                    <a:cubicBezTo>
                      <a:pt x="65" y="54"/>
                      <a:pt x="67" y="56"/>
                      <a:pt x="68" y="56"/>
                    </a:cubicBezTo>
                    <a:cubicBezTo>
                      <a:pt x="75" y="55"/>
                      <a:pt x="80" y="43"/>
                      <a:pt x="88" y="42"/>
                    </a:cubicBezTo>
                    <a:cubicBezTo>
                      <a:pt x="91" y="37"/>
                      <a:pt x="94" y="31"/>
                      <a:pt x="100" y="3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1" name="Freeform 23">
                <a:extLst>
                  <a:ext uri="{FF2B5EF4-FFF2-40B4-BE49-F238E27FC236}">
                    <a16:creationId xmlns:a16="http://schemas.microsoft.com/office/drawing/2014/main" id="{11D3EB52-45CC-465A-BD82-BF460B97ACB4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5183188" y="3248025"/>
                <a:ext cx="142875" cy="146050"/>
              </a:xfrm>
              <a:custGeom>
                <a:avLst/>
                <a:gdLst>
                  <a:gd name="T0" fmla="*/ 89 w 89"/>
                  <a:gd name="T1" fmla="*/ 6 h 92"/>
                  <a:gd name="T2" fmla="*/ 62 w 89"/>
                  <a:gd name="T3" fmla="*/ 12 h 92"/>
                  <a:gd name="T4" fmla="*/ 50 w 89"/>
                  <a:gd name="T5" fmla="*/ 15 h 92"/>
                  <a:gd name="T6" fmla="*/ 8 w 89"/>
                  <a:gd name="T7" fmla="*/ 16 h 92"/>
                  <a:gd name="T8" fmla="*/ 10 w 89"/>
                  <a:gd name="T9" fmla="*/ 54 h 92"/>
                  <a:gd name="T10" fmla="*/ 5 w 89"/>
                  <a:gd name="T11" fmla="*/ 78 h 92"/>
                  <a:gd name="T12" fmla="*/ 19 w 89"/>
                  <a:gd name="T13" fmla="*/ 85 h 92"/>
                  <a:gd name="T14" fmla="*/ 28 w 89"/>
                  <a:gd name="T15" fmla="*/ 82 h 92"/>
                  <a:gd name="T16" fmla="*/ 55 w 89"/>
                  <a:gd name="T17" fmla="*/ 70 h 92"/>
                  <a:gd name="T18" fmla="*/ 73 w 89"/>
                  <a:gd name="T19" fmla="*/ 52 h 92"/>
                  <a:gd name="T20" fmla="*/ 82 w 89"/>
                  <a:gd name="T21" fmla="*/ 39 h 92"/>
                  <a:gd name="T22" fmla="*/ 89 w 89"/>
                  <a:gd name="T23" fmla="*/ 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92">
                    <a:moveTo>
                      <a:pt x="89" y="6"/>
                    </a:moveTo>
                    <a:cubicBezTo>
                      <a:pt x="77" y="4"/>
                      <a:pt x="69" y="0"/>
                      <a:pt x="62" y="12"/>
                    </a:cubicBezTo>
                    <a:cubicBezTo>
                      <a:pt x="60" y="21"/>
                      <a:pt x="58" y="16"/>
                      <a:pt x="50" y="15"/>
                    </a:cubicBezTo>
                    <a:cubicBezTo>
                      <a:pt x="36" y="15"/>
                      <a:pt x="22" y="14"/>
                      <a:pt x="8" y="16"/>
                    </a:cubicBezTo>
                    <a:cubicBezTo>
                      <a:pt x="3" y="17"/>
                      <a:pt x="0" y="48"/>
                      <a:pt x="10" y="54"/>
                    </a:cubicBezTo>
                    <a:cubicBezTo>
                      <a:pt x="17" y="63"/>
                      <a:pt x="12" y="71"/>
                      <a:pt x="5" y="78"/>
                    </a:cubicBezTo>
                    <a:cubicBezTo>
                      <a:pt x="8" y="84"/>
                      <a:pt x="13" y="84"/>
                      <a:pt x="19" y="85"/>
                    </a:cubicBezTo>
                    <a:cubicBezTo>
                      <a:pt x="23" y="92"/>
                      <a:pt x="21" y="86"/>
                      <a:pt x="28" y="82"/>
                    </a:cubicBezTo>
                    <a:cubicBezTo>
                      <a:pt x="30" y="68"/>
                      <a:pt x="42" y="72"/>
                      <a:pt x="55" y="70"/>
                    </a:cubicBezTo>
                    <a:cubicBezTo>
                      <a:pt x="65" y="63"/>
                      <a:pt x="58" y="59"/>
                      <a:pt x="73" y="52"/>
                    </a:cubicBezTo>
                    <a:cubicBezTo>
                      <a:pt x="76" y="48"/>
                      <a:pt x="79" y="43"/>
                      <a:pt x="82" y="39"/>
                    </a:cubicBezTo>
                    <a:cubicBezTo>
                      <a:pt x="84" y="27"/>
                      <a:pt x="78" y="14"/>
                      <a:pt x="89" y="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2" name="Freeform 24">
                <a:extLst>
                  <a:ext uri="{FF2B5EF4-FFF2-40B4-BE49-F238E27FC236}">
                    <a16:creationId xmlns:a16="http://schemas.microsoft.com/office/drawing/2014/main" id="{F7DF38F3-8FB7-4C7F-BDC0-EB1CC64C8D8F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gray">
              <a:xfrm>
                <a:off x="5103813" y="3292475"/>
                <a:ext cx="63500" cy="39688"/>
              </a:xfrm>
              <a:custGeom>
                <a:avLst/>
                <a:gdLst>
                  <a:gd name="T0" fmla="*/ 0 w 39"/>
                  <a:gd name="T1" fmla="*/ 12 h 25"/>
                  <a:gd name="T2" fmla="*/ 30 w 39"/>
                  <a:gd name="T3" fmla="*/ 0 h 25"/>
                  <a:gd name="T4" fmla="*/ 29 w 39"/>
                  <a:gd name="T5" fmla="*/ 8 h 25"/>
                  <a:gd name="T6" fmla="*/ 21 w 39"/>
                  <a:gd name="T7" fmla="*/ 21 h 25"/>
                  <a:gd name="T8" fmla="*/ 2 w 39"/>
                  <a:gd name="T9" fmla="*/ 23 h 25"/>
                  <a:gd name="T10" fmla="*/ 0 w 39"/>
                  <a:gd name="T11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25">
                    <a:moveTo>
                      <a:pt x="0" y="12"/>
                    </a:moveTo>
                    <a:cubicBezTo>
                      <a:pt x="17" y="9"/>
                      <a:pt x="18" y="9"/>
                      <a:pt x="30" y="0"/>
                    </a:cubicBezTo>
                    <a:cubicBezTo>
                      <a:pt x="39" y="3"/>
                      <a:pt x="35" y="5"/>
                      <a:pt x="29" y="8"/>
                    </a:cubicBezTo>
                    <a:cubicBezTo>
                      <a:pt x="35" y="16"/>
                      <a:pt x="29" y="19"/>
                      <a:pt x="21" y="21"/>
                    </a:cubicBezTo>
                    <a:cubicBezTo>
                      <a:pt x="14" y="25"/>
                      <a:pt x="10" y="24"/>
                      <a:pt x="2" y="23"/>
                    </a:cubicBezTo>
                    <a:cubicBezTo>
                      <a:pt x="0" y="14"/>
                      <a:pt x="0" y="18"/>
                      <a:pt x="0" y="1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3" name="Freeform 25">
                <a:extLst>
                  <a:ext uri="{FF2B5EF4-FFF2-40B4-BE49-F238E27FC236}">
                    <a16:creationId xmlns:a16="http://schemas.microsoft.com/office/drawing/2014/main" id="{935F5632-4103-4A0C-9750-BFB5BBAF0570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gray">
              <a:xfrm>
                <a:off x="4935538" y="3090863"/>
                <a:ext cx="479425" cy="190500"/>
              </a:xfrm>
              <a:custGeom>
                <a:avLst/>
                <a:gdLst>
                  <a:gd name="T0" fmla="*/ 61 w 297"/>
                  <a:gd name="T1" fmla="*/ 24 h 120"/>
                  <a:gd name="T2" fmla="*/ 44 w 297"/>
                  <a:gd name="T3" fmla="*/ 9 h 120"/>
                  <a:gd name="T4" fmla="*/ 29 w 297"/>
                  <a:gd name="T5" fmla="*/ 0 h 120"/>
                  <a:gd name="T6" fmla="*/ 19 w 297"/>
                  <a:gd name="T7" fmla="*/ 10 h 120"/>
                  <a:gd name="T8" fmla="*/ 2 w 297"/>
                  <a:gd name="T9" fmla="*/ 42 h 120"/>
                  <a:gd name="T10" fmla="*/ 5 w 297"/>
                  <a:gd name="T11" fmla="*/ 64 h 120"/>
                  <a:gd name="T12" fmla="*/ 20 w 297"/>
                  <a:gd name="T13" fmla="*/ 63 h 120"/>
                  <a:gd name="T14" fmla="*/ 22 w 297"/>
                  <a:gd name="T15" fmla="*/ 85 h 120"/>
                  <a:gd name="T16" fmla="*/ 53 w 297"/>
                  <a:gd name="T17" fmla="*/ 115 h 120"/>
                  <a:gd name="T18" fmla="*/ 68 w 297"/>
                  <a:gd name="T19" fmla="*/ 120 h 120"/>
                  <a:gd name="T20" fmla="*/ 82 w 297"/>
                  <a:gd name="T21" fmla="*/ 109 h 120"/>
                  <a:gd name="T22" fmla="*/ 109 w 297"/>
                  <a:gd name="T23" fmla="*/ 115 h 120"/>
                  <a:gd name="T24" fmla="*/ 133 w 297"/>
                  <a:gd name="T25" fmla="*/ 111 h 120"/>
                  <a:gd name="T26" fmla="*/ 167 w 297"/>
                  <a:gd name="T27" fmla="*/ 114 h 120"/>
                  <a:gd name="T28" fmla="*/ 182 w 297"/>
                  <a:gd name="T29" fmla="*/ 114 h 120"/>
                  <a:gd name="T30" fmla="*/ 211 w 297"/>
                  <a:gd name="T31" fmla="*/ 114 h 120"/>
                  <a:gd name="T32" fmla="*/ 222 w 297"/>
                  <a:gd name="T33" fmla="*/ 103 h 120"/>
                  <a:gd name="T34" fmla="*/ 232 w 297"/>
                  <a:gd name="T35" fmla="*/ 102 h 120"/>
                  <a:gd name="T36" fmla="*/ 248 w 297"/>
                  <a:gd name="T37" fmla="*/ 103 h 120"/>
                  <a:gd name="T38" fmla="*/ 269 w 297"/>
                  <a:gd name="T39" fmla="*/ 108 h 120"/>
                  <a:gd name="T40" fmla="*/ 272 w 297"/>
                  <a:gd name="T41" fmla="*/ 103 h 120"/>
                  <a:gd name="T42" fmla="*/ 284 w 297"/>
                  <a:gd name="T43" fmla="*/ 105 h 120"/>
                  <a:gd name="T44" fmla="*/ 274 w 297"/>
                  <a:gd name="T45" fmla="*/ 45 h 120"/>
                  <a:gd name="T46" fmla="*/ 262 w 297"/>
                  <a:gd name="T47" fmla="*/ 21 h 120"/>
                  <a:gd name="T48" fmla="*/ 230 w 297"/>
                  <a:gd name="T49" fmla="*/ 28 h 120"/>
                  <a:gd name="T50" fmla="*/ 193 w 297"/>
                  <a:gd name="T51" fmla="*/ 30 h 120"/>
                  <a:gd name="T52" fmla="*/ 164 w 297"/>
                  <a:gd name="T53" fmla="*/ 15 h 120"/>
                  <a:gd name="T54" fmla="*/ 146 w 297"/>
                  <a:gd name="T55" fmla="*/ 6 h 120"/>
                  <a:gd name="T56" fmla="*/ 98 w 297"/>
                  <a:gd name="T57" fmla="*/ 15 h 120"/>
                  <a:gd name="T58" fmla="*/ 86 w 297"/>
                  <a:gd name="T59" fmla="*/ 22 h 120"/>
                  <a:gd name="T60" fmla="*/ 61 w 297"/>
                  <a:gd name="T61" fmla="*/ 24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7" h="120">
                    <a:moveTo>
                      <a:pt x="61" y="24"/>
                    </a:moveTo>
                    <a:cubicBezTo>
                      <a:pt x="46" y="21"/>
                      <a:pt x="50" y="20"/>
                      <a:pt x="44" y="9"/>
                    </a:cubicBezTo>
                    <a:cubicBezTo>
                      <a:pt x="39" y="5"/>
                      <a:pt x="33" y="0"/>
                      <a:pt x="29" y="0"/>
                    </a:cubicBezTo>
                    <a:cubicBezTo>
                      <a:pt x="25" y="0"/>
                      <a:pt x="23" y="3"/>
                      <a:pt x="19" y="10"/>
                    </a:cubicBezTo>
                    <a:cubicBezTo>
                      <a:pt x="22" y="30"/>
                      <a:pt x="17" y="33"/>
                      <a:pt x="2" y="42"/>
                    </a:cubicBezTo>
                    <a:cubicBezTo>
                      <a:pt x="1" y="50"/>
                      <a:pt x="0" y="57"/>
                      <a:pt x="5" y="64"/>
                    </a:cubicBezTo>
                    <a:cubicBezTo>
                      <a:pt x="12" y="63"/>
                      <a:pt x="14" y="59"/>
                      <a:pt x="20" y="63"/>
                    </a:cubicBezTo>
                    <a:cubicBezTo>
                      <a:pt x="19" y="71"/>
                      <a:pt x="11" y="83"/>
                      <a:pt x="22" y="85"/>
                    </a:cubicBezTo>
                    <a:cubicBezTo>
                      <a:pt x="27" y="108"/>
                      <a:pt x="27" y="113"/>
                      <a:pt x="53" y="115"/>
                    </a:cubicBezTo>
                    <a:cubicBezTo>
                      <a:pt x="58" y="117"/>
                      <a:pt x="63" y="118"/>
                      <a:pt x="68" y="120"/>
                    </a:cubicBezTo>
                    <a:cubicBezTo>
                      <a:pt x="74" y="117"/>
                      <a:pt x="77" y="114"/>
                      <a:pt x="82" y="109"/>
                    </a:cubicBezTo>
                    <a:cubicBezTo>
                      <a:pt x="90" y="113"/>
                      <a:pt x="109" y="115"/>
                      <a:pt x="109" y="115"/>
                    </a:cubicBezTo>
                    <a:cubicBezTo>
                      <a:pt x="118" y="114"/>
                      <a:pt x="124" y="112"/>
                      <a:pt x="133" y="111"/>
                    </a:cubicBezTo>
                    <a:cubicBezTo>
                      <a:pt x="143" y="110"/>
                      <a:pt x="159" y="114"/>
                      <a:pt x="167" y="114"/>
                    </a:cubicBezTo>
                    <a:cubicBezTo>
                      <a:pt x="175" y="114"/>
                      <a:pt x="175" y="114"/>
                      <a:pt x="182" y="114"/>
                    </a:cubicBezTo>
                    <a:cubicBezTo>
                      <a:pt x="189" y="114"/>
                      <a:pt x="204" y="116"/>
                      <a:pt x="211" y="114"/>
                    </a:cubicBezTo>
                    <a:cubicBezTo>
                      <a:pt x="218" y="112"/>
                      <a:pt x="219" y="105"/>
                      <a:pt x="222" y="103"/>
                    </a:cubicBezTo>
                    <a:cubicBezTo>
                      <a:pt x="225" y="101"/>
                      <a:pt x="228" y="102"/>
                      <a:pt x="232" y="102"/>
                    </a:cubicBezTo>
                    <a:cubicBezTo>
                      <a:pt x="236" y="102"/>
                      <a:pt x="242" y="102"/>
                      <a:pt x="248" y="103"/>
                    </a:cubicBezTo>
                    <a:cubicBezTo>
                      <a:pt x="254" y="104"/>
                      <a:pt x="265" y="108"/>
                      <a:pt x="269" y="108"/>
                    </a:cubicBezTo>
                    <a:cubicBezTo>
                      <a:pt x="273" y="108"/>
                      <a:pt x="270" y="103"/>
                      <a:pt x="272" y="103"/>
                    </a:cubicBezTo>
                    <a:cubicBezTo>
                      <a:pt x="274" y="103"/>
                      <a:pt x="284" y="115"/>
                      <a:pt x="284" y="105"/>
                    </a:cubicBezTo>
                    <a:cubicBezTo>
                      <a:pt x="297" y="84"/>
                      <a:pt x="292" y="59"/>
                      <a:pt x="274" y="45"/>
                    </a:cubicBezTo>
                    <a:cubicBezTo>
                      <a:pt x="268" y="29"/>
                      <a:pt x="274" y="33"/>
                      <a:pt x="262" y="21"/>
                    </a:cubicBezTo>
                    <a:cubicBezTo>
                      <a:pt x="246" y="22"/>
                      <a:pt x="243" y="25"/>
                      <a:pt x="230" y="28"/>
                    </a:cubicBezTo>
                    <a:cubicBezTo>
                      <a:pt x="218" y="34"/>
                      <a:pt x="208" y="31"/>
                      <a:pt x="193" y="30"/>
                    </a:cubicBezTo>
                    <a:cubicBezTo>
                      <a:pt x="183" y="26"/>
                      <a:pt x="175" y="17"/>
                      <a:pt x="164" y="15"/>
                    </a:cubicBezTo>
                    <a:cubicBezTo>
                      <a:pt x="158" y="11"/>
                      <a:pt x="153" y="7"/>
                      <a:pt x="146" y="6"/>
                    </a:cubicBezTo>
                    <a:cubicBezTo>
                      <a:pt x="117" y="7"/>
                      <a:pt x="116" y="4"/>
                      <a:pt x="98" y="15"/>
                    </a:cubicBezTo>
                    <a:cubicBezTo>
                      <a:pt x="94" y="20"/>
                      <a:pt x="92" y="21"/>
                      <a:pt x="86" y="22"/>
                    </a:cubicBezTo>
                    <a:cubicBezTo>
                      <a:pt x="76" y="27"/>
                      <a:pt x="83" y="24"/>
                      <a:pt x="61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6" name="Freeform 26">
                <a:extLst>
                  <a:ext uri="{FF2B5EF4-FFF2-40B4-BE49-F238E27FC236}">
                    <a16:creationId xmlns:a16="http://schemas.microsoft.com/office/drawing/2014/main" id="{1D602044-B178-4C7F-A7DA-86423D95AFFA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gray">
              <a:xfrm>
                <a:off x="4624388" y="4073525"/>
                <a:ext cx="449263" cy="415925"/>
              </a:xfrm>
              <a:custGeom>
                <a:avLst/>
                <a:gdLst>
                  <a:gd name="T0" fmla="*/ 8 w 278"/>
                  <a:gd name="T1" fmla="*/ 170 h 262"/>
                  <a:gd name="T2" fmla="*/ 0 w 278"/>
                  <a:gd name="T3" fmla="*/ 156 h 262"/>
                  <a:gd name="T4" fmla="*/ 15 w 278"/>
                  <a:gd name="T5" fmla="*/ 141 h 262"/>
                  <a:gd name="T6" fmla="*/ 33 w 278"/>
                  <a:gd name="T7" fmla="*/ 141 h 262"/>
                  <a:gd name="T8" fmla="*/ 53 w 278"/>
                  <a:gd name="T9" fmla="*/ 135 h 262"/>
                  <a:gd name="T10" fmla="*/ 68 w 278"/>
                  <a:gd name="T11" fmla="*/ 107 h 262"/>
                  <a:gd name="T12" fmla="*/ 84 w 278"/>
                  <a:gd name="T13" fmla="*/ 90 h 262"/>
                  <a:gd name="T14" fmla="*/ 84 w 278"/>
                  <a:gd name="T15" fmla="*/ 72 h 262"/>
                  <a:gd name="T16" fmla="*/ 92 w 278"/>
                  <a:gd name="T17" fmla="*/ 53 h 262"/>
                  <a:gd name="T18" fmla="*/ 98 w 278"/>
                  <a:gd name="T19" fmla="*/ 18 h 262"/>
                  <a:gd name="T20" fmla="*/ 108 w 278"/>
                  <a:gd name="T21" fmla="*/ 0 h 262"/>
                  <a:gd name="T22" fmla="*/ 144 w 278"/>
                  <a:gd name="T23" fmla="*/ 14 h 262"/>
                  <a:gd name="T24" fmla="*/ 158 w 278"/>
                  <a:gd name="T25" fmla="*/ 12 h 262"/>
                  <a:gd name="T26" fmla="*/ 188 w 278"/>
                  <a:gd name="T27" fmla="*/ 5 h 262"/>
                  <a:gd name="T28" fmla="*/ 209 w 278"/>
                  <a:gd name="T29" fmla="*/ 0 h 262"/>
                  <a:gd name="T30" fmla="*/ 233 w 278"/>
                  <a:gd name="T31" fmla="*/ 6 h 262"/>
                  <a:gd name="T32" fmla="*/ 261 w 278"/>
                  <a:gd name="T33" fmla="*/ 12 h 262"/>
                  <a:gd name="T34" fmla="*/ 272 w 278"/>
                  <a:gd name="T35" fmla="*/ 24 h 262"/>
                  <a:gd name="T36" fmla="*/ 278 w 278"/>
                  <a:gd name="T37" fmla="*/ 39 h 262"/>
                  <a:gd name="T38" fmla="*/ 264 w 278"/>
                  <a:gd name="T39" fmla="*/ 65 h 262"/>
                  <a:gd name="T40" fmla="*/ 258 w 278"/>
                  <a:gd name="T41" fmla="*/ 90 h 262"/>
                  <a:gd name="T42" fmla="*/ 249 w 278"/>
                  <a:gd name="T43" fmla="*/ 110 h 262"/>
                  <a:gd name="T44" fmla="*/ 257 w 278"/>
                  <a:gd name="T45" fmla="*/ 171 h 262"/>
                  <a:gd name="T46" fmla="*/ 272 w 278"/>
                  <a:gd name="T47" fmla="*/ 182 h 262"/>
                  <a:gd name="T48" fmla="*/ 243 w 278"/>
                  <a:gd name="T49" fmla="*/ 204 h 262"/>
                  <a:gd name="T50" fmla="*/ 237 w 278"/>
                  <a:gd name="T51" fmla="*/ 255 h 262"/>
                  <a:gd name="T52" fmla="*/ 219 w 278"/>
                  <a:gd name="T53" fmla="*/ 249 h 262"/>
                  <a:gd name="T54" fmla="*/ 197 w 278"/>
                  <a:gd name="T55" fmla="*/ 245 h 262"/>
                  <a:gd name="T56" fmla="*/ 169 w 278"/>
                  <a:gd name="T57" fmla="*/ 240 h 262"/>
                  <a:gd name="T58" fmla="*/ 150 w 278"/>
                  <a:gd name="T59" fmla="*/ 236 h 262"/>
                  <a:gd name="T60" fmla="*/ 146 w 278"/>
                  <a:gd name="T61" fmla="*/ 227 h 262"/>
                  <a:gd name="T62" fmla="*/ 148 w 278"/>
                  <a:gd name="T63" fmla="*/ 209 h 262"/>
                  <a:gd name="T64" fmla="*/ 141 w 278"/>
                  <a:gd name="T65" fmla="*/ 195 h 262"/>
                  <a:gd name="T66" fmla="*/ 128 w 278"/>
                  <a:gd name="T67" fmla="*/ 186 h 262"/>
                  <a:gd name="T68" fmla="*/ 109 w 278"/>
                  <a:gd name="T69" fmla="*/ 189 h 262"/>
                  <a:gd name="T70" fmla="*/ 90 w 278"/>
                  <a:gd name="T71" fmla="*/ 194 h 262"/>
                  <a:gd name="T72" fmla="*/ 68 w 278"/>
                  <a:gd name="T73" fmla="*/ 176 h 262"/>
                  <a:gd name="T74" fmla="*/ 63 w 278"/>
                  <a:gd name="T75" fmla="*/ 165 h 262"/>
                  <a:gd name="T76" fmla="*/ 44 w 278"/>
                  <a:gd name="T77" fmla="*/ 164 h 262"/>
                  <a:gd name="T78" fmla="*/ 8 w 278"/>
                  <a:gd name="T79" fmla="*/ 17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8" h="262">
                    <a:moveTo>
                      <a:pt x="8" y="170"/>
                    </a:moveTo>
                    <a:cubicBezTo>
                      <a:pt x="5" y="163"/>
                      <a:pt x="7" y="160"/>
                      <a:pt x="0" y="156"/>
                    </a:cubicBezTo>
                    <a:cubicBezTo>
                      <a:pt x="1" y="151"/>
                      <a:pt x="10" y="143"/>
                      <a:pt x="15" y="141"/>
                    </a:cubicBezTo>
                    <a:cubicBezTo>
                      <a:pt x="20" y="139"/>
                      <a:pt x="27" y="142"/>
                      <a:pt x="33" y="141"/>
                    </a:cubicBezTo>
                    <a:cubicBezTo>
                      <a:pt x="39" y="137"/>
                      <a:pt x="46" y="137"/>
                      <a:pt x="53" y="135"/>
                    </a:cubicBezTo>
                    <a:cubicBezTo>
                      <a:pt x="62" y="128"/>
                      <a:pt x="52" y="117"/>
                      <a:pt x="68" y="107"/>
                    </a:cubicBezTo>
                    <a:cubicBezTo>
                      <a:pt x="77" y="92"/>
                      <a:pt x="66" y="95"/>
                      <a:pt x="84" y="90"/>
                    </a:cubicBezTo>
                    <a:cubicBezTo>
                      <a:pt x="89" y="84"/>
                      <a:pt x="87" y="79"/>
                      <a:pt x="84" y="72"/>
                    </a:cubicBezTo>
                    <a:cubicBezTo>
                      <a:pt x="86" y="57"/>
                      <a:pt x="87" y="63"/>
                      <a:pt x="92" y="53"/>
                    </a:cubicBezTo>
                    <a:cubicBezTo>
                      <a:pt x="87" y="40"/>
                      <a:pt x="91" y="30"/>
                      <a:pt x="98" y="18"/>
                    </a:cubicBezTo>
                    <a:cubicBezTo>
                      <a:pt x="99" y="10"/>
                      <a:pt x="100" y="4"/>
                      <a:pt x="108" y="0"/>
                    </a:cubicBezTo>
                    <a:cubicBezTo>
                      <a:pt x="122" y="2"/>
                      <a:pt x="130" y="13"/>
                      <a:pt x="144" y="14"/>
                    </a:cubicBezTo>
                    <a:cubicBezTo>
                      <a:pt x="151" y="18"/>
                      <a:pt x="149" y="15"/>
                      <a:pt x="158" y="12"/>
                    </a:cubicBezTo>
                    <a:cubicBezTo>
                      <a:pt x="169" y="4"/>
                      <a:pt x="170" y="6"/>
                      <a:pt x="188" y="5"/>
                    </a:cubicBezTo>
                    <a:cubicBezTo>
                      <a:pt x="196" y="3"/>
                      <a:pt x="202" y="0"/>
                      <a:pt x="209" y="0"/>
                    </a:cubicBezTo>
                    <a:cubicBezTo>
                      <a:pt x="216" y="0"/>
                      <a:pt x="224" y="4"/>
                      <a:pt x="233" y="6"/>
                    </a:cubicBezTo>
                    <a:cubicBezTo>
                      <a:pt x="245" y="12"/>
                      <a:pt x="243" y="11"/>
                      <a:pt x="261" y="12"/>
                    </a:cubicBezTo>
                    <a:cubicBezTo>
                      <a:pt x="267" y="15"/>
                      <a:pt x="268" y="19"/>
                      <a:pt x="272" y="24"/>
                    </a:cubicBezTo>
                    <a:cubicBezTo>
                      <a:pt x="273" y="30"/>
                      <a:pt x="274" y="34"/>
                      <a:pt x="278" y="39"/>
                    </a:cubicBezTo>
                    <a:cubicBezTo>
                      <a:pt x="276" y="50"/>
                      <a:pt x="269" y="57"/>
                      <a:pt x="264" y="65"/>
                    </a:cubicBezTo>
                    <a:cubicBezTo>
                      <a:pt x="262" y="75"/>
                      <a:pt x="267" y="89"/>
                      <a:pt x="258" y="90"/>
                    </a:cubicBezTo>
                    <a:cubicBezTo>
                      <a:pt x="257" y="102"/>
                      <a:pt x="259" y="106"/>
                      <a:pt x="249" y="110"/>
                    </a:cubicBezTo>
                    <a:cubicBezTo>
                      <a:pt x="251" y="130"/>
                      <a:pt x="248" y="153"/>
                      <a:pt x="257" y="171"/>
                    </a:cubicBezTo>
                    <a:cubicBezTo>
                      <a:pt x="258" y="177"/>
                      <a:pt x="266" y="179"/>
                      <a:pt x="272" y="182"/>
                    </a:cubicBezTo>
                    <a:cubicBezTo>
                      <a:pt x="276" y="206"/>
                      <a:pt x="263" y="202"/>
                      <a:pt x="243" y="204"/>
                    </a:cubicBezTo>
                    <a:cubicBezTo>
                      <a:pt x="236" y="216"/>
                      <a:pt x="245" y="248"/>
                      <a:pt x="237" y="255"/>
                    </a:cubicBezTo>
                    <a:cubicBezTo>
                      <a:pt x="233" y="262"/>
                      <a:pt x="226" y="251"/>
                      <a:pt x="219" y="249"/>
                    </a:cubicBezTo>
                    <a:cubicBezTo>
                      <a:pt x="212" y="247"/>
                      <a:pt x="205" y="247"/>
                      <a:pt x="197" y="245"/>
                    </a:cubicBezTo>
                    <a:cubicBezTo>
                      <a:pt x="189" y="243"/>
                      <a:pt x="177" y="242"/>
                      <a:pt x="169" y="240"/>
                    </a:cubicBezTo>
                    <a:cubicBezTo>
                      <a:pt x="162" y="238"/>
                      <a:pt x="154" y="238"/>
                      <a:pt x="150" y="236"/>
                    </a:cubicBezTo>
                    <a:cubicBezTo>
                      <a:pt x="146" y="234"/>
                      <a:pt x="146" y="231"/>
                      <a:pt x="146" y="227"/>
                    </a:cubicBezTo>
                    <a:cubicBezTo>
                      <a:pt x="142" y="222"/>
                      <a:pt x="149" y="214"/>
                      <a:pt x="148" y="209"/>
                    </a:cubicBezTo>
                    <a:cubicBezTo>
                      <a:pt x="147" y="204"/>
                      <a:pt x="144" y="199"/>
                      <a:pt x="141" y="195"/>
                    </a:cubicBezTo>
                    <a:cubicBezTo>
                      <a:pt x="136" y="193"/>
                      <a:pt x="140" y="191"/>
                      <a:pt x="128" y="186"/>
                    </a:cubicBezTo>
                    <a:cubicBezTo>
                      <a:pt x="123" y="185"/>
                      <a:pt x="115" y="188"/>
                      <a:pt x="109" y="189"/>
                    </a:cubicBezTo>
                    <a:cubicBezTo>
                      <a:pt x="103" y="190"/>
                      <a:pt x="97" y="196"/>
                      <a:pt x="90" y="194"/>
                    </a:cubicBezTo>
                    <a:cubicBezTo>
                      <a:pt x="75" y="192"/>
                      <a:pt x="74" y="187"/>
                      <a:pt x="68" y="176"/>
                    </a:cubicBezTo>
                    <a:cubicBezTo>
                      <a:pt x="63" y="172"/>
                      <a:pt x="67" y="167"/>
                      <a:pt x="63" y="165"/>
                    </a:cubicBezTo>
                    <a:cubicBezTo>
                      <a:pt x="59" y="163"/>
                      <a:pt x="53" y="163"/>
                      <a:pt x="44" y="164"/>
                    </a:cubicBezTo>
                    <a:cubicBezTo>
                      <a:pt x="35" y="165"/>
                      <a:pt x="15" y="169"/>
                      <a:pt x="8" y="17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0" name="Freeform 27">
                <a:extLst>
                  <a:ext uri="{FF2B5EF4-FFF2-40B4-BE49-F238E27FC236}">
                    <a16:creationId xmlns:a16="http://schemas.microsoft.com/office/drawing/2014/main" id="{5C4878C5-8026-4682-A803-3C50F254EDB1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gray">
              <a:xfrm>
                <a:off x="5140326" y="4081463"/>
                <a:ext cx="182563" cy="219075"/>
              </a:xfrm>
              <a:custGeom>
                <a:avLst/>
                <a:gdLst>
                  <a:gd name="T0" fmla="*/ 3 w 113"/>
                  <a:gd name="T1" fmla="*/ 88 h 138"/>
                  <a:gd name="T2" fmla="*/ 24 w 113"/>
                  <a:gd name="T3" fmla="*/ 94 h 138"/>
                  <a:gd name="T4" fmla="*/ 37 w 113"/>
                  <a:gd name="T5" fmla="*/ 99 h 138"/>
                  <a:gd name="T6" fmla="*/ 51 w 113"/>
                  <a:gd name="T7" fmla="*/ 117 h 138"/>
                  <a:gd name="T8" fmla="*/ 81 w 113"/>
                  <a:gd name="T9" fmla="*/ 138 h 138"/>
                  <a:gd name="T10" fmla="*/ 99 w 113"/>
                  <a:gd name="T11" fmla="*/ 114 h 138"/>
                  <a:gd name="T12" fmla="*/ 105 w 113"/>
                  <a:gd name="T13" fmla="*/ 99 h 138"/>
                  <a:gd name="T14" fmla="*/ 105 w 113"/>
                  <a:gd name="T15" fmla="*/ 72 h 138"/>
                  <a:gd name="T16" fmla="*/ 105 w 113"/>
                  <a:gd name="T17" fmla="*/ 27 h 138"/>
                  <a:gd name="T18" fmla="*/ 106 w 113"/>
                  <a:gd name="T19" fmla="*/ 15 h 138"/>
                  <a:gd name="T20" fmla="*/ 60 w 113"/>
                  <a:gd name="T21" fmla="*/ 16 h 138"/>
                  <a:gd name="T22" fmla="*/ 34 w 113"/>
                  <a:gd name="T23" fmla="*/ 6 h 138"/>
                  <a:gd name="T24" fmla="*/ 12 w 113"/>
                  <a:gd name="T25" fmla="*/ 3 h 138"/>
                  <a:gd name="T26" fmla="*/ 13 w 113"/>
                  <a:gd name="T27" fmla="*/ 27 h 138"/>
                  <a:gd name="T28" fmla="*/ 18 w 113"/>
                  <a:gd name="T29" fmla="*/ 52 h 138"/>
                  <a:gd name="T30" fmla="*/ 3 w 113"/>
                  <a:gd name="T31" fmla="*/ 66 h 138"/>
                  <a:gd name="T32" fmla="*/ 3 w 113"/>
                  <a:gd name="T33" fmla="*/ 8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3" h="138">
                    <a:moveTo>
                      <a:pt x="3" y="88"/>
                    </a:moveTo>
                    <a:cubicBezTo>
                      <a:pt x="10" y="90"/>
                      <a:pt x="17" y="93"/>
                      <a:pt x="24" y="94"/>
                    </a:cubicBezTo>
                    <a:cubicBezTo>
                      <a:pt x="28" y="96"/>
                      <a:pt x="33" y="97"/>
                      <a:pt x="37" y="99"/>
                    </a:cubicBezTo>
                    <a:cubicBezTo>
                      <a:pt x="40" y="106"/>
                      <a:pt x="44" y="115"/>
                      <a:pt x="51" y="117"/>
                    </a:cubicBezTo>
                    <a:cubicBezTo>
                      <a:pt x="58" y="123"/>
                      <a:pt x="73" y="138"/>
                      <a:pt x="81" y="138"/>
                    </a:cubicBezTo>
                    <a:cubicBezTo>
                      <a:pt x="91" y="135"/>
                      <a:pt x="87" y="116"/>
                      <a:pt x="99" y="114"/>
                    </a:cubicBezTo>
                    <a:cubicBezTo>
                      <a:pt x="100" y="108"/>
                      <a:pt x="101" y="104"/>
                      <a:pt x="105" y="99"/>
                    </a:cubicBezTo>
                    <a:cubicBezTo>
                      <a:pt x="106" y="90"/>
                      <a:pt x="104" y="81"/>
                      <a:pt x="105" y="72"/>
                    </a:cubicBezTo>
                    <a:cubicBezTo>
                      <a:pt x="107" y="60"/>
                      <a:pt x="105" y="36"/>
                      <a:pt x="105" y="27"/>
                    </a:cubicBezTo>
                    <a:cubicBezTo>
                      <a:pt x="105" y="18"/>
                      <a:pt x="113" y="17"/>
                      <a:pt x="106" y="15"/>
                    </a:cubicBezTo>
                    <a:cubicBezTo>
                      <a:pt x="94" y="16"/>
                      <a:pt x="72" y="17"/>
                      <a:pt x="60" y="16"/>
                    </a:cubicBezTo>
                    <a:cubicBezTo>
                      <a:pt x="49" y="7"/>
                      <a:pt x="49" y="7"/>
                      <a:pt x="34" y="6"/>
                    </a:cubicBezTo>
                    <a:cubicBezTo>
                      <a:pt x="28" y="5"/>
                      <a:pt x="15" y="0"/>
                      <a:pt x="12" y="3"/>
                    </a:cubicBezTo>
                    <a:cubicBezTo>
                      <a:pt x="9" y="6"/>
                      <a:pt x="12" y="19"/>
                      <a:pt x="13" y="27"/>
                    </a:cubicBezTo>
                    <a:cubicBezTo>
                      <a:pt x="14" y="34"/>
                      <a:pt x="20" y="46"/>
                      <a:pt x="18" y="52"/>
                    </a:cubicBezTo>
                    <a:cubicBezTo>
                      <a:pt x="16" y="58"/>
                      <a:pt x="5" y="60"/>
                      <a:pt x="3" y="66"/>
                    </a:cubicBezTo>
                    <a:cubicBezTo>
                      <a:pt x="0" y="75"/>
                      <a:pt x="3" y="78"/>
                      <a:pt x="3" y="8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1" name="Freeform 28">
                <a:extLst>
                  <a:ext uri="{FF2B5EF4-FFF2-40B4-BE49-F238E27FC236}">
                    <a16:creationId xmlns:a16="http://schemas.microsoft.com/office/drawing/2014/main" id="{1DA7596E-4D6F-48F4-AB9D-1BEF3486B32D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gray">
              <a:xfrm>
                <a:off x="4848226" y="4391025"/>
                <a:ext cx="292100" cy="233363"/>
              </a:xfrm>
              <a:custGeom>
                <a:avLst/>
                <a:gdLst>
                  <a:gd name="T0" fmla="*/ 61 w 181"/>
                  <a:gd name="T1" fmla="*/ 46 h 147"/>
                  <a:gd name="T2" fmla="*/ 80 w 181"/>
                  <a:gd name="T3" fmla="*/ 51 h 147"/>
                  <a:gd name="T4" fmla="*/ 95 w 181"/>
                  <a:gd name="T5" fmla="*/ 55 h 147"/>
                  <a:gd name="T6" fmla="*/ 110 w 181"/>
                  <a:gd name="T7" fmla="*/ 67 h 147"/>
                  <a:gd name="T8" fmla="*/ 103 w 181"/>
                  <a:gd name="T9" fmla="*/ 57 h 147"/>
                  <a:gd name="T10" fmla="*/ 100 w 181"/>
                  <a:gd name="T11" fmla="*/ 37 h 147"/>
                  <a:gd name="T12" fmla="*/ 103 w 181"/>
                  <a:gd name="T13" fmla="*/ 10 h 147"/>
                  <a:gd name="T14" fmla="*/ 113 w 181"/>
                  <a:gd name="T15" fmla="*/ 0 h 147"/>
                  <a:gd name="T16" fmla="*/ 139 w 181"/>
                  <a:gd name="T17" fmla="*/ 4 h 147"/>
                  <a:gd name="T18" fmla="*/ 172 w 181"/>
                  <a:gd name="T19" fmla="*/ 15 h 147"/>
                  <a:gd name="T20" fmla="*/ 169 w 181"/>
                  <a:gd name="T21" fmla="*/ 66 h 147"/>
                  <a:gd name="T22" fmla="*/ 152 w 181"/>
                  <a:gd name="T23" fmla="*/ 94 h 147"/>
                  <a:gd name="T24" fmla="*/ 137 w 181"/>
                  <a:gd name="T25" fmla="*/ 100 h 147"/>
                  <a:gd name="T26" fmla="*/ 107 w 181"/>
                  <a:gd name="T27" fmla="*/ 114 h 147"/>
                  <a:gd name="T28" fmla="*/ 88 w 181"/>
                  <a:gd name="T29" fmla="*/ 127 h 147"/>
                  <a:gd name="T30" fmla="*/ 80 w 181"/>
                  <a:gd name="T31" fmla="*/ 142 h 147"/>
                  <a:gd name="T32" fmla="*/ 52 w 181"/>
                  <a:gd name="T33" fmla="*/ 147 h 147"/>
                  <a:gd name="T34" fmla="*/ 17 w 181"/>
                  <a:gd name="T35" fmla="*/ 141 h 147"/>
                  <a:gd name="T36" fmla="*/ 8 w 181"/>
                  <a:gd name="T37" fmla="*/ 129 h 147"/>
                  <a:gd name="T38" fmla="*/ 4 w 181"/>
                  <a:gd name="T39" fmla="*/ 112 h 147"/>
                  <a:gd name="T40" fmla="*/ 4 w 181"/>
                  <a:gd name="T41" fmla="*/ 91 h 147"/>
                  <a:gd name="T42" fmla="*/ 7 w 181"/>
                  <a:gd name="T43" fmla="*/ 70 h 147"/>
                  <a:gd name="T44" fmla="*/ 29 w 181"/>
                  <a:gd name="T45" fmla="*/ 66 h 147"/>
                  <a:gd name="T46" fmla="*/ 40 w 181"/>
                  <a:gd name="T47" fmla="*/ 55 h 147"/>
                  <a:gd name="T48" fmla="*/ 38 w 181"/>
                  <a:gd name="T49" fmla="*/ 43 h 147"/>
                  <a:gd name="T50" fmla="*/ 35 w 181"/>
                  <a:gd name="T51" fmla="*/ 42 h 147"/>
                  <a:gd name="T52" fmla="*/ 61 w 181"/>
                  <a:gd name="T53" fmla="*/ 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1" h="147">
                    <a:moveTo>
                      <a:pt x="61" y="46"/>
                    </a:moveTo>
                    <a:cubicBezTo>
                      <a:pt x="68" y="48"/>
                      <a:pt x="74" y="50"/>
                      <a:pt x="80" y="51"/>
                    </a:cubicBezTo>
                    <a:cubicBezTo>
                      <a:pt x="85" y="52"/>
                      <a:pt x="90" y="54"/>
                      <a:pt x="95" y="55"/>
                    </a:cubicBezTo>
                    <a:cubicBezTo>
                      <a:pt x="100" y="58"/>
                      <a:pt x="109" y="67"/>
                      <a:pt x="110" y="67"/>
                    </a:cubicBezTo>
                    <a:cubicBezTo>
                      <a:pt x="107" y="64"/>
                      <a:pt x="105" y="62"/>
                      <a:pt x="103" y="57"/>
                    </a:cubicBezTo>
                    <a:cubicBezTo>
                      <a:pt x="101" y="52"/>
                      <a:pt x="100" y="45"/>
                      <a:pt x="100" y="37"/>
                    </a:cubicBezTo>
                    <a:cubicBezTo>
                      <a:pt x="100" y="29"/>
                      <a:pt x="101" y="16"/>
                      <a:pt x="103" y="10"/>
                    </a:cubicBezTo>
                    <a:cubicBezTo>
                      <a:pt x="106" y="6"/>
                      <a:pt x="110" y="4"/>
                      <a:pt x="113" y="0"/>
                    </a:cubicBezTo>
                    <a:cubicBezTo>
                      <a:pt x="127" y="1"/>
                      <a:pt x="128" y="2"/>
                      <a:pt x="139" y="4"/>
                    </a:cubicBezTo>
                    <a:cubicBezTo>
                      <a:pt x="151" y="16"/>
                      <a:pt x="149" y="13"/>
                      <a:pt x="172" y="15"/>
                    </a:cubicBezTo>
                    <a:cubicBezTo>
                      <a:pt x="173" y="28"/>
                      <a:pt x="181" y="57"/>
                      <a:pt x="169" y="66"/>
                    </a:cubicBezTo>
                    <a:cubicBezTo>
                      <a:pt x="167" y="84"/>
                      <a:pt x="169" y="91"/>
                      <a:pt x="152" y="94"/>
                    </a:cubicBezTo>
                    <a:cubicBezTo>
                      <a:pt x="147" y="97"/>
                      <a:pt x="143" y="99"/>
                      <a:pt x="137" y="100"/>
                    </a:cubicBezTo>
                    <a:cubicBezTo>
                      <a:pt x="127" y="105"/>
                      <a:pt x="117" y="109"/>
                      <a:pt x="107" y="114"/>
                    </a:cubicBezTo>
                    <a:cubicBezTo>
                      <a:pt x="100" y="123"/>
                      <a:pt x="100" y="126"/>
                      <a:pt x="88" y="127"/>
                    </a:cubicBezTo>
                    <a:cubicBezTo>
                      <a:pt x="85" y="134"/>
                      <a:pt x="89" y="140"/>
                      <a:pt x="80" y="142"/>
                    </a:cubicBezTo>
                    <a:cubicBezTo>
                      <a:pt x="71" y="146"/>
                      <a:pt x="61" y="143"/>
                      <a:pt x="52" y="147"/>
                    </a:cubicBezTo>
                    <a:cubicBezTo>
                      <a:pt x="40" y="145"/>
                      <a:pt x="27" y="147"/>
                      <a:pt x="17" y="141"/>
                    </a:cubicBezTo>
                    <a:cubicBezTo>
                      <a:pt x="14" y="136"/>
                      <a:pt x="10" y="134"/>
                      <a:pt x="8" y="129"/>
                    </a:cubicBezTo>
                    <a:cubicBezTo>
                      <a:pt x="7" y="123"/>
                      <a:pt x="5" y="118"/>
                      <a:pt x="4" y="112"/>
                    </a:cubicBezTo>
                    <a:cubicBezTo>
                      <a:pt x="3" y="106"/>
                      <a:pt x="0" y="99"/>
                      <a:pt x="4" y="91"/>
                    </a:cubicBezTo>
                    <a:cubicBezTo>
                      <a:pt x="5" y="84"/>
                      <a:pt x="3" y="74"/>
                      <a:pt x="7" y="70"/>
                    </a:cubicBezTo>
                    <a:cubicBezTo>
                      <a:pt x="11" y="66"/>
                      <a:pt x="24" y="68"/>
                      <a:pt x="29" y="66"/>
                    </a:cubicBezTo>
                    <a:cubicBezTo>
                      <a:pt x="33" y="63"/>
                      <a:pt x="39" y="59"/>
                      <a:pt x="40" y="55"/>
                    </a:cubicBezTo>
                    <a:cubicBezTo>
                      <a:pt x="41" y="51"/>
                      <a:pt x="39" y="45"/>
                      <a:pt x="38" y="43"/>
                    </a:cubicBezTo>
                    <a:cubicBezTo>
                      <a:pt x="36" y="34"/>
                      <a:pt x="32" y="50"/>
                      <a:pt x="35" y="42"/>
                    </a:cubicBezTo>
                    <a:cubicBezTo>
                      <a:pt x="39" y="41"/>
                      <a:pt x="56" y="45"/>
                      <a:pt x="61" y="4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2" name="Freeform 29">
                <a:extLst>
                  <a:ext uri="{FF2B5EF4-FFF2-40B4-BE49-F238E27FC236}">
                    <a16:creationId xmlns:a16="http://schemas.microsoft.com/office/drawing/2014/main" id="{AE78E6D2-BAE9-44E4-84FF-2AD3088A0C20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gray">
              <a:xfrm>
                <a:off x="5303838" y="3908425"/>
                <a:ext cx="263525" cy="325438"/>
              </a:xfrm>
              <a:custGeom>
                <a:avLst/>
                <a:gdLst>
                  <a:gd name="T0" fmla="*/ 7 w 163"/>
                  <a:gd name="T1" fmla="*/ 205 h 205"/>
                  <a:gd name="T2" fmla="*/ 35 w 163"/>
                  <a:gd name="T3" fmla="*/ 179 h 205"/>
                  <a:gd name="T4" fmla="*/ 55 w 163"/>
                  <a:gd name="T5" fmla="*/ 161 h 205"/>
                  <a:gd name="T6" fmla="*/ 75 w 163"/>
                  <a:gd name="T7" fmla="*/ 145 h 205"/>
                  <a:gd name="T8" fmla="*/ 87 w 163"/>
                  <a:gd name="T9" fmla="*/ 137 h 205"/>
                  <a:gd name="T10" fmla="*/ 119 w 163"/>
                  <a:gd name="T11" fmla="*/ 97 h 205"/>
                  <a:gd name="T12" fmla="*/ 127 w 163"/>
                  <a:gd name="T13" fmla="*/ 73 h 205"/>
                  <a:gd name="T14" fmla="*/ 147 w 163"/>
                  <a:gd name="T15" fmla="*/ 43 h 205"/>
                  <a:gd name="T16" fmla="*/ 159 w 163"/>
                  <a:gd name="T17" fmla="*/ 27 h 205"/>
                  <a:gd name="T18" fmla="*/ 157 w 163"/>
                  <a:gd name="T19" fmla="*/ 5 h 205"/>
                  <a:gd name="T20" fmla="*/ 133 w 163"/>
                  <a:gd name="T21" fmla="*/ 7 h 205"/>
                  <a:gd name="T22" fmla="*/ 85 w 163"/>
                  <a:gd name="T23" fmla="*/ 15 h 205"/>
                  <a:gd name="T24" fmla="*/ 39 w 163"/>
                  <a:gd name="T25" fmla="*/ 3 h 205"/>
                  <a:gd name="T26" fmla="*/ 27 w 163"/>
                  <a:gd name="T27" fmla="*/ 9 h 205"/>
                  <a:gd name="T28" fmla="*/ 41 w 163"/>
                  <a:gd name="T29" fmla="*/ 23 h 205"/>
                  <a:gd name="T30" fmla="*/ 67 w 163"/>
                  <a:gd name="T31" fmla="*/ 47 h 205"/>
                  <a:gd name="T32" fmla="*/ 85 w 163"/>
                  <a:gd name="T33" fmla="*/ 53 h 205"/>
                  <a:gd name="T34" fmla="*/ 91 w 163"/>
                  <a:gd name="T35" fmla="*/ 55 h 205"/>
                  <a:gd name="T36" fmla="*/ 107 w 163"/>
                  <a:gd name="T37" fmla="*/ 69 h 205"/>
                  <a:gd name="T38" fmla="*/ 89 w 163"/>
                  <a:gd name="T39" fmla="*/ 81 h 205"/>
                  <a:gd name="T40" fmla="*/ 69 w 163"/>
                  <a:gd name="T41" fmla="*/ 101 h 205"/>
                  <a:gd name="T42" fmla="*/ 51 w 163"/>
                  <a:gd name="T43" fmla="*/ 107 h 205"/>
                  <a:gd name="T44" fmla="*/ 10 w 163"/>
                  <a:gd name="T45" fmla="*/ 122 h 205"/>
                  <a:gd name="T46" fmla="*/ 7 w 163"/>
                  <a:gd name="T47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3" h="205">
                    <a:moveTo>
                      <a:pt x="7" y="205"/>
                    </a:moveTo>
                    <a:cubicBezTo>
                      <a:pt x="14" y="198"/>
                      <a:pt x="27" y="182"/>
                      <a:pt x="35" y="179"/>
                    </a:cubicBezTo>
                    <a:cubicBezTo>
                      <a:pt x="40" y="172"/>
                      <a:pt x="48" y="166"/>
                      <a:pt x="55" y="161"/>
                    </a:cubicBezTo>
                    <a:cubicBezTo>
                      <a:pt x="58" y="152"/>
                      <a:pt x="67" y="150"/>
                      <a:pt x="75" y="145"/>
                    </a:cubicBezTo>
                    <a:cubicBezTo>
                      <a:pt x="79" y="142"/>
                      <a:pt x="87" y="137"/>
                      <a:pt x="87" y="137"/>
                    </a:cubicBezTo>
                    <a:cubicBezTo>
                      <a:pt x="96" y="123"/>
                      <a:pt x="109" y="112"/>
                      <a:pt x="119" y="97"/>
                    </a:cubicBezTo>
                    <a:cubicBezTo>
                      <a:pt x="124" y="90"/>
                      <a:pt x="122" y="80"/>
                      <a:pt x="127" y="73"/>
                    </a:cubicBezTo>
                    <a:cubicBezTo>
                      <a:pt x="134" y="63"/>
                      <a:pt x="138" y="52"/>
                      <a:pt x="147" y="43"/>
                    </a:cubicBezTo>
                    <a:cubicBezTo>
                      <a:pt x="150" y="35"/>
                      <a:pt x="155" y="34"/>
                      <a:pt x="159" y="27"/>
                    </a:cubicBezTo>
                    <a:cubicBezTo>
                      <a:pt x="158" y="20"/>
                      <a:pt x="163" y="9"/>
                      <a:pt x="157" y="5"/>
                    </a:cubicBezTo>
                    <a:cubicBezTo>
                      <a:pt x="151" y="0"/>
                      <a:pt x="141" y="6"/>
                      <a:pt x="133" y="7"/>
                    </a:cubicBezTo>
                    <a:cubicBezTo>
                      <a:pt x="115" y="10"/>
                      <a:pt x="107" y="13"/>
                      <a:pt x="85" y="15"/>
                    </a:cubicBezTo>
                    <a:cubicBezTo>
                      <a:pt x="53" y="36"/>
                      <a:pt x="57" y="9"/>
                      <a:pt x="39" y="3"/>
                    </a:cubicBezTo>
                    <a:cubicBezTo>
                      <a:pt x="36" y="4"/>
                      <a:pt x="28" y="6"/>
                      <a:pt x="27" y="9"/>
                    </a:cubicBezTo>
                    <a:cubicBezTo>
                      <a:pt x="25" y="15"/>
                      <a:pt x="41" y="23"/>
                      <a:pt x="41" y="23"/>
                    </a:cubicBezTo>
                    <a:cubicBezTo>
                      <a:pt x="48" y="34"/>
                      <a:pt x="55" y="42"/>
                      <a:pt x="67" y="47"/>
                    </a:cubicBezTo>
                    <a:cubicBezTo>
                      <a:pt x="73" y="50"/>
                      <a:pt x="79" y="51"/>
                      <a:pt x="85" y="53"/>
                    </a:cubicBezTo>
                    <a:cubicBezTo>
                      <a:pt x="87" y="54"/>
                      <a:pt x="91" y="55"/>
                      <a:pt x="91" y="55"/>
                    </a:cubicBezTo>
                    <a:cubicBezTo>
                      <a:pt x="94" y="65"/>
                      <a:pt x="101" y="60"/>
                      <a:pt x="107" y="69"/>
                    </a:cubicBezTo>
                    <a:cubicBezTo>
                      <a:pt x="99" y="72"/>
                      <a:pt x="96" y="77"/>
                      <a:pt x="89" y="81"/>
                    </a:cubicBezTo>
                    <a:cubicBezTo>
                      <a:pt x="84" y="88"/>
                      <a:pt x="76" y="96"/>
                      <a:pt x="69" y="101"/>
                    </a:cubicBezTo>
                    <a:cubicBezTo>
                      <a:pt x="63" y="106"/>
                      <a:pt x="60" y="104"/>
                      <a:pt x="51" y="107"/>
                    </a:cubicBezTo>
                    <a:cubicBezTo>
                      <a:pt x="41" y="110"/>
                      <a:pt x="17" y="106"/>
                      <a:pt x="10" y="122"/>
                    </a:cubicBezTo>
                    <a:cubicBezTo>
                      <a:pt x="0" y="139"/>
                      <a:pt x="4" y="195"/>
                      <a:pt x="7" y="20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3" name="Freeform 30">
                <a:extLst>
                  <a:ext uri="{FF2B5EF4-FFF2-40B4-BE49-F238E27FC236}">
                    <a16:creationId xmlns:a16="http://schemas.microsoft.com/office/drawing/2014/main" id="{8005A4F4-0C9A-4757-A9FE-3C64F733F1C3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gray">
              <a:xfrm>
                <a:off x="5045076" y="4090988"/>
                <a:ext cx="128588" cy="136525"/>
              </a:xfrm>
              <a:custGeom>
                <a:avLst/>
                <a:gdLst>
                  <a:gd name="T0" fmla="*/ 9 w 79"/>
                  <a:gd name="T1" fmla="*/ 13 h 86"/>
                  <a:gd name="T2" fmla="*/ 48 w 79"/>
                  <a:gd name="T3" fmla="*/ 6 h 86"/>
                  <a:gd name="T4" fmla="*/ 69 w 79"/>
                  <a:gd name="T5" fmla="*/ 1 h 86"/>
                  <a:gd name="T6" fmla="*/ 74 w 79"/>
                  <a:gd name="T7" fmla="*/ 25 h 86"/>
                  <a:gd name="T8" fmla="*/ 77 w 79"/>
                  <a:gd name="T9" fmla="*/ 46 h 86"/>
                  <a:gd name="T10" fmla="*/ 63 w 79"/>
                  <a:gd name="T11" fmla="*/ 60 h 86"/>
                  <a:gd name="T12" fmla="*/ 56 w 79"/>
                  <a:gd name="T13" fmla="*/ 81 h 86"/>
                  <a:gd name="T14" fmla="*/ 3 w 79"/>
                  <a:gd name="T15" fmla="*/ 78 h 86"/>
                  <a:gd name="T16" fmla="*/ 14 w 79"/>
                  <a:gd name="T17" fmla="*/ 40 h 86"/>
                  <a:gd name="T18" fmla="*/ 9 w 79"/>
                  <a:gd name="T19" fmla="*/ 13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86">
                    <a:moveTo>
                      <a:pt x="9" y="13"/>
                    </a:moveTo>
                    <a:cubicBezTo>
                      <a:pt x="21" y="4"/>
                      <a:pt x="27" y="7"/>
                      <a:pt x="48" y="6"/>
                    </a:cubicBezTo>
                    <a:cubicBezTo>
                      <a:pt x="54" y="3"/>
                      <a:pt x="62" y="0"/>
                      <a:pt x="69" y="1"/>
                    </a:cubicBezTo>
                    <a:cubicBezTo>
                      <a:pt x="73" y="8"/>
                      <a:pt x="70" y="18"/>
                      <a:pt x="74" y="25"/>
                    </a:cubicBezTo>
                    <a:cubicBezTo>
                      <a:pt x="75" y="32"/>
                      <a:pt x="79" y="41"/>
                      <a:pt x="77" y="46"/>
                    </a:cubicBezTo>
                    <a:cubicBezTo>
                      <a:pt x="75" y="52"/>
                      <a:pt x="66" y="54"/>
                      <a:pt x="63" y="60"/>
                    </a:cubicBezTo>
                    <a:cubicBezTo>
                      <a:pt x="59" y="67"/>
                      <a:pt x="63" y="79"/>
                      <a:pt x="56" y="81"/>
                    </a:cubicBezTo>
                    <a:cubicBezTo>
                      <a:pt x="39" y="86"/>
                      <a:pt x="3" y="78"/>
                      <a:pt x="3" y="78"/>
                    </a:cubicBezTo>
                    <a:cubicBezTo>
                      <a:pt x="0" y="64"/>
                      <a:pt x="2" y="49"/>
                      <a:pt x="14" y="40"/>
                    </a:cubicBezTo>
                    <a:cubicBezTo>
                      <a:pt x="18" y="31"/>
                      <a:pt x="14" y="20"/>
                      <a:pt x="9" y="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4" name="Freeform 32">
                <a:extLst>
                  <a:ext uri="{FF2B5EF4-FFF2-40B4-BE49-F238E27FC236}">
                    <a16:creationId xmlns:a16="http://schemas.microsoft.com/office/drawing/2014/main" id="{70808343-C2A3-4EED-88CB-5D05155AFFE2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gray">
              <a:xfrm>
                <a:off x="4338638" y="3621088"/>
                <a:ext cx="382588" cy="290513"/>
              </a:xfrm>
              <a:custGeom>
                <a:avLst/>
                <a:gdLst>
                  <a:gd name="T0" fmla="*/ 219 w 237"/>
                  <a:gd name="T1" fmla="*/ 20 h 183"/>
                  <a:gd name="T2" fmla="*/ 201 w 237"/>
                  <a:gd name="T3" fmla="*/ 8 h 183"/>
                  <a:gd name="T4" fmla="*/ 183 w 237"/>
                  <a:gd name="T5" fmla="*/ 3 h 183"/>
                  <a:gd name="T6" fmla="*/ 156 w 237"/>
                  <a:gd name="T7" fmla="*/ 14 h 183"/>
                  <a:gd name="T8" fmla="*/ 134 w 237"/>
                  <a:gd name="T9" fmla="*/ 24 h 183"/>
                  <a:gd name="T10" fmla="*/ 120 w 237"/>
                  <a:gd name="T11" fmla="*/ 33 h 183"/>
                  <a:gd name="T12" fmla="*/ 111 w 237"/>
                  <a:gd name="T13" fmla="*/ 45 h 183"/>
                  <a:gd name="T14" fmla="*/ 102 w 237"/>
                  <a:gd name="T15" fmla="*/ 53 h 183"/>
                  <a:gd name="T16" fmla="*/ 77 w 237"/>
                  <a:gd name="T17" fmla="*/ 72 h 183"/>
                  <a:gd name="T18" fmla="*/ 57 w 237"/>
                  <a:gd name="T19" fmla="*/ 69 h 183"/>
                  <a:gd name="T20" fmla="*/ 59 w 237"/>
                  <a:gd name="T21" fmla="*/ 80 h 183"/>
                  <a:gd name="T22" fmla="*/ 60 w 237"/>
                  <a:gd name="T23" fmla="*/ 119 h 183"/>
                  <a:gd name="T24" fmla="*/ 44 w 237"/>
                  <a:gd name="T25" fmla="*/ 128 h 183"/>
                  <a:gd name="T26" fmla="*/ 26 w 237"/>
                  <a:gd name="T27" fmla="*/ 128 h 183"/>
                  <a:gd name="T28" fmla="*/ 0 w 237"/>
                  <a:gd name="T29" fmla="*/ 137 h 183"/>
                  <a:gd name="T30" fmla="*/ 6 w 237"/>
                  <a:gd name="T31" fmla="*/ 143 h 183"/>
                  <a:gd name="T32" fmla="*/ 11 w 237"/>
                  <a:gd name="T33" fmla="*/ 159 h 183"/>
                  <a:gd name="T34" fmla="*/ 29 w 237"/>
                  <a:gd name="T35" fmla="*/ 174 h 183"/>
                  <a:gd name="T36" fmla="*/ 47 w 237"/>
                  <a:gd name="T37" fmla="*/ 179 h 183"/>
                  <a:gd name="T38" fmla="*/ 51 w 237"/>
                  <a:gd name="T39" fmla="*/ 182 h 183"/>
                  <a:gd name="T40" fmla="*/ 54 w 237"/>
                  <a:gd name="T41" fmla="*/ 171 h 183"/>
                  <a:gd name="T42" fmla="*/ 69 w 237"/>
                  <a:gd name="T43" fmla="*/ 159 h 183"/>
                  <a:gd name="T44" fmla="*/ 89 w 237"/>
                  <a:gd name="T45" fmla="*/ 158 h 183"/>
                  <a:gd name="T46" fmla="*/ 128 w 237"/>
                  <a:gd name="T47" fmla="*/ 167 h 183"/>
                  <a:gd name="T48" fmla="*/ 146 w 237"/>
                  <a:gd name="T49" fmla="*/ 162 h 183"/>
                  <a:gd name="T50" fmla="*/ 162 w 237"/>
                  <a:gd name="T51" fmla="*/ 164 h 183"/>
                  <a:gd name="T52" fmla="*/ 173 w 237"/>
                  <a:gd name="T53" fmla="*/ 159 h 183"/>
                  <a:gd name="T54" fmla="*/ 177 w 237"/>
                  <a:gd name="T55" fmla="*/ 161 h 183"/>
                  <a:gd name="T56" fmla="*/ 192 w 237"/>
                  <a:gd name="T57" fmla="*/ 164 h 183"/>
                  <a:gd name="T58" fmla="*/ 200 w 237"/>
                  <a:gd name="T59" fmla="*/ 143 h 183"/>
                  <a:gd name="T60" fmla="*/ 209 w 237"/>
                  <a:gd name="T61" fmla="*/ 132 h 183"/>
                  <a:gd name="T62" fmla="*/ 215 w 237"/>
                  <a:gd name="T63" fmla="*/ 122 h 183"/>
                  <a:gd name="T64" fmla="*/ 224 w 237"/>
                  <a:gd name="T65" fmla="*/ 116 h 183"/>
                  <a:gd name="T66" fmla="*/ 230 w 237"/>
                  <a:gd name="T67" fmla="*/ 98 h 183"/>
                  <a:gd name="T68" fmla="*/ 237 w 237"/>
                  <a:gd name="T69" fmla="*/ 78 h 183"/>
                  <a:gd name="T70" fmla="*/ 233 w 237"/>
                  <a:gd name="T71" fmla="*/ 51 h 183"/>
                  <a:gd name="T72" fmla="*/ 222 w 237"/>
                  <a:gd name="T73" fmla="*/ 26 h 183"/>
                  <a:gd name="T74" fmla="*/ 219 w 237"/>
                  <a:gd name="T75" fmla="*/ 2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37" h="183">
                    <a:moveTo>
                      <a:pt x="219" y="20"/>
                    </a:moveTo>
                    <a:cubicBezTo>
                      <a:pt x="215" y="17"/>
                      <a:pt x="207" y="11"/>
                      <a:pt x="201" y="8"/>
                    </a:cubicBezTo>
                    <a:cubicBezTo>
                      <a:pt x="195" y="5"/>
                      <a:pt x="190" y="2"/>
                      <a:pt x="183" y="3"/>
                    </a:cubicBezTo>
                    <a:cubicBezTo>
                      <a:pt x="175" y="0"/>
                      <a:pt x="156" y="14"/>
                      <a:pt x="156" y="14"/>
                    </a:cubicBezTo>
                    <a:cubicBezTo>
                      <a:pt x="148" y="17"/>
                      <a:pt x="140" y="21"/>
                      <a:pt x="134" y="24"/>
                    </a:cubicBezTo>
                    <a:cubicBezTo>
                      <a:pt x="128" y="27"/>
                      <a:pt x="124" y="30"/>
                      <a:pt x="120" y="33"/>
                    </a:cubicBezTo>
                    <a:cubicBezTo>
                      <a:pt x="116" y="39"/>
                      <a:pt x="119" y="43"/>
                      <a:pt x="111" y="45"/>
                    </a:cubicBezTo>
                    <a:cubicBezTo>
                      <a:pt x="109" y="53"/>
                      <a:pt x="111" y="52"/>
                      <a:pt x="102" y="53"/>
                    </a:cubicBezTo>
                    <a:cubicBezTo>
                      <a:pt x="96" y="56"/>
                      <a:pt x="84" y="69"/>
                      <a:pt x="77" y="72"/>
                    </a:cubicBezTo>
                    <a:cubicBezTo>
                      <a:pt x="70" y="75"/>
                      <a:pt x="60" y="68"/>
                      <a:pt x="57" y="69"/>
                    </a:cubicBezTo>
                    <a:cubicBezTo>
                      <a:pt x="54" y="71"/>
                      <a:pt x="59" y="72"/>
                      <a:pt x="59" y="80"/>
                    </a:cubicBezTo>
                    <a:cubicBezTo>
                      <a:pt x="59" y="88"/>
                      <a:pt x="63" y="111"/>
                      <a:pt x="60" y="119"/>
                    </a:cubicBezTo>
                    <a:cubicBezTo>
                      <a:pt x="57" y="127"/>
                      <a:pt x="50" y="127"/>
                      <a:pt x="44" y="128"/>
                    </a:cubicBezTo>
                    <a:cubicBezTo>
                      <a:pt x="38" y="139"/>
                      <a:pt x="33" y="127"/>
                      <a:pt x="26" y="128"/>
                    </a:cubicBezTo>
                    <a:cubicBezTo>
                      <a:pt x="19" y="129"/>
                      <a:pt x="3" y="135"/>
                      <a:pt x="0" y="137"/>
                    </a:cubicBezTo>
                    <a:cubicBezTo>
                      <a:pt x="1" y="140"/>
                      <a:pt x="5" y="140"/>
                      <a:pt x="6" y="143"/>
                    </a:cubicBezTo>
                    <a:cubicBezTo>
                      <a:pt x="8" y="146"/>
                      <a:pt x="7" y="154"/>
                      <a:pt x="11" y="159"/>
                    </a:cubicBezTo>
                    <a:cubicBezTo>
                      <a:pt x="15" y="164"/>
                      <a:pt x="23" y="171"/>
                      <a:pt x="29" y="174"/>
                    </a:cubicBezTo>
                    <a:cubicBezTo>
                      <a:pt x="35" y="177"/>
                      <a:pt x="41" y="177"/>
                      <a:pt x="47" y="179"/>
                    </a:cubicBezTo>
                    <a:cubicBezTo>
                      <a:pt x="48" y="180"/>
                      <a:pt x="49" y="183"/>
                      <a:pt x="51" y="182"/>
                    </a:cubicBezTo>
                    <a:cubicBezTo>
                      <a:pt x="53" y="181"/>
                      <a:pt x="54" y="172"/>
                      <a:pt x="54" y="171"/>
                    </a:cubicBezTo>
                    <a:cubicBezTo>
                      <a:pt x="56" y="165"/>
                      <a:pt x="63" y="160"/>
                      <a:pt x="69" y="159"/>
                    </a:cubicBezTo>
                    <a:cubicBezTo>
                      <a:pt x="76" y="157"/>
                      <a:pt x="82" y="159"/>
                      <a:pt x="89" y="158"/>
                    </a:cubicBezTo>
                    <a:cubicBezTo>
                      <a:pt x="102" y="160"/>
                      <a:pt x="114" y="166"/>
                      <a:pt x="128" y="167"/>
                    </a:cubicBezTo>
                    <a:cubicBezTo>
                      <a:pt x="137" y="169"/>
                      <a:pt x="139" y="162"/>
                      <a:pt x="146" y="162"/>
                    </a:cubicBezTo>
                    <a:cubicBezTo>
                      <a:pt x="152" y="162"/>
                      <a:pt x="158" y="164"/>
                      <a:pt x="162" y="164"/>
                    </a:cubicBezTo>
                    <a:cubicBezTo>
                      <a:pt x="166" y="164"/>
                      <a:pt x="171" y="159"/>
                      <a:pt x="173" y="159"/>
                    </a:cubicBezTo>
                    <a:cubicBezTo>
                      <a:pt x="174" y="158"/>
                      <a:pt x="175" y="161"/>
                      <a:pt x="177" y="161"/>
                    </a:cubicBezTo>
                    <a:cubicBezTo>
                      <a:pt x="183" y="160"/>
                      <a:pt x="187" y="167"/>
                      <a:pt x="192" y="164"/>
                    </a:cubicBezTo>
                    <a:cubicBezTo>
                      <a:pt x="197" y="161"/>
                      <a:pt x="197" y="147"/>
                      <a:pt x="200" y="143"/>
                    </a:cubicBezTo>
                    <a:cubicBezTo>
                      <a:pt x="202" y="135"/>
                      <a:pt x="205" y="139"/>
                      <a:pt x="209" y="132"/>
                    </a:cubicBezTo>
                    <a:cubicBezTo>
                      <a:pt x="211" y="128"/>
                      <a:pt x="213" y="125"/>
                      <a:pt x="215" y="122"/>
                    </a:cubicBezTo>
                    <a:cubicBezTo>
                      <a:pt x="217" y="119"/>
                      <a:pt x="221" y="120"/>
                      <a:pt x="224" y="116"/>
                    </a:cubicBezTo>
                    <a:cubicBezTo>
                      <a:pt x="225" y="110"/>
                      <a:pt x="227" y="104"/>
                      <a:pt x="230" y="98"/>
                    </a:cubicBezTo>
                    <a:cubicBezTo>
                      <a:pt x="231" y="92"/>
                      <a:pt x="237" y="86"/>
                      <a:pt x="237" y="78"/>
                    </a:cubicBezTo>
                    <a:cubicBezTo>
                      <a:pt x="237" y="70"/>
                      <a:pt x="235" y="60"/>
                      <a:pt x="233" y="51"/>
                    </a:cubicBezTo>
                    <a:cubicBezTo>
                      <a:pt x="231" y="42"/>
                      <a:pt x="224" y="31"/>
                      <a:pt x="222" y="26"/>
                    </a:cubicBezTo>
                    <a:cubicBezTo>
                      <a:pt x="221" y="21"/>
                      <a:pt x="205" y="6"/>
                      <a:pt x="219" y="2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6" name="Freeform 33">
                <a:extLst>
                  <a:ext uri="{FF2B5EF4-FFF2-40B4-BE49-F238E27FC236}">
                    <a16:creationId xmlns:a16="http://schemas.microsoft.com/office/drawing/2014/main" id="{A705EE0E-BA43-49B7-9CD3-528AB14366E8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gray">
              <a:xfrm>
                <a:off x="4340226" y="3897313"/>
                <a:ext cx="88900" cy="155575"/>
              </a:xfrm>
              <a:custGeom>
                <a:avLst/>
                <a:gdLst>
                  <a:gd name="T0" fmla="*/ 32 w 55"/>
                  <a:gd name="T1" fmla="*/ 4 h 98"/>
                  <a:gd name="T2" fmla="*/ 26 w 55"/>
                  <a:gd name="T3" fmla="*/ 12 h 98"/>
                  <a:gd name="T4" fmla="*/ 18 w 55"/>
                  <a:gd name="T5" fmla="*/ 18 h 98"/>
                  <a:gd name="T6" fmla="*/ 18 w 55"/>
                  <a:gd name="T7" fmla="*/ 34 h 98"/>
                  <a:gd name="T8" fmla="*/ 34 w 55"/>
                  <a:gd name="T9" fmla="*/ 92 h 98"/>
                  <a:gd name="T10" fmla="*/ 52 w 55"/>
                  <a:gd name="T11" fmla="*/ 36 h 98"/>
                  <a:gd name="T12" fmla="*/ 50 w 55"/>
                  <a:gd name="T13" fmla="*/ 18 h 98"/>
                  <a:gd name="T14" fmla="*/ 43 w 55"/>
                  <a:gd name="T15" fmla="*/ 7 h 98"/>
                  <a:gd name="T16" fmla="*/ 32 w 55"/>
                  <a:gd name="T17" fmla="*/ 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98">
                    <a:moveTo>
                      <a:pt x="32" y="4"/>
                    </a:moveTo>
                    <a:cubicBezTo>
                      <a:pt x="28" y="0"/>
                      <a:pt x="28" y="10"/>
                      <a:pt x="26" y="12"/>
                    </a:cubicBezTo>
                    <a:cubicBezTo>
                      <a:pt x="24" y="14"/>
                      <a:pt x="19" y="14"/>
                      <a:pt x="18" y="18"/>
                    </a:cubicBezTo>
                    <a:cubicBezTo>
                      <a:pt x="13" y="26"/>
                      <a:pt x="9" y="28"/>
                      <a:pt x="18" y="34"/>
                    </a:cubicBezTo>
                    <a:cubicBezTo>
                      <a:pt x="27" y="60"/>
                      <a:pt x="0" y="98"/>
                      <a:pt x="34" y="92"/>
                    </a:cubicBezTo>
                    <a:cubicBezTo>
                      <a:pt x="45" y="60"/>
                      <a:pt x="34" y="63"/>
                      <a:pt x="52" y="36"/>
                    </a:cubicBezTo>
                    <a:cubicBezTo>
                      <a:pt x="55" y="24"/>
                      <a:pt x="51" y="23"/>
                      <a:pt x="50" y="18"/>
                    </a:cubicBezTo>
                    <a:cubicBezTo>
                      <a:pt x="49" y="13"/>
                      <a:pt x="46" y="9"/>
                      <a:pt x="43" y="7"/>
                    </a:cubicBezTo>
                    <a:cubicBezTo>
                      <a:pt x="40" y="5"/>
                      <a:pt x="35" y="3"/>
                      <a:pt x="32" y="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8" name="Freeform 34">
                <a:extLst>
                  <a:ext uri="{FF2B5EF4-FFF2-40B4-BE49-F238E27FC236}">
                    <a16:creationId xmlns:a16="http://schemas.microsoft.com/office/drawing/2014/main" id="{31B9A9F7-FC7E-4AF9-A603-1949B3C8B031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gray">
              <a:xfrm>
                <a:off x="4327526" y="3929063"/>
                <a:ext cx="46038" cy="123825"/>
              </a:xfrm>
              <a:custGeom>
                <a:avLst/>
                <a:gdLst>
                  <a:gd name="T0" fmla="*/ 18 w 28"/>
                  <a:gd name="T1" fmla="*/ 0 h 78"/>
                  <a:gd name="T2" fmla="*/ 0 w 28"/>
                  <a:gd name="T3" fmla="*/ 21 h 78"/>
                  <a:gd name="T4" fmla="*/ 10 w 28"/>
                  <a:gd name="T5" fmla="*/ 50 h 78"/>
                  <a:gd name="T6" fmla="*/ 10 w 28"/>
                  <a:gd name="T7" fmla="*/ 63 h 78"/>
                  <a:gd name="T8" fmla="*/ 16 w 28"/>
                  <a:gd name="T9" fmla="*/ 76 h 78"/>
                  <a:gd name="T10" fmla="*/ 24 w 28"/>
                  <a:gd name="T11" fmla="*/ 74 h 78"/>
                  <a:gd name="T12" fmla="*/ 27 w 28"/>
                  <a:gd name="T13" fmla="*/ 24 h 78"/>
                  <a:gd name="T14" fmla="*/ 18 w 28"/>
                  <a:gd name="T1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78">
                    <a:moveTo>
                      <a:pt x="18" y="0"/>
                    </a:moveTo>
                    <a:cubicBezTo>
                      <a:pt x="7" y="4"/>
                      <a:pt x="3" y="11"/>
                      <a:pt x="0" y="21"/>
                    </a:cubicBezTo>
                    <a:cubicBezTo>
                      <a:pt x="1" y="30"/>
                      <a:pt x="8" y="41"/>
                      <a:pt x="10" y="50"/>
                    </a:cubicBezTo>
                    <a:cubicBezTo>
                      <a:pt x="11" y="54"/>
                      <a:pt x="10" y="63"/>
                      <a:pt x="10" y="63"/>
                    </a:cubicBezTo>
                    <a:cubicBezTo>
                      <a:pt x="11" y="68"/>
                      <a:pt x="13" y="72"/>
                      <a:pt x="16" y="76"/>
                    </a:cubicBezTo>
                    <a:cubicBezTo>
                      <a:pt x="18" y="78"/>
                      <a:pt x="24" y="77"/>
                      <a:pt x="24" y="74"/>
                    </a:cubicBezTo>
                    <a:cubicBezTo>
                      <a:pt x="24" y="65"/>
                      <a:pt x="28" y="36"/>
                      <a:pt x="27" y="24"/>
                    </a:cubicBezTo>
                    <a:cubicBezTo>
                      <a:pt x="26" y="12"/>
                      <a:pt x="20" y="5"/>
                      <a:pt x="18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0" name="Freeform 35">
                <a:extLst>
                  <a:ext uri="{FF2B5EF4-FFF2-40B4-BE49-F238E27FC236}">
                    <a16:creationId xmlns:a16="http://schemas.microsoft.com/office/drawing/2014/main" id="{E944ACB3-D817-4B77-8659-3600FEF3B554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gray">
              <a:xfrm>
                <a:off x="4005263" y="3935413"/>
                <a:ext cx="76200" cy="85725"/>
              </a:xfrm>
              <a:custGeom>
                <a:avLst/>
                <a:gdLst>
                  <a:gd name="T0" fmla="*/ 16 w 47"/>
                  <a:gd name="T1" fmla="*/ 18 h 54"/>
                  <a:gd name="T2" fmla="*/ 12 w 47"/>
                  <a:gd name="T3" fmla="*/ 50 h 54"/>
                  <a:gd name="T4" fmla="*/ 26 w 47"/>
                  <a:gd name="T5" fmla="*/ 54 h 54"/>
                  <a:gd name="T6" fmla="*/ 44 w 47"/>
                  <a:gd name="T7" fmla="*/ 46 h 54"/>
                  <a:gd name="T8" fmla="*/ 44 w 47"/>
                  <a:gd name="T9" fmla="*/ 30 h 54"/>
                  <a:gd name="T10" fmla="*/ 39 w 47"/>
                  <a:gd name="T11" fmla="*/ 9 h 54"/>
                  <a:gd name="T12" fmla="*/ 16 w 47"/>
                  <a:gd name="T13" fmla="*/ 1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54">
                    <a:moveTo>
                      <a:pt x="16" y="18"/>
                    </a:moveTo>
                    <a:cubicBezTo>
                      <a:pt x="3" y="22"/>
                      <a:pt x="0" y="42"/>
                      <a:pt x="12" y="50"/>
                    </a:cubicBezTo>
                    <a:cubicBezTo>
                      <a:pt x="16" y="53"/>
                      <a:pt x="21" y="52"/>
                      <a:pt x="26" y="54"/>
                    </a:cubicBezTo>
                    <a:cubicBezTo>
                      <a:pt x="40" y="49"/>
                      <a:pt x="34" y="52"/>
                      <a:pt x="44" y="46"/>
                    </a:cubicBezTo>
                    <a:cubicBezTo>
                      <a:pt x="47" y="42"/>
                      <a:pt x="45" y="36"/>
                      <a:pt x="44" y="30"/>
                    </a:cubicBezTo>
                    <a:cubicBezTo>
                      <a:pt x="43" y="24"/>
                      <a:pt x="44" y="11"/>
                      <a:pt x="39" y="9"/>
                    </a:cubicBezTo>
                    <a:cubicBezTo>
                      <a:pt x="36" y="0"/>
                      <a:pt x="25" y="15"/>
                      <a:pt x="16" y="1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1" name="Freeform 36">
                <a:extLst>
                  <a:ext uri="{FF2B5EF4-FFF2-40B4-BE49-F238E27FC236}">
                    <a16:creationId xmlns:a16="http://schemas.microsoft.com/office/drawing/2014/main" id="{7626AFCE-C542-4BEA-B743-41CD91C27BBD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gray">
              <a:xfrm>
                <a:off x="3962401" y="3890963"/>
                <a:ext cx="187325" cy="125413"/>
              </a:xfrm>
              <a:custGeom>
                <a:avLst/>
                <a:gdLst>
                  <a:gd name="T0" fmla="*/ 28 w 116"/>
                  <a:gd name="T1" fmla="*/ 48 h 79"/>
                  <a:gd name="T2" fmla="*/ 6 w 116"/>
                  <a:gd name="T3" fmla="*/ 30 h 79"/>
                  <a:gd name="T4" fmla="*/ 6 w 116"/>
                  <a:gd name="T5" fmla="*/ 24 h 79"/>
                  <a:gd name="T6" fmla="*/ 17 w 116"/>
                  <a:gd name="T7" fmla="*/ 15 h 79"/>
                  <a:gd name="T8" fmla="*/ 30 w 116"/>
                  <a:gd name="T9" fmla="*/ 2 h 79"/>
                  <a:gd name="T10" fmla="*/ 49 w 116"/>
                  <a:gd name="T11" fmla="*/ 7 h 79"/>
                  <a:gd name="T12" fmla="*/ 76 w 116"/>
                  <a:gd name="T13" fmla="*/ 10 h 79"/>
                  <a:gd name="T14" fmla="*/ 102 w 116"/>
                  <a:gd name="T15" fmla="*/ 26 h 79"/>
                  <a:gd name="T16" fmla="*/ 110 w 116"/>
                  <a:gd name="T17" fmla="*/ 38 h 79"/>
                  <a:gd name="T18" fmla="*/ 112 w 116"/>
                  <a:gd name="T19" fmla="*/ 56 h 79"/>
                  <a:gd name="T20" fmla="*/ 113 w 116"/>
                  <a:gd name="T21" fmla="*/ 76 h 79"/>
                  <a:gd name="T22" fmla="*/ 91 w 116"/>
                  <a:gd name="T23" fmla="*/ 79 h 79"/>
                  <a:gd name="T24" fmla="*/ 72 w 116"/>
                  <a:gd name="T25" fmla="*/ 68 h 79"/>
                  <a:gd name="T26" fmla="*/ 69 w 116"/>
                  <a:gd name="T27" fmla="*/ 58 h 79"/>
                  <a:gd name="T28" fmla="*/ 68 w 116"/>
                  <a:gd name="T29" fmla="*/ 49 h 79"/>
                  <a:gd name="T30" fmla="*/ 65 w 116"/>
                  <a:gd name="T31" fmla="*/ 39 h 79"/>
                  <a:gd name="T32" fmla="*/ 46 w 116"/>
                  <a:gd name="T33" fmla="*/ 40 h 79"/>
                  <a:gd name="T34" fmla="*/ 38 w 116"/>
                  <a:gd name="T35" fmla="*/ 46 h 79"/>
                  <a:gd name="T36" fmla="*/ 28 w 116"/>
                  <a:gd name="T37" fmla="*/ 4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6" h="79">
                    <a:moveTo>
                      <a:pt x="28" y="48"/>
                    </a:moveTo>
                    <a:cubicBezTo>
                      <a:pt x="25" y="31"/>
                      <a:pt x="23" y="32"/>
                      <a:pt x="6" y="30"/>
                    </a:cubicBezTo>
                    <a:cubicBezTo>
                      <a:pt x="0" y="24"/>
                      <a:pt x="11" y="31"/>
                      <a:pt x="6" y="24"/>
                    </a:cubicBezTo>
                    <a:cubicBezTo>
                      <a:pt x="7" y="21"/>
                      <a:pt x="13" y="19"/>
                      <a:pt x="17" y="15"/>
                    </a:cubicBezTo>
                    <a:cubicBezTo>
                      <a:pt x="21" y="11"/>
                      <a:pt x="25" y="3"/>
                      <a:pt x="30" y="2"/>
                    </a:cubicBezTo>
                    <a:cubicBezTo>
                      <a:pt x="35" y="0"/>
                      <a:pt x="41" y="6"/>
                      <a:pt x="49" y="7"/>
                    </a:cubicBezTo>
                    <a:cubicBezTo>
                      <a:pt x="57" y="8"/>
                      <a:pt x="67" y="7"/>
                      <a:pt x="76" y="10"/>
                    </a:cubicBezTo>
                    <a:cubicBezTo>
                      <a:pt x="85" y="13"/>
                      <a:pt x="96" y="21"/>
                      <a:pt x="102" y="26"/>
                    </a:cubicBezTo>
                    <a:cubicBezTo>
                      <a:pt x="104" y="30"/>
                      <a:pt x="110" y="38"/>
                      <a:pt x="110" y="38"/>
                    </a:cubicBezTo>
                    <a:cubicBezTo>
                      <a:pt x="108" y="44"/>
                      <a:pt x="112" y="56"/>
                      <a:pt x="112" y="56"/>
                    </a:cubicBezTo>
                    <a:cubicBezTo>
                      <a:pt x="111" y="61"/>
                      <a:pt x="116" y="72"/>
                      <a:pt x="113" y="76"/>
                    </a:cubicBezTo>
                    <a:cubicBezTo>
                      <a:pt x="111" y="79"/>
                      <a:pt x="91" y="79"/>
                      <a:pt x="91" y="79"/>
                    </a:cubicBezTo>
                    <a:cubicBezTo>
                      <a:pt x="79" y="77"/>
                      <a:pt x="82" y="71"/>
                      <a:pt x="72" y="68"/>
                    </a:cubicBezTo>
                    <a:cubicBezTo>
                      <a:pt x="68" y="65"/>
                      <a:pt x="71" y="63"/>
                      <a:pt x="69" y="58"/>
                    </a:cubicBezTo>
                    <a:cubicBezTo>
                      <a:pt x="68" y="55"/>
                      <a:pt x="69" y="52"/>
                      <a:pt x="68" y="49"/>
                    </a:cubicBezTo>
                    <a:cubicBezTo>
                      <a:pt x="67" y="46"/>
                      <a:pt x="69" y="41"/>
                      <a:pt x="65" y="39"/>
                    </a:cubicBezTo>
                    <a:cubicBezTo>
                      <a:pt x="61" y="35"/>
                      <a:pt x="50" y="39"/>
                      <a:pt x="46" y="40"/>
                    </a:cubicBezTo>
                    <a:cubicBezTo>
                      <a:pt x="42" y="41"/>
                      <a:pt x="41" y="45"/>
                      <a:pt x="38" y="46"/>
                    </a:cubicBezTo>
                    <a:cubicBezTo>
                      <a:pt x="33" y="53"/>
                      <a:pt x="32" y="52"/>
                      <a:pt x="28" y="4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4" name="Freeform 37">
                <a:extLst>
                  <a:ext uri="{FF2B5EF4-FFF2-40B4-BE49-F238E27FC236}">
                    <a16:creationId xmlns:a16="http://schemas.microsoft.com/office/drawing/2014/main" id="{FA313482-B552-4DC0-B77B-95B682FF2173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gray">
              <a:xfrm>
                <a:off x="4205288" y="3835400"/>
                <a:ext cx="184150" cy="127000"/>
              </a:xfrm>
              <a:custGeom>
                <a:avLst/>
                <a:gdLst>
                  <a:gd name="T0" fmla="*/ 77 w 114"/>
                  <a:gd name="T1" fmla="*/ 0 h 80"/>
                  <a:gd name="T2" fmla="*/ 34 w 114"/>
                  <a:gd name="T3" fmla="*/ 13 h 80"/>
                  <a:gd name="T4" fmla="*/ 18 w 114"/>
                  <a:gd name="T5" fmla="*/ 27 h 80"/>
                  <a:gd name="T6" fmla="*/ 0 w 114"/>
                  <a:gd name="T7" fmla="*/ 55 h 80"/>
                  <a:gd name="T8" fmla="*/ 12 w 114"/>
                  <a:gd name="T9" fmla="*/ 77 h 80"/>
                  <a:gd name="T10" fmla="*/ 24 w 114"/>
                  <a:gd name="T11" fmla="*/ 75 h 80"/>
                  <a:gd name="T12" fmla="*/ 40 w 114"/>
                  <a:gd name="T13" fmla="*/ 63 h 80"/>
                  <a:gd name="T14" fmla="*/ 80 w 114"/>
                  <a:gd name="T15" fmla="*/ 61 h 80"/>
                  <a:gd name="T16" fmla="*/ 110 w 114"/>
                  <a:gd name="T17" fmla="*/ 55 h 80"/>
                  <a:gd name="T18" fmla="*/ 100 w 114"/>
                  <a:gd name="T19" fmla="*/ 31 h 80"/>
                  <a:gd name="T20" fmla="*/ 86 w 114"/>
                  <a:gd name="T21" fmla="*/ 9 h 80"/>
                  <a:gd name="T22" fmla="*/ 77 w 114"/>
                  <a:gd name="T2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4" h="80">
                    <a:moveTo>
                      <a:pt x="77" y="0"/>
                    </a:moveTo>
                    <a:cubicBezTo>
                      <a:pt x="58" y="2"/>
                      <a:pt x="54" y="11"/>
                      <a:pt x="34" y="13"/>
                    </a:cubicBezTo>
                    <a:cubicBezTo>
                      <a:pt x="31" y="26"/>
                      <a:pt x="30" y="24"/>
                      <a:pt x="18" y="27"/>
                    </a:cubicBezTo>
                    <a:cubicBezTo>
                      <a:pt x="7" y="35"/>
                      <a:pt x="12" y="51"/>
                      <a:pt x="0" y="55"/>
                    </a:cubicBezTo>
                    <a:cubicBezTo>
                      <a:pt x="2" y="67"/>
                      <a:pt x="0" y="73"/>
                      <a:pt x="12" y="77"/>
                    </a:cubicBezTo>
                    <a:cubicBezTo>
                      <a:pt x="15" y="80"/>
                      <a:pt x="19" y="77"/>
                      <a:pt x="24" y="75"/>
                    </a:cubicBezTo>
                    <a:cubicBezTo>
                      <a:pt x="29" y="73"/>
                      <a:pt x="31" y="65"/>
                      <a:pt x="40" y="63"/>
                    </a:cubicBezTo>
                    <a:cubicBezTo>
                      <a:pt x="53" y="62"/>
                      <a:pt x="67" y="62"/>
                      <a:pt x="80" y="61"/>
                    </a:cubicBezTo>
                    <a:cubicBezTo>
                      <a:pt x="98" y="55"/>
                      <a:pt x="88" y="57"/>
                      <a:pt x="110" y="55"/>
                    </a:cubicBezTo>
                    <a:cubicBezTo>
                      <a:pt x="114" y="44"/>
                      <a:pt x="111" y="35"/>
                      <a:pt x="100" y="31"/>
                    </a:cubicBezTo>
                    <a:cubicBezTo>
                      <a:pt x="94" y="22"/>
                      <a:pt x="95" y="15"/>
                      <a:pt x="86" y="9"/>
                    </a:cubicBezTo>
                    <a:cubicBezTo>
                      <a:pt x="81" y="2"/>
                      <a:pt x="71" y="0"/>
                      <a:pt x="77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7" name="Freeform 38">
                <a:extLst>
                  <a:ext uri="{FF2B5EF4-FFF2-40B4-BE49-F238E27FC236}">
                    <a16:creationId xmlns:a16="http://schemas.microsoft.com/office/drawing/2014/main" id="{62B2AACD-3F38-4625-B874-E9CC9E5B0520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gray">
              <a:xfrm>
                <a:off x="5357813" y="3749675"/>
                <a:ext cx="244475" cy="144463"/>
              </a:xfrm>
              <a:custGeom>
                <a:avLst/>
                <a:gdLst>
                  <a:gd name="T0" fmla="*/ 3 w 151"/>
                  <a:gd name="T1" fmla="*/ 27 h 91"/>
                  <a:gd name="T2" fmla="*/ 17 w 151"/>
                  <a:gd name="T3" fmla="*/ 69 h 91"/>
                  <a:gd name="T4" fmla="*/ 39 w 151"/>
                  <a:gd name="T5" fmla="*/ 89 h 91"/>
                  <a:gd name="T6" fmla="*/ 52 w 151"/>
                  <a:gd name="T7" fmla="*/ 84 h 91"/>
                  <a:gd name="T8" fmla="*/ 84 w 151"/>
                  <a:gd name="T9" fmla="*/ 71 h 91"/>
                  <a:gd name="T10" fmla="*/ 108 w 151"/>
                  <a:gd name="T11" fmla="*/ 60 h 91"/>
                  <a:gd name="T12" fmla="*/ 129 w 151"/>
                  <a:gd name="T13" fmla="*/ 53 h 91"/>
                  <a:gd name="T14" fmla="*/ 138 w 151"/>
                  <a:gd name="T15" fmla="*/ 41 h 91"/>
                  <a:gd name="T16" fmla="*/ 148 w 151"/>
                  <a:gd name="T17" fmla="*/ 24 h 91"/>
                  <a:gd name="T18" fmla="*/ 129 w 151"/>
                  <a:gd name="T19" fmla="*/ 0 h 91"/>
                  <a:gd name="T20" fmla="*/ 115 w 151"/>
                  <a:gd name="T21" fmla="*/ 2 h 91"/>
                  <a:gd name="T22" fmla="*/ 88 w 151"/>
                  <a:gd name="T23" fmla="*/ 3 h 91"/>
                  <a:gd name="T24" fmla="*/ 73 w 151"/>
                  <a:gd name="T25" fmla="*/ 6 h 91"/>
                  <a:gd name="T26" fmla="*/ 54 w 151"/>
                  <a:gd name="T27" fmla="*/ 41 h 91"/>
                  <a:gd name="T28" fmla="*/ 40 w 151"/>
                  <a:gd name="T29" fmla="*/ 33 h 91"/>
                  <a:gd name="T30" fmla="*/ 22 w 151"/>
                  <a:gd name="T31" fmla="*/ 26 h 91"/>
                  <a:gd name="T32" fmla="*/ 10 w 151"/>
                  <a:gd name="T33" fmla="*/ 24 h 91"/>
                  <a:gd name="T34" fmla="*/ 3 w 151"/>
                  <a:gd name="T35" fmla="*/ 27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1" h="91">
                    <a:moveTo>
                      <a:pt x="3" y="27"/>
                    </a:moveTo>
                    <a:cubicBezTo>
                      <a:pt x="0" y="42"/>
                      <a:pt x="12" y="55"/>
                      <a:pt x="17" y="69"/>
                    </a:cubicBezTo>
                    <a:cubicBezTo>
                      <a:pt x="17" y="79"/>
                      <a:pt x="33" y="87"/>
                      <a:pt x="39" y="89"/>
                    </a:cubicBezTo>
                    <a:cubicBezTo>
                      <a:pt x="45" y="91"/>
                      <a:pt x="45" y="87"/>
                      <a:pt x="52" y="84"/>
                    </a:cubicBezTo>
                    <a:cubicBezTo>
                      <a:pt x="68" y="74"/>
                      <a:pt x="60" y="76"/>
                      <a:pt x="84" y="71"/>
                    </a:cubicBezTo>
                    <a:cubicBezTo>
                      <a:pt x="90" y="61"/>
                      <a:pt x="97" y="62"/>
                      <a:pt x="108" y="60"/>
                    </a:cubicBezTo>
                    <a:cubicBezTo>
                      <a:pt x="114" y="56"/>
                      <a:pt x="122" y="54"/>
                      <a:pt x="129" y="53"/>
                    </a:cubicBezTo>
                    <a:cubicBezTo>
                      <a:pt x="134" y="49"/>
                      <a:pt x="135" y="46"/>
                      <a:pt x="138" y="41"/>
                    </a:cubicBezTo>
                    <a:cubicBezTo>
                      <a:pt x="140" y="31"/>
                      <a:pt x="151" y="35"/>
                      <a:pt x="148" y="24"/>
                    </a:cubicBezTo>
                    <a:cubicBezTo>
                      <a:pt x="147" y="14"/>
                      <a:pt x="139" y="5"/>
                      <a:pt x="129" y="0"/>
                    </a:cubicBezTo>
                    <a:cubicBezTo>
                      <a:pt x="124" y="1"/>
                      <a:pt x="120" y="2"/>
                      <a:pt x="115" y="2"/>
                    </a:cubicBezTo>
                    <a:cubicBezTo>
                      <a:pt x="106" y="3"/>
                      <a:pt x="97" y="2"/>
                      <a:pt x="88" y="3"/>
                    </a:cubicBezTo>
                    <a:cubicBezTo>
                      <a:pt x="83" y="3"/>
                      <a:pt x="73" y="6"/>
                      <a:pt x="73" y="6"/>
                    </a:cubicBezTo>
                    <a:cubicBezTo>
                      <a:pt x="67" y="16"/>
                      <a:pt x="64" y="33"/>
                      <a:pt x="54" y="41"/>
                    </a:cubicBezTo>
                    <a:cubicBezTo>
                      <a:pt x="48" y="40"/>
                      <a:pt x="45" y="35"/>
                      <a:pt x="40" y="33"/>
                    </a:cubicBezTo>
                    <a:cubicBezTo>
                      <a:pt x="36" y="32"/>
                      <a:pt x="22" y="26"/>
                      <a:pt x="22" y="26"/>
                    </a:cubicBezTo>
                    <a:cubicBezTo>
                      <a:pt x="17" y="17"/>
                      <a:pt x="19" y="22"/>
                      <a:pt x="10" y="24"/>
                    </a:cubicBezTo>
                    <a:cubicBezTo>
                      <a:pt x="5" y="26"/>
                      <a:pt x="7" y="26"/>
                      <a:pt x="3" y="2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9" name="Freeform 39">
                <a:extLst>
                  <a:ext uri="{FF2B5EF4-FFF2-40B4-BE49-F238E27FC236}">
                    <a16:creationId xmlns:a16="http://schemas.microsoft.com/office/drawing/2014/main" id="{24580C0F-5B4E-48E4-8883-909F23B6D007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gray">
              <a:xfrm>
                <a:off x="5199063" y="3762375"/>
                <a:ext cx="168275" cy="165100"/>
              </a:xfrm>
              <a:custGeom>
                <a:avLst/>
                <a:gdLst>
                  <a:gd name="T0" fmla="*/ 31 w 106"/>
                  <a:gd name="T1" fmla="*/ 0 h 104"/>
                  <a:gd name="T2" fmla="*/ 55 w 106"/>
                  <a:gd name="T3" fmla="*/ 18 h 104"/>
                  <a:gd name="T4" fmla="*/ 87 w 106"/>
                  <a:gd name="T5" fmla="*/ 46 h 104"/>
                  <a:gd name="T6" fmla="*/ 105 w 106"/>
                  <a:gd name="T7" fmla="*/ 96 h 104"/>
                  <a:gd name="T8" fmla="*/ 90 w 106"/>
                  <a:gd name="T9" fmla="*/ 100 h 104"/>
                  <a:gd name="T10" fmla="*/ 80 w 106"/>
                  <a:gd name="T11" fmla="*/ 91 h 104"/>
                  <a:gd name="T12" fmla="*/ 83 w 106"/>
                  <a:gd name="T13" fmla="*/ 78 h 104"/>
                  <a:gd name="T14" fmla="*/ 77 w 106"/>
                  <a:gd name="T15" fmla="*/ 54 h 104"/>
                  <a:gd name="T16" fmla="*/ 12 w 106"/>
                  <a:gd name="T17" fmla="*/ 54 h 104"/>
                  <a:gd name="T18" fmla="*/ 7 w 106"/>
                  <a:gd name="T19" fmla="*/ 30 h 104"/>
                  <a:gd name="T20" fmla="*/ 31 w 106"/>
                  <a:gd name="T21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104">
                    <a:moveTo>
                      <a:pt x="31" y="0"/>
                    </a:moveTo>
                    <a:cubicBezTo>
                      <a:pt x="52" y="2"/>
                      <a:pt x="35" y="13"/>
                      <a:pt x="55" y="18"/>
                    </a:cubicBezTo>
                    <a:cubicBezTo>
                      <a:pt x="62" y="26"/>
                      <a:pt x="80" y="36"/>
                      <a:pt x="87" y="46"/>
                    </a:cubicBezTo>
                    <a:cubicBezTo>
                      <a:pt x="95" y="59"/>
                      <a:pt x="104" y="87"/>
                      <a:pt x="105" y="96"/>
                    </a:cubicBezTo>
                    <a:cubicBezTo>
                      <a:pt x="106" y="104"/>
                      <a:pt x="94" y="101"/>
                      <a:pt x="90" y="100"/>
                    </a:cubicBezTo>
                    <a:cubicBezTo>
                      <a:pt x="86" y="99"/>
                      <a:pt x="81" y="95"/>
                      <a:pt x="80" y="91"/>
                    </a:cubicBezTo>
                    <a:cubicBezTo>
                      <a:pt x="79" y="87"/>
                      <a:pt x="83" y="84"/>
                      <a:pt x="83" y="78"/>
                    </a:cubicBezTo>
                    <a:cubicBezTo>
                      <a:pt x="83" y="72"/>
                      <a:pt x="89" y="58"/>
                      <a:pt x="77" y="54"/>
                    </a:cubicBezTo>
                    <a:cubicBezTo>
                      <a:pt x="56" y="65"/>
                      <a:pt x="36" y="59"/>
                      <a:pt x="12" y="54"/>
                    </a:cubicBezTo>
                    <a:cubicBezTo>
                      <a:pt x="0" y="51"/>
                      <a:pt x="4" y="39"/>
                      <a:pt x="7" y="30"/>
                    </a:cubicBezTo>
                    <a:cubicBezTo>
                      <a:pt x="10" y="21"/>
                      <a:pt x="26" y="6"/>
                      <a:pt x="31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1" name="Freeform 40">
                <a:extLst>
                  <a:ext uri="{FF2B5EF4-FFF2-40B4-BE49-F238E27FC236}">
                    <a16:creationId xmlns:a16="http://schemas.microsoft.com/office/drawing/2014/main" id="{60A86636-AD31-4530-A479-8F4C641E9FE6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gray">
              <a:xfrm>
                <a:off x="3933826" y="3544888"/>
                <a:ext cx="293688" cy="301625"/>
              </a:xfrm>
              <a:custGeom>
                <a:avLst/>
                <a:gdLst>
                  <a:gd name="T0" fmla="*/ 176 w 182"/>
                  <a:gd name="T1" fmla="*/ 26 h 190"/>
                  <a:gd name="T2" fmla="*/ 156 w 182"/>
                  <a:gd name="T3" fmla="*/ 28 h 190"/>
                  <a:gd name="T4" fmla="*/ 156 w 182"/>
                  <a:gd name="T5" fmla="*/ 82 h 190"/>
                  <a:gd name="T6" fmla="*/ 166 w 182"/>
                  <a:gd name="T7" fmla="*/ 174 h 190"/>
                  <a:gd name="T8" fmla="*/ 62 w 182"/>
                  <a:gd name="T9" fmla="*/ 178 h 190"/>
                  <a:gd name="T10" fmla="*/ 29 w 182"/>
                  <a:gd name="T11" fmla="*/ 161 h 190"/>
                  <a:gd name="T12" fmla="*/ 6 w 182"/>
                  <a:gd name="T13" fmla="*/ 160 h 190"/>
                  <a:gd name="T14" fmla="*/ 6 w 182"/>
                  <a:gd name="T15" fmla="*/ 128 h 190"/>
                  <a:gd name="T16" fmla="*/ 0 w 182"/>
                  <a:gd name="T17" fmla="*/ 104 h 190"/>
                  <a:gd name="T18" fmla="*/ 56 w 182"/>
                  <a:gd name="T19" fmla="*/ 84 h 190"/>
                  <a:gd name="T20" fmla="*/ 54 w 182"/>
                  <a:gd name="T21" fmla="*/ 62 h 190"/>
                  <a:gd name="T22" fmla="*/ 72 w 182"/>
                  <a:gd name="T23" fmla="*/ 48 h 190"/>
                  <a:gd name="T24" fmla="*/ 74 w 182"/>
                  <a:gd name="T25" fmla="*/ 12 h 190"/>
                  <a:gd name="T26" fmla="*/ 118 w 182"/>
                  <a:gd name="T27" fmla="*/ 12 h 190"/>
                  <a:gd name="T28" fmla="*/ 134 w 182"/>
                  <a:gd name="T29" fmla="*/ 0 h 190"/>
                  <a:gd name="T30" fmla="*/ 158 w 182"/>
                  <a:gd name="T31" fmla="*/ 14 h 190"/>
                  <a:gd name="T32" fmla="*/ 176 w 182"/>
                  <a:gd name="T33" fmla="*/ 26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2" h="190">
                    <a:moveTo>
                      <a:pt x="176" y="26"/>
                    </a:moveTo>
                    <a:cubicBezTo>
                      <a:pt x="169" y="27"/>
                      <a:pt x="162" y="26"/>
                      <a:pt x="156" y="28"/>
                    </a:cubicBezTo>
                    <a:cubicBezTo>
                      <a:pt x="139" y="34"/>
                      <a:pt x="155" y="64"/>
                      <a:pt x="156" y="82"/>
                    </a:cubicBezTo>
                    <a:cubicBezTo>
                      <a:pt x="150" y="98"/>
                      <a:pt x="182" y="158"/>
                      <a:pt x="166" y="174"/>
                    </a:cubicBezTo>
                    <a:cubicBezTo>
                      <a:pt x="150" y="190"/>
                      <a:pt x="85" y="180"/>
                      <a:pt x="62" y="178"/>
                    </a:cubicBezTo>
                    <a:cubicBezTo>
                      <a:pt x="52" y="175"/>
                      <a:pt x="41" y="162"/>
                      <a:pt x="29" y="161"/>
                    </a:cubicBezTo>
                    <a:cubicBezTo>
                      <a:pt x="20" y="160"/>
                      <a:pt x="15" y="161"/>
                      <a:pt x="6" y="160"/>
                    </a:cubicBezTo>
                    <a:cubicBezTo>
                      <a:pt x="8" y="144"/>
                      <a:pt x="11" y="143"/>
                      <a:pt x="6" y="128"/>
                    </a:cubicBezTo>
                    <a:cubicBezTo>
                      <a:pt x="3" y="120"/>
                      <a:pt x="0" y="104"/>
                      <a:pt x="0" y="104"/>
                    </a:cubicBezTo>
                    <a:cubicBezTo>
                      <a:pt x="4" y="75"/>
                      <a:pt x="19" y="87"/>
                      <a:pt x="56" y="84"/>
                    </a:cubicBezTo>
                    <a:cubicBezTo>
                      <a:pt x="61" y="74"/>
                      <a:pt x="60" y="71"/>
                      <a:pt x="54" y="62"/>
                    </a:cubicBezTo>
                    <a:cubicBezTo>
                      <a:pt x="57" y="50"/>
                      <a:pt x="60" y="50"/>
                      <a:pt x="72" y="48"/>
                    </a:cubicBezTo>
                    <a:cubicBezTo>
                      <a:pt x="73" y="36"/>
                      <a:pt x="65" y="19"/>
                      <a:pt x="74" y="12"/>
                    </a:cubicBezTo>
                    <a:cubicBezTo>
                      <a:pt x="81" y="4"/>
                      <a:pt x="104" y="12"/>
                      <a:pt x="118" y="12"/>
                    </a:cubicBezTo>
                    <a:cubicBezTo>
                      <a:pt x="128" y="10"/>
                      <a:pt x="127" y="0"/>
                      <a:pt x="134" y="0"/>
                    </a:cubicBezTo>
                    <a:cubicBezTo>
                      <a:pt x="141" y="0"/>
                      <a:pt x="151" y="10"/>
                      <a:pt x="158" y="14"/>
                    </a:cubicBezTo>
                    <a:cubicBezTo>
                      <a:pt x="163" y="22"/>
                      <a:pt x="167" y="24"/>
                      <a:pt x="176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3" name="Freeform 41">
                <a:extLst>
                  <a:ext uri="{FF2B5EF4-FFF2-40B4-BE49-F238E27FC236}">
                    <a16:creationId xmlns:a16="http://schemas.microsoft.com/office/drawing/2014/main" id="{8A111C5D-CB77-4E5B-9BAD-094FEB53F902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gray">
              <a:xfrm>
                <a:off x="5572126" y="3590925"/>
                <a:ext cx="190500" cy="207963"/>
              </a:xfrm>
              <a:custGeom>
                <a:avLst/>
                <a:gdLst>
                  <a:gd name="T0" fmla="*/ 53 w 120"/>
                  <a:gd name="T1" fmla="*/ 37 h 131"/>
                  <a:gd name="T2" fmla="*/ 69 w 120"/>
                  <a:gd name="T3" fmla="*/ 0 h 131"/>
                  <a:gd name="T4" fmla="*/ 113 w 120"/>
                  <a:gd name="T5" fmla="*/ 22 h 131"/>
                  <a:gd name="T6" fmla="*/ 120 w 120"/>
                  <a:gd name="T7" fmla="*/ 40 h 131"/>
                  <a:gd name="T8" fmla="*/ 111 w 120"/>
                  <a:gd name="T9" fmla="*/ 64 h 131"/>
                  <a:gd name="T10" fmla="*/ 90 w 120"/>
                  <a:gd name="T11" fmla="*/ 75 h 131"/>
                  <a:gd name="T12" fmla="*/ 75 w 120"/>
                  <a:gd name="T13" fmla="*/ 99 h 131"/>
                  <a:gd name="T14" fmla="*/ 51 w 120"/>
                  <a:gd name="T15" fmla="*/ 118 h 131"/>
                  <a:gd name="T16" fmla="*/ 30 w 120"/>
                  <a:gd name="T17" fmla="*/ 127 h 131"/>
                  <a:gd name="T18" fmla="*/ 14 w 120"/>
                  <a:gd name="T19" fmla="*/ 120 h 131"/>
                  <a:gd name="T20" fmla="*/ 3 w 120"/>
                  <a:gd name="T21" fmla="*/ 102 h 131"/>
                  <a:gd name="T22" fmla="*/ 26 w 120"/>
                  <a:gd name="T23" fmla="*/ 88 h 131"/>
                  <a:gd name="T24" fmla="*/ 41 w 120"/>
                  <a:gd name="T25" fmla="*/ 75 h 131"/>
                  <a:gd name="T26" fmla="*/ 53 w 120"/>
                  <a:gd name="T27" fmla="*/ 3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131">
                    <a:moveTo>
                      <a:pt x="53" y="37"/>
                    </a:moveTo>
                    <a:cubicBezTo>
                      <a:pt x="55" y="24"/>
                      <a:pt x="58" y="9"/>
                      <a:pt x="69" y="0"/>
                    </a:cubicBezTo>
                    <a:cubicBezTo>
                      <a:pt x="76" y="20"/>
                      <a:pt x="95" y="19"/>
                      <a:pt x="113" y="22"/>
                    </a:cubicBezTo>
                    <a:cubicBezTo>
                      <a:pt x="114" y="31"/>
                      <a:pt x="115" y="33"/>
                      <a:pt x="120" y="40"/>
                    </a:cubicBezTo>
                    <a:cubicBezTo>
                      <a:pt x="119" y="51"/>
                      <a:pt x="117" y="55"/>
                      <a:pt x="111" y="64"/>
                    </a:cubicBezTo>
                    <a:cubicBezTo>
                      <a:pt x="109" y="74"/>
                      <a:pt x="99" y="73"/>
                      <a:pt x="90" y="75"/>
                    </a:cubicBezTo>
                    <a:cubicBezTo>
                      <a:pt x="87" y="91"/>
                      <a:pt x="93" y="96"/>
                      <a:pt x="75" y="99"/>
                    </a:cubicBezTo>
                    <a:cubicBezTo>
                      <a:pt x="74" y="108"/>
                      <a:pt x="61" y="116"/>
                      <a:pt x="51" y="118"/>
                    </a:cubicBezTo>
                    <a:cubicBezTo>
                      <a:pt x="43" y="122"/>
                      <a:pt x="39" y="126"/>
                      <a:pt x="30" y="127"/>
                    </a:cubicBezTo>
                    <a:cubicBezTo>
                      <a:pt x="22" y="131"/>
                      <a:pt x="20" y="124"/>
                      <a:pt x="14" y="120"/>
                    </a:cubicBezTo>
                    <a:cubicBezTo>
                      <a:pt x="10" y="113"/>
                      <a:pt x="7" y="109"/>
                      <a:pt x="3" y="102"/>
                    </a:cubicBezTo>
                    <a:cubicBezTo>
                      <a:pt x="0" y="88"/>
                      <a:pt x="16" y="89"/>
                      <a:pt x="26" y="88"/>
                    </a:cubicBezTo>
                    <a:cubicBezTo>
                      <a:pt x="32" y="83"/>
                      <a:pt x="33" y="77"/>
                      <a:pt x="41" y="75"/>
                    </a:cubicBezTo>
                    <a:cubicBezTo>
                      <a:pt x="56" y="64"/>
                      <a:pt x="54" y="59"/>
                      <a:pt x="53" y="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4" name="Freeform 42">
                <a:extLst>
                  <a:ext uri="{FF2B5EF4-FFF2-40B4-BE49-F238E27FC236}">
                    <a16:creationId xmlns:a16="http://schemas.microsoft.com/office/drawing/2014/main" id="{B274826D-3999-441D-958F-AAA06D88071A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gray">
              <a:xfrm>
                <a:off x="5561013" y="3540125"/>
                <a:ext cx="125413" cy="115888"/>
              </a:xfrm>
              <a:custGeom>
                <a:avLst/>
                <a:gdLst>
                  <a:gd name="T0" fmla="*/ 7 w 78"/>
                  <a:gd name="T1" fmla="*/ 44 h 73"/>
                  <a:gd name="T2" fmla="*/ 43 w 78"/>
                  <a:gd name="T3" fmla="*/ 39 h 73"/>
                  <a:gd name="T4" fmla="*/ 59 w 78"/>
                  <a:gd name="T5" fmla="*/ 18 h 73"/>
                  <a:gd name="T6" fmla="*/ 74 w 78"/>
                  <a:gd name="T7" fmla="*/ 0 h 73"/>
                  <a:gd name="T8" fmla="*/ 76 w 78"/>
                  <a:gd name="T9" fmla="*/ 32 h 73"/>
                  <a:gd name="T10" fmla="*/ 67 w 78"/>
                  <a:gd name="T11" fmla="*/ 38 h 73"/>
                  <a:gd name="T12" fmla="*/ 64 w 78"/>
                  <a:gd name="T13" fmla="*/ 54 h 73"/>
                  <a:gd name="T14" fmla="*/ 53 w 78"/>
                  <a:gd name="T15" fmla="*/ 69 h 73"/>
                  <a:gd name="T16" fmla="*/ 14 w 78"/>
                  <a:gd name="T17" fmla="*/ 66 h 73"/>
                  <a:gd name="T18" fmla="*/ 5 w 78"/>
                  <a:gd name="T19" fmla="*/ 57 h 73"/>
                  <a:gd name="T20" fmla="*/ 4 w 78"/>
                  <a:gd name="T21" fmla="*/ 47 h 73"/>
                  <a:gd name="T22" fmla="*/ 7 w 78"/>
                  <a:gd name="T23" fmla="*/ 4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8" h="73">
                    <a:moveTo>
                      <a:pt x="7" y="44"/>
                    </a:moveTo>
                    <a:cubicBezTo>
                      <a:pt x="21" y="34"/>
                      <a:pt x="3" y="46"/>
                      <a:pt x="43" y="39"/>
                    </a:cubicBezTo>
                    <a:cubicBezTo>
                      <a:pt x="47" y="38"/>
                      <a:pt x="55" y="21"/>
                      <a:pt x="59" y="18"/>
                    </a:cubicBezTo>
                    <a:cubicBezTo>
                      <a:pt x="65" y="19"/>
                      <a:pt x="76" y="3"/>
                      <a:pt x="74" y="0"/>
                    </a:cubicBezTo>
                    <a:cubicBezTo>
                      <a:pt x="75" y="1"/>
                      <a:pt x="76" y="31"/>
                      <a:pt x="76" y="32"/>
                    </a:cubicBezTo>
                    <a:cubicBezTo>
                      <a:pt x="72" y="48"/>
                      <a:pt x="78" y="36"/>
                      <a:pt x="67" y="38"/>
                    </a:cubicBezTo>
                    <a:cubicBezTo>
                      <a:pt x="65" y="42"/>
                      <a:pt x="66" y="49"/>
                      <a:pt x="64" y="54"/>
                    </a:cubicBezTo>
                    <a:cubicBezTo>
                      <a:pt x="62" y="59"/>
                      <a:pt x="61" y="67"/>
                      <a:pt x="53" y="69"/>
                    </a:cubicBezTo>
                    <a:cubicBezTo>
                      <a:pt x="45" y="73"/>
                      <a:pt x="22" y="68"/>
                      <a:pt x="14" y="66"/>
                    </a:cubicBezTo>
                    <a:cubicBezTo>
                      <a:pt x="6" y="64"/>
                      <a:pt x="7" y="60"/>
                      <a:pt x="5" y="57"/>
                    </a:cubicBezTo>
                    <a:cubicBezTo>
                      <a:pt x="3" y="53"/>
                      <a:pt x="0" y="51"/>
                      <a:pt x="4" y="47"/>
                    </a:cubicBezTo>
                    <a:cubicBezTo>
                      <a:pt x="7" y="44"/>
                      <a:pt x="9" y="46"/>
                      <a:pt x="7" y="4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5" name="Freeform 43">
                <a:extLst>
                  <a:ext uri="{FF2B5EF4-FFF2-40B4-BE49-F238E27FC236}">
                    <a16:creationId xmlns:a16="http://schemas.microsoft.com/office/drawing/2014/main" id="{73BCA382-59B3-4839-99AF-967A9C6DC8AD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gray">
              <a:xfrm>
                <a:off x="5529263" y="3554413"/>
                <a:ext cx="49213" cy="50800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6" name="Freeform 45">
                <a:extLst>
                  <a:ext uri="{FF2B5EF4-FFF2-40B4-BE49-F238E27FC236}">
                    <a16:creationId xmlns:a16="http://schemas.microsoft.com/office/drawing/2014/main" id="{88A7BFDA-C675-4EB8-9B87-725676696709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gray">
              <a:xfrm>
                <a:off x="4618038" y="4329113"/>
                <a:ext cx="295275" cy="301625"/>
              </a:xfrm>
              <a:custGeom>
                <a:avLst/>
                <a:gdLst>
                  <a:gd name="T0" fmla="*/ 0 w 183"/>
                  <a:gd name="T1" fmla="*/ 174 h 190"/>
                  <a:gd name="T2" fmla="*/ 10 w 183"/>
                  <a:gd name="T3" fmla="*/ 129 h 190"/>
                  <a:gd name="T4" fmla="*/ 15 w 183"/>
                  <a:gd name="T5" fmla="*/ 112 h 190"/>
                  <a:gd name="T6" fmla="*/ 28 w 183"/>
                  <a:gd name="T7" fmla="*/ 97 h 190"/>
                  <a:gd name="T8" fmla="*/ 22 w 183"/>
                  <a:gd name="T9" fmla="*/ 69 h 190"/>
                  <a:gd name="T10" fmla="*/ 22 w 183"/>
                  <a:gd name="T11" fmla="*/ 34 h 190"/>
                  <a:gd name="T12" fmla="*/ 12 w 183"/>
                  <a:gd name="T13" fmla="*/ 16 h 190"/>
                  <a:gd name="T14" fmla="*/ 30 w 183"/>
                  <a:gd name="T15" fmla="*/ 4 h 190"/>
                  <a:gd name="T16" fmla="*/ 60 w 183"/>
                  <a:gd name="T17" fmla="*/ 1 h 190"/>
                  <a:gd name="T18" fmla="*/ 70 w 183"/>
                  <a:gd name="T19" fmla="*/ 3 h 190"/>
                  <a:gd name="T20" fmla="*/ 79 w 183"/>
                  <a:gd name="T21" fmla="*/ 28 h 190"/>
                  <a:gd name="T22" fmla="*/ 103 w 183"/>
                  <a:gd name="T23" fmla="*/ 31 h 190"/>
                  <a:gd name="T24" fmla="*/ 123 w 183"/>
                  <a:gd name="T25" fmla="*/ 25 h 190"/>
                  <a:gd name="T26" fmla="*/ 144 w 183"/>
                  <a:gd name="T27" fmla="*/ 30 h 190"/>
                  <a:gd name="T28" fmla="*/ 151 w 183"/>
                  <a:gd name="T29" fmla="*/ 42 h 190"/>
                  <a:gd name="T30" fmla="*/ 150 w 183"/>
                  <a:gd name="T31" fmla="*/ 58 h 190"/>
                  <a:gd name="T32" fmla="*/ 157 w 183"/>
                  <a:gd name="T33" fmla="*/ 78 h 190"/>
                  <a:gd name="T34" fmla="*/ 180 w 183"/>
                  <a:gd name="T35" fmla="*/ 81 h 190"/>
                  <a:gd name="T36" fmla="*/ 175 w 183"/>
                  <a:gd name="T37" fmla="*/ 103 h 190"/>
                  <a:gd name="T38" fmla="*/ 151 w 183"/>
                  <a:gd name="T39" fmla="*/ 109 h 190"/>
                  <a:gd name="T40" fmla="*/ 145 w 183"/>
                  <a:gd name="T41" fmla="*/ 139 h 190"/>
                  <a:gd name="T42" fmla="*/ 151 w 183"/>
                  <a:gd name="T43" fmla="*/ 178 h 190"/>
                  <a:gd name="T44" fmla="*/ 97 w 183"/>
                  <a:gd name="T45" fmla="*/ 180 h 190"/>
                  <a:gd name="T46" fmla="*/ 37 w 183"/>
                  <a:gd name="T47" fmla="*/ 183 h 190"/>
                  <a:gd name="T48" fmla="*/ 0 w 183"/>
                  <a:gd name="T49" fmla="*/ 17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3" h="190">
                    <a:moveTo>
                      <a:pt x="0" y="174"/>
                    </a:moveTo>
                    <a:cubicBezTo>
                      <a:pt x="1" y="156"/>
                      <a:pt x="0" y="143"/>
                      <a:pt x="10" y="129"/>
                    </a:cubicBezTo>
                    <a:cubicBezTo>
                      <a:pt x="8" y="120"/>
                      <a:pt x="6" y="118"/>
                      <a:pt x="15" y="112"/>
                    </a:cubicBezTo>
                    <a:cubicBezTo>
                      <a:pt x="19" y="107"/>
                      <a:pt x="23" y="101"/>
                      <a:pt x="28" y="97"/>
                    </a:cubicBezTo>
                    <a:cubicBezTo>
                      <a:pt x="26" y="87"/>
                      <a:pt x="28" y="77"/>
                      <a:pt x="22" y="69"/>
                    </a:cubicBezTo>
                    <a:cubicBezTo>
                      <a:pt x="20" y="57"/>
                      <a:pt x="20" y="47"/>
                      <a:pt x="22" y="34"/>
                    </a:cubicBezTo>
                    <a:cubicBezTo>
                      <a:pt x="17" y="28"/>
                      <a:pt x="19" y="21"/>
                      <a:pt x="12" y="16"/>
                    </a:cubicBezTo>
                    <a:cubicBezTo>
                      <a:pt x="13" y="10"/>
                      <a:pt x="22" y="6"/>
                      <a:pt x="30" y="4"/>
                    </a:cubicBezTo>
                    <a:cubicBezTo>
                      <a:pt x="38" y="2"/>
                      <a:pt x="53" y="1"/>
                      <a:pt x="60" y="1"/>
                    </a:cubicBezTo>
                    <a:cubicBezTo>
                      <a:pt x="63" y="2"/>
                      <a:pt x="68" y="0"/>
                      <a:pt x="70" y="3"/>
                    </a:cubicBezTo>
                    <a:cubicBezTo>
                      <a:pt x="73" y="6"/>
                      <a:pt x="74" y="23"/>
                      <a:pt x="79" y="28"/>
                    </a:cubicBezTo>
                    <a:cubicBezTo>
                      <a:pt x="84" y="33"/>
                      <a:pt x="96" y="32"/>
                      <a:pt x="103" y="31"/>
                    </a:cubicBezTo>
                    <a:cubicBezTo>
                      <a:pt x="118" y="29"/>
                      <a:pt x="112" y="33"/>
                      <a:pt x="123" y="25"/>
                    </a:cubicBezTo>
                    <a:cubicBezTo>
                      <a:pt x="133" y="26"/>
                      <a:pt x="139" y="21"/>
                      <a:pt x="144" y="30"/>
                    </a:cubicBezTo>
                    <a:cubicBezTo>
                      <a:pt x="149" y="34"/>
                      <a:pt x="150" y="37"/>
                      <a:pt x="151" y="42"/>
                    </a:cubicBezTo>
                    <a:cubicBezTo>
                      <a:pt x="152" y="47"/>
                      <a:pt x="149" y="52"/>
                      <a:pt x="150" y="58"/>
                    </a:cubicBezTo>
                    <a:cubicBezTo>
                      <a:pt x="153" y="65"/>
                      <a:pt x="152" y="74"/>
                      <a:pt x="157" y="78"/>
                    </a:cubicBezTo>
                    <a:cubicBezTo>
                      <a:pt x="162" y="82"/>
                      <a:pt x="177" y="77"/>
                      <a:pt x="180" y="81"/>
                    </a:cubicBezTo>
                    <a:cubicBezTo>
                      <a:pt x="183" y="85"/>
                      <a:pt x="180" y="98"/>
                      <a:pt x="175" y="103"/>
                    </a:cubicBezTo>
                    <a:cubicBezTo>
                      <a:pt x="168" y="107"/>
                      <a:pt x="159" y="108"/>
                      <a:pt x="151" y="109"/>
                    </a:cubicBezTo>
                    <a:cubicBezTo>
                      <a:pt x="146" y="115"/>
                      <a:pt x="145" y="128"/>
                      <a:pt x="145" y="139"/>
                    </a:cubicBezTo>
                    <a:cubicBezTo>
                      <a:pt x="145" y="150"/>
                      <a:pt x="159" y="171"/>
                      <a:pt x="151" y="178"/>
                    </a:cubicBezTo>
                    <a:cubicBezTo>
                      <a:pt x="143" y="190"/>
                      <a:pt x="118" y="179"/>
                      <a:pt x="97" y="180"/>
                    </a:cubicBezTo>
                    <a:cubicBezTo>
                      <a:pt x="77" y="170"/>
                      <a:pt x="59" y="185"/>
                      <a:pt x="37" y="183"/>
                    </a:cubicBezTo>
                    <a:cubicBezTo>
                      <a:pt x="19" y="176"/>
                      <a:pt x="31" y="167"/>
                      <a:pt x="0" y="17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1" name="Freeform 46">
                <a:extLst>
                  <a:ext uri="{FF2B5EF4-FFF2-40B4-BE49-F238E27FC236}">
                    <a16:creationId xmlns:a16="http://schemas.microsoft.com/office/drawing/2014/main" id="{574B64A9-BBA8-4EF0-BF1B-9E085623BA63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gray">
              <a:xfrm>
                <a:off x="4546601" y="3921125"/>
                <a:ext cx="171450" cy="231775"/>
              </a:xfrm>
              <a:custGeom>
                <a:avLst/>
                <a:gdLst>
                  <a:gd name="T0" fmla="*/ 17 w 106"/>
                  <a:gd name="T1" fmla="*/ 143 h 146"/>
                  <a:gd name="T2" fmla="*/ 6 w 106"/>
                  <a:gd name="T3" fmla="*/ 119 h 146"/>
                  <a:gd name="T4" fmla="*/ 0 w 106"/>
                  <a:gd name="T5" fmla="*/ 96 h 146"/>
                  <a:gd name="T6" fmla="*/ 17 w 106"/>
                  <a:gd name="T7" fmla="*/ 77 h 146"/>
                  <a:gd name="T8" fmla="*/ 30 w 106"/>
                  <a:gd name="T9" fmla="*/ 68 h 146"/>
                  <a:gd name="T10" fmla="*/ 42 w 106"/>
                  <a:gd name="T11" fmla="*/ 72 h 146"/>
                  <a:gd name="T12" fmla="*/ 54 w 106"/>
                  <a:gd name="T13" fmla="*/ 47 h 146"/>
                  <a:gd name="T14" fmla="*/ 62 w 106"/>
                  <a:gd name="T15" fmla="*/ 33 h 146"/>
                  <a:gd name="T16" fmla="*/ 68 w 106"/>
                  <a:gd name="T17" fmla="*/ 18 h 146"/>
                  <a:gd name="T18" fmla="*/ 80 w 106"/>
                  <a:gd name="T19" fmla="*/ 2 h 146"/>
                  <a:gd name="T20" fmla="*/ 89 w 106"/>
                  <a:gd name="T21" fmla="*/ 6 h 146"/>
                  <a:gd name="T22" fmla="*/ 96 w 106"/>
                  <a:gd name="T23" fmla="*/ 18 h 146"/>
                  <a:gd name="T24" fmla="*/ 83 w 106"/>
                  <a:gd name="T25" fmla="*/ 27 h 146"/>
                  <a:gd name="T26" fmla="*/ 98 w 106"/>
                  <a:gd name="T27" fmla="*/ 60 h 146"/>
                  <a:gd name="T28" fmla="*/ 89 w 106"/>
                  <a:gd name="T29" fmla="*/ 72 h 146"/>
                  <a:gd name="T30" fmla="*/ 92 w 106"/>
                  <a:gd name="T31" fmla="*/ 98 h 146"/>
                  <a:gd name="T32" fmla="*/ 96 w 106"/>
                  <a:gd name="T33" fmla="*/ 113 h 146"/>
                  <a:gd name="T34" fmla="*/ 95 w 106"/>
                  <a:gd name="T35" fmla="*/ 120 h 146"/>
                  <a:gd name="T36" fmla="*/ 104 w 106"/>
                  <a:gd name="T37" fmla="*/ 126 h 146"/>
                  <a:gd name="T38" fmla="*/ 80 w 106"/>
                  <a:gd name="T39" fmla="*/ 140 h 146"/>
                  <a:gd name="T40" fmla="*/ 17 w 106"/>
                  <a:gd name="T41" fmla="*/ 143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6" h="146">
                    <a:moveTo>
                      <a:pt x="17" y="143"/>
                    </a:moveTo>
                    <a:cubicBezTo>
                      <a:pt x="15" y="127"/>
                      <a:pt x="20" y="122"/>
                      <a:pt x="6" y="119"/>
                    </a:cubicBezTo>
                    <a:cubicBezTo>
                      <a:pt x="2" y="112"/>
                      <a:pt x="0" y="96"/>
                      <a:pt x="0" y="96"/>
                    </a:cubicBezTo>
                    <a:cubicBezTo>
                      <a:pt x="2" y="78"/>
                      <a:pt x="0" y="79"/>
                      <a:pt x="17" y="77"/>
                    </a:cubicBezTo>
                    <a:cubicBezTo>
                      <a:pt x="21" y="70"/>
                      <a:pt x="22" y="69"/>
                      <a:pt x="30" y="68"/>
                    </a:cubicBezTo>
                    <a:cubicBezTo>
                      <a:pt x="36" y="72"/>
                      <a:pt x="36" y="77"/>
                      <a:pt x="42" y="72"/>
                    </a:cubicBezTo>
                    <a:cubicBezTo>
                      <a:pt x="47" y="57"/>
                      <a:pt x="42" y="56"/>
                      <a:pt x="54" y="47"/>
                    </a:cubicBezTo>
                    <a:cubicBezTo>
                      <a:pt x="57" y="40"/>
                      <a:pt x="55" y="37"/>
                      <a:pt x="62" y="33"/>
                    </a:cubicBezTo>
                    <a:cubicBezTo>
                      <a:pt x="63" y="27"/>
                      <a:pt x="66" y="24"/>
                      <a:pt x="68" y="18"/>
                    </a:cubicBezTo>
                    <a:cubicBezTo>
                      <a:pt x="69" y="1"/>
                      <a:pt x="69" y="9"/>
                      <a:pt x="80" y="2"/>
                    </a:cubicBezTo>
                    <a:cubicBezTo>
                      <a:pt x="84" y="0"/>
                      <a:pt x="86" y="3"/>
                      <a:pt x="89" y="6"/>
                    </a:cubicBezTo>
                    <a:cubicBezTo>
                      <a:pt x="92" y="9"/>
                      <a:pt x="97" y="15"/>
                      <a:pt x="96" y="18"/>
                    </a:cubicBezTo>
                    <a:cubicBezTo>
                      <a:pt x="90" y="21"/>
                      <a:pt x="90" y="26"/>
                      <a:pt x="83" y="27"/>
                    </a:cubicBezTo>
                    <a:cubicBezTo>
                      <a:pt x="83" y="34"/>
                      <a:pt x="97" y="53"/>
                      <a:pt x="98" y="60"/>
                    </a:cubicBezTo>
                    <a:cubicBezTo>
                      <a:pt x="99" y="67"/>
                      <a:pt x="90" y="66"/>
                      <a:pt x="89" y="72"/>
                    </a:cubicBezTo>
                    <a:cubicBezTo>
                      <a:pt x="87" y="80"/>
                      <a:pt x="92" y="92"/>
                      <a:pt x="92" y="98"/>
                    </a:cubicBezTo>
                    <a:cubicBezTo>
                      <a:pt x="93" y="105"/>
                      <a:pt x="96" y="109"/>
                      <a:pt x="96" y="113"/>
                    </a:cubicBezTo>
                    <a:cubicBezTo>
                      <a:pt x="97" y="121"/>
                      <a:pt x="94" y="118"/>
                      <a:pt x="95" y="120"/>
                    </a:cubicBezTo>
                    <a:cubicBezTo>
                      <a:pt x="96" y="122"/>
                      <a:pt x="106" y="123"/>
                      <a:pt x="104" y="126"/>
                    </a:cubicBezTo>
                    <a:cubicBezTo>
                      <a:pt x="101" y="146"/>
                      <a:pt x="100" y="141"/>
                      <a:pt x="80" y="140"/>
                    </a:cubicBezTo>
                    <a:cubicBezTo>
                      <a:pt x="57" y="131"/>
                      <a:pt x="77" y="138"/>
                      <a:pt x="17" y="14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2" name="Freeform 47">
                <a:extLst>
                  <a:ext uri="{FF2B5EF4-FFF2-40B4-BE49-F238E27FC236}">
                    <a16:creationId xmlns:a16="http://schemas.microsoft.com/office/drawing/2014/main" id="{0E32EFC2-9320-4422-A3BB-E781A671FBE3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gray">
              <a:xfrm>
                <a:off x="4395788" y="3871913"/>
                <a:ext cx="287338" cy="214313"/>
              </a:xfrm>
              <a:custGeom>
                <a:avLst/>
                <a:gdLst>
                  <a:gd name="T0" fmla="*/ 88 w 178"/>
                  <a:gd name="T1" fmla="*/ 130 h 135"/>
                  <a:gd name="T2" fmla="*/ 48 w 178"/>
                  <a:gd name="T3" fmla="*/ 132 h 135"/>
                  <a:gd name="T4" fmla="*/ 33 w 178"/>
                  <a:gd name="T5" fmla="*/ 109 h 135"/>
                  <a:gd name="T6" fmla="*/ 6 w 178"/>
                  <a:gd name="T7" fmla="*/ 102 h 135"/>
                  <a:gd name="T8" fmla="*/ 15 w 178"/>
                  <a:gd name="T9" fmla="*/ 61 h 135"/>
                  <a:gd name="T10" fmla="*/ 19 w 178"/>
                  <a:gd name="T11" fmla="*/ 24 h 135"/>
                  <a:gd name="T12" fmla="*/ 25 w 178"/>
                  <a:gd name="T13" fmla="*/ 6 h 135"/>
                  <a:gd name="T14" fmla="*/ 31 w 178"/>
                  <a:gd name="T15" fmla="*/ 3 h 135"/>
                  <a:gd name="T16" fmla="*/ 45 w 178"/>
                  <a:gd name="T17" fmla="*/ 0 h 135"/>
                  <a:gd name="T18" fmla="*/ 70 w 178"/>
                  <a:gd name="T19" fmla="*/ 4 h 135"/>
                  <a:gd name="T20" fmla="*/ 90 w 178"/>
                  <a:gd name="T21" fmla="*/ 9 h 135"/>
                  <a:gd name="T22" fmla="*/ 99 w 178"/>
                  <a:gd name="T23" fmla="*/ 9 h 135"/>
                  <a:gd name="T24" fmla="*/ 115 w 178"/>
                  <a:gd name="T25" fmla="*/ 4 h 135"/>
                  <a:gd name="T26" fmla="*/ 133 w 178"/>
                  <a:gd name="T27" fmla="*/ 3 h 135"/>
                  <a:gd name="T28" fmla="*/ 148 w 178"/>
                  <a:gd name="T29" fmla="*/ 6 h 135"/>
                  <a:gd name="T30" fmla="*/ 160 w 178"/>
                  <a:gd name="T31" fmla="*/ 4 h 135"/>
                  <a:gd name="T32" fmla="*/ 171 w 178"/>
                  <a:gd name="T33" fmla="*/ 13 h 135"/>
                  <a:gd name="T34" fmla="*/ 178 w 178"/>
                  <a:gd name="T35" fmla="*/ 27 h 135"/>
                  <a:gd name="T36" fmla="*/ 166 w 178"/>
                  <a:gd name="T37" fmla="*/ 37 h 135"/>
                  <a:gd name="T38" fmla="*/ 160 w 178"/>
                  <a:gd name="T39" fmla="*/ 52 h 135"/>
                  <a:gd name="T40" fmla="*/ 156 w 178"/>
                  <a:gd name="T41" fmla="*/ 63 h 135"/>
                  <a:gd name="T42" fmla="*/ 151 w 178"/>
                  <a:gd name="T43" fmla="*/ 78 h 135"/>
                  <a:gd name="T44" fmla="*/ 141 w 178"/>
                  <a:gd name="T45" fmla="*/ 85 h 135"/>
                  <a:gd name="T46" fmla="*/ 136 w 178"/>
                  <a:gd name="T47" fmla="*/ 100 h 135"/>
                  <a:gd name="T48" fmla="*/ 121 w 178"/>
                  <a:gd name="T49" fmla="*/ 103 h 135"/>
                  <a:gd name="T50" fmla="*/ 109 w 178"/>
                  <a:gd name="T51" fmla="*/ 105 h 135"/>
                  <a:gd name="T52" fmla="*/ 94 w 178"/>
                  <a:gd name="T53" fmla="*/ 112 h 135"/>
                  <a:gd name="T54" fmla="*/ 88 w 178"/>
                  <a:gd name="T55" fmla="*/ 13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8" h="135">
                    <a:moveTo>
                      <a:pt x="88" y="130"/>
                    </a:moveTo>
                    <a:cubicBezTo>
                      <a:pt x="65" y="135"/>
                      <a:pt x="78" y="133"/>
                      <a:pt x="48" y="132"/>
                    </a:cubicBezTo>
                    <a:cubicBezTo>
                      <a:pt x="46" y="113"/>
                      <a:pt x="49" y="113"/>
                      <a:pt x="33" y="109"/>
                    </a:cubicBezTo>
                    <a:cubicBezTo>
                      <a:pt x="26" y="100"/>
                      <a:pt x="18" y="103"/>
                      <a:pt x="6" y="102"/>
                    </a:cubicBezTo>
                    <a:cubicBezTo>
                      <a:pt x="7" y="82"/>
                      <a:pt x="0" y="70"/>
                      <a:pt x="15" y="61"/>
                    </a:cubicBezTo>
                    <a:cubicBezTo>
                      <a:pt x="24" y="50"/>
                      <a:pt x="14" y="37"/>
                      <a:pt x="19" y="24"/>
                    </a:cubicBezTo>
                    <a:cubicBezTo>
                      <a:pt x="21" y="15"/>
                      <a:pt x="21" y="10"/>
                      <a:pt x="25" y="6"/>
                    </a:cubicBezTo>
                    <a:cubicBezTo>
                      <a:pt x="27" y="3"/>
                      <a:pt x="28" y="4"/>
                      <a:pt x="31" y="3"/>
                    </a:cubicBezTo>
                    <a:cubicBezTo>
                      <a:pt x="34" y="2"/>
                      <a:pt x="39" y="0"/>
                      <a:pt x="45" y="0"/>
                    </a:cubicBezTo>
                    <a:cubicBezTo>
                      <a:pt x="52" y="0"/>
                      <a:pt x="63" y="3"/>
                      <a:pt x="70" y="4"/>
                    </a:cubicBezTo>
                    <a:cubicBezTo>
                      <a:pt x="77" y="6"/>
                      <a:pt x="85" y="8"/>
                      <a:pt x="90" y="9"/>
                    </a:cubicBezTo>
                    <a:cubicBezTo>
                      <a:pt x="95" y="10"/>
                      <a:pt x="95" y="10"/>
                      <a:pt x="99" y="9"/>
                    </a:cubicBezTo>
                    <a:cubicBezTo>
                      <a:pt x="103" y="9"/>
                      <a:pt x="109" y="4"/>
                      <a:pt x="115" y="4"/>
                    </a:cubicBezTo>
                    <a:cubicBezTo>
                      <a:pt x="121" y="3"/>
                      <a:pt x="128" y="3"/>
                      <a:pt x="133" y="3"/>
                    </a:cubicBezTo>
                    <a:cubicBezTo>
                      <a:pt x="141" y="2"/>
                      <a:pt x="144" y="6"/>
                      <a:pt x="148" y="6"/>
                    </a:cubicBezTo>
                    <a:cubicBezTo>
                      <a:pt x="152" y="6"/>
                      <a:pt x="156" y="3"/>
                      <a:pt x="160" y="4"/>
                    </a:cubicBezTo>
                    <a:cubicBezTo>
                      <a:pt x="164" y="5"/>
                      <a:pt x="168" y="9"/>
                      <a:pt x="171" y="13"/>
                    </a:cubicBezTo>
                    <a:cubicBezTo>
                      <a:pt x="172" y="20"/>
                      <a:pt x="172" y="23"/>
                      <a:pt x="178" y="27"/>
                    </a:cubicBezTo>
                    <a:cubicBezTo>
                      <a:pt x="174" y="32"/>
                      <a:pt x="171" y="34"/>
                      <a:pt x="166" y="37"/>
                    </a:cubicBezTo>
                    <a:cubicBezTo>
                      <a:pt x="165" y="43"/>
                      <a:pt x="164" y="47"/>
                      <a:pt x="160" y="52"/>
                    </a:cubicBezTo>
                    <a:cubicBezTo>
                      <a:pt x="159" y="59"/>
                      <a:pt x="162" y="59"/>
                      <a:pt x="156" y="63"/>
                    </a:cubicBezTo>
                    <a:cubicBezTo>
                      <a:pt x="155" y="69"/>
                      <a:pt x="153" y="73"/>
                      <a:pt x="151" y="78"/>
                    </a:cubicBezTo>
                    <a:cubicBezTo>
                      <a:pt x="149" y="83"/>
                      <a:pt x="143" y="81"/>
                      <a:pt x="141" y="85"/>
                    </a:cubicBezTo>
                    <a:cubicBezTo>
                      <a:pt x="139" y="89"/>
                      <a:pt x="139" y="97"/>
                      <a:pt x="136" y="100"/>
                    </a:cubicBezTo>
                    <a:cubicBezTo>
                      <a:pt x="131" y="110"/>
                      <a:pt x="136" y="106"/>
                      <a:pt x="121" y="103"/>
                    </a:cubicBezTo>
                    <a:cubicBezTo>
                      <a:pt x="115" y="99"/>
                      <a:pt x="116" y="104"/>
                      <a:pt x="109" y="105"/>
                    </a:cubicBezTo>
                    <a:cubicBezTo>
                      <a:pt x="108" y="112"/>
                      <a:pt x="101" y="111"/>
                      <a:pt x="94" y="112"/>
                    </a:cubicBezTo>
                    <a:cubicBezTo>
                      <a:pt x="93" y="125"/>
                      <a:pt x="92" y="124"/>
                      <a:pt x="88" y="13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6" name="Freeform 50">
                <a:extLst>
                  <a:ext uri="{FF2B5EF4-FFF2-40B4-BE49-F238E27FC236}">
                    <a16:creationId xmlns:a16="http://schemas.microsoft.com/office/drawing/2014/main" id="{01C38DA5-7E89-457A-8F23-6A1FA5BCC9C0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gray">
              <a:xfrm>
                <a:off x="4246563" y="3925888"/>
                <a:ext cx="104775" cy="149225"/>
              </a:xfrm>
              <a:custGeom>
                <a:avLst/>
                <a:gdLst>
                  <a:gd name="T0" fmla="*/ 65 w 65"/>
                  <a:gd name="T1" fmla="*/ 0 h 94"/>
                  <a:gd name="T2" fmla="*/ 14 w 65"/>
                  <a:gd name="T3" fmla="*/ 6 h 94"/>
                  <a:gd name="T4" fmla="*/ 18 w 65"/>
                  <a:gd name="T5" fmla="*/ 48 h 94"/>
                  <a:gd name="T6" fmla="*/ 10 w 65"/>
                  <a:gd name="T7" fmla="*/ 70 h 94"/>
                  <a:gd name="T8" fmla="*/ 28 w 65"/>
                  <a:gd name="T9" fmla="*/ 94 h 94"/>
                  <a:gd name="T10" fmla="*/ 58 w 65"/>
                  <a:gd name="T11" fmla="*/ 86 h 94"/>
                  <a:gd name="T12" fmla="*/ 57 w 65"/>
                  <a:gd name="T13" fmla="*/ 50 h 94"/>
                  <a:gd name="T14" fmla="*/ 51 w 65"/>
                  <a:gd name="T15" fmla="*/ 23 h 94"/>
                  <a:gd name="T16" fmla="*/ 65 w 65"/>
                  <a:gd name="T17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94">
                    <a:moveTo>
                      <a:pt x="65" y="0"/>
                    </a:moveTo>
                    <a:cubicBezTo>
                      <a:pt x="48" y="1"/>
                      <a:pt x="31" y="3"/>
                      <a:pt x="14" y="6"/>
                    </a:cubicBezTo>
                    <a:cubicBezTo>
                      <a:pt x="0" y="8"/>
                      <a:pt x="18" y="48"/>
                      <a:pt x="18" y="48"/>
                    </a:cubicBezTo>
                    <a:cubicBezTo>
                      <a:pt x="15" y="56"/>
                      <a:pt x="12" y="61"/>
                      <a:pt x="10" y="70"/>
                    </a:cubicBezTo>
                    <a:cubicBezTo>
                      <a:pt x="12" y="83"/>
                      <a:pt x="16" y="90"/>
                      <a:pt x="28" y="94"/>
                    </a:cubicBezTo>
                    <a:cubicBezTo>
                      <a:pt x="44" y="92"/>
                      <a:pt x="45" y="90"/>
                      <a:pt x="58" y="86"/>
                    </a:cubicBezTo>
                    <a:cubicBezTo>
                      <a:pt x="63" y="79"/>
                      <a:pt x="58" y="60"/>
                      <a:pt x="57" y="50"/>
                    </a:cubicBezTo>
                    <a:cubicBezTo>
                      <a:pt x="56" y="40"/>
                      <a:pt x="50" y="31"/>
                      <a:pt x="51" y="23"/>
                    </a:cubicBezTo>
                    <a:cubicBezTo>
                      <a:pt x="53" y="16"/>
                      <a:pt x="62" y="6"/>
                      <a:pt x="65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1" name="Freeform 51">
                <a:extLst>
                  <a:ext uri="{FF2B5EF4-FFF2-40B4-BE49-F238E27FC236}">
                    <a16:creationId xmlns:a16="http://schemas.microsoft.com/office/drawing/2014/main" id="{CC8EE26B-AD31-4DFB-A99B-B6BAD4FECD4E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gray">
              <a:xfrm>
                <a:off x="4130676" y="3944938"/>
                <a:ext cx="153988" cy="142875"/>
              </a:xfrm>
              <a:custGeom>
                <a:avLst/>
                <a:gdLst>
                  <a:gd name="T0" fmla="*/ 75 w 95"/>
                  <a:gd name="T1" fmla="*/ 0 h 90"/>
                  <a:gd name="T2" fmla="*/ 62 w 95"/>
                  <a:gd name="T3" fmla="*/ 11 h 90"/>
                  <a:gd name="T4" fmla="*/ 51 w 95"/>
                  <a:gd name="T5" fmla="*/ 2 h 90"/>
                  <a:gd name="T6" fmla="*/ 18 w 95"/>
                  <a:gd name="T7" fmla="*/ 2 h 90"/>
                  <a:gd name="T8" fmla="*/ 6 w 95"/>
                  <a:gd name="T9" fmla="*/ 4 h 90"/>
                  <a:gd name="T10" fmla="*/ 9 w 95"/>
                  <a:gd name="T11" fmla="*/ 36 h 90"/>
                  <a:gd name="T12" fmla="*/ 0 w 95"/>
                  <a:gd name="T13" fmla="*/ 50 h 90"/>
                  <a:gd name="T14" fmla="*/ 12 w 95"/>
                  <a:gd name="T15" fmla="*/ 70 h 90"/>
                  <a:gd name="T16" fmla="*/ 24 w 95"/>
                  <a:gd name="T17" fmla="*/ 90 h 90"/>
                  <a:gd name="T18" fmla="*/ 64 w 95"/>
                  <a:gd name="T19" fmla="*/ 76 h 90"/>
                  <a:gd name="T20" fmla="*/ 82 w 95"/>
                  <a:gd name="T21" fmla="*/ 58 h 90"/>
                  <a:gd name="T22" fmla="*/ 89 w 95"/>
                  <a:gd name="T23" fmla="*/ 41 h 90"/>
                  <a:gd name="T24" fmla="*/ 90 w 95"/>
                  <a:gd name="T25" fmla="*/ 30 h 90"/>
                  <a:gd name="T26" fmla="*/ 83 w 95"/>
                  <a:gd name="T27" fmla="*/ 15 h 90"/>
                  <a:gd name="T28" fmla="*/ 75 w 95"/>
                  <a:gd name="T2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5" h="90">
                    <a:moveTo>
                      <a:pt x="75" y="0"/>
                    </a:moveTo>
                    <a:cubicBezTo>
                      <a:pt x="67" y="11"/>
                      <a:pt x="78" y="3"/>
                      <a:pt x="62" y="11"/>
                    </a:cubicBezTo>
                    <a:cubicBezTo>
                      <a:pt x="58" y="10"/>
                      <a:pt x="58" y="3"/>
                      <a:pt x="51" y="2"/>
                    </a:cubicBezTo>
                    <a:cubicBezTo>
                      <a:pt x="44" y="1"/>
                      <a:pt x="25" y="2"/>
                      <a:pt x="18" y="2"/>
                    </a:cubicBezTo>
                    <a:cubicBezTo>
                      <a:pt x="14" y="3"/>
                      <a:pt x="9" y="1"/>
                      <a:pt x="6" y="4"/>
                    </a:cubicBezTo>
                    <a:cubicBezTo>
                      <a:pt x="5" y="5"/>
                      <a:pt x="7" y="30"/>
                      <a:pt x="9" y="36"/>
                    </a:cubicBezTo>
                    <a:cubicBezTo>
                      <a:pt x="6" y="44"/>
                      <a:pt x="4" y="43"/>
                      <a:pt x="0" y="50"/>
                    </a:cubicBezTo>
                    <a:cubicBezTo>
                      <a:pt x="4" y="61"/>
                      <a:pt x="0" y="67"/>
                      <a:pt x="12" y="70"/>
                    </a:cubicBezTo>
                    <a:cubicBezTo>
                      <a:pt x="18" y="78"/>
                      <a:pt x="14" y="87"/>
                      <a:pt x="24" y="90"/>
                    </a:cubicBezTo>
                    <a:cubicBezTo>
                      <a:pt x="42" y="72"/>
                      <a:pt x="18" y="79"/>
                      <a:pt x="64" y="76"/>
                    </a:cubicBezTo>
                    <a:cubicBezTo>
                      <a:pt x="82" y="80"/>
                      <a:pt x="95" y="78"/>
                      <a:pt x="82" y="58"/>
                    </a:cubicBezTo>
                    <a:cubicBezTo>
                      <a:pt x="85" y="53"/>
                      <a:pt x="88" y="46"/>
                      <a:pt x="89" y="41"/>
                    </a:cubicBezTo>
                    <a:cubicBezTo>
                      <a:pt x="90" y="36"/>
                      <a:pt x="91" y="34"/>
                      <a:pt x="90" y="30"/>
                    </a:cubicBezTo>
                    <a:cubicBezTo>
                      <a:pt x="90" y="23"/>
                      <a:pt x="85" y="19"/>
                      <a:pt x="83" y="15"/>
                    </a:cubicBezTo>
                    <a:cubicBezTo>
                      <a:pt x="80" y="10"/>
                      <a:pt x="81" y="5"/>
                      <a:pt x="75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2" name="Freeform 52">
                <a:extLst>
                  <a:ext uri="{FF2B5EF4-FFF2-40B4-BE49-F238E27FC236}">
                    <a16:creationId xmlns:a16="http://schemas.microsoft.com/office/drawing/2014/main" id="{5232A9CD-96BF-42F1-8471-B50B4FDE9C58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gray">
              <a:xfrm>
                <a:off x="4719638" y="4727575"/>
                <a:ext cx="393700" cy="352425"/>
              </a:xfrm>
              <a:custGeom>
                <a:avLst/>
                <a:gdLst>
                  <a:gd name="T0" fmla="*/ 15 w 244"/>
                  <a:gd name="T1" fmla="*/ 100 h 222"/>
                  <a:gd name="T2" fmla="*/ 16 w 244"/>
                  <a:gd name="T3" fmla="*/ 128 h 222"/>
                  <a:gd name="T4" fmla="*/ 30 w 244"/>
                  <a:gd name="T5" fmla="*/ 149 h 222"/>
                  <a:gd name="T6" fmla="*/ 37 w 244"/>
                  <a:gd name="T7" fmla="*/ 193 h 222"/>
                  <a:gd name="T8" fmla="*/ 51 w 244"/>
                  <a:gd name="T9" fmla="*/ 205 h 222"/>
                  <a:gd name="T10" fmla="*/ 84 w 244"/>
                  <a:gd name="T11" fmla="*/ 206 h 222"/>
                  <a:gd name="T12" fmla="*/ 144 w 244"/>
                  <a:gd name="T13" fmla="*/ 199 h 222"/>
                  <a:gd name="T14" fmla="*/ 166 w 244"/>
                  <a:gd name="T15" fmla="*/ 194 h 222"/>
                  <a:gd name="T16" fmla="*/ 177 w 244"/>
                  <a:gd name="T17" fmla="*/ 182 h 222"/>
                  <a:gd name="T18" fmla="*/ 192 w 244"/>
                  <a:gd name="T19" fmla="*/ 167 h 222"/>
                  <a:gd name="T20" fmla="*/ 207 w 244"/>
                  <a:gd name="T21" fmla="*/ 152 h 222"/>
                  <a:gd name="T22" fmla="*/ 216 w 244"/>
                  <a:gd name="T23" fmla="*/ 139 h 222"/>
                  <a:gd name="T24" fmla="*/ 243 w 244"/>
                  <a:gd name="T25" fmla="*/ 112 h 222"/>
                  <a:gd name="T26" fmla="*/ 244 w 244"/>
                  <a:gd name="T27" fmla="*/ 83 h 222"/>
                  <a:gd name="T28" fmla="*/ 235 w 244"/>
                  <a:gd name="T29" fmla="*/ 71 h 222"/>
                  <a:gd name="T30" fmla="*/ 241 w 244"/>
                  <a:gd name="T31" fmla="*/ 52 h 222"/>
                  <a:gd name="T32" fmla="*/ 231 w 244"/>
                  <a:gd name="T33" fmla="*/ 41 h 222"/>
                  <a:gd name="T34" fmla="*/ 231 w 244"/>
                  <a:gd name="T35" fmla="*/ 22 h 222"/>
                  <a:gd name="T36" fmla="*/ 223 w 244"/>
                  <a:gd name="T37" fmla="*/ 14 h 222"/>
                  <a:gd name="T38" fmla="*/ 213 w 244"/>
                  <a:gd name="T39" fmla="*/ 2 h 222"/>
                  <a:gd name="T40" fmla="*/ 191 w 244"/>
                  <a:gd name="T41" fmla="*/ 3 h 222"/>
                  <a:gd name="T42" fmla="*/ 169 w 244"/>
                  <a:gd name="T43" fmla="*/ 11 h 222"/>
                  <a:gd name="T44" fmla="*/ 163 w 244"/>
                  <a:gd name="T45" fmla="*/ 26 h 222"/>
                  <a:gd name="T46" fmla="*/ 156 w 244"/>
                  <a:gd name="T47" fmla="*/ 37 h 222"/>
                  <a:gd name="T48" fmla="*/ 157 w 244"/>
                  <a:gd name="T49" fmla="*/ 40 h 222"/>
                  <a:gd name="T50" fmla="*/ 145 w 244"/>
                  <a:gd name="T51" fmla="*/ 47 h 222"/>
                  <a:gd name="T52" fmla="*/ 132 w 244"/>
                  <a:gd name="T53" fmla="*/ 50 h 222"/>
                  <a:gd name="T54" fmla="*/ 115 w 244"/>
                  <a:gd name="T55" fmla="*/ 56 h 222"/>
                  <a:gd name="T56" fmla="*/ 91 w 244"/>
                  <a:gd name="T57" fmla="*/ 64 h 222"/>
                  <a:gd name="T58" fmla="*/ 70 w 244"/>
                  <a:gd name="T59" fmla="*/ 77 h 222"/>
                  <a:gd name="T60" fmla="*/ 64 w 244"/>
                  <a:gd name="T61" fmla="*/ 89 h 222"/>
                  <a:gd name="T62" fmla="*/ 52 w 244"/>
                  <a:gd name="T63" fmla="*/ 106 h 222"/>
                  <a:gd name="T64" fmla="*/ 36 w 244"/>
                  <a:gd name="T65" fmla="*/ 111 h 222"/>
                  <a:gd name="T66" fmla="*/ 24 w 244"/>
                  <a:gd name="T67" fmla="*/ 110 h 222"/>
                  <a:gd name="T68" fmla="*/ 15 w 244"/>
                  <a:gd name="T69" fmla="*/ 10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4" h="222">
                    <a:moveTo>
                      <a:pt x="15" y="100"/>
                    </a:moveTo>
                    <a:cubicBezTo>
                      <a:pt x="0" y="102"/>
                      <a:pt x="7" y="122"/>
                      <a:pt x="16" y="128"/>
                    </a:cubicBezTo>
                    <a:cubicBezTo>
                      <a:pt x="22" y="138"/>
                      <a:pt x="20" y="143"/>
                      <a:pt x="30" y="149"/>
                    </a:cubicBezTo>
                    <a:cubicBezTo>
                      <a:pt x="33" y="164"/>
                      <a:pt x="22" y="185"/>
                      <a:pt x="37" y="193"/>
                    </a:cubicBezTo>
                    <a:cubicBezTo>
                      <a:pt x="40" y="203"/>
                      <a:pt x="41" y="203"/>
                      <a:pt x="51" y="205"/>
                    </a:cubicBezTo>
                    <a:cubicBezTo>
                      <a:pt x="53" y="222"/>
                      <a:pt x="73" y="208"/>
                      <a:pt x="84" y="206"/>
                    </a:cubicBezTo>
                    <a:cubicBezTo>
                      <a:pt x="103" y="197"/>
                      <a:pt x="167" y="216"/>
                      <a:pt x="144" y="199"/>
                    </a:cubicBezTo>
                    <a:cubicBezTo>
                      <a:pt x="155" y="191"/>
                      <a:pt x="138" y="202"/>
                      <a:pt x="166" y="194"/>
                    </a:cubicBezTo>
                    <a:cubicBezTo>
                      <a:pt x="168" y="193"/>
                      <a:pt x="174" y="184"/>
                      <a:pt x="177" y="182"/>
                    </a:cubicBezTo>
                    <a:cubicBezTo>
                      <a:pt x="181" y="176"/>
                      <a:pt x="186" y="171"/>
                      <a:pt x="192" y="167"/>
                    </a:cubicBezTo>
                    <a:cubicBezTo>
                      <a:pt x="198" y="160"/>
                      <a:pt x="199" y="155"/>
                      <a:pt x="207" y="152"/>
                    </a:cubicBezTo>
                    <a:cubicBezTo>
                      <a:pt x="210" y="148"/>
                      <a:pt x="213" y="143"/>
                      <a:pt x="216" y="139"/>
                    </a:cubicBezTo>
                    <a:cubicBezTo>
                      <a:pt x="217" y="125"/>
                      <a:pt x="229" y="113"/>
                      <a:pt x="243" y="112"/>
                    </a:cubicBezTo>
                    <a:cubicBezTo>
                      <a:pt x="239" y="102"/>
                      <a:pt x="242" y="93"/>
                      <a:pt x="244" y="83"/>
                    </a:cubicBezTo>
                    <a:cubicBezTo>
                      <a:pt x="240" y="78"/>
                      <a:pt x="237" y="77"/>
                      <a:pt x="235" y="71"/>
                    </a:cubicBezTo>
                    <a:cubicBezTo>
                      <a:pt x="234" y="66"/>
                      <a:pt x="243" y="61"/>
                      <a:pt x="241" y="52"/>
                    </a:cubicBezTo>
                    <a:cubicBezTo>
                      <a:pt x="240" y="47"/>
                      <a:pt x="233" y="46"/>
                      <a:pt x="231" y="41"/>
                    </a:cubicBezTo>
                    <a:cubicBezTo>
                      <a:pt x="229" y="36"/>
                      <a:pt x="232" y="26"/>
                      <a:pt x="231" y="22"/>
                    </a:cubicBezTo>
                    <a:cubicBezTo>
                      <a:pt x="230" y="18"/>
                      <a:pt x="226" y="17"/>
                      <a:pt x="223" y="14"/>
                    </a:cubicBezTo>
                    <a:cubicBezTo>
                      <a:pt x="222" y="6"/>
                      <a:pt x="221" y="5"/>
                      <a:pt x="213" y="2"/>
                    </a:cubicBezTo>
                    <a:cubicBezTo>
                      <a:pt x="208" y="0"/>
                      <a:pt x="198" y="2"/>
                      <a:pt x="191" y="3"/>
                    </a:cubicBezTo>
                    <a:cubicBezTo>
                      <a:pt x="184" y="4"/>
                      <a:pt x="174" y="7"/>
                      <a:pt x="169" y="11"/>
                    </a:cubicBezTo>
                    <a:cubicBezTo>
                      <a:pt x="166" y="16"/>
                      <a:pt x="166" y="21"/>
                      <a:pt x="163" y="26"/>
                    </a:cubicBezTo>
                    <a:cubicBezTo>
                      <a:pt x="161" y="30"/>
                      <a:pt x="157" y="35"/>
                      <a:pt x="156" y="37"/>
                    </a:cubicBezTo>
                    <a:cubicBezTo>
                      <a:pt x="155" y="39"/>
                      <a:pt x="159" y="38"/>
                      <a:pt x="157" y="40"/>
                    </a:cubicBezTo>
                    <a:cubicBezTo>
                      <a:pt x="155" y="42"/>
                      <a:pt x="149" y="45"/>
                      <a:pt x="145" y="47"/>
                    </a:cubicBezTo>
                    <a:cubicBezTo>
                      <a:pt x="141" y="53"/>
                      <a:pt x="139" y="49"/>
                      <a:pt x="132" y="50"/>
                    </a:cubicBezTo>
                    <a:cubicBezTo>
                      <a:pt x="126" y="55"/>
                      <a:pt x="122" y="59"/>
                      <a:pt x="115" y="56"/>
                    </a:cubicBezTo>
                    <a:cubicBezTo>
                      <a:pt x="108" y="49"/>
                      <a:pt x="99" y="59"/>
                      <a:pt x="91" y="64"/>
                    </a:cubicBezTo>
                    <a:cubicBezTo>
                      <a:pt x="86" y="70"/>
                      <a:pt x="76" y="73"/>
                      <a:pt x="70" y="77"/>
                    </a:cubicBezTo>
                    <a:cubicBezTo>
                      <a:pt x="64" y="81"/>
                      <a:pt x="67" y="84"/>
                      <a:pt x="64" y="89"/>
                    </a:cubicBezTo>
                    <a:cubicBezTo>
                      <a:pt x="61" y="94"/>
                      <a:pt x="55" y="102"/>
                      <a:pt x="52" y="106"/>
                    </a:cubicBezTo>
                    <a:cubicBezTo>
                      <a:pt x="47" y="110"/>
                      <a:pt x="41" y="110"/>
                      <a:pt x="36" y="111"/>
                    </a:cubicBezTo>
                    <a:cubicBezTo>
                      <a:pt x="31" y="112"/>
                      <a:pt x="27" y="112"/>
                      <a:pt x="24" y="110"/>
                    </a:cubicBezTo>
                    <a:cubicBezTo>
                      <a:pt x="20" y="107"/>
                      <a:pt x="19" y="104"/>
                      <a:pt x="15" y="10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3" name="Freeform 53">
                <a:extLst>
                  <a:ext uri="{FF2B5EF4-FFF2-40B4-BE49-F238E27FC236}">
                    <a16:creationId xmlns:a16="http://schemas.microsoft.com/office/drawing/2014/main" id="{A668EDDD-0531-4988-9A3E-733F44398DE1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gray">
              <a:xfrm>
                <a:off x="4972051" y="4892675"/>
                <a:ext cx="68263" cy="80963"/>
              </a:xfrm>
              <a:custGeom>
                <a:avLst/>
                <a:gdLst>
                  <a:gd name="T0" fmla="*/ 21 w 43"/>
                  <a:gd name="T1" fmla="*/ 5 h 51"/>
                  <a:gd name="T2" fmla="*/ 7 w 43"/>
                  <a:gd name="T3" fmla="*/ 12 h 51"/>
                  <a:gd name="T4" fmla="*/ 9 w 43"/>
                  <a:gd name="T5" fmla="*/ 23 h 51"/>
                  <a:gd name="T6" fmla="*/ 10 w 43"/>
                  <a:gd name="T7" fmla="*/ 39 h 51"/>
                  <a:gd name="T8" fmla="*/ 36 w 43"/>
                  <a:gd name="T9" fmla="*/ 27 h 51"/>
                  <a:gd name="T10" fmla="*/ 25 w 43"/>
                  <a:gd name="T11" fmla="*/ 0 h 51"/>
                  <a:gd name="T12" fmla="*/ 21 w 43"/>
                  <a:gd name="T13" fmla="*/ 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51">
                    <a:moveTo>
                      <a:pt x="21" y="5"/>
                    </a:moveTo>
                    <a:cubicBezTo>
                      <a:pt x="12" y="7"/>
                      <a:pt x="16" y="10"/>
                      <a:pt x="7" y="12"/>
                    </a:cubicBezTo>
                    <a:cubicBezTo>
                      <a:pt x="0" y="16"/>
                      <a:pt x="3" y="20"/>
                      <a:pt x="9" y="23"/>
                    </a:cubicBezTo>
                    <a:cubicBezTo>
                      <a:pt x="9" y="28"/>
                      <a:pt x="6" y="36"/>
                      <a:pt x="10" y="39"/>
                    </a:cubicBezTo>
                    <a:cubicBezTo>
                      <a:pt x="24" y="51"/>
                      <a:pt x="28" y="30"/>
                      <a:pt x="36" y="27"/>
                    </a:cubicBezTo>
                    <a:cubicBezTo>
                      <a:pt x="43" y="13"/>
                      <a:pt x="39" y="6"/>
                      <a:pt x="25" y="0"/>
                    </a:cubicBezTo>
                    <a:cubicBezTo>
                      <a:pt x="23" y="1"/>
                      <a:pt x="8" y="8"/>
                      <a:pt x="21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4" name="Freeform 54">
                <a:extLst>
                  <a:ext uri="{FF2B5EF4-FFF2-40B4-BE49-F238E27FC236}">
                    <a16:creationId xmlns:a16="http://schemas.microsoft.com/office/drawing/2014/main" id="{F71A078F-8306-4D28-AB94-B064A69646ED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gray">
              <a:xfrm>
                <a:off x="4610101" y="4597400"/>
                <a:ext cx="247650" cy="307975"/>
              </a:xfrm>
              <a:custGeom>
                <a:avLst/>
                <a:gdLst>
                  <a:gd name="T0" fmla="*/ 75 w 154"/>
                  <a:gd name="T1" fmla="*/ 191 h 194"/>
                  <a:gd name="T2" fmla="*/ 60 w 154"/>
                  <a:gd name="T3" fmla="*/ 179 h 194"/>
                  <a:gd name="T4" fmla="*/ 53 w 154"/>
                  <a:gd name="T5" fmla="*/ 165 h 194"/>
                  <a:gd name="T6" fmla="*/ 47 w 154"/>
                  <a:gd name="T7" fmla="*/ 120 h 194"/>
                  <a:gd name="T8" fmla="*/ 24 w 154"/>
                  <a:gd name="T9" fmla="*/ 51 h 194"/>
                  <a:gd name="T10" fmla="*/ 8 w 154"/>
                  <a:gd name="T11" fmla="*/ 24 h 194"/>
                  <a:gd name="T12" fmla="*/ 0 w 154"/>
                  <a:gd name="T13" fmla="*/ 11 h 194"/>
                  <a:gd name="T14" fmla="*/ 24 w 154"/>
                  <a:gd name="T15" fmla="*/ 0 h 194"/>
                  <a:gd name="T16" fmla="*/ 39 w 154"/>
                  <a:gd name="T17" fmla="*/ 11 h 194"/>
                  <a:gd name="T18" fmla="*/ 101 w 154"/>
                  <a:gd name="T19" fmla="*/ 8 h 194"/>
                  <a:gd name="T20" fmla="*/ 107 w 154"/>
                  <a:gd name="T21" fmla="*/ 12 h 194"/>
                  <a:gd name="T22" fmla="*/ 141 w 154"/>
                  <a:gd name="T23" fmla="*/ 20 h 194"/>
                  <a:gd name="T24" fmla="*/ 125 w 154"/>
                  <a:gd name="T25" fmla="*/ 84 h 194"/>
                  <a:gd name="T26" fmla="*/ 128 w 154"/>
                  <a:gd name="T27" fmla="*/ 131 h 194"/>
                  <a:gd name="T28" fmla="*/ 137 w 154"/>
                  <a:gd name="T29" fmla="*/ 156 h 194"/>
                  <a:gd name="T30" fmla="*/ 131 w 154"/>
                  <a:gd name="T31" fmla="*/ 167 h 194"/>
                  <a:gd name="T32" fmla="*/ 111 w 154"/>
                  <a:gd name="T33" fmla="*/ 192 h 194"/>
                  <a:gd name="T34" fmla="*/ 81 w 154"/>
                  <a:gd name="T35" fmla="*/ 185 h 194"/>
                  <a:gd name="T36" fmla="*/ 75 w 154"/>
                  <a:gd name="T37" fmla="*/ 191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4" h="194">
                    <a:moveTo>
                      <a:pt x="75" y="191"/>
                    </a:moveTo>
                    <a:cubicBezTo>
                      <a:pt x="70" y="184"/>
                      <a:pt x="69" y="181"/>
                      <a:pt x="60" y="179"/>
                    </a:cubicBezTo>
                    <a:cubicBezTo>
                      <a:pt x="59" y="173"/>
                      <a:pt x="56" y="170"/>
                      <a:pt x="53" y="165"/>
                    </a:cubicBezTo>
                    <a:cubicBezTo>
                      <a:pt x="51" y="150"/>
                      <a:pt x="55" y="133"/>
                      <a:pt x="47" y="120"/>
                    </a:cubicBezTo>
                    <a:cubicBezTo>
                      <a:pt x="45" y="82"/>
                      <a:pt x="41" y="80"/>
                      <a:pt x="24" y="51"/>
                    </a:cubicBezTo>
                    <a:cubicBezTo>
                      <a:pt x="22" y="38"/>
                      <a:pt x="18" y="32"/>
                      <a:pt x="8" y="24"/>
                    </a:cubicBezTo>
                    <a:cubicBezTo>
                      <a:pt x="6" y="19"/>
                      <a:pt x="3" y="15"/>
                      <a:pt x="0" y="11"/>
                    </a:cubicBezTo>
                    <a:cubicBezTo>
                      <a:pt x="3" y="3"/>
                      <a:pt x="16" y="4"/>
                      <a:pt x="24" y="0"/>
                    </a:cubicBezTo>
                    <a:cubicBezTo>
                      <a:pt x="29" y="2"/>
                      <a:pt x="34" y="9"/>
                      <a:pt x="39" y="11"/>
                    </a:cubicBezTo>
                    <a:cubicBezTo>
                      <a:pt x="52" y="13"/>
                      <a:pt x="84" y="7"/>
                      <a:pt x="101" y="8"/>
                    </a:cubicBezTo>
                    <a:cubicBezTo>
                      <a:pt x="112" y="8"/>
                      <a:pt x="100" y="10"/>
                      <a:pt x="107" y="12"/>
                    </a:cubicBezTo>
                    <a:cubicBezTo>
                      <a:pt x="114" y="14"/>
                      <a:pt x="138" y="8"/>
                      <a:pt x="141" y="20"/>
                    </a:cubicBezTo>
                    <a:cubicBezTo>
                      <a:pt x="140" y="43"/>
                      <a:pt x="154" y="81"/>
                      <a:pt x="125" y="84"/>
                    </a:cubicBezTo>
                    <a:cubicBezTo>
                      <a:pt x="123" y="103"/>
                      <a:pt x="127" y="117"/>
                      <a:pt x="128" y="131"/>
                    </a:cubicBezTo>
                    <a:cubicBezTo>
                      <a:pt x="130" y="143"/>
                      <a:pt x="137" y="150"/>
                      <a:pt x="137" y="156"/>
                    </a:cubicBezTo>
                    <a:cubicBezTo>
                      <a:pt x="137" y="162"/>
                      <a:pt x="135" y="161"/>
                      <a:pt x="131" y="167"/>
                    </a:cubicBezTo>
                    <a:cubicBezTo>
                      <a:pt x="127" y="173"/>
                      <a:pt x="119" y="189"/>
                      <a:pt x="111" y="192"/>
                    </a:cubicBezTo>
                    <a:cubicBezTo>
                      <a:pt x="93" y="191"/>
                      <a:pt x="92" y="194"/>
                      <a:pt x="81" y="185"/>
                    </a:cubicBezTo>
                    <a:cubicBezTo>
                      <a:pt x="77" y="186"/>
                      <a:pt x="66" y="187"/>
                      <a:pt x="75" y="19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5" name="Freeform 55">
                <a:extLst>
                  <a:ext uri="{FF2B5EF4-FFF2-40B4-BE49-F238E27FC236}">
                    <a16:creationId xmlns:a16="http://schemas.microsoft.com/office/drawing/2014/main" id="{01C3CC8B-A705-45A4-8A72-BCAB83A19D2F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gray">
              <a:xfrm>
                <a:off x="4808538" y="4606925"/>
                <a:ext cx="239713" cy="255588"/>
              </a:xfrm>
              <a:custGeom>
                <a:avLst/>
                <a:gdLst>
                  <a:gd name="T0" fmla="*/ 20 w 149"/>
                  <a:gd name="T1" fmla="*/ 11 h 161"/>
                  <a:gd name="T2" fmla="*/ 20 w 149"/>
                  <a:gd name="T3" fmla="*/ 21 h 161"/>
                  <a:gd name="T4" fmla="*/ 20 w 149"/>
                  <a:gd name="T5" fmla="*/ 35 h 161"/>
                  <a:gd name="T6" fmla="*/ 20 w 149"/>
                  <a:gd name="T7" fmla="*/ 48 h 161"/>
                  <a:gd name="T8" fmla="*/ 18 w 149"/>
                  <a:gd name="T9" fmla="*/ 69 h 161"/>
                  <a:gd name="T10" fmla="*/ 3 w 149"/>
                  <a:gd name="T11" fmla="*/ 84 h 161"/>
                  <a:gd name="T12" fmla="*/ 2 w 149"/>
                  <a:gd name="T13" fmla="*/ 94 h 161"/>
                  <a:gd name="T14" fmla="*/ 3 w 149"/>
                  <a:gd name="T15" fmla="*/ 123 h 161"/>
                  <a:gd name="T16" fmla="*/ 14 w 149"/>
                  <a:gd name="T17" fmla="*/ 147 h 161"/>
                  <a:gd name="T18" fmla="*/ 32 w 149"/>
                  <a:gd name="T19" fmla="*/ 144 h 161"/>
                  <a:gd name="T20" fmla="*/ 47 w 149"/>
                  <a:gd name="T21" fmla="*/ 129 h 161"/>
                  <a:gd name="T22" fmla="*/ 66 w 149"/>
                  <a:gd name="T23" fmla="*/ 131 h 161"/>
                  <a:gd name="T24" fmla="*/ 80 w 149"/>
                  <a:gd name="T25" fmla="*/ 128 h 161"/>
                  <a:gd name="T26" fmla="*/ 98 w 149"/>
                  <a:gd name="T27" fmla="*/ 117 h 161"/>
                  <a:gd name="T28" fmla="*/ 107 w 149"/>
                  <a:gd name="T29" fmla="*/ 104 h 161"/>
                  <a:gd name="T30" fmla="*/ 116 w 149"/>
                  <a:gd name="T31" fmla="*/ 89 h 161"/>
                  <a:gd name="T32" fmla="*/ 134 w 149"/>
                  <a:gd name="T33" fmla="*/ 81 h 161"/>
                  <a:gd name="T34" fmla="*/ 138 w 149"/>
                  <a:gd name="T35" fmla="*/ 78 h 161"/>
                  <a:gd name="T36" fmla="*/ 137 w 149"/>
                  <a:gd name="T37" fmla="*/ 68 h 161"/>
                  <a:gd name="T38" fmla="*/ 114 w 149"/>
                  <a:gd name="T39" fmla="*/ 63 h 161"/>
                  <a:gd name="T40" fmla="*/ 99 w 149"/>
                  <a:gd name="T41" fmla="*/ 42 h 161"/>
                  <a:gd name="T42" fmla="*/ 84 w 149"/>
                  <a:gd name="T43" fmla="*/ 24 h 161"/>
                  <a:gd name="T44" fmla="*/ 74 w 149"/>
                  <a:gd name="T45" fmla="*/ 9 h 161"/>
                  <a:gd name="T46" fmla="*/ 36 w 149"/>
                  <a:gd name="T47" fmla="*/ 3 h 161"/>
                  <a:gd name="T48" fmla="*/ 24 w 149"/>
                  <a:gd name="T49" fmla="*/ 9 h 161"/>
                  <a:gd name="T50" fmla="*/ 20 w 149"/>
                  <a:gd name="T51" fmla="*/ 1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9" h="161">
                    <a:moveTo>
                      <a:pt x="20" y="11"/>
                    </a:moveTo>
                    <a:cubicBezTo>
                      <a:pt x="19" y="13"/>
                      <a:pt x="20" y="15"/>
                      <a:pt x="20" y="21"/>
                    </a:cubicBezTo>
                    <a:cubicBezTo>
                      <a:pt x="20" y="25"/>
                      <a:pt x="20" y="31"/>
                      <a:pt x="20" y="35"/>
                    </a:cubicBezTo>
                    <a:cubicBezTo>
                      <a:pt x="20" y="39"/>
                      <a:pt x="20" y="42"/>
                      <a:pt x="20" y="48"/>
                    </a:cubicBezTo>
                    <a:cubicBezTo>
                      <a:pt x="20" y="54"/>
                      <a:pt x="21" y="63"/>
                      <a:pt x="18" y="69"/>
                    </a:cubicBezTo>
                    <a:cubicBezTo>
                      <a:pt x="16" y="74"/>
                      <a:pt x="5" y="79"/>
                      <a:pt x="3" y="84"/>
                    </a:cubicBezTo>
                    <a:cubicBezTo>
                      <a:pt x="2" y="88"/>
                      <a:pt x="0" y="86"/>
                      <a:pt x="2" y="94"/>
                    </a:cubicBezTo>
                    <a:cubicBezTo>
                      <a:pt x="2" y="100"/>
                      <a:pt x="1" y="114"/>
                      <a:pt x="3" y="123"/>
                    </a:cubicBezTo>
                    <a:cubicBezTo>
                      <a:pt x="5" y="132"/>
                      <a:pt x="9" y="144"/>
                      <a:pt x="14" y="147"/>
                    </a:cubicBezTo>
                    <a:cubicBezTo>
                      <a:pt x="16" y="161"/>
                      <a:pt x="22" y="150"/>
                      <a:pt x="32" y="144"/>
                    </a:cubicBezTo>
                    <a:cubicBezTo>
                      <a:pt x="38" y="143"/>
                      <a:pt x="41" y="131"/>
                      <a:pt x="47" y="129"/>
                    </a:cubicBezTo>
                    <a:cubicBezTo>
                      <a:pt x="53" y="127"/>
                      <a:pt x="61" y="131"/>
                      <a:pt x="66" y="131"/>
                    </a:cubicBezTo>
                    <a:cubicBezTo>
                      <a:pt x="71" y="131"/>
                      <a:pt x="75" y="130"/>
                      <a:pt x="80" y="128"/>
                    </a:cubicBezTo>
                    <a:cubicBezTo>
                      <a:pt x="90" y="126"/>
                      <a:pt x="90" y="122"/>
                      <a:pt x="98" y="117"/>
                    </a:cubicBezTo>
                    <a:cubicBezTo>
                      <a:pt x="101" y="113"/>
                      <a:pt x="105" y="109"/>
                      <a:pt x="107" y="104"/>
                    </a:cubicBezTo>
                    <a:cubicBezTo>
                      <a:pt x="108" y="95"/>
                      <a:pt x="108" y="94"/>
                      <a:pt x="116" y="89"/>
                    </a:cubicBezTo>
                    <a:cubicBezTo>
                      <a:pt x="120" y="82"/>
                      <a:pt x="126" y="83"/>
                      <a:pt x="134" y="81"/>
                    </a:cubicBezTo>
                    <a:cubicBezTo>
                      <a:pt x="135" y="80"/>
                      <a:pt x="136" y="79"/>
                      <a:pt x="138" y="78"/>
                    </a:cubicBezTo>
                    <a:cubicBezTo>
                      <a:pt x="147" y="74"/>
                      <a:pt x="149" y="70"/>
                      <a:pt x="137" y="68"/>
                    </a:cubicBezTo>
                    <a:cubicBezTo>
                      <a:pt x="129" y="65"/>
                      <a:pt x="122" y="66"/>
                      <a:pt x="114" y="63"/>
                    </a:cubicBezTo>
                    <a:cubicBezTo>
                      <a:pt x="113" y="45"/>
                      <a:pt x="114" y="47"/>
                      <a:pt x="99" y="42"/>
                    </a:cubicBezTo>
                    <a:cubicBezTo>
                      <a:pt x="91" y="36"/>
                      <a:pt x="94" y="28"/>
                      <a:pt x="84" y="24"/>
                    </a:cubicBezTo>
                    <a:cubicBezTo>
                      <a:pt x="80" y="18"/>
                      <a:pt x="81" y="12"/>
                      <a:pt x="74" y="9"/>
                    </a:cubicBezTo>
                    <a:cubicBezTo>
                      <a:pt x="62" y="11"/>
                      <a:pt x="48" y="5"/>
                      <a:pt x="36" y="3"/>
                    </a:cubicBezTo>
                    <a:cubicBezTo>
                      <a:pt x="31" y="0"/>
                      <a:pt x="24" y="9"/>
                      <a:pt x="24" y="9"/>
                    </a:cubicBezTo>
                    <a:cubicBezTo>
                      <a:pt x="23" y="10"/>
                      <a:pt x="20" y="11"/>
                      <a:pt x="20" y="1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6" name="Freeform 56">
                <a:extLst>
                  <a:ext uri="{FF2B5EF4-FFF2-40B4-BE49-F238E27FC236}">
                    <a16:creationId xmlns:a16="http://schemas.microsoft.com/office/drawing/2014/main" id="{19A06433-F915-4662-A841-CA64127B7276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gray">
              <a:xfrm>
                <a:off x="5365751" y="4473575"/>
                <a:ext cx="179388" cy="338138"/>
              </a:xfrm>
              <a:custGeom>
                <a:avLst/>
                <a:gdLst>
                  <a:gd name="T0" fmla="*/ 15 w 112"/>
                  <a:gd name="T1" fmla="*/ 204 h 213"/>
                  <a:gd name="T2" fmla="*/ 3 w 112"/>
                  <a:gd name="T3" fmla="*/ 179 h 213"/>
                  <a:gd name="T4" fmla="*/ 14 w 112"/>
                  <a:gd name="T5" fmla="*/ 140 h 213"/>
                  <a:gd name="T6" fmla="*/ 12 w 112"/>
                  <a:gd name="T7" fmla="*/ 98 h 213"/>
                  <a:gd name="T8" fmla="*/ 47 w 112"/>
                  <a:gd name="T9" fmla="*/ 56 h 213"/>
                  <a:gd name="T10" fmla="*/ 59 w 112"/>
                  <a:gd name="T11" fmla="*/ 44 h 213"/>
                  <a:gd name="T12" fmla="*/ 69 w 112"/>
                  <a:gd name="T13" fmla="*/ 32 h 213"/>
                  <a:gd name="T14" fmla="*/ 80 w 112"/>
                  <a:gd name="T15" fmla="*/ 18 h 213"/>
                  <a:gd name="T16" fmla="*/ 90 w 112"/>
                  <a:gd name="T17" fmla="*/ 0 h 213"/>
                  <a:gd name="T18" fmla="*/ 101 w 112"/>
                  <a:gd name="T19" fmla="*/ 17 h 213"/>
                  <a:gd name="T20" fmla="*/ 110 w 112"/>
                  <a:gd name="T21" fmla="*/ 56 h 213"/>
                  <a:gd name="T22" fmla="*/ 102 w 112"/>
                  <a:gd name="T23" fmla="*/ 68 h 213"/>
                  <a:gd name="T24" fmla="*/ 95 w 112"/>
                  <a:gd name="T25" fmla="*/ 90 h 213"/>
                  <a:gd name="T26" fmla="*/ 80 w 112"/>
                  <a:gd name="T27" fmla="*/ 129 h 213"/>
                  <a:gd name="T28" fmla="*/ 74 w 112"/>
                  <a:gd name="T29" fmla="*/ 159 h 213"/>
                  <a:gd name="T30" fmla="*/ 66 w 112"/>
                  <a:gd name="T31" fmla="*/ 186 h 213"/>
                  <a:gd name="T32" fmla="*/ 33 w 112"/>
                  <a:gd name="T33" fmla="*/ 210 h 213"/>
                  <a:gd name="T34" fmla="*/ 15 w 112"/>
                  <a:gd name="T35" fmla="*/ 20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213">
                    <a:moveTo>
                      <a:pt x="15" y="204"/>
                    </a:moveTo>
                    <a:cubicBezTo>
                      <a:pt x="9" y="195"/>
                      <a:pt x="12" y="181"/>
                      <a:pt x="3" y="179"/>
                    </a:cubicBezTo>
                    <a:cubicBezTo>
                      <a:pt x="0" y="163"/>
                      <a:pt x="0" y="148"/>
                      <a:pt x="14" y="140"/>
                    </a:cubicBezTo>
                    <a:cubicBezTo>
                      <a:pt x="21" y="128"/>
                      <a:pt x="18" y="110"/>
                      <a:pt x="12" y="98"/>
                    </a:cubicBezTo>
                    <a:cubicBezTo>
                      <a:pt x="16" y="66"/>
                      <a:pt x="15" y="61"/>
                      <a:pt x="47" y="56"/>
                    </a:cubicBezTo>
                    <a:cubicBezTo>
                      <a:pt x="52" y="52"/>
                      <a:pt x="54" y="48"/>
                      <a:pt x="59" y="44"/>
                    </a:cubicBezTo>
                    <a:cubicBezTo>
                      <a:pt x="62" y="39"/>
                      <a:pt x="64" y="36"/>
                      <a:pt x="69" y="32"/>
                    </a:cubicBezTo>
                    <a:cubicBezTo>
                      <a:pt x="73" y="25"/>
                      <a:pt x="72" y="21"/>
                      <a:pt x="80" y="18"/>
                    </a:cubicBezTo>
                    <a:cubicBezTo>
                      <a:pt x="85" y="12"/>
                      <a:pt x="83" y="5"/>
                      <a:pt x="90" y="0"/>
                    </a:cubicBezTo>
                    <a:cubicBezTo>
                      <a:pt x="99" y="3"/>
                      <a:pt x="96" y="9"/>
                      <a:pt x="101" y="17"/>
                    </a:cubicBezTo>
                    <a:cubicBezTo>
                      <a:pt x="103" y="31"/>
                      <a:pt x="105" y="43"/>
                      <a:pt x="110" y="56"/>
                    </a:cubicBezTo>
                    <a:cubicBezTo>
                      <a:pt x="112" y="66"/>
                      <a:pt x="107" y="60"/>
                      <a:pt x="102" y="68"/>
                    </a:cubicBezTo>
                    <a:cubicBezTo>
                      <a:pt x="105" y="78"/>
                      <a:pt x="103" y="84"/>
                      <a:pt x="95" y="90"/>
                    </a:cubicBezTo>
                    <a:cubicBezTo>
                      <a:pt x="94" y="103"/>
                      <a:pt x="91" y="120"/>
                      <a:pt x="80" y="129"/>
                    </a:cubicBezTo>
                    <a:cubicBezTo>
                      <a:pt x="79" y="140"/>
                      <a:pt x="81" y="150"/>
                      <a:pt x="74" y="159"/>
                    </a:cubicBezTo>
                    <a:cubicBezTo>
                      <a:pt x="72" y="169"/>
                      <a:pt x="71" y="177"/>
                      <a:pt x="66" y="186"/>
                    </a:cubicBezTo>
                    <a:cubicBezTo>
                      <a:pt x="64" y="211"/>
                      <a:pt x="57" y="206"/>
                      <a:pt x="33" y="210"/>
                    </a:cubicBezTo>
                    <a:cubicBezTo>
                      <a:pt x="25" y="213"/>
                      <a:pt x="20" y="209"/>
                      <a:pt x="15" y="20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7" name="Freeform 57">
                <a:extLst>
                  <a:ext uri="{FF2B5EF4-FFF2-40B4-BE49-F238E27FC236}">
                    <a16:creationId xmlns:a16="http://schemas.microsoft.com/office/drawing/2014/main" id="{EF675F20-3ABD-447F-811A-2DA0266CFBC4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gray">
              <a:xfrm>
                <a:off x="5070476" y="4821238"/>
                <a:ext cx="47625" cy="39688"/>
              </a:xfrm>
              <a:custGeom>
                <a:avLst/>
                <a:gdLst>
                  <a:gd name="T0" fmla="*/ 18 w 30"/>
                  <a:gd name="T1" fmla="*/ 0 h 25"/>
                  <a:gd name="T2" fmla="*/ 5 w 30"/>
                  <a:gd name="T3" fmla="*/ 23 h 25"/>
                  <a:gd name="T4" fmla="*/ 20 w 30"/>
                  <a:gd name="T5" fmla="*/ 21 h 25"/>
                  <a:gd name="T6" fmla="*/ 18 w 30"/>
                  <a:gd name="T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25">
                    <a:moveTo>
                      <a:pt x="18" y="0"/>
                    </a:moveTo>
                    <a:cubicBezTo>
                      <a:pt x="0" y="3"/>
                      <a:pt x="3" y="3"/>
                      <a:pt x="5" y="23"/>
                    </a:cubicBezTo>
                    <a:cubicBezTo>
                      <a:pt x="10" y="22"/>
                      <a:pt x="17" y="25"/>
                      <a:pt x="20" y="21"/>
                    </a:cubicBezTo>
                    <a:cubicBezTo>
                      <a:pt x="30" y="7"/>
                      <a:pt x="9" y="6"/>
                      <a:pt x="18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8" name="Freeform 58">
                <a:extLst>
                  <a:ext uri="{FF2B5EF4-FFF2-40B4-BE49-F238E27FC236}">
                    <a16:creationId xmlns:a16="http://schemas.microsoft.com/office/drawing/2014/main" id="{375CE51A-C1D4-472D-856A-75505D41E444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4926013" y="3390900"/>
                <a:ext cx="282575" cy="292100"/>
              </a:xfrm>
              <a:custGeom>
                <a:avLst/>
                <a:gdLst>
                  <a:gd name="T0" fmla="*/ 8 w 175"/>
                  <a:gd name="T1" fmla="*/ 178 h 184"/>
                  <a:gd name="T2" fmla="*/ 151 w 175"/>
                  <a:gd name="T3" fmla="*/ 174 h 184"/>
                  <a:gd name="T4" fmla="*/ 157 w 175"/>
                  <a:gd name="T5" fmla="*/ 145 h 184"/>
                  <a:gd name="T6" fmla="*/ 149 w 175"/>
                  <a:gd name="T7" fmla="*/ 111 h 184"/>
                  <a:gd name="T8" fmla="*/ 131 w 175"/>
                  <a:gd name="T9" fmla="*/ 79 h 184"/>
                  <a:gd name="T10" fmla="*/ 119 w 175"/>
                  <a:gd name="T11" fmla="*/ 51 h 184"/>
                  <a:gd name="T12" fmla="*/ 122 w 175"/>
                  <a:gd name="T13" fmla="*/ 43 h 184"/>
                  <a:gd name="T14" fmla="*/ 127 w 175"/>
                  <a:gd name="T15" fmla="*/ 61 h 184"/>
                  <a:gd name="T16" fmla="*/ 136 w 175"/>
                  <a:gd name="T17" fmla="*/ 79 h 184"/>
                  <a:gd name="T18" fmla="*/ 145 w 175"/>
                  <a:gd name="T19" fmla="*/ 28 h 184"/>
                  <a:gd name="T20" fmla="*/ 115 w 175"/>
                  <a:gd name="T21" fmla="*/ 24 h 184"/>
                  <a:gd name="T22" fmla="*/ 100 w 175"/>
                  <a:gd name="T23" fmla="*/ 10 h 184"/>
                  <a:gd name="T24" fmla="*/ 70 w 175"/>
                  <a:gd name="T25" fmla="*/ 27 h 184"/>
                  <a:gd name="T26" fmla="*/ 41 w 175"/>
                  <a:gd name="T27" fmla="*/ 15 h 184"/>
                  <a:gd name="T28" fmla="*/ 7 w 175"/>
                  <a:gd name="T29" fmla="*/ 13 h 184"/>
                  <a:gd name="T30" fmla="*/ 1 w 175"/>
                  <a:gd name="T31" fmla="*/ 27 h 184"/>
                  <a:gd name="T32" fmla="*/ 5 w 175"/>
                  <a:gd name="T33" fmla="*/ 106 h 184"/>
                  <a:gd name="T34" fmla="*/ 4 w 175"/>
                  <a:gd name="T35" fmla="*/ 177 h 184"/>
                  <a:gd name="T36" fmla="*/ 8 w 175"/>
                  <a:gd name="T37" fmla="*/ 17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5" h="184">
                    <a:moveTo>
                      <a:pt x="8" y="178"/>
                    </a:moveTo>
                    <a:cubicBezTo>
                      <a:pt x="34" y="173"/>
                      <a:pt x="127" y="184"/>
                      <a:pt x="151" y="174"/>
                    </a:cubicBezTo>
                    <a:cubicBezTo>
                      <a:pt x="175" y="169"/>
                      <a:pt x="157" y="155"/>
                      <a:pt x="157" y="145"/>
                    </a:cubicBezTo>
                    <a:cubicBezTo>
                      <a:pt x="157" y="135"/>
                      <a:pt x="153" y="122"/>
                      <a:pt x="149" y="111"/>
                    </a:cubicBezTo>
                    <a:cubicBezTo>
                      <a:pt x="147" y="99"/>
                      <a:pt x="137" y="89"/>
                      <a:pt x="131" y="79"/>
                    </a:cubicBezTo>
                    <a:cubicBezTo>
                      <a:pt x="130" y="67"/>
                      <a:pt x="129" y="57"/>
                      <a:pt x="119" y="51"/>
                    </a:cubicBezTo>
                    <a:cubicBezTo>
                      <a:pt x="118" y="48"/>
                      <a:pt x="119" y="42"/>
                      <a:pt x="122" y="43"/>
                    </a:cubicBezTo>
                    <a:cubicBezTo>
                      <a:pt x="124" y="44"/>
                      <a:pt x="126" y="58"/>
                      <a:pt x="127" y="61"/>
                    </a:cubicBezTo>
                    <a:cubicBezTo>
                      <a:pt x="128" y="68"/>
                      <a:pt x="128" y="77"/>
                      <a:pt x="136" y="79"/>
                    </a:cubicBezTo>
                    <a:cubicBezTo>
                      <a:pt x="162" y="76"/>
                      <a:pt x="151" y="81"/>
                      <a:pt x="145" y="28"/>
                    </a:cubicBezTo>
                    <a:cubicBezTo>
                      <a:pt x="144" y="18"/>
                      <a:pt x="125" y="24"/>
                      <a:pt x="115" y="24"/>
                    </a:cubicBezTo>
                    <a:cubicBezTo>
                      <a:pt x="109" y="20"/>
                      <a:pt x="106" y="15"/>
                      <a:pt x="100" y="10"/>
                    </a:cubicBezTo>
                    <a:cubicBezTo>
                      <a:pt x="87" y="13"/>
                      <a:pt x="82" y="21"/>
                      <a:pt x="70" y="27"/>
                    </a:cubicBezTo>
                    <a:cubicBezTo>
                      <a:pt x="60" y="24"/>
                      <a:pt x="51" y="17"/>
                      <a:pt x="41" y="15"/>
                    </a:cubicBezTo>
                    <a:cubicBezTo>
                      <a:pt x="30" y="9"/>
                      <a:pt x="21" y="12"/>
                      <a:pt x="7" y="13"/>
                    </a:cubicBezTo>
                    <a:cubicBezTo>
                      <a:pt x="0" y="15"/>
                      <a:pt x="1" y="0"/>
                      <a:pt x="1" y="27"/>
                    </a:cubicBezTo>
                    <a:cubicBezTo>
                      <a:pt x="0" y="42"/>
                      <a:pt x="5" y="81"/>
                      <a:pt x="5" y="106"/>
                    </a:cubicBezTo>
                    <a:cubicBezTo>
                      <a:pt x="5" y="131"/>
                      <a:pt x="3" y="165"/>
                      <a:pt x="4" y="177"/>
                    </a:cubicBezTo>
                    <a:cubicBezTo>
                      <a:pt x="9" y="174"/>
                      <a:pt x="13" y="179"/>
                      <a:pt x="8" y="17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9" name="Freeform 59">
                <a:extLst>
                  <a:ext uri="{FF2B5EF4-FFF2-40B4-BE49-F238E27FC236}">
                    <a16:creationId xmlns:a16="http://schemas.microsoft.com/office/drawing/2014/main" id="{590DAE0B-1387-4A0D-BC02-F10FF0E96E97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gray">
              <a:xfrm>
                <a:off x="3930651" y="3509963"/>
                <a:ext cx="234950" cy="185738"/>
              </a:xfrm>
              <a:custGeom>
                <a:avLst/>
                <a:gdLst>
                  <a:gd name="T0" fmla="*/ 118 w 146"/>
                  <a:gd name="T1" fmla="*/ 0 h 117"/>
                  <a:gd name="T2" fmla="*/ 62 w 146"/>
                  <a:gd name="T3" fmla="*/ 2 h 117"/>
                  <a:gd name="T4" fmla="*/ 54 w 146"/>
                  <a:gd name="T5" fmla="*/ 4 h 117"/>
                  <a:gd name="T6" fmla="*/ 50 w 146"/>
                  <a:gd name="T7" fmla="*/ 24 h 117"/>
                  <a:gd name="T8" fmla="*/ 32 w 146"/>
                  <a:gd name="T9" fmla="*/ 30 h 117"/>
                  <a:gd name="T10" fmla="*/ 22 w 146"/>
                  <a:gd name="T11" fmla="*/ 60 h 117"/>
                  <a:gd name="T12" fmla="*/ 4 w 146"/>
                  <a:gd name="T13" fmla="*/ 92 h 117"/>
                  <a:gd name="T14" fmla="*/ 3 w 146"/>
                  <a:gd name="T15" fmla="*/ 114 h 117"/>
                  <a:gd name="T16" fmla="*/ 19 w 146"/>
                  <a:gd name="T17" fmla="*/ 108 h 117"/>
                  <a:gd name="T18" fmla="*/ 43 w 146"/>
                  <a:gd name="T19" fmla="*/ 106 h 117"/>
                  <a:gd name="T20" fmla="*/ 58 w 146"/>
                  <a:gd name="T21" fmla="*/ 108 h 117"/>
                  <a:gd name="T22" fmla="*/ 60 w 146"/>
                  <a:gd name="T23" fmla="*/ 90 h 117"/>
                  <a:gd name="T24" fmla="*/ 60 w 146"/>
                  <a:gd name="T25" fmla="*/ 76 h 117"/>
                  <a:gd name="T26" fmla="*/ 72 w 146"/>
                  <a:gd name="T27" fmla="*/ 72 h 117"/>
                  <a:gd name="T28" fmla="*/ 76 w 146"/>
                  <a:gd name="T29" fmla="*/ 66 h 117"/>
                  <a:gd name="T30" fmla="*/ 75 w 146"/>
                  <a:gd name="T31" fmla="*/ 52 h 117"/>
                  <a:gd name="T32" fmla="*/ 75 w 146"/>
                  <a:gd name="T33" fmla="*/ 46 h 117"/>
                  <a:gd name="T34" fmla="*/ 78 w 146"/>
                  <a:gd name="T35" fmla="*/ 33 h 117"/>
                  <a:gd name="T36" fmla="*/ 88 w 146"/>
                  <a:gd name="T37" fmla="*/ 30 h 117"/>
                  <a:gd name="T38" fmla="*/ 106 w 146"/>
                  <a:gd name="T39" fmla="*/ 34 h 117"/>
                  <a:gd name="T40" fmla="*/ 130 w 146"/>
                  <a:gd name="T41" fmla="*/ 30 h 117"/>
                  <a:gd name="T42" fmla="*/ 138 w 146"/>
                  <a:gd name="T43" fmla="*/ 21 h 117"/>
                  <a:gd name="T44" fmla="*/ 118 w 146"/>
                  <a:gd name="T4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6" h="117">
                    <a:moveTo>
                      <a:pt x="118" y="0"/>
                    </a:moveTo>
                    <a:cubicBezTo>
                      <a:pt x="99" y="1"/>
                      <a:pt x="81" y="1"/>
                      <a:pt x="62" y="2"/>
                    </a:cubicBezTo>
                    <a:cubicBezTo>
                      <a:pt x="59" y="2"/>
                      <a:pt x="56" y="2"/>
                      <a:pt x="54" y="4"/>
                    </a:cubicBezTo>
                    <a:cubicBezTo>
                      <a:pt x="50" y="10"/>
                      <a:pt x="55" y="20"/>
                      <a:pt x="50" y="24"/>
                    </a:cubicBezTo>
                    <a:cubicBezTo>
                      <a:pt x="45" y="28"/>
                      <a:pt x="32" y="30"/>
                      <a:pt x="32" y="30"/>
                    </a:cubicBezTo>
                    <a:cubicBezTo>
                      <a:pt x="28" y="42"/>
                      <a:pt x="35" y="56"/>
                      <a:pt x="22" y="60"/>
                    </a:cubicBezTo>
                    <a:cubicBezTo>
                      <a:pt x="15" y="71"/>
                      <a:pt x="11" y="81"/>
                      <a:pt x="4" y="92"/>
                    </a:cubicBezTo>
                    <a:cubicBezTo>
                      <a:pt x="0" y="98"/>
                      <a:pt x="3" y="114"/>
                      <a:pt x="3" y="114"/>
                    </a:cubicBezTo>
                    <a:cubicBezTo>
                      <a:pt x="6" y="117"/>
                      <a:pt x="12" y="109"/>
                      <a:pt x="19" y="108"/>
                    </a:cubicBezTo>
                    <a:cubicBezTo>
                      <a:pt x="26" y="107"/>
                      <a:pt x="37" y="106"/>
                      <a:pt x="43" y="106"/>
                    </a:cubicBezTo>
                    <a:cubicBezTo>
                      <a:pt x="49" y="106"/>
                      <a:pt x="55" y="111"/>
                      <a:pt x="58" y="108"/>
                    </a:cubicBezTo>
                    <a:cubicBezTo>
                      <a:pt x="63" y="94"/>
                      <a:pt x="63" y="100"/>
                      <a:pt x="60" y="90"/>
                    </a:cubicBezTo>
                    <a:cubicBezTo>
                      <a:pt x="61" y="85"/>
                      <a:pt x="57" y="80"/>
                      <a:pt x="60" y="76"/>
                    </a:cubicBezTo>
                    <a:cubicBezTo>
                      <a:pt x="62" y="73"/>
                      <a:pt x="68" y="74"/>
                      <a:pt x="72" y="72"/>
                    </a:cubicBezTo>
                    <a:cubicBezTo>
                      <a:pt x="73" y="67"/>
                      <a:pt x="75" y="68"/>
                      <a:pt x="76" y="66"/>
                    </a:cubicBezTo>
                    <a:cubicBezTo>
                      <a:pt x="76" y="62"/>
                      <a:pt x="75" y="57"/>
                      <a:pt x="75" y="52"/>
                    </a:cubicBezTo>
                    <a:cubicBezTo>
                      <a:pt x="75" y="49"/>
                      <a:pt x="75" y="49"/>
                      <a:pt x="75" y="46"/>
                    </a:cubicBezTo>
                    <a:cubicBezTo>
                      <a:pt x="75" y="43"/>
                      <a:pt x="76" y="36"/>
                      <a:pt x="78" y="33"/>
                    </a:cubicBezTo>
                    <a:cubicBezTo>
                      <a:pt x="80" y="30"/>
                      <a:pt x="83" y="30"/>
                      <a:pt x="88" y="30"/>
                    </a:cubicBezTo>
                    <a:cubicBezTo>
                      <a:pt x="93" y="30"/>
                      <a:pt x="99" y="34"/>
                      <a:pt x="106" y="34"/>
                    </a:cubicBezTo>
                    <a:cubicBezTo>
                      <a:pt x="113" y="34"/>
                      <a:pt x="125" y="32"/>
                      <a:pt x="130" y="30"/>
                    </a:cubicBezTo>
                    <a:cubicBezTo>
                      <a:pt x="133" y="21"/>
                      <a:pt x="146" y="27"/>
                      <a:pt x="138" y="21"/>
                    </a:cubicBezTo>
                    <a:cubicBezTo>
                      <a:pt x="133" y="13"/>
                      <a:pt x="121" y="8"/>
                      <a:pt x="118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0" name="Freeform 60">
                <a:extLst>
                  <a:ext uri="{FF2B5EF4-FFF2-40B4-BE49-F238E27FC236}">
                    <a16:creationId xmlns:a16="http://schemas.microsoft.com/office/drawing/2014/main" id="{2AF56C0F-A62F-4AF8-A262-8FA87F9A0EF8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gray">
              <a:xfrm>
                <a:off x="4022726" y="3295650"/>
                <a:ext cx="279400" cy="219075"/>
              </a:xfrm>
              <a:custGeom>
                <a:avLst/>
                <a:gdLst>
                  <a:gd name="T0" fmla="*/ 0 w 173"/>
                  <a:gd name="T1" fmla="*/ 138 h 138"/>
                  <a:gd name="T2" fmla="*/ 27 w 173"/>
                  <a:gd name="T3" fmla="*/ 124 h 138"/>
                  <a:gd name="T4" fmla="*/ 39 w 173"/>
                  <a:gd name="T5" fmla="*/ 114 h 138"/>
                  <a:gd name="T6" fmla="*/ 54 w 173"/>
                  <a:gd name="T7" fmla="*/ 63 h 138"/>
                  <a:gd name="T8" fmla="*/ 72 w 173"/>
                  <a:gd name="T9" fmla="*/ 42 h 138"/>
                  <a:gd name="T10" fmla="*/ 90 w 173"/>
                  <a:gd name="T11" fmla="*/ 30 h 138"/>
                  <a:gd name="T12" fmla="*/ 102 w 173"/>
                  <a:gd name="T13" fmla="*/ 15 h 138"/>
                  <a:gd name="T14" fmla="*/ 108 w 173"/>
                  <a:gd name="T15" fmla="*/ 0 h 138"/>
                  <a:gd name="T16" fmla="*/ 144 w 173"/>
                  <a:gd name="T17" fmla="*/ 4 h 138"/>
                  <a:gd name="T18" fmla="*/ 168 w 173"/>
                  <a:gd name="T19" fmla="*/ 12 h 138"/>
                  <a:gd name="T20" fmla="*/ 171 w 173"/>
                  <a:gd name="T21" fmla="*/ 57 h 138"/>
                  <a:gd name="T22" fmla="*/ 154 w 173"/>
                  <a:gd name="T23" fmla="*/ 64 h 138"/>
                  <a:gd name="T24" fmla="*/ 145 w 173"/>
                  <a:gd name="T25" fmla="*/ 76 h 138"/>
                  <a:gd name="T26" fmla="*/ 133 w 173"/>
                  <a:gd name="T27" fmla="*/ 85 h 138"/>
                  <a:gd name="T28" fmla="*/ 118 w 173"/>
                  <a:gd name="T29" fmla="*/ 96 h 138"/>
                  <a:gd name="T30" fmla="*/ 104 w 173"/>
                  <a:gd name="T31" fmla="*/ 108 h 138"/>
                  <a:gd name="T32" fmla="*/ 85 w 173"/>
                  <a:gd name="T33" fmla="*/ 109 h 138"/>
                  <a:gd name="T34" fmla="*/ 61 w 173"/>
                  <a:gd name="T35" fmla="*/ 133 h 138"/>
                  <a:gd name="T36" fmla="*/ 0 w 173"/>
                  <a:gd name="T37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3" h="138">
                    <a:moveTo>
                      <a:pt x="0" y="138"/>
                    </a:moveTo>
                    <a:cubicBezTo>
                      <a:pt x="6" y="135"/>
                      <a:pt x="21" y="128"/>
                      <a:pt x="27" y="124"/>
                    </a:cubicBezTo>
                    <a:cubicBezTo>
                      <a:pt x="31" y="118"/>
                      <a:pt x="31" y="115"/>
                      <a:pt x="39" y="114"/>
                    </a:cubicBezTo>
                    <a:cubicBezTo>
                      <a:pt x="60" y="104"/>
                      <a:pt x="42" y="80"/>
                      <a:pt x="54" y="63"/>
                    </a:cubicBezTo>
                    <a:cubicBezTo>
                      <a:pt x="56" y="53"/>
                      <a:pt x="61" y="44"/>
                      <a:pt x="72" y="42"/>
                    </a:cubicBezTo>
                    <a:cubicBezTo>
                      <a:pt x="77" y="36"/>
                      <a:pt x="82" y="32"/>
                      <a:pt x="90" y="30"/>
                    </a:cubicBezTo>
                    <a:cubicBezTo>
                      <a:pt x="97" y="27"/>
                      <a:pt x="98" y="21"/>
                      <a:pt x="102" y="15"/>
                    </a:cubicBezTo>
                    <a:cubicBezTo>
                      <a:pt x="103" y="9"/>
                      <a:pt x="104" y="5"/>
                      <a:pt x="108" y="0"/>
                    </a:cubicBezTo>
                    <a:cubicBezTo>
                      <a:pt x="121" y="1"/>
                      <a:pt x="131" y="3"/>
                      <a:pt x="144" y="4"/>
                    </a:cubicBezTo>
                    <a:cubicBezTo>
                      <a:pt x="154" y="5"/>
                      <a:pt x="163" y="3"/>
                      <a:pt x="168" y="12"/>
                    </a:cubicBezTo>
                    <a:cubicBezTo>
                      <a:pt x="172" y="20"/>
                      <a:pt x="173" y="48"/>
                      <a:pt x="171" y="57"/>
                    </a:cubicBezTo>
                    <a:cubicBezTo>
                      <a:pt x="169" y="66"/>
                      <a:pt x="158" y="61"/>
                      <a:pt x="154" y="64"/>
                    </a:cubicBezTo>
                    <a:cubicBezTo>
                      <a:pt x="149" y="68"/>
                      <a:pt x="148" y="71"/>
                      <a:pt x="145" y="76"/>
                    </a:cubicBezTo>
                    <a:cubicBezTo>
                      <a:pt x="143" y="84"/>
                      <a:pt x="140" y="84"/>
                      <a:pt x="133" y="85"/>
                    </a:cubicBezTo>
                    <a:cubicBezTo>
                      <a:pt x="127" y="89"/>
                      <a:pt x="124" y="92"/>
                      <a:pt x="118" y="96"/>
                    </a:cubicBezTo>
                    <a:cubicBezTo>
                      <a:pt x="113" y="100"/>
                      <a:pt x="109" y="106"/>
                      <a:pt x="104" y="108"/>
                    </a:cubicBezTo>
                    <a:cubicBezTo>
                      <a:pt x="99" y="110"/>
                      <a:pt x="92" y="105"/>
                      <a:pt x="85" y="109"/>
                    </a:cubicBezTo>
                    <a:cubicBezTo>
                      <a:pt x="77" y="113"/>
                      <a:pt x="62" y="133"/>
                      <a:pt x="61" y="133"/>
                    </a:cubicBezTo>
                    <a:cubicBezTo>
                      <a:pt x="44" y="134"/>
                      <a:pt x="17" y="138"/>
                      <a:pt x="0" y="13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1" name="Freeform 61">
                <a:extLst>
                  <a:ext uri="{FF2B5EF4-FFF2-40B4-BE49-F238E27FC236}">
                    <a16:creationId xmlns:a16="http://schemas.microsoft.com/office/drawing/2014/main" id="{354DBCB0-FFA1-45F0-A9CD-2698FD9AFF4D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gray">
              <a:xfrm>
                <a:off x="5168901" y="3395663"/>
                <a:ext cx="493713" cy="415925"/>
              </a:xfrm>
              <a:custGeom>
                <a:avLst/>
                <a:gdLst>
                  <a:gd name="T0" fmla="*/ 7 w 306"/>
                  <a:gd name="T1" fmla="*/ 45 h 262"/>
                  <a:gd name="T2" fmla="*/ 23 w 306"/>
                  <a:gd name="T3" fmla="*/ 45 h 262"/>
                  <a:gd name="T4" fmla="*/ 37 w 306"/>
                  <a:gd name="T5" fmla="*/ 36 h 262"/>
                  <a:gd name="T6" fmla="*/ 35 w 306"/>
                  <a:gd name="T7" fmla="*/ 15 h 262"/>
                  <a:gd name="T8" fmla="*/ 37 w 306"/>
                  <a:gd name="T9" fmla="*/ 6 h 262"/>
                  <a:gd name="T10" fmla="*/ 59 w 306"/>
                  <a:gd name="T11" fmla="*/ 3 h 262"/>
                  <a:gd name="T12" fmla="*/ 79 w 306"/>
                  <a:gd name="T13" fmla="*/ 1 h 262"/>
                  <a:gd name="T14" fmla="*/ 94 w 306"/>
                  <a:gd name="T15" fmla="*/ 7 h 262"/>
                  <a:gd name="T16" fmla="*/ 106 w 306"/>
                  <a:gd name="T17" fmla="*/ 18 h 262"/>
                  <a:gd name="T18" fmla="*/ 121 w 306"/>
                  <a:gd name="T19" fmla="*/ 24 h 262"/>
                  <a:gd name="T20" fmla="*/ 128 w 306"/>
                  <a:gd name="T21" fmla="*/ 36 h 262"/>
                  <a:gd name="T22" fmla="*/ 128 w 306"/>
                  <a:gd name="T23" fmla="*/ 39 h 262"/>
                  <a:gd name="T24" fmla="*/ 139 w 306"/>
                  <a:gd name="T25" fmla="*/ 43 h 262"/>
                  <a:gd name="T26" fmla="*/ 154 w 306"/>
                  <a:gd name="T27" fmla="*/ 48 h 262"/>
                  <a:gd name="T28" fmla="*/ 185 w 306"/>
                  <a:gd name="T29" fmla="*/ 52 h 262"/>
                  <a:gd name="T30" fmla="*/ 200 w 306"/>
                  <a:gd name="T31" fmla="*/ 58 h 262"/>
                  <a:gd name="T32" fmla="*/ 214 w 306"/>
                  <a:gd name="T33" fmla="*/ 81 h 262"/>
                  <a:gd name="T34" fmla="*/ 223 w 306"/>
                  <a:gd name="T35" fmla="*/ 94 h 262"/>
                  <a:gd name="T36" fmla="*/ 235 w 306"/>
                  <a:gd name="T37" fmla="*/ 111 h 262"/>
                  <a:gd name="T38" fmla="*/ 247 w 306"/>
                  <a:gd name="T39" fmla="*/ 129 h 262"/>
                  <a:gd name="T40" fmla="*/ 254 w 306"/>
                  <a:gd name="T41" fmla="*/ 156 h 262"/>
                  <a:gd name="T42" fmla="*/ 280 w 306"/>
                  <a:gd name="T43" fmla="*/ 162 h 262"/>
                  <a:gd name="T44" fmla="*/ 302 w 306"/>
                  <a:gd name="T45" fmla="*/ 163 h 262"/>
                  <a:gd name="T46" fmla="*/ 304 w 306"/>
                  <a:gd name="T47" fmla="*/ 177 h 262"/>
                  <a:gd name="T48" fmla="*/ 296 w 306"/>
                  <a:gd name="T49" fmla="*/ 193 h 262"/>
                  <a:gd name="T50" fmla="*/ 281 w 306"/>
                  <a:gd name="T51" fmla="*/ 204 h 262"/>
                  <a:gd name="T52" fmla="*/ 274 w 306"/>
                  <a:gd name="T53" fmla="*/ 210 h 262"/>
                  <a:gd name="T54" fmla="*/ 257 w 306"/>
                  <a:gd name="T55" fmla="*/ 214 h 262"/>
                  <a:gd name="T56" fmla="*/ 236 w 306"/>
                  <a:gd name="T57" fmla="*/ 223 h 262"/>
                  <a:gd name="T58" fmla="*/ 208 w 306"/>
                  <a:gd name="T59" fmla="*/ 224 h 262"/>
                  <a:gd name="T60" fmla="*/ 197 w 306"/>
                  <a:gd name="T61" fmla="*/ 228 h 262"/>
                  <a:gd name="T62" fmla="*/ 191 w 306"/>
                  <a:gd name="T63" fmla="*/ 231 h 262"/>
                  <a:gd name="T64" fmla="*/ 182 w 306"/>
                  <a:gd name="T65" fmla="*/ 249 h 262"/>
                  <a:gd name="T66" fmla="*/ 169 w 306"/>
                  <a:gd name="T67" fmla="*/ 262 h 262"/>
                  <a:gd name="T68" fmla="*/ 137 w 306"/>
                  <a:gd name="T69" fmla="*/ 246 h 262"/>
                  <a:gd name="T70" fmla="*/ 113 w 306"/>
                  <a:gd name="T71" fmla="*/ 247 h 262"/>
                  <a:gd name="T72" fmla="*/ 107 w 306"/>
                  <a:gd name="T73" fmla="*/ 238 h 262"/>
                  <a:gd name="T74" fmla="*/ 83 w 306"/>
                  <a:gd name="T75" fmla="*/ 208 h 262"/>
                  <a:gd name="T76" fmla="*/ 68 w 306"/>
                  <a:gd name="T77" fmla="*/ 192 h 262"/>
                  <a:gd name="T78" fmla="*/ 61 w 306"/>
                  <a:gd name="T79" fmla="*/ 154 h 262"/>
                  <a:gd name="T80" fmla="*/ 37 w 306"/>
                  <a:gd name="T81" fmla="*/ 127 h 262"/>
                  <a:gd name="T82" fmla="*/ 31 w 306"/>
                  <a:gd name="T83" fmla="*/ 120 h 262"/>
                  <a:gd name="T84" fmla="*/ 20 w 306"/>
                  <a:gd name="T85" fmla="*/ 96 h 262"/>
                  <a:gd name="T86" fmla="*/ 8 w 306"/>
                  <a:gd name="T87" fmla="*/ 78 h 262"/>
                  <a:gd name="T88" fmla="*/ 1 w 306"/>
                  <a:gd name="T89" fmla="*/ 60 h 262"/>
                  <a:gd name="T90" fmla="*/ 7 w 306"/>
                  <a:gd name="T91" fmla="*/ 45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6" h="262">
                    <a:moveTo>
                      <a:pt x="7" y="45"/>
                    </a:moveTo>
                    <a:cubicBezTo>
                      <a:pt x="14" y="46"/>
                      <a:pt x="17" y="49"/>
                      <a:pt x="23" y="45"/>
                    </a:cubicBezTo>
                    <a:cubicBezTo>
                      <a:pt x="27" y="38"/>
                      <a:pt x="29" y="37"/>
                      <a:pt x="37" y="36"/>
                    </a:cubicBezTo>
                    <a:cubicBezTo>
                      <a:pt x="48" y="30"/>
                      <a:pt x="44" y="20"/>
                      <a:pt x="35" y="15"/>
                    </a:cubicBezTo>
                    <a:cubicBezTo>
                      <a:pt x="34" y="12"/>
                      <a:pt x="32" y="7"/>
                      <a:pt x="37" y="6"/>
                    </a:cubicBezTo>
                    <a:cubicBezTo>
                      <a:pt x="44" y="4"/>
                      <a:pt x="59" y="3"/>
                      <a:pt x="59" y="3"/>
                    </a:cubicBezTo>
                    <a:cubicBezTo>
                      <a:pt x="67" y="0"/>
                      <a:pt x="71" y="0"/>
                      <a:pt x="79" y="1"/>
                    </a:cubicBezTo>
                    <a:cubicBezTo>
                      <a:pt x="84" y="4"/>
                      <a:pt x="88" y="6"/>
                      <a:pt x="94" y="7"/>
                    </a:cubicBezTo>
                    <a:cubicBezTo>
                      <a:pt x="100" y="10"/>
                      <a:pt x="106" y="18"/>
                      <a:pt x="106" y="18"/>
                    </a:cubicBezTo>
                    <a:cubicBezTo>
                      <a:pt x="109" y="24"/>
                      <a:pt x="115" y="20"/>
                      <a:pt x="121" y="24"/>
                    </a:cubicBezTo>
                    <a:cubicBezTo>
                      <a:pt x="122" y="31"/>
                      <a:pt x="122" y="33"/>
                      <a:pt x="128" y="36"/>
                    </a:cubicBezTo>
                    <a:cubicBezTo>
                      <a:pt x="129" y="38"/>
                      <a:pt x="126" y="38"/>
                      <a:pt x="128" y="39"/>
                    </a:cubicBezTo>
                    <a:cubicBezTo>
                      <a:pt x="130" y="40"/>
                      <a:pt x="135" y="42"/>
                      <a:pt x="139" y="43"/>
                    </a:cubicBezTo>
                    <a:cubicBezTo>
                      <a:pt x="144" y="45"/>
                      <a:pt x="149" y="46"/>
                      <a:pt x="154" y="48"/>
                    </a:cubicBezTo>
                    <a:cubicBezTo>
                      <a:pt x="166" y="57"/>
                      <a:pt x="152" y="48"/>
                      <a:pt x="185" y="52"/>
                    </a:cubicBezTo>
                    <a:cubicBezTo>
                      <a:pt x="190" y="53"/>
                      <a:pt x="195" y="57"/>
                      <a:pt x="200" y="58"/>
                    </a:cubicBezTo>
                    <a:cubicBezTo>
                      <a:pt x="202" y="70"/>
                      <a:pt x="203" y="76"/>
                      <a:pt x="214" y="81"/>
                    </a:cubicBezTo>
                    <a:cubicBezTo>
                      <a:pt x="222" y="91"/>
                      <a:pt x="219" y="87"/>
                      <a:pt x="223" y="94"/>
                    </a:cubicBezTo>
                    <a:cubicBezTo>
                      <a:pt x="224" y="107"/>
                      <a:pt x="224" y="106"/>
                      <a:pt x="235" y="111"/>
                    </a:cubicBezTo>
                    <a:cubicBezTo>
                      <a:pt x="239" y="118"/>
                      <a:pt x="241" y="125"/>
                      <a:pt x="247" y="129"/>
                    </a:cubicBezTo>
                    <a:cubicBezTo>
                      <a:pt x="250" y="137"/>
                      <a:pt x="245" y="151"/>
                      <a:pt x="254" y="156"/>
                    </a:cubicBezTo>
                    <a:cubicBezTo>
                      <a:pt x="259" y="161"/>
                      <a:pt x="272" y="161"/>
                      <a:pt x="280" y="162"/>
                    </a:cubicBezTo>
                    <a:cubicBezTo>
                      <a:pt x="288" y="163"/>
                      <a:pt x="298" y="160"/>
                      <a:pt x="302" y="163"/>
                    </a:cubicBezTo>
                    <a:cubicBezTo>
                      <a:pt x="306" y="166"/>
                      <a:pt x="305" y="172"/>
                      <a:pt x="304" y="177"/>
                    </a:cubicBezTo>
                    <a:cubicBezTo>
                      <a:pt x="303" y="182"/>
                      <a:pt x="300" y="188"/>
                      <a:pt x="296" y="193"/>
                    </a:cubicBezTo>
                    <a:cubicBezTo>
                      <a:pt x="293" y="201"/>
                      <a:pt x="286" y="201"/>
                      <a:pt x="281" y="204"/>
                    </a:cubicBezTo>
                    <a:cubicBezTo>
                      <a:pt x="277" y="207"/>
                      <a:pt x="278" y="208"/>
                      <a:pt x="274" y="210"/>
                    </a:cubicBezTo>
                    <a:cubicBezTo>
                      <a:pt x="270" y="212"/>
                      <a:pt x="263" y="212"/>
                      <a:pt x="257" y="214"/>
                    </a:cubicBezTo>
                    <a:cubicBezTo>
                      <a:pt x="245" y="223"/>
                      <a:pt x="254" y="222"/>
                      <a:pt x="236" y="223"/>
                    </a:cubicBezTo>
                    <a:cubicBezTo>
                      <a:pt x="227" y="225"/>
                      <a:pt x="214" y="223"/>
                      <a:pt x="208" y="224"/>
                    </a:cubicBezTo>
                    <a:cubicBezTo>
                      <a:pt x="202" y="225"/>
                      <a:pt x="200" y="227"/>
                      <a:pt x="197" y="228"/>
                    </a:cubicBezTo>
                    <a:cubicBezTo>
                      <a:pt x="194" y="231"/>
                      <a:pt x="193" y="228"/>
                      <a:pt x="191" y="231"/>
                    </a:cubicBezTo>
                    <a:cubicBezTo>
                      <a:pt x="189" y="234"/>
                      <a:pt x="186" y="244"/>
                      <a:pt x="182" y="249"/>
                    </a:cubicBezTo>
                    <a:cubicBezTo>
                      <a:pt x="179" y="254"/>
                      <a:pt x="174" y="259"/>
                      <a:pt x="169" y="262"/>
                    </a:cubicBezTo>
                    <a:cubicBezTo>
                      <a:pt x="154" y="259"/>
                      <a:pt x="149" y="248"/>
                      <a:pt x="137" y="246"/>
                    </a:cubicBezTo>
                    <a:cubicBezTo>
                      <a:pt x="129" y="246"/>
                      <a:pt x="121" y="248"/>
                      <a:pt x="113" y="247"/>
                    </a:cubicBezTo>
                    <a:cubicBezTo>
                      <a:pt x="112" y="247"/>
                      <a:pt x="107" y="238"/>
                      <a:pt x="107" y="238"/>
                    </a:cubicBezTo>
                    <a:cubicBezTo>
                      <a:pt x="101" y="228"/>
                      <a:pt x="93" y="214"/>
                      <a:pt x="83" y="208"/>
                    </a:cubicBezTo>
                    <a:cubicBezTo>
                      <a:pt x="80" y="201"/>
                      <a:pt x="75" y="196"/>
                      <a:pt x="68" y="192"/>
                    </a:cubicBezTo>
                    <a:cubicBezTo>
                      <a:pt x="58" y="175"/>
                      <a:pt x="64" y="186"/>
                      <a:pt x="61" y="154"/>
                    </a:cubicBezTo>
                    <a:cubicBezTo>
                      <a:pt x="60" y="142"/>
                      <a:pt x="45" y="133"/>
                      <a:pt x="37" y="127"/>
                    </a:cubicBezTo>
                    <a:cubicBezTo>
                      <a:pt x="36" y="124"/>
                      <a:pt x="32" y="123"/>
                      <a:pt x="31" y="120"/>
                    </a:cubicBezTo>
                    <a:cubicBezTo>
                      <a:pt x="27" y="107"/>
                      <a:pt x="34" y="98"/>
                      <a:pt x="20" y="96"/>
                    </a:cubicBezTo>
                    <a:cubicBezTo>
                      <a:pt x="18" y="88"/>
                      <a:pt x="14" y="83"/>
                      <a:pt x="8" y="78"/>
                    </a:cubicBezTo>
                    <a:cubicBezTo>
                      <a:pt x="7" y="72"/>
                      <a:pt x="5" y="65"/>
                      <a:pt x="1" y="60"/>
                    </a:cubicBezTo>
                    <a:cubicBezTo>
                      <a:pt x="1" y="55"/>
                      <a:pt x="0" y="45"/>
                      <a:pt x="7" y="4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2" name="Freeform 62">
                <a:extLst>
                  <a:ext uri="{FF2B5EF4-FFF2-40B4-BE49-F238E27FC236}">
                    <a16:creationId xmlns:a16="http://schemas.microsoft.com/office/drawing/2014/main" id="{E5746AA9-B2E8-4444-B2F2-3EE6F876261C}"/>
                  </a:ext>
                </a:extLst>
              </p:cNvPr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gray">
              <a:xfrm>
                <a:off x="5153026" y="3360738"/>
                <a:ext cx="119063" cy="115888"/>
              </a:xfrm>
              <a:custGeom>
                <a:avLst/>
                <a:gdLst>
                  <a:gd name="T0" fmla="*/ 8 w 73"/>
                  <a:gd name="T1" fmla="*/ 70 h 73"/>
                  <a:gd name="T2" fmla="*/ 31 w 73"/>
                  <a:gd name="T3" fmla="*/ 67 h 73"/>
                  <a:gd name="T4" fmla="*/ 41 w 73"/>
                  <a:gd name="T5" fmla="*/ 56 h 73"/>
                  <a:gd name="T6" fmla="*/ 50 w 73"/>
                  <a:gd name="T7" fmla="*/ 58 h 73"/>
                  <a:gd name="T8" fmla="*/ 46 w 73"/>
                  <a:gd name="T9" fmla="*/ 37 h 73"/>
                  <a:gd name="T10" fmla="*/ 57 w 73"/>
                  <a:gd name="T11" fmla="*/ 26 h 73"/>
                  <a:gd name="T12" fmla="*/ 70 w 73"/>
                  <a:gd name="T13" fmla="*/ 28 h 73"/>
                  <a:gd name="T14" fmla="*/ 64 w 73"/>
                  <a:gd name="T15" fmla="*/ 17 h 73"/>
                  <a:gd name="T16" fmla="*/ 58 w 73"/>
                  <a:gd name="T17" fmla="*/ 2 h 73"/>
                  <a:gd name="T18" fmla="*/ 46 w 73"/>
                  <a:gd name="T19" fmla="*/ 5 h 73"/>
                  <a:gd name="T20" fmla="*/ 38 w 73"/>
                  <a:gd name="T21" fmla="*/ 14 h 73"/>
                  <a:gd name="T22" fmla="*/ 41 w 73"/>
                  <a:gd name="T23" fmla="*/ 14 h 73"/>
                  <a:gd name="T24" fmla="*/ 26 w 73"/>
                  <a:gd name="T25" fmla="*/ 11 h 73"/>
                  <a:gd name="T26" fmla="*/ 16 w 73"/>
                  <a:gd name="T27" fmla="*/ 22 h 73"/>
                  <a:gd name="T28" fmla="*/ 4 w 73"/>
                  <a:gd name="T29" fmla="*/ 44 h 73"/>
                  <a:gd name="T30" fmla="*/ 5 w 73"/>
                  <a:gd name="T31" fmla="*/ 65 h 73"/>
                  <a:gd name="T32" fmla="*/ 8 w 73"/>
                  <a:gd name="T33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73">
                    <a:moveTo>
                      <a:pt x="8" y="70"/>
                    </a:moveTo>
                    <a:cubicBezTo>
                      <a:pt x="22" y="64"/>
                      <a:pt x="0" y="73"/>
                      <a:pt x="31" y="67"/>
                    </a:cubicBezTo>
                    <a:cubicBezTo>
                      <a:pt x="36" y="66"/>
                      <a:pt x="38" y="57"/>
                      <a:pt x="41" y="56"/>
                    </a:cubicBezTo>
                    <a:cubicBezTo>
                      <a:pt x="44" y="55"/>
                      <a:pt x="49" y="61"/>
                      <a:pt x="50" y="58"/>
                    </a:cubicBezTo>
                    <a:cubicBezTo>
                      <a:pt x="53" y="51"/>
                      <a:pt x="51" y="43"/>
                      <a:pt x="46" y="37"/>
                    </a:cubicBezTo>
                    <a:cubicBezTo>
                      <a:pt x="47" y="32"/>
                      <a:pt x="53" y="27"/>
                      <a:pt x="57" y="26"/>
                    </a:cubicBezTo>
                    <a:cubicBezTo>
                      <a:pt x="61" y="25"/>
                      <a:pt x="69" y="29"/>
                      <a:pt x="70" y="28"/>
                    </a:cubicBezTo>
                    <a:cubicBezTo>
                      <a:pt x="73" y="24"/>
                      <a:pt x="66" y="21"/>
                      <a:pt x="64" y="17"/>
                    </a:cubicBezTo>
                    <a:cubicBezTo>
                      <a:pt x="62" y="13"/>
                      <a:pt x="61" y="4"/>
                      <a:pt x="58" y="2"/>
                    </a:cubicBezTo>
                    <a:cubicBezTo>
                      <a:pt x="55" y="0"/>
                      <a:pt x="49" y="3"/>
                      <a:pt x="46" y="5"/>
                    </a:cubicBezTo>
                    <a:cubicBezTo>
                      <a:pt x="44" y="6"/>
                      <a:pt x="39" y="12"/>
                      <a:pt x="38" y="14"/>
                    </a:cubicBezTo>
                    <a:cubicBezTo>
                      <a:pt x="37" y="17"/>
                      <a:pt x="43" y="11"/>
                      <a:pt x="41" y="14"/>
                    </a:cubicBezTo>
                    <a:cubicBezTo>
                      <a:pt x="41" y="14"/>
                      <a:pt x="27" y="12"/>
                      <a:pt x="26" y="11"/>
                    </a:cubicBezTo>
                    <a:cubicBezTo>
                      <a:pt x="21" y="14"/>
                      <a:pt x="19" y="17"/>
                      <a:pt x="16" y="22"/>
                    </a:cubicBezTo>
                    <a:cubicBezTo>
                      <a:pt x="14" y="38"/>
                      <a:pt x="18" y="42"/>
                      <a:pt x="4" y="44"/>
                    </a:cubicBezTo>
                    <a:cubicBezTo>
                      <a:pt x="4" y="51"/>
                      <a:pt x="4" y="58"/>
                      <a:pt x="5" y="65"/>
                    </a:cubicBezTo>
                    <a:cubicBezTo>
                      <a:pt x="5" y="67"/>
                      <a:pt x="8" y="70"/>
                      <a:pt x="8" y="7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5" name="Freeform 63">
                <a:extLst>
                  <a:ext uri="{FF2B5EF4-FFF2-40B4-BE49-F238E27FC236}">
                    <a16:creationId xmlns:a16="http://schemas.microsoft.com/office/drawing/2014/main" id="{22D6370D-A979-4A0C-B55C-EB2D6999AC51}"/>
                  </a:ext>
                </a:extLst>
              </p:cNvPr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gray">
              <a:xfrm>
                <a:off x="4051301" y="3997325"/>
                <a:ext cx="119063" cy="84138"/>
              </a:xfrm>
              <a:custGeom>
                <a:avLst/>
                <a:gdLst>
                  <a:gd name="T0" fmla="*/ 51 w 73"/>
                  <a:gd name="T1" fmla="*/ 17 h 53"/>
                  <a:gd name="T2" fmla="*/ 47 w 73"/>
                  <a:gd name="T3" fmla="*/ 11 h 53"/>
                  <a:gd name="T4" fmla="*/ 36 w 73"/>
                  <a:gd name="T5" fmla="*/ 11 h 53"/>
                  <a:gd name="T6" fmla="*/ 18 w 73"/>
                  <a:gd name="T7" fmla="*/ 0 h 53"/>
                  <a:gd name="T8" fmla="*/ 7 w 73"/>
                  <a:gd name="T9" fmla="*/ 11 h 53"/>
                  <a:gd name="T10" fmla="*/ 1 w 73"/>
                  <a:gd name="T11" fmla="*/ 23 h 53"/>
                  <a:gd name="T12" fmla="*/ 15 w 73"/>
                  <a:gd name="T13" fmla="*/ 27 h 53"/>
                  <a:gd name="T14" fmla="*/ 27 w 73"/>
                  <a:gd name="T15" fmla="*/ 35 h 53"/>
                  <a:gd name="T16" fmla="*/ 43 w 73"/>
                  <a:gd name="T17" fmla="*/ 49 h 53"/>
                  <a:gd name="T18" fmla="*/ 55 w 73"/>
                  <a:gd name="T19" fmla="*/ 53 h 53"/>
                  <a:gd name="T20" fmla="*/ 55 w 73"/>
                  <a:gd name="T21" fmla="*/ 31 h 53"/>
                  <a:gd name="T22" fmla="*/ 51 w 73"/>
                  <a:gd name="T23" fmla="*/ 1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" h="53">
                    <a:moveTo>
                      <a:pt x="51" y="17"/>
                    </a:moveTo>
                    <a:cubicBezTo>
                      <a:pt x="50" y="15"/>
                      <a:pt x="49" y="11"/>
                      <a:pt x="47" y="11"/>
                    </a:cubicBezTo>
                    <a:cubicBezTo>
                      <a:pt x="44" y="9"/>
                      <a:pt x="41" y="13"/>
                      <a:pt x="36" y="11"/>
                    </a:cubicBezTo>
                    <a:cubicBezTo>
                      <a:pt x="31" y="9"/>
                      <a:pt x="23" y="0"/>
                      <a:pt x="18" y="0"/>
                    </a:cubicBezTo>
                    <a:cubicBezTo>
                      <a:pt x="13" y="0"/>
                      <a:pt x="10" y="7"/>
                      <a:pt x="7" y="11"/>
                    </a:cubicBezTo>
                    <a:cubicBezTo>
                      <a:pt x="7" y="12"/>
                      <a:pt x="0" y="21"/>
                      <a:pt x="1" y="23"/>
                    </a:cubicBezTo>
                    <a:cubicBezTo>
                      <a:pt x="4" y="27"/>
                      <a:pt x="11" y="25"/>
                      <a:pt x="15" y="27"/>
                    </a:cubicBezTo>
                    <a:cubicBezTo>
                      <a:pt x="19" y="29"/>
                      <a:pt x="27" y="35"/>
                      <a:pt x="27" y="35"/>
                    </a:cubicBezTo>
                    <a:cubicBezTo>
                      <a:pt x="29" y="38"/>
                      <a:pt x="40" y="47"/>
                      <a:pt x="43" y="49"/>
                    </a:cubicBezTo>
                    <a:cubicBezTo>
                      <a:pt x="47" y="51"/>
                      <a:pt x="55" y="53"/>
                      <a:pt x="55" y="53"/>
                    </a:cubicBezTo>
                    <a:cubicBezTo>
                      <a:pt x="73" y="49"/>
                      <a:pt x="65" y="38"/>
                      <a:pt x="55" y="31"/>
                    </a:cubicBezTo>
                    <a:cubicBezTo>
                      <a:pt x="52" y="22"/>
                      <a:pt x="54" y="27"/>
                      <a:pt x="51" y="1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6" name="Freeform 68">
                <a:extLst>
                  <a:ext uri="{FF2B5EF4-FFF2-40B4-BE49-F238E27FC236}">
                    <a16:creationId xmlns:a16="http://schemas.microsoft.com/office/drawing/2014/main" id="{C1090146-8A1F-41A9-8705-C268BE88502E}"/>
                  </a:ext>
                </a:extLst>
              </p:cNvPr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gray">
              <a:xfrm>
                <a:off x="4476751" y="2905125"/>
                <a:ext cx="122238" cy="76200"/>
              </a:xfrm>
              <a:custGeom>
                <a:avLst/>
                <a:gdLst>
                  <a:gd name="T0" fmla="*/ 13 w 76"/>
                  <a:gd name="T1" fmla="*/ 12 h 48"/>
                  <a:gd name="T2" fmla="*/ 47 w 76"/>
                  <a:gd name="T3" fmla="*/ 4 h 48"/>
                  <a:gd name="T4" fmla="*/ 67 w 76"/>
                  <a:gd name="T5" fmla="*/ 7 h 48"/>
                  <a:gd name="T6" fmla="*/ 76 w 76"/>
                  <a:gd name="T7" fmla="*/ 18 h 48"/>
                  <a:gd name="T8" fmla="*/ 64 w 76"/>
                  <a:gd name="T9" fmla="*/ 25 h 48"/>
                  <a:gd name="T10" fmla="*/ 56 w 76"/>
                  <a:gd name="T11" fmla="*/ 31 h 48"/>
                  <a:gd name="T12" fmla="*/ 41 w 76"/>
                  <a:gd name="T13" fmla="*/ 39 h 48"/>
                  <a:gd name="T14" fmla="*/ 29 w 76"/>
                  <a:gd name="T15" fmla="*/ 43 h 48"/>
                  <a:gd name="T16" fmla="*/ 4 w 76"/>
                  <a:gd name="T17" fmla="*/ 34 h 48"/>
                  <a:gd name="T18" fmla="*/ 2 w 76"/>
                  <a:gd name="T19" fmla="*/ 18 h 48"/>
                  <a:gd name="T20" fmla="*/ 13 w 76"/>
                  <a:gd name="T21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6" h="48">
                    <a:moveTo>
                      <a:pt x="13" y="12"/>
                    </a:moveTo>
                    <a:cubicBezTo>
                      <a:pt x="37" y="4"/>
                      <a:pt x="23" y="0"/>
                      <a:pt x="47" y="4"/>
                    </a:cubicBezTo>
                    <a:cubicBezTo>
                      <a:pt x="53" y="5"/>
                      <a:pt x="70" y="1"/>
                      <a:pt x="67" y="7"/>
                    </a:cubicBezTo>
                    <a:cubicBezTo>
                      <a:pt x="72" y="9"/>
                      <a:pt x="76" y="15"/>
                      <a:pt x="76" y="18"/>
                    </a:cubicBezTo>
                    <a:cubicBezTo>
                      <a:pt x="76" y="21"/>
                      <a:pt x="67" y="23"/>
                      <a:pt x="64" y="25"/>
                    </a:cubicBezTo>
                    <a:cubicBezTo>
                      <a:pt x="61" y="27"/>
                      <a:pt x="60" y="29"/>
                      <a:pt x="56" y="31"/>
                    </a:cubicBezTo>
                    <a:cubicBezTo>
                      <a:pt x="52" y="33"/>
                      <a:pt x="45" y="37"/>
                      <a:pt x="41" y="39"/>
                    </a:cubicBezTo>
                    <a:cubicBezTo>
                      <a:pt x="37" y="41"/>
                      <a:pt x="35" y="44"/>
                      <a:pt x="29" y="43"/>
                    </a:cubicBezTo>
                    <a:cubicBezTo>
                      <a:pt x="23" y="48"/>
                      <a:pt x="9" y="38"/>
                      <a:pt x="4" y="34"/>
                    </a:cubicBezTo>
                    <a:cubicBezTo>
                      <a:pt x="0" y="30"/>
                      <a:pt x="0" y="22"/>
                      <a:pt x="2" y="18"/>
                    </a:cubicBezTo>
                    <a:cubicBezTo>
                      <a:pt x="7" y="14"/>
                      <a:pt x="18" y="17"/>
                      <a:pt x="13" y="1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7" name="Freeform 69">
                <a:extLst>
                  <a:ext uri="{FF2B5EF4-FFF2-40B4-BE49-F238E27FC236}">
                    <a16:creationId xmlns:a16="http://schemas.microsoft.com/office/drawing/2014/main" id="{0B68E6AA-7341-49CD-A3A2-E056B2FA661F}"/>
                  </a:ext>
                </a:extLst>
              </p:cNvPr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gray">
              <a:xfrm>
                <a:off x="4398963" y="2759075"/>
                <a:ext cx="82550" cy="93663"/>
              </a:xfrm>
              <a:custGeom>
                <a:avLst/>
                <a:gdLst>
                  <a:gd name="T0" fmla="*/ 20 w 51"/>
                  <a:gd name="T1" fmla="*/ 5 h 59"/>
                  <a:gd name="T2" fmla="*/ 47 w 51"/>
                  <a:gd name="T3" fmla="*/ 17 h 59"/>
                  <a:gd name="T4" fmla="*/ 50 w 51"/>
                  <a:gd name="T5" fmla="*/ 29 h 59"/>
                  <a:gd name="T6" fmla="*/ 48 w 51"/>
                  <a:gd name="T7" fmla="*/ 59 h 59"/>
                  <a:gd name="T8" fmla="*/ 26 w 51"/>
                  <a:gd name="T9" fmla="*/ 39 h 59"/>
                  <a:gd name="T10" fmla="*/ 6 w 51"/>
                  <a:gd name="T11" fmla="*/ 25 h 59"/>
                  <a:gd name="T12" fmla="*/ 10 w 51"/>
                  <a:gd name="T13" fmla="*/ 7 h 59"/>
                  <a:gd name="T14" fmla="*/ 12 w 51"/>
                  <a:gd name="T15" fmla="*/ 1 h 59"/>
                  <a:gd name="T16" fmla="*/ 22 w 51"/>
                  <a:gd name="T17" fmla="*/ 3 h 59"/>
                  <a:gd name="T18" fmla="*/ 28 w 51"/>
                  <a:gd name="T19" fmla="*/ 5 h 59"/>
                  <a:gd name="T20" fmla="*/ 20 w 51"/>
                  <a:gd name="T21" fmla="*/ 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9">
                    <a:moveTo>
                      <a:pt x="20" y="5"/>
                    </a:moveTo>
                    <a:cubicBezTo>
                      <a:pt x="27" y="7"/>
                      <a:pt x="40" y="15"/>
                      <a:pt x="47" y="17"/>
                    </a:cubicBezTo>
                    <a:cubicBezTo>
                      <a:pt x="51" y="24"/>
                      <a:pt x="47" y="21"/>
                      <a:pt x="50" y="29"/>
                    </a:cubicBezTo>
                    <a:cubicBezTo>
                      <a:pt x="47" y="38"/>
                      <a:pt x="49" y="50"/>
                      <a:pt x="48" y="59"/>
                    </a:cubicBezTo>
                    <a:cubicBezTo>
                      <a:pt x="26" y="55"/>
                      <a:pt x="42" y="49"/>
                      <a:pt x="26" y="39"/>
                    </a:cubicBezTo>
                    <a:cubicBezTo>
                      <a:pt x="23" y="31"/>
                      <a:pt x="14" y="28"/>
                      <a:pt x="6" y="25"/>
                    </a:cubicBezTo>
                    <a:cubicBezTo>
                      <a:pt x="0" y="16"/>
                      <a:pt x="3" y="14"/>
                      <a:pt x="10" y="7"/>
                    </a:cubicBezTo>
                    <a:cubicBezTo>
                      <a:pt x="11" y="5"/>
                      <a:pt x="10" y="2"/>
                      <a:pt x="12" y="1"/>
                    </a:cubicBezTo>
                    <a:cubicBezTo>
                      <a:pt x="15" y="0"/>
                      <a:pt x="19" y="2"/>
                      <a:pt x="22" y="3"/>
                    </a:cubicBezTo>
                    <a:cubicBezTo>
                      <a:pt x="24" y="4"/>
                      <a:pt x="29" y="4"/>
                      <a:pt x="28" y="5"/>
                    </a:cubicBezTo>
                    <a:cubicBezTo>
                      <a:pt x="26" y="7"/>
                      <a:pt x="23" y="5"/>
                      <a:pt x="20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8" name="Freeform 70">
                <a:extLst>
                  <a:ext uri="{FF2B5EF4-FFF2-40B4-BE49-F238E27FC236}">
                    <a16:creationId xmlns:a16="http://schemas.microsoft.com/office/drawing/2014/main" id="{66623E06-891D-4DCD-8D9C-5D91A7FEB4BF}"/>
                  </a:ext>
                </a:extLst>
              </p:cNvPr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gray">
              <a:xfrm>
                <a:off x="5591176" y="3071813"/>
                <a:ext cx="330200" cy="234950"/>
              </a:xfrm>
              <a:custGeom>
                <a:avLst/>
                <a:gdLst>
                  <a:gd name="T0" fmla="*/ 16 w 205"/>
                  <a:gd name="T1" fmla="*/ 112 h 148"/>
                  <a:gd name="T2" fmla="*/ 13 w 205"/>
                  <a:gd name="T3" fmla="*/ 72 h 148"/>
                  <a:gd name="T4" fmla="*/ 1 w 205"/>
                  <a:gd name="T5" fmla="*/ 55 h 148"/>
                  <a:gd name="T6" fmla="*/ 10 w 205"/>
                  <a:gd name="T7" fmla="*/ 24 h 148"/>
                  <a:gd name="T8" fmla="*/ 35 w 205"/>
                  <a:gd name="T9" fmla="*/ 28 h 148"/>
                  <a:gd name="T10" fmla="*/ 48 w 205"/>
                  <a:gd name="T11" fmla="*/ 28 h 148"/>
                  <a:gd name="T12" fmla="*/ 61 w 205"/>
                  <a:gd name="T13" fmla="*/ 34 h 148"/>
                  <a:gd name="T14" fmla="*/ 72 w 205"/>
                  <a:gd name="T15" fmla="*/ 27 h 148"/>
                  <a:gd name="T16" fmla="*/ 85 w 205"/>
                  <a:gd name="T17" fmla="*/ 12 h 148"/>
                  <a:gd name="T18" fmla="*/ 108 w 205"/>
                  <a:gd name="T19" fmla="*/ 12 h 148"/>
                  <a:gd name="T20" fmla="*/ 112 w 205"/>
                  <a:gd name="T21" fmla="*/ 30 h 148"/>
                  <a:gd name="T22" fmla="*/ 133 w 205"/>
                  <a:gd name="T23" fmla="*/ 34 h 148"/>
                  <a:gd name="T24" fmla="*/ 144 w 205"/>
                  <a:gd name="T25" fmla="*/ 46 h 148"/>
                  <a:gd name="T26" fmla="*/ 145 w 205"/>
                  <a:gd name="T27" fmla="*/ 60 h 148"/>
                  <a:gd name="T28" fmla="*/ 171 w 205"/>
                  <a:gd name="T29" fmla="*/ 81 h 148"/>
                  <a:gd name="T30" fmla="*/ 195 w 205"/>
                  <a:gd name="T31" fmla="*/ 94 h 148"/>
                  <a:gd name="T32" fmla="*/ 205 w 205"/>
                  <a:gd name="T33" fmla="*/ 105 h 148"/>
                  <a:gd name="T34" fmla="*/ 186 w 205"/>
                  <a:gd name="T35" fmla="*/ 111 h 148"/>
                  <a:gd name="T36" fmla="*/ 177 w 205"/>
                  <a:gd name="T37" fmla="*/ 130 h 148"/>
                  <a:gd name="T38" fmla="*/ 163 w 205"/>
                  <a:gd name="T39" fmla="*/ 139 h 148"/>
                  <a:gd name="T40" fmla="*/ 151 w 205"/>
                  <a:gd name="T41" fmla="*/ 148 h 148"/>
                  <a:gd name="T42" fmla="*/ 130 w 205"/>
                  <a:gd name="T43" fmla="*/ 141 h 148"/>
                  <a:gd name="T44" fmla="*/ 112 w 205"/>
                  <a:gd name="T45" fmla="*/ 123 h 148"/>
                  <a:gd name="T46" fmla="*/ 100 w 205"/>
                  <a:gd name="T47" fmla="*/ 114 h 148"/>
                  <a:gd name="T48" fmla="*/ 82 w 205"/>
                  <a:gd name="T49" fmla="*/ 105 h 148"/>
                  <a:gd name="T50" fmla="*/ 59 w 205"/>
                  <a:gd name="T51" fmla="*/ 100 h 148"/>
                  <a:gd name="T52" fmla="*/ 39 w 205"/>
                  <a:gd name="T53" fmla="*/ 102 h 148"/>
                  <a:gd name="T54" fmla="*/ 24 w 205"/>
                  <a:gd name="T55" fmla="*/ 106 h 148"/>
                  <a:gd name="T56" fmla="*/ 16 w 205"/>
                  <a:gd name="T57" fmla="*/ 112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5" h="148">
                    <a:moveTo>
                      <a:pt x="16" y="112"/>
                    </a:moveTo>
                    <a:cubicBezTo>
                      <a:pt x="22" y="99"/>
                      <a:pt x="21" y="83"/>
                      <a:pt x="13" y="72"/>
                    </a:cubicBezTo>
                    <a:cubicBezTo>
                      <a:pt x="12" y="65"/>
                      <a:pt x="5" y="61"/>
                      <a:pt x="1" y="55"/>
                    </a:cubicBezTo>
                    <a:cubicBezTo>
                      <a:pt x="2" y="44"/>
                      <a:pt x="0" y="31"/>
                      <a:pt x="10" y="24"/>
                    </a:cubicBezTo>
                    <a:cubicBezTo>
                      <a:pt x="16" y="20"/>
                      <a:pt x="29" y="26"/>
                      <a:pt x="35" y="28"/>
                    </a:cubicBezTo>
                    <a:cubicBezTo>
                      <a:pt x="41" y="29"/>
                      <a:pt x="44" y="27"/>
                      <a:pt x="48" y="28"/>
                    </a:cubicBezTo>
                    <a:cubicBezTo>
                      <a:pt x="56" y="30"/>
                      <a:pt x="57" y="34"/>
                      <a:pt x="61" y="34"/>
                    </a:cubicBezTo>
                    <a:cubicBezTo>
                      <a:pt x="65" y="34"/>
                      <a:pt x="68" y="31"/>
                      <a:pt x="72" y="27"/>
                    </a:cubicBezTo>
                    <a:cubicBezTo>
                      <a:pt x="73" y="11"/>
                      <a:pt x="72" y="16"/>
                      <a:pt x="85" y="12"/>
                    </a:cubicBezTo>
                    <a:cubicBezTo>
                      <a:pt x="92" y="14"/>
                      <a:pt x="101" y="9"/>
                      <a:pt x="108" y="12"/>
                    </a:cubicBezTo>
                    <a:cubicBezTo>
                      <a:pt x="118" y="25"/>
                      <a:pt x="100" y="0"/>
                      <a:pt x="112" y="30"/>
                    </a:cubicBezTo>
                    <a:cubicBezTo>
                      <a:pt x="113" y="32"/>
                      <a:pt x="130" y="34"/>
                      <a:pt x="133" y="34"/>
                    </a:cubicBezTo>
                    <a:cubicBezTo>
                      <a:pt x="137" y="38"/>
                      <a:pt x="141" y="41"/>
                      <a:pt x="144" y="46"/>
                    </a:cubicBezTo>
                    <a:cubicBezTo>
                      <a:pt x="144" y="51"/>
                      <a:pt x="143" y="56"/>
                      <a:pt x="145" y="60"/>
                    </a:cubicBezTo>
                    <a:cubicBezTo>
                      <a:pt x="146" y="62"/>
                      <a:pt x="168" y="80"/>
                      <a:pt x="171" y="81"/>
                    </a:cubicBezTo>
                    <a:cubicBezTo>
                      <a:pt x="177" y="89"/>
                      <a:pt x="185" y="92"/>
                      <a:pt x="195" y="94"/>
                    </a:cubicBezTo>
                    <a:cubicBezTo>
                      <a:pt x="200" y="98"/>
                      <a:pt x="204" y="98"/>
                      <a:pt x="205" y="105"/>
                    </a:cubicBezTo>
                    <a:cubicBezTo>
                      <a:pt x="199" y="109"/>
                      <a:pt x="193" y="109"/>
                      <a:pt x="186" y="111"/>
                    </a:cubicBezTo>
                    <a:cubicBezTo>
                      <a:pt x="175" y="118"/>
                      <a:pt x="182" y="117"/>
                      <a:pt x="177" y="130"/>
                    </a:cubicBezTo>
                    <a:cubicBezTo>
                      <a:pt x="175" y="135"/>
                      <a:pt x="163" y="139"/>
                      <a:pt x="163" y="139"/>
                    </a:cubicBezTo>
                    <a:cubicBezTo>
                      <a:pt x="159" y="145"/>
                      <a:pt x="158" y="147"/>
                      <a:pt x="151" y="148"/>
                    </a:cubicBezTo>
                    <a:cubicBezTo>
                      <a:pt x="139" y="147"/>
                      <a:pt x="139" y="146"/>
                      <a:pt x="130" y="141"/>
                    </a:cubicBezTo>
                    <a:cubicBezTo>
                      <a:pt x="128" y="131"/>
                      <a:pt x="120" y="128"/>
                      <a:pt x="112" y="123"/>
                    </a:cubicBezTo>
                    <a:cubicBezTo>
                      <a:pt x="108" y="117"/>
                      <a:pt x="107" y="115"/>
                      <a:pt x="100" y="114"/>
                    </a:cubicBezTo>
                    <a:cubicBezTo>
                      <a:pt x="94" y="110"/>
                      <a:pt x="89" y="106"/>
                      <a:pt x="82" y="105"/>
                    </a:cubicBezTo>
                    <a:cubicBezTo>
                      <a:pt x="75" y="103"/>
                      <a:pt x="66" y="100"/>
                      <a:pt x="59" y="100"/>
                    </a:cubicBezTo>
                    <a:cubicBezTo>
                      <a:pt x="52" y="100"/>
                      <a:pt x="45" y="101"/>
                      <a:pt x="39" y="102"/>
                    </a:cubicBezTo>
                    <a:cubicBezTo>
                      <a:pt x="34" y="103"/>
                      <a:pt x="29" y="105"/>
                      <a:pt x="24" y="106"/>
                    </a:cubicBezTo>
                    <a:cubicBezTo>
                      <a:pt x="17" y="109"/>
                      <a:pt x="20" y="107"/>
                      <a:pt x="16" y="11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2" name="Freeform 71">
                <a:extLst>
                  <a:ext uri="{FF2B5EF4-FFF2-40B4-BE49-F238E27FC236}">
                    <a16:creationId xmlns:a16="http://schemas.microsoft.com/office/drawing/2014/main" id="{E262463C-02FC-4F2F-9F13-2FA9F8A164A4}"/>
                  </a:ext>
                </a:extLst>
              </p:cNvPr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gray">
              <a:xfrm>
                <a:off x="4845051" y="2503488"/>
                <a:ext cx="177800" cy="114300"/>
              </a:xfrm>
              <a:custGeom>
                <a:avLst/>
                <a:gdLst>
                  <a:gd name="T0" fmla="*/ 46 w 110"/>
                  <a:gd name="T1" fmla="*/ 8 h 72"/>
                  <a:gd name="T2" fmla="*/ 34 w 110"/>
                  <a:gd name="T3" fmla="*/ 29 h 72"/>
                  <a:gd name="T4" fmla="*/ 13 w 110"/>
                  <a:gd name="T5" fmla="*/ 22 h 72"/>
                  <a:gd name="T6" fmla="*/ 0 w 110"/>
                  <a:gd name="T7" fmla="*/ 50 h 72"/>
                  <a:gd name="T8" fmla="*/ 52 w 110"/>
                  <a:gd name="T9" fmla="*/ 49 h 72"/>
                  <a:gd name="T10" fmla="*/ 81 w 110"/>
                  <a:gd name="T11" fmla="*/ 70 h 72"/>
                  <a:gd name="T12" fmla="*/ 100 w 110"/>
                  <a:gd name="T13" fmla="*/ 61 h 72"/>
                  <a:gd name="T14" fmla="*/ 100 w 110"/>
                  <a:gd name="T15" fmla="*/ 11 h 72"/>
                  <a:gd name="T16" fmla="*/ 87 w 110"/>
                  <a:gd name="T17" fmla="*/ 17 h 72"/>
                  <a:gd name="T18" fmla="*/ 66 w 110"/>
                  <a:gd name="T19" fmla="*/ 10 h 72"/>
                  <a:gd name="T20" fmla="*/ 46 w 110"/>
                  <a:gd name="T21" fmla="*/ 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72">
                    <a:moveTo>
                      <a:pt x="46" y="8"/>
                    </a:moveTo>
                    <a:cubicBezTo>
                      <a:pt x="45" y="21"/>
                      <a:pt x="47" y="26"/>
                      <a:pt x="34" y="29"/>
                    </a:cubicBezTo>
                    <a:cubicBezTo>
                      <a:pt x="26" y="28"/>
                      <a:pt x="21" y="23"/>
                      <a:pt x="13" y="22"/>
                    </a:cubicBezTo>
                    <a:cubicBezTo>
                      <a:pt x="0" y="15"/>
                      <a:pt x="7" y="40"/>
                      <a:pt x="0" y="50"/>
                    </a:cubicBezTo>
                    <a:cubicBezTo>
                      <a:pt x="6" y="56"/>
                      <a:pt x="35" y="47"/>
                      <a:pt x="52" y="49"/>
                    </a:cubicBezTo>
                    <a:cubicBezTo>
                      <a:pt x="65" y="52"/>
                      <a:pt x="73" y="68"/>
                      <a:pt x="81" y="70"/>
                    </a:cubicBezTo>
                    <a:cubicBezTo>
                      <a:pt x="89" y="72"/>
                      <a:pt x="97" y="71"/>
                      <a:pt x="100" y="61"/>
                    </a:cubicBezTo>
                    <a:cubicBezTo>
                      <a:pt x="109" y="46"/>
                      <a:pt x="110" y="27"/>
                      <a:pt x="100" y="11"/>
                    </a:cubicBezTo>
                    <a:cubicBezTo>
                      <a:pt x="95" y="13"/>
                      <a:pt x="91" y="14"/>
                      <a:pt x="87" y="17"/>
                    </a:cubicBezTo>
                    <a:cubicBezTo>
                      <a:pt x="77" y="16"/>
                      <a:pt x="73" y="17"/>
                      <a:pt x="66" y="10"/>
                    </a:cubicBezTo>
                    <a:cubicBezTo>
                      <a:pt x="62" y="0"/>
                      <a:pt x="55" y="5"/>
                      <a:pt x="46" y="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3" name="Freeform 72">
                <a:extLst>
                  <a:ext uri="{FF2B5EF4-FFF2-40B4-BE49-F238E27FC236}">
                    <a16:creationId xmlns:a16="http://schemas.microsoft.com/office/drawing/2014/main" id="{9AB341CD-CD29-453E-9712-FBF4F269297C}"/>
                  </a:ext>
                </a:extLst>
              </p:cNvPr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gray">
              <a:xfrm>
                <a:off x="4837113" y="2581275"/>
                <a:ext cx="139700" cy="100013"/>
              </a:xfrm>
              <a:custGeom>
                <a:avLst/>
                <a:gdLst>
                  <a:gd name="T0" fmla="*/ 8 w 86"/>
                  <a:gd name="T1" fmla="*/ 4 h 63"/>
                  <a:gd name="T2" fmla="*/ 5 w 86"/>
                  <a:gd name="T3" fmla="*/ 25 h 63"/>
                  <a:gd name="T4" fmla="*/ 26 w 86"/>
                  <a:gd name="T5" fmla="*/ 45 h 63"/>
                  <a:gd name="T6" fmla="*/ 30 w 86"/>
                  <a:gd name="T7" fmla="*/ 58 h 63"/>
                  <a:gd name="T8" fmla="*/ 47 w 86"/>
                  <a:gd name="T9" fmla="*/ 63 h 63"/>
                  <a:gd name="T10" fmla="*/ 66 w 86"/>
                  <a:gd name="T11" fmla="*/ 58 h 63"/>
                  <a:gd name="T12" fmla="*/ 72 w 86"/>
                  <a:gd name="T13" fmla="*/ 46 h 63"/>
                  <a:gd name="T14" fmla="*/ 86 w 86"/>
                  <a:gd name="T15" fmla="*/ 28 h 63"/>
                  <a:gd name="T16" fmla="*/ 78 w 86"/>
                  <a:gd name="T17" fmla="*/ 16 h 63"/>
                  <a:gd name="T18" fmla="*/ 63 w 86"/>
                  <a:gd name="T19" fmla="*/ 3 h 63"/>
                  <a:gd name="T20" fmla="*/ 41 w 86"/>
                  <a:gd name="T21" fmla="*/ 1 h 63"/>
                  <a:gd name="T22" fmla="*/ 8 w 86"/>
                  <a:gd name="T23" fmla="*/ 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63">
                    <a:moveTo>
                      <a:pt x="8" y="4"/>
                    </a:moveTo>
                    <a:cubicBezTo>
                      <a:pt x="0" y="7"/>
                      <a:pt x="2" y="18"/>
                      <a:pt x="5" y="25"/>
                    </a:cubicBezTo>
                    <a:cubicBezTo>
                      <a:pt x="8" y="32"/>
                      <a:pt x="22" y="40"/>
                      <a:pt x="26" y="45"/>
                    </a:cubicBezTo>
                    <a:cubicBezTo>
                      <a:pt x="31" y="51"/>
                      <a:pt x="24" y="54"/>
                      <a:pt x="30" y="58"/>
                    </a:cubicBezTo>
                    <a:cubicBezTo>
                      <a:pt x="33" y="61"/>
                      <a:pt x="41" y="63"/>
                      <a:pt x="47" y="63"/>
                    </a:cubicBezTo>
                    <a:cubicBezTo>
                      <a:pt x="53" y="63"/>
                      <a:pt x="62" y="61"/>
                      <a:pt x="66" y="58"/>
                    </a:cubicBezTo>
                    <a:cubicBezTo>
                      <a:pt x="70" y="56"/>
                      <a:pt x="71" y="50"/>
                      <a:pt x="72" y="46"/>
                    </a:cubicBezTo>
                    <a:cubicBezTo>
                      <a:pt x="73" y="40"/>
                      <a:pt x="83" y="33"/>
                      <a:pt x="86" y="28"/>
                    </a:cubicBezTo>
                    <a:cubicBezTo>
                      <a:pt x="83" y="22"/>
                      <a:pt x="84" y="20"/>
                      <a:pt x="78" y="16"/>
                    </a:cubicBezTo>
                    <a:cubicBezTo>
                      <a:pt x="74" y="11"/>
                      <a:pt x="68" y="6"/>
                      <a:pt x="63" y="3"/>
                    </a:cubicBezTo>
                    <a:cubicBezTo>
                      <a:pt x="57" y="1"/>
                      <a:pt x="50" y="0"/>
                      <a:pt x="41" y="1"/>
                    </a:cubicBezTo>
                    <a:cubicBezTo>
                      <a:pt x="32" y="1"/>
                      <a:pt x="15" y="3"/>
                      <a:pt x="8" y="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4" name="Freeform 73">
                <a:extLst>
                  <a:ext uri="{FF2B5EF4-FFF2-40B4-BE49-F238E27FC236}">
                    <a16:creationId xmlns:a16="http://schemas.microsoft.com/office/drawing/2014/main" id="{D92F3AB3-EB26-48D2-A746-325DDB6FBD8B}"/>
                  </a:ext>
                </a:extLst>
              </p:cNvPr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gray">
              <a:xfrm>
                <a:off x="4892676" y="2597150"/>
                <a:ext cx="206375" cy="185738"/>
              </a:xfrm>
              <a:custGeom>
                <a:avLst/>
                <a:gdLst>
                  <a:gd name="T0" fmla="*/ 11 w 128"/>
                  <a:gd name="T1" fmla="*/ 54 h 117"/>
                  <a:gd name="T2" fmla="*/ 2 w 128"/>
                  <a:gd name="T3" fmla="*/ 92 h 117"/>
                  <a:gd name="T4" fmla="*/ 10 w 128"/>
                  <a:gd name="T5" fmla="*/ 114 h 117"/>
                  <a:gd name="T6" fmla="*/ 22 w 128"/>
                  <a:gd name="T7" fmla="*/ 110 h 117"/>
                  <a:gd name="T8" fmla="*/ 61 w 128"/>
                  <a:gd name="T9" fmla="*/ 110 h 117"/>
                  <a:gd name="T10" fmla="*/ 83 w 128"/>
                  <a:gd name="T11" fmla="*/ 114 h 117"/>
                  <a:gd name="T12" fmla="*/ 107 w 128"/>
                  <a:gd name="T13" fmla="*/ 109 h 117"/>
                  <a:gd name="T14" fmla="*/ 118 w 128"/>
                  <a:gd name="T15" fmla="*/ 102 h 117"/>
                  <a:gd name="T16" fmla="*/ 124 w 128"/>
                  <a:gd name="T17" fmla="*/ 84 h 117"/>
                  <a:gd name="T18" fmla="*/ 122 w 128"/>
                  <a:gd name="T19" fmla="*/ 68 h 117"/>
                  <a:gd name="T20" fmla="*/ 119 w 128"/>
                  <a:gd name="T21" fmla="*/ 51 h 117"/>
                  <a:gd name="T22" fmla="*/ 104 w 128"/>
                  <a:gd name="T23" fmla="*/ 23 h 117"/>
                  <a:gd name="T24" fmla="*/ 91 w 128"/>
                  <a:gd name="T25" fmla="*/ 6 h 117"/>
                  <a:gd name="T26" fmla="*/ 74 w 128"/>
                  <a:gd name="T27" fmla="*/ 2 h 117"/>
                  <a:gd name="T28" fmla="*/ 56 w 128"/>
                  <a:gd name="T29" fmla="*/ 15 h 117"/>
                  <a:gd name="T30" fmla="*/ 44 w 128"/>
                  <a:gd name="T31" fmla="*/ 26 h 117"/>
                  <a:gd name="T32" fmla="*/ 41 w 128"/>
                  <a:gd name="T33" fmla="*/ 37 h 117"/>
                  <a:gd name="T34" fmla="*/ 35 w 128"/>
                  <a:gd name="T35" fmla="*/ 48 h 117"/>
                  <a:gd name="T36" fmla="*/ 23 w 128"/>
                  <a:gd name="T37" fmla="*/ 53 h 117"/>
                  <a:gd name="T38" fmla="*/ 11 w 128"/>
                  <a:gd name="T39" fmla="*/ 5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17">
                    <a:moveTo>
                      <a:pt x="11" y="54"/>
                    </a:moveTo>
                    <a:cubicBezTo>
                      <a:pt x="8" y="67"/>
                      <a:pt x="14" y="85"/>
                      <a:pt x="2" y="92"/>
                    </a:cubicBezTo>
                    <a:cubicBezTo>
                      <a:pt x="2" y="100"/>
                      <a:pt x="0" y="111"/>
                      <a:pt x="10" y="114"/>
                    </a:cubicBezTo>
                    <a:cubicBezTo>
                      <a:pt x="13" y="117"/>
                      <a:pt x="14" y="111"/>
                      <a:pt x="22" y="110"/>
                    </a:cubicBezTo>
                    <a:cubicBezTo>
                      <a:pt x="30" y="109"/>
                      <a:pt x="51" y="109"/>
                      <a:pt x="61" y="110"/>
                    </a:cubicBezTo>
                    <a:cubicBezTo>
                      <a:pt x="68" y="114"/>
                      <a:pt x="76" y="109"/>
                      <a:pt x="83" y="114"/>
                    </a:cubicBezTo>
                    <a:cubicBezTo>
                      <a:pt x="91" y="114"/>
                      <a:pt x="101" y="111"/>
                      <a:pt x="107" y="109"/>
                    </a:cubicBezTo>
                    <a:cubicBezTo>
                      <a:pt x="113" y="107"/>
                      <a:pt x="115" y="106"/>
                      <a:pt x="118" y="102"/>
                    </a:cubicBezTo>
                    <a:cubicBezTo>
                      <a:pt x="119" y="94"/>
                      <a:pt x="128" y="89"/>
                      <a:pt x="124" y="84"/>
                    </a:cubicBezTo>
                    <a:cubicBezTo>
                      <a:pt x="122" y="76"/>
                      <a:pt x="118" y="75"/>
                      <a:pt x="122" y="68"/>
                    </a:cubicBezTo>
                    <a:cubicBezTo>
                      <a:pt x="119" y="62"/>
                      <a:pt x="121" y="57"/>
                      <a:pt x="119" y="51"/>
                    </a:cubicBezTo>
                    <a:cubicBezTo>
                      <a:pt x="117" y="40"/>
                      <a:pt x="116" y="25"/>
                      <a:pt x="104" y="23"/>
                    </a:cubicBezTo>
                    <a:cubicBezTo>
                      <a:pt x="98" y="19"/>
                      <a:pt x="91" y="6"/>
                      <a:pt x="91" y="6"/>
                    </a:cubicBezTo>
                    <a:cubicBezTo>
                      <a:pt x="87" y="0"/>
                      <a:pt x="81" y="3"/>
                      <a:pt x="74" y="2"/>
                    </a:cubicBezTo>
                    <a:cubicBezTo>
                      <a:pt x="67" y="6"/>
                      <a:pt x="64" y="14"/>
                      <a:pt x="56" y="15"/>
                    </a:cubicBezTo>
                    <a:cubicBezTo>
                      <a:pt x="53" y="20"/>
                      <a:pt x="47" y="21"/>
                      <a:pt x="44" y="26"/>
                    </a:cubicBezTo>
                    <a:cubicBezTo>
                      <a:pt x="42" y="30"/>
                      <a:pt x="42" y="33"/>
                      <a:pt x="41" y="37"/>
                    </a:cubicBezTo>
                    <a:cubicBezTo>
                      <a:pt x="40" y="41"/>
                      <a:pt x="38" y="45"/>
                      <a:pt x="35" y="48"/>
                    </a:cubicBezTo>
                    <a:cubicBezTo>
                      <a:pt x="26" y="47"/>
                      <a:pt x="27" y="52"/>
                      <a:pt x="23" y="53"/>
                    </a:cubicBezTo>
                    <a:cubicBezTo>
                      <a:pt x="19" y="54"/>
                      <a:pt x="13" y="54"/>
                      <a:pt x="11" y="5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5" name="Freeform 74">
                <a:extLst>
                  <a:ext uri="{FF2B5EF4-FFF2-40B4-BE49-F238E27FC236}">
                    <a16:creationId xmlns:a16="http://schemas.microsoft.com/office/drawing/2014/main" id="{A97BD415-6234-456F-B0AF-EECB6F13FDB3}"/>
                  </a:ext>
                </a:extLst>
              </p:cNvPr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gray">
              <a:xfrm>
                <a:off x="4473576" y="2657475"/>
                <a:ext cx="207963" cy="265113"/>
              </a:xfrm>
              <a:custGeom>
                <a:avLst/>
                <a:gdLst>
                  <a:gd name="T0" fmla="*/ 3 w 129"/>
                  <a:gd name="T1" fmla="*/ 127 h 167"/>
                  <a:gd name="T2" fmla="*/ 4 w 129"/>
                  <a:gd name="T3" fmla="*/ 109 h 167"/>
                  <a:gd name="T4" fmla="*/ 3 w 129"/>
                  <a:gd name="T5" fmla="*/ 88 h 167"/>
                  <a:gd name="T6" fmla="*/ 7 w 129"/>
                  <a:gd name="T7" fmla="*/ 69 h 167"/>
                  <a:gd name="T8" fmla="*/ 15 w 129"/>
                  <a:gd name="T9" fmla="*/ 52 h 167"/>
                  <a:gd name="T10" fmla="*/ 24 w 129"/>
                  <a:gd name="T11" fmla="*/ 28 h 167"/>
                  <a:gd name="T12" fmla="*/ 52 w 129"/>
                  <a:gd name="T13" fmla="*/ 22 h 167"/>
                  <a:gd name="T14" fmla="*/ 57 w 129"/>
                  <a:gd name="T15" fmla="*/ 0 h 167"/>
                  <a:gd name="T16" fmla="*/ 75 w 129"/>
                  <a:gd name="T17" fmla="*/ 13 h 167"/>
                  <a:gd name="T18" fmla="*/ 87 w 129"/>
                  <a:gd name="T19" fmla="*/ 21 h 167"/>
                  <a:gd name="T20" fmla="*/ 114 w 129"/>
                  <a:gd name="T21" fmla="*/ 13 h 167"/>
                  <a:gd name="T22" fmla="*/ 123 w 129"/>
                  <a:gd name="T23" fmla="*/ 27 h 167"/>
                  <a:gd name="T24" fmla="*/ 129 w 129"/>
                  <a:gd name="T25" fmla="*/ 58 h 167"/>
                  <a:gd name="T26" fmla="*/ 126 w 129"/>
                  <a:gd name="T27" fmla="*/ 88 h 167"/>
                  <a:gd name="T28" fmla="*/ 111 w 129"/>
                  <a:gd name="T29" fmla="*/ 100 h 167"/>
                  <a:gd name="T30" fmla="*/ 97 w 129"/>
                  <a:gd name="T31" fmla="*/ 108 h 167"/>
                  <a:gd name="T32" fmla="*/ 97 w 129"/>
                  <a:gd name="T33" fmla="*/ 120 h 167"/>
                  <a:gd name="T34" fmla="*/ 111 w 129"/>
                  <a:gd name="T35" fmla="*/ 129 h 167"/>
                  <a:gd name="T36" fmla="*/ 103 w 129"/>
                  <a:gd name="T37" fmla="*/ 156 h 167"/>
                  <a:gd name="T38" fmla="*/ 96 w 129"/>
                  <a:gd name="T39" fmla="*/ 165 h 167"/>
                  <a:gd name="T40" fmla="*/ 76 w 129"/>
                  <a:gd name="T41" fmla="*/ 166 h 167"/>
                  <a:gd name="T42" fmla="*/ 28 w 129"/>
                  <a:gd name="T43" fmla="*/ 159 h 167"/>
                  <a:gd name="T44" fmla="*/ 30 w 129"/>
                  <a:gd name="T45" fmla="*/ 141 h 167"/>
                  <a:gd name="T46" fmla="*/ 16 w 129"/>
                  <a:gd name="T47" fmla="*/ 129 h 167"/>
                  <a:gd name="T48" fmla="*/ 3 w 129"/>
                  <a:gd name="T49" fmla="*/ 12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" h="167">
                    <a:moveTo>
                      <a:pt x="3" y="127"/>
                    </a:moveTo>
                    <a:cubicBezTo>
                      <a:pt x="0" y="123"/>
                      <a:pt x="3" y="119"/>
                      <a:pt x="4" y="109"/>
                    </a:cubicBezTo>
                    <a:cubicBezTo>
                      <a:pt x="4" y="103"/>
                      <a:pt x="2" y="95"/>
                      <a:pt x="3" y="88"/>
                    </a:cubicBezTo>
                    <a:cubicBezTo>
                      <a:pt x="4" y="81"/>
                      <a:pt x="5" y="75"/>
                      <a:pt x="7" y="69"/>
                    </a:cubicBezTo>
                    <a:cubicBezTo>
                      <a:pt x="8" y="59"/>
                      <a:pt x="10" y="58"/>
                      <a:pt x="15" y="52"/>
                    </a:cubicBezTo>
                    <a:cubicBezTo>
                      <a:pt x="18" y="45"/>
                      <a:pt x="18" y="33"/>
                      <a:pt x="24" y="28"/>
                    </a:cubicBezTo>
                    <a:cubicBezTo>
                      <a:pt x="28" y="17"/>
                      <a:pt x="39" y="24"/>
                      <a:pt x="52" y="22"/>
                    </a:cubicBezTo>
                    <a:cubicBezTo>
                      <a:pt x="54" y="14"/>
                      <a:pt x="46" y="2"/>
                      <a:pt x="57" y="0"/>
                    </a:cubicBezTo>
                    <a:cubicBezTo>
                      <a:pt x="70" y="1"/>
                      <a:pt x="68" y="4"/>
                      <a:pt x="75" y="13"/>
                    </a:cubicBezTo>
                    <a:cubicBezTo>
                      <a:pt x="77" y="22"/>
                      <a:pt x="78" y="22"/>
                      <a:pt x="87" y="21"/>
                    </a:cubicBezTo>
                    <a:cubicBezTo>
                      <a:pt x="95" y="8"/>
                      <a:pt x="92" y="12"/>
                      <a:pt x="114" y="13"/>
                    </a:cubicBezTo>
                    <a:cubicBezTo>
                      <a:pt x="115" y="20"/>
                      <a:pt x="120" y="20"/>
                      <a:pt x="123" y="27"/>
                    </a:cubicBezTo>
                    <a:cubicBezTo>
                      <a:pt x="124" y="37"/>
                      <a:pt x="124" y="49"/>
                      <a:pt x="129" y="58"/>
                    </a:cubicBezTo>
                    <a:cubicBezTo>
                      <a:pt x="129" y="69"/>
                      <a:pt x="129" y="81"/>
                      <a:pt x="126" y="88"/>
                    </a:cubicBezTo>
                    <a:cubicBezTo>
                      <a:pt x="123" y="95"/>
                      <a:pt x="116" y="97"/>
                      <a:pt x="111" y="100"/>
                    </a:cubicBezTo>
                    <a:cubicBezTo>
                      <a:pt x="104" y="105"/>
                      <a:pt x="102" y="100"/>
                      <a:pt x="97" y="108"/>
                    </a:cubicBezTo>
                    <a:cubicBezTo>
                      <a:pt x="96" y="111"/>
                      <a:pt x="95" y="116"/>
                      <a:pt x="97" y="120"/>
                    </a:cubicBezTo>
                    <a:cubicBezTo>
                      <a:pt x="99" y="124"/>
                      <a:pt x="110" y="123"/>
                      <a:pt x="111" y="129"/>
                    </a:cubicBezTo>
                    <a:cubicBezTo>
                      <a:pt x="113" y="142"/>
                      <a:pt x="108" y="145"/>
                      <a:pt x="103" y="156"/>
                    </a:cubicBezTo>
                    <a:cubicBezTo>
                      <a:pt x="100" y="162"/>
                      <a:pt x="100" y="163"/>
                      <a:pt x="96" y="165"/>
                    </a:cubicBezTo>
                    <a:cubicBezTo>
                      <a:pt x="92" y="167"/>
                      <a:pt x="87" y="167"/>
                      <a:pt x="76" y="166"/>
                    </a:cubicBezTo>
                    <a:cubicBezTo>
                      <a:pt x="60" y="154"/>
                      <a:pt x="59" y="160"/>
                      <a:pt x="28" y="159"/>
                    </a:cubicBezTo>
                    <a:cubicBezTo>
                      <a:pt x="20" y="155"/>
                      <a:pt x="32" y="146"/>
                      <a:pt x="30" y="141"/>
                    </a:cubicBezTo>
                    <a:cubicBezTo>
                      <a:pt x="28" y="136"/>
                      <a:pt x="20" y="131"/>
                      <a:pt x="16" y="129"/>
                    </a:cubicBezTo>
                    <a:cubicBezTo>
                      <a:pt x="11" y="126"/>
                      <a:pt x="3" y="131"/>
                      <a:pt x="3" y="12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6" name="Freeform 75">
                <a:extLst>
                  <a:ext uri="{FF2B5EF4-FFF2-40B4-BE49-F238E27FC236}">
                    <a16:creationId xmlns:a16="http://schemas.microsoft.com/office/drawing/2014/main" id="{EC62DD1D-7145-4932-821E-FCD9A540E2EA}"/>
                  </a:ext>
                </a:extLst>
              </p:cNvPr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gray">
              <a:xfrm>
                <a:off x="4427538" y="2686050"/>
                <a:ext cx="90488" cy="100013"/>
              </a:xfrm>
              <a:custGeom>
                <a:avLst/>
                <a:gdLst>
                  <a:gd name="T0" fmla="*/ 7 w 56"/>
                  <a:gd name="T1" fmla="*/ 52 h 63"/>
                  <a:gd name="T2" fmla="*/ 10 w 56"/>
                  <a:gd name="T3" fmla="*/ 35 h 63"/>
                  <a:gd name="T4" fmla="*/ 14 w 56"/>
                  <a:gd name="T5" fmla="*/ 17 h 63"/>
                  <a:gd name="T6" fmla="*/ 50 w 56"/>
                  <a:gd name="T7" fmla="*/ 9 h 63"/>
                  <a:gd name="T8" fmla="*/ 44 w 56"/>
                  <a:gd name="T9" fmla="*/ 27 h 63"/>
                  <a:gd name="T10" fmla="*/ 38 w 56"/>
                  <a:gd name="T11" fmla="*/ 46 h 63"/>
                  <a:gd name="T12" fmla="*/ 28 w 56"/>
                  <a:gd name="T13" fmla="*/ 63 h 63"/>
                  <a:gd name="T14" fmla="*/ 7 w 56"/>
                  <a:gd name="T15" fmla="*/ 5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63">
                    <a:moveTo>
                      <a:pt x="7" y="52"/>
                    </a:moveTo>
                    <a:cubicBezTo>
                      <a:pt x="12" y="38"/>
                      <a:pt x="0" y="41"/>
                      <a:pt x="10" y="35"/>
                    </a:cubicBezTo>
                    <a:cubicBezTo>
                      <a:pt x="15" y="28"/>
                      <a:pt x="17" y="25"/>
                      <a:pt x="14" y="17"/>
                    </a:cubicBezTo>
                    <a:cubicBezTo>
                      <a:pt x="20" y="0"/>
                      <a:pt x="32" y="8"/>
                      <a:pt x="50" y="9"/>
                    </a:cubicBezTo>
                    <a:cubicBezTo>
                      <a:pt x="56" y="11"/>
                      <a:pt x="46" y="21"/>
                      <a:pt x="44" y="27"/>
                    </a:cubicBezTo>
                    <a:cubicBezTo>
                      <a:pt x="42" y="33"/>
                      <a:pt x="33" y="40"/>
                      <a:pt x="38" y="46"/>
                    </a:cubicBezTo>
                    <a:cubicBezTo>
                      <a:pt x="33" y="54"/>
                      <a:pt x="37" y="60"/>
                      <a:pt x="28" y="63"/>
                    </a:cubicBezTo>
                    <a:cubicBezTo>
                      <a:pt x="18" y="60"/>
                      <a:pt x="14" y="59"/>
                      <a:pt x="7" y="5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7" name="Freeform 77">
                <a:extLst>
                  <a:ext uri="{FF2B5EF4-FFF2-40B4-BE49-F238E27FC236}">
                    <a16:creationId xmlns:a16="http://schemas.microsoft.com/office/drawing/2014/main" id="{4F14BAB5-97CC-4BBB-9903-8934B294093A}"/>
                  </a:ext>
                </a:extLst>
              </p:cNvPr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gray">
              <a:xfrm>
                <a:off x="4798847" y="3116263"/>
                <a:ext cx="157329" cy="181187"/>
              </a:xfrm>
              <a:custGeom>
                <a:avLst/>
                <a:gdLst/>
                <a:ahLst/>
                <a:cxnLst/>
                <a:rect l="l" t="t" r="r" b="b"/>
                <a:pathLst>
                  <a:path w="157329" h="181187">
                    <a:moveTo>
                      <a:pt x="93201" y="149225"/>
                    </a:moveTo>
                    <a:cubicBezTo>
                      <a:pt x="128471" y="153988"/>
                      <a:pt x="114043" y="166688"/>
                      <a:pt x="157329" y="171450"/>
                    </a:cubicBezTo>
                    <a:cubicBezTo>
                      <a:pt x="136488" y="185738"/>
                      <a:pt x="133281" y="180976"/>
                      <a:pt x="102820" y="177801"/>
                    </a:cubicBezTo>
                    <a:cubicBezTo>
                      <a:pt x="91598" y="169863"/>
                      <a:pt x="85185" y="171450"/>
                      <a:pt x="80375" y="158750"/>
                    </a:cubicBezTo>
                    <a:cubicBezTo>
                      <a:pt x="91598" y="155575"/>
                      <a:pt x="88391" y="158750"/>
                      <a:pt x="93201" y="149225"/>
                    </a:cubicBezTo>
                    <a:close/>
                    <a:moveTo>
                      <a:pt x="112439" y="0"/>
                    </a:moveTo>
                    <a:cubicBezTo>
                      <a:pt x="96407" y="15875"/>
                      <a:pt x="110836" y="-3175"/>
                      <a:pt x="115645" y="12700"/>
                    </a:cubicBezTo>
                    <a:cubicBezTo>
                      <a:pt x="110836" y="30162"/>
                      <a:pt x="67548" y="46037"/>
                      <a:pt x="56326" y="65087"/>
                    </a:cubicBezTo>
                    <a:cubicBezTo>
                      <a:pt x="46707" y="80962"/>
                      <a:pt x="57929" y="103187"/>
                      <a:pt x="56326" y="112712"/>
                    </a:cubicBezTo>
                    <a:cubicBezTo>
                      <a:pt x="54723" y="122237"/>
                      <a:pt x="49913" y="130175"/>
                      <a:pt x="41897" y="120650"/>
                    </a:cubicBezTo>
                    <a:cubicBezTo>
                      <a:pt x="13039" y="101600"/>
                      <a:pt x="9833" y="92075"/>
                      <a:pt x="3420" y="57150"/>
                    </a:cubicBezTo>
                    <a:cubicBezTo>
                      <a:pt x="1817" y="50800"/>
                      <a:pt x="-187" y="48815"/>
                      <a:pt x="13" y="47823"/>
                    </a:cubicBezTo>
                    <a:lnTo>
                      <a:pt x="9833" y="44450"/>
                    </a:lnTo>
                    <a:cubicBezTo>
                      <a:pt x="16246" y="42862"/>
                      <a:pt x="30674" y="50800"/>
                      <a:pt x="38691" y="46037"/>
                    </a:cubicBezTo>
                    <a:cubicBezTo>
                      <a:pt x="46707" y="41275"/>
                      <a:pt x="54723" y="19050"/>
                      <a:pt x="61136" y="14287"/>
                    </a:cubicBezTo>
                    <a:cubicBezTo>
                      <a:pt x="61136" y="14287"/>
                      <a:pt x="67548" y="9525"/>
                      <a:pt x="73961" y="6350"/>
                    </a:cubicBezTo>
                    <a:cubicBezTo>
                      <a:pt x="85184" y="0"/>
                      <a:pt x="99613" y="4762"/>
                      <a:pt x="11243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8" name="Freeform 79">
                <a:extLst>
                  <a:ext uri="{FF2B5EF4-FFF2-40B4-BE49-F238E27FC236}">
                    <a16:creationId xmlns:a16="http://schemas.microsoft.com/office/drawing/2014/main" id="{ED7CCCA6-5BC6-4EAD-9A49-3AB17B9FC797}"/>
                  </a:ext>
                </a:extLst>
              </p:cNvPr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gray">
              <a:xfrm>
                <a:off x="5943601" y="3146425"/>
                <a:ext cx="195263" cy="128588"/>
              </a:xfrm>
              <a:custGeom>
                <a:avLst/>
                <a:gdLst>
                  <a:gd name="T0" fmla="*/ 98 w 121"/>
                  <a:gd name="T1" fmla="*/ 26 h 81"/>
                  <a:gd name="T2" fmla="*/ 98 w 121"/>
                  <a:gd name="T3" fmla="*/ 40 h 81"/>
                  <a:gd name="T4" fmla="*/ 109 w 121"/>
                  <a:gd name="T5" fmla="*/ 34 h 81"/>
                  <a:gd name="T6" fmla="*/ 113 w 121"/>
                  <a:gd name="T7" fmla="*/ 46 h 81"/>
                  <a:gd name="T8" fmla="*/ 119 w 121"/>
                  <a:gd name="T9" fmla="*/ 62 h 81"/>
                  <a:gd name="T10" fmla="*/ 101 w 121"/>
                  <a:gd name="T11" fmla="*/ 68 h 81"/>
                  <a:gd name="T12" fmla="*/ 80 w 121"/>
                  <a:gd name="T13" fmla="*/ 74 h 81"/>
                  <a:gd name="T14" fmla="*/ 64 w 121"/>
                  <a:gd name="T15" fmla="*/ 77 h 81"/>
                  <a:gd name="T16" fmla="*/ 62 w 121"/>
                  <a:gd name="T17" fmla="*/ 52 h 81"/>
                  <a:gd name="T18" fmla="*/ 58 w 121"/>
                  <a:gd name="T19" fmla="*/ 40 h 81"/>
                  <a:gd name="T20" fmla="*/ 44 w 121"/>
                  <a:gd name="T21" fmla="*/ 58 h 81"/>
                  <a:gd name="T22" fmla="*/ 32 w 121"/>
                  <a:gd name="T23" fmla="*/ 64 h 81"/>
                  <a:gd name="T24" fmla="*/ 11 w 121"/>
                  <a:gd name="T25" fmla="*/ 67 h 81"/>
                  <a:gd name="T26" fmla="*/ 8 w 121"/>
                  <a:gd name="T27" fmla="*/ 53 h 81"/>
                  <a:gd name="T28" fmla="*/ 8 w 121"/>
                  <a:gd name="T29" fmla="*/ 39 h 81"/>
                  <a:gd name="T30" fmla="*/ 2 w 121"/>
                  <a:gd name="T31" fmla="*/ 25 h 81"/>
                  <a:gd name="T32" fmla="*/ 20 w 121"/>
                  <a:gd name="T33" fmla="*/ 11 h 81"/>
                  <a:gd name="T34" fmla="*/ 28 w 121"/>
                  <a:gd name="T35" fmla="*/ 1 h 81"/>
                  <a:gd name="T36" fmla="*/ 37 w 121"/>
                  <a:gd name="T37" fmla="*/ 4 h 81"/>
                  <a:gd name="T38" fmla="*/ 50 w 121"/>
                  <a:gd name="T39" fmla="*/ 19 h 81"/>
                  <a:gd name="T40" fmla="*/ 52 w 121"/>
                  <a:gd name="T41" fmla="*/ 32 h 81"/>
                  <a:gd name="T42" fmla="*/ 58 w 121"/>
                  <a:gd name="T43" fmla="*/ 23 h 81"/>
                  <a:gd name="T44" fmla="*/ 79 w 121"/>
                  <a:gd name="T45" fmla="*/ 26 h 81"/>
                  <a:gd name="T46" fmla="*/ 98 w 121"/>
                  <a:gd name="T47" fmla="*/ 2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1" h="81">
                    <a:moveTo>
                      <a:pt x="98" y="26"/>
                    </a:moveTo>
                    <a:cubicBezTo>
                      <a:pt x="101" y="28"/>
                      <a:pt x="96" y="39"/>
                      <a:pt x="98" y="40"/>
                    </a:cubicBezTo>
                    <a:cubicBezTo>
                      <a:pt x="100" y="41"/>
                      <a:pt x="107" y="33"/>
                      <a:pt x="109" y="34"/>
                    </a:cubicBezTo>
                    <a:cubicBezTo>
                      <a:pt x="111" y="35"/>
                      <a:pt x="111" y="41"/>
                      <a:pt x="113" y="46"/>
                    </a:cubicBezTo>
                    <a:cubicBezTo>
                      <a:pt x="115" y="51"/>
                      <a:pt x="121" y="58"/>
                      <a:pt x="119" y="62"/>
                    </a:cubicBezTo>
                    <a:cubicBezTo>
                      <a:pt x="117" y="66"/>
                      <a:pt x="107" y="66"/>
                      <a:pt x="101" y="68"/>
                    </a:cubicBezTo>
                    <a:cubicBezTo>
                      <a:pt x="95" y="70"/>
                      <a:pt x="86" y="73"/>
                      <a:pt x="80" y="74"/>
                    </a:cubicBezTo>
                    <a:cubicBezTo>
                      <a:pt x="74" y="75"/>
                      <a:pt x="67" y="81"/>
                      <a:pt x="64" y="77"/>
                    </a:cubicBezTo>
                    <a:cubicBezTo>
                      <a:pt x="61" y="73"/>
                      <a:pt x="63" y="58"/>
                      <a:pt x="62" y="52"/>
                    </a:cubicBezTo>
                    <a:cubicBezTo>
                      <a:pt x="61" y="46"/>
                      <a:pt x="61" y="39"/>
                      <a:pt x="58" y="40"/>
                    </a:cubicBezTo>
                    <a:cubicBezTo>
                      <a:pt x="55" y="41"/>
                      <a:pt x="48" y="54"/>
                      <a:pt x="44" y="58"/>
                    </a:cubicBezTo>
                    <a:cubicBezTo>
                      <a:pt x="40" y="62"/>
                      <a:pt x="37" y="63"/>
                      <a:pt x="32" y="64"/>
                    </a:cubicBezTo>
                    <a:cubicBezTo>
                      <a:pt x="27" y="65"/>
                      <a:pt x="15" y="69"/>
                      <a:pt x="11" y="67"/>
                    </a:cubicBezTo>
                    <a:cubicBezTo>
                      <a:pt x="7" y="65"/>
                      <a:pt x="8" y="58"/>
                      <a:pt x="8" y="53"/>
                    </a:cubicBezTo>
                    <a:cubicBezTo>
                      <a:pt x="8" y="48"/>
                      <a:pt x="9" y="44"/>
                      <a:pt x="8" y="39"/>
                    </a:cubicBezTo>
                    <a:cubicBezTo>
                      <a:pt x="7" y="34"/>
                      <a:pt x="0" y="30"/>
                      <a:pt x="2" y="25"/>
                    </a:cubicBezTo>
                    <a:cubicBezTo>
                      <a:pt x="4" y="20"/>
                      <a:pt x="16" y="15"/>
                      <a:pt x="20" y="11"/>
                    </a:cubicBezTo>
                    <a:cubicBezTo>
                      <a:pt x="24" y="7"/>
                      <a:pt x="25" y="2"/>
                      <a:pt x="28" y="1"/>
                    </a:cubicBezTo>
                    <a:cubicBezTo>
                      <a:pt x="31" y="0"/>
                      <a:pt x="33" y="1"/>
                      <a:pt x="37" y="4"/>
                    </a:cubicBezTo>
                    <a:cubicBezTo>
                      <a:pt x="41" y="7"/>
                      <a:pt x="48" y="14"/>
                      <a:pt x="50" y="19"/>
                    </a:cubicBezTo>
                    <a:cubicBezTo>
                      <a:pt x="52" y="24"/>
                      <a:pt x="51" y="31"/>
                      <a:pt x="52" y="32"/>
                    </a:cubicBezTo>
                    <a:cubicBezTo>
                      <a:pt x="53" y="33"/>
                      <a:pt x="54" y="24"/>
                      <a:pt x="58" y="23"/>
                    </a:cubicBezTo>
                    <a:cubicBezTo>
                      <a:pt x="62" y="22"/>
                      <a:pt x="73" y="26"/>
                      <a:pt x="79" y="26"/>
                    </a:cubicBezTo>
                    <a:cubicBezTo>
                      <a:pt x="85" y="26"/>
                      <a:pt x="95" y="24"/>
                      <a:pt x="98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9" name="Freeform 80">
                <a:extLst>
                  <a:ext uri="{FF2B5EF4-FFF2-40B4-BE49-F238E27FC236}">
                    <a16:creationId xmlns:a16="http://schemas.microsoft.com/office/drawing/2014/main" id="{50DF56B8-8C74-4522-B76A-14E85E687EFD}"/>
                  </a:ext>
                </a:extLst>
              </p:cNvPr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gray">
              <a:xfrm>
                <a:off x="4056063" y="2622550"/>
                <a:ext cx="123825" cy="174625"/>
              </a:xfrm>
              <a:custGeom>
                <a:avLst/>
                <a:gdLst>
                  <a:gd name="T0" fmla="*/ 40 w 76"/>
                  <a:gd name="T1" fmla="*/ 41 h 110"/>
                  <a:gd name="T2" fmla="*/ 66 w 76"/>
                  <a:gd name="T3" fmla="*/ 55 h 110"/>
                  <a:gd name="T4" fmla="*/ 73 w 76"/>
                  <a:gd name="T5" fmla="*/ 91 h 110"/>
                  <a:gd name="T6" fmla="*/ 51 w 76"/>
                  <a:gd name="T7" fmla="*/ 103 h 110"/>
                  <a:gd name="T8" fmla="*/ 36 w 76"/>
                  <a:gd name="T9" fmla="*/ 103 h 110"/>
                  <a:gd name="T10" fmla="*/ 16 w 76"/>
                  <a:gd name="T11" fmla="*/ 91 h 110"/>
                  <a:gd name="T12" fmla="*/ 15 w 76"/>
                  <a:gd name="T13" fmla="*/ 82 h 110"/>
                  <a:gd name="T14" fmla="*/ 28 w 76"/>
                  <a:gd name="T15" fmla="*/ 64 h 110"/>
                  <a:gd name="T16" fmla="*/ 12 w 76"/>
                  <a:gd name="T17" fmla="*/ 53 h 110"/>
                  <a:gd name="T18" fmla="*/ 3 w 76"/>
                  <a:gd name="T19" fmla="*/ 37 h 110"/>
                  <a:gd name="T20" fmla="*/ 30 w 76"/>
                  <a:gd name="T21" fmla="*/ 25 h 110"/>
                  <a:gd name="T22" fmla="*/ 21 w 76"/>
                  <a:gd name="T23" fmla="*/ 8 h 110"/>
                  <a:gd name="T24" fmla="*/ 55 w 76"/>
                  <a:gd name="T25" fmla="*/ 2 h 110"/>
                  <a:gd name="T26" fmla="*/ 43 w 76"/>
                  <a:gd name="T27" fmla="*/ 19 h 110"/>
                  <a:gd name="T28" fmla="*/ 40 w 76"/>
                  <a:gd name="T29" fmla="*/ 4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110">
                    <a:moveTo>
                      <a:pt x="40" y="41"/>
                    </a:moveTo>
                    <a:cubicBezTo>
                      <a:pt x="46" y="45"/>
                      <a:pt x="61" y="47"/>
                      <a:pt x="66" y="55"/>
                    </a:cubicBezTo>
                    <a:cubicBezTo>
                      <a:pt x="71" y="63"/>
                      <a:pt x="76" y="83"/>
                      <a:pt x="73" y="91"/>
                    </a:cubicBezTo>
                    <a:cubicBezTo>
                      <a:pt x="66" y="94"/>
                      <a:pt x="59" y="101"/>
                      <a:pt x="51" y="103"/>
                    </a:cubicBezTo>
                    <a:cubicBezTo>
                      <a:pt x="50" y="110"/>
                      <a:pt x="42" y="100"/>
                      <a:pt x="36" y="103"/>
                    </a:cubicBezTo>
                    <a:cubicBezTo>
                      <a:pt x="13" y="99"/>
                      <a:pt x="23" y="104"/>
                      <a:pt x="16" y="91"/>
                    </a:cubicBezTo>
                    <a:cubicBezTo>
                      <a:pt x="15" y="84"/>
                      <a:pt x="6" y="84"/>
                      <a:pt x="15" y="82"/>
                    </a:cubicBezTo>
                    <a:cubicBezTo>
                      <a:pt x="21" y="72"/>
                      <a:pt x="18" y="72"/>
                      <a:pt x="28" y="64"/>
                    </a:cubicBezTo>
                    <a:cubicBezTo>
                      <a:pt x="26" y="52"/>
                      <a:pt x="17" y="62"/>
                      <a:pt x="12" y="53"/>
                    </a:cubicBezTo>
                    <a:cubicBezTo>
                      <a:pt x="10" y="48"/>
                      <a:pt x="0" y="42"/>
                      <a:pt x="3" y="37"/>
                    </a:cubicBezTo>
                    <a:cubicBezTo>
                      <a:pt x="6" y="32"/>
                      <a:pt x="27" y="30"/>
                      <a:pt x="30" y="25"/>
                    </a:cubicBezTo>
                    <a:cubicBezTo>
                      <a:pt x="33" y="20"/>
                      <a:pt x="17" y="12"/>
                      <a:pt x="21" y="8"/>
                    </a:cubicBezTo>
                    <a:cubicBezTo>
                      <a:pt x="25" y="4"/>
                      <a:pt x="52" y="0"/>
                      <a:pt x="55" y="2"/>
                    </a:cubicBezTo>
                    <a:cubicBezTo>
                      <a:pt x="58" y="4"/>
                      <a:pt x="45" y="13"/>
                      <a:pt x="43" y="19"/>
                    </a:cubicBezTo>
                    <a:cubicBezTo>
                      <a:pt x="41" y="25"/>
                      <a:pt x="31" y="37"/>
                      <a:pt x="40" y="4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0" name="Freeform 86">
                <a:extLst>
                  <a:ext uri="{FF2B5EF4-FFF2-40B4-BE49-F238E27FC236}">
                    <a16:creationId xmlns:a16="http://schemas.microsoft.com/office/drawing/2014/main" id="{6B5632C0-0CBD-4EFE-BD92-114AE16D27A7}"/>
                  </a:ext>
                </a:extLst>
              </p:cNvPr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gray">
              <a:xfrm>
                <a:off x="4124326" y="3049588"/>
                <a:ext cx="295275" cy="234950"/>
              </a:xfrm>
              <a:custGeom>
                <a:avLst/>
                <a:gdLst>
                  <a:gd name="T0" fmla="*/ 9 w 183"/>
                  <a:gd name="T1" fmla="*/ 5 h 148"/>
                  <a:gd name="T2" fmla="*/ 54 w 183"/>
                  <a:gd name="T3" fmla="*/ 3 h 148"/>
                  <a:gd name="T4" fmla="*/ 81 w 183"/>
                  <a:gd name="T5" fmla="*/ 3 h 148"/>
                  <a:gd name="T6" fmla="*/ 156 w 183"/>
                  <a:gd name="T7" fmla="*/ 17 h 148"/>
                  <a:gd name="T8" fmla="*/ 175 w 183"/>
                  <a:gd name="T9" fmla="*/ 27 h 148"/>
                  <a:gd name="T10" fmla="*/ 175 w 183"/>
                  <a:gd name="T11" fmla="*/ 39 h 148"/>
                  <a:gd name="T12" fmla="*/ 154 w 183"/>
                  <a:gd name="T13" fmla="*/ 48 h 148"/>
                  <a:gd name="T14" fmla="*/ 139 w 183"/>
                  <a:gd name="T15" fmla="*/ 62 h 148"/>
                  <a:gd name="T16" fmla="*/ 129 w 183"/>
                  <a:gd name="T17" fmla="*/ 77 h 148"/>
                  <a:gd name="T18" fmla="*/ 132 w 183"/>
                  <a:gd name="T19" fmla="*/ 96 h 148"/>
                  <a:gd name="T20" fmla="*/ 130 w 183"/>
                  <a:gd name="T21" fmla="*/ 102 h 148"/>
                  <a:gd name="T22" fmla="*/ 123 w 183"/>
                  <a:gd name="T23" fmla="*/ 104 h 148"/>
                  <a:gd name="T24" fmla="*/ 112 w 183"/>
                  <a:gd name="T25" fmla="*/ 119 h 148"/>
                  <a:gd name="T26" fmla="*/ 91 w 183"/>
                  <a:gd name="T27" fmla="*/ 134 h 148"/>
                  <a:gd name="T28" fmla="*/ 55 w 183"/>
                  <a:gd name="T29" fmla="*/ 141 h 148"/>
                  <a:gd name="T30" fmla="*/ 43 w 183"/>
                  <a:gd name="T31" fmla="*/ 146 h 148"/>
                  <a:gd name="T32" fmla="*/ 28 w 183"/>
                  <a:gd name="T33" fmla="*/ 131 h 148"/>
                  <a:gd name="T34" fmla="*/ 21 w 183"/>
                  <a:gd name="T35" fmla="*/ 119 h 148"/>
                  <a:gd name="T36" fmla="*/ 27 w 183"/>
                  <a:gd name="T37" fmla="*/ 83 h 148"/>
                  <a:gd name="T38" fmla="*/ 37 w 183"/>
                  <a:gd name="T39" fmla="*/ 42 h 148"/>
                  <a:gd name="T40" fmla="*/ 16 w 183"/>
                  <a:gd name="T41" fmla="*/ 35 h 148"/>
                  <a:gd name="T42" fmla="*/ 4 w 183"/>
                  <a:gd name="T43" fmla="*/ 29 h 148"/>
                  <a:gd name="T44" fmla="*/ 0 w 183"/>
                  <a:gd name="T45" fmla="*/ 12 h 148"/>
                  <a:gd name="T46" fmla="*/ 9 w 183"/>
                  <a:gd name="T47" fmla="*/ 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3" h="148">
                    <a:moveTo>
                      <a:pt x="9" y="5"/>
                    </a:moveTo>
                    <a:cubicBezTo>
                      <a:pt x="13" y="0"/>
                      <a:pt x="48" y="3"/>
                      <a:pt x="54" y="3"/>
                    </a:cubicBezTo>
                    <a:cubicBezTo>
                      <a:pt x="62" y="9"/>
                      <a:pt x="72" y="7"/>
                      <a:pt x="81" y="3"/>
                    </a:cubicBezTo>
                    <a:cubicBezTo>
                      <a:pt x="113" y="5"/>
                      <a:pt x="122" y="15"/>
                      <a:pt x="156" y="17"/>
                    </a:cubicBezTo>
                    <a:cubicBezTo>
                      <a:pt x="167" y="25"/>
                      <a:pt x="155" y="25"/>
                      <a:pt x="175" y="27"/>
                    </a:cubicBezTo>
                    <a:cubicBezTo>
                      <a:pt x="177" y="34"/>
                      <a:pt x="183" y="37"/>
                      <a:pt x="175" y="39"/>
                    </a:cubicBezTo>
                    <a:cubicBezTo>
                      <a:pt x="171" y="46"/>
                      <a:pt x="162" y="47"/>
                      <a:pt x="154" y="48"/>
                    </a:cubicBezTo>
                    <a:cubicBezTo>
                      <a:pt x="148" y="53"/>
                      <a:pt x="147" y="59"/>
                      <a:pt x="139" y="62"/>
                    </a:cubicBezTo>
                    <a:cubicBezTo>
                      <a:pt x="135" y="68"/>
                      <a:pt x="136" y="74"/>
                      <a:pt x="129" y="77"/>
                    </a:cubicBezTo>
                    <a:cubicBezTo>
                      <a:pt x="123" y="84"/>
                      <a:pt x="125" y="91"/>
                      <a:pt x="132" y="96"/>
                    </a:cubicBezTo>
                    <a:cubicBezTo>
                      <a:pt x="131" y="98"/>
                      <a:pt x="132" y="101"/>
                      <a:pt x="130" y="102"/>
                    </a:cubicBezTo>
                    <a:cubicBezTo>
                      <a:pt x="128" y="104"/>
                      <a:pt x="125" y="102"/>
                      <a:pt x="123" y="104"/>
                    </a:cubicBezTo>
                    <a:cubicBezTo>
                      <a:pt x="115" y="114"/>
                      <a:pt x="125" y="111"/>
                      <a:pt x="112" y="119"/>
                    </a:cubicBezTo>
                    <a:cubicBezTo>
                      <a:pt x="105" y="129"/>
                      <a:pt x="102" y="130"/>
                      <a:pt x="91" y="134"/>
                    </a:cubicBezTo>
                    <a:cubicBezTo>
                      <a:pt x="78" y="144"/>
                      <a:pt x="78" y="140"/>
                      <a:pt x="55" y="141"/>
                    </a:cubicBezTo>
                    <a:cubicBezTo>
                      <a:pt x="48" y="145"/>
                      <a:pt x="52" y="148"/>
                      <a:pt x="43" y="146"/>
                    </a:cubicBezTo>
                    <a:cubicBezTo>
                      <a:pt x="39" y="140"/>
                      <a:pt x="35" y="132"/>
                      <a:pt x="28" y="131"/>
                    </a:cubicBezTo>
                    <a:cubicBezTo>
                      <a:pt x="25" y="126"/>
                      <a:pt x="24" y="124"/>
                      <a:pt x="21" y="119"/>
                    </a:cubicBezTo>
                    <a:cubicBezTo>
                      <a:pt x="28" y="108"/>
                      <a:pt x="21" y="95"/>
                      <a:pt x="27" y="83"/>
                    </a:cubicBezTo>
                    <a:cubicBezTo>
                      <a:pt x="30" y="67"/>
                      <a:pt x="29" y="56"/>
                      <a:pt x="37" y="42"/>
                    </a:cubicBezTo>
                    <a:cubicBezTo>
                      <a:pt x="31" y="34"/>
                      <a:pt x="27" y="36"/>
                      <a:pt x="16" y="35"/>
                    </a:cubicBezTo>
                    <a:cubicBezTo>
                      <a:pt x="11" y="33"/>
                      <a:pt x="9" y="32"/>
                      <a:pt x="4" y="29"/>
                    </a:cubicBezTo>
                    <a:cubicBezTo>
                      <a:pt x="3" y="24"/>
                      <a:pt x="1" y="17"/>
                      <a:pt x="0" y="12"/>
                    </a:cubicBezTo>
                    <a:cubicBezTo>
                      <a:pt x="3" y="10"/>
                      <a:pt x="9" y="8"/>
                      <a:pt x="9" y="8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1" name="Freeform 87">
                <a:extLst>
                  <a:ext uri="{FF2B5EF4-FFF2-40B4-BE49-F238E27FC236}">
                    <a16:creationId xmlns:a16="http://schemas.microsoft.com/office/drawing/2014/main" id="{87AA5DB8-1428-4D2F-AB45-DED4443FADB5}"/>
                  </a:ext>
                </a:extLst>
              </p:cNvPr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gray">
              <a:xfrm>
                <a:off x="5400676" y="3170238"/>
                <a:ext cx="446088" cy="415925"/>
              </a:xfrm>
              <a:custGeom>
                <a:avLst/>
                <a:gdLst>
                  <a:gd name="T0" fmla="*/ 5 w 277"/>
                  <a:gd name="T1" fmla="*/ 5 h 262"/>
                  <a:gd name="T2" fmla="*/ 1 w 277"/>
                  <a:gd name="T3" fmla="*/ 37 h 262"/>
                  <a:gd name="T4" fmla="*/ 2 w 277"/>
                  <a:gd name="T5" fmla="*/ 53 h 262"/>
                  <a:gd name="T6" fmla="*/ 15 w 277"/>
                  <a:gd name="T7" fmla="*/ 67 h 262"/>
                  <a:gd name="T8" fmla="*/ 26 w 277"/>
                  <a:gd name="T9" fmla="*/ 77 h 262"/>
                  <a:gd name="T10" fmla="*/ 14 w 277"/>
                  <a:gd name="T11" fmla="*/ 100 h 262"/>
                  <a:gd name="T12" fmla="*/ 28 w 277"/>
                  <a:gd name="T13" fmla="*/ 121 h 262"/>
                  <a:gd name="T14" fmla="*/ 46 w 277"/>
                  <a:gd name="T15" fmla="*/ 139 h 262"/>
                  <a:gd name="T16" fmla="*/ 53 w 277"/>
                  <a:gd name="T17" fmla="*/ 173 h 262"/>
                  <a:gd name="T18" fmla="*/ 85 w 277"/>
                  <a:gd name="T19" fmla="*/ 182 h 262"/>
                  <a:gd name="T20" fmla="*/ 94 w 277"/>
                  <a:gd name="T21" fmla="*/ 208 h 262"/>
                  <a:gd name="T22" fmla="*/ 115 w 277"/>
                  <a:gd name="T23" fmla="*/ 218 h 262"/>
                  <a:gd name="T24" fmla="*/ 119 w 277"/>
                  <a:gd name="T25" fmla="*/ 220 h 262"/>
                  <a:gd name="T26" fmla="*/ 130 w 277"/>
                  <a:gd name="T27" fmla="*/ 221 h 262"/>
                  <a:gd name="T28" fmla="*/ 145 w 277"/>
                  <a:gd name="T29" fmla="*/ 233 h 262"/>
                  <a:gd name="T30" fmla="*/ 173 w 277"/>
                  <a:gd name="T31" fmla="*/ 215 h 262"/>
                  <a:gd name="T32" fmla="*/ 193 w 277"/>
                  <a:gd name="T33" fmla="*/ 221 h 262"/>
                  <a:gd name="T34" fmla="*/ 202 w 277"/>
                  <a:gd name="T35" fmla="*/ 251 h 262"/>
                  <a:gd name="T36" fmla="*/ 236 w 277"/>
                  <a:gd name="T37" fmla="*/ 257 h 262"/>
                  <a:gd name="T38" fmla="*/ 256 w 277"/>
                  <a:gd name="T39" fmla="*/ 241 h 262"/>
                  <a:gd name="T40" fmla="*/ 268 w 277"/>
                  <a:gd name="T41" fmla="*/ 233 h 262"/>
                  <a:gd name="T42" fmla="*/ 277 w 277"/>
                  <a:gd name="T43" fmla="*/ 230 h 262"/>
                  <a:gd name="T44" fmla="*/ 269 w 277"/>
                  <a:gd name="T45" fmla="*/ 208 h 262"/>
                  <a:gd name="T46" fmla="*/ 253 w 277"/>
                  <a:gd name="T47" fmla="*/ 199 h 262"/>
                  <a:gd name="T48" fmla="*/ 248 w 277"/>
                  <a:gd name="T49" fmla="*/ 176 h 262"/>
                  <a:gd name="T50" fmla="*/ 251 w 277"/>
                  <a:gd name="T51" fmla="*/ 164 h 262"/>
                  <a:gd name="T52" fmla="*/ 243 w 277"/>
                  <a:gd name="T53" fmla="*/ 146 h 262"/>
                  <a:gd name="T54" fmla="*/ 239 w 277"/>
                  <a:gd name="T55" fmla="*/ 127 h 262"/>
                  <a:gd name="T56" fmla="*/ 247 w 277"/>
                  <a:gd name="T57" fmla="*/ 80 h 262"/>
                  <a:gd name="T58" fmla="*/ 227 w 277"/>
                  <a:gd name="T59" fmla="*/ 61 h 262"/>
                  <a:gd name="T60" fmla="*/ 209 w 277"/>
                  <a:gd name="T61" fmla="*/ 49 h 262"/>
                  <a:gd name="T62" fmla="*/ 185 w 277"/>
                  <a:gd name="T63" fmla="*/ 40 h 262"/>
                  <a:gd name="T64" fmla="*/ 165 w 277"/>
                  <a:gd name="T65" fmla="*/ 38 h 262"/>
                  <a:gd name="T66" fmla="*/ 146 w 277"/>
                  <a:gd name="T67" fmla="*/ 44 h 262"/>
                  <a:gd name="T68" fmla="*/ 128 w 277"/>
                  <a:gd name="T69" fmla="*/ 52 h 262"/>
                  <a:gd name="T70" fmla="*/ 97 w 277"/>
                  <a:gd name="T71" fmla="*/ 61 h 262"/>
                  <a:gd name="T72" fmla="*/ 73 w 277"/>
                  <a:gd name="T73" fmla="*/ 41 h 262"/>
                  <a:gd name="T74" fmla="*/ 53 w 277"/>
                  <a:gd name="T75" fmla="*/ 19 h 262"/>
                  <a:gd name="T76" fmla="*/ 43 w 277"/>
                  <a:gd name="T77" fmla="*/ 8 h 262"/>
                  <a:gd name="T78" fmla="*/ 31 w 277"/>
                  <a:gd name="T79" fmla="*/ 10 h 262"/>
                  <a:gd name="T80" fmla="*/ 17 w 277"/>
                  <a:gd name="T81" fmla="*/ 8 h 262"/>
                  <a:gd name="T82" fmla="*/ 5 w 277"/>
                  <a:gd name="T83" fmla="*/ 5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7" h="262">
                    <a:moveTo>
                      <a:pt x="5" y="5"/>
                    </a:moveTo>
                    <a:cubicBezTo>
                      <a:pt x="0" y="9"/>
                      <a:pt x="1" y="28"/>
                      <a:pt x="1" y="37"/>
                    </a:cubicBezTo>
                    <a:cubicBezTo>
                      <a:pt x="1" y="45"/>
                      <a:pt x="0" y="48"/>
                      <a:pt x="2" y="53"/>
                    </a:cubicBezTo>
                    <a:cubicBezTo>
                      <a:pt x="4" y="58"/>
                      <a:pt x="11" y="63"/>
                      <a:pt x="15" y="67"/>
                    </a:cubicBezTo>
                    <a:cubicBezTo>
                      <a:pt x="19" y="71"/>
                      <a:pt x="26" y="72"/>
                      <a:pt x="26" y="77"/>
                    </a:cubicBezTo>
                    <a:cubicBezTo>
                      <a:pt x="18" y="85"/>
                      <a:pt x="25" y="96"/>
                      <a:pt x="14" y="100"/>
                    </a:cubicBezTo>
                    <a:cubicBezTo>
                      <a:pt x="12" y="110"/>
                      <a:pt x="19" y="117"/>
                      <a:pt x="28" y="121"/>
                    </a:cubicBezTo>
                    <a:cubicBezTo>
                      <a:pt x="34" y="129"/>
                      <a:pt x="37" y="135"/>
                      <a:pt x="46" y="139"/>
                    </a:cubicBezTo>
                    <a:cubicBezTo>
                      <a:pt x="54" y="149"/>
                      <a:pt x="45" y="163"/>
                      <a:pt x="53" y="173"/>
                    </a:cubicBezTo>
                    <a:cubicBezTo>
                      <a:pt x="67" y="170"/>
                      <a:pt x="78" y="169"/>
                      <a:pt x="85" y="182"/>
                    </a:cubicBezTo>
                    <a:cubicBezTo>
                      <a:pt x="87" y="192"/>
                      <a:pt x="90" y="199"/>
                      <a:pt x="94" y="208"/>
                    </a:cubicBezTo>
                    <a:cubicBezTo>
                      <a:pt x="96" y="221"/>
                      <a:pt x="104" y="216"/>
                      <a:pt x="115" y="218"/>
                    </a:cubicBezTo>
                    <a:cubicBezTo>
                      <a:pt x="116" y="219"/>
                      <a:pt x="118" y="220"/>
                      <a:pt x="119" y="220"/>
                    </a:cubicBezTo>
                    <a:cubicBezTo>
                      <a:pt x="123" y="221"/>
                      <a:pt x="127" y="220"/>
                      <a:pt x="130" y="221"/>
                    </a:cubicBezTo>
                    <a:cubicBezTo>
                      <a:pt x="136" y="224"/>
                      <a:pt x="134" y="231"/>
                      <a:pt x="145" y="233"/>
                    </a:cubicBezTo>
                    <a:cubicBezTo>
                      <a:pt x="153" y="237"/>
                      <a:pt x="166" y="220"/>
                      <a:pt x="173" y="215"/>
                    </a:cubicBezTo>
                    <a:cubicBezTo>
                      <a:pt x="178" y="216"/>
                      <a:pt x="189" y="218"/>
                      <a:pt x="193" y="221"/>
                    </a:cubicBezTo>
                    <a:cubicBezTo>
                      <a:pt x="198" y="224"/>
                      <a:pt x="190" y="249"/>
                      <a:pt x="202" y="251"/>
                    </a:cubicBezTo>
                    <a:cubicBezTo>
                      <a:pt x="224" y="262"/>
                      <a:pt x="198" y="256"/>
                      <a:pt x="236" y="257"/>
                    </a:cubicBezTo>
                    <a:cubicBezTo>
                      <a:pt x="274" y="255"/>
                      <a:pt x="241" y="262"/>
                      <a:pt x="256" y="241"/>
                    </a:cubicBezTo>
                    <a:cubicBezTo>
                      <a:pt x="262" y="241"/>
                      <a:pt x="266" y="233"/>
                      <a:pt x="268" y="233"/>
                    </a:cubicBezTo>
                    <a:cubicBezTo>
                      <a:pt x="271" y="230"/>
                      <a:pt x="277" y="234"/>
                      <a:pt x="277" y="230"/>
                    </a:cubicBezTo>
                    <a:cubicBezTo>
                      <a:pt x="277" y="226"/>
                      <a:pt x="273" y="213"/>
                      <a:pt x="269" y="208"/>
                    </a:cubicBezTo>
                    <a:cubicBezTo>
                      <a:pt x="268" y="201"/>
                      <a:pt x="258" y="204"/>
                      <a:pt x="253" y="199"/>
                    </a:cubicBezTo>
                    <a:cubicBezTo>
                      <a:pt x="248" y="186"/>
                      <a:pt x="247" y="198"/>
                      <a:pt x="248" y="176"/>
                    </a:cubicBezTo>
                    <a:cubicBezTo>
                      <a:pt x="247" y="170"/>
                      <a:pt x="252" y="168"/>
                      <a:pt x="251" y="164"/>
                    </a:cubicBezTo>
                    <a:cubicBezTo>
                      <a:pt x="250" y="159"/>
                      <a:pt x="245" y="152"/>
                      <a:pt x="243" y="146"/>
                    </a:cubicBezTo>
                    <a:cubicBezTo>
                      <a:pt x="237" y="138"/>
                      <a:pt x="238" y="136"/>
                      <a:pt x="239" y="127"/>
                    </a:cubicBezTo>
                    <a:cubicBezTo>
                      <a:pt x="239" y="117"/>
                      <a:pt x="249" y="91"/>
                      <a:pt x="247" y="80"/>
                    </a:cubicBezTo>
                    <a:cubicBezTo>
                      <a:pt x="245" y="69"/>
                      <a:pt x="233" y="66"/>
                      <a:pt x="227" y="61"/>
                    </a:cubicBezTo>
                    <a:cubicBezTo>
                      <a:pt x="223" y="54"/>
                      <a:pt x="218" y="50"/>
                      <a:pt x="209" y="49"/>
                    </a:cubicBezTo>
                    <a:cubicBezTo>
                      <a:pt x="202" y="46"/>
                      <a:pt x="192" y="41"/>
                      <a:pt x="185" y="40"/>
                    </a:cubicBezTo>
                    <a:cubicBezTo>
                      <a:pt x="177" y="38"/>
                      <a:pt x="171" y="37"/>
                      <a:pt x="165" y="38"/>
                    </a:cubicBezTo>
                    <a:cubicBezTo>
                      <a:pt x="159" y="39"/>
                      <a:pt x="152" y="42"/>
                      <a:pt x="146" y="44"/>
                    </a:cubicBezTo>
                    <a:cubicBezTo>
                      <a:pt x="141" y="48"/>
                      <a:pt x="135" y="51"/>
                      <a:pt x="128" y="52"/>
                    </a:cubicBezTo>
                    <a:cubicBezTo>
                      <a:pt x="120" y="53"/>
                      <a:pt x="106" y="63"/>
                      <a:pt x="97" y="61"/>
                    </a:cubicBezTo>
                    <a:cubicBezTo>
                      <a:pt x="88" y="59"/>
                      <a:pt x="80" y="48"/>
                      <a:pt x="73" y="41"/>
                    </a:cubicBezTo>
                    <a:cubicBezTo>
                      <a:pt x="69" y="35"/>
                      <a:pt x="57" y="24"/>
                      <a:pt x="53" y="19"/>
                    </a:cubicBezTo>
                    <a:cubicBezTo>
                      <a:pt x="48" y="13"/>
                      <a:pt x="50" y="11"/>
                      <a:pt x="43" y="8"/>
                    </a:cubicBezTo>
                    <a:cubicBezTo>
                      <a:pt x="38" y="11"/>
                      <a:pt x="36" y="6"/>
                      <a:pt x="31" y="10"/>
                    </a:cubicBezTo>
                    <a:cubicBezTo>
                      <a:pt x="27" y="4"/>
                      <a:pt x="24" y="11"/>
                      <a:pt x="17" y="8"/>
                    </a:cubicBezTo>
                    <a:cubicBezTo>
                      <a:pt x="11" y="0"/>
                      <a:pt x="12" y="9"/>
                      <a:pt x="5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2" name="Freeform 88">
                <a:extLst>
                  <a:ext uri="{FF2B5EF4-FFF2-40B4-BE49-F238E27FC236}">
                    <a16:creationId xmlns:a16="http://schemas.microsoft.com/office/drawing/2014/main" id="{B3F83372-FB20-4EBF-AE17-D1C9F1B5FAFF}"/>
                  </a:ext>
                </a:extLst>
              </p:cNvPr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gray">
              <a:xfrm>
                <a:off x="5245101" y="3249613"/>
                <a:ext cx="241300" cy="228600"/>
              </a:xfrm>
              <a:custGeom>
                <a:avLst/>
                <a:gdLst>
                  <a:gd name="T0" fmla="*/ 92 w 149"/>
                  <a:gd name="T1" fmla="*/ 3 h 144"/>
                  <a:gd name="T2" fmla="*/ 76 w 149"/>
                  <a:gd name="T3" fmla="*/ 8 h 144"/>
                  <a:gd name="T4" fmla="*/ 49 w 149"/>
                  <a:gd name="T5" fmla="*/ 5 h 144"/>
                  <a:gd name="T6" fmla="*/ 41 w 149"/>
                  <a:gd name="T7" fmla="*/ 40 h 144"/>
                  <a:gd name="T8" fmla="*/ 32 w 149"/>
                  <a:gd name="T9" fmla="*/ 51 h 144"/>
                  <a:gd name="T10" fmla="*/ 22 w 149"/>
                  <a:gd name="T11" fmla="*/ 66 h 144"/>
                  <a:gd name="T12" fmla="*/ 7 w 149"/>
                  <a:gd name="T13" fmla="*/ 71 h 144"/>
                  <a:gd name="T14" fmla="*/ 20 w 149"/>
                  <a:gd name="T15" fmla="*/ 95 h 144"/>
                  <a:gd name="T16" fmla="*/ 34 w 149"/>
                  <a:gd name="T17" fmla="*/ 95 h 144"/>
                  <a:gd name="T18" fmla="*/ 49 w 149"/>
                  <a:gd name="T19" fmla="*/ 102 h 144"/>
                  <a:gd name="T20" fmla="*/ 58 w 149"/>
                  <a:gd name="T21" fmla="*/ 107 h 144"/>
                  <a:gd name="T22" fmla="*/ 71 w 149"/>
                  <a:gd name="T23" fmla="*/ 117 h 144"/>
                  <a:gd name="T24" fmla="*/ 83 w 149"/>
                  <a:gd name="T25" fmla="*/ 131 h 144"/>
                  <a:gd name="T26" fmla="*/ 97 w 149"/>
                  <a:gd name="T27" fmla="*/ 134 h 144"/>
                  <a:gd name="T28" fmla="*/ 110 w 149"/>
                  <a:gd name="T29" fmla="*/ 143 h 144"/>
                  <a:gd name="T30" fmla="*/ 128 w 149"/>
                  <a:gd name="T31" fmla="*/ 140 h 144"/>
                  <a:gd name="T32" fmla="*/ 146 w 149"/>
                  <a:gd name="T33" fmla="*/ 125 h 144"/>
                  <a:gd name="T34" fmla="*/ 147 w 149"/>
                  <a:gd name="T35" fmla="*/ 114 h 144"/>
                  <a:gd name="T36" fmla="*/ 145 w 149"/>
                  <a:gd name="T37" fmla="*/ 93 h 144"/>
                  <a:gd name="T38" fmla="*/ 122 w 149"/>
                  <a:gd name="T39" fmla="*/ 71 h 144"/>
                  <a:gd name="T40" fmla="*/ 110 w 149"/>
                  <a:gd name="T41" fmla="*/ 59 h 144"/>
                  <a:gd name="T42" fmla="*/ 119 w 149"/>
                  <a:gd name="T43" fmla="*/ 45 h 144"/>
                  <a:gd name="T44" fmla="*/ 119 w 149"/>
                  <a:gd name="T45" fmla="*/ 35 h 144"/>
                  <a:gd name="T46" fmla="*/ 121 w 149"/>
                  <a:gd name="T47" fmla="*/ 23 h 144"/>
                  <a:gd name="T48" fmla="*/ 113 w 149"/>
                  <a:gd name="T49" fmla="*/ 18 h 144"/>
                  <a:gd name="T50" fmla="*/ 103 w 149"/>
                  <a:gd name="T51" fmla="*/ 14 h 144"/>
                  <a:gd name="T52" fmla="*/ 95 w 149"/>
                  <a:gd name="T53" fmla="*/ 6 h 144"/>
                  <a:gd name="T54" fmla="*/ 92 w 149"/>
                  <a:gd name="T55" fmla="*/ 3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9" h="144">
                    <a:moveTo>
                      <a:pt x="92" y="3"/>
                    </a:moveTo>
                    <a:cubicBezTo>
                      <a:pt x="89" y="2"/>
                      <a:pt x="83" y="8"/>
                      <a:pt x="76" y="8"/>
                    </a:cubicBezTo>
                    <a:cubicBezTo>
                      <a:pt x="69" y="8"/>
                      <a:pt x="55" y="0"/>
                      <a:pt x="49" y="5"/>
                    </a:cubicBezTo>
                    <a:cubicBezTo>
                      <a:pt x="41" y="12"/>
                      <a:pt x="44" y="32"/>
                      <a:pt x="41" y="40"/>
                    </a:cubicBezTo>
                    <a:cubicBezTo>
                      <a:pt x="38" y="48"/>
                      <a:pt x="35" y="47"/>
                      <a:pt x="32" y="51"/>
                    </a:cubicBezTo>
                    <a:cubicBezTo>
                      <a:pt x="28" y="55"/>
                      <a:pt x="26" y="63"/>
                      <a:pt x="22" y="66"/>
                    </a:cubicBezTo>
                    <a:cubicBezTo>
                      <a:pt x="18" y="69"/>
                      <a:pt x="7" y="66"/>
                      <a:pt x="7" y="71"/>
                    </a:cubicBezTo>
                    <a:cubicBezTo>
                      <a:pt x="0" y="85"/>
                      <a:pt x="8" y="93"/>
                      <a:pt x="20" y="95"/>
                    </a:cubicBezTo>
                    <a:cubicBezTo>
                      <a:pt x="24" y="100"/>
                      <a:pt x="29" y="94"/>
                      <a:pt x="34" y="95"/>
                    </a:cubicBezTo>
                    <a:cubicBezTo>
                      <a:pt x="39" y="96"/>
                      <a:pt x="45" y="100"/>
                      <a:pt x="49" y="102"/>
                    </a:cubicBezTo>
                    <a:cubicBezTo>
                      <a:pt x="53" y="104"/>
                      <a:pt x="54" y="105"/>
                      <a:pt x="58" y="107"/>
                    </a:cubicBezTo>
                    <a:cubicBezTo>
                      <a:pt x="61" y="110"/>
                      <a:pt x="67" y="113"/>
                      <a:pt x="71" y="117"/>
                    </a:cubicBezTo>
                    <a:cubicBezTo>
                      <a:pt x="75" y="121"/>
                      <a:pt x="79" y="128"/>
                      <a:pt x="83" y="131"/>
                    </a:cubicBezTo>
                    <a:cubicBezTo>
                      <a:pt x="89" y="135"/>
                      <a:pt x="90" y="133"/>
                      <a:pt x="97" y="134"/>
                    </a:cubicBezTo>
                    <a:cubicBezTo>
                      <a:pt x="102" y="135"/>
                      <a:pt x="105" y="142"/>
                      <a:pt x="110" y="143"/>
                    </a:cubicBezTo>
                    <a:cubicBezTo>
                      <a:pt x="115" y="144"/>
                      <a:pt x="122" y="143"/>
                      <a:pt x="128" y="140"/>
                    </a:cubicBezTo>
                    <a:cubicBezTo>
                      <a:pt x="134" y="137"/>
                      <a:pt x="147" y="136"/>
                      <a:pt x="146" y="125"/>
                    </a:cubicBezTo>
                    <a:cubicBezTo>
                      <a:pt x="149" y="121"/>
                      <a:pt x="147" y="119"/>
                      <a:pt x="147" y="114"/>
                    </a:cubicBezTo>
                    <a:cubicBezTo>
                      <a:pt x="147" y="109"/>
                      <a:pt x="149" y="100"/>
                      <a:pt x="145" y="93"/>
                    </a:cubicBezTo>
                    <a:cubicBezTo>
                      <a:pt x="141" y="86"/>
                      <a:pt x="128" y="77"/>
                      <a:pt x="122" y="71"/>
                    </a:cubicBezTo>
                    <a:cubicBezTo>
                      <a:pt x="118" y="65"/>
                      <a:pt x="114" y="64"/>
                      <a:pt x="110" y="59"/>
                    </a:cubicBezTo>
                    <a:cubicBezTo>
                      <a:pt x="108" y="54"/>
                      <a:pt x="118" y="49"/>
                      <a:pt x="119" y="45"/>
                    </a:cubicBezTo>
                    <a:cubicBezTo>
                      <a:pt x="120" y="41"/>
                      <a:pt x="119" y="39"/>
                      <a:pt x="119" y="35"/>
                    </a:cubicBezTo>
                    <a:cubicBezTo>
                      <a:pt x="120" y="29"/>
                      <a:pt x="124" y="26"/>
                      <a:pt x="121" y="23"/>
                    </a:cubicBezTo>
                    <a:cubicBezTo>
                      <a:pt x="120" y="20"/>
                      <a:pt x="116" y="20"/>
                      <a:pt x="113" y="18"/>
                    </a:cubicBezTo>
                    <a:cubicBezTo>
                      <a:pt x="110" y="16"/>
                      <a:pt x="106" y="16"/>
                      <a:pt x="103" y="14"/>
                    </a:cubicBezTo>
                    <a:cubicBezTo>
                      <a:pt x="99" y="7"/>
                      <a:pt x="102" y="11"/>
                      <a:pt x="95" y="6"/>
                    </a:cubicBezTo>
                    <a:cubicBezTo>
                      <a:pt x="90" y="3"/>
                      <a:pt x="89" y="3"/>
                      <a:pt x="92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3" name="Freeform 89">
                <a:extLst>
                  <a:ext uri="{FF2B5EF4-FFF2-40B4-BE49-F238E27FC236}">
                    <a16:creationId xmlns:a16="http://schemas.microsoft.com/office/drawing/2014/main" id="{34EBD6B6-BB85-4926-9B9E-B786C7B693B6}"/>
                  </a:ext>
                </a:extLst>
              </p:cNvPr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gray">
              <a:xfrm>
                <a:off x="4602163" y="4108450"/>
                <a:ext cx="173038" cy="207963"/>
              </a:xfrm>
              <a:custGeom>
                <a:avLst/>
                <a:gdLst>
                  <a:gd name="T0" fmla="*/ 67 w 107"/>
                  <a:gd name="T1" fmla="*/ 14 h 131"/>
                  <a:gd name="T2" fmla="*/ 70 w 107"/>
                  <a:gd name="T3" fmla="*/ 16 h 131"/>
                  <a:gd name="T4" fmla="*/ 86 w 107"/>
                  <a:gd name="T5" fmla="*/ 1 h 131"/>
                  <a:gd name="T6" fmla="*/ 103 w 107"/>
                  <a:gd name="T7" fmla="*/ 2 h 131"/>
                  <a:gd name="T8" fmla="*/ 106 w 107"/>
                  <a:gd name="T9" fmla="*/ 29 h 131"/>
                  <a:gd name="T10" fmla="*/ 98 w 107"/>
                  <a:gd name="T11" fmla="*/ 43 h 131"/>
                  <a:gd name="T12" fmla="*/ 100 w 107"/>
                  <a:gd name="T13" fmla="*/ 64 h 131"/>
                  <a:gd name="T14" fmla="*/ 86 w 107"/>
                  <a:gd name="T15" fmla="*/ 73 h 131"/>
                  <a:gd name="T16" fmla="*/ 77 w 107"/>
                  <a:gd name="T17" fmla="*/ 86 h 131"/>
                  <a:gd name="T18" fmla="*/ 71 w 107"/>
                  <a:gd name="T19" fmla="*/ 101 h 131"/>
                  <a:gd name="T20" fmla="*/ 65 w 107"/>
                  <a:gd name="T21" fmla="*/ 113 h 131"/>
                  <a:gd name="T22" fmla="*/ 50 w 107"/>
                  <a:gd name="T23" fmla="*/ 119 h 131"/>
                  <a:gd name="T24" fmla="*/ 39 w 107"/>
                  <a:gd name="T25" fmla="*/ 119 h 131"/>
                  <a:gd name="T26" fmla="*/ 25 w 107"/>
                  <a:gd name="T27" fmla="*/ 121 h 131"/>
                  <a:gd name="T28" fmla="*/ 11 w 107"/>
                  <a:gd name="T29" fmla="*/ 130 h 131"/>
                  <a:gd name="T30" fmla="*/ 1 w 107"/>
                  <a:gd name="T31" fmla="*/ 115 h 131"/>
                  <a:gd name="T32" fmla="*/ 16 w 107"/>
                  <a:gd name="T33" fmla="*/ 103 h 131"/>
                  <a:gd name="T34" fmla="*/ 16 w 107"/>
                  <a:gd name="T35" fmla="*/ 88 h 131"/>
                  <a:gd name="T36" fmla="*/ 26 w 107"/>
                  <a:gd name="T37" fmla="*/ 80 h 131"/>
                  <a:gd name="T38" fmla="*/ 49 w 107"/>
                  <a:gd name="T39" fmla="*/ 85 h 131"/>
                  <a:gd name="T40" fmla="*/ 53 w 107"/>
                  <a:gd name="T41" fmla="*/ 71 h 131"/>
                  <a:gd name="T42" fmla="*/ 46 w 107"/>
                  <a:gd name="T43" fmla="*/ 50 h 131"/>
                  <a:gd name="T44" fmla="*/ 47 w 107"/>
                  <a:gd name="T45" fmla="*/ 37 h 131"/>
                  <a:gd name="T46" fmla="*/ 35 w 107"/>
                  <a:gd name="T47" fmla="*/ 37 h 131"/>
                  <a:gd name="T48" fmla="*/ 28 w 107"/>
                  <a:gd name="T49" fmla="*/ 20 h 131"/>
                  <a:gd name="T50" fmla="*/ 58 w 107"/>
                  <a:gd name="T51" fmla="*/ 22 h 131"/>
                  <a:gd name="T52" fmla="*/ 73 w 107"/>
                  <a:gd name="T53" fmla="*/ 1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7" h="131">
                    <a:moveTo>
                      <a:pt x="67" y="14"/>
                    </a:moveTo>
                    <a:cubicBezTo>
                      <a:pt x="76" y="18"/>
                      <a:pt x="67" y="23"/>
                      <a:pt x="70" y="16"/>
                    </a:cubicBezTo>
                    <a:cubicBezTo>
                      <a:pt x="67" y="7"/>
                      <a:pt x="76" y="2"/>
                      <a:pt x="86" y="1"/>
                    </a:cubicBezTo>
                    <a:cubicBezTo>
                      <a:pt x="92" y="1"/>
                      <a:pt x="98" y="0"/>
                      <a:pt x="103" y="2"/>
                    </a:cubicBezTo>
                    <a:cubicBezTo>
                      <a:pt x="106" y="6"/>
                      <a:pt x="107" y="22"/>
                      <a:pt x="106" y="29"/>
                    </a:cubicBezTo>
                    <a:cubicBezTo>
                      <a:pt x="105" y="36"/>
                      <a:pt x="99" y="37"/>
                      <a:pt x="98" y="43"/>
                    </a:cubicBezTo>
                    <a:cubicBezTo>
                      <a:pt x="97" y="53"/>
                      <a:pt x="102" y="59"/>
                      <a:pt x="100" y="64"/>
                    </a:cubicBezTo>
                    <a:cubicBezTo>
                      <a:pt x="98" y="69"/>
                      <a:pt x="90" y="69"/>
                      <a:pt x="86" y="73"/>
                    </a:cubicBezTo>
                    <a:cubicBezTo>
                      <a:pt x="85" y="81"/>
                      <a:pt x="81" y="80"/>
                      <a:pt x="77" y="86"/>
                    </a:cubicBezTo>
                    <a:cubicBezTo>
                      <a:pt x="75" y="92"/>
                      <a:pt x="73" y="97"/>
                      <a:pt x="71" y="101"/>
                    </a:cubicBezTo>
                    <a:cubicBezTo>
                      <a:pt x="69" y="105"/>
                      <a:pt x="68" y="110"/>
                      <a:pt x="65" y="113"/>
                    </a:cubicBezTo>
                    <a:cubicBezTo>
                      <a:pt x="60" y="117"/>
                      <a:pt x="56" y="118"/>
                      <a:pt x="50" y="119"/>
                    </a:cubicBezTo>
                    <a:cubicBezTo>
                      <a:pt x="46" y="120"/>
                      <a:pt x="43" y="119"/>
                      <a:pt x="39" y="119"/>
                    </a:cubicBezTo>
                    <a:cubicBezTo>
                      <a:pt x="35" y="119"/>
                      <a:pt x="30" y="119"/>
                      <a:pt x="25" y="121"/>
                    </a:cubicBezTo>
                    <a:cubicBezTo>
                      <a:pt x="19" y="121"/>
                      <a:pt x="15" y="131"/>
                      <a:pt x="11" y="130"/>
                    </a:cubicBezTo>
                    <a:cubicBezTo>
                      <a:pt x="7" y="129"/>
                      <a:pt x="0" y="119"/>
                      <a:pt x="1" y="115"/>
                    </a:cubicBezTo>
                    <a:cubicBezTo>
                      <a:pt x="0" y="109"/>
                      <a:pt x="14" y="107"/>
                      <a:pt x="16" y="103"/>
                    </a:cubicBezTo>
                    <a:cubicBezTo>
                      <a:pt x="18" y="99"/>
                      <a:pt x="14" y="92"/>
                      <a:pt x="16" y="88"/>
                    </a:cubicBezTo>
                    <a:cubicBezTo>
                      <a:pt x="18" y="84"/>
                      <a:pt x="21" y="80"/>
                      <a:pt x="26" y="80"/>
                    </a:cubicBezTo>
                    <a:cubicBezTo>
                      <a:pt x="31" y="80"/>
                      <a:pt x="45" y="86"/>
                      <a:pt x="49" y="85"/>
                    </a:cubicBezTo>
                    <a:cubicBezTo>
                      <a:pt x="53" y="84"/>
                      <a:pt x="53" y="77"/>
                      <a:pt x="53" y="71"/>
                    </a:cubicBezTo>
                    <a:cubicBezTo>
                      <a:pt x="53" y="65"/>
                      <a:pt x="47" y="56"/>
                      <a:pt x="46" y="50"/>
                    </a:cubicBezTo>
                    <a:cubicBezTo>
                      <a:pt x="45" y="44"/>
                      <a:pt x="49" y="39"/>
                      <a:pt x="47" y="37"/>
                    </a:cubicBezTo>
                    <a:cubicBezTo>
                      <a:pt x="45" y="35"/>
                      <a:pt x="38" y="40"/>
                      <a:pt x="35" y="37"/>
                    </a:cubicBezTo>
                    <a:cubicBezTo>
                      <a:pt x="32" y="34"/>
                      <a:pt x="24" y="22"/>
                      <a:pt x="28" y="20"/>
                    </a:cubicBezTo>
                    <a:cubicBezTo>
                      <a:pt x="32" y="18"/>
                      <a:pt x="51" y="23"/>
                      <a:pt x="58" y="22"/>
                    </a:cubicBezTo>
                    <a:cubicBezTo>
                      <a:pt x="65" y="21"/>
                      <a:pt x="70" y="13"/>
                      <a:pt x="73" y="11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4" name="Freeform 90">
                <a:extLst>
                  <a:ext uri="{FF2B5EF4-FFF2-40B4-BE49-F238E27FC236}">
                    <a16:creationId xmlns:a16="http://schemas.microsoft.com/office/drawing/2014/main" id="{2B7BFB0F-629C-4768-8490-9EB1EF613236}"/>
                  </a:ext>
                </a:extLst>
              </p:cNvPr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gray">
              <a:xfrm>
                <a:off x="4552951" y="4140200"/>
                <a:ext cx="134938" cy="152400"/>
              </a:xfrm>
              <a:custGeom>
                <a:avLst/>
                <a:gdLst>
                  <a:gd name="T0" fmla="*/ 4 w 83"/>
                  <a:gd name="T1" fmla="*/ 24 h 96"/>
                  <a:gd name="T2" fmla="*/ 32 w 83"/>
                  <a:gd name="T3" fmla="*/ 17 h 96"/>
                  <a:gd name="T4" fmla="*/ 37 w 83"/>
                  <a:gd name="T5" fmla="*/ 0 h 96"/>
                  <a:gd name="T6" fmla="*/ 55 w 83"/>
                  <a:gd name="T7" fmla="*/ 2 h 96"/>
                  <a:gd name="T8" fmla="*/ 65 w 83"/>
                  <a:gd name="T9" fmla="*/ 17 h 96"/>
                  <a:gd name="T10" fmla="*/ 80 w 83"/>
                  <a:gd name="T11" fmla="*/ 21 h 96"/>
                  <a:gd name="T12" fmla="*/ 79 w 83"/>
                  <a:gd name="T13" fmla="*/ 26 h 96"/>
                  <a:gd name="T14" fmla="*/ 77 w 83"/>
                  <a:gd name="T15" fmla="*/ 32 h 96"/>
                  <a:gd name="T16" fmla="*/ 77 w 83"/>
                  <a:gd name="T17" fmla="*/ 41 h 96"/>
                  <a:gd name="T18" fmla="*/ 81 w 83"/>
                  <a:gd name="T19" fmla="*/ 49 h 96"/>
                  <a:gd name="T20" fmla="*/ 79 w 83"/>
                  <a:gd name="T21" fmla="*/ 65 h 96"/>
                  <a:gd name="T22" fmla="*/ 56 w 83"/>
                  <a:gd name="T23" fmla="*/ 59 h 96"/>
                  <a:gd name="T24" fmla="*/ 49 w 83"/>
                  <a:gd name="T25" fmla="*/ 69 h 96"/>
                  <a:gd name="T26" fmla="*/ 29 w 83"/>
                  <a:gd name="T27" fmla="*/ 96 h 96"/>
                  <a:gd name="T28" fmla="*/ 8 w 83"/>
                  <a:gd name="T29" fmla="*/ 77 h 96"/>
                  <a:gd name="T30" fmla="*/ 4 w 83"/>
                  <a:gd name="T31" fmla="*/ 2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3" h="96">
                    <a:moveTo>
                      <a:pt x="4" y="24"/>
                    </a:moveTo>
                    <a:cubicBezTo>
                      <a:pt x="13" y="24"/>
                      <a:pt x="24" y="22"/>
                      <a:pt x="32" y="17"/>
                    </a:cubicBezTo>
                    <a:cubicBezTo>
                      <a:pt x="37" y="14"/>
                      <a:pt x="37" y="0"/>
                      <a:pt x="37" y="0"/>
                    </a:cubicBezTo>
                    <a:cubicBezTo>
                      <a:pt x="44" y="1"/>
                      <a:pt x="49" y="0"/>
                      <a:pt x="55" y="2"/>
                    </a:cubicBezTo>
                    <a:cubicBezTo>
                      <a:pt x="60" y="3"/>
                      <a:pt x="59" y="14"/>
                      <a:pt x="65" y="17"/>
                    </a:cubicBezTo>
                    <a:cubicBezTo>
                      <a:pt x="72" y="14"/>
                      <a:pt x="76" y="15"/>
                      <a:pt x="80" y="21"/>
                    </a:cubicBezTo>
                    <a:cubicBezTo>
                      <a:pt x="80" y="23"/>
                      <a:pt x="80" y="25"/>
                      <a:pt x="79" y="26"/>
                    </a:cubicBezTo>
                    <a:cubicBezTo>
                      <a:pt x="77" y="27"/>
                      <a:pt x="78" y="30"/>
                      <a:pt x="77" y="32"/>
                    </a:cubicBezTo>
                    <a:cubicBezTo>
                      <a:pt x="77" y="34"/>
                      <a:pt x="78" y="35"/>
                      <a:pt x="77" y="41"/>
                    </a:cubicBezTo>
                    <a:cubicBezTo>
                      <a:pt x="78" y="44"/>
                      <a:pt x="81" y="45"/>
                      <a:pt x="81" y="49"/>
                    </a:cubicBezTo>
                    <a:cubicBezTo>
                      <a:pt x="81" y="53"/>
                      <a:pt x="83" y="63"/>
                      <a:pt x="79" y="65"/>
                    </a:cubicBezTo>
                    <a:cubicBezTo>
                      <a:pt x="69" y="64"/>
                      <a:pt x="62" y="67"/>
                      <a:pt x="56" y="59"/>
                    </a:cubicBezTo>
                    <a:cubicBezTo>
                      <a:pt x="46" y="60"/>
                      <a:pt x="55" y="61"/>
                      <a:pt x="49" y="69"/>
                    </a:cubicBezTo>
                    <a:cubicBezTo>
                      <a:pt x="51" y="79"/>
                      <a:pt x="38" y="89"/>
                      <a:pt x="29" y="96"/>
                    </a:cubicBezTo>
                    <a:cubicBezTo>
                      <a:pt x="20" y="93"/>
                      <a:pt x="16" y="83"/>
                      <a:pt x="8" y="77"/>
                    </a:cubicBezTo>
                    <a:cubicBezTo>
                      <a:pt x="4" y="65"/>
                      <a:pt x="0" y="34"/>
                      <a:pt x="4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5" name="Freeform 91">
                <a:extLst>
                  <a:ext uri="{FF2B5EF4-FFF2-40B4-BE49-F238E27FC236}">
                    <a16:creationId xmlns:a16="http://schemas.microsoft.com/office/drawing/2014/main" id="{E39060AF-9950-4AE8-9223-AE397CF6A9B1}"/>
                  </a:ext>
                </a:extLst>
              </p:cNvPr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gray">
              <a:xfrm>
                <a:off x="5065713" y="4440238"/>
                <a:ext cx="258763" cy="396875"/>
              </a:xfrm>
              <a:custGeom>
                <a:avLst/>
                <a:gdLst>
                  <a:gd name="T0" fmla="*/ 38 w 161"/>
                  <a:gd name="T1" fmla="*/ 237 h 250"/>
                  <a:gd name="T2" fmla="*/ 63 w 161"/>
                  <a:gd name="T3" fmla="*/ 221 h 250"/>
                  <a:gd name="T4" fmla="*/ 77 w 161"/>
                  <a:gd name="T5" fmla="*/ 204 h 250"/>
                  <a:gd name="T6" fmla="*/ 75 w 161"/>
                  <a:gd name="T7" fmla="*/ 173 h 250"/>
                  <a:gd name="T8" fmla="*/ 65 w 161"/>
                  <a:gd name="T9" fmla="*/ 150 h 250"/>
                  <a:gd name="T10" fmla="*/ 77 w 161"/>
                  <a:gd name="T11" fmla="*/ 134 h 250"/>
                  <a:gd name="T12" fmla="*/ 87 w 161"/>
                  <a:gd name="T13" fmla="*/ 123 h 250"/>
                  <a:gd name="T14" fmla="*/ 96 w 161"/>
                  <a:gd name="T15" fmla="*/ 116 h 250"/>
                  <a:gd name="T16" fmla="*/ 134 w 161"/>
                  <a:gd name="T17" fmla="*/ 102 h 250"/>
                  <a:gd name="T18" fmla="*/ 149 w 161"/>
                  <a:gd name="T19" fmla="*/ 71 h 250"/>
                  <a:gd name="T20" fmla="*/ 140 w 161"/>
                  <a:gd name="T21" fmla="*/ 0 h 250"/>
                  <a:gd name="T22" fmla="*/ 120 w 161"/>
                  <a:gd name="T23" fmla="*/ 15 h 250"/>
                  <a:gd name="T24" fmla="*/ 99 w 161"/>
                  <a:gd name="T25" fmla="*/ 23 h 250"/>
                  <a:gd name="T26" fmla="*/ 65 w 161"/>
                  <a:gd name="T27" fmla="*/ 24 h 250"/>
                  <a:gd name="T28" fmla="*/ 68 w 161"/>
                  <a:gd name="T29" fmla="*/ 47 h 250"/>
                  <a:gd name="T30" fmla="*/ 74 w 161"/>
                  <a:gd name="T31" fmla="*/ 62 h 250"/>
                  <a:gd name="T32" fmla="*/ 71 w 161"/>
                  <a:gd name="T33" fmla="*/ 99 h 250"/>
                  <a:gd name="T34" fmla="*/ 57 w 161"/>
                  <a:gd name="T35" fmla="*/ 86 h 250"/>
                  <a:gd name="T36" fmla="*/ 45 w 161"/>
                  <a:gd name="T37" fmla="*/ 63 h 250"/>
                  <a:gd name="T38" fmla="*/ 32 w 161"/>
                  <a:gd name="T39" fmla="*/ 54 h 250"/>
                  <a:gd name="T40" fmla="*/ 18 w 161"/>
                  <a:gd name="T41" fmla="*/ 63 h 250"/>
                  <a:gd name="T42" fmla="*/ 5 w 161"/>
                  <a:gd name="T43" fmla="*/ 72 h 250"/>
                  <a:gd name="T44" fmla="*/ 8 w 161"/>
                  <a:gd name="T45" fmla="*/ 84 h 250"/>
                  <a:gd name="T46" fmla="*/ 17 w 161"/>
                  <a:gd name="T47" fmla="*/ 87 h 250"/>
                  <a:gd name="T48" fmla="*/ 35 w 161"/>
                  <a:gd name="T49" fmla="*/ 99 h 250"/>
                  <a:gd name="T50" fmla="*/ 35 w 161"/>
                  <a:gd name="T51" fmla="*/ 138 h 250"/>
                  <a:gd name="T52" fmla="*/ 30 w 161"/>
                  <a:gd name="T53" fmla="*/ 158 h 250"/>
                  <a:gd name="T54" fmla="*/ 27 w 161"/>
                  <a:gd name="T55" fmla="*/ 174 h 250"/>
                  <a:gd name="T56" fmla="*/ 6 w 161"/>
                  <a:gd name="T57" fmla="*/ 189 h 250"/>
                  <a:gd name="T58" fmla="*/ 17 w 161"/>
                  <a:gd name="T59" fmla="*/ 206 h 250"/>
                  <a:gd name="T60" fmla="*/ 24 w 161"/>
                  <a:gd name="T61" fmla="*/ 230 h 250"/>
                  <a:gd name="T62" fmla="*/ 29 w 161"/>
                  <a:gd name="T63" fmla="*/ 249 h 250"/>
                  <a:gd name="T64" fmla="*/ 38 w 161"/>
                  <a:gd name="T65" fmla="*/ 237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1" h="250">
                    <a:moveTo>
                      <a:pt x="38" y="237"/>
                    </a:moveTo>
                    <a:cubicBezTo>
                      <a:pt x="40" y="223"/>
                      <a:pt x="51" y="222"/>
                      <a:pt x="63" y="221"/>
                    </a:cubicBezTo>
                    <a:cubicBezTo>
                      <a:pt x="70" y="218"/>
                      <a:pt x="73" y="211"/>
                      <a:pt x="77" y="204"/>
                    </a:cubicBezTo>
                    <a:cubicBezTo>
                      <a:pt x="79" y="194"/>
                      <a:pt x="80" y="183"/>
                      <a:pt x="75" y="173"/>
                    </a:cubicBezTo>
                    <a:cubicBezTo>
                      <a:pt x="73" y="164"/>
                      <a:pt x="70" y="158"/>
                      <a:pt x="65" y="150"/>
                    </a:cubicBezTo>
                    <a:cubicBezTo>
                      <a:pt x="66" y="135"/>
                      <a:pt x="65" y="136"/>
                      <a:pt x="77" y="134"/>
                    </a:cubicBezTo>
                    <a:cubicBezTo>
                      <a:pt x="87" y="129"/>
                      <a:pt x="82" y="129"/>
                      <a:pt x="87" y="123"/>
                    </a:cubicBezTo>
                    <a:cubicBezTo>
                      <a:pt x="89" y="120"/>
                      <a:pt x="96" y="116"/>
                      <a:pt x="96" y="116"/>
                    </a:cubicBezTo>
                    <a:cubicBezTo>
                      <a:pt x="104" y="102"/>
                      <a:pt x="119" y="104"/>
                      <a:pt x="134" y="102"/>
                    </a:cubicBezTo>
                    <a:cubicBezTo>
                      <a:pt x="135" y="89"/>
                      <a:pt x="143" y="82"/>
                      <a:pt x="149" y="71"/>
                    </a:cubicBezTo>
                    <a:cubicBezTo>
                      <a:pt x="148" y="50"/>
                      <a:pt x="161" y="15"/>
                      <a:pt x="140" y="0"/>
                    </a:cubicBezTo>
                    <a:cubicBezTo>
                      <a:pt x="134" y="7"/>
                      <a:pt x="129" y="14"/>
                      <a:pt x="120" y="15"/>
                    </a:cubicBezTo>
                    <a:cubicBezTo>
                      <a:pt x="107" y="13"/>
                      <a:pt x="109" y="22"/>
                      <a:pt x="99" y="23"/>
                    </a:cubicBezTo>
                    <a:cubicBezTo>
                      <a:pt x="88" y="24"/>
                      <a:pt x="76" y="24"/>
                      <a:pt x="65" y="24"/>
                    </a:cubicBezTo>
                    <a:cubicBezTo>
                      <a:pt x="62" y="33"/>
                      <a:pt x="59" y="42"/>
                      <a:pt x="68" y="47"/>
                    </a:cubicBezTo>
                    <a:cubicBezTo>
                      <a:pt x="72" y="52"/>
                      <a:pt x="72" y="56"/>
                      <a:pt x="74" y="62"/>
                    </a:cubicBezTo>
                    <a:cubicBezTo>
                      <a:pt x="76" y="74"/>
                      <a:pt x="83" y="90"/>
                      <a:pt x="71" y="99"/>
                    </a:cubicBezTo>
                    <a:cubicBezTo>
                      <a:pt x="60" y="97"/>
                      <a:pt x="61" y="94"/>
                      <a:pt x="57" y="86"/>
                    </a:cubicBezTo>
                    <a:cubicBezTo>
                      <a:pt x="56" y="62"/>
                      <a:pt x="60" y="68"/>
                      <a:pt x="45" y="63"/>
                    </a:cubicBezTo>
                    <a:cubicBezTo>
                      <a:pt x="41" y="58"/>
                      <a:pt x="38" y="56"/>
                      <a:pt x="32" y="54"/>
                    </a:cubicBezTo>
                    <a:cubicBezTo>
                      <a:pt x="28" y="61"/>
                      <a:pt x="26" y="62"/>
                      <a:pt x="18" y="63"/>
                    </a:cubicBezTo>
                    <a:cubicBezTo>
                      <a:pt x="14" y="70"/>
                      <a:pt x="11" y="68"/>
                      <a:pt x="5" y="72"/>
                    </a:cubicBezTo>
                    <a:cubicBezTo>
                      <a:pt x="1" y="78"/>
                      <a:pt x="0" y="82"/>
                      <a:pt x="8" y="84"/>
                    </a:cubicBezTo>
                    <a:cubicBezTo>
                      <a:pt x="11" y="85"/>
                      <a:pt x="14" y="85"/>
                      <a:pt x="17" y="87"/>
                    </a:cubicBezTo>
                    <a:cubicBezTo>
                      <a:pt x="24" y="92"/>
                      <a:pt x="25" y="97"/>
                      <a:pt x="35" y="99"/>
                    </a:cubicBezTo>
                    <a:cubicBezTo>
                      <a:pt x="38" y="107"/>
                      <a:pt x="36" y="128"/>
                      <a:pt x="35" y="138"/>
                    </a:cubicBezTo>
                    <a:cubicBezTo>
                      <a:pt x="34" y="148"/>
                      <a:pt x="31" y="152"/>
                      <a:pt x="30" y="158"/>
                    </a:cubicBezTo>
                    <a:cubicBezTo>
                      <a:pt x="29" y="165"/>
                      <a:pt x="33" y="170"/>
                      <a:pt x="27" y="174"/>
                    </a:cubicBezTo>
                    <a:cubicBezTo>
                      <a:pt x="24" y="182"/>
                      <a:pt x="13" y="185"/>
                      <a:pt x="6" y="189"/>
                    </a:cubicBezTo>
                    <a:cubicBezTo>
                      <a:pt x="8" y="194"/>
                      <a:pt x="15" y="201"/>
                      <a:pt x="17" y="206"/>
                    </a:cubicBezTo>
                    <a:cubicBezTo>
                      <a:pt x="18" y="222"/>
                      <a:pt x="16" y="220"/>
                      <a:pt x="24" y="230"/>
                    </a:cubicBezTo>
                    <a:cubicBezTo>
                      <a:pt x="26" y="243"/>
                      <a:pt x="18" y="247"/>
                      <a:pt x="29" y="249"/>
                    </a:cubicBezTo>
                    <a:cubicBezTo>
                      <a:pt x="31" y="250"/>
                      <a:pt x="32" y="242"/>
                      <a:pt x="38" y="2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6" name="Freeform 92">
                <a:extLst>
                  <a:ext uri="{FF2B5EF4-FFF2-40B4-BE49-F238E27FC236}">
                    <a16:creationId xmlns:a16="http://schemas.microsoft.com/office/drawing/2014/main" id="{95379D20-39A7-474C-AF7C-D8FF2A417BA7}"/>
                  </a:ext>
                </a:extLst>
              </p:cNvPr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gray">
              <a:xfrm>
                <a:off x="5024438" y="4252913"/>
                <a:ext cx="47625" cy="49213"/>
              </a:xfrm>
              <a:custGeom>
                <a:avLst/>
                <a:gdLst>
                  <a:gd name="T0" fmla="*/ 25 w 29"/>
                  <a:gd name="T1" fmla="*/ 0 h 31"/>
                  <a:gd name="T2" fmla="*/ 3 w 29"/>
                  <a:gd name="T3" fmla="*/ 7 h 31"/>
                  <a:gd name="T4" fmla="*/ 4 w 29"/>
                  <a:gd name="T5" fmla="*/ 28 h 31"/>
                  <a:gd name="T6" fmla="*/ 18 w 29"/>
                  <a:gd name="T7" fmla="*/ 25 h 31"/>
                  <a:gd name="T8" fmla="*/ 27 w 29"/>
                  <a:gd name="T9" fmla="*/ 18 h 31"/>
                  <a:gd name="T10" fmla="*/ 25 w 29"/>
                  <a:gd name="T11" fmla="*/ 7 h 31"/>
                  <a:gd name="T12" fmla="*/ 25 w 29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1">
                    <a:moveTo>
                      <a:pt x="25" y="0"/>
                    </a:moveTo>
                    <a:cubicBezTo>
                      <a:pt x="16" y="1"/>
                      <a:pt x="9" y="0"/>
                      <a:pt x="3" y="7"/>
                    </a:cubicBezTo>
                    <a:cubicBezTo>
                      <a:pt x="0" y="11"/>
                      <a:pt x="2" y="25"/>
                      <a:pt x="4" y="28"/>
                    </a:cubicBezTo>
                    <a:cubicBezTo>
                      <a:pt x="6" y="31"/>
                      <a:pt x="14" y="27"/>
                      <a:pt x="18" y="25"/>
                    </a:cubicBezTo>
                    <a:cubicBezTo>
                      <a:pt x="21" y="23"/>
                      <a:pt x="26" y="21"/>
                      <a:pt x="27" y="18"/>
                    </a:cubicBezTo>
                    <a:cubicBezTo>
                      <a:pt x="28" y="15"/>
                      <a:pt x="25" y="10"/>
                      <a:pt x="25" y="7"/>
                    </a:cubicBezTo>
                    <a:cubicBezTo>
                      <a:pt x="25" y="4"/>
                      <a:pt x="29" y="0"/>
                      <a:pt x="25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7" name="Freeform 93">
                <a:extLst>
                  <a:ext uri="{FF2B5EF4-FFF2-40B4-BE49-F238E27FC236}">
                    <a16:creationId xmlns:a16="http://schemas.microsoft.com/office/drawing/2014/main" id="{A8CED6CE-E855-42EF-A10F-341E945DE298}"/>
                  </a:ext>
                </a:extLst>
              </p:cNvPr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gray">
              <a:xfrm>
                <a:off x="5027613" y="4217988"/>
                <a:ext cx="273050" cy="265113"/>
              </a:xfrm>
              <a:custGeom>
                <a:avLst/>
                <a:gdLst>
                  <a:gd name="T0" fmla="*/ 10 w 169"/>
                  <a:gd name="T1" fmla="*/ 2 h 167"/>
                  <a:gd name="T2" fmla="*/ 53 w 169"/>
                  <a:gd name="T3" fmla="*/ 2 h 167"/>
                  <a:gd name="T4" fmla="*/ 77 w 169"/>
                  <a:gd name="T5" fmla="*/ 5 h 167"/>
                  <a:gd name="T6" fmla="*/ 103 w 169"/>
                  <a:gd name="T7" fmla="*/ 13 h 167"/>
                  <a:gd name="T8" fmla="*/ 128 w 169"/>
                  <a:gd name="T9" fmla="*/ 37 h 167"/>
                  <a:gd name="T10" fmla="*/ 149 w 169"/>
                  <a:gd name="T11" fmla="*/ 49 h 167"/>
                  <a:gd name="T12" fmla="*/ 154 w 169"/>
                  <a:gd name="T13" fmla="*/ 106 h 167"/>
                  <a:gd name="T14" fmla="*/ 157 w 169"/>
                  <a:gd name="T15" fmla="*/ 122 h 167"/>
                  <a:gd name="T16" fmla="*/ 155 w 169"/>
                  <a:gd name="T17" fmla="*/ 151 h 167"/>
                  <a:gd name="T18" fmla="*/ 136 w 169"/>
                  <a:gd name="T19" fmla="*/ 155 h 167"/>
                  <a:gd name="T20" fmla="*/ 124 w 169"/>
                  <a:gd name="T21" fmla="*/ 163 h 167"/>
                  <a:gd name="T22" fmla="*/ 106 w 169"/>
                  <a:gd name="T23" fmla="*/ 164 h 167"/>
                  <a:gd name="T24" fmla="*/ 89 w 169"/>
                  <a:gd name="T25" fmla="*/ 160 h 167"/>
                  <a:gd name="T26" fmla="*/ 38 w 169"/>
                  <a:gd name="T27" fmla="*/ 121 h 167"/>
                  <a:gd name="T28" fmla="*/ 20 w 169"/>
                  <a:gd name="T29" fmla="*/ 109 h 167"/>
                  <a:gd name="T30" fmla="*/ 23 w 169"/>
                  <a:gd name="T31" fmla="*/ 92 h 167"/>
                  <a:gd name="T32" fmla="*/ 10 w 169"/>
                  <a:gd name="T33" fmla="*/ 85 h 167"/>
                  <a:gd name="T34" fmla="*/ 1 w 169"/>
                  <a:gd name="T35" fmla="*/ 73 h 167"/>
                  <a:gd name="T36" fmla="*/ 2 w 169"/>
                  <a:gd name="T37" fmla="*/ 53 h 167"/>
                  <a:gd name="T38" fmla="*/ 12 w 169"/>
                  <a:gd name="T39" fmla="*/ 52 h 167"/>
                  <a:gd name="T40" fmla="*/ 26 w 169"/>
                  <a:gd name="T41" fmla="*/ 38 h 167"/>
                  <a:gd name="T42" fmla="*/ 23 w 169"/>
                  <a:gd name="T43" fmla="*/ 23 h 167"/>
                  <a:gd name="T44" fmla="*/ 25 w 169"/>
                  <a:gd name="T45" fmla="*/ 13 h 167"/>
                  <a:gd name="T46" fmla="*/ 10 w 169"/>
                  <a:gd name="T47" fmla="*/ 2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9" h="167">
                    <a:moveTo>
                      <a:pt x="10" y="2"/>
                    </a:moveTo>
                    <a:cubicBezTo>
                      <a:pt x="15" y="0"/>
                      <a:pt x="38" y="0"/>
                      <a:pt x="53" y="2"/>
                    </a:cubicBezTo>
                    <a:cubicBezTo>
                      <a:pt x="64" y="2"/>
                      <a:pt x="69" y="3"/>
                      <a:pt x="77" y="5"/>
                    </a:cubicBezTo>
                    <a:cubicBezTo>
                      <a:pt x="85" y="7"/>
                      <a:pt x="95" y="8"/>
                      <a:pt x="103" y="13"/>
                    </a:cubicBezTo>
                    <a:cubicBezTo>
                      <a:pt x="113" y="20"/>
                      <a:pt x="117" y="32"/>
                      <a:pt x="128" y="37"/>
                    </a:cubicBezTo>
                    <a:cubicBezTo>
                      <a:pt x="136" y="48"/>
                      <a:pt x="136" y="45"/>
                      <a:pt x="149" y="49"/>
                    </a:cubicBezTo>
                    <a:cubicBezTo>
                      <a:pt x="138" y="64"/>
                      <a:pt x="147" y="89"/>
                      <a:pt x="154" y="106"/>
                    </a:cubicBezTo>
                    <a:cubicBezTo>
                      <a:pt x="155" y="113"/>
                      <a:pt x="153" y="117"/>
                      <a:pt x="157" y="122"/>
                    </a:cubicBezTo>
                    <a:cubicBezTo>
                      <a:pt x="159" y="134"/>
                      <a:pt x="169" y="149"/>
                      <a:pt x="155" y="151"/>
                    </a:cubicBezTo>
                    <a:cubicBezTo>
                      <a:pt x="152" y="157"/>
                      <a:pt x="141" y="153"/>
                      <a:pt x="136" y="155"/>
                    </a:cubicBezTo>
                    <a:cubicBezTo>
                      <a:pt x="131" y="157"/>
                      <a:pt x="129" y="162"/>
                      <a:pt x="124" y="163"/>
                    </a:cubicBezTo>
                    <a:cubicBezTo>
                      <a:pt x="119" y="164"/>
                      <a:pt x="112" y="164"/>
                      <a:pt x="106" y="164"/>
                    </a:cubicBezTo>
                    <a:cubicBezTo>
                      <a:pt x="100" y="167"/>
                      <a:pt x="95" y="161"/>
                      <a:pt x="89" y="160"/>
                    </a:cubicBezTo>
                    <a:cubicBezTo>
                      <a:pt x="87" y="131"/>
                      <a:pt x="64" y="122"/>
                      <a:pt x="38" y="121"/>
                    </a:cubicBezTo>
                    <a:cubicBezTo>
                      <a:pt x="32" y="117"/>
                      <a:pt x="26" y="113"/>
                      <a:pt x="20" y="109"/>
                    </a:cubicBezTo>
                    <a:cubicBezTo>
                      <a:pt x="17" y="105"/>
                      <a:pt x="25" y="96"/>
                      <a:pt x="23" y="92"/>
                    </a:cubicBezTo>
                    <a:cubicBezTo>
                      <a:pt x="21" y="88"/>
                      <a:pt x="14" y="88"/>
                      <a:pt x="10" y="85"/>
                    </a:cubicBezTo>
                    <a:cubicBezTo>
                      <a:pt x="8" y="78"/>
                      <a:pt x="2" y="78"/>
                      <a:pt x="1" y="73"/>
                    </a:cubicBezTo>
                    <a:cubicBezTo>
                      <a:pt x="0" y="68"/>
                      <a:pt x="0" y="56"/>
                      <a:pt x="2" y="53"/>
                    </a:cubicBezTo>
                    <a:cubicBezTo>
                      <a:pt x="4" y="50"/>
                      <a:pt x="8" y="54"/>
                      <a:pt x="12" y="52"/>
                    </a:cubicBezTo>
                    <a:cubicBezTo>
                      <a:pt x="16" y="50"/>
                      <a:pt x="24" y="43"/>
                      <a:pt x="26" y="38"/>
                    </a:cubicBezTo>
                    <a:cubicBezTo>
                      <a:pt x="25" y="32"/>
                      <a:pt x="26" y="29"/>
                      <a:pt x="23" y="23"/>
                    </a:cubicBezTo>
                    <a:cubicBezTo>
                      <a:pt x="25" y="20"/>
                      <a:pt x="24" y="16"/>
                      <a:pt x="25" y="13"/>
                    </a:cubicBezTo>
                    <a:cubicBezTo>
                      <a:pt x="29" y="2"/>
                      <a:pt x="15" y="3"/>
                      <a:pt x="10" y="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8" name="Freeform 94">
                <a:extLst>
                  <a:ext uri="{FF2B5EF4-FFF2-40B4-BE49-F238E27FC236}">
                    <a16:creationId xmlns:a16="http://schemas.microsoft.com/office/drawing/2014/main" id="{35F001F7-B92D-4D23-AB06-F69C6ECD1D69}"/>
                  </a:ext>
                </a:extLst>
              </p:cNvPr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gray">
              <a:xfrm>
                <a:off x="5030788" y="4221163"/>
                <a:ext cx="52388" cy="39688"/>
              </a:xfrm>
              <a:custGeom>
                <a:avLst/>
                <a:gdLst>
                  <a:gd name="T0" fmla="*/ 11 w 32"/>
                  <a:gd name="T1" fmla="*/ 2 h 25"/>
                  <a:gd name="T2" fmla="*/ 21 w 32"/>
                  <a:gd name="T3" fmla="*/ 14 h 25"/>
                  <a:gd name="T4" fmla="*/ 0 w 32"/>
                  <a:gd name="T5" fmla="*/ 24 h 25"/>
                  <a:gd name="T6" fmla="*/ 6 w 32"/>
                  <a:gd name="T7" fmla="*/ 8 h 25"/>
                  <a:gd name="T8" fmla="*/ 11 w 32"/>
                  <a:gd name="T9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5">
                    <a:moveTo>
                      <a:pt x="11" y="2"/>
                    </a:moveTo>
                    <a:cubicBezTo>
                      <a:pt x="23" y="0"/>
                      <a:pt x="32" y="10"/>
                      <a:pt x="21" y="14"/>
                    </a:cubicBezTo>
                    <a:cubicBezTo>
                      <a:pt x="16" y="21"/>
                      <a:pt x="8" y="25"/>
                      <a:pt x="0" y="24"/>
                    </a:cubicBezTo>
                    <a:cubicBezTo>
                      <a:pt x="1" y="16"/>
                      <a:pt x="0" y="13"/>
                      <a:pt x="6" y="8"/>
                    </a:cubicBezTo>
                    <a:cubicBezTo>
                      <a:pt x="9" y="2"/>
                      <a:pt x="7" y="2"/>
                      <a:pt x="11" y="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9" name="Freeform 95">
                <a:extLst>
                  <a:ext uri="{FF2B5EF4-FFF2-40B4-BE49-F238E27FC236}">
                    <a16:creationId xmlns:a16="http://schemas.microsoft.com/office/drawing/2014/main" id="{B9FF5EDF-3367-4EF4-837B-85FFB7129618}"/>
                  </a:ext>
                </a:extLst>
              </p:cNvPr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gray">
              <a:xfrm>
                <a:off x="5116513" y="4421188"/>
                <a:ext cx="76200" cy="176213"/>
              </a:xfrm>
              <a:custGeom>
                <a:avLst/>
                <a:gdLst>
                  <a:gd name="T0" fmla="*/ 7 w 47"/>
                  <a:gd name="T1" fmla="*/ 0 h 111"/>
                  <a:gd name="T2" fmla="*/ 33 w 47"/>
                  <a:gd name="T3" fmla="*/ 20 h 111"/>
                  <a:gd name="T4" fmla="*/ 34 w 47"/>
                  <a:gd name="T5" fmla="*/ 33 h 111"/>
                  <a:gd name="T6" fmla="*/ 31 w 47"/>
                  <a:gd name="T7" fmla="*/ 54 h 111"/>
                  <a:gd name="T8" fmla="*/ 45 w 47"/>
                  <a:gd name="T9" fmla="*/ 78 h 111"/>
                  <a:gd name="T10" fmla="*/ 45 w 47"/>
                  <a:gd name="T11" fmla="*/ 101 h 111"/>
                  <a:gd name="T12" fmla="*/ 30 w 47"/>
                  <a:gd name="T13" fmla="*/ 108 h 111"/>
                  <a:gd name="T14" fmla="*/ 24 w 47"/>
                  <a:gd name="T15" fmla="*/ 80 h 111"/>
                  <a:gd name="T16" fmla="*/ 9 w 47"/>
                  <a:gd name="T17" fmla="*/ 68 h 111"/>
                  <a:gd name="T18" fmla="*/ 1 w 47"/>
                  <a:gd name="T19" fmla="*/ 56 h 111"/>
                  <a:gd name="T20" fmla="*/ 12 w 47"/>
                  <a:gd name="T21" fmla="*/ 35 h 111"/>
                  <a:gd name="T22" fmla="*/ 7 w 47"/>
                  <a:gd name="T2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111">
                    <a:moveTo>
                      <a:pt x="7" y="0"/>
                    </a:moveTo>
                    <a:cubicBezTo>
                      <a:pt x="21" y="2"/>
                      <a:pt x="28" y="6"/>
                      <a:pt x="33" y="20"/>
                    </a:cubicBezTo>
                    <a:cubicBezTo>
                      <a:pt x="37" y="26"/>
                      <a:pt x="34" y="27"/>
                      <a:pt x="34" y="33"/>
                    </a:cubicBezTo>
                    <a:cubicBezTo>
                      <a:pt x="34" y="39"/>
                      <a:pt x="29" y="47"/>
                      <a:pt x="31" y="54"/>
                    </a:cubicBezTo>
                    <a:cubicBezTo>
                      <a:pt x="35" y="60"/>
                      <a:pt x="43" y="71"/>
                      <a:pt x="45" y="78"/>
                    </a:cubicBezTo>
                    <a:cubicBezTo>
                      <a:pt x="47" y="86"/>
                      <a:pt x="47" y="96"/>
                      <a:pt x="45" y="101"/>
                    </a:cubicBezTo>
                    <a:cubicBezTo>
                      <a:pt x="43" y="106"/>
                      <a:pt x="33" y="111"/>
                      <a:pt x="30" y="108"/>
                    </a:cubicBezTo>
                    <a:cubicBezTo>
                      <a:pt x="26" y="100"/>
                      <a:pt x="26" y="88"/>
                      <a:pt x="24" y="80"/>
                    </a:cubicBezTo>
                    <a:cubicBezTo>
                      <a:pt x="22" y="73"/>
                      <a:pt x="14" y="72"/>
                      <a:pt x="9" y="68"/>
                    </a:cubicBezTo>
                    <a:cubicBezTo>
                      <a:pt x="6" y="63"/>
                      <a:pt x="2" y="62"/>
                      <a:pt x="1" y="56"/>
                    </a:cubicBezTo>
                    <a:cubicBezTo>
                      <a:pt x="0" y="50"/>
                      <a:pt x="11" y="44"/>
                      <a:pt x="12" y="35"/>
                    </a:cubicBezTo>
                    <a:cubicBezTo>
                      <a:pt x="13" y="26"/>
                      <a:pt x="8" y="7"/>
                      <a:pt x="7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0" name="Freeform 96">
                <a:extLst>
                  <a:ext uri="{FF2B5EF4-FFF2-40B4-BE49-F238E27FC236}">
                    <a16:creationId xmlns:a16="http://schemas.microsoft.com/office/drawing/2014/main" id="{A77AF44A-E8E6-42A8-B9C3-929EE70BDCF3}"/>
                  </a:ext>
                </a:extLst>
              </p:cNvPr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gray">
              <a:xfrm>
                <a:off x="4521201" y="3248025"/>
                <a:ext cx="96838" cy="177800"/>
              </a:xfrm>
              <a:custGeom>
                <a:avLst/>
                <a:gdLst>
                  <a:gd name="T0" fmla="*/ 19 w 60"/>
                  <a:gd name="T1" fmla="*/ 9 h 112"/>
                  <a:gd name="T2" fmla="*/ 39 w 60"/>
                  <a:gd name="T3" fmla="*/ 4 h 112"/>
                  <a:gd name="T4" fmla="*/ 48 w 60"/>
                  <a:gd name="T5" fmla="*/ 34 h 112"/>
                  <a:gd name="T6" fmla="*/ 37 w 60"/>
                  <a:gd name="T7" fmla="*/ 51 h 112"/>
                  <a:gd name="T8" fmla="*/ 51 w 60"/>
                  <a:gd name="T9" fmla="*/ 73 h 112"/>
                  <a:gd name="T10" fmla="*/ 54 w 60"/>
                  <a:gd name="T11" fmla="*/ 90 h 112"/>
                  <a:gd name="T12" fmla="*/ 41 w 60"/>
                  <a:gd name="T13" fmla="*/ 99 h 112"/>
                  <a:gd name="T14" fmla="*/ 34 w 60"/>
                  <a:gd name="T15" fmla="*/ 103 h 112"/>
                  <a:gd name="T16" fmla="*/ 27 w 60"/>
                  <a:gd name="T17" fmla="*/ 109 h 112"/>
                  <a:gd name="T18" fmla="*/ 7 w 60"/>
                  <a:gd name="T19" fmla="*/ 87 h 112"/>
                  <a:gd name="T20" fmla="*/ 0 w 60"/>
                  <a:gd name="T21" fmla="*/ 73 h 112"/>
                  <a:gd name="T22" fmla="*/ 9 w 60"/>
                  <a:gd name="T23" fmla="*/ 34 h 112"/>
                  <a:gd name="T24" fmla="*/ 19 w 60"/>
                  <a:gd name="T25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0" h="112">
                    <a:moveTo>
                      <a:pt x="19" y="9"/>
                    </a:moveTo>
                    <a:cubicBezTo>
                      <a:pt x="24" y="0"/>
                      <a:pt x="29" y="3"/>
                      <a:pt x="39" y="4"/>
                    </a:cubicBezTo>
                    <a:cubicBezTo>
                      <a:pt x="49" y="12"/>
                      <a:pt x="43" y="23"/>
                      <a:pt x="48" y="34"/>
                    </a:cubicBezTo>
                    <a:cubicBezTo>
                      <a:pt x="50" y="44"/>
                      <a:pt x="47" y="48"/>
                      <a:pt x="37" y="51"/>
                    </a:cubicBezTo>
                    <a:cubicBezTo>
                      <a:pt x="35" y="64"/>
                      <a:pt x="38" y="70"/>
                      <a:pt x="51" y="73"/>
                    </a:cubicBezTo>
                    <a:cubicBezTo>
                      <a:pt x="55" y="80"/>
                      <a:pt x="60" y="86"/>
                      <a:pt x="54" y="90"/>
                    </a:cubicBezTo>
                    <a:cubicBezTo>
                      <a:pt x="52" y="94"/>
                      <a:pt x="44" y="97"/>
                      <a:pt x="41" y="99"/>
                    </a:cubicBezTo>
                    <a:cubicBezTo>
                      <a:pt x="38" y="101"/>
                      <a:pt x="36" y="101"/>
                      <a:pt x="34" y="103"/>
                    </a:cubicBezTo>
                    <a:cubicBezTo>
                      <a:pt x="32" y="105"/>
                      <a:pt x="32" y="112"/>
                      <a:pt x="27" y="109"/>
                    </a:cubicBezTo>
                    <a:cubicBezTo>
                      <a:pt x="25" y="100"/>
                      <a:pt x="15" y="92"/>
                      <a:pt x="7" y="87"/>
                    </a:cubicBezTo>
                    <a:cubicBezTo>
                      <a:pt x="4" y="82"/>
                      <a:pt x="1" y="79"/>
                      <a:pt x="0" y="73"/>
                    </a:cubicBezTo>
                    <a:cubicBezTo>
                      <a:pt x="1" y="61"/>
                      <a:pt x="3" y="45"/>
                      <a:pt x="9" y="34"/>
                    </a:cubicBezTo>
                    <a:cubicBezTo>
                      <a:pt x="9" y="28"/>
                      <a:pt x="8" y="9"/>
                      <a:pt x="19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1" name="Freeform 100">
                <a:extLst>
                  <a:ext uri="{FF2B5EF4-FFF2-40B4-BE49-F238E27FC236}">
                    <a16:creationId xmlns:a16="http://schemas.microsoft.com/office/drawing/2014/main" id="{42EE4482-C530-4EC8-9465-9DF004EF7D84}"/>
                  </a:ext>
                </a:extLst>
              </p:cNvPr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gray">
              <a:xfrm>
                <a:off x="4660901" y="2652713"/>
                <a:ext cx="250825" cy="203200"/>
              </a:xfrm>
              <a:custGeom>
                <a:avLst/>
                <a:gdLst>
                  <a:gd name="T0" fmla="*/ 0 w 155"/>
                  <a:gd name="T1" fmla="*/ 18 h 128"/>
                  <a:gd name="T2" fmla="*/ 33 w 155"/>
                  <a:gd name="T3" fmla="*/ 15 h 128"/>
                  <a:gd name="T4" fmla="*/ 54 w 155"/>
                  <a:gd name="T5" fmla="*/ 0 h 128"/>
                  <a:gd name="T6" fmla="*/ 87 w 155"/>
                  <a:gd name="T7" fmla="*/ 4 h 128"/>
                  <a:gd name="T8" fmla="*/ 96 w 155"/>
                  <a:gd name="T9" fmla="*/ 16 h 128"/>
                  <a:gd name="T10" fmla="*/ 120 w 155"/>
                  <a:gd name="T11" fmla="*/ 15 h 128"/>
                  <a:gd name="T12" fmla="*/ 147 w 155"/>
                  <a:gd name="T13" fmla="*/ 19 h 128"/>
                  <a:gd name="T14" fmla="*/ 153 w 155"/>
                  <a:gd name="T15" fmla="*/ 39 h 128"/>
                  <a:gd name="T16" fmla="*/ 145 w 155"/>
                  <a:gd name="T17" fmla="*/ 57 h 128"/>
                  <a:gd name="T18" fmla="*/ 150 w 155"/>
                  <a:gd name="T19" fmla="*/ 76 h 128"/>
                  <a:gd name="T20" fmla="*/ 153 w 155"/>
                  <a:gd name="T21" fmla="*/ 99 h 128"/>
                  <a:gd name="T22" fmla="*/ 136 w 155"/>
                  <a:gd name="T23" fmla="*/ 118 h 128"/>
                  <a:gd name="T24" fmla="*/ 123 w 155"/>
                  <a:gd name="T25" fmla="*/ 124 h 128"/>
                  <a:gd name="T26" fmla="*/ 94 w 155"/>
                  <a:gd name="T27" fmla="*/ 127 h 128"/>
                  <a:gd name="T28" fmla="*/ 73 w 155"/>
                  <a:gd name="T29" fmla="*/ 121 h 128"/>
                  <a:gd name="T30" fmla="*/ 39 w 155"/>
                  <a:gd name="T31" fmla="*/ 96 h 128"/>
                  <a:gd name="T32" fmla="*/ 12 w 155"/>
                  <a:gd name="T33" fmla="*/ 88 h 128"/>
                  <a:gd name="T34" fmla="*/ 10 w 155"/>
                  <a:gd name="T35" fmla="*/ 52 h 128"/>
                  <a:gd name="T36" fmla="*/ 0 w 155"/>
                  <a:gd name="T37" fmla="*/ 1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5" h="128">
                    <a:moveTo>
                      <a:pt x="0" y="18"/>
                    </a:moveTo>
                    <a:cubicBezTo>
                      <a:pt x="5" y="17"/>
                      <a:pt x="33" y="15"/>
                      <a:pt x="33" y="15"/>
                    </a:cubicBezTo>
                    <a:cubicBezTo>
                      <a:pt x="42" y="10"/>
                      <a:pt x="42" y="2"/>
                      <a:pt x="54" y="0"/>
                    </a:cubicBezTo>
                    <a:cubicBezTo>
                      <a:pt x="78" y="1"/>
                      <a:pt x="63" y="0"/>
                      <a:pt x="87" y="4"/>
                    </a:cubicBezTo>
                    <a:cubicBezTo>
                      <a:pt x="91" y="5"/>
                      <a:pt x="96" y="16"/>
                      <a:pt x="96" y="16"/>
                    </a:cubicBezTo>
                    <a:cubicBezTo>
                      <a:pt x="100" y="18"/>
                      <a:pt x="112" y="15"/>
                      <a:pt x="120" y="15"/>
                    </a:cubicBezTo>
                    <a:cubicBezTo>
                      <a:pt x="128" y="15"/>
                      <a:pt x="142" y="15"/>
                      <a:pt x="147" y="19"/>
                    </a:cubicBezTo>
                    <a:cubicBezTo>
                      <a:pt x="153" y="23"/>
                      <a:pt x="153" y="33"/>
                      <a:pt x="153" y="39"/>
                    </a:cubicBezTo>
                    <a:cubicBezTo>
                      <a:pt x="153" y="45"/>
                      <a:pt x="145" y="51"/>
                      <a:pt x="145" y="57"/>
                    </a:cubicBezTo>
                    <a:cubicBezTo>
                      <a:pt x="148" y="73"/>
                      <a:pt x="146" y="67"/>
                      <a:pt x="150" y="76"/>
                    </a:cubicBezTo>
                    <a:cubicBezTo>
                      <a:pt x="151" y="83"/>
                      <a:pt x="155" y="92"/>
                      <a:pt x="153" y="99"/>
                    </a:cubicBezTo>
                    <a:cubicBezTo>
                      <a:pt x="151" y="106"/>
                      <a:pt x="141" y="114"/>
                      <a:pt x="136" y="118"/>
                    </a:cubicBezTo>
                    <a:cubicBezTo>
                      <a:pt x="131" y="120"/>
                      <a:pt x="127" y="121"/>
                      <a:pt x="123" y="124"/>
                    </a:cubicBezTo>
                    <a:cubicBezTo>
                      <a:pt x="117" y="125"/>
                      <a:pt x="102" y="128"/>
                      <a:pt x="94" y="127"/>
                    </a:cubicBezTo>
                    <a:cubicBezTo>
                      <a:pt x="86" y="126"/>
                      <a:pt x="82" y="126"/>
                      <a:pt x="73" y="121"/>
                    </a:cubicBezTo>
                    <a:cubicBezTo>
                      <a:pt x="61" y="120"/>
                      <a:pt x="52" y="99"/>
                      <a:pt x="39" y="96"/>
                    </a:cubicBezTo>
                    <a:cubicBezTo>
                      <a:pt x="28" y="88"/>
                      <a:pt x="25" y="92"/>
                      <a:pt x="12" y="88"/>
                    </a:cubicBezTo>
                    <a:cubicBezTo>
                      <a:pt x="6" y="80"/>
                      <a:pt x="11" y="64"/>
                      <a:pt x="10" y="52"/>
                    </a:cubicBezTo>
                    <a:cubicBezTo>
                      <a:pt x="8" y="40"/>
                      <a:pt x="1" y="25"/>
                      <a:pt x="0" y="1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2" name="Freeform 102">
                <a:extLst>
                  <a:ext uri="{FF2B5EF4-FFF2-40B4-BE49-F238E27FC236}">
                    <a16:creationId xmlns:a16="http://schemas.microsoft.com/office/drawing/2014/main" id="{F1C49633-91B7-4545-9660-F85236BD9CE4}"/>
                  </a:ext>
                </a:extLst>
              </p:cNvPr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gray">
              <a:xfrm>
                <a:off x="4524464" y="2525711"/>
                <a:ext cx="173435" cy="158852"/>
              </a:xfrm>
              <a:custGeom>
                <a:avLst/>
                <a:gdLst/>
                <a:ahLst/>
                <a:cxnLst/>
                <a:rect l="l" t="t" r="r" b="b"/>
                <a:pathLst>
                  <a:path w="173435" h="158852">
                    <a:moveTo>
                      <a:pt x="161866" y="104174"/>
                    </a:moveTo>
                    <a:cubicBezTo>
                      <a:pt x="177799" y="106608"/>
                      <a:pt x="177890" y="118745"/>
                      <a:pt x="158299" y="114301"/>
                    </a:cubicBezTo>
                    <a:close/>
                    <a:moveTo>
                      <a:pt x="158299" y="103189"/>
                    </a:moveTo>
                    <a:cubicBezTo>
                      <a:pt x="161692" y="103189"/>
                      <a:pt x="162413" y="102751"/>
                      <a:pt x="161866" y="104174"/>
                    </a:cubicBezTo>
                    <a:close/>
                    <a:moveTo>
                      <a:pt x="51691" y="0"/>
                    </a:moveTo>
                    <a:cubicBezTo>
                      <a:pt x="61383" y="3175"/>
                      <a:pt x="74297" y="22223"/>
                      <a:pt x="74297" y="22223"/>
                    </a:cubicBezTo>
                    <a:cubicBezTo>
                      <a:pt x="71074" y="39684"/>
                      <a:pt x="59766" y="44446"/>
                      <a:pt x="64606" y="57145"/>
                    </a:cubicBezTo>
                    <a:cubicBezTo>
                      <a:pt x="56531" y="79368"/>
                      <a:pt x="51691" y="74605"/>
                      <a:pt x="67840" y="79368"/>
                    </a:cubicBezTo>
                    <a:lnTo>
                      <a:pt x="78619" y="73638"/>
                    </a:lnTo>
                    <a:cubicBezTo>
                      <a:pt x="82783" y="68355"/>
                      <a:pt x="73087" y="65081"/>
                      <a:pt x="103383" y="69843"/>
                    </a:cubicBezTo>
                    <a:cubicBezTo>
                      <a:pt x="109840" y="87320"/>
                      <a:pt x="100148" y="109543"/>
                      <a:pt x="96914" y="127004"/>
                    </a:cubicBezTo>
                    <a:cubicBezTo>
                      <a:pt x="72691" y="119067"/>
                      <a:pt x="82383" y="125417"/>
                      <a:pt x="67840" y="111131"/>
                    </a:cubicBezTo>
                    <a:cubicBezTo>
                      <a:pt x="59766" y="134941"/>
                      <a:pt x="67840" y="128591"/>
                      <a:pt x="45223" y="133353"/>
                    </a:cubicBezTo>
                    <a:cubicBezTo>
                      <a:pt x="42000" y="136528"/>
                      <a:pt x="32297" y="133353"/>
                      <a:pt x="30692" y="138115"/>
                    </a:cubicBezTo>
                    <a:cubicBezTo>
                      <a:pt x="27457" y="142877"/>
                      <a:pt x="37149" y="160338"/>
                      <a:pt x="32297" y="158751"/>
                    </a:cubicBezTo>
                    <a:cubicBezTo>
                      <a:pt x="12914" y="155576"/>
                      <a:pt x="9692" y="109543"/>
                      <a:pt x="9692" y="98432"/>
                    </a:cubicBezTo>
                    <a:lnTo>
                      <a:pt x="9692" y="123829"/>
                    </a:lnTo>
                    <a:cubicBezTo>
                      <a:pt x="8074" y="115893"/>
                      <a:pt x="8074" y="106368"/>
                      <a:pt x="6457" y="98432"/>
                    </a:cubicBezTo>
                    <a:cubicBezTo>
                      <a:pt x="4840" y="92082"/>
                      <a:pt x="0" y="79368"/>
                      <a:pt x="0" y="79368"/>
                    </a:cubicBezTo>
                    <a:cubicBezTo>
                      <a:pt x="3223" y="44446"/>
                      <a:pt x="-4852" y="36509"/>
                      <a:pt x="32297" y="31747"/>
                    </a:cubicBezTo>
                    <a:cubicBezTo>
                      <a:pt x="43606" y="20636"/>
                      <a:pt x="48457" y="14286"/>
                      <a:pt x="51691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3" name="Freeform 105">
                <a:extLst>
                  <a:ext uri="{FF2B5EF4-FFF2-40B4-BE49-F238E27FC236}">
                    <a16:creationId xmlns:a16="http://schemas.microsoft.com/office/drawing/2014/main" id="{61EAEF78-471B-4D68-8E05-C86508BA289E}"/>
                  </a:ext>
                </a:extLst>
              </p:cNvPr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gray">
              <a:xfrm>
                <a:off x="5783263" y="3203575"/>
                <a:ext cx="265113" cy="266700"/>
              </a:xfrm>
              <a:custGeom>
                <a:avLst/>
                <a:gdLst>
                  <a:gd name="T0" fmla="*/ 165 w 165"/>
                  <a:gd name="T1" fmla="*/ 37 h 168"/>
                  <a:gd name="T2" fmla="*/ 159 w 165"/>
                  <a:gd name="T3" fmla="*/ 45 h 168"/>
                  <a:gd name="T4" fmla="*/ 159 w 165"/>
                  <a:gd name="T5" fmla="*/ 70 h 168"/>
                  <a:gd name="T6" fmla="*/ 159 w 165"/>
                  <a:gd name="T7" fmla="*/ 81 h 168"/>
                  <a:gd name="T8" fmla="*/ 147 w 165"/>
                  <a:gd name="T9" fmla="*/ 85 h 168"/>
                  <a:gd name="T10" fmla="*/ 133 w 165"/>
                  <a:gd name="T11" fmla="*/ 85 h 168"/>
                  <a:gd name="T12" fmla="*/ 144 w 165"/>
                  <a:gd name="T13" fmla="*/ 96 h 168"/>
                  <a:gd name="T14" fmla="*/ 132 w 165"/>
                  <a:gd name="T15" fmla="*/ 103 h 168"/>
                  <a:gd name="T16" fmla="*/ 130 w 165"/>
                  <a:gd name="T17" fmla="*/ 123 h 168"/>
                  <a:gd name="T18" fmla="*/ 112 w 165"/>
                  <a:gd name="T19" fmla="*/ 127 h 168"/>
                  <a:gd name="T20" fmla="*/ 84 w 165"/>
                  <a:gd name="T21" fmla="*/ 138 h 168"/>
                  <a:gd name="T22" fmla="*/ 84 w 165"/>
                  <a:gd name="T23" fmla="*/ 157 h 168"/>
                  <a:gd name="T24" fmla="*/ 70 w 165"/>
                  <a:gd name="T25" fmla="*/ 163 h 168"/>
                  <a:gd name="T26" fmla="*/ 58 w 165"/>
                  <a:gd name="T27" fmla="*/ 160 h 168"/>
                  <a:gd name="T28" fmla="*/ 48 w 165"/>
                  <a:gd name="T29" fmla="*/ 166 h 168"/>
                  <a:gd name="T30" fmla="*/ 7 w 165"/>
                  <a:gd name="T31" fmla="*/ 165 h 168"/>
                  <a:gd name="T32" fmla="*/ 14 w 165"/>
                  <a:gd name="T33" fmla="*/ 149 h 168"/>
                  <a:gd name="T34" fmla="*/ 10 w 165"/>
                  <a:gd name="T35" fmla="*/ 134 h 168"/>
                  <a:gd name="T36" fmla="*/ 10 w 165"/>
                  <a:gd name="T37" fmla="*/ 127 h 168"/>
                  <a:gd name="T38" fmla="*/ 0 w 165"/>
                  <a:gd name="T39" fmla="*/ 120 h 168"/>
                  <a:gd name="T40" fmla="*/ 7 w 165"/>
                  <a:gd name="T41" fmla="*/ 88 h 168"/>
                  <a:gd name="T42" fmla="*/ 10 w 165"/>
                  <a:gd name="T43" fmla="*/ 79 h 168"/>
                  <a:gd name="T44" fmla="*/ 10 w 165"/>
                  <a:gd name="T45" fmla="*/ 73 h 168"/>
                  <a:gd name="T46" fmla="*/ 9 w 165"/>
                  <a:gd name="T47" fmla="*/ 58 h 168"/>
                  <a:gd name="T48" fmla="*/ 25 w 165"/>
                  <a:gd name="T49" fmla="*/ 61 h 168"/>
                  <a:gd name="T50" fmla="*/ 35 w 165"/>
                  <a:gd name="T51" fmla="*/ 67 h 168"/>
                  <a:gd name="T52" fmla="*/ 46 w 165"/>
                  <a:gd name="T53" fmla="*/ 55 h 168"/>
                  <a:gd name="T54" fmla="*/ 58 w 165"/>
                  <a:gd name="T55" fmla="*/ 50 h 168"/>
                  <a:gd name="T56" fmla="*/ 67 w 165"/>
                  <a:gd name="T57" fmla="*/ 28 h 168"/>
                  <a:gd name="T58" fmla="*/ 79 w 165"/>
                  <a:gd name="T59" fmla="*/ 21 h 168"/>
                  <a:gd name="T60" fmla="*/ 94 w 165"/>
                  <a:gd name="T61" fmla="*/ 32 h 168"/>
                  <a:gd name="T62" fmla="*/ 112 w 165"/>
                  <a:gd name="T63" fmla="*/ 28 h 168"/>
                  <a:gd name="T64" fmla="*/ 136 w 165"/>
                  <a:gd name="T65" fmla="*/ 28 h 168"/>
                  <a:gd name="T66" fmla="*/ 149 w 165"/>
                  <a:gd name="T67" fmla="*/ 16 h 168"/>
                  <a:gd name="T68" fmla="*/ 153 w 165"/>
                  <a:gd name="T69" fmla="*/ 1 h 168"/>
                  <a:gd name="T70" fmla="*/ 162 w 165"/>
                  <a:gd name="T71" fmla="*/ 9 h 168"/>
                  <a:gd name="T72" fmla="*/ 165 w 165"/>
                  <a:gd name="T73" fmla="*/ 37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5" h="168">
                    <a:moveTo>
                      <a:pt x="165" y="37"/>
                    </a:moveTo>
                    <a:cubicBezTo>
                      <a:pt x="165" y="43"/>
                      <a:pt x="160" y="40"/>
                      <a:pt x="159" y="45"/>
                    </a:cubicBezTo>
                    <a:cubicBezTo>
                      <a:pt x="158" y="50"/>
                      <a:pt x="159" y="64"/>
                      <a:pt x="159" y="70"/>
                    </a:cubicBezTo>
                    <a:cubicBezTo>
                      <a:pt x="159" y="76"/>
                      <a:pt x="161" y="78"/>
                      <a:pt x="159" y="81"/>
                    </a:cubicBezTo>
                    <a:cubicBezTo>
                      <a:pt x="157" y="84"/>
                      <a:pt x="151" y="84"/>
                      <a:pt x="147" y="85"/>
                    </a:cubicBezTo>
                    <a:cubicBezTo>
                      <a:pt x="143" y="86"/>
                      <a:pt x="133" y="83"/>
                      <a:pt x="133" y="85"/>
                    </a:cubicBezTo>
                    <a:cubicBezTo>
                      <a:pt x="133" y="87"/>
                      <a:pt x="144" y="93"/>
                      <a:pt x="144" y="96"/>
                    </a:cubicBezTo>
                    <a:cubicBezTo>
                      <a:pt x="144" y="99"/>
                      <a:pt x="134" y="99"/>
                      <a:pt x="132" y="103"/>
                    </a:cubicBezTo>
                    <a:cubicBezTo>
                      <a:pt x="130" y="107"/>
                      <a:pt x="133" y="119"/>
                      <a:pt x="130" y="123"/>
                    </a:cubicBezTo>
                    <a:cubicBezTo>
                      <a:pt x="127" y="127"/>
                      <a:pt x="120" y="124"/>
                      <a:pt x="112" y="127"/>
                    </a:cubicBezTo>
                    <a:cubicBezTo>
                      <a:pt x="104" y="130"/>
                      <a:pt x="89" y="133"/>
                      <a:pt x="84" y="138"/>
                    </a:cubicBezTo>
                    <a:cubicBezTo>
                      <a:pt x="79" y="143"/>
                      <a:pt x="86" y="153"/>
                      <a:pt x="84" y="157"/>
                    </a:cubicBezTo>
                    <a:cubicBezTo>
                      <a:pt x="82" y="161"/>
                      <a:pt x="74" y="163"/>
                      <a:pt x="70" y="163"/>
                    </a:cubicBezTo>
                    <a:cubicBezTo>
                      <a:pt x="66" y="163"/>
                      <a:pt x="62" y="159"/>
                      <a:pt x="58" y="160"/>
                    </a:cubicBezTo>
                    <a:cubicBezTo>
                      <a:pt x="54" y="161"/>
                      <a:pt x="56" y="165"/>
                      <a:pt x="48" y="166"/>
                    </a:cubicBezTo>
                    <a:cubicBezTo>
                      <a:pt x="40" y="167"/>
                      <a:pt x="13" y="168"/>
                      <a:pt x="7" y="165"/>
                    </a:cubicBezTo>
                    <a:cubicBezTo>
                      <a:pt x="1" y="162"/>
                      <a:pt x="14" y="154"/>
                      <a:pt x="14" y="149"/>
                    </a:cubicBezTo>
                    <a:cubicBezTo>
                      <a:pt x="14" y="144"/>
                      <a:pt x="11" y="138"/>
                      <a:pt x="10" y="134"/>
                    </a:cubicBezTo>
                    <a:cubicBezTo>
                      <a:pt x="9" y="130"/>
                      <a:pt x="12" y="129"/>
                      <a:pt x="10" y="127"/>
                    </a:cubicBezTo>
                    <a:cubicBezTo>
                      <a:pt x="8" y="125"/>
                      <a:pt x="0" y="126"/>
                      <a:pt x="0" y="120"/>
                    </a:cubicBezTo>
                    <a:cubicBezTo>
                      <a:pt x="0" y="114"/>
                      <a:pt x="5" y="95"/>
                      <a:pt x="7" y="88"/>
                    </a:cubicBezTo>
                    <a:cubicBezTo>
                      <a:pt x="9" y="81"/>
                      <a:pt x="10" y="81"/>
                      <a:pt x="10" y="79"/>
                    </a:cubicBezTo>
                    <a:cubicBezTo>
                      <a:pt x="10" y="77"/>
                      <a:pt x="10" y="76"/>
                      <a:pt x="10" y="73"/>
                    </a:cubicBezTo>
                    <a:cubicBezTo>
                      <a:pt x="10" y="70"/>
                      <a:pt x="6" y="60"/>
                      <a:pt x="9" y="58"/>
                    </a:cubicBezTo>
                    <a:cubicBezTo>
                      <a:pt x="12" y="56"/>
                      <a:pt x="21" y="60"/>
                      <a:pt x="25" y="61"/>
                    </a:cubicBezTo>
                    <a:cubicBezTo>
                      <a:pt x="29" y="62"/>
                      <a:pt x="32" y="68"/>
                      <a:pt x="35" y="67"/>
                    </a:cubicBezTo>
                    <a:cubicBezTo>
                      <a:pt x="38" y="66"/>
                      <a:pt x="42" y="58"/>
                      <a:pt x="46" y="55"/>
                    </a:cubicBezTo>
                    <a:cubicBezTo>
                      <a:pt x="50" y="52"/>
                      <a:pt x="55" y="54"/>
                      <a:pt x="58" y="50"/>
                    </a:cubicBezTo>
                    <a:cubicBezTo>
                      <a:pt x="61" y="46"/>
                      <a:pt x="64" y="33"/>
                      <a:pt x="67" y="28"/>
                    </a:cubicBezTo>
                    <a:cubicBezTo>
                      <a:pt x="70" y="23"/>
                      <a:pt x="75" y="20"/>
                      <a:pt x="79" y="21"/>
                    </a:cubicBezTo>
                    <a:cubicBezTo>
                      <a:pt x="83" y="22"/>
                      <a:pt x="89" y="31"/>
                      <a:pt x="94" y="32"/>
                    </a:cubicBezTo>
                    <a:cubicBezTo>
                      <a:pt x="99" y="33"/>
                      <a:pt x="105" y="29"/>
                      <a:pt x="112" y="28"/>
                    </a:cubicBezTo>
                    <a:cubicBezTo>
                      <a:pt x="119" y="27"/>
                      <a:pt x="130" y="30"/>
                      <a:pt x="136" y="28"/>
                    </a:cubicBezTo>
                    <a:cubicBezTo>
                      <a:pt x="142" y="26"/>
                      <a:pt x="146" y="20"/>
                      <a:pt x="149" y="16"/>
                    </a:cubicBezTo>
                    <a:cubicBezTo>
                      <a:pt x="152" y="12"/>
                      <a:pt x="151" y="2"/>
                      <a:pt x="153" y="1"/>
                    </a:cubicBezTo>
                    <a:cubicBezTo>
                      <a:pt x="155" y="0"/>
                      <a:pt x="161" y="3"/>
                      <a:pt x="162" y="9"/>
                    </a:cubicBezTo>
                    <a:cubicBezTo>
                      <a:pt x="163" y="15"/>
                      <a:pt x="165" y="31"/>
                      <a:pt x="165" y="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4" name="Freeform 106">
                <a:extLst>
                  <a:ext uri="{FF2B5EF4-FFF2-40B4-BE49-F238E27FC236}">
                    <a16:creationId xmlns:a16="http://schemas.microsoft.com/office/drawing/2014/main" id="{DC060833-6682-4998-B127-E13EA1996310}"/>
                  </a:ext>
                </a:extLst>
              </p:cNvPr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gray">
              <a:xfrm>
                <a:off x="5802313" y="3255963"/>
                <a:ext cx="331788" cy="355600"/>
              </a:xfrm>
              <a:custGeom>
                <a:avLst/>
                <a:gdLst>
                  <a:gd name="T0" fmla="*/ 3 w 206"/>
                  <a:gd name="T1" fmla="*/ 133 h 224"/>
                  <a:gd name="T2" fmla="*/ 6 w 206"/>
                  <a:gd name="T3" fmla="*/ 145 h 224"/>
                  <a:gd name="T4" fmla="*/ 19 w 206"/>
                  <a:gd name="T5" fmla="*/ 150 h 224"/>
                  <a:gd name="T6" fmla="*/ 25 w 206"/>
                  <a:gd name="T7" fmla="*/ 165 h 224"/>
                  <a:gd name="T8" fmla="*/ 28 w 206"/>
                  <a:gd name="T9" fmla="*/ 177 h 224"/>
                  <a:gd name="T10" fmla="*/ 16 w 206"/>
                  <a:gd name="T11" fmla="*/ 178 h 224"/>
                  <a:gd name="T12" fmla="*/ 7 w 206"/>
                  <a:gd name="T13" fmla="*/ 188 h 224"/>
                  <a:gd name="T14" fmla="*/ 7 w 206"/>
                  <a:gd name="T15" fmla="*/ 202 h 224"/>
                  <a:gd name="T16" fmla="*/ 25 w 206"/>
                  <a:gd name="T17" fmla="*/ 199 h 224"/>
                  <a:gd name="T18" fmla="*/ 37 w 206"/>
                  <a:gd name="T19" fmla="*/ 196 h 224"/>
                  <a:gd name="T20" fmla="*/ 55 w 206"/>
                  <a:gd name="T21" fmla="*/ 201 h 224"/>
                  <a:gd name="T22" fmla="*/ 64 w 206"/>
                  <a:gd name="T23" fmla="*/ 190 h 224"/>
                  <a:gd name="T24" fmla="*/ 75 w 206"/>
                  <a:gd name="T25" fmla="*/ 199 h 224"/>
                  <a:gd name="T26" fmla="*/ 88 w 206"/>
                  <a:gd name="T27" fmla="*/ 208 h 224"/>
                  <a:gd name="T28" fmla="*/ 94 w 206"/>
                  <a:gd name="T29" fmla="*/ 222 h 224"/>
                  <a:gd name="T30" fmla="*/ 108 w 206"/>
                  <a:gd name="T31" fmla="*/ 219 h 224"/>
                  <a:gd name="T32" fmla="*/ 143 w 206"/>
                  <a:gd name="T33" fmla="*/ 218 h 224"/>
                  <a:gd name="T34" fmla="*/ 149 w 206"/>
                  <a:gd name="T35" fmla="*/ 206 h 224"/>
                  <a:gd name="T36" fmla="*/ 130 w 206"/>
                  <a:gd name="T37" fmla="*/ 180 h 224"/>
                  <a:gd name="T38" fmla="*/ 123 w 206"/>
                  <a:gd name="T39" fmla="*/ 166 h 224"/>
                  <a:gd name="T40" fmla="*/ 135 w 206"/>
                  <a:gd name="T41" fmla="*/ 161 h 224"/>
                  <a:gd name="T42" fmla="*/ 165 w 206"/>
                  <a:gd name="T43" fmla="*/ 164 h 224"/>
                  <a:gd name="T44" fmla="*/ 165 w 206"/>
                  <a:gd name="T45" fmla="*/ 143 h 224"/>
                  <a:gd name="T46" fmla="*/ 180 w 206"/>
                  <a:gd name="T47" fmla="*/ 130 h 224"/>
                  <a:gd name="T48" fmla="*/ 202 w 206"/>
                  <a:gd name="T49" fmla="*/ 100 h 224"/>
                  <a:gd name="T50" fmla="*/ 204 w 206"/>
                  <a:gd name="T51" fmla="*/ 78 h 224"/>
                  <a:gd name="T52" fmla="*/ 187 w 206"/>
                  <a:gd name="T53" fmla="*/ 66 h 224"/>
                  <a:gd name="T54" fmla="*/ 181 w 206"/>
                  <a:gd name="T55" fmla="*/ 57 h 224"/>
                  <a:gd name="T56" fmla="*/ 180 w 206"/>
                  <a:gd name="T57" fmla="*/ 45 h 224"/>
                  <a:gd name="T58" fmla="*/ 186 w 206"/>
                  <a:gd name="T59" fmla="*/ 30 h 224"/>
                  <a:gd name="T60" fmla="*/ 168 w 206"/>
                  <a:gd name="T61" fmla="*/ 15 h 224"/>
                  <a:gd name="T62" fmla="*/ 165 w 206"/>
                  <a:gd name="T63" fmla="*/ 0 h 224"/>
                  <a:gd name="T64" fmla="*/ 145 w 206"/>
                  <a:gd name="T65" fmla="*/ 16 h 224"/>
                  <a:gd name="T66" fmla="*/ 147 w 206"/>
                  <a:gd name="T67" fmla="*/ 30 h 224"/>
                  <a:gd name="T68" fmla="*/ 147 w 206"/>
                  <a:gd name="T69" fmla="*/ 49 h 224"/>
                  <a:gd name="T70" fmla="*/ 135 w 206"/>
                  <a:gd name="T71" fmla="*/ 51 h 224"/>
                  <a:gd name="T72" fmla="*/ 131 w 206"/>
                  <a:gd name="T73" fmla="*/ 58 h 224"/>
                  <a:gd name="T74" fmla="*/ 121 w 206"/>
                  <a:gd name="T75" fmla="*/ 67 h 224"/>
                  <a:gd name="T76" fmla="*/ 117 w 206"/>
                  <a:gd name="T77" fmla="*/ 88 h 224"/>
                  <a:gd name="T78" fmla="*/ 97 w 206"/>
                  <a:gd name="T79" fmla="*/ 96 h 224"/>
                  <a:gd name="T80" fmla="*/ 76 w 206"/>
                  <a:gd name="T81" fmla="*/ 100 h 224"/>
                  <a:gd name="T82" fmla="*/ 72 w 206"/>
                  <a:gd name="T83" fmla="*/ 117 h 224"/>
                  <a:gd name="T84" fmla="*/ 69 w 206"/>
                  <a:gd name="T85" fmla="*/ 129 h 224"/>
                  <a:gd name="T86" fmla="*/ 58 w 206"/>
                  <a:gd name="T87" fmla="*/ 130 h 224"/>
                  <a:gd name="T88" fmla="*/ 48 w 206"/>
                  <a:gd name="T89" fmla="*/ 129 h 224"/>
                  <a:gd name="T90" fmla="*/ 27 w 206"/>
                  <a:gd name="T91" fmla="*/ 133 h 224"/>
                  <a:gd name="T92" fmla="*/ 3 w 206"/>
                  <a:gd name="T93" fmla="*/ 13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06" h="224">
                    <a:moveTo>
                      <a:pt x="3" y="133"/>
                    </a:moveTo>
                    <a:cubicBezTo>
                      <a:pt x="0" y="135"/>
                      <a:pt x="3" y="142"/>
                      <a:pt x="6" y="145"/>
                    </a:cubicBezTo>
                    <a:cubicBezTo>
                      <a:pt x="9" y="148"/>
                      <a:pt x="16" y="147"/>
                      <a:pt x="19" y="150"/>
                    </a:cubicBezTo>
                    <a:cubicBezTo>
                      <a:pt x="22" y="153"/>
                      <a:pt x="24" y="161"/>
                      <a:pt x="25" y="165"/>
                    </a:cubicBezTo>
                    <a:cubicBezTo>
                      <a:pt x="26" y="169"/>
                      <a:pt x="29" y="175"/>
                      <a:pt x="28" y="177"/>
                    </a:cubicBezTo>
                    <a:cubicBezTo>
                      <a:pt x="27" y="179"/>
                      <a:pt x="19" y="176"/>
                      <a:pt x="16" y="178"/>
                    </a:cubicBezTo>
                    <a:cubicBezTo>
                      <a:pt x="13" y="180"/>
                      <a:pt x="8" y="184"/>
                      <a:pt x="7" y="188"/>
                    </a:cubicBezTo>
                    <a:cubicBezTo>
                      <a:pt x="6" y="192"/>
                      <a:pt x="4" y="200"/>
                      <a:pt x="7" y="202"/>
                    </a:cubicBezTo>
                    <a:cubicBezTo>
                      <a:pt x="10" y="204"/>
                      <a:pt x="20" y="200"/>
                      <a:pt x="25" y="199"/>
                    </a:cubicBezTo>
                    <a:cubicBezTo>
                      <a:pt x="30" y="198"/>
                      <a:pt x="32" y="196"/>
                      <a:pt x="37" y="196"/>
                    </a:cubicBezTo>
                    <a:cubicBezTo>
                      <a:pt x="42" y="196"/>
                      <a:pt x="51" y="202"/>
                      <a:pt x="55" y="201"/>
                    </a:cubicBezTo>
                    <a:cubicBezTo>
                      <a:pt x="59" y="200"/>
                      <a:pt x="61" y="190"/>
                      <a:pt x="64" y="190"/>
                    </a:cubicBezTo>
                    <a:cubicBezTo>
                      <a:pt x="67" y="190"/>
                      <a:pt x="71" y="196"/>
                      <a:pt x="75" y="199"/>
                    </a:cubicBezTo>
                    <a:cubicBezTo>
                      <a:pt x="79" y="202"/>
                      <a:pt x="85" y="204"/>
                      <a:pt x="88" y="208"/>
                    </a:cubicBezTo>
                    <a:cubicBezTo>
                      <a:pt x="91" y="212"/>
                      <a:pt x="91" y="220"/>
                      <a:pt x="94" y="222"/>
                    </a:cubicBezTo>
                    <a:cubicBezTo>
                      <a:pt x="97" y="224"/>
                      <a:pt x="100" y="220"/>
                      <a:pt x="108" y="219"/>
                    </a:cubicBezTo>
                    <a:cubicBezTo>
                      <a:pt x="116" y="218"/>
                      <a:pt x="136" y="220"/>
                      <a:pt x="143" y="218"/>
                    </a:cubicBezTo>
                    <a:cubicBezTo>
                      <a:pt x="150" y="216"/>
                      <a:pt x="151" y="212"/>
                      <a:pt x="149" y="206"/>
                    </a:cubicBezTo>
                    <a:cubicBezTo>
                      <a:pt x="147" y="200"/>
                      <a:pt x="134" y="187"/>
                      <a:pt x="130" y="180"/>
                    </a:cubicBezTo>
                    <a:cubicBezTo>
                      <a:pt x="126" y="173"/>
                      <a:pt x="122" y="169"/>
                      <a:pt x="123" y="166"/>
                    </a:cubicBezTo>
                    <a:cubicBezTo>
                      <a:pt x="124" y="163"/>
                      <a:pt x="128" y="161"/>
                      <a:pt x="135" y="161"/>
                    </a:cubicBezTo>
                    <a:cubicBezTo>
                      <a:pt x="142" y="161"/>
                      <a:pt x="160" y="167"/>
                      <a:pt x="165" y="164"/>
                    </a:cubicBezTo>
                    <a:cubicBezTo>
                      <a:pt x="170" y="161"/>
                      <a:pt x="163" y="149"/>
                      <a:pt x="165" y="143"/>
                    </a:cubicBezTo>
                    <a:cubicBezTo>
                      <a:pt x="167" y="137"/>
                      <a:pt x="174" y="137"/>
                      <a:pt x="180" y="130"/>
                    </a:cubicBezTo>
                    <a:cubicBezTo>
                      <a:pt x="186" y="123"/>
                      <a:pt x="198" y="109"/>
                      <a:pt x="202" y="100"/>
                    </a:cubicBezTo>
                    <a:cubicBezTo>
                      <a:pt x="206" y="91"/>
                      <a:pt x="206" y="84"/>
                      <a:pt x="204" y="78"/>
                    </a:cubicBezTo>
                    <a:cubicBezTo>
                      <a:pt x="202" y="72"/>
                      <a:pt x="191" y="69"/>
                      <a:pt x="187" y="66"/>
                    </a:cubicBezTo>
                    <a:cubicBezTo>
                      <a:pt x="183" y="63"/>
                      <a:pt x="182" y="60"/>
                      <a:pt x="181" y="57"/>
                    </a:cubicBezTo>
                    <a:cubicBezTo>
                      <a:pt x="180" y="54"/>
                      <a:pt x="179" y="49"/>
                      <a:pt x="180" y="45"/>
                    </a:cubicBezTo>
                    <a:cubicBezTo>
                      <a:pt x="181" y="41"/>
                      <a:pt x="188" y="35"/>
                      <a:pt x="186" y="30"/>
                    </a:cubicBezTo>
                    <a:cubicBezTo>
                      <a:pt x="184" y="25"/>
                      <a:pt x="171" y="20"/>
                      <a:pt x="168" y="15"/>
                    </a:cubicBezTo>
                    <a:cubicBezTo>
                      <a:pt x="165" y="10"/>
                      <a:pt x="169" y="0"/>
                      <a:pt x="165" y="0"/>
                    </a:cubicBezTo>
                    <a:cubicBezTo>
                      <a:pt x="161" y="0"/>
                      <a:pt x="148" y="11"/>
                      <a:pt x="145" y="16"/>
                    </a:cubicBezTo>
                    <a:cubicBezTo>
                      <a:pt x="142" y="21"/>
                      <a:pt x="147" y="25"/>
                      <a:pt x="147" y="30"/>
                    </a:cubicBezTo>
                    <a:cubicBezTo>
                      <a:pt x="147" y="35"/>
                      <a:pt x="149" y="46"/>
                      <a:pt x="147" y="49"/>
                    </a:cubicBezTo>
                    <a:cubicBezTo>
                      <a:pt x="145" y="52"/>
                      <a:pt x="138" y="50"/>
                      <a:pt x="135" y="51"/>
                    </a:cubicBezTo>
                    <a:cubicBezTo>
                      <a:pt x="132" y="52"/>
                      <a:pt x="133" y="55"/>
                      <a:pt x="131" y="58"/>
                    </a:cubicBezTo>
                    <a:cubicBezTo>
                      <a:pt x="129" y="61"/>
                      <a:pt x="123" y="62"/>
                      <a:pt x="121" y="67"/>
                    </a:cubicBezTo>
                    <a:cubicBezTo>
                      <a:pt x="119" y="72"/>
                      <a:pt x="121" y="83"/>
                      <a:pt x="117" y="88"/>
                    </a:cubicBezTo>
                    <a:cubicBezTo>
                      <a:pt x="113" y="93"/>
                      <a:pt x="104" y="94"/>
                      <a:pt x="97" y="96"/>
                    </a:cubicBezTo>
                    <a:cubicBezTo>
                      <a:pt x="90" y="98"/>
                      <a:pt x="80" y="97"/>
                      <a:pt x="76" y="100"/>
                    </a:cubicBezTo>
                    <a:cubicBezTo>
                      <a:pt x="72" y="103"/>
                      <a:pt x="73" y="112"/>
                      <a:pt x="72" y="117"/>
                    </a:cubicBezTo>
                    <a:cubicBezTo>
                      <a:pt x="71" y="122"/>
                      <a:pt x="71" y="127"/>
                      <a:pt x="69" y="129"/>
                    </a:cubicBezTo>
                    <a:cubicBezTo>
                      <a:pt x="67" y="131"/>
                      <a:pt x="61" y="130"/>
                      <a:pt x="58" y="130"/>
                    </a:cubicBezTo>
                    <a:cubicBezTo>
                      <a:pt x="55" y="130"/>
                      <a:pt x="53" y="129"/>
                      <a:pt x="48" y="129"/>
                    </a:cubicBezTo>
                    <a:cubicBezTo>
                      <a:pt x="43" y="129"/>
                      <a:pt x="33" y="132"/>
                      <a:pt x="27" y="133"/>
                    </a:cubicBezTo>
                    <a:cubicBezTo>
                      <a:pt x="21" y="134"/>
                      <a:pt x="6" y="131"/>
                      <a:pt x="3" y="13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5" name="Freeform 107">
                <a:extLst>
                  <a:ext uri="{FF2B5EF4-FFF2-40B4-BE49-F238E27FC236}">
                    <a16:creationId xmlns:a16="http://schemas.microsoft.com/office/drawing/2014/main" id="{43D45E6F-857E-4270-A67C-B7A4E8162692}"/>
                  </a:ext>
                </a:extLst>
              </p:cNvPr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gray">
              <a:xfrm>
                <a:off x="4583113" y="2867025"/>
                <a:ext cx="160338" cy="96838"/>
              </a:xfrm>
              <a:custGeom>
                <a:avLst/>
                <a:gdLst>
                  <a:gd name="T0" fmla="*/ 12 w 100"/>
                  <a:gd name="T1" fmla="*/ 37 h 61"/>
                  <a:gd name="T2" fmla="*/ 20 w 100"/>
                  <a:gd name="T3" fmla="*/ 31 h 61"/>
                  <a:gd name="T4" fmla="*/ 30 w 100"/>
                  <a:gd name="T5" fmla="*/ 29 h 61"/>
                  <a:gd name="T6" fmla="*/ 49 w 100"/>
                  <a:gd name="T7" fmla="*/ 7 h 61"/>
                  <a:gd name="T8" fmla="*/ 73 w 100"/>
                  <a:gd name="T9" fmla="*/ 0 h 61"/>
                  <a:gd name="T10" fmla="*/ 92 w 100"/>
                  <a:gd name="T11" fmla="*/ 6 h 61"/>
                  <a:gd name="T12" fmla="*/ 98 w 100"/>
                  <a:gd name="T13" fmla="*/ 21 h 61"/>
                  <a:gd name="T14" fmla="*/ 97 w 100"/>
                  <a:gd name="T15" fmla="*/ 33 h 61"/>
                  <a:gd name="T16" fmla="*/ 91 w 100"/>
                  <a:gd name="T17" fmla="*/ 34 h 61"/>
                  <a:gd name="T18" fmla="*/ 71 w 100"/>
                  <a:gd name="T19" fmla="*/ 52 h 61"/>
                  <a:gd name="T20" fmla="*/ 61 w 100"/>
                  <a:gd name="T21" fmla="*/ 60 h 61"/>
                  <a:gd name="T22" fmla="*/ 34 w 100"/>
                  <a:gd name="T23" fmla="*/ 51 h 61"/>
                  <a:gd name="T24" fmla="*/ 16 w 100"/>
                  <a:gd name="T25" fmla="*/ 51 h 61"/>
                  <a:gd name="T26" fmla="*/ 7 w 100"/>
                  <a:gd name="T27" fmla="*/ 51 h 61"/>
                  <a:gd name="T28" fmla="*/ 2 w 100"/>
                  <a:gd name="T29" fmla="*/ 49 h 61"/>
                  <a:gd name="T30" fmla="*/ 12 w 100"/>
                  <a:gd name="T31" fmla="*/ 3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" h="61">
                    <a:moveTo>
                      <a:pt x="12" y="37"/>
                    </a:moveTo>
                    <a:cubicBezTo>
                      <a:pt x="10" y="34"/>
                      <a:pt x="17" y="32"/>
                      <a:pt x="20" y="31"/>
                    </a:cubicBezTo>
                    <a:cubicBezTo>
                      <a:pt x="23" y="30"/>
                      <a:pt x="25" y="33"/>
                      <a:pt x="30" y="29"/>
                    </a:cubicBezTo>
                    <a:cubicBezTo>
                      <a:pt x="35" y="25"/>
                      <a:pt x="42" y="12"/>
                      <a:pt x="49" y="7"/>
                    </a:cubicBezTo>
                    <a:cubicBezTo>
                      <a:pt x="55" y="2"/>
                      <a:pt x="65" y="2"/>
                      <a:pt x="73" y="0"/>
                    </a:cubicBezTo>
                    <a:cubicBezTo>
                      <a:pt x="80" y="1"/>
                      <a:pt x="85" y="4"/>
                      <a:pt x="92" y="6"/>
                    </a:cubicBezTo>
                    <a:cubicBezTo>
                      <a:pt x="95" y="11"/>
                      <a:pt x="95" y="16"/>
                      <a:pt x="98" y="21"/>
                    </a:cubicBezTo>
                    <a:cubicBezTo>
                      <a:pt x="98" y="25"/>
                      <a:pt x="99" y="29"/>
                      <a:pt x="97" y="33"/>
                    </a:cubicBezTo>
                    <a:cubicBezTo>
                      <a:pt x="96" y="35"/>
                      <a:pt x="92" y="32"/>
                      <a:pt x="91" y="34"/>
                    </a:cubicBezTo>
                    <a:cubicBezTo>
                      <a:pt x="80" y="50"/>
                      <a:pt x="100" y="49"/>
                      <a:pt x="71" y="52"/>
                    </a:cubicBezTo>
                    <a:cubicBezTo>
                      <a:pt x="70" y="59"/>
                      <a:pt x="67" y="57"/>
                      <a:pt x="61" y="60"/>
                    </a:cubicBezTo>
                    <a:cubicBezTo>
                      <a:pt x="53" y="61"/>
                      <a:pt x="44" y="52"/>
                      <a:pt x="34" y="51"/>
                    </a:cubicBezTo>
                    <a:cubicBezTo>
                      <a:pt x="27" y="50"/>
                      <a:pt x="20" y="51"/>
                      <a:pt x="16" y="51"/>
                    </a:cubicBezTo>
                    <a:cubicBezTo>
                      <a:pt x="12" y="51"/>
                      <a:pt x="9" y="51"/>
                      <a:pt x="7" y="51"/>
                    </a:cubicBezTo>
                    <a:cubicBezTo>
                      <a:pt x="7" y="47"/>
                      <a:pt x="0" y="53"/>
                      <a:pt x="2" y="49"/>
                    </a:cubicBezTo>
                    <a:cubicBezTo>
                      <a:pt x="4" y="45"/>
                      <a:pt x="12" y="44"/>
                      <a:pt x="12" y="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6" name="Freeform 108">
                <a:extLst>
                  <a:ext uri="{FF2B5EF4-FFF2-40B4-BE49-F238E27FC236}">
                    <a16:creationId xmlns:a16="http://schemas.microsoft.com/office/drawing/2014/main" id="{5371C399-3677-4D79-B0BC-9F6E79B315CF}"/>
                  </a:ext>
                </a:extLst>
              </p:cNvPr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gray">
              <a:xfrm>
                <a:off x="4645026" y="2944813"/>
                <a:ext cx="79375" cy="49213"/>
              </a:xfrm>
              <a:custGeom>
                <a:avLst/>
                <a:gdLst>
                  <a:gd name="T0" fmla="*/ 46 w 49"/>
                  <a:gd name="T1" fmla="*/ 2 h 31"/>
                  <a:gd name="T2" fmla="*/ 25 w 49"/>
                  <a:gd name="T3" fmla="*/ 12 h 31"/>
                  <a:gd name="T4" fmla="*/ 2 w 49"/>
                  <a:gd name="T5" fmla="*/ 9 h 31"/>
                  <a:gd name="T6" fmla="*/ 17 w 49"/>
                  <a:gd name="T7" fmla="*/ 27 h 31"/>
                  <a:gd name="T8" fmla="*/ 32 w 49"/>
                  <a:gd name="T9" fmla="*/ 27 h 31"/>
                  <a:gd name="T10" fmla="*/ 44 w 49"/>
                  <a:gd name="T11" fmla="*/ 15 h 31"/>
                  <a:gd name="T12" fmla="*/ 46 w 49"/>
                  <a:gd name="T13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1">
                    <a:moveTo>
                      <a:pt x="46" y="2"/>
                    </a:moveTo>
                    <a:cubicBezTo>
                      <a:pt x="43" y="0"/>
                      <a:pt x="32" y="11"/>
                      <a:pt x="25" y="12"/>
                    </a:cubicBezTo>
                    <a:cubicBezTo>
                      <a:pt x="18" y="13"/>
                      <a:pt x="3" y="7"/>
                      <a:pt x="2" y="9"/>
                    </a:cubicBezTo>
                    <a:cubicBezTo>
                      <a:pt x="0" y="19"/>
                      <a:pt x="6" y="26"/>
                      <a:pt x="17" y="27"/>
                    </a:cubicBezTo>
                    <a:cubicBezTo>
                      <a:pt x="22" y="31"/>
                      <a:pt x="25" y="26"/>
                      <a:pt x="32" y="27"/>
                    </a:cubicBezTo>
                    <a:cubicBezTo>
                      <a:pt x="36" y="22"/>
                      <a:pt x="39" y="18"/>
                      <a:pt x="44" y="15"/>
                    </a:cubicBezTo>
                    <a:cubicBezTo>
                      <a:pt x="49" y="8"/>
                      <a:pt x="44" y="16"/>
                      <a:pt x="46" y="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7" name="Freeform 109">
                <a:extLst>
                  <a:ext uri="{FF2B5EF4-FFF2-40B4-BE49-F238E27FC236}">
                    <a16:creationId xmlns:a16="http://schemas.microsoft.com/office/drawing/2014/main" id="{E3947150-8699-4737-8DAF-373E2E28F4D1}"/>
                  </a:ext>
                </a:extLst>
              </p:cNvPr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gray">
              <a:xfrm>
                <a:off x="5156201" y="3330575"/>
                <a:ext cx="49213" cy="88900"/>
              </a:xfrm>
              <a:custGeom>
                <a:avLst/>
                <a:gdLst>
                  <a:gd name="T0" fmla="*/ 29 w 30"/>
                  <a:gd name="T1" fmla="*/ 0 h 56"/>
                  <a:gd name="T2" fmla="*/ 15 w 30"/>
                  <a:gd name="T3" fmla="*/ 15 h 56"/>
                  <a:gd name="T4" fmla="*/ 3 w 30"/>
                  <a:gd name="T5" fmla="*/ 35 h 56"/>
                  <a:gd name="T6" fmla="*/ 2 w 30"/>
                  <a:gd name="T7" fmla="*/ 56 h 56"/>
                  <a:gd name="T8" fmla="*/ 20 w 30"/>
                  <a:gd name="T9" fmla="*/ 30 h 56"/>
                  <a:gd name="T10" fmla="*/ 29 w 30"/>
                  <a:gd name="T11" fmla="*/ 17 h 56"/>
                  <a:gd name="T12" fmla="*/ 29 w 30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56">
                    <a:moveTo>
                      <a:pt x="29" y="0"/>
                    </a:moveTo>
                    <a:cubicBezTo>
                      <a:pt x="17" y="3"/>
                      <a:pt x="20" y="6"/>
                      <a:pt x="15" y="15"/>
                    </a:cubicBezTo>
                    <a:cubicBezTo>
                      <a:pt x="13" y="24"/>
                      <a:pt x="12" y="32"/>
                      <a:pt x="3" y="35"/>
                    </a:cubicBezTo>
                    <a:cubicBezTo>
                      <a:pt x="1" y="45"/>
                      <a:pt x="0" y="44"/>
                      <a:pt x="2" y="56"/>
                    </a:cubicBezTo>
                    <a:cubicBezTo>
                      <a:pt x="17" y="52"/>
                      <a:pt x="8" y="37"/>
                      <a:pt x="20" y="30"/>
                    </a:cubicBezTo>
                    <a:cubicBezTo>
                      <a:pt x="23" y="26"/>
                      <a:pt x="26" y="21"/>
                      <a:pt x="29" y="17"/>
                    </a:cubicBezTo>
                    <a:cubicBezTo>
                      <a:pt x="30" y="11"/>
                      <a:pt x="29" y="6"/>
                      <a:pt x="2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8" name="Freeform 110">
                <a:extLst>
                  <a:ext uri="{FF2B5EF4-FFF2-40B4-BE49-F238E27FC236}">
                    <a16:creationId xmlns:a16="http://schemas.microsoft.com/office/drawing/2014/main" id="{D69E05FB-53A9-402A-9E20-5CA2B9FBD272}"/>
                  </a:ext>
                </a:extLst>
              </p:cNvPr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gray">
              <a:xfrm>
                <a:off x="5140326" y="3406775"/>
                <a:ext cx="50800" cy="49213"/>
              </a:xfrm>
              <a:custGeom>
                <a:avLst/>
                <a:gdLst>
                  <a:gd name="T0" fmla="*/ 22 w 31"/>
                  <a:gd name="T1" fmla="*/ 0 h 31"/>
                  <a:gd name="T2" fmla="*/ 12 w 31"/>
                  <a:gd name="T3" fmla="*/ 29 h 31"/>
                  <a:gd name="T4" fmla="*/ 15 w 31"/>
                  <a:gd name="T5" fmla="*/ 2 h 31"/>
                  <a:gd name="T6" fmla="*/ 22 w 31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31">
                    <a:moveTo>
                      <a:pt x="22" y="0"/>
                    </a:moveTo>
                    <a:cubicBezTo>
                      <a:pt x="24" y="18"/>
                      <a:pt x="31" y="31"/>
                      <a:pt x="12" y="29"/>
                    </a:cubicBezTo>
                    <a:cubicBezTo>
                      <a:pt x="7" y="20"/>
                      <a:pt x="0" y="4"/>
                      <a:pt x="15" y="2"/>
                    </a:cubicBezTo>
                    <a:cubicBezTo>
                      <a:pt x="23" y="3"/>
                      <a:pt x="22" y="5"/>
                      <a:pt x="22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9" name="Freeform 111">
                <a:extLst>
                  <a:ext uri="{FF2B5EF4-FFF2-40B4-BE49-F238E27FC236}">
                    <a16:creationId xmlns:a16="http://schemas.microsoft.com/office/drawing/2014/main" id="{AE11221B-B253-4453-953C-3D57754AFDD0}"/>
                  </a:ext>
                </a:extLst>
              </p:cNvPr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gray">
              <a:xfrm>
                <a:off x="4552951" y="4146550"/>
                <a:ext cx="65088" cy="34925"/>
              </a:xfrm>
              <a:custGeom>
                <a:avLst/>
                <a:gdLst>
                  <a:gd name="T0" fmla="*/ 10 w 40"/>
                  <a:gd name="T1" fmla="*/ 5 h 22"/>
                  <a:gd name="T2" fmla="*/ 2 w 40"/>
                  <a:gd name="T3" fmla="*/ 22 h 22"/>
                  <a:gd name="T4" fmla="*/ 35 w 40"/>
                  <a:gd name="T5" fmla="*/ 14 h 22"/>
                  <a:gd name="T6" fmla="*/ 29 w 40"/>
                  <a:gd name="T7" fmla="*/ 1 h 22"/>
                  <a:gd name="T8" fmla="*/ 10 w 40"/>
                  <a:gd name="T9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2">
                    <a:moveTo>
                      <a:pt x="10" y="5"/>
                    </a:moveTo>
                    <a:cubicBezTo>
                      <a:pt x="6" y="12"/>
                      <a:pt x="0" y="13"/>
                      <a:pt x="2" y="22"/>
                    </a:cubicBezTo>
                    <a:cubicBezTo>
                      <a:pt x="11" y="21"/>
                      <a:pt x="28" y="19"/>
                      <a:pt x="35" y="14"/>
                    </a:cubicBezTo>
                    <a:cubicBezTo>
                      <a:pt x="40" y="11"/>
                      <a:pt x="33" y="2"/>
                      <a:pt x="29" y="1"/>
                    </a:cubicBezTo>
                    <a:cubicBezTo>
                      <a:pt x="25" y="0"/>
                      <a:pt x="14" y="4"/>
                      <a:pt x="10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0" name="Freeform 112">
                <a:extLst>
                  <a:ext uri="{FF2B5EF4-FFF2-40B4-BE49-F238E27FC236}">
                    <a16:creationId xmlns:a16="http://schemas.microsoft.com/office/drawing/2014/main" id="{9FC8BC30-3C2D-48B0-9983-96ACB7B1F0A3}"/>
                  </a:ext>
                </a:extLst>
              </p:cNvPr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gray">
              <a:xfrm>
                <a:off x="4832351" y="1851025"/>
                <a:ext cx="255588" cy="568325"/>
              </a:xfrm>
              <a:custGeom>
                <a:avLst/>
                <a:gdLst>
                  <a:gd name="T0" fmla="*/ 123 w 158"/>
                  <a:gd name="T1" fmla="*/ 16 h 358"/>
                  <a:gd name="T2" fmla="*/ 117 w 158"/>
                  <a:gd name="T3" fmla="*/ 41 h 358"/>
                  <a:gd name="T4" fmla="*/ 111 w 158"/>
                  <a:gd name="T5" fmla="*/ 49 h 358"/>
                  <a:gd name="T6" fmla="*/ 129 w 158"/>
                  <a:gd name="T7" fmla="*/ 92 h 358"/>
                  <a:gd name="T8" fmla="*/ 129 w 158"/>
                  <a:gd name="T9" fmla="*/ 131 h 358"/>
                  <a:gd name="T10" fmla="*/ 132 w 158"/>
                  <a:gd name="T11" fmla="*/ 154 h 358"/>
                  <a:gd name="T12" fmla="*/ 141 w 158"/>
                  <a:gd name="T13" fmla="*/ 188 h 358"/>
                  <a:gd name="T14" fmla="*/ 143 w 158"/>
                  <a:gd name="T15" fmla="*/ 256 h 358"/>
                  <a:gd name="T16" fmla="*/ 152 w 158"/>
                  <a:gd name="T17" fmla="*/ 271 h 358"/>
                  <a:gd name="T18" fmla="*/ 153 w 158"/>
                  <a:gd name="T19" fmla="*/ 298 h 358"/>
                  <a:gd name="T20" fmla="*/ 140 w 158"/>
                  <a:gd name="T21" fmla="*/ 308 h 358"/>
                  <a:gd name="T22" fmla="*/ 140 w 158"/>
                  <a:gd name="T23" fmla="*/ 323 h 358"/>
                  <a:gd name="T24" fmla="*/ 129 w 158"/>
                  <a:gd name="T25" fmla="*/ 331 h 358"/>
                  <a:gd name="T26" fmla="*/ 111 w 158"/>
                  <a:gd name="T27" fmla="*/ 329 h 358"/>
                  <a:gd name="T28" fmla="*/ 104 w 158"/>
                  <a:gd name="T29" fmla="*/ 346 h 358"/>
                  <a:gd name="T30" fmla="*/ 71 w 158"/>
                  <a:gd name="T31" fmla="*/ 349 h 358"/>
                  <a:gd name="T32" fmla="*/ 54 w 158"/>
                  <a:gd name="T33" fmla="*/ 353 h 358"/>
                  <a:gd name="T34" fmla="*/ 41 w 158"/>
                  <a:gd name="T35" fmla="*/ 358 h 358"/>
                  <a:gd name="T36" fmla="*/ 12 w 158"/>
                  <a:gd name="T37" fmla="*/ 334 h 358"/>
                  <a:gd name="T38" fmla="*/ 5 w 158"/>
                  <a:gd name="T39" fmla="*/ 265 h 358"/>
                  <a:gd name="T40" fmla="*/ 27 w 158"/>
                  <a:gd name="T41" fmla="*/ 247 h 358"/>
                  <a:gd name="T42" fmla="*/ 39 w 158"/>
                  <a:gd name="T43" fmla="*/ 221 h 358"/>
                  <a:gd name="T44" fmla="*/ 53 w 158"/>
                  <a:gd name="T45" fmla="*/ 211 h 358"/>
                  <a:gd name="T46" fmla="*/ 47 w 158"/>
                  <a:gd name="T47" fmla="*/ 175 h 358"/>
                  <a:gd name="T48" fmla="*/ 50 w 158"/>
                  <a:gd name="T49" fmla="*/ 116 h 358"/>
                  <a:gd name="T50" fmla="*/ 42 w 158"/>
                  <a:gd name="T51" fmla="*/ 88 h 358"/>
                  <a:gd name="T52" fmla="*/ 36 w 158"/>
                  <a:gd name="T53" fmla="*/ 76 h 358"/>
                  <a:gd name="T54" fmla="*/ 33 w 158"/>
                  <a:gd name="T55" fmla="*/ 71 h 358"/>
                  <a:gd name="T56" fmla="*/ 24 w 158"/>
                  <a:gd name="T57" fmla="*/ 62 h 358"/>
                  <a:gd name="T58" fmla="*/ 35 w 158"/>
                  <a:gd name="T59" fmla="*/ 55 h 358"/>
                  <a:gd name="T60" fmla="*/ 51 w 158"/>
                  <a:gd name="T61" fmla="*/ 55 h 358"/>
                  <a:gd name="T62" fmla="*/ 66 w 158"/>
                  <a:gd name="T63" fmla="*/ 64 h 358"/>
                  <a:gd name="T64" fmla="*/ 75 w 158"/>
                  <a:gd name="T65" fmla="*/ 38 h 358"/>
                  <a:gd name="T66" fmla="*/ 74 w 158"/>
                  <a:gd name="T67" fmla="*/ 25 h 358"/>
                  <a:gd name="T68" fmla="*/ 77 w 158"/>
                  <a:gd name="T69" fmla="*/ 13 h 358"/>
                  <a:gd name="T70" fmla="*/ 98 w 158"/>
                  <a:gd name="T71" fmla="*/ 10 h 358"/>
                  <a:gd name="T72" fmla="*/ 123 w 158"/>
                  <a:gd name="T73" fmla="*/ 16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358">
                    <a:moveTo>
                      <a:pt x="123" y="16"/>
                    </a:moveTo>
                    <a:cubicBezTo>
                      <a:pt x="122" y="24"/>
                      <a:pt x="121" y="33"/>
                      <a:pt x="117" y="41"/>
                    </a:cubicBezTo>
                    <a:cubicBezTo>
                      <a:pt x="116" y="44"/>
                      <a:pt x="111" y="46"/>
                      <a:pt x="111" y="49"/>
                    </a:cubicBezTo>
                    <a:cubicBezTo>
                      <a:pt x="109" y="74"/>
                      <a:pt x="119" y="75"/>
                      <a:pt x="129" y="92"/>
                    </a:cubicBezTo>
                    <a:cubicBezTo>
                      <a:pt x="131" y="105"/>
                      <a:pt x="135" y="119"/>
                      <a:pt x="129" y="131"/>
                    </a:cubicBezTo>
                    <a:cubicBezTo>
                      <a:pt x="131" y="138"/>
                      <a:pt x="130" y="147"/>
                      <a:pt x="132" y="154"/>
                    </a:cubicBezTo>
                    <a:cubicBezTo>
                      <a:pt x="133" y="167"/>
                      <a:pt x="140" y="175"/>
                      <a:pt x="141" y="188"/>
                    </a:cubicBezTo>
                    <a:cubicBezTo>
                      <a:pt x="141" y="211"/>
                      <a:pt x="134" y="229"/>
                      <a:pt x="143" y="256"/>
                    </a:cubicBezTo>
                    <a:cubicBezTo>
                      <a:pt x="146" y="262"/>
                      <a:pt x="149" y="263"/>
                      <a:pt x="152" y="271"/>
                    </a:cubicBezTo>
                    <a:cubicBezTo>
                      <a:pt x="153" y="280"/>
                      <a:pt x="158" y="290"/>
                      <a:pt x="153" y="298"/>
                    </a:cubicBezTo>
                    <a:cubicBezTo>
                      <a:pt x="152" y="305"/>
                      <a:pt x="145" y="304"/>
                      <a:pt x="140" y="308"/>
                    </a:cubicBezTo>
                    <a:cubicBezTo>
                      <a:pt x="137" y="311"/>
                      <a:pt x="142" y="319"/>
                      <a:pt x="140" y="323"/>
                    </a:cubicBezTo>
                    <a:cubicBezTo>
                      <a:pt x="138" y="327"/>
                      <a:pt x="134" y="330"/>
                      <a:pt x="129" y="331"/>
                    </a:cubicBezTo>
                    <a:cubicBezTo>
                      <a:pt x="126" y="334"/>
                      <a:pt x="111" y="329"/>
                      <a:pt x="111" y="329"/>
                    </a:cubicBezTo>
                    <a:cubicBezTo>
                      <a:pt x="109" y="337"/>
                      <a:pt x="113" y="345"/>
                      <a:pt x="104" y="346"/>
                    </a:cubicBezTo>
                    <a:cubicBezTo>
                      <a:pt x="93" y="347"/>
                      <a:pt x="71" y="349"/>
                      <a:pt x="71" y="349"/>
                    </a:cubicBezTo>
                    <a:cubicBezTo>
                      <a:pt x="65" y="350"/>
                      <a:pt x="60" y="352"/>
                      <a:pt x="54" y="353"/>
                    </a:cubicBezTo>
                    <a:cubicBezTo>
                      <a:pt x="50" y="355"/>
                      <a:pt x="45" y="356"/>
                      <a:pt x="41" y="358"/>
                    </a:cubicBezTo>
                    <a:cubicBezTo>
                      <a:pt x="29" y="353"/>
                      <a:pt x="22" y="342"/>
                      <a:pt x="12" y="334"/>
                    </a:cubicBezTo>
                    <a:cubicBezTo>
                      <a:pt x="0" y="311"/>
                      <a:pt x="18" y="287"/>
                      <a:pt x="5" y="265"/>
                    </a:cubicBezTo>
                    <a:cubicBezTo>
                      <a:pt x="7" y="254"/>
                      <a:pt x="20" y="254"/>
                      <a:pt x="27" y="247"/>
                    </a:cubicBezTo>
                    <a:cubicBezTo>
                      <a:pt x="32" y="235"/>
                      <a:pt x="29" y="228"/>
                      <a:pt x="39" y="221"/>
                    </a:cubicBezTo>
                    <a:cubicBezTo>
                      <a:pt x="44" y="212"/>
                      <a:pt x="41" y="213"/>
                      <a:pt x="53" y="211"/>
                    </a:cubicBezTo>
                    <a:cubicBezTo>
                      <a:pt x="59" y="201"/>
                      <a:pt x="56" y="182"/>
                      <a:pt x="47" y="175"/>
                    </a:cubicBezTo>
                    <a:cubicBezTo>
                      <a:pt x="46" y="159"/>
                      <a:pt x="51" y="130"/>
                      <a:pt x="50" y="116"/>
                    </a:cubicBezTo>
                    <a:cubicBezTo>
                      <a:pt x="49" y="102"/>
                      <a:pt x="44" y="95"/>
                      <a:pt x="42" y="88"/>
                    </a:cubicBezTo>
                    <a:cubicBezTo>
                      <a:pt x="40" y="81"/>
                      <a:pt x="37" y="79"/>
                      <a:pt x="36" y="76"/>
                    </a:cubicBezTo>
                    <a:cubicBezTo>
                      <a:pt x="35" y="73"/>
                      <a:pt x="35" y="73"/>
                      <a:pt x="33" y="71"/>
                    </a:cubicBezTo>
                    <a:cubicBezTo>
                      <a:pt x="31" y="69"/>
                      <a:pt x="24" y="65"/>
                      <a:pt x="24" y="62"/>
                    </a:cubicBezTo>
                    <a:cubicBezTo>
                      <a:pt x="24" y="59"/>
                      <a:pt x="31" y="56"/>
                      <a:pt x="35" y="55"/>
                    </a:cubicBezTo>
                    <a:cubicBezTo>
                      <a:pt x="39" y="54"/>
                      <a:pt x="46" y="54"/>
                      <a:pt x="51" y="55"/>
                    </a:cubicBezTo>
                    <a:cubicBezTo>
                      <a:pt x="58" y="52"/>
                      <a:pt x="62" y="67"/>
                      <a:pt x="66" y="64"/>
                    </a:cubicBezTo>
                    <a:cubicBezTo>
                      <a:pt x="70" y="61"/>
                      <a:pt x="74" y="45"/>
                      <a:pt x="75" y="38"/>
                    </a:cubicBezTo>
                    <a:cubicBezTo>
                      <a:pt x="76" y="31"/>
                      <a:pt x="74" y="29"/>
                      <a:pt x="74" y="25"/>
                    </a:cubicBezTo>
                    <a:cubicBezTo>
                      <a:pt x="74" y="21"/>
                      <a:pt x="73" y="15"/>
                      <a:pt x="77" y="13"/>
                    </a:cubicBezTo>
                    <a:cubicBezTo>
                      <a:pt x="84" y="11"/>
                      <a:pt x="91" y="11"/>
                      <a:pt x="98" y="10"/>
                    </a:cubicBezTo>
                    <a:cubicBezTo>
                      <a:pt x="112" y="0"/>
                      <a:pt x="112" y="16"/>
                      <a:pt x="123" y="1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1" name="Freeform 115">
                <a:extLst>
                  <a:ext uri="{FF2B5EF4-FFF2-40B4-BE49-F238E27FC236}">
                    <a16:creationId xmlns:a16="http://schemas.microsoft.com/office/drawing/2014/main" id="{48AA05A7-289E-443F-8E3A-8BD2EC93E906}"/>
                  </a:ext>
                </a:extLst>
              </p:cNvPr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gray">
              <a:xfrm>
                <a:off x="4612867" y="1928816"/>
                <a:ext cx="302034" cy="680289"/>
              </a:xfrm>
              <a:custGeom>
                <a:avLst/>
                <a:gdLst/>
                <a:ahLst/>
                <a:cxnLst/>
                <a:rect l="l" t="t" r="r" b="b"/>
                <a:pathLst>
                  <a:path w="302034" h="680289">
                    <a:moveTo>
                      <a:pt x="184297" y="582611"/>
                    </a:moveTo>
                    <a:lnTo>
                      <a:pt x="189135" y="586183"/>
                    </a:lnTo>
                    <a:lnTo>
                      <a:pt x="184297" y="592136"/>
                    </a:lnTo>
                    <a:cubicBezTo>
                      <a:pt x="174620" y="598486"/>
                      <a:pt x="171394" y="608011"/>
                      <a:pt x="169782" y="619124"/>
                    </a:cubicBezTo>
                    <a:cubicBezTo>
                      <a:pt x="158492" y="642936"/>
                      <a:pt x="156879" y="652461"/>
                      <a:pt x="155266" y="606424"/>
                    </a:cubicBezTo>
                    <a:cubicBezTo>
                      <a:pt x="158492" y="584199"/>
                      <a:pt x="160105" y="585786"/>
                      <a:pt x="184297" y="582611"/>
                    </a:cubicBezTo>
                    <a:close/>
                    <a:moveTo>
                      <a:pt x="184559" y="558798"/>
                    </a:moveTo>
                    <a:cubicBezTo>
                      <a:pt x="182972" y="563561"/>
                      <a:pt x="184559" y="569911"/>
                      <a:pt x="181384" y="573086"/>
                    </a:cubicBezTo>
                    <a:cubicBezTo>
                      <a:pt x="176621" y="577848"/>
                      <a:pt x="173446" y="558798"/>
                      <a:pt x="184559" y="558798"/>
                    </a:cubicBezTo>
                    <a:close/>
                    <a:moveTo>
                      <a:pt x="242362" y="0"/>
                    </a:moveTo>
                    <a:cubicBezTo>
                      <a:pt x="242121" y="2178"/>
                      <a:pt x="239917" y="9529"/>
                      <a:pt x="242362" y="9529"/>
                    </a:cubicBezTo>
                    <a:lnTo>
                      <a:pt x="248820" y="19059"/>
                    </a:lnTo>
                    <a:cubicBezTo>
                      <a:pt x="253641" y="28589"/>
                      <a:pt x="255248" y="27001"/>
                      <a:pt x="266558" y="28589"/>
                    </a:cubicBezTo>
                    <a:cubicBezTo>
                      <a:pt x="277838" y="33354"/>
                      <a:pt x="269772" y="47648"/>
                      <a:pt x="281082" y="49237"/>
                    </a:cubicBezTo>
                    <a:cubicBezTo>
                      <a:pt x="282689" y="57178"/>
                      <a:pt x="295576" y="72992"/>
                      <a:pt x="295576" y="72992"/>
                    </a:cubicBezTo>
                    <a:cubicBezTo>
                      <a:pt x="297183" y="82522"/>
                      <a:pt x="302034" y="93640"/>
                      <a:pt x="302034" y="101581"/>
                    </a:cubicBezTo>
                    <a:cubicBezTo>
                      <a:pt x="302034" y="109523"/>
                      <a:pt x="298820" y="117464"/>
                      <a:pt x="297183" y="125406"/>
                    </a:cubicBezTo>
                    <a:cubicBezTo>
                      <a:pt x="295576" y="133347"/>
                      <a:pt x="297183" y="144465"/>
                      <a:pt x="297183" y="152407"/>
                    </a:cubicBezTo>
                    <a:cubicBezTo>
                      <a:pt x="295576" y="161937"/>
                      <a:pt x="293969" y="161937"/>
                      <a:pt x="297183" y="171466"/>
                    </a:cubicBezTo>
                    <a:cubicBezTo>
                      <a:pt x="290755" y="211105"/>
                      <a:pt x="269772" y="176231"/>
                      <a:pt x="242362" y="196879"/>
                    </a:cubicBezTo>
                    <a:cubicBezTo>
                      <a:pt x="232689" y="222223"/>
                      <a:pt x="231082" y="247635"/>
                      <a:pt x="219773" y="273048"/>
                    </a:cubicBezTo>
                    <a:cubicBezTo>
                      <a:pt x="218165" y="285755"/>
                      <a:pt x="218165" y="288931"/>
                      <a:pt x="208493" y="296873"/>
                    </a:cubicBezTo>
                    <a:cubicBezTo>
                      <a:pt x="202035" y="307991"/>
                      <a:pt x="198820" y="309579"/>
                      <a:pt x="185904" y="311167"/>
                    </a:cubicBezTo>
                    <a:cubicBezTo>
                      <a:pt x="177838" y="325462"/>
                      <a:pt x="156886" y="325462"/>
                      <a:pt x="145576" y="339757"/>
                    </a:cubicBezTo>
                    <a:cubicBezTo>
                      <a:pt x="140755" y="353982"/>
                      <a:pt x="143969" y="368277"/>
                      <a:pt x="131083" y="377807"/>
                    </a:cubicBezTo>
                    <a:cubicBezTo>
                      <a:pt x="129476" y="398454"/>
                      <a:pt x="121410" y="434985"/>
                      <a:pt x="135904" y="454045"/>
                    </a:cubicBezTo>
                    <a:cubicBezTo>
                      <a:pt x="137511" y="465163"/>
                      <a:pt x="150428" y="469928"/>
                      <a:pt x="160100" y="476281"/>
                    </a:cubicBezTo>
                    <a:cubicBezTo>
                      <a:pt x="169773" y="495271"/>
                      <a:pt x="168166" y="517507"/>
                      <a:pt x="145576" y="520684"/>
                    </a:cubicBezTo>
                    <a:cubicBezTo>
                      <a:pt x="140755" y="530214"/>
                      <a:pt x="132690" y="547685"/>
                      <a:pt x="126231" y="552450"/>
                    </a:cubicBezTo>
                    <a:cubicBezTo>
                      <a:pt x="119773" y="557215"/>
                      <a:pt x="108493" y="544509"/>
                      <a:pt x="106886" y="547685"/>
                    </a:cubicBezTo>
                    <a:cubicBezTo>
                      <a:pt x="108493" y="557215"/>
                      <a:pt x="111707" y="566745"/>
                      <a:pt x="113345" y="576274"/>
                    </a:cubicBezTo>
                    <a:cubicBezTo>
                      <a:pt x="111707" y="595334"/>
                      <a:pt x="121410" y="601687"/>
                      <a:pt x="108493" y="611217"/>
                    </a:cubicBezTo>
                    <a:lnTo>
                      <a:pt x="105849" y="624662"/>
                    </a:lnTo>
                    <a:cubicBezTo>
                      <a:pt x="106079" y="629935"/>
                      <a:pt x="113345" y="617156"/>
                      <a:pt x="113345" y="644502"/>
                    </a:cubicBezTo>
                    <a:cubicBezTo>
                      <a:pt x="113345" y="663562"/>
                      <a:pt x="63345" y="671503"/>
                      <a:pt x="50428" y="676268"/>
                    </a:cubicBezTo>
                    <a:cubicBezTo>
                      <a:pt x="35904" y="687386"/>
                      <a:pt x="35904" y="673091"/>
                      <a:pt x="31083" y="661973"/>
                    </a:cubicBezTo>
                    <a:cubicBezTo>
                      <a:pt x="29476" y="641325"/>
                      <a:pt x="19773" y="625442"/>
                      <a:pt x="6887" y="609629"/>
                    </a:cubicBezTo>
                    <a:cubicBezTo>
                      <a:pt x="5279" y="601687"/>
                      <a:pt x="2035" y="595334"/>
                      <a:pt x="428" y="587392"/>
                    </a:cubicBezTo>
                    <a:cubicBezTo>
                      <a:pt x="-1179" y="574686"/>
                      <a:pt x="2035" y="542920"/>
                      <a:pt x="5279" y="528626"/>
                    </a:cubicBezTo>
                    <a:cubicBezTo>
                      <a:pt x="8494" y="514331"/>
                      <a:pt x="11738" y="512743"/>
                      <a:pt x="14952" y="506389"/>
                    </a:cubicBezTo>
                    <a:cubicBezTo>
                      <a:pt x="19773" y="500036"/>
                      <a:pt x="21410" y="493683"/>
                      <a:pt x="24624" y="485742"/>
                    </a:cubicBezTo>
                    <a:cubicBezTo>
                      <a:pt x="23017" y="460398"/>
                      <a:pt x="31083" y="428632"/>
                      <a:pt x="6887" y="414337"/>
                    </a:cubicBezTo>
                    <a:cubicBezTo>
                      <a:pt x="5279" y="404808"/>
                      <a:pt x="5279" y="398454"/>
                      <a:pt x="10101" y="390513"/>
                    </a:cubicBezTo>
                    <a:cubicBezTo>
                      <a:pt x="11738" y="355570"/>
                      <a:pt x="428" y="320697"/>
                      <a:pt x="31083" y="301637"/>
                    </a:cubicBezTo>
                    <a:cubicBezTo>
                      <a:pt x="34297" y="287343"/>
                      <a:pt x="50428" y="292108"/>
                      <a:pt x="63345" y="290519"/>
                    </a:cubicBezTo>
                    <a:cubicBezTo>
                      <a:pt x="69773" y="279401"/>
                      <a:pt x="68166" y="277813"/>
                      <a:pt x="58493" y="271460"/>
                    </a:cubicBezTo>
                    <a:cubicBezTo>
                      <a:pt x="56886" y="265107"/>
                      <a:pt x="48821" y="263518"/>
                      <a:pt x="48821" y="258754"/>
                    </a:cubicBezTo>
                    <a:cubicBezTo>
                      <a:pt x="48821" y="253989"/>
                      <a:pt x="52035" y="249224"/>
                      <a:pt x="55279" y="239694"/>
                    </a:cubicBezTo>
                    <a:cubicBezTo>
                      <a:pt x="58493" y="230164"/>
                      <a:pt x="66559" y="207928"/>
                      <a:pt x="69773" y="196879"/>
                    </a:cubicBezTo>
                    <a:cubicBezTo>
                      <a:pt x="73017" y="185761"/>
                      <a:pt x="68166" y="179408"/>
                      <a:pt x="73017" y="173055"/>
                    </a:cubicBezTo>
                    <a:cubicBezTo>
                      <a:pt x="76231" y="165113"/>
                      <a:pt x="82690" y="160348"/>
                      <a:pt x="87541" y="152407"/>
                    </a:cubicBezTo>
                    <a:cubicBezTo>
                      <a:pt x="93969" y="142877"/>
                      <a:pt x="102035" y="138112"/>
                      <a:pt x="106886" y="128582"/>
                    </a:cubicBezTo>
                    <a:cubicBezTo>
                      <a:pt x="108493" y="117464"/>
                      <a:pt x="113345" y="107935"/>
                      <a:pt x="116559" y="96816"/>
                    </a:cubicBezTo>
                    <a:cubicBezTo>
                      <a:pt x="119773" y="84110"/>
                      <a:pt x="119773" y="68227"/>
                      <a:pt x="127838" y="58766"/>
                    </a:cubicBezTo>
                    <a:cubicBezTo>
                      <a:pt x="135904" y="49237"/>
                      <a:pt x="148821" y="49237"/>
                      <a:pt x="161707" y="42883"/>
                    </a:cubicBezTo>
                    <a:cubicBezTo>
                      <a:pt x="192362" y="23824"/>
                      <a:pt x="140755" y="27001"/>
                      <a:pt x="203642" y="20647"/>
                    </a:cubicBezTo>
                    <a:cubicBezTo>
                      <a:pt x="213314" y="14294"/>
                      <a:pt x="213314" y="7941"/>
                      <a:pt x="219773" y="4764"/>
                    </a:cubicBezTo>
                    <a:cubicBezTo>
                      <a:pt x="226231" y="1588"/>
                      <a:pt x="239148" y="0"/>
                      <a:pt x="242362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2" name="Freeform 116">
                <a:extLst>
                  <a:ext uri="{FF2B5EF4-FFF2-40B4-BE49-F238E27FC236}">
                    <a16:creationId xmlns:a16="http://schemas.microsoft.com/office/drawing/2014/main" id="{D723A502-3513-481C-9588-622F2331FD61}"/>
                  </a:ext>
                </a:extLst>
              </p:cNvPr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gray">
              <a:xfrm>
                <a:off x="4435476" y="1770063"/>
                <a:ext cx="650875" cy="744538"/>
              </a:xfrm>
              <a:custGeom>
                <a:avLst/>
                <a:gdLst>
                  <a:gd name="T0" fmla="*/ 369 w 403"/>
                  <a:gd name="T1" fmla="*/ 56 h 469"/>
                  <a:gd name="T2" fmla="*/ 398 w 403"/>
                  <a:gd name="T3" fmla="*/ 46 h 469"/>
                  <a:gd name="T4" fmla="*/ 380 w 403"/>
                  <a:gd name="T5" fmla="*/ 29 h 469"/>
                  <a:gd name="T6" fmla="*/ 330 w 403"/>
                  <a:gd name="T7" fmla="*/ 8 h 469"/>
                  <a:gd name="T8" fmla="*/ 266 w 403"/>
                  <a:gd name="T9" fmla="*/ 20 h 469"/>
                  <a:gd name="T10" fmla="*/ 246 w 403"/>
                  <a:gd name="T11" fmla="*/ 41 h 469"/>
                  <a:gd name="T12" fmla="*/ 213 w 403"/>
                  <a:gd name="T13" fmla="*/ 41 h 469"/>
                  <a:gd name="T14" fmla="*/ 188 w 403"/>
                  <a:gd name="T15" fmla="*/ 76 h 469"/>
                  <a:gd name="T16" fmla="*/ 171 w 403"/>
                  <a:gd name="T17" fmla="*/ 86 h 469"/>
                  <a:gd name="T18" fmla="*/ 144 w 403"/>
                  <a:gd name="T19" fmla="*/ 115 h 469"/>
                  <a:gd name="T20" fmla="*/ 111 w 403"/>
                  <a:gd name="T21" fmla="*/ 155 h 469"/>
                  <a:gd name="T22" fmla="*/ 155 w 403"/>
                  <a:gd name="T23" fmla="*/ 133 h 469"/>
                  <a:gd name="T24" fmla="*/ 134 w 403"/>
                  <a:gd name="T25" fmla="*/ 176 h 469"/>
                  <a:gd name="T26" fmla="*/ 108 w 403"/>
                  <a:gd name="T27" fmla="*/ 239 h 469"/>
                  <a:gd name="T28" fmla="*/ 90 w 403"/>
                  <a:gd name="T29" fmla="*/ 266 h 469"/>
                  <a:gd name="T30" fmla="*/ 60 w 403"/>
                  <a:gd name="T31" fmla="*/ 301 h 469"/>
                  <a:gd name="T32" fmla="*/ 5 w 403"/>
                  <a:gd name="T33" fmla="*/ 386 h 469"/>
                  <a:gd name="T34" fmla="*/ 11 w 403"/>
                  <a:gd name="T35" fmla="*/ 415 h 469"/>
                  <a:gd name="T36" fmla="*/ 24 w 403"/>
                  <a:gd name="T37" fmla="*/ 454 h 469"/>
                  <a:gd name="T38" fmla="*/ 65 w 403"/>
                  <a:gd name="T39" fmla="*/ 466 h 469"/>
                  <a:gd name="T40" fmla="*/ 78 w 403"/>
                  <a:gd name="T41" fmla="*/ 445 h 469"/>
                  <a:gd name="T42" fmla="*/ 92 w 403"/>
                  <a:gd name="T43" fmla="*/ 433 h 469"/>
                  <a:gd name="T44" fmla="*/ 113 w 403"/>
                  <a:gd name="T45" fmla="*/ 433 h 469"/>
                  <a:gd name="T46" fmla="*/ 122 w 403"/>
                  <a:gd name="T47" fmla="*/ 379 h 469"/>
                  <a:gd name="T48" fmla="*/ 119 w 403"/>
                  <a:gd name="T49" fmla="*/ 340 h 469"/>
                  <a:gd name="T50" fmla="*/ 119 w 403"/>
                  <a:gd name="T51" fmla="*/ 303 h 469"/>
                  <a:gd name="T52" fmla="*/ 143 w 403"/>
                  <a:gd name="T53" fmla="*/ 283 h 469"/>
                  <a:gd name="T54" fmla="*/ 140 w 403"/>
                  <a:gd name="T55" fmla="*/ 263 h 469"/>
                  <a:gd name="T56" fmla="*/ 153 w 403"/>
                  <a:gd name="T57" fmla="*/ 221 h 469"/>
                  <a:gd name="T58" fmla="*/ 177 w 403"/>
                  <a:gd name="T59" fmla="*/ 182 h 469"/>
                  <a:gd name="T60" fmla="*/ 192 w 403"/>
                  <a:gd name="T61" fmla="*/ 134 h 469"/>
                  <a:gd name="T62" fmla="*/ 215 w 403"/>
                  <a:gd name="T63" fmla="*/ 127 h 469"/>
                  <a:gd name="T64" fmla="*/ 221 w 403"/>
                  <a:gd name="T65" fmla="*/ 115 h 469"/>
                  <a:gd name="T66" fmla="*/ 240 w 403"/>
                  <a:gd name="T67" fmla="*/ 112 h 469"/>
                  <a:gd name="T68" fmla="*/ 254 w 403"/>
                  <a:gd name="T69" fmla="*/ 89 h 469"/>
                  <a:gd name="T70" fmla="*/ 269 w 403"/>
                  <a:gd name="T71" fmla="*/ 112 h 469"/>
                  <a:gd name="T72" fmla="*/ 293 w 403"/>
                  <a:gd name="T73" fmla="*/ 106 h 469"/>
                  <a:gd name="T74" fmla="*/ 320 w 403"/>
                  <a:gd name="T75" fmla="*/ 97 h 469"/>
                  <a:gd name="T76" fmla="*/ 342 w 403"/>
                  <a:gd name="T77" fmla="*/ 59 h 469"/>
                  <a:gd name="T78" fmla="*/ 368 w 403"/>
                  <a:gd name="T79" fmla="*/ 6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3" h="469">
                    <a:moveTo>
                      <a:pt x="368" y="68"/>
                    </a:moveTo>
                    <a:cubicBezTo>
                      <a:pt x="379" y="66"/>
                      <a:pt x="379" y="60"/>
                      <a:pt x="369" y="56"/>
                    </a:cubicBezTo>
                    <a:cubicBezTo>
                      <a:pt x="374" y="55"/>
                      <a:pt x="378" y="53"/>
                      <a:pt x="383" y="52"/>
                    </a:cubicBezTo>
                    <a:cubicBezTo>
                      <a:pt x="388" y="49"/>
                      <a:pt x="392" y="47"/>
                      <a:pt x="398" y="46"/>
                    </a:cubicBezTo>
                    <a:cubicBezTo>
                      <a:pt x="403" y="38"/>
                      <a:pt x="398" y="41"/>
                      <a:pt x="392" y="38"/>
                    </a:cubicBezTo>
                    <a:cubicBezTo>
                      <a:pt x="389" y="33"/>
                      <a:pt x="385" y="32"/>
                      <a:pt x="380" y="29"/>
                    </a:cubicBezTo>
                    <a:cubicBezTo>
                      <a:pt x="370" y="16"/>
                      <a:pt x="365" y="13"/>
                      <a:pt x="348" y="11"/>
                    </a:cubicBezTo>
                    <a:cubicBezTo>
                      <a:pt x="342" y="10"/>
                      <a:pt x="330" y="8"/>
                      <a:pt x="330" y="8"/>
                    </a:cubicBezTo>
                    <a:cubicBezTo>
                      <a:pt x="319" y="0"/>
                      <a:pt x="298" y="6"/>
                      <a:pt x="288" y="7"/>
                    </a:cubicBezTo>
                    <a:cubicBezTo>
                      <a:pt x="286" y="21"/>
                      <a:pt x="281" y="19"/>
                      <a:pt x="266" y="20"/>
                    </a:cubicBezTo>
                    <a:cubicBezTo>
                      <a:pt x="257" y="23"/>
                      <a:pt x="255" y="30"/>
                      <a:pt x="266" y="32"/>
                    </a:cubicBezTo>
                    <a:cubicBezTo>
                      <a:pt x="263" y="39"/>
                      <a:pt x="254" y="40"/>
                      <a:pt x="246" y="41"/>
                    </a:cubicBezTo>
                    <a:cubicBezTo>
                      <a:pt x="240" y="40"/>
                      <a:pt x="237" y="37"/>
                      <a:pt x="231" y="35"/>
                    </a:cubicBezTo>
                    <a:cubicBezTo>
                      <a:pt x="225" y="38"/>
                      <a:pt x="219" y="40"/>
                      <a:pt x="213" y="41"/>
                    </a:cubicBezTo>
                    <a:cubicBezTo>
                      <a:pt x="208" y="50"/>
                      <a:pt x="212" y="58"/>
                      <a:pt x="203" y="65"/>
                    </a:cubicBezTo>
                    <a:cubicBezTo>
                      <a:pt x="199" y="74"/>
                      <a:pt x="199" y="74"/>
                      <a:pt x="188" y="76"/>
                    </a:cubicBezTo>
                    <a:cubicBezTo>
                      <a:pt x="181" y="80"/>
                      <a:pt x="180" y="98"/>
                      <a:pt x="180" y="98"/>
                    </a:cubicBezTo>
                    <a:cubicBezTo>
                      <a:pt x="175" y="94"/>
                      <a:pt x="174" y="91"/>
                      <a:pt x="171" y="86"/>
                    </a:cubicBezTo>
                    <a:cubicBezTo>
                      <a:pt x="162" y="89"/>
                      <a:pt x="158" y="89"/>
                      <a:pt x="153" y="98"/>
                    </a:cubicBezTo>
                    <a:cubicBezTo>
                      <a:pt x="152" y="105"/>
                      <a:pt x="150" y="111"/>
                      <a:pt x="144" y="115"/>
                    </a:cubicBezTo>
                    <a:cubicBezTo>
                      <a:pt x="139" y="122"/>
                      <a:pt x="143" y="127"/>
                      <a:pt x="135" y="130"/>
                    </a:cubicBezTo>
                    <a:cubicBezTo>
                      <a:pt x="124" y="141"/>
                      <a:pt x="128" y="152"/>
                      <a:pt x="111" y="155"/>
                    </a:cubicBezTo>
                    <a:cubicBezTo>
                      <a:pt x="115" y="165"/>
                      <a:pt x="121" y="155"/>
                      <a:pt x="128" y="154"/>
                    </a:cubicBezTo>
                    <a:cubicBezTo>
                      <a:pt x="141" y="147"/>
                      <a:pt x="145" y="138"/>
                      <a:pt x="155" y="133"/>
                    </a:cubicBezTo>
                    <a:cubicBezTo>
                      <a:pt x="167" y="137"/>
                      <a:pt x="149" y="152"/>
                      <a:pt x="141" y="157"/>
                    </a:cubicBezTo>
                    <a:cubicBezTo>
                      <a:pt x="135" y="164"/>
                      <a:pt x="141" y="172"/>
                      <a:pt x="134" y="176"/>
                    </a:cubicBezTo>
                    <a:cubicBezTo>
                      <a:pt x="132" y="187"/>
                      <a:pt x="127" y="201"/>
                      <a:pt x="116" y="205"/>
                    </a:cubicBezTo>
                    <a:cubicBezTo>
                      <a:pt x="108" y="215"/>
                      <a:pt x="114" y="228"/>
                      <a:pt x="108" y="239"/>
                    </a:cubicBezTo>
                    <a:cubicBezTo>
                      <a:pt x="107" y="246"/>
                      <a:pt x="104" y="244"/>
                      <a:pt x="98" y="248"/>
                    </a:cubicBezTo>
                    <a:cubicBezTo>
                      <a:pt x="96" y="254"/>
                      <a:pt x="93" y="260"/>
                      <a:pt x="90" y="266"/>
                    </a:cubicBezTo>
                    <a:cubicBezTo>
                      <a:pt x="88" y="278"/>
                      <a:pt x="84" y="275"/>
                      <a:pt x="71" y="277"/>
                    </a:cubicBezTo>
                    <a:cubicBezTo>
                      <a:pt x="66" y="284"/>
                      <a:pt x="64" y="293"/>
                      <a:pt x="60" y="301"/>
                    </a:cubicBezTo>
                    <a:cubicBezTo>
                      <a:pt x="54" y="312"/>
                      <a:pt x="23" y="331"/>
                      <a:pt x="11" y="337"/>
                    </a:cubicBezTo>
                    <a:cubicBezTo>
                      <a:pt x="0" y="352"/>
                      <a:pt x="6" y="364"/>
                      <a:pt x="5" y="386"/>
                    </a:cubicBezTo>
                    <a:cubicBezTo>
                      <a:pt x="5" y="395"/>
                      <a:pt x="4" y="404"/>
                      <a:pt x="6" y="413"/>
                    </a:cubicBezTo>
                    <a:cubicBezTo>
                      <a:pt x="6" y="415"/>
                      <a:pt x="11" y="413"/>
                      <a:pt x="11" y="415"/>
                    </a:cubicBezTo>
                    <a:cubicBezTo>
                      <a:pt x="12" y="420"/>
                      <a:pt x="15" y="436"/>
                      <a:pt x="17" y="442"/>
                    </a:cubicBezTo>
                    <a:cubicBezTo>
                      <a:pt x="19" y="448"/>
                      <a:pt x="20" y="449"/>
                      <a:pt x="24" y="454"/>
                    </a:cubicBezTo>
                    <a:cubicBezTo>
                      <a:pt x="31" y="463"/>
                      <a:pt x="29" y="466"/>
                      <a:pt x="41" y="469"/>
                    </a:cubicBezTo>
                    <a:cubicBezTo>
                      <a:pt x="52" y="468"/>
                      <a:pt x="55" y="469"/>
                      <a:pt x="65" y="466"/>
                    </a:cubicBezTo>
                    <a:cubicBezTo>
                      <a:pt x="71" y="465"/>
                      <a:pt x="69" y="460"/>
                      <a:pt x="71" y="457"/>
                    </a:cubicBezTo>
                    <a:cubicBezTo>
                      <a:pt x="73" y="454"/>
                      <a:pt x="74" y="446"/>
                      <a:pt x="78" y="445"/>
                    </a:cubicBezTo>
                    <a:cubicBezTo>
                      <a:pt x="80" y="442"/>
                      <a:pt x="92" y="451"/>
                      <a:pt x="93" y="448"/>
                    </a:cubicBezTo>
                    <a:cubicBezTo>
                      <a:pt x="95" y="447"/>
                      <a:pt x="92" y="435"/>
                      <a:pt x="92" y="433"/>
                    </a:cubicBezTo>
                    <a:cubicBezTo>
                      <a:pt x="92" y="431"/>
                      <a:pt x="92" y="436"/>
                      <a:pt x="95" y="436"/>
                    </a:cubicBezTo>
                    <a:cubicBezTo>
                      <a:pt x="99" y="432"/>
                      <a:pt x="107" y="434"/>
                      <a:pt x="113" y="433"/>
                    </a:cubicBezTo>
                    <a:cubicBezTo>
                      <a:pt x="120" y="425"/>
                      <a:pt x="118" y="413"/>
                      <a:pt x="126" y="407"/>
                    </a:cubicBezTo>
                    <a:cubicBezTo>
                      <a:pt x="130" y="398"/>
                      <a:pt x="128" y="386"/>
                      <a:pt x="122" y="379"/>
                    </a:cubicBezTo>
                    <a:cubicBezTo>
                      <a:pt x="119" y="356"/>
                      <a:pt x="120" y="368"/>
                      <a:pt x="114" y="355"/>
                    </a:cubicBezTo>
                    <a:cubicBezTo>
                      <a:pt x="116" y="350"/>
                      <a:pt x="117" y="345"/>
                      <a:pt x="119" y="340"/>
                    </a:cubicBezTo>
                    <a:cubicBezTo>
                      <a:pt x="120" y="335"/>
                      <a:pt x="117" y="334"/>
                      <a:pt x="117" y="328"/>
                    </a:cubicBezTo>
                    <a:cubicBezTo>
                      <a:pt x="117" y="322"/>
                      <a:pt x="117" y="310"/>
                      <a:pt x="119" y="303"/>
                    </a:cubicBezTo>
                    <a:cubicBezTo>
                      <a:pt x="121" y="296"/>
                      <a:pt x="125" y="290"/>
                      <a:pt x="129" y="287"/>
                    </a:cubicBezTo>
                    <a:cubicBezTo>
                      <a:pt x="133" y="284"/>
                      <a:pt x="140" y="285"/>
                      <a:pt x="143" y="283"/>
                    </a:cubicBezTo>
                    <a:cubicBezTo>
                      <a:pt x="146" y="281"/>
                      <a:pt x="147" y="278"/>
                      <a:pt x="147" y="275"/>
                    </a:cubicBezTo>
                    <a:cubicBezTo>
                      <a:pt x="147" y="272"/>
                      <a:pt x="140" y="268"/>
                      <a:pt x="140" y="263"/>
                    </a:cubicBezTo>
                    <a:cubicBezTo>
                      <a:pt x="141" y="256"/>
                      <a:pt x="143" y="252"/>
                      <a:pt x="146" y="245"/>
                    </a:cubicBezTo>
                    <a:cubicBezTo>
                      <a:pt x="147" y="238"/>
                      <a:pt x="150" y="228"/>
                      <a:pt x="153" y="221"/>
                    </a:cubicBezTo>
                    <a:cubicBezTo>
                      <a:pt x="156" y="214"/>
                      <a:pt x="158" y="210"/>
                      <a:pt x="162" y="203"/>
                    </a:cubicBezTo>
                    <a:cubicBezTo>
                      <a:pt x="166" y="195"/>
                      <a:pt x="169" y="186"/>
                      <a:pt x="177" y="182"/>
                    </a:cubicBezTo>
                    <a:cubicBezTo>
                      <a:pt x="180" y="175"/>
                      <a:pt x="179" y="172"/>
                      <a:pt x="182" y="164"/>
                    </a:cubicBezTo>
                    <a:cubicBezTo>
                      <a:pt x="185" y="156"/>
                      <a:pt x="187" y="140"/>
                      <a:pt x="192" y="134"/>
                    </a:cubicBezTo>
                    <a:cubicBezTo>
                      <a:pt x="198" y="131"/>
                      <a:pt x="205" y="132"/>
                      <a:pt x="212" y="131"/>
                    </a:cubicBezTo>
                    <a:cubicBezTo>
                      <a:pt x="213" y="130"/>
                      <a:pt x="215" y="129"/>
                      <a:pt x="215" y="127"/>
                    </a:cubicBezTo>
                    <a:cubicBezTo>
                      <a:pt x="216" y="122"/>
                      <a:pt x="214" y="117"/>
                      <a:pt x="216" y="113"/>
                    </a:cubicBezTo>
                    <a:cubicBezTo>
                      <a:pt x="217" y="111"/>
                      <a:pt x="219" y="114"/>
                      <a:pt x="221" y="115"/>
                    </a:cubicBezTo>
                    <a:cubicBezTo>
                      <a:pt x="230" y="119"/>
                      <a:pt x="224" y="117"/>
                      <a:pt x="233" y="119"/>
                    </a:cubicBezTo>
                    <a:cubicBezTo>
                      <a:pt x="236" y="119"/>
                      <a:pt x="237" y="115"/>
                      <a:pt x="240" y="112"/>
                    </a:cubicBezTo>
                    <a:cubicBezTo>
                      <a:pt x="243" y="109"/>
                      <a:pt x="250" y="107"/>
                      <a:pt x="252" y="103"/>
                    </a:cubicBezTo>
                    <a:cubicBezTo>
                      <a:pt x="261" y="115"/>
                      <a:pt x="253" y="91"/>
                      <a:pt x="254" y="89"/>
                    </a:cubicBezTo>
                    <a:cubicBezTo>
                      <a:pt x="255" y="88"/>
                      <a:pt x="257" y="90"/>
                      <a:pt x="258" y="91"/>
                    </a:cubicBezTo>
                    <a:cubicBezTo>
                      <a:pt x="262" y="99"/>
                      <a:pt x="261" y="108"/>
                      <a:pt x="269" y="112"/>
                    </a:cubicBezTo>
                    <a:cubicBezTo>
                      <a:pt x="273" y="115"/>
                      <a:pt x="274" y="110"/>
                      <a:pt x="278" y="109"/>
                    </a:cubicBezTo>
                    <a:cubicBezTo>
                      <a:pt x="282" y="108"/>
                      <a:pt x="288" y="105"/>
                      <a:pt x="293" y="106"/>
                    </a:cubicBezTo>
                    <a:cubicBezTo>
                      <a:pt x="298" y="107"/>
                      <a:pt x="305" y="116"/>
                      <a:pt x="309" y="115"/>
                    </a:cubicBezTo>
                    <a:cubicBezTo>
                      <a:pt x="312" y="114"/>
                      <a:pt x="319" y="105"/>
                      <a:pt x="320" y="97"/>
                    </a:cubicBezTo>
                    <a:cubicBezTo>
                      <a:pt x="323" y="89"/>
                      <a:pt x="320" y="73"/>
                      <a:pt x="324" y="67"/>
                    </a:cubicBezTo>
                    <a:cubicBezTo>
                      <a:pt x="328" y="61"/>
                      <a:pt x="337" y="60"/>
                      <a:pt x="342" y="59"/>
                    </a:cubicBezTo>
                    <a:cubicBezTo>
                      <a:pt x="347" y="59"/>
                      <a:pt x="350" y="58"/>
                      <a:pt x="354" y="59"/>
                    </a:cubicBezTo>
                    <a:cubicBezTo>
                      <a:pt x="358" y="60"/>
                      <a:pt x="365" y="66"/>
                      <a:pt x="368" y="6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3" name="Freeform 117">
                <a:extLst>
                  <a:ext uri="{FF2B5EF4-FFF2-40B4-BE49-F238E27FC236}">
                    <a16:creationId xmlns:a16="http://schemas.microsoft.com/office/drawing/2014/main" id="{69C208A4-49D0-471C-819E-8BA1D474C395}"/>
                  </a:ext>
                </a:extLst>
              </p:cNvPr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gray">
              <a:xfrm>
                <a:off x="4856163" y="2435225"/>
                <a:ext cx="173038" cy="133350"/>
              </a:xfrm>
              <a:custGeom>
                <a:avLst/>
                <a:gdLst>
                  <a:gd name="T0" fmla="*/ 8 w 107"/>
                  <a:gd name="T1" fmla="*/ 26 h 84"/>
                  <a:gd name="T2" fmla="*/ 29 w 107"/>
                  <a:gd name="T3" fmla="*/ 17 h 84"/>
                  <a:gd name="T4" fmla="*/ 47 w 107"/>
                  <a:gd name="T5" fmla="*/ 6 h 84"/>
                  <a:gd name="T6" fmla="*/ 60 w 107"/>
                  <a:gd name="T7" fmla="*/ 0 h 84"/>
                  <a:gd name="T8" fmla="*/ 101 w 107"/>
                  <a:gd name="T9" fmla="*/ 8 h 84"/>
                  <a:gd name="T10" fmla="*/ 92 w 107"/>
                  <a:gd name="T11" fmla="*/ 42 h 84"/>
                  <a:gd name="T12" fmla="*/ 92 w 107"/>
                  <a:gd name="T13" fmla="*/ 59 h 84"/>
                  <a:gd name="T14" fmla="*/ 51 w 107"/>
                  <a:gd name="T15" fmla="*/ 45 h 84"/>
                  <a:gd name="T16" fmla="*/ 38 w 107"/>
                  <a:gd name="T17" fmla="*/ 54 h 84"/>
                  <a:gd name="T18" fmla="*/ 5 w 107"/>
                  <a:gd name="T19" fmla="*/ 63 h 84"/>
                  <a:gd name="T20" fmla="*/ 5 w 107"/>
                  <a:gd name="T21" fmla="*/ 51 h 84"/>
                  <a:gd name="T22" fmla="*/ 8 w 107"/>
                  <a:gd name="T23" fmla="*/ 2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7" h="84">
                    <a:moveTo>
                      <a:pt x="8" y="26"/>
                    </a:moveTo>
                    <a:cubicBezTo>
                      <a:pt x="16" y="22"/>
                      <a:pt x="19" y="19"/>
                      <a:pt x="29" y="17"/>
                    </a:cubicBezTo>
                    <a:cubicBezTo>
                      <a:pt x="35" y="7"/>
                      <a:pt x="34" y="8"/>
                      <a:pt x="47" y="6"/>
                    </a:cubicBezTo>
                    <a:cubicBezTo>
                      <a:pt x="51" y="3"/>
                      <a:pt x="55" y="2"/>
                      <a:pt x="60" y="0"/>
                    </a:cubicBezTo>
                    <a:cubicBezTo>
                      <a:pt x="74" y="2"/>
                      <a:pt x="88" y="0"/>
                      <a:pt x="101" y="8"/>
                    </a:cubicBezTo>
                    <a:cubicBezTo>
                      <a:pt x="107" y="14"/>
                      <a:pt x="94" y="34"/>
                      <a:pt x="92" y="42"/>
                    </a:cubicBezTo>
                    <a:cubicBezTo>
                      <a:pt x="90" y="51"/>
                      <a:pt x="99" y="59"/>
                      <a:pt x="92" y="59"/>
                    </a:cubicBezTo>
                    <a:cubicBezTo>
                      <a:pt x="54" y="58"/>
                      <a:pt x="71" y="57"/>
                      <a:pt x="51" y="45"/>
                    </a:cubicBezTo>
                    <a:cubicBezTo>
                      <a:pt x="35" y="48"/>
                      <a:pt x="47" y="50"/>
                      <a:pt x="38" y="54"/>
                    </a:cubicBezTo>
                    <a:cubicBezTo>
                      <a:pt x="35" y="84"/>
                      <a:pt x="26" y="66"/>
                      <a:pt x="5" y="63"/>
                    </a:cubicBezTo>
                    <a:cubicBezTo>
                      <a:pt x="0" y="55"/>
                      <a:pt x="1" y="60"/>
                      <a:pt x="5" y="51"/>
                    </a:cubicBezTo>
                    <a:cubicBezTo>
                      <a:pt x="7" y="42"/>
                      <a:pt x="6" y="36"/>
                      <a:pt x="8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4" name="Freeform 118">
                <a:extLst>
                  <a:ext uri="{FF2B5EF4-FFF2-40B4-BE49-F238E27FC236}">
                    <a16:creationId xmlns:a16="http://schemas.microsoft.com/office/drawing/2014/main" id="{91287AFC-7E50-4396-AC39-E75472C068E2}"/>
                  </a:ext>
                </a:extLst>
              </p:cNvPr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gray">
              <a:xfrm>
                <a:off x="4051301" y="3579813"/>
                <a:ext cx="387350" cy="369888"/>
              </a:xfrm>
              <a:custGeom>
                <a:avLst/>
                <a:gdLst>
                  <a:gd name="T0" fmla="*/ 1 w 240"/>
                  <a:gd name="T1" fmla="*/ 157 h 233"/>
                  <a:gd name="T2" fmla="*/ 82 w 240"/>
                  <a:gd name="T3" fmla="*/ 158 h 233"/>
                  <a:gd name="T4" fmla="*/ 96 w 240"/>
                  <a:gd name="T5" fmla="*/ 145 h 233"/>
                  <a:gd name="T6" fmla="*/ 85 w 240"/>
                  <a:gd name="T7" fmla="*/ 73 h 233"/>
                  <a:gd name="T8" fmla="*/ 73 w 240"/>
                  <a:gd name="T9" fmla="*/ 25 h 233"/>
                  <a:gd name="T10" fmla="*/ 82 w 240"/>
                  <a:gd name="T11" fmla="*/ 10 h 233"/>
                  <a:gd name="T12" fmla="*/ 99 w 240"/>
                  <a:gd name="T13" fmla="*/ 5 h 233"/>
                  <a:gd name="T14" fmla="*/ 120 w 240"/>
                  <a:gd name="T15" fmla="*/ 14 h 233"/>
                  <a:gd name="T16" fmla="*/ 133 w 240"/>
                  <a:gd name="T17" fmla="*/ 26 h 233"/>
                  <a:gd name="T18" fmla="*/ 147 w 240"/>
                  <a:gd name="T19" fmla="*/ 35 h 233"/>
                  <a:gd name="T20" fmla="*/ 165 w 240"/>
                  <a:gd name="T21" fmla="*/ 47 h 233"/>
                  <a:gd name="T22" fmla="*/ 178 w 240"/>
                  <a:gd name="T23" fmla="*/ 56 h 233"/>
                  <a:gd name="T24" fmla="*/ 186 w 240"/>
                  <a:gd name="T25" fmla="*/ 62 h 233"/>
                  <a:gd name="T26" fmla="*/ 201 w 240"/>
                  <a:gd name="T27" fmla="*/ 79 h 233"/>
                  <a:gd name="T28" fmla="*/ 210 w 240"/>
                  <a:gd name="T29" fmla="*/ 86 h 233"/>
                  <a:gd name="T30" fmla="*/ 235 w 240"/>
                  <a:gd name="T31" fmla="*/ 98 h 233"/>
                  <a:gd name="T32" fmla="*/ 237 w 240"/>
                  <a:gd name="T33" fmla="*/ 119 h 233"/>
                  <a:gd name="T34" fmla="*/ 237 w 240"/>
                  <a:gd name="T35" fmla="*/ 142 h 233"/>
                  <a:gd name="T36" fmla="*/ 226 w 240"/>
                  <a:gd name="T37" fmla="*/ 152 h 233"/>
                  <a:gd name="T38" fmla="*/ 202 w 240"/>
                  <a:gd name="T39" fmla="*/ 155 h 233"/>
                  <a:gd name="T40" fmla="*/ 172 w 240"/>
                  <a:gd name="T41" fmla="*/ 160 h 233"/>
                  <a:gd name="T42" fmla="*/ 148 w 240"/>
                  <a:gd name="T43" fmla="*/ 167 h 233"/>
                  <a:gd name="T44" fmla="*/ 127 w 240"/>
                  <a:gd name="T45" fmla="*/ 181 h 233"/>
                  <a:gd name="T46" fmla="*/ 115 w 240"/>
                  <a:gd name="T47" fmla="*/ 185 h 233"/>
                  <a:gd name="T48" fmla="*/ 102 w 240"/>
                  <a:gd name="T49" fmla="*/ 206 h 233"/>
                  <a:gd name="T50" fmla="*/ 93 w 240"/>
                  <a:gd name="T51" fmla="*/ 233 h 233"/>
                  <a:gd name="T52" fmla="*/ 49 w 240"/>
                  <a:gd name="T53" fmla="*/ 230 h 233"/>
                  <a:gd name="T54" fmla="*/ 28 w 240"/>
                  <a:gd name="T55" fmla="*/ 208 h 233"/>
                  <a:gd name="T56" fmla="*/ 6 w 240"/>
                  <a:gd name="T57" fmla="*/ 202 h 233"/>
                  <a:gd name="T58" fmla="*/ 1 w 240"/>
                  <a:gd name="T59" fmla="*/ 157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33">
                    <a:moveTo>
                      <a:pt x="1" y="157"/>
                    </a:moveTo>
                    <a:cubicBezTo>
                      <a:pt x="30" y="160"/>
                      <a:pt x="52" y="159"/>
                      <a:pt x="82" y="158"/>
                    </a:cubicBezTo>
                    <a:cubicBezTo>
                      <a:pt x="90" y="156"/>
                      <a:pt x="92" y="152"/>
                      <a:pt x="96" y="145"/>
                    </a:cubicBezTo>
                    <a:cubicBezTo>
                      <a:pt x="94" y="120"/>
                      <a:pt x="93" y="97"/>
                      <a:pt x="85" y="73"/>
                    </a:cubicBezTo>
                    <a:cubicBezTo>
                      <a:pt x="82" y="58"/>
                      <a:pt x="73" y="35"/>
                      <a:pt x="73" y="25"/>
                    </a:cubicBezTo>
                    <a:cubicBezTo>
                      <a:pt x="73" y="15"/>
                      <a:pt x="78" y="13"/>
                      <a:pt x="82" y="10"/>
                    </a:cubicBezTo>
                    <a:cubicBezTo>
                      <a:pt x="84" y="0"/>
                      <a:pt x="93" y="4"/>
                      <a:pt x="99" y="5"/>
                    </a:cubicBezTo>
                    <a:cubicBezTo>
                      <a:pt x="105" y="6"/>
                      <a:pt x="114" y="11"/>
                      <a:pt x="120" y="14"/>
                    </a:cubicBezTo>
                    <a:cubicBezTo>
                      <a:pt x="121" y="20"/>
                      <a:pt x="127" y="23"/>
                      <a:pt x="133" y="26"/>
                    </a:cubicBezTo>
                    <a:cubicBezTo>
                      <a:pt x="138" y="33"/>
                      <a:pt x="139" y="34"/>
                      <a:pt x="147" y="35"/>
                    </a:cubicBezTo>
                    <a:cubicBezTo>
                      <a:pt x="155" y="38"/>
                      <a:pt x="158" y="43"/>
                      <a:pt x="165" y="47"/>
                    </a:cubicBezTo>
                    <a:cubicBezTo>
                      <a:pt x="169" y="54"/>
                      <a:pt x="172" y="52"/>
                      <a:pt x="178" y="56"/>
                    </a:cubicBezTo>
                    <a:cubicBezTo>
                      <a:pt x="180" y="59"/>
                      <a:pt x="185" y="59"/>
                      <a:pt x="186" y="62"/>
                    </a:cubicBezTo>
                    <a:cubicBezTo>
                      <a:pt x="188" y="66"/>
                      <a:pt x="197" y="75"/>
                      <a:pt x="201" y="79"/>
                    </a:cubicBezTo>
                    <a:cubicBezTo>
                      <a:pt x="205" y="83"/>
                      <a:pt x="204" y="83"/>
                      <a:pt x="210" y="86"/>
                    </a:cubicBezTo>
                    <a:cubicBezTo>
                      <a:pt x="220" y="89"/>
                      <a:pt x="227" y="92"/>
                      <a:pt x="235" y="98"/>
                    </a:cubicBezTo>
                    <a:cubicBezTo>
                      <a:pt x="240" y="104"/>
                      <a:pt x="238" y="110"/>
                      <a:pt x="237" y="119"/>
                    </a:cubicBezTo>
                    <a:cubicBezTo>
                      <a:pt x="237" y="126"/>
                      <a:pt x="239" y="137"/>
                      <a:pt x="237" y="142"/>
                    </a:cubicBezTo>
                    <a:cubicBezTo>
                      <a:pt x="235" y="147"/>
                      <a:pt x="232" y="150"/>
                      <a:pt x="226" y="152"/>
                    </a:cubicBezTo>
                    <a:cubicBezTo>
                      <a:pt x="220" y="162"/>
                      <a:pt x="211" y="154"/>
                      <a:pt x="202" y="155"/>
                    </a:cubicBezTo>
                    <a:cubicBezTo>
                      <a:pt x="193" y="156"/>
                      <a:pt x="181" y="158"/>
                      <a:pt x="172" y="160"/>
                    </a:cubicBezTo>
                    <a:cubicBezTo>
                      <a:pt x="162" y="161"/>
                      <a:pt x="157" y="165"/>
                      <a:pt x="148" y="167"/>
                    </a:cubicBezTo>
                    <a:cubicBezTo>
                      <a:pt x="140" y="171"/>
                      <a:pt x="135" y="179"/>
                      <a:pt x="127" y="181"/>
                    </a:cubicBezTo>
                    <a:cubicBezTo>
                      <a:pt x="122" y="187"/>
                      <a:pt x="123" y="184"/>
                      <a:pt x="115" y="185"/>
                    </a:cubicBezTo>
                    <a:cubicBezTo>
                      <a:pt x="108" y="196"/>
                      <a:pt x="113" y="199"/>
                      <a:pt x="102" y="206"/>
                    </a:cubicBezTo>
                    <a:cubicBezTo>
                      <a:pt x="97" y="213"/>
                      <a:pt x="102" y="229"/>
                      <a:pt x="93" y="233"/>
                    </a:cubicBezTo>
                    <a:cubicBezTo>
                      <a:pt x="81" y="232"/>
                      <a:pt x="61" y="232"/>
                      <a:pt x="49" y="230"/>
                    </a:cubicBezTo>
                    <a:cubicBezTo>
                      <a:pt x="54" y="230"/>
                      <a:pt x="37" y="210"/>
                      <a:pt x="28" y="208"/>
                    </a:cubicBezTo>
                    <a:cubicBezTo>
                      <a:pt x="22" y="205"/>
                      <a:pt x="13" y="203"/>
                      <a:pt x="6" y="202"/>
                    </a:cubicBezTo>
                    <a:cubicBezTo>
                      <a:pt x="0" y="193"/>
                      <a:pt x="2" y="167"/>
                      <a:pt x="1" y="15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5" name="Freeform 119">
                <a:extLst>
                  <a:ext uri="{FF2B5EF4-FFF2-40B4-BE49-F238E27FC236}">
                    <a16:creationId xmlns:a16="http://schemas.microsoft.com/office/drawing/2014/main" id="{5EB96B0F-800D-49F6-98AE-2ED65C824676}"/>
                  </a:ext>
                </a:extLst>
              </p:cNvPr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gray">
              <a:xfrm>
                <a:off x="4935538" y="4554538"/>
                <a:ext cx="195263" cy="185738"/>
              </a:xfrm>
              <a:custGeom>
                <a:avLst/>
                <a:gdLst>
                  <a:gd name="T0" fmla="*/ 2 w 121"/>
                  <a:gd name="T1" fmla="*/ 42 h 117"/>
                  <a:gd name="T2" fmla="*/ 34 w 121"/>
                  <a:gd name="T3" fmla="*/ 36 h 117"/>
                  <a:gd name="T4" fmla="*/ 49 w 121"/>
                  <a:gd name="T5" fmla="*/ 20 h 117"/>
                  <a:gd name="T6" fmla="*/ 58 w 121"/>
                  <a:gd name="T7" fmla="*/ 11 h 117"/>
                  <a:gd name="T8" fmla="*/ 77 w 121"/>
                  <a:gd name="T9" fmla="*/ 0 h 117"/>
                  <a:gd name="T10" fmla="*/ 92 w 121"/>
                  <a:gd name="T11" fmla="*/ 12 h 117"/>
                  <a:gd name="T12" fmla="*/ 109 w 121"/>
                  <a:gd name="T13" fmla="*/ 21 h 117"/>
                  <a:gd name="T14" fmla="*/ 110 w 121"/>
                  <a:gd name="T15" fmla="*/ 92 h 117"/>
                  <a:gd name="T16" fmla="*/ 101 w 121"/>
                  <a:gd name="T17" fmla="*/ 108 h 117"/>
                  <a:gd name="T18" fmla="*/ 83 w 121"/>
                  <a:gd name="T19" fmla="*/ 114 h 117"/>
                  <a:gd name="T20" fmla="*/ 44 w 121"/>
                  <a:gd name="T21" fmla="*/ 98 h 117"/>
                  <a:gd name="T22" fmla="*/ 32 w 121"/>
                  <a:gd name="T23" fmla="*/ 89 h 117"/>
                  <a:gd name="T24" fmla="*/ 26 w 121"/>
                  <a:gd name="T25" fmla="*/ 78 h 117"/>
                  <a:gd name="T26" fmla="*/ 14 w 121"/>
                  <a:gd name="T27" fmla="*/ 71 h 117"/>
                  <a:gd name="T28" fmla="*/ 6 w 121"/>
                  <a:gd name="T29" fmla="*/ 59 h 117"/>
                  <a:gd name="T30" fmla="*/ 2 w 121"/>
                  <a:gd name="T31" fmla="*/ 51 h 117"/>
                  <a:gd name="T32" fmla="*/ 2 w 121"/>
                  <a:gd name="T33" fmla="*/ 4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1" h="117">
                    <a:moveTo>
                      <a:pt x="2" y="42"/>
                    </a:moveTo>
                    <a:cubicBezTo>
                      <a:pt x="22" y="41"/>
                      <a:pt x="22" y="43"/>
                      <a:pt x="34" y="36"/>
                    </a:cubicBezTo>
                    <a:cubicBezTo>
                      <a:pt x="27" y="23"/>
                      <a:pt x="39" y="21"/>
                      <a:pt x="49" y="20"/>
                    </a:cubicBezTo>
                    <a:cubicBezTo>
                      <a:pt x="53" y="14"/>
                      <a:pt x="51" y="12"/>
                      <a:pt x="58" y="11"/>
                    </a:cubicBezTo>
                    <a:cubicBezTo>
                      <a:pt x="64" y="8"/>
                      <a:pt x="71" y="3"/>
                      <a:pt x="77" y="0"/>
                    </a:cubicBezTo>
                    <a:cubicBezTo>
                      <a:pt x="88" y="4"/>
                      <a:pt x="80" y="10"/>
                      <a:pt x="92" y="12"/>
                    </a:cubicBezTo>
                    <a:cubicBezTo>
                      <a:pt x="99" y="15"/>
                      <a:pt x="101" y="19"/>
                      <a:pt x="109" y="21"/>
                    </a:cubicBezTo>
                    <a:cubicBezTo>
                      <a:pt x="120" y="40"/>
                      <a:pt x="121" y="71"/>
                      <a:pt x="110" y="92"/>
                    </a:cubicBezTo>
                    <a:cubicBezTo>
                      <a:pt x="109" y="99"/>
                      <a:pt x="108" y="107"/>
                      <a:pt x="101" y="108"/>
                    </a:cubicBezTo>
                    <a:cubicBezTo>
                      <a:pt x="95" y="117"/>
                      <a:pt x="95" y="116"/>
                      <a:pt x="83" y="114"/>
                    </a:cubicBezTo>
                    <a:cubicBezTo>
                      <a:pt x="79" y="111"/>
                      <a:pt x="50" y="99"/>
                      <a:pt x="44" y="98"/>
                    </a:cubicBezTo>
                    <a:cubicBezTo>
                      <a:pt x="39" y="95"/>
                      <a:pt x="35" y="94"/>
                      <a:pt x="32" y="89"/>
                    </a:cubicBezTo>
                    <a:cubicBezTo>
                      <a:pt x="29" y="85"/>
                      <a:pt x="29" y="81"/>
                      <a:pt x="26" y="78"/>
                    </a:cubicBezTo>
                    <a:cubicBezTo>
                      <a:pt x="23" y="75"/>
                      <a:pt x="17" y="74"/>
                      <a:pt x="14" y="71"/>
                    </a:cubicBezTo>
                    <a:cubicBezTo>
                      <a:pt x="9" y="66"/>
                      <a:pt x="8" y="62"/>
                      <a:pt x="6" y="59"/>
                    </a:cubicBezTo>
                    <a:cubicBezTo>
                      <a:pt x="4" y="56"/>
                      <a:pt x="3" y="54"/>
                      <a:pt x="2" y="51"/>
                    </a:cubicBezTo>
                    <a:cubicBezTo>
                      <a:pt x="1" y="44"/>
                      <a:pt x="0" y="47"/>
                      <a:pt x="2" y="4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6" name="Freeform 120">
                <a:extLst>
                  <a:ext uri="{FF2B5EF4-FFF2-40B4-BE49-F238E27FC236}">
                    <a16:creationId xmlns:a16="http://schemas.microsoft.com/office/drawing/2014/main" id="{CE0B29C9-1CED-4C09-AB0F-5ACB8386686E}"/>
                  </a:ext>
                </a:extLst>
              </p:cNvPr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gray">
              <a:xfrm>
                <a:off x="5370513" y="3125788"/>
                <a:ext cx="66675" cy="61913"/>
              </a:xfrm>
              <a:custGeom>
                <a:avLst/>
                <a:gdLst>
                  <a:gd name="T0" fmla="*/ 0 w 42"/>
                  <a:gd name="T1" fmla="*/ 3 h 39"/>
                  <a:gd name="T2" fmla="*/ 23 w 42"/>
                  <a:gd name="T3" fmla="*/ 0 h 39"/>
                  <a:gd name="T4" fmla="*/ 31 w 42"/>
                  <a:gd name="T5" fmla="*/ 16 h 39"/>
                  <a:gd name="T6" fmla="*/ 36 w 42"/>
                  <a:gd name="T7" fmla="*/ 27 h 39"/>
                  <a:gd name="T8" fmla="*/ 42 w 42"/>
                  <a:gd name="T9" fmla="*/ 38 h 39"/>
                  <a:gd name="T10" fmla="*/ 27 w 42"/>
                  <a:gd name="T11" fmla="*/ 33 h 39"/>
                  <a:gd name="T12" fmla="*/ 18 w 42"/>
                  <a:gd name="T13" fmla="*/ 39 h 39"/>
                  <a:gd name="T14" fmla="*/ 2 w 42"/>
                  <a:gd name="T15" fmla="*/ 17 h 39"/>
                  <a:gd name="T16" fmla="*/ 0 w 42"/>
                  <a:gd name="T17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39">
                    <a:moveTo>
                      <a:pt x="0" y="3"/>
                    </a:moveTo>
                    <a:lnTo>
                      <a:pt x="23" y="0"/>
                    </a:lnTo>
                    <a:lnTo>
                      <a:pt x="31" y="16"/>
                    </a:lnTo>
                    <a:lnTo>
                      <a:pt x="36" y="27"/>
                    </a:lnTo>
                    <a:lnTo>
                      <a:pt x="42" y="38"/>
                    </a:lnTo>
                    <a:lnTo>
                      <a:pt x="27" y="33"/>
                    </a:lnTo>
                    <a:lnTo>
                      <a:pt x="18" y="39"/>
                    </a:lnTo>
                    <a:lnTo>
                      <a:pt x="2" y="17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7" name="Freeform 127">
                <a:extLst>
                  <a:ext uri="{FF2B5EF4-FFF2-40B4-BE49-F238E27FC236}">
                    <a16:creationId xmlns:a16="http://schemas.microsoft.com/office/drawing/2014/main" id="{6F0CA2A8-7D9C-4EBF-9EF7-28671B729054}"/>
                  </a:ext>
                </a:extLst>
              </p:cNvPr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gray">
              <a:xfrm>
                <a:off x="3930651" y="3863975"/>
                <a:ext cx="96838" cy="34925"/>
              </a:xfrm>
              <a:custGeom>
                <a:avLst/>
                <a:gdLst>
                  <a:gd name="T0" fmla="*/ 0 w 60"/>
                  <a:gd name="T1" fmla="*/ 9 h 22"/>
                  <a:gd name="T2" fmla="*/ 27 w 60"/>
                  <a:gd name="T3" fmla="*/ 9 h 22"/>
                  <a:gd name="T4" fmla="*/ 39 w 60"/>
                  <a:gd name="T5" fmla="*/ 8 h 22"/>
                  <a:gd name="T6" fmla="*/ 48 w 60"/>
                  <a:gd name="T7" fmla="*/ 0 h 22"/>
                  <a:gd name="T8" fmla="*/ 60 w 60"/>
                  <a:gd name="T9" fmla="*/ 9 h 22"/>
                  <a:gd name="T10" fmla="*/ 49 w 60"/>
                  <a:gd name="T11" fmla="*/ 19 h 22"/>
                  <a:gd name="T12" fmla="*/ 40 w 60"/>
                  <a:gd name="T13" fmla="*/ 16 h 22"/>
                  <a:gd name="T14" fmla="*/ 30 w 60"/>
                  <a:gd name="T15" fmla="*/ 22 h 22"/>
                  <a:gd name="T16" fmla="*/ 3 w 60"/>
                  <a:gd name="T17" fmla="*/ 21 h 22"/>
                  <a:gd name="T18" fmla="*/ 0 w 60"/>
                  <a:gd name="T19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22">
                    <a:moveTo>
                      <a:pt x="0" y="9"/>
                    </a:moveTo>
                    <a:lnTo>
                      <a:pt x="27" y="9"/>
                    </a:lnTo>
                    <a:lnTo>
                      <a:pt x="39" y="8"/>
                    </a:lnTo>
                    <a:lnTo>
                      <a:pt x="48" y="0"/>
                    </a:lnTo>
                    <a:lnTo>
                      <a:pt x="60" y="9"/>
                    </a:lnTo>
                    <a:lnTo>
                      <a:pt x="49" y="19"/>
                    </a:lnTo>
                    <a:lnTo>
                      <a:pt x="40" y="16"/>
                    </a:lnTo>
                    <a:lnTo>
                      <a:pt x="30" y="22"/>
                    </a:lnTo>
                    <a:lnTo>
                      <a:pt x="3" y="2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8" name="Freeform 128">
                <a:extLst>
                  <a:ext uri="{FF2B5EF4-FFF2-40B4-BE49-F238E27FC236}">
                    <a16:creationId xmlns:a16="http://schemas.microsoft.com/office/drawing/2014/main" id="{49E1A89C-933C-40CB-82D1-D23E96AC799B}"/>
                  </a:ext>
                </a:extLst>
              </p:cNvPr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gray">
              <a:xfrm>
                <a:off x="3932238" y="3892550"/>
                <a:ext cx="77788" cy="46038"/>
              </a:xfrm>
              <a:custGeom>
                <a:avLst/>
                <a:gdLst>
                  <a:gd name="T0" fmla="*/ 0 w 48"/>
                  <a:gd name="T1" fmla="*/ 23 h 29"/>
                  <a:gd name="T2" fmla="*/ 21 w 48"/>
                  <a:gd name="T3" fmla="*/ 29 h 29"/>
                  <a:gd name="T4" fmla="*/ 30 w 48"/>
                  <a:gd name="T5" fmla="*/ 21 h 29"/>
                  <a:gd name="T6" fmla="*/ 48 w 48"/>
                  <a:gd name="T7" fmla="*/ 0 h 29"/>
                  <a:gd name="T8" fmla="*/ 26 w 48"/>
                  <a:gd name="T9" fmla="*/ 3 h 29"/>
                  <a:gd name="T10" fmla="*/ 3 w 48"/>
                  <a:gd name="T11" fmla="*/ 3 h 29"/>
                  <a:gd name="T12" fmla="*/ 2 w 48"/>
                  <a:gd name="T13" fmla="*/ 14 h 29"/>
                  <a:gd name="T14" fmla="*/ 0 w 48"/>
                  <a:gd name="T15" fmla="*/ 2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29">
                    <a:moveTo>
                      <a:pt x="0" y="23"/>
                    </a:moveTo>
                    <a:lnTo>
                      <a:pt x="21" y="29"/>
                    </a:lnTo>
                    <a:lnTo>
                      <a:pt x="30" y="21"/>
                    </a:lnTo>
                    <a:lnTo>
                      <a:pt x="48" y="0"/>
                    </a:lnTo>
                    <a:lnTo>
                      <a:pt x="26" y="3"/>
                    </a:lnTo>
                    <a:lnTo>
                      <a:pt x="3" y="3"/>
                    </a:lnTo>
                    <a:lnTo>
                      <a:pt x="2" y="14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9" name="Freeform 129">
                <a:extLst>
                  <a:ext uri="{FF2B5EF4-FFF2-40B4-BE49-F238E27FC236}">
                    <a16:creationId xmlns:a16="http://schemas.microsoft.com/office/drawing/2014/main" id="{B0FA2291-96B1-48BB-8145-244BD994E82A}"/>
                  </a:ext>
                </a:extLst>
              </p:cNvPr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gray">
              <a:xfrm>
                <a:off x="3925888" y="3795713"/>
                <a:ext cx="127000" cy="109538"/>
              </a:xfrm>
              <a:custGeom>
                <a:avLst/>
                <a:gdLst>
                  <a:gd name="T0" fmla="*/ 10 w 79"/>
                  <a:gd name="T1" fmla="*/ 4 h 69"/>
                  <a:gd name="T2" fmla="*/ 27 w 79"/>
                  <a:gd name="T3" fmla="*/ 0 h 69"/>
                  <a:gd name="T4" fmla="*/ 55 w 79"/>
                  <a:gd name="T5" fmla="*/ 10 h 69"/>
                  <a:gd name="T6" fmla="*/ 63 w 79"/>
                  <a:gd name="T7" fmla="*/ 21 h 69"/>
                  <a:gd name="T8" fmla="*/ 79 w 79"/>
                  <a:gd name="T9" fmla="*/ 22 h 69"/>
                  <a:gd name="T10" fmla="*/ 79 w 79"/>
                  <a:gd name="T11" fmla="*/ 51 h 69"/>
                  <a:gd name="T12" fmla="*/ 79 w 79"/>
                  <a:gd name="T13" fmla="*/ 69 h 69"/>
                  <a:gd name="T14" fmla="*/ 66 w 79"/>
                  <a:gd name="T15" fmla="*/ 64 h 69"/>
                  <a:gd name="T16" fmla="*/ 57 w 79"/>
                  <a:gd name="T17" fmla="*/ 58 h 69"/>
                  <a:gd name="T18" fmla="*/ 4 w 79"/>
                  <a:gd name="T19" fmla="*/ 67 h 69"/>
                  <a:gd name="T20" fmla="*/ 22 w 79"/>
                  <a:gd name="T21" fmla="*/ 63 h 69"/>
                  <a:gd name="T22" fmla="*/ 46 w 79"/>
                  <a:gd name="T23" fmla="*/ 61 h 69"/>
                  <a:gd name="T24" fmla="*/ 60 w 79"/>
                  <a:gd name="T25" fmla="*/ 54 h 69"/>
                  <a:gd name="T26" fmla="*/ 51 w 79"/>
                  <a:gd name="T27" fmla="*/ 43 h 69"/>
                  <a:gd name="T28" fmla="*/ 42 w 79"/>
                  <a:gd name="T29" fmla="*/ 52 h 69"/>
                  <a:gd name="T30" fmla="*/ 1 w 79"/>
                  <a:gd name="T31" fmla="*/ 54 h 69"/>
                  <a:gd name="T32" fmla="*/ 0 w 79"/>
                  <a:gd name="T33" fmla="*/ 28 h 69"/>
                  <a:gd name="T34" fmla="*/ 6 w 79"/>
                  <a:gd name="T35" fmla="*/ 16 h 69"/>
                  <a:gd name="T36" fmla="*/ 10 w 79"/>
                  <a:gd name="T37" fmla="*/ 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9" h="69">
                    <a:moveTo>
                      <a:pt x="10" y="4"/>
                    </a:moveTo>
                    <a:lnTo>
                      <a:pt x="27" y="0"/>
                    </a:lnTo>
                    <a:lnTo>
                      <a:pt x="55" y="10"/>
                    </a:lnTo>
                    <a:lnTo>
                      <a:pt x="63" y="21"/>
                    </a:lnTo>
                    <a:lnTo>
                      <a:pt x="79" y="22"/>
                    </a:lnTo>
                    <a:lnTo>
                      <a:pt x="79" y="51"/>
                    </a:lnTo>
                    <a:lnTo>
                      <a:pt x="79" y="69"/>
                    </a:lnTo>
                    <a:lnTo>
                      <a:pt x="66" y="64"/>
                    </a:lnTo>
                    <a:lnTo>
                      <a:pt x="57" y="58"/>
                    </a:lnTo>
                    <a:lnTo>
                      <a:pt x="4" y="67"/>
                    </a:lnTo>
                    <a:lnTo>
                      <a:pt x="22" y="63"/>
                    </a:lnTo>
                    <a:lnTo>
                      <a:pt x="46" y="61"/>
                    </a:lnTo>
                    <a:lnTo>
                      <a:pt x="60" y="54"/>
                    </a:lnTo>
                    <a:lnTo>
                      <a:pt x="51" y="43"/>
                    </a:lnTo>
                    <a:lnTo>
                      <a:pt x="42" y="52"/>
                    </a:lnTo>
                    <a:lnTo>
                      <a:pt x="1" y="54"/>
                    </a:lnTo>
                    <a:lnTo>
                      <a:pt x="0" y="28"/>
                    </a:lnTo>
                    <a:lnTo>
                      <a:pt x="6" y="16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0" name="Freeform 130">
                <a:extLst>
                  <a:ext uri="{FF2B5EF4-FFF2-40B4-BE49-F238E27FC236}">
                    <a16:creationId xmlns:a16="http://schemas.microsoft.com/office/drawing/2014/main" id="{ABFD69F3-45C0-4A74-A3E0-96476B1D979F}"/>
                  </a:ext>
                </a:extLst>
              </p:cNvPr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gray">
              <a:xfrm>
                <a:off x="5331622" y="3894932"/>
                <a:ext cx="47625" cy="50800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1" name="Freeform 131">
                <a:extLst>
                  <a:ext uri="{FF2B5EF4-FFF2-40B4-BE49-F238E27FC236}">
                    <a16:creationId xmlns:a16="http://schemas.microsoft.com/office/drawing/2014/main" id="{9A925CB8-403F-4A37-9EC2-9918A38D73A5}"/>
                  </a:ext>
                </a:extLst>
              </p:cNvPr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gray">
              <a:xfrm>
                <a:off x="5416551" y="3433763"/>
                <a:ext cx="49213" cy="50800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2" name="Freeform 132">
                <a:extLst>
                  <a:ext uri="{FF2B5EF4-FFF2-40B4-BE49-F238E27FC236}">
                    <a16:creationId xmlns:a16="http://schemas.microsoft.com/office/drawing/2014/main" id="{F9100B88-2456-44BB-B2A5-030BD026A32F}"/>
                  </a:ext>
                </a:extLst>
              </p:cNvPr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gray">
              <a:xfrm>
                <a:off x="6011863" y="3071813"/>
                <a:ext cx="203200" cy="114300"/>
              </a:xfrm>
              <a:custGeom>
                <a:avLst/>
                <a:gdLst>
                  <a:gd name="T0" fmla="*/ 10 w 126"/>
                  <a:gd name="T1" fmla="*/ 15 h 72"/>
                  <a:gd name="T2" fmla="*/ 22 w 126"/>
                  <a:gd name="T3" fmla="*/ 7 h 72"/>
                  <a:gd name="T4" fmla="*/ 40 w 126"/>
                  <a:gd name="T5" fmla="*/ 15 h 72"/>
                  <a:gd name="T6" fmla="*/ 48 w 126"/>
                  <a:gd name="T7" fmla="*/ 7 h 72"/>
                  <a:gd name="T8" fmla="*/ 58 w 126"/>
                  <a:gd name="T9" fmla="*/ 0 h 72"/>
                  <a:gd name="T10" fmla="*/ 84 w 126"/>
                  <a:gd name="T11" fmla="*/ 9 h 72"/>
                  <a:gd name="T12" fmla="*/ 108 w 126"/>
                  <a:gd name="T13" fmla="*/ 6 h 72"/>
                  <a:gd name="T14" fmla="*/ 124 w 126"/>
                  <a:gd name="T15" fmla="*/ 9 h 72"/>
                  <a:gd name="T16" fmla="*/ 126 w 126"/>
                  <a:gd name="T17" fmla="*/ 19 h 72"/>
                  <a:gd name="T18" fmla="*/ 108 w 126"/>
                  <a:gd name="T19" fmla="*/ 39 h 72"/>
                  <a:gd name="T20" fmla="*/ 85 w 126"/>
                  <a:gd name="T21" fmla="*/ 52 h 72"/>
                  <a:gd name="T22" fmla="*/ 73 w 126"/>
                  <a:gd name="T23" fmla="*/ 55 h 72"/>
                  <a:gd name="T24" fmla="*/ 52 w 126"/>
                  <a:gd name="T25" fmla="*/ 60 h 72"/>
                  <a:gd name="T26" fmla="*/ 51 w 126"/>
                  <a:gd name="T27" fmla="*/ 72 h 72"/>
                  <a:gd name="T28" fmla="*/ 9 w 126"/>
                  <a:gd name="T29" fmla="*/ 70 h 72"/>
                  <a:gd name="T30" fmla="*/ 0 w 126"/>
                  <a:gd name="T31" fmla="*/ 51 h 72"/>
                  <a:gd name="T32" fmla="*/ 25 w 126"/>
                  <a:gd name="T33" fmla="*/ 51 h 72"/>
                  <a:gd name="T34" fmla="*/ 34 w 126"/>
                  <a:gd name="T35" fmla="*/ 36 h 72"/>
                  <a:gd name="T36" fmla="*/ 28 w 126"/>
                  <a:gd name="T37" fmla="*/ 28 h 72"/>
                  <a:gd name="T38" fmla="*/ 22 w 126"/>
                  <a:gd name="T39" fmla="*/ 2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72">
                    <a:moveTo>
                      <a:pt x="10" y="15"/>
                    </a:moveTo>
                    <a:lnTo>
                      <a:pt x="22" y="7"/>
                    </a:lnTo>
                    <a:lnTo>
                      <a:pt x="40" y="15"/>
                    </a:lnTo>
                    <a:lnTo>
                      <a:pt x="48" y="7"/>
                    </a:lnTo>
                    <a:lnTo>
                      <a:pt x="58" y="0"/>
                    </a:lnTo>
                    <a:lnTo>
                      <a:pt x="84" y="9"/>
                    </a:lnTo>
                    <a:lnTo>
                      <a:pt x="108" y="6"/>
                    </a:lnTo>
                    <a:lnTo>
                      <a:pt x="124" y="9"/>
                    </a:lnTo>
                    <a:lnTo>
                      <a:pt x="126" y="19"/>
                    </a:lnTo>
                    <a:lnTo>
                      <a:pt x="108" y="39"/>
                    </a:lnTo>
                    <a:lnTo>
                      <a:pt x="85" y="52"/>
                    </a:lnTo>
                    <a:lnTo>
                      <a:pt x="73" y="55"/>
                    </a:lnTo>
                    <a:lnTo>
                      <a:pt x="52" y="60"/>
                    </a:lnTo>
                    <a:lnTo>
                      <a:pt x="51" y="72"/>
                    </a:lnTo>
                    <a:lnTo>
                      <a:pt x="9" y="70"/>
                    </a:lnTo>
                    <a:lnTo>
                      <a:pt x="0" y="51"/>
                    </a:lnTo>
                    <a:lnTo>
                      <a:pt x="25" y="51"/>
                    </a:lnTo>
                    <a:lnTo>
                      <a:pt x="34" y="36"/>
                    </a:lnTo>
                    <a:lnTo>
                      <a:pt x="28" y="28"/>
                    </a:lnTo>
                    <a:lnTo>
                      <a:pt x="22" y="25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3" name="Freeform 133">
                <a:extLst>
                  <a:ext uri="{FF2B5EF4-FFF2-40B4-BE49-F238E27FC236}">
                    <a16:creationId xmlns:a16="http://schemas.microsoft.com/office/drawing/2014/main" id="{AA22BE33-A874-46FC-890A-D06B48A51E36}"/>
                  </a:ext>
                </a:extLst>
              </p:cNvPr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gray">
              <a:xfrm>
                <a:off x="6248401" y="3446463"/>
                <a:ext cx="206375" cy="109538"/>
              </a:xfrm>
              <a:custGeom>
                <a:avLst/>
                <a:gdLst>
                  <a:gd name="T0" fmla="*/ 17 w 127"/>
                  <a:gd name="T1" fmla="*/ 1 h 69"/>
                  <a:gd name="T2" fmla="*/ 8 w 127"/>
                  <a:gd name="T3" fmla="*/ 16 h 69"/>
                  <a:gd name="T4" fmla="*/ 2 w 127"/>
                  <a:gd name="T5" fmla="*/ 25 h 69"/>
                  <a:gd name="T6" fmla="*/ 20 w 127"/>
                  <a:gd name="T7" fmla="*/ 29 h 69"/>
                  <a:gd name="T8" fmla="*/ 29 w 127"/>
                  <a:gd name="T9" fmla="*/ 38 h 69"/>
                  <a:gd name="T10" fmla="*/ 42 w 127"/>
                  <a:gd name="T11" fmla="*/ 41 h 69"/>
                  <a:gd name="T12" fmla="*/ 64 w 127"/>
                  <a:gd name="T13" fmla="*/ 53 h 69"/>
                  <a:gd name="T14" fmla="*/ 80 w 127"/>
                  <a:gd name="T15" fmla="*/ 61 h 69"/>
                  <a:gd name="T16" fmla="*/ 92 w 127"/>
                  <a:gd name="T17" fmla="*/ 59 h 69"/>
                  <a:gd name="T18" fmla="*/ 117 w 127"/>
                  <a:gd name="T19" fmla="*/ 67 h 69"/>
                  <a:gd name="T20" fmla="*/ 123 w 127"/>
                  <a:gd name="T21" fmla="*/ 47 h 69"/>
                  <a:gd name="T22" fmla="*/ 125 w 127"/>
                  <a:gd name="T23" fmla="*/ 37 h 69"/>
                  <a:gd name="T24" fmla="*/ 111 w 127"/>
                  <a:gd name="T25" fmla="*/ 37 h 69"/>
                  <a:gd name="T26" fmla="*/ 93 w 127"/>
                  <a:gd name="T27" fmla="*/ 29 h 69"/>
                  <a:gd name="T28" fmla="*/ 71 w 127"/>
                  <a:gd name="T29" fmla="*/ 19 h 69"/>
                  <a:gd name="T30" fmla="*/ 54 w 127"/>
                  <a:gd name="T31" fmla="*/ 11 h 69"/>
                  <a:gd name="T32" fmla="*/ 33 w 127"/>
                  <a:gd name="T33" fmla="*/ 2 h 69"/>
                  <a:gd name="T34" fmla="*/ 17 w 127"/>
                  <a:gd name="T35" fmla="*/ 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7" h="69">
                    <a:moveTo>
                      <a:pt x="17" y="1"/>
                    </a:moveTo>
                    <a:cubicBezTo>
                      <a:pt x="12" y="4"/>
                      <a:pt x="10" y="12"/>
                      <a:pt x="8" y="16"/>
                    </a:cubicBezTo>
                    <a:cubicBezTo>
                      <a:pt x="6" y="20"/>
                      <a:pt x="0" y="23"/>
                      <a:pt x="2" y="25"/>
                    </a:cubicBezTo>
                    <a:cubicBezTo>
                      <a:pt x="4" y="27"/>
                      <a:pt x="16" y="27"/>
                      <a:pt x="20" y="29"/>
                    </a:cubicBezTo>
                    <a:cubicBezTo>
                      <a:pt x="24" y="31"/>
                      <a:pt x="25" y="36"/>
                      <a:pt x="29" y="38"/>
                    </a:cubicBezTo>
                    <a:cubicBezTo>
                      <a:pt x="33" y="40"/>
                      <a:pt x="36" y="39"/>
                      <a:pt x="42" y="41"/>
                    </a:cubicBezTo>
                    <a:cubicBezTo>
                      <a:pt x="48" y="43"/>
                      <a:pt x="58" y="50"/>
                      <a:pt x="64" y="53"/>
                    </a:cubicBezTo>
                    <a:cubicBezTo>
                      <a:pt x="70" y="56"/>
                      <a:pt x="75" y="60"/>
                      <a:pt x="80" y="61"/>
                    </a:cubicBezTo>
                    <a:cubicBezTo>
                      <a:pt x="85" y="62"/>
                      <a:pt x="86" y="58"/>
                      <a:pt x="92" y="59"/>
                    </a:cubicBezTo>
                    <a:cubicBezTo>
                      <a:pt x="98" y="60"/>
                      <a:pt x="112" y="69"/>
                      <a:pt x="117" y="67"/>
                    </a:cubicBezTo>
                    <a:cubicBezTo>
                      <a:pt x="122" y="65"/>
                      <a:pt x="122" y="52"/>
                      <a:pt x="123" y="47"/>
                    </a:cubicBezTo>
                    <a:cubicBezTo>
                      <a:pt x="124" y="42"/>
                      <a:pt x="127" y="39"/>
                      <a:pt x="125" y="37"/>
                    </a:cubicBezTo>
                    <a:cubicBezTo>
                      <a:pt x="123" y="35"/>
                      <a:pt x="116" y="38"/>
                      <a:pt x="111" y="37"/>
                    </a:cubicBezTo>
                    <a:cubicBezTo>
                      <a:pt x="106" y="36"/>
                      <a:pt x="100" y="32"/>
                      <a:pt x="93" y="29"/>
                    </a:cubicBezTo>
                    <a:cubicBezTo>
                      <a:pt x="86" y="26"/>
                      <a:pt x="77" y="22"/>
                      <a:pt x="71" y="19"/>
                    </a:cubicBezTo>
                    <a:cubicBezTo>
                      <a:pt x="65" y="16"/>
                      <a:pt x="60" y="14"/>
                      <a:pt x="54" y="11"/>
                    </a:cubicBezTo>
                    <a:cubicBezTo>
                      <a:pt x="48" y="8"/>
                      <a:pt x="39" y="4"/>
                      <a:pt x="33" y="2"/>
                    </a:cubicBezTo>
                    <a:cubicBezTo>
                      <a:pt x="27" y="0"/>
                      <a:pt x="20" y="1"/>
                      <a:pt x="17" y="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4" name="Freeform 134">
                <a:extLst>
                  <a:ext uri="{FF2B5EF4-FFF2-40B4-BE49-F238E27FC236}">
                    <a16:creationId xmlns:a16="http://schemas.microsoft.com/office/drawing/2014/main" id="{01FC1C62-F15D-4742-A545-40A6D0BB6441}"/>
                  </a:ext>
                </a:extLst>
              </p:cNvPr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gray">
              <a:xfrm>
                <a:off x="6088063" y="2697163"/>
                <a:ext cx="1493838" cy="1057275"/>
              </a:xfrm>
              <a:custGeom>
                <a:avLst/>
                <a:gdLst>
                  <a:gd name="T0" fmla="*/ 637 w 926"/>
                  <a:gd name="T1" fmla="*/ 140 h 666"/>
                  <a:gd name="T2" fmla="*/ 682 w 926"/>
                  <a:gd name="T3" fmla="*/ 137 h 666"/>
                  <a:gd name="T4" fmla="*/ 642 w 926"/>
                  <a:gd name="T5" fmla="*/ 170 h 666"/>
                  <a:gd name="T6" fmla="*/ 603 w 926"/>
                  <a:gd name="T7" fmla="*/ 201 h 666"/>
                  <a:gd name="T8" fmla="*/ 571 w 926"/>
                  <a:gd name="T9" fmla="*/ 213 h 666"/>
                  <a:gd name="T10" fmla="*/ 531 w 926"/>
                  <a:gd name="T11" fmla="*/ 243 h 666"/>
                  <a:gd name="T12" fmla="*/ 474 w 926"/>
                  <a:gd name="T13" fmla="*/ 264 h 666"/>
                  <a:gd name="T14" fmla="*/ 418 w 926"/>
                  <a:gd name="T15" fmla="*/ 243 h 666"/>
                  <a:gd name="T16" fmla="*/ 331 w 926"/>
                  <a:gd name="T17" fmla="*/ 219 h 666"/>
                  <a:gd name="T18" fmla="*/ 294 w 926"/>
                  <a:gd name="T19" fmla="*/ 197 h 666"/>
                  <a:gd name="T20" fmla="*/ 268 w 926"/>
                  <a:gd name="T21" fmla="*/ 155 h 666"/>
                  <a:gd name="T22" fmla="*/ 232 w 926"/>
                  <a:gd name="T23" fmla="*/ 117 h 666"/>
                  <a:gd name="T24" fmla="*/ 195 w 926"/>
                  <a:gd name="T25" fmla="*/ 156 h 666"/>
                  <a:gd name="T26" fmla="*/ 141 w 926"/>
                  <a:gd name="T27" fmla="*/ 179 h 666"/>
                  <a:gd name="T28" fmla="*/ 111 w 926"/>
                  <a:gd name="T29" fmla="*/ 194 h 666"/>
                  <a:gd name="T30" fmla="*/ 120 w 926"/>
                  <a:gd name="T31" fmla="*/ 249 h 666"/>
                  <a:gd name="T32" fmla="*/ 70 w 926"/>
                  <a:gd name="T33" fmla="*/ 272 h 666"/>
                  <a:gd name="T34" fmla="*/ 25 w 926"/>
                  <a:gd name="T35" fmla="*/ 287 h 666"/>
                  <a:gd name="T36" fmla="*/ 16 w 926"/>
                  <a:gd name="T37" fmla="*/ 327 h 666"/>
                  <a:gd name="T38" fmla="*/ 64 w 926"/>
                  <a:gd name="T39" fmla="*/ 374 h 666"/>
                  <a:gd name="T40" fmla="*/ 103 w 926"/>
                  <a:gd name="T41" fmla="*/ 396 h 666"/>
                  <a:gd name="T42" fmla="*/ 87 w 926"/>
                  <a:gd name="T43" fmla="*/ 437 h 666"/>
                  <a:gd name="T44" fmla="*/ 129 w 926"/>
                  <a:gd name="T45" fmla="*/ 474 h 666"/>
                  <a:gd name="T46" fmla="*/ 227 w 926"/>
                  <a:gd name="T47" fmla="*/ 503 h 666"/>
                  <a:gd name="T48" fmla="*/ 298 w 926"/>
                  <a:gd name="T49" fmla="*/ 498 h 666"/>
                  <a:gd name="T50" fmla="*/ 367 w 926"/>
                  <a:gd name="T51" fmla="*/ 498 h 666"/>
                  <a:gd name="T52" fmla="*/ 369 w 926"/>
                  <a:gd name="T53" fmla="*/ 578 h 666"/>
                  <a:gd name="T54" fmla="*/ 405 w 926"/>
                  <a:gd name="T55" fmla="*/ 615 h 666"/>
                  <a:gd name="T56" fmla="*/ 459 w 926"/>
                  <a:gd name="T57" fmla="*/ 600 h 666"/>
                  <a:gd name="T58" fmla="*/ 514 w 926"/>
                  <a:gd name="T59" fmla="*/ 618 h 666"/>
                  <a:gd name="T60" fmla="*/ 532 w 926"/>
                  <a:gd name="T61" fmla="*/ 665 h 666"/>
                  <a:gd name="T62" fmla="*/ 568 w 926"/>
                  <a:gd name="T63" fmla="*/ 624 h 666"/>
                  <a:gd name="T64" fmla="*/ 607 w 926"/>
                  <a:gd name="T65" fmla="*/ 606 h 666"/>
                  <a:gd name="T66" fmla="*/ 696 w 926"/>
                  <a:gd name="T67" fmla="*/ 537 h 666"/>
                  <a:gd name="T68" fmla="*/ 724 w 926"/>
                  <a:gd name="T69" fmla="*/ 456 h 666"/>
                  <a:gd name="T70" fmla="*/ 690 w 926"/>
                  <a:gd name="T71" fmla="*/ 392 h 666"/>
                  <a:gd name="T72" fmla="*/ 700 w 926"/>
                  <a:gd name="T73" fmla="*/ 347 h 666"/>
                  <a:gd name="T74" fmla="*/ 660 w 926"/>
                  <a:gd name="T75" fmla="*/ 314 h 666"/>
                  <a:gd name="T76" fmla="*/ 729 w 926"/>
                  <a:gd name="T77" fmla="*/ 279 h 666"/>
                  <a:gd name="T78" fmla="*/ 747 w 926"/>
                  <a:gd name="T79" fmla="*/ 296 h 666"/>
                  <a:gd name="T80" fmla="*/ 795 w 926"/>
                  <a:gd name="T81" fmla="*/ 264 h 666"/>
                  <a:gd name="T82" fmla="*/ 841 w 926"/>
                  <a:gd name="T83" fmla="*/ 236 h 666"/>
                  <a:gd name="T84" fmla="*/ 868 w 926"/>
                  <a:gd name="T85" fmla="*/ 197 h 666"/>
                  <a:gd name="T86" fmla="*/ 915 w 926"/>
                  <a:gd name="T87" fmla="*/ 153 h 666"/>
                  <a:gd name="T88" fmla="*/ 858 w 926"/>
                  <a:gd name="T89" fmla="*/ 128 h 666"/>
                  <a:gd name="T90" fmla="*/ 807 w 926"/>
                  <a:gd name="T91" fmla="*/ 59 h 666"/>
                  <a:gd name="T92" fmla="*/ 700 w 926"/>
                  <a:gd name="T93" fmla="*/ 14 h 666"/>
                  <a:gd name="T94" fmla="*/ 691 w 926"/>
                  <a:gd name="T95" fmla="*/ 87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26" h="666">
                    <a:moveTo>
                      <a:pt x="640" y="99"/>
                    </a:moveTo>
                    <a:cubicBezTo>
                      <a:pt x="637" y="101"/>
                      <a:pt x="635" y="112"/>
                      <a:pt x="634" y="116"/>
                    </a:cubicBezTo>
                    <a:cubicBezTo>
                      <a:pt x="633" y="120"/>
                      <a:pt x="636" y="122"/>
                      <a:pt x="636" y="126"/>
                    </a:cubicBezTo>
                    <a:cubicBezTo>
                      <a:pt x="636" y="130"/>
                      <a:pt x="636" y="139"/>
                      <a:pt x="637" y="140"/>
                    </a:cubicBezTo>
                    <a:cubicBezTo>
                      <a:pt x="638" y="141"/>
                      <a:pt x="641" y="132"/>
                      <a:pt x="645" y="132"/>
                    </a:cubicBezTo>
                    <a:cubicBezTo>
                      <a:pt x="649" y="132"/>
                      <a:pt x="657" y="142"/>
                      <a:pt x="661" y="141"/>
                    </a:cubicBezTo>
                    <a:cubicBezTo>
                      <a:pt x="665" y="140"/>
                      <a:pt x="667" y="129"/>
                      <a:pt x="670" y="128"/>
                    </a:cubicBezTo>
                    <a:cubicBezTo>
                      <a:pt x="673" y="127"/>
                      <a:pt x="679" y="132"/>
                      <a:pt x="682" y="137"/>
                    </a:cubicBezTo>
                    <a:cubicBezTo>
                      <a:pt x="685" y="142"/>
                      <a:pt x="694" y="154"/>
                      <a:pt x="691" y="158"/>
                    </a:cubicBezTo>
                    <a:cubicBezTo>
                      <a:pt x="688" y="162"/>
                      <a:pt x="672" y="160"/>
                      <a:pt x="666" y="161"/>
                    </a:cubicBezTo>
                    <a:cubicBezTo>
                      <a:pt x="660" y="162"/>
                      <a:pt x="658" y="163"/>
                      <a:pt x="654" y="164"/>
                    </a:cubicBezTo>
                    <a:cubicBezTo>
                      <a:pt x="650" y="165"/>
                      <a:pt x="645" y="167"/>
                      <a:pt x="642" y="170"/>
                    </a:cubicBezTo>
                    <a:cubicBezTo>
                      <a:pt x="639" y="173"/>
                      <a:pt x="638" y="182"/>
                      <a:pt x="634" y="185"/>
                    </a:cubicBezTo>
                    <a:cubicBezTo>
                      <a:pt x="630" y="188"/>
                      <a:pt x="624" y="185"/>
                      <a:pt x="621" y="186"/>
                    </a:cubicBezTo>
                    <a:cubicBezTo>
                      <a:pt x="618" y="187"/>
                      <a:pt x="616" y="192"/>
                      <a:pt x="613" y="194"/>
                    </a:cubicBezTo>
                    <a:cubicBezTo>
                      <a:pt x="610" y="196"/>
                      <a:pt x="607" y="201"/>
                      <a:pt x="603" y="201"/>
                    </a:cubicBezTo>
                    <a:cubicBezTo>
                      <a:pt x="599" y="201"/>
                      <a:pt x="593" y="196"/>
                      <a:pt x="589" y="195"/>
                    </a:cubicBezTo>
                    <a:cubicBezTo>
                      <a:pt x="585" y="194"/>
                      <a:pt x="579" y="191"/>
                      <a:pt x="576" y="192"/>
                    </a:cubicBezTo>
                    <a:cubicBezTo>
                      <a:pt x="573" y="193"/>
                      <a:pt x="571" y="197"/>
                      <a:pt x="570" y="200"/>
                    </a:cubicBezTo>
                    <a:cubicBezTo>
                      <a:pt x="569" y="203"/>
                      <a:pt x="571" y="208"/>
                      <a:pt x="571" y="213"/>
                    </a:cubicBezTo>
                    <a:cubicBezTo>
                      <a:pt x="571" y="218"/>
                      <a:pt x="570" y="224"/>
                      <a:pt x="568" y="228"/>
                    </a:cubicBezTo>
                    <a:cubicBezTo>
                      <a:pt x="566" y="232"/>
                      <a:pt x="563" y="233"/>
                      <a:pt x="559" y="236"/>
                    </a:cubicBezTo>
                    <a:cubicBezTo>
                      <a:pt x="555" y="239"/>
                      <a:pt x="549" y="245"/>
                      <a:pt x="544" y="246"/>
                    </a:cubicBezTo>
                    <a:cubicBezTo>
                      <a:pt x="539" y="247"/>
                      <a:pt x="536" y="242"/>
                      <a:pt x="531" y="243"/>
                    </a:cubicBezTo>
                    <a:cubicBezTo>
                      <a:pt x="526" y="244"/>
                      <a:pt x="521" y="248"/>
                      <a:pt x="516" y="249"/>
                    </a:cubicBezTo>
                    <a:cubicBezTo>
                      <a:pt x="511" y="250"/>
                      <a:pt x="503" y="248"/>
                      <a:pt x="498" y="249"/>
                    </a:cubicBezTo>
                    <a:cubicBezTo>
                      <a:pt x="493" y="250"/>
                      <a:pt x="490" y="252"/>
                      <a:pt x="486" y="255"/>
                    </a:cubicBezTo>
                    <a:cubicBezTo>
                      <a:pt x="482" y="258"/>
                      <a:pt x="479" y="263"/>
                      <a:pt x="474" y="264"/>
                    </a:cubicBezTo>
                    <a:cubicBezTo>
                      <a:pt x="469" y="265"/>
                      <a:pt x="462" y="262"/>
                      <a:pt x="457" y="261"/>
                    </a:cubicBezTo>
                    <a:cubicBezTo>
                      <a:pt x="452" y="260"/>
                      <a:pt x="448" y="257"/>
                      <a:pt x="444" y="255"/>
                    </a:cubicBezTo>
                    <a:cubicBezTo>
                      <a:pt x="440" y="253"/>
                      <a:pt x="439" y="248"/>
                      <a:pt x="435" y="246"/>
                    </a:cubicBezTo>
                    <a:cubicBezTo>
                      <a:pt x="431" y="244"/>
                      <a:pt x="424" y="243"/>
                      <a:pt x="418" y="243"/>
                    </a:cubicBezTo>
                    <a:cubicBezTo>
                      <a:pt x="412" y="243"/>
                      <a:pt x="409" y="243"/>
                      <a:pt x="400" y="243"/>
                    </a:cubicBezTo>
                    <a:cubicBezTo>
                      <a:pt x="391" y="243"/>
                      <a:pt x="372" y="244"/>
                      <a:pt x="364" y="243"/>
                    </a:cubicBezTo>
                    <a:cubicBezTo>
                      <a:pt x="356" y="242"/>
                      <a:pt x="357" y="243"/>
                      <a:pt x="352" y="239"/>
                    </a:cubicBezTo>
                    <a:cubicBezTo>
                      <a:pt x="347" y="235"/>
                      <a:pt x="334" y="224"/>
                      <a:pt x="331" y="219"/>
                    </a:cubicBezTo>
                    <a:cubicBezTo>
                      <a:pt x="328" y="214"/>
                      <a:pt x="336" y="208"/>
                      <a:pt x="334" y="206"/>
                    </a:cubicBezTo>
                    <a:cubicBezTo>
                      <a:pt x="332" y="204"/>
                      <a:pt x="324" y="208"/>
                      <a:pt x="321" y="206"/>
                    </a:cubicBezTo>
                    <a:cubicBezTo>
                      <a:pt x="318" y="204"/>
                      <a:pt x="316" y="196"/>
                      <a:pt x="312" y="195"/>
                    </a:cubicBezTo>
                    <a:cubicBezTo>
                      <a:pt x="308" y="194"/>
                      <a:pt x="299" y="198"/>
                      <a:pt x="294" y="197"/>
                    </a:cubicBezTo>
                    <a:cubicBezTo>
                      <a:pt x="289" y="196"/>
                      <a:pt x="286" y="192"/>
                      <a:pt x="282" y="191"/>
                    </a:cubicBezTo>
                    <a:cubicBezTo>
                      <a:pt x="278" y="190"/>
                      <a:pt x="272" y="194"/>
                      <a:pt x="270" y="191"/>
                    </a:cubicBezTo>
                    <a:cubicBezTo>
                      <a:pt x="268" y="188"/>
                      <a:pt x="267" y="179"/>
                      <a:pt x="267" y="173"/>
                    </a:cubicBezTo>
                    <a:cubicBezTo>
                      <a:pt x="267" y="167"/>
                      <a:pt x="269" y="160"/>
                      <a:pt x="268" y="155"/>
                    </a:cubicBezTo>
                    <a:cubicBezTo>
                      <a:pt x="267" y="150"/>
                      <a:pt x="264" y="147"/>
                      <a:pt x="261" y="143"/>
                    </a:cubicBezTo>
                    <a:cubicBezTo>
                      <a:pt x="258" y="139"/>
                      <a:pt x="256" y="131"/>
                      <a:pt x="252" y="129"/>
                    </a:cubicBezTo>
                    <a:cubicBezTo>
                      <a:pt x="248" y="127"/>
                      <a:pt x="241" y="131"/>
                      <a:pt x="238" y="129"/>
                    </a:cubicBezTo>
                    <a:cubicBezTo>
                      <a:pt x="235" y="127"/>
                      <a:pt x="234" y="120"/>
                      <a:pt x="232" y="117"/>
                    </a:cubicBezTo>
                    <a:cubicBezTo>
                      <a:pt x="230" y="114"/>
                      <a:pt x="227" y="108"/>
                      <a:pt x="223" y="108"/>
                    </a:cubicBezTo>
                    <a:cubicBezTo>
                      <a:pt x="219" y="108"/>
                      <a:pt x="215" y="117"/>
                      <a:pt x="210" y="120"/>
                    </a:cubicBezTo>
                    <a:cubicBezTo>
                      <a:pt x="205" y="123"/>
                      <a:pt x="194" y="119"/>
                      <a:pt x="192" y="125"/>
                    </a:cubicBezTo>
                    <a:cubicBezTo>
                      <a:pt x="190" y="131"/>
                      <a:pt x="197" y="152"/>
                      <a:pt x="195" y="156"/>
                    </a:cubicBezTo>
                    <a:cubicBezTo>
                      <a:pt x="193" y="160"/>
                      <a:pt x="186" y="150"/>
                      <a:pt x="180" y="149"/>
                    </a:cubicBezTo>
                    <a:cubicBezTo>
                      <a:pt x="174" y="148"/>
                      <a:pt x="165" y="149"/>
                      <a:pt x="160" y="150"/>
                    </a:cubicBezTo>
                    <a:cubicBezTo>
                      <a:pt x="155" y="151"/>
                      <a:pt x="151" y="148"/>
                      <a:pt x="148" y="153"/>
                    </a:cubicBezTo>
                    <a:cubicBezTo>
                      <a:pt x="145" y="158"/>
                      <a:pt x="142" y="171"/>
                      <a:pt x="141" y="179"/>
                    </a:cubicBezTo>
                    <a:cubicBezTo>
                      <a:pt x="140" y="187"/>
                      <a:pt x="146" y="202"/>
                      <a:pt x="145" y="203"/>
                    </a:cubicBezTo>
                    <a:cubicBezTo>
                      <a:pt x="144" y="204"/>
                      <a:pt x="138" y="188"/>
                      <a:pt x="136" y="186"/>
                    </a:cubicBezTo>
                    <a:cubicBezTo>
                      <a:pt x="134" y="184"/>
                      <a:pt x="136" y="188"/>
                      <a:pt x="132" y="189"/>
                    </a:cubicBezTo>
                    <a:cubicBezTo>
                      <a:pt x="128" y="190"/>
                      <a:pt x="115" y="192"/>
                      <a:pt x="111" y="194"/>
                    </a:cubicBezTo>
                    <a:cubicBezTo>
                      <a:pt x="107" y="196"/>
                      <a:pt x="107" y="198"/>
                      <a:pt x="108" y="204"/>
                    </a:cubicBezTo>
                    <a:cubicBezTo>
                      <a:pt x="109" y="210"/>
                      <a:pt x="118" y="228"/>
                      <a:pt x="118" y="233"/>
                    </a:cubicBezTo>
                    <a:cubicBezTo>
                      <a:pt x="118" y="238"/>
                      <a:pt x="109" y="234"/>
                      <a:pt x="109" y="237"/>
                    </a:cubicBezTo>
                    <a:cubicBezTo>
                      <a:pt x="109" y="240"/>
                      <a:pt x="120" y="246"/>
                      <a:pt x="120" y="249"/>
                    </a:cubicBezTo>
                    <a:cubicBezTo>
                      <a:pt x="120" y="252"/>
                      <a:pt x="116" y="256"/>
                      <a:pt x="111" y="258"/>
                    </a:cubicBezTo>
                    <a:cubicBezTo>
                      <a:pt x="106" y="260"/>
                      <a:pt x="96" y="262"/>
                      <a:pt x="91" y="264"/>
                    </a:cubicBezTo>
                    <a:cubicBezTo>
                      <a:pt x="86" y="266"/>
                      <a:pt x="84" y="268"/>
                      <a:pt x="81" y="269"/>
                    </a:cubicBezTo>
                    <a:cubicBezTo>
                      <a:pt x="78" y="270"/>
                      <a:pt x="74" y="271"/>
                      <a:pt x="70" y="272"/>
                    </a:cubicBezTo>
                    <a:cubicBezTo>
                      <a:pt x="66" y="273"/>
                      <a:pt x="61" y="273"/>
                      <a:pt x="57" y="276"/>
                    </a:cubicBezTo>
                    <a:cubicBezTo>
                      <a:pt x="53" y="279"/>
                      <a:pt x="51" y="288"/>
                      <a:pt x="48" y="290"/>
                    </a:cubicBezTo>
                    <a:cubicBezTo>
                      <a:pt x="45" y="292"/>
                      <a:pt x="40" y="287"/>
                      <a:pt x="36" y="287"/>
                    </a:cubicBezTo>
                    <a:cubicBezTo>
                      <a:pt x="32" y="287"/>
                      <a:pt x="30" y="285"/>
                      <a:pt x="25" y="287"/>
                    </a:cubicBezTo>
                    <a:cubicBezTo>
                      <a:pt x="20" y="289"/>
                      <a:pt x="6" y="295"/>
                      <a:pt x="3" y="299"/>
                    </a:cubicBezTo>
                    <a:cubicBezTo>
                      <a:pt x="0" y="303"/>
                      <a:pt x="7" y="307"/>
                      <a:pt x="7" y="311"/>
                    </a:cubicBezTo>
                    <a:cubicBezTo>
                      <a:pt x="7" y="315"/>
                      <a:pt x="2" y="318"/>
                      <a:pt x="4" y="321"/>
                    </a:cubicBezTo>
                    <a:cubicBezTo>
                      <a:pt x="6" y="324"/>
                      <a:pt x="12" y="325"/>
                      <a:pt x="16" y="327"/>
                    </a:cubicBezTo>
                    <a:cubicBezTo>
                      <a:pt x="20" y="329"/>
                      <a:pt x="27" y="330"/>
                      <a:pt x="30" y="335"/>
                    </a:cubicBezTo>
                    <a:cubicBezTo>
                      <a:pt x="33" y="340"/>
                      <a:pt x="33" y="351"/>
                      <a:pt x="37" y="356"/>
                    </a:cubicBezTo>
                    <a:cubicBezTo>
                      <a:pt x="41" y="361"/>
                      <a:pt x="51" y="360"/>
                      <a:pt x="55" y="363"/>
                    </a:cubicBezTo>
                    <a:cubicBezTo>
                      <a:pt x="59" y="366"/>
                      <a:pt x="58" y="373"/>
                      <a:pt x="64" y="374"/>
                    </a:cubicBezTo>
                    <a:cubicBezTo>
                      <a:pt x="70" y="375"/>
                      <a:pt x="84" y="372"/>
                      <a:pt x="89" y="371"/>
                    </a:cubicBezTo>
                    <a:cubicBezTo>
                      <a:pt x="94" y="370"/>
                      <a:pt x="94" y="365"/>
                      <a:pt x="97" y="366"/>
                    </a:cubicBezTo>
                    <a:cubicBezTo>
                      <a:pt x="100" y="367"/>
                      <a:pt x="105" y="375"/>
                      <a:pt x="106" y="380"/>
                    </a:cubicBezTo>
                    <a:cubicBezTo>
                      <a:pt x="107" y="385"/>
                      <a:pt x="105" y="391"/>
                      <a:pt x="103" y="396"/>
                    </a:cubicBezTo>
                    <a:cubicBezTo>
                      <a:pt x="101" y="401"/>
                      <a:pt x="92" y="409"/>
                      <a:pt x="91" y="413"/>
                    </a:cubicBezTo>
                    <a:cubicBezTo>
                      <a:pt x="90" y="417"/>
                      <a:pt x="96" y="416"/>
                      <a:pt x="97" y="419"/>
                    </a:cubicBezTo>
                    <a:cubicBezTo>
                      <a:pt x="98" y="422"/>
                      <a:pt x="101" y="426"/>
                      <a:pt x="99" y="429"/>
                    </a:cubicBezTo>
                    <a:cubicBezTo>
                      <a:pt x="97" y="432"/>
                      <a:pt x="88" y="433"/>
                      <a:pt x="87" y="437"/>
                    </a:cubicBezTo>
                    <a:cubicBezTo>
                      <a:pt x="86" y="441"/>
                      <a:pt x="88" y="448"/>
                      <a:pt x="90" y="452"/>
                    </a:cubicBezTo>
                    <a:cubicBezTo>
                      <a:pt x="92" y="456"/>
                      <a:pt x="94" y="458"/>
                      <a:pt x="99" y="462"/>
                    </a:cubicBezTo>
                    <a:cubicBezTo>
                      <a:pt x="104" y="466"/>
                      <a:pt x="113" y="471"/>
                      <a:pt x="118" y="473"/>
                    </a:cubicBezTo>
                    <a:cubicBezTo>
                      <a:pt x="123" y="475"/>
                      <a:pt x="124" y="472"/>
                      <a:pt x="129" y="474"/>
                    </a:cubicBezTo>
                    <a:cubicBezTo>
                      <a:pt x="134" y="476"/>
                      <a:pt x="136" y="478"/>
                      <a:pt x="148" y="483"/>
                    </a:cubicBezTo>
                    <a:cubicBezTo>
                      <a:pt x="160" y="488"/>
                      <a:pt x="192" y="500"/>
                      <a:pt x="203" y="504"/>
                    </a:cubicBezTo>
                    <a:cubicBezTo>
                      <a:pt x="214" y="508"/>
                      <a:pt x="213" y="510"/>
                      <a:pt x="217" y="510"/>
                    </a:cubicBezTo>
                    <a:cubicBezTo>
                      <a:pt x="221" y="510"/>
                      <a:pt x="222" y="504"/>
                      <a:pt x="227" y="503"/>
                    </a:cubicBezTo>
                    <a:cubicBezTo>
                      <a:pt x="232" y="502"/>
                      <a:pt x="242" y="506"/>
                      <a:pt x="249" y="506"/>
                    </a:cubicBezTo>
                    <a:cubicBezTo>
                      <a:pt x="256" y="506"/>
                      <a:pt x="263" y="504"/>
                      <a:pt x="268" y="506"/>
                    </a:cubicBezTo>
                    <a:cubicBezTo>
                      <a:pt x="273" y="508"/>
                      <a:pt x="274" y="517"/>
                      <a:pt x="279" y="516"/>
                    </a:cubicBezTo>
                    <a:cubicBezTo>
                      <a:pt x="284" y="515"/>
                      <a:pt x="291" y="502"/>
                      <a:pt x="298" y="498"/>
                    </a:cubicBezTo>
                    <a:cubicBezTo>
                      <a:pt x="305" y="494"/>
                      <a:pt x="314" y="494"/>
                      <a:pt x="319" y="492"/>
                    </a:cubicBezTo>
                    <a:cubicBezTo>
                      <a:pt x="324" y="490"/>
                      <a:pt x="324" y="488"/>
                      <a:pt x="328" y="488"/>
                    </a:cubicBezTo>
                    <a:cubicBezTo>
                      <a:pt x="332" y="488"/>
                      <a:pt x="339" y="490"/>
                      <a:pt x="345" y="492"/>
                    </a:cubicBezTo>
                    <a:cubicBezTo>
                      <a:pt x="351" y="494"/>
                      <a:pt x="361" y="494"/>
                      <a:pt x="367" y="498"/>
                    </a:cubicBezTo>
                    <a:cubicBezTo>
                      <a:pt x="373" y="502"/>
                      <a:pt x="378" y="508"/>
                      <a:pt x="381" y="516"/>
                    </a:cubicBezTo>
                    <a:cubicBezTo>
                      <a:pt x="384" y="524"/>
                      <a:pt x="386" y="539"/>
                      <a:pt x="384" y="546"/>
                    </a:cubicBezTo>
                    <a:cubicBezTo>
                      <a:pt x="382" y="553"/>
                      <a:pt x="371" y="556"/>
                      <a:pt x="369" y="561"/>
                    </a:cubicBezTo>
                    <a:cubicBezTo>
                      <a:pt x="367" y="566"/>
                      <a:pt x="367" y="576"/>
                      <a:pt x="369" y="578"/>
                    </a:cubicBezTo>
                    <a:cubicBezTo>
                      <a:pt x="371" y="580"/>
                      <a:pt x="376" y="571"/>
                      <a:pt x="379" y="573"/>
                    </a:cubicBezTo>
                    <a:cubicBezTo>
                      <a:pt x="382" y="575"/>
                      <a:pt x="385" y="586"/>
                      <a:pt x="388" y="590"/>
                    </a:cubicBezTo>
                    <a:cubicBezTo>
                      <a:pt x="391" y="594"/>
                      <a:pt x="391" y="595"/>
                      <a:pt x="394" y="599"/>
                    </a:cubicBezTo>
                    <a:cubicBezTo>
                      <a:pt x="397" y="603"/>
                      <a:pt x="401" y="612"/>
                      <a:pt x="405" y="615"/>
                    </a:cubicBezTo>
                    <a:cubicBezTo>
                      <a:pt x="409" y="618"/>
                      <a:pt x="415" y="618"/>
                      <a:pt x="420" y="615"/>
                    </a:cubicBezTo>
                    <a:cubicBezTo>
                      <a:pt x="425" y="612"/>
                      <a:pt x="431" y="600"/>
                      <a:pt x="435" y="596"/>
                    </a:cubicBezTo>
                    <a:cubicBezTo>
                      <a:pt x="439" y="592"/>
                      <a:pt x="440" y="589"/>
                      <a:pt x="444" y="590"/>
                    </a:cubicBezTo>
                    <a:cubicBezTo>
                      <a:pt x="448" y="591"/>
                      <a:pt x="453" y="600"/>
                      <a:pt x="459" y="600"/>
                    </a:cubicBezTo>
                    <a:cubicBezTo>
                      <a:pt x="465" y="600"/>
                      <a:pt x="474" y="589"/>
                      <a:pt x="480" y="588"/>
                    </a:cubicBezTo>
                    <a:cubicBezTo>
                      <a:pt x="486" y="587"/>
                      <a:pt x="490" y="591"/>
                      <a:pt x="495" y="594"/>
                    </a:cubicBezTo>
                    <a:cubicBezTo>
                      <a:pt x="500" y="597"/>
                      <a:pt x="505" y="604"/>
                      <a:pt x="508" y="608"/>
                    </a:cubicBezTo>
                    <a:cubicBezTo>
                      <a:pt x="511" y="612"/>
                      <a:pt x="511" y="616"/>
                      <a:pt x="514" y="618"/>
                    </a:cubicBezTo>
                    <a:cubicBezTo>
                      <a:pt x="517" y="620"/>
                      <a:pt x="524" y="618"/>
                      <a:pt x="529" y="621"/>
                    </a:cubicBezTo>
                    <a:cubicBezTo>
                      <a:pt x="534" y="624"/>
                      <a:pt x="543" y="633"/>
                      <a:pt x="543" y="638"/>
                    </a:cubicBezTo>
                    <a:cubicBezTo>
                      <a:pt x="543" y="643"/>
                      <a:pt x="533" y="650"/>
                      <a:pt x="531" y="654"/>
                    </a:cubicBezTo>
                    <a:cubicBezTo>
                      <a:pt x="529" y="658"/>
                      <a:pt x="529" y="664"/>
                      <a:pt x="532" y="665"/>
                    </a:cubicBezTo>
                    <a:cubicBezTo>
                      <a:pt x="535" y="666"/>
                      <a:pt x="543" y="663"/>
                      <a:pt x="547" y="663"/>
                    </a:cubicBezTo>
                    <a:cubicBezTo>
                      <a:pt x="551" y="663"/>
                      <a:pt x="552" y="666"/>
                      <a:pt x="555" y="662"/>
                    </a:cubicBezTo>
                    <a:cubicBezTo>
                      <a:pt x="558" y="658"/>
                      <a:pt x="565" y="642"/>
                      <a:pt x="567" y="636"/>
                    </a:cubicBezTo>
                    <a:cubicBezTo>
                      <a:pt x="569" y="630"/>
                      <a:pt x="564" y="627"/>
                      <a:pt x="568" y="624"/>
                    </a:cubicBezTo>
                    <a:cubicBezTo>
                      <a:pt x="572" y="621"/>
                      <a:pt x="584" y="619"/>
                      <a:pt x="589" y="615"/>
                    </a:cubicBezTo>
                    <a:cubicBezTo>
                      <a:pt x="594" y="611"/>
                      <a:pt x="595" y="604"/>
                      <a:pt x="597" y="600"/>
                    </a:cubicBezTo>
                    <a:cubicBezTo>
                      <a:pt x="599" y="596"/>
                      <a:pt x="599" y="589"/>
                      <a:pt x="601" y="590"/>
                    </a:cubicBezTo>
                    <a:cubicBezTo>
                      <a:pt x="603" y="591"/>
                      <a:pt x="603" y="605"/>
                      <a:pt x="607" y="606"/>
                    </a:cubicBezTo>
                    <a:cubicBezTo>
                      <a:pt x="611" y="607"/>
                      <a:pt x="616" y="599"/>
                      <a:pt x="624" y="596"/>
                    </a:cubicBezTo>
                    <a:cubicBezTo>
                      <a:pt x="632" y="593"/>
                      <a:pt x="644" y="592"/>
                      <a:pt x="654" y="585"/>
                    </a:cubicBezTo>
                    <a:cubicBezTo>
                      <a:pt x="664" y="578"/>
                      <a:pt x="677" y="565"/>
                      <a:pt x="684" y="557"/>
                    </a:cubicBezTo>
                    <a:cubicBezTo>
                      <a:pt x="691" y="549"/>
                      <a:pt x="690" y="546"/>
                      <a:pt x="696" y="537"/>
                    </a:cubicBezTo>
                    <a:cubicBezTo>
                      <a:pt x="702" y="528"/>
                      <a:pt x="712" y="515"/>
                      <a:pt x="718" y="503"/>
                    </a:cubicBezTo>
                    <a:cubicBezTo>
                      <a:pt x="724" y="491"/>
                      <a:pt x="735" y="472"/>
                      <a:pt x="733" y="467"/>
                    </a:cubicBezTo>
                    <a:cubicBezTo>
                      <a:pt x="731" y="462"/>
                      <a:pt x="709" y="475"/>
                      <a:pt x="708" y="473"/>
                    </a:cubicBezTo>
                    <a:cubicBezTo>
                      <a:pt x="707" y="471"/>
                      <a:pt x="723" y="461"/>
                      <a:pt x="724" y="456"/>
                    </a:cubicBezTo>
                    <a:cubicBezTo>
                      <a:pt x="725" y="451"/>
                      <a:pt x="718" y="450"/>
                      <a:pt x="715" y="444"/>
                    </a:cubicBezTo>
                    <a:cubicBezTo>
                      <a:pt x="712" y="438"/>
                      <a:pt x="710" y="423"/>
                      <a:pt x="708" y="417"/>
                    </a:cubicBezTo>
                    <a:cubicBezTo>
                      <a:pt x="706" y="411"/>
                      <a:pt x="705" y="411"/>
                      <a:pt x="702" y="407"/>
                    </a:cubicBezTo>
                    <a:cubicBezTo>
                      <a:pt x="699" y="403"/>
                      <a:pt x="690" y="399"/>
                      <a:pt x="690" y="392"/>
                    </a:cubicBezTo>
                    <a:cubicBezTo>
                      <a:pt x="690" y="385"/>
                      <a:pt x="698" y="373"/>
                      <a:pt x="705" y="365"/>
                    </a:cubicBezTo>
                    <a:cubicBezTo>
                      <a:pt x="712" y="357"/>
                      <a:pt x="732" y="350"/>
                      <a:pt x="733" y="345"/>
                    </a:cubicBezTo>
                    <a:cubicBezTo>
                      <a:pt x="734" y="340"/>
                      <a:pt x="719" y="336"/>
                      <a:pt x="714" y="336"/>
                    </a:cubicBezTo>
                    <a:cubicBezTo>
                      <a:pt x="709" y="336"/>
                      <a:pt x="704" y="345"/>
                      <a:pt x="700" y="347"/>
                    </a:cubicBezTo>
                    <a:cubicBezTo>
                      <a:pt x="696" y="349"/>
                      <a:pt x="690" y="354"/>
                      <a:pt x="687" y="351"/>
                    </a:cubicBezTo>
                    <a:cubicBezTo>
                      <a:pt x="684" y="348"/>
                      <a:pt x="685" y="334"/>
                      <a:pt x="682" y="330"/>
                    </a:cubicBezTo>
                    <a:cubicBezTo>
                      <a:pt x="679" y="326"/>
                      <a:pt x="670" y="329"/>
                      <a:pt x="666" y="326"/>
                    </a:cubicBezTo>
                    <a:cubicBezTo>
                      <a:pt x="662" y="323"/>
                      <a:pt x="657" y="316"/>
                      <a:pt x="660" y="314"/>
                    </a:cubicBezTo>
                    <a:cubicBezTo>
                      <a:pt x="663" y="312"/>
                      <a:pt x="677" y="315"/>
                      <a:pt x="684" y="311"/>
                    </a:cubicBezTo>
                    <a:cubicBezTo>
                      <a:pt x="691" y="307"/>
                      <a:pt x="699" y="295"/>
                      <a:pt x="703" y="290"/>
                    </a:cubicBezTo>
                    <a:cubicBezTo>
                      <a:pt x="707" y="285"/>
                      <a:pt x="705" y="283"/>
                      <a:pt x="709" y="281"/>
                    </a:cubicBezTo>
                    <a:cubicBezTo>
                      <a:pt x="713" y="279"/>
                      <a:pt x="726" y="276"/>
                      <a:pt x="729" y="279"/>
                    </a:cubicBezTo>
                    <a:cubicBezTo>
                      <a:pt x="732" y="282"/>
                      <a:pt x="729" y="290"/>
                      <a:pt x="727" y="296"/>
                    </a:cubicBezTo>
                    <a:cubicBezTo>
                      <a:pt x="725" y="302"/>
                      <a:pt x="716" y="316"/>
                      <a:pt x="718" y="317"/>
                    </a:cubicBezTo>
                    <a:cubicBezTo>
                      <a:pt x="720" y="318"/>
                      <a:pt x="736" y="308"/>
                      <a:pt x="741" y="305"/>
                    </a:cubicBezTo>
                    <a:cubicBezTo>
                      <a:pt x="746" y="302"/>
                      <a:pt x="744" y="297"/>
                      <a:pt x="747" y="296"/>
                    </a:cubicBezTo>
                    <a:cubicBezTo>
                      <a:pt x="750" y="295"/>
                      <a:pt x="756" y="297"/>
                      <a:pt x="760" y="296"/>
                    </a:cubicBezTo>
                    <a:cubicBezTo>
                      <a:pt x="764" y="295"/>
                      <a:pt x="766" y="291"/>
                      <a:pt x="769" y="288"/>
                    </a:cubicBezTo>
                    <a:cubicBezTo>
                      <a:pt x="772" y="285"/>
                      <a:pt x="776" y="279"/>
                      <a:pt x="780" y="275"/>
                    </a:cubicBezTo>
                    <a:cubicBezTo>
                      <a:pt x="784" y="271"/>
                      <a:pt x="790" y="266"/>
                      <a:pt x="795" y="264"/>
                    </a:cubicBezTo>
                    <a:cubicBezTo>
                      <a:pt x="800" y="262"/>
                      <a:pt x="806" y="266"/>
                      <a:pt x="810" y="264"/>
                    </a:cubicBezTo>
                    <a:cubicBezTo>
                      <a:pt x="814" y="262"/>
                      <a:pt x="813" y="257"/>
                      <a:pt x="817" y="255"/>
                    </a:cubicBezTo>
                    <a:cubicBezTo>
                      <a:pt x="821" y="253"/>
                      <a:pt x="830" y="254"/>
                      <a:pt x="834" y="251"/>
                    </a:cubicBezTo>
                    <a:cubicBezTo>
                      <a:pt x="838" y="248"/>
                      <a:pt x="837" y="238"/>
                      <a:pt x="841" y="236"/>
                    </a:cubicBezTo>
                    <a:cubicBezTo>
                      <a:pt x="845" y="234"/>
                      <a:pt x="854" y="238"/>
                      <a:pt x="858" y="236"/>
                    </a:cubicBezTo>
                    <a:cubicBezTo>
                      <a:pt x="862" y="234"/>
                      <a:pt x="863" y="231"/>
                      <a:pt x="864" y="227"/>
                    </a:cubicBezTo>
                    <a:cubicBezTo>
                      <a:pt x="865" y="223"/>
                      <a:pt x="863" y="215"/>
                      <a:pt x="864" y="210"/>
                    </a:cubicBezTo>
                    <a:cubicBezTo>
                      <a:pt x="865" y="205"/>
                      <a:pt x="866" y="199"/>
                      <a:pt x="868" y="197"/>
                    </a:cubicBezTo>
                    <a:cubicBezTo>
                      <a:pt x="870" y="195"/>
                      <a:pt x="875" y="195"/>
                      <a:pt x="879" y="195"/>
                    </a:cubicBezTo>
                    <a:cubicBezTo>
                      <a:pt x="883" y="195"/>
                      <a:pt x="890" y="199"/>
                      <a:pt x="895" y="195"/>
                    </a:cubicBezTo>
                    <a:cubicBezTo>
                      <a:pt x="900" y="191"/>
                      <a:pt x="906" y="178"/>
                      <a:pt x="909" y="171"/>
                    </a:cubicBezTo>
                    <a:cubicBezTo>
                      <a:pt x="912" y="164"/>
                      <a:pt x="913" y="160"/>
                      <a:pt x="915" y="153"/>
                    </a:cubicBezTo>
                    <a:cubicBezTo>
                      <a:pt x="917" y="146"/>
                      <a:pt x="926" y="130"/>
                      <a:pt x="922" y="128"/>
                    </a:cubicBezTo>
                    <a:cubicBezTo>
                      <a:pt x="918" y="126"/>
                      <a:pt x="900" y="136"/>
                      <a:pt x="892" y="140"/>
                    </a:cubicBezTo>
                    <a:cubicBezTo>
                      <a:pt x="884" y="144"/>
                      <a:pt x="877" y="152"/>
                      <a:pt x="871" y="150"/>
                    </a:cubicBezTo>
                    <a:cubicBezTo>
                      <a:pt x="865" y="148"/>
                      <a:pt x="861" y="134"/>
                      <a:pt x="858" y="128"/>
                    </a:cubicBezTo>
                    <a:cubicBezTo>
                      <a:pt x="855" y="122"/>
                      <a:pt x="857" y="116"/>
                      <a:pt x="852" y="113"/>
                    </a:cubicBezTo>
                    <a:cubicBezTo>
                      <a:pt x="847" y="110"/>
                      <a:pt x="834" y="112"/>
                      <a:pt x="828" y="107"/>
                    </a:cubicBezTo>
                    <a:cubicBezTo>
                      <a:pt x="822" y="102"/>
                      <a:pt x="818" y="91"/>
                      <a:pt x="814" y="83"/>
                    </a:cubicBezTo>
                    <a:cubicBezTo>
                      <a:pt x="810" y="75"/>
                      <a:pt x="811" y="67"/>
                      <a:pt x="807" y="59"/>
                    </a:cubicBezTo>
                    <a:cubicBezTo>
                      <a:pt x="803" y="51"/>
                      <a:pt x="796" y="43"/>
                      <a:pt x="792" y="35"/>
                    </a:cubicBezTo>
                    <a:cubicBezTo>
                      <a:pt x="788" y="27"/>
                      <a:pt x="790" y="17"/>
                      <a:pt x="783" y="11"/>
                    </a:cubicBezTo>
                    <a:cubicBezTo>
                      <a:pt x="776" y="5"/>
                      <a:pt x="761" y="0"/>
                      <a:pt x="747" y="0"/>
                    </a:cubicBezTo>
                    <a:cubicBezTo>
                      <a:pt x="733" y="0"/>
                      <a:pt x="706" y="7"/>
                      <a:pt x="700" y="14"/>
                    </a:cubicBezTo>
                    <a:cubicBezTo>
                      <a:pt x="694" y="21"/>
                      <a:pt x="708" y="36"/>
                      <a:pt x="708" y="45"/>
                    </a:cubicBezTo>
                    <a:cubicBezTo>
                      <a:pt x="708" y="54"/>
                      <a:pt x="702" y="61"/>
                      <a:pt x="700" y="66"/>
                    </a:cubicBezTo>
                    <a:cubicBezTo>
                      <a:pt x="698" y="71"/>
                      <a:pt x="695" y="71"/>
                      <a:pt x="694" y="74"/>
                    </a:cubicBezTo>
                    <a:cubicBezTo>
                      <a:pt x="693" y="77"/>
                      <a:pt x="694" y="83"/>
                      <a:pt x="691" y="87"/>
                    </a:cubicBezTo>
                    <a:cubicBezTo>
                      <a:pt x="688" y="91"/>
                      <a:pt x="685" y="96"/>
                      <a:pt x="679" y="98"/>
                    </a:cubicBezTo>
                    <a:cubicBezTo>
                      <a:pt x="673" y="100"/>
                      <a:pt x="661" y="100"/>
                      <a:pt x="655" y="101"/>
                    </a:cubicBezTo>
                    <a:cubicBezTo>
                      <a:pt x="649" y="102"/>
                      <a:pt x="643" y="97"/>
                      <a:pt x="640" y="9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5" name="Freeform 135">
                <a:extLst>
                  <a:ext uri="{FF2B5EF4-FFF2-40B4-BE49-F238E27FC236}">
                    <a16:creationId xmlns:a16="http://schemas.microsoft.com/office/drawing/2014/main" id="{15380F47-77CD-4C23-B46D-0C463F2AA0D5}"/>
                  </a:ext>
                </a:extLst>
              </p:cNvPr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gray">
              <a:xfrm>
                <a:off x="6451601" y="2773363"/>
                <a:ext cx="760413" cy="346075"/>
              </a:xfrm>
              <a:custGeom>
                <a:avLst/>
                <a:gdLst>
                  <a:gd name="T0" fmla="*/ 4 w 472"/>
                  <a:gd name="T1" fmla="*/ 66 h 218"/>
                  <a:gd name="T2" fmla="*/ 7 w 472"/>
                  <a:gd name="T3" fmla="*/ 78 h 218"/>
                  <a:gd name="T4" fmla="*/ 28 w 472"/>
                  <a:gd name="T5" fmla="*/ 81 h 218"/>
                  <a:gd name="T6" fmla="*/ 45 w 472"/>
                  <a:gd name="T7" fmla="*/ 113 h 218"/>
                  <a:gd name="T8" fmla="*/ 43 w 472"/>
                  <a:gd name="T9" fmla="*/ 123 h 218"/>
                  <a:gd name="T10" fmla="*/ 40 w 472"/>
                  <a:gd name="T11" fmla="*/ 141 h 218"/>
                  <a:gd name="T12" fmla="*/ 57 w 472"/>
                  <a:gd name="T13" fmla="*/ 147 h 218"/>
                  <a:gd name="T14" fmla="*/ 88 w 472"/>
                  <a:gd name="T15" fmla="*/ 149 h 218"/>
                  <a:gd name="T16" fmla="*/ 103 w 472"/>
                  <a:gd name="T17" fmla="*/ 161 h 218"/>
                  <a:gd name="T18" fmla="*/ 118 w 472"/>
                  <a:gd name="T19" fmla="*/ 185 h 218"/>
                  <a:gd name="T20" fmla="*/ 133 w 472"/>
                  <a:gd name="T21" fmla="*/ 197 h 218"/>
                  <a:gd name="T22" fmla="*/ 156 w 472"/>
                  <a:gd name="T23" fmla="*/ 197 h 218"/>
                  <a:gd name="T24" fmla="*/ 199 w 472"/>
                  <a:gd name="T25" fmla="*/ 197 h 218"/>
                  <a:gd name="T26" fmla="*/ 238 w 472"/>
                  <a:gd name="T27" fmla="*/ 215 h 218"/>
                  <a:gd name="T28" fmla="*/ 252 w 472"/>
                  <a:gd name="T29" fmla="*/ 213 h 218"/>
                  <a:gd name="T30" fmla="*/ 271 w 472"/>
                  <a:gd name="T31" fmla="*/ 204 h 218"/>
                  <a:gd name="T32" fmla="*/ 282 w 472"/>
                  <a:gd name="T33" fmla="*/ 200 h 218"/>
                  <a:gd name="T34" fmla="*/ 297 w 472"/>
                  <a:gd name="T35" fmla="*/ 200 h 218"/>
                  <a:gd name="T36" fmla="*/ 322 w 472"/>
                  <a:gd name="T37" fmla="*/ 195 h 218"/>
                  <a:gd name="T38" fmla="*/ 342 w 472"/>
                  <a:gd name="T39" fmla="*/ 183 h 218"/>
                  <a:gd name="T40" fmla="*/ 349 w 472"/>
                  <a:gd name="T41" fmla="*/ 168 h 218"/>
                  <a:gd name="T42" fmla="*/ 349 w 472"/>
                  <a:gd name="T43" fmla="*/ 150 h 218"/>
                  <a:gd name="T44" fmla="*/ 354 w 472"/>
                  <a:gd name="T45" fmla="*/ 141 h 218"/>
                  <a:gd name="T46" fmla="*/ 385 w 472"/>
                  <a:gd name="T47" fmla="*/ 153 h 218"/>
                  <a:gd name="T48" fmla="*/ 393 w 472"/>
                  <a:gd name="T49" fmla="*/ 144 h 218"/>
                  <a:gd name="T50" fmla="*/ 400 w 472"/>
                  <a:gd name="T51" fmla="*/ 135 h 218"/>
                  <a:gd name="T52" fmla="*/ 417 w 472"/>
                  <a:gd name="T53" fmla="*/ 131 h 218"/>
                  <a:gd name="T54" fmla="*/ 430 w 472"/>
                  <a:gd name="T55" fmla="*/ 113 h 218"/>
                  <a:gd name="T56" fmla="*/ 469 w 472"/>
                  <a:gd name="T57" fmla="*/ 110 h 218"/>
                  <a:gd name="T58" fmla="*/ 451 w 472"/>
                  <a:gd name="T59" fmla="*/ 81 h 218"/>
                  <a:gd name="T60" fmla="*/ 436 w 472"/>
                  <a:gd name="T61" fmla="*/ 90 h 218"/>
                  <a:gd name="T62" fmla="*/ 420 w 472"/>
                  <a:gd name="T63" fmla="*/ 83 h 218"/>
                  <a:gd name="T64" fmla="*/ 412 w 472"/>
                  <a:gd name="T65" fmla="*/ 92 h 218"/>
                  <a:gd name="T66" fmla="*/ 415 w 472"/>
                  <a:gd name="T67" fmla="*/ 78 h 218"/>
                  <a:gd name="T68" fmla="*/ 408 w 472"/>
                  <a:gd name="T69" fmla="*/ 66 h 218"/>
                  <a:gd name="T70" fmla="*/ 418 w 472"/>
                  <a:gd name="T71" fmla="*/ 47 h 218"/>
                  <a:gd name="T72" fmla="*/ 403 w 472"/>
                  <a:gd name="T73" fmla="*/ 47 h 218"/>
                  <a:gd name="T74" fmla="*/ 391 w 472"/>
                  <a:gd name="T75" fmla="*/ 44 h 218"/>
                  <a:gd name="T76" fmla="*/ 352 w 472"/>
                  <a:gd name="T77" fmla="*/ 65 h 218"/>
                  <a:gd name="T78" fmla="*/ 334 w 472"/>
                  <a:gd name="T79" fmla="*/ 66 h 218"/>
                  <a:gd name="T80" fmla="*/ 316 w 472"/>
                  <a:gd name="T81" fmla="*/ 69 h 218"/>
                  <a:gd name="T82" fmla="*/ 303 w 472"/>
                  <a:gd name="T83" fmla="*/ 66 h 218"/>
                  <a:gd name="T84" fmla="*/ 294 w 472"/>
                  <a:gd name="T85" fmla="*/ 56 h 218"/>
                  <a:gd name="T86" fmla="*/ 286 w 472"/>
                  <a:gd name="T87" fmla="*/ 44 h 218"/>
                  <a:gd name="T88" fmla="*/ 267 w 472"/>
                  <a:gd name="T89" fmla="*/ 38 h 218"/>
                  <a:gd name="T90" fmla="*/ 226 w 472"/>
                  <a:gd name="T91" fmla="*/ 41 h 218"/>
                  <a:gd name="T92" fmla="*/ 207 w 472"/>
                  <a:gd name="T93" fmla="*/ 17 h 218"/>
                  <a:gd name="T94" fmla="*/ 162 w 472"/>
                  <a:gd name="T95" fmla="*/ 3 h 218"/>
                  <a:gd name="T96" fmla="*/ 148 w 472"/>
                  <a:gd name="T97" fmla="*/ 35 h 218"/>
                  <a:gd name="T98" fmla="*/ 147 w 472"/>
                  <a:gd name="T99" fmla="*/ 48 h 218"/>
                  <a:gd name="T100" fmla="*/ 142 w 472"/>
                  <a:gd name="T101" fmla="*/ 48 h 218"/>
                  <a:gd name="T102" fmla="*/ 136 w 472"/>
                  <a:gd name="T103" fmla="*/ 56 h 218"/>
                  <a:gd name="T104" fmla="*/ 112 w 472"/>
                  <a:gd name="T105" fmla="*/ 53 h 218"/>
                  <a:gd name="T106" fmla="*/ 100 w 472"/>
                  <a:gd name="T107" fmla="*/ 47 h 218"/>
                  <a:gd name="T108" fmla="*/ 85 w 472"/>
                  <a:gd name="T109" fmla="*/ 36 h 218"/>
                  <a:gd name="T110" fmla="*/ 73 w 472"/>
                  <a:gd name="T111" fmla="*/ 30 h 218"/>
                  <a:gd name="T112" fmla="*/ 55 w 472"/>
                  <a:gd name="T113" fmla="*/ 29 h 218"/>
                  <a:gd name="T114" fmla="*/ 42 w 472"/>
                  <a:gd name="T115" fmla="*/ 37 h 218"/>
                  <a:gd name="T116" fmla="*/ 33 w 472"/>
                  <a:gd name="T117" fmla="*/ 47 h 218"/>
                  <a:gd name="T118" fmla="*/ 16 w 472"/>
                  <a:gd name="T119" fmla="*/ 54 h 218"/>
                  <a:gd name="T120" fmla="*/ 4 w 472"/>
                  <a:gd name="T121" fmla="*/ 6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2" h="218">
                    <a:moveTo>
                      <a:pt x="4" y="66"/>
                    </a:moveTo>
                    <a:cubicBezTo>
                      <a:pt x="0" y="71"/>
                      <a:pt x="3" y="76"/>
                      <a:pt x="7" y="78"/>
                    </a:cubicBezTo>
                    <a:cubicBezTo>
                      <a:pt x="11" y="80"/>
                      <a:pt x="22" y="75"/>
                      <a:pt x="28" y="81"/>
                    </a:cubicBezTo>
                    <a:cubicBezTo>
                      <a:pt x="34" y="87"/>
                      <a:pt x="43" y="106"/>
                      <a:pt x="45" y="113"/>
                    </a:cubicBezTo>
                    <a:cubicBezTo>
                      <a:pt x="47" y="120"/>
                      <a:pt x="44" y="118"/>
                      <a:pt x="43" y="123"/>
                    </a:cubicBezTo>
                    <a:cubicBezTo>
                      <a:pt x="42" y="128"/>
                      <a:pt x="38" y="137"/>
                      <a:pt x="40" y="141"/>
                    </a:cubicBezTo>
                    <a:cubicBezTo>
                      <a:pt x="42" y="145"/>
                      <a:pt x="49" y="146"/>
                      <a:pt x="57" y="147"/>
                    </a:cubicBezTo>
                    <a:cubicBezTo>
                      <a:pt x="65" y="148"/>
                      <a:pt x="80" y="147"/>
                      <a:pt x="88" y="149"/>
                    </a:cubicBezTo>
                    <a:cubicBezTo>
                      <a:pt x="96" y="151"/>
                      <a:pt x="98" y="155"/>
                      <a:pt x="103" y="161"/>
                    </a:cubicBezTo>
                    <a:cubicBezTo>
                      <a:pt x="108" y="167"/>
                      <a:pt x="113" y="179"/>
                      <a:pt x="118" y="185"/>
                    </a:cubicBezTo>
                    <a:cubicBezTo>
                      <a:pt x="123" y="191"/>
                      <a:pt x="127" y="195"/>
                      <a:pt x="133" y="197"/>
                    </a:cubicBezTo>
                    <a:cubicBezTo>
                      <a:pt x="139" y="199"/>
                      <a:pt x="145" y="197"/>
                      <a:pt x="156" y="197"/>
                    </a:cubicBezTo>
                    <a:cubicBezTo>
                      <a:pt x="167" y="197"/>
                      <a:pt x="185" y="194"/>
                      <a:pt x="199" y="197"/>
                    </a:cubicBezTo>
                    <a:cubicBezTo>
                      <a:pt x="213" y="200"/>
                      <a:pt x="229" y="212"/>
                      <a:pt x="238" y="215"/>
                    </a:cubicBezTo>
                    <a:cubicBezTo>
                      <a:pt x="247" y="218"/>
                      <a:pt x="247" y="215"/>
                      <a:pt x="252" y="213"/>
                    </a:cubicBezTo>
                    <a:cubicBezTo>
                      <a:pt x="257" y="211"/>
                      <a:pt x="266" y="206"/>
                      <a:pt x="271" y="204"/>
                    </a:cubicBezTo>
                    <a:cubicBezTo>
                      <a:pt x="276" y="202"/>
                      <a:pt x="278" y="201"/>
                      <a:pt x="282" y="200"/>
                    </a:cubicBezTo>
                    <a:cubicBezTo>
                      <a:pt x="286" y="199"/>
                      <a:pt x="290" y="201"/>
                      <a:pt x="297" y="200"/>
                    </a:cubicBezTo>
                    <a:cubicBezTo>
                      <a:pt x="304" y="199"/>
                      <a:pt x="315" y="198"/>
                      <a:pt x="322" y="195"/>
                    </a:cubicBezTo>
                    <a:cubicBezTo>
                      <a:pt x="329" y="192"/>
                      <a:pt x="338" y="187"/>
                      <a:pt x="342" y="183"/>
                    </a:cubicBezTo>
                    <a:cubicBezTo>
                      <a:pt x="346" y="179"/>
                      <a:pt x="348" y="173"/>
                      <a:pt x="349" y="168"/>
                    </a:cubicBezTo>
                    <a:cubicBezTo>
                      <a:pt x="350" y="163"/>
                      <a:pt x="348" y="154"/>
                      <a:pt x="349" y="150"/>
                    </a:cubicBezTo>
                    <a:cubicBezTo>
                      <a:pt x="350" y="146"/>
                      <a:pt x="348" y="140"/>
                      <a:pt x="354" y="141"/>
                    </a:cubicBezTo>
                    <a:cubicBezTo>
                      <a:pt x="360" y="142"/>
                      <a:pt x="379" y="153"/>
                      <a:pt x="385" y="153"/>
                    </a:cubicBezTo>
                    <a:cubicBezTo>
                      <a:pt x="391" y="153"/>
                      <a:pt x="391" y="147"/>
                      <a:pt x="393" y="144"/>
                    </a:cubicBezTo>
                    <a:cubicBezTo>
                      <a:pt x="395" y="141"/>
                      <a:pt x="396" y="137"/>
                      <a:pt x="400" y="135"/>
                    </a:cubicBezTo>
                    <a:cubicBezTo>
                      <a:pt x="404" y="133"/>
                      <a:pt x="412" y="135"/>
                      <a:pt x="417" y="131"/>
                    </a:cubicBezTo>
                    <a:cubicBezTo>
                      <a:pt x="422" y="127"/>
                      <a:pt x="421" y="116"/>
                      <a:pt x="430" y="113"/>
                    </a:cubicBezTo>
                    <a:cubicBezTo>
                      <a:pt x="439" y="110"/>
                      <a:pt x="466" y="115"/>
                      <a:pt x="469" y="110"/>
                    </a:cubicBezTo>
                    <a:cubicBezTo>
                      <a:pt x="472" y="105"/>
                      <a:pt x="456" y="84"/>
                      <a:pt x="451" y="81"/>
                    </a:cubicBezTo>
                    <a:cubicBezTo>
                      <a:pt x="446" y="78"/>
                      <a:pt x="441" y="90"/>
                      <a:pt x="436" y="90"/>
                    </a:cubicBezTo>
                    <a:cubicBezTo>
                      <a:pt x="431" y="90"/>
                      <a:pt x="424" y="83"/>
                      <a:pt x="420" y="83"/>
                    </a:cubicBezTo>
                    <a:cubicBezTo>
                      <a:pt x="416" y="83"/>
                      <a:pt x="413" y="93"/>
                      <a:pt x="412" y="92"/>
                    </a:cubicBezTo>
                    <a:cubicBezTo>
                      <a:pt x="411" y="91"/>
                      <a:pt x="416" y="82"/>
                      <a:pt x="415" y="78"/>
                    </a:cubicBezTo>
                    <a:cubicBezTo>
                      <a:pt x="414" y="74"/>
                      <a:pt x="408" y="71"/>
                      <a:pt x="408" y="66"/>
                    </a:cubicBezTo>
                    <a:cubicBezTo>
                      <a:pt x="408" y="61"/>
                      <a:pt x="419" y="50"/>
                      <a:pt x="418" y="47"/>
                    </a:cubicBezTo>
                    <a:cubicBezTo>
                      <a:pt x="417" y="44"/>
                      <a:pt x="407" y="47"/>
                      <a:pt x="403" y="47"/>
                    </a:cubicBezTo>
                    <a:cubicBezTo>
                      <a:pt x="399" y="47"/>
                      <a:pt x="399" y="41"/>
                      <a:pt x="391" y="44"/>
                    </a:cubicBezTo>
                    <a:cubicBezTo>
                      <a:pt x="383" y="47"/>
                      <a:pt x="361" y="61"/>
                      <a:pt x="352" y="65"/>
                    </a:cubicBezTo>
                    <a:cubicBezTo>
                      <a:pt x="343" y="69"/>
                      <a:pt x="340" y="65"/>
                      <a:pt x="334" y="66"/>
                    </a:cubicBezTo>
                    <a:cubicBezTo>
                      <a:pt x="328" y="67"/>
                      <a:pt x="321" y="69"/>
                      <a:pt x="316" y="69"/>
                    </a:cubicBezTo>
                    <a:cubicBezTo>
                      <a:pt x="311" y="69"/>
                      <a:pt x="307" y="68"/>
                      <a:pt x="303" y="66"/>
                    </a:cubicBezTo>
                    <a:cubicBezTo>
                      <a:pt x="299" y="64"/>
                      <a:pt x="297" y="60"/>
                      <a:pt x="294" y="56"/>
                    </a:cubicBezTo>
                    <a:cubicBezTo>
                      <a:pt x="291" y="52"/>
                      <a:pt x="290" y="47"/>
                      <a:pt x="286" y="44"/>
                    </a:cubicBezTo>
                    <a:cubicBezTo>
                      <a:pt x="282" y="41"/>
                      <a:pt x="277" y="38"/>
                      <a:pt x="267" y="38"/>
                    </a:cubicBezTo>
                    <a:cubicBezTo>
                      <a:pt x="257" y="38"/>
                      <a:pt x="236" y="44"/>
                      <a:pt x="226" y="41"/>
                    </a:cubicBezTo>
                    <a:cubicBezTo>
                      <a:pt x="216" y="38"/>
                      <a:pt x="218" y="23"/>
                      <a:pt x="207" y="17"/>
                    </a:cubicBezTo>
                    <a:cubicBezTo>
                      <a:pt x="196" y="11"/>
                      <a:pt x="172" y="0"/>
                      <a:pt x="162" y="3"/>
                    </a:cubicBezTo>
                    <a:cubicBezTo>
                      <a:pt x="152" y="6"/>
                      <a:pt x="150" y="28"/>
                      <a:pt x="148" y="35"/>
                    </a:cubicBezTo>
                    <a:cubicBezTo>
                      <a:pt x="146" y="42"/>
                      <a:pt x="148" y="46"/>
                      <a:pt x="147" y="48"/>
                    </a:cubicBezTo>
                    <a:cubicBezTo>
                      <a:pt x="146" y="50"/>
                      <a:pt x="144" y="47"/>
                      <a:pt x="142" y="48"/>
                    </a:cubicBezTo>
                    <a:cubicBezTo>
                      <a:pt x="140" y="49"/>
                      <a:pt x="141" y="55"/>
                      <a:pt x="136" y="56"/>
                    </a:cubicBezTo>
                    <a:cubicBezTo>
                      <a:pt x="131" y="57"/>
                      <a:pt x="118" y="54"/>
                      <a:pt x="112" y="53"/>
                    </a:cubicBezTo>
                    <a:cubicBezTo>
                      <a:pt x="106" y="52"/>
                      <a:pt x="104" y="50"/>
                      <a:pt x="100" y="47"/>
                    </a:cubicBezTo>
                    <a:cubicBezTo>
                      <a:pt x="96" y="44"/>
                      <a:pt x="89" y="39"/>
                      <a:pt x="85" y="36"/>
                    </a:cubicBezTo>
                    <a:cubicBezTo>
                      <a:pt x="81" y="33"/>
                      <a:pt x="78" y="31"/>
                      <a:pt x="73" y="30"/>
                    </a:cubicBezTo>
                    <a:cubicBezTo>
                      <a:pt x="68" y="29"/>
                      <a:pt x="60" y="28"/>
                      <a:pt x="55" y="29"/>
                    </a:cubicBezTo>
                    <a:cubicBezTo>
                      <a:pt x="50" y="30"/>
                      <a:pt x="46" y="34"/>
                      <a:pt x="42" y="37"/>
                    </a:cubicBezTo>
                    <a:cubicBezTo>
                      <a:pt x="38" y="40"/>
                      <a:pt x="37" y="44"/>
                      <a:pt x="33" y="47"/>
                    </a:cubicBezTo>
                    <a:cubicBezTo>
                      <a:pt x="29" y="50"/>
                      <a:pt x="21" y="51"/>
                      <a:pt x="16" y="54"/>
                    </a:cubicBezTo>
                    <a:cubicBezTo>
                      <a:pt x="11" y="57"/>
                      <a:pt x="6" y="64"/>
                      <a:pt x="4" y="6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6" name="Freeform 136">
                <a:extLst>
                  <a:ext uri="{FF2B5EF4-FFF2-40B4-BE49-F238E27FC236}">
                    <a16:creationId xmlns:a16="http://schemas.microsoft.com/office/drawing/2014/main" id="{6928E33A-8D6B-4E2F-BF02-013CCFAA11A4}"/>
                  </a:ext>
                </a:extLst>
              </p:cNvPr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gray">
              <a:xfrm>
                <a:off x="6446838" y="3552825"/>
                <a:ext cx="103188" cy="122238"/>
              </a:xfrm>
              <a:custGeom>
                <a:avLst/>
                <a:gdLst>
                  <a:gd name="T0" fmla="*/ 36 w 63"/>
                  <a:gd name="T1" fmla="*/ 73 h 77"/>
                  <a:gd name="T2" fmla="*/ 48 w 63"/>
                  <a:gd name="T3" fmla="*/ 42 h 77"/>
                  <a:gd name="T4" fmla="*/ 63 w 63"/>
                  <a:gd name="T5" fmla="*/ 34 h 77"/>
                  <a:gd name="T6" fmla="*/ 54 w 63"/>
                  <a:gd name="T7" fmla="*/ 21 h 77"/>
                  <a:gd name="T8" fmla="*/ 24 w 63"/>
                  <a:gd name="T9" fmla="*/ 15 h 77"/>
                  <a:gd name="T10" fmla="*/ 6 w 63"/>
                  <a:gd name="T11" fmla="*/ 0 h 77"/>
                  <a:gd name="T12" fmla="*/ 11 w 63"/>
                  <a:gd name="T13" fmla="*/ 10 h 77"/>
                  <a:gd name="T14" fmla="*/ 0 w 63"/>
                  <a:gd name="T15" fmla="*/ 28 h 77"/>
                  <a:gd name="T16" fmla="*/ 11 w 63"/>
                  <a:gd name="T17" fmla="*/ 33 h 77"/>
                  <a:gd name="T18" fmla="*/ 17 w 63"/>
                  <a:gd name="T19" fmla="*/ 67 h 77"/>
                  <a:gd name="T20" fmla="*/ 21 w 63"/>
                  <a:gd name="T21" fmla="*/ 75 h 77"/>
                  <a:gd name="T22" fmla="*/ 33 w 63"/>
                  <a:gd name="T23" fmla="*/ 69 h 77"/>
                  <a:gd name="T24" fmla="*/ 30 w 63"/>
                  <a:gd name="T25" fmla="*/ 73 h 77"/>
                  <a:gd name="T26" fmla="*/ 36 w 63"/>
                  <a:gd name="T27" fmla="*/ 7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77">
                    <a:moveTo>
                      <a:pt x="36" y="73"/>
                    </a:moveTo>
                    <a:cubicBezTo>
                      <a:pt x="39" y="30"/>
                      <a:pt x="32" y="54"/>
                      <a:pt x="48" y="42"/>
                    </a:cubicBezTo>
                    <a:cubicBezTo>
                      <a:pt x="51" y="34"/>
                      <a:pt x="56" y="37"/>
                      <a:pt x="63" y="34"/>
                    </a:cubicBezTo>
                    <a:cubicBezTo>
                      <a:pt x="62" y="26"/>
                      <a:pt x="63" y="22"/>
                      <a:pt x="54" y="21"/>
                    </a:cubicBezTo>
                    <a:cubicBezTo>
                      <a:pt x="44" y="16"/>
                      <a:pt x="36" y="16"/>
                      <a:pt x="24" y="15"/>
                    </a:cubicBezTo>
                    <a:cubicBezTo>
                      <a:pt x="22" y="6"/>
                      <a:pt x="15" y="2"/>
                      <a:pt x="6" y="0"/>
                    </a:cubicBezTo>
                    <a:cubicBezTo>
                      <a:pt x="1" y="7"/>
                      <a:pt x="4" y="9"/>
                      <a:pt x="11" y="10"/>
                    </a:cubicBezTo>
                    <a:cubicBezTo>
                      <a:pt x="9" y="23"/>
                      <a:pt x="10" y="22"/>
                      <a:pt x="0" y="28"/>
                    </a:cubicBezTo>
                    <a:cubicBezTo>
                      <a:pt x="3" y="30"/>
                      <a:pt x="10" y="29"/>
                      <a:pt x="11" y="33"/>
                    </a:cubicBezTo>
                    <a:cubicBezTo>
                      <a:pt x="15" y="44"/>
                      <a:pt x="11" y="56"/>
                      <a:pt x="17" y="67"/>
                    </a:cubicBezTo>
                    <a:cubicBezTo>
                      <a:pt x="17" y="71"/>
                      <a:pt x="18" y="73"/>
                      <a:pt x="21" y="75"/>
                    </a:cubicBezTo>
                    <a:cubicBezTo>
                      <a:pt x="22" y="77"/>
                      <a:pt x="31" y="69"/>
                      <a:pt x="33" y="69"/>
                    </a:cubicBezTo>
                    <a:cubicBezTo>
                      <a:pt x="34" y="69"/>
                      <a:pt x="30" y="72"/>
                      <a:pt x="30" y="73"/>
                    </a:cubicBezTo>
                    <a:cubicBezTo>
                      <a:pt x="30" y="74"/>
                      <a:pt x="35" y="73"/>
                      <a:pt x="36" y="7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7" name="Freeform 137">
                <a:extLst>
                  <a:ext uri="{FF2B5EF4-FFF2-40B4-BE49-F238E27FC236}">
                    <a16:creationId xmlns:a16="http://schemas.microsoft.com/office/drawing/2014/main" id="{31CDCDE5-D257-44A6-AC03-8914A66CA3D2}"/>
                  </a:ext>
                </a:extLst>
              </p:cNvPr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gray">
              <a:xfrm>
                <a:off x="6473826" y="3494088"/>
                <a:ext cx="76200" cy="46038"/>
              </a:xfrm>
              <a:custGeom>
                <a:avLst/>
                <a:gdLst>
                  <a:gd name="T0" fmla="*/ 4 w 47"/>
                  <a:gd name="T1" fmla="*/ 26 h 29"/>
                  <a:gd name="T2" fmla="*/ 28 w 47"/>
                  <a:gd name="T3" fmla="*/ 26 h 29"/>
                  <a:gd name="T4" fmla="*/ 43 w 47"/>
                  <a:gd name="T5" fmla="*/ 26 h 29"/>
                  <a:gd name="T6" fmla="*/ 46 w 47"/>
                  <a:gd name="T7" fmla="*/ 16 h 29"/>
                  <a:gd name="T8" fmla="*/ 38 w 47"/>
                  <a:gd name="T9" fmla="*/ 16 h 29"/>
                  <a:gd name="T10" fmla="*/ 29 w 47"/>
                  <a:gd name="T11" fmla="*/ 2 h 29"/>
                  <a:gd name="T12" fmla="*/ 16 w 47"/>
                  <a:gd name="T13" fmla="*/ 2 h 29"/>
                  <a:gd name="T14" fmla="*/ 2 w 47"/>
                  <a:gd name="T15" fmla="*/ 10 h 29"/>
                  <a:gd name="T16" fmla="*/ 4 w 47"/>
                  <a:gd name="T17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29">
                    <a:moveTo>
                      <a:pt x="4" y="26"/>
                    </a:moveTo>
                    <a:cubicBezTo>
                      <a:pt x="9" y="29"/>
                      <a:pt x="22" y="26"/>
                      <a:pt x="28" y="26"/>
                    </a:cubicBezTo>
                    <a:cubicBezTo>
                      <a:pt x="34" y="26"/>
                      <a:pt x="40" y="28"/>
                      <a:pt x="43" y="26"/>
                    </a:cubicBezTo>
                    <a:cubicBezTo>
                      <a:pt x="46" y="24"/>
                      <a:pt x="47" y="18"/>
                      <a:pt x="46" y="16"/>
                    </a:cubicBezTo>
                    <a:cubicBezTo>
                      <a:pt x="45" y="14"/>
                      <a:pt x="41" y="18"/>
                      <a:pt x="38" y="16"/>
                    </a:cubicBezTo>
                    <a:cubicBezTo>
                      <a:pt x="35" y="14"/>
                      <a:pt x="33" y="4"/>
                      <a:pt x="29" y="2"/>
                    </a:cubicBezTo>
                    <a:cubicBezTo>
                      <a:pt x="25" y="0"/>
                      <a:pt x="20" y="1"/>
                      <a:pt x="16" y="2"/>
                    </a:cubicBezTo>
                    <a:cubicBezTo>
                      <a:pt x="12" y="3"/>
                      <a:pt x="4" y="6"/>
                      <a:pt x="2" y="10"/>
                    </a:cubicBezTo>
                    <a:cubicBezTo>
                      <a:pt x="0" y="14"/>
                      <a:pt x="4" y="23"/>
                      <a:pt x="4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8" name="Freeform 138">
                <a:extLst>
                  <a:ext uri="{FF2B5EF4-FFF2-40B4-BE49-F238E27FC236}">
                    <a16:creationId xmlns:a16="http://schemas.microsoft.com/office/drawing/2014/main" id="{198239C7-F9DA-438A-A031-8BF00C123DC6}"/>
                  </a:ext>
                </a:extLst>
              </p:cNvPr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gray">
              <a:xfrm>
                <a:off x="6543676" y="3500438"/>
                <a:ext cx="200025" cy="319088"/>
              </a:xfrm>
              <a:custGeom>
                <a:avLst/>
                <a:gdLst>
                  <a:gd name="T0" fmla="*/ 2 w 124"/>
                  <a:gd name="T1" fmla="*/ 106 h 201"/>
                  <a:gd name="T2" fmla="*/ 6 w 124"/>
                  <a:gd name="T3" fmla="*/ 117 h 201"/>
                  <a:gd name="T4" fmla="*/ 24 w 124"/>
                  <a:gd name="T5" fmla="*/ 141 h 201"/>
                  <a:gd name="T6" fmla="*/ 33 w 124"/>
                  <a:gd name="T7" fmla="*/ 153 h 201"/>
                  <a:gd name="T8" fmla="*/ 36 w 124"/>
                  <a:gd name="T9" fmla="*/ 192 h 201"/>
                  <a:gd name="T10" fmla="*/ 65 w 124"/>
                  <a:gd name="T11" fmla="*/ 183 h 201"/>
                  <a:gd name="T12" fmla="*/ 71 w 124"/>
                  <a:gd name="T13" fmla="*/ 175 h 201"/>
                  <a:gd name="T14" fmla="*/ 80 w 124"/>
                  <a:gd name="T15" fmla="*/ 183 h 201"/>
                  <a:gd name="T16" fmla="*/ 86 w 124"/>
                  <a:gd name="T17" fmla="*/ 199 h 201"/>
                  <a:gd name="T18" fmla="*/ 98 w 124"/>
                  <a:gd name="T19" fmla="*/ 195 h 201"/>
                  <a:gd name="T20" fmla="*/ 86 w 124"/>
                  <a:gd name="T21" fmla="*/ 175 h 201"/>
                  <a:gd name="T22" fmla="*/ 81 w 124"/>
                  <a:gd name="T23" fmla="*/ 165 h 201"/>
                  <a:gd name="T24" fmla="*/ 83 w 124"/>
                  <a:gd name="T25" fmla="*/ 145 h 201"/>
                  <a:gd name="T26" fmla="*/ 90 w 124"/>
                  <a:gd name="T27" fmla="*/ 132 h 201"/>
                  <a:gd name="T28" fmla="*/ 105 w 124"/>
                  <a:gd name="T29" fmla="*/ 132 h 201"/>
                  <a:gd name="T30" fmla="*/ 116 w 124"/>
                  <a:gd name="T31" fmla="*/ 123 h 201"/>
                  <a:gd name="T32" fmla="*/ 122 w 124"/>
                  <a:gd name="T33" fmla="*/ 114 h 201"/>
                  <a:gd name="T34" fmla="*/ 105 w 124"/>
                  <a:gd name="T35" fmla="*/ 84 h 201"/>
                  <a:gd name="T36" fmla="*/ 98 w 124"/>
                  <a:gd name="T37" fmla="*/ 70 h 201"/>
                  <a:gd name="T38" fmla="*/ 86 w 124"/>
                  <a:gd name="T39" fmla="*/ 72 h 201"/>
                  <a:gd name="T40" fmla="*/ 83 w 124"/>
                  <a:gd name="T41" fmla="*/ 57 h 201"/>
                  <a:gd name="T42" fmla="*/ 98 w 124"/>
                  <a:gd name="T43" fmla="*/ 40 h 201"/>
                  <a:gd name="T44" fmla="*/ 99 w 124"/>
                  <a:gd name="T45" fmla="*/ 16 h 201"/>
                  <a:gd name="T46" fmla="*/ 89 w 124"/>
                  <a:gd name="T47" fmla="*/ 0 h 201"/>
                  <a:gd name="T48" fmla="*/ 60 w 124"/>
                  <a:gd name="T49" fmla="*/ 19 h 201"/>
                  <a:gd name="T50" fmla="*/ 47 w 124"/>
                  <a:gd name="T51" fmla="*/ 21 h 201"/>
                  <a:gd name="T52" fmla="*/ 47 w 124"/>
                  <a:gd name="T53" fmla="*/ 46 h 201"/>
                  <a:gd name="T54" fmla="*/ 33 w 124"/>
                  <a:gd name="T55" fmla="*/ 75 h 201"/>
                  <a:gd name="T56" fmla="*/ 18 w 124"/>
                  <a:gd name="T57" fmla="*/ 70 h 201"/>
                  <a:gd name="T58" fmla="*/ 21 w 124"/>
                  <a:gd name="T59" fmla="*/ 97 h 201"/>
                  <a:gd name="T60" fmla="*/ 2 w 124"/>
                  <a:gd name="T61" fmla="*/ 106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4" h="201">
                    <a:moveTo>
                      <a:pt x="2" y="106"/>
                    </a:moveTo>
                    <a:cubicBezTo>
                      <a:pt x="0" y="109"/>
                      <a:pt x="2" y="111"/>
                      <a:pt x="6" y="117"/>
                    </a:cubicBezTo>
                    <a:cubicBezTo>
                      <a:pt x="10" y="123"/>
                      <a:pt x="19" y="135"/>
                      <a:pt x="24" y="141"/>
                    </a:cubicBezTo>
                    <a:cubicBezTo>
                      <a:pt x="29" y="147"/>
                      <a:pt x="31" y="145"/>
                      <a:pt x="33" y="153"/>
                    </a:cubicBezTo>
                    <a:cubicBezTo>
                      <a:pt x="35" y="161"/>
                      <a:pt x="31" y="187"/>
                      <a:pt x="36" y="192"/>
                    </a:cubicBezTo>
                    <a:cubicBezTo>
                      <a:pt x="41" y="197"/>
                      <a:pt x="59" y="186"/>
                      <a:pt x="65" y="183"/>
                    </a:cubicBezTo>
                    <a:cubicBezTo>
                      <a:pt x="71" y="180"/>
                      <a:pt x="69" y="175"/>
                      <a:pt x="71" y="175"/>
                    </a:cubicBezTo>
                    <a:cubicBezTo>
                      <a:pt x="73" y="175"/>
                      <a:pt x="77" y="179"/>
                      <a:pt x="80" y="183"/>
                    </a:cubicBezTo>
                    <a:cubicBezTo>
                      <a:pt x="83" y="187"/>
                      <a:pt x="83" y="197"/>
                      <a:pt x="86" y="199"/>
                    </a:cubicBezTo>
                    <a:cubicBezTo>
                      <a:pt x="89" y="201"/>
                      <a:pt x="98" y="199"/>
                      <a:pt x="98" y="195"/>
                    </a:cubicBezTo>
                    <a:cubicBezTo>
                      <a:pt x="98" y="191"/>
                      <a:pt x="89" y="180"/>
                      <a:pt x="86" y="175"/>
                    </a:cubicBezTo>
                    <a:cubicBezTo>
                      <a:pt x="83" y="170"/>
                      <a:pt x="81" y="170"/>
                      <a:pt x="81" y="165"/>
                    </a:cubicBezTo>
                    <a:cubicBezTo>
                      <a:pt x="81" y="160"/>
                      <a:pt x="82" y="150"/>
                      <a:pt x="83" y="145"/>
                    </a:cubicBezTo>
                    <a:cubicBezTo>
                      <a:pt x="84" y="140"/>
                      <a:pt x="86" y="134"/>
                      <a:pt x="90" y="132"/>
                    </a:cubicBezTo>
                    <a:cubicBezTo>
                      <a:pt x="94" y="130"/>
                      <a:pt x="101" y="133"/>
                      <a:pt x="105" y="132"/>
                    </a:cubicBezTo>
                    <a:cubicBezTo>
                      <a:pt x="109" y="131"/>
                      <a:pt x="113" y="126"/>
                      <a:pt x="116" y="123"/>
                    </a:cubicBezTo>
                    <a:cubicBezTo>
                      <a:pt x="119" y="120"/>
                      <a:pt x="124" y="120"/>
                      <a:pt x="122" y="114"/>
                    </a:cubicBezTo>
                    <a:cubicBezTo>
                      <a:pt x="120" y="108"/>
                      <a:pt x="109" y="91"/>
                      <a:pt x="105" y="84"/>
                    </a:cubicBezTo>
                    <a:cubicBezTo>
                      <a:pt x="101" y="77"/>
                      <a:pt x="101" y="72"/>
                      <a:pt x="98" y="70"/>
                    </a:cubicBezTo>
                    <a:cubicBezTo>
                      <a:pt x="95" y="68"/>
                      <a:pt x="88" y="74"/>
                      <a:pt x="86" y="72"/>
                    </a:cubicBezTo>
                    <a:cubicBezTo>
                      <a:pt x="84" y="70"/>
                      <a:pt x="81" y="62"/>
                      <a:pt x="83" y="57"/>
                    </a:cubicBezTo>
                    <a:cubicBezTo>
                      <a:pt x="85" y="52"/>
                      <a:pt x="95" y="47"/>
                      <a:pt x="98" y="40"/>
                    </a:cubicBezTo>
                    <a:cubicBezTo>
                      <a:pt x="101" y="33"/>
                      <a:pt x="100" y="23"/>
                      <a:pt x="99" y="16"/>
                    </a:cubicBezTo>
                    <a:cubicBezTo>
                      <a:pt x="98" y="9"/>
                      <a:pt x="95" y="0"/>
                      <a:pt x="89" y="0"/>
                    </a:cubicBezTo>
                    <a:cubicBezTo>
                      <a:pt x="83" y="0"/>
                      <a:pt x="67" y="16"/>
                      <a:pt x="60" y="19"/>
                    </a:cubicBezTo>
                    <a:cubicBezTo>
                      <a:pt x="53" y="22"/>
                      <a:pt x="49" y="17"/>
                      <a:pt x="47" y="21"/>
                    </a:cubicBezTo>
                    <a:cubicBezTo>
                      <a:pt x="45" y="25"/>
                      <a:pt x="49" y="37"/>
                      <a:pt x="47" y="46"/>
                    </a:cubicBezTo>
                    <a:cubicBezTo>
                      <a:pt x="45" y="55"/>
                      <a:pt x="38" y="71"/>
                      <a:pt x="33" y="75"/>
                    </a:cubicBezTo>
                    <a:cubicBezTo>
                      <a:pt x="28" y="79"/>
                      <a:pt x="20" y="66"/>
                      <a:pt x="18" y="70"/>
                    </a:cubicBezTo>
                    <a:cubicBezTo>
                      <a:pt x="16" y="74"/>
                      <a:pt x="23" y="91"/>
                      <a:pt x="21" y="97"/>
                    </a:cubicBezTo>
                    <a:cubicBezTo>
                      <a:pt x="19" y="103"/>
                      <a:pt x="4" y="103"/>
                      <a:pt x="2" y="10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9" name="Freeform 139">
                <a:extLst>
                  <a:ext uri="{FF2B5EF4-FFF2-40B4-BE49-F238E27FC236}">
                    <a16:creationId xmlns:a16="http://schemas.microsoft.com/office/drawing/2014/main" id="{AC56EE21-72B5-4B56-A08C-12C496728C69}"/>
                  </a:ext>
                </a:extLst>
              </p:cNvPr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gray">
              <a:xfrm>
                <a:off x="6248401" y="3967163"/>
                <a:ext cx="49213" cy="90488"/>
              </a:xfrm>
              <a:custGeom>
                <a:avLst/>
                <a:gdLst>
                  <a:gd name="T0" fmla="*/ 6 w 30"/>
                  <a:gd name="T1" fmla="*/ 52 h 57"/>
                  <a:gd name="T2" fmla="*/ 29 w 30"/>
                  <a:gd name="T3" fmla="*/ 43 h 57"/>
                  <a:gd name="T4" fmla="*/ 24 w 30"/>
                  <a:gd name="T5" fmla="*/ 22 h 57"/>
                  <a:gd name="T6" fmla="*/ 17 w 30"/>
                  <a:gd name="T7" fmla="*/ 7 h 57"/>
                  <a:gd name="T8" fmla="*/ 6 w 30"/>
                  <a:gd name="T9" fmla="*/ 3 h 57"/>
                  <a:gd name="T10" fmla="*/ 0 w 30"/>
                  <a:gd name="T11" fmla="*/ 27 h 57"/>
                  <a:gd name="T12" fmla="*/ 2 w 30"/>
                  <a:gd name="T13" fmla="*/ 51 h 57"/>
                  <a:gd name="T14" fmla="*/ 6 w 30"/>
                  <a:gd name="T15" fmla="*/ 5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57">
                    <a:moveTo>
                      <a:pt x="6" y="52"/>
                    </a:moveTo>
                    <a:cubicBezTo>
                      <a:pt x="18" y="57"/>
                      <a:pt x="23" y="53"/>
                      <a:pt x="29" y="43"/>
                    </a:cubicBezTo>
                    <a:cubicBezTo>
                      <a:pt x="30" y="34"/>
                      <a:pt x="29" y="30"/>
                      <a:pt x="24" y="22"/>
                    </a:cubicBezTo>
                    <a:cubicBezTo>
                      <a:pt x="27" y="0"/>
                      <a:pt x="27" y="15"/>
                      <a:pt x="17" y="7"/>
                    </a:cubicBezTo>
                    <a:cubicBezTo>
                      <a:pt x="14" y="1"/>
                      <a:pt x="12" y="0"/>
                      <a:pt x="6" y="3"/>
                    </a:cubicBezTo>
                    <a:cubicBezTo>
                      <a:pt x="1" y="10"/>
                      <a:pt x="3" y="19"/>
                      <a:pt x="0" y="27"/>
                    </a:cubicBezTo>
                    <a:cubicBezTo>
                      <a:pt x="1" y="35"/>
                      <a:pt x="0" y="43"/>
                      <a:pt x="2" y="51"/>
                    </a:cubicBezTo>
                    <a:cubicBezTo>
                      <a:pt x="2" y="52"/>
                      <a:pt x="6" y="53"/>
                      <a:pt x="6" y="5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0" name="Freeform 146">
                <a:extLst>
                  <a:ext uri="{FF2B5EF4-FFF2-40B4-BE49-F238E27FC236}">
                    <a16:creationId xmlns:a16="http://schemas.microsoft.com/office/drawing/2014/main" id="{59EB82C6-D69C-48F4-9E76-78FED52EB9BA}"/>
                  </a:ext>
                </a:extLst>
              </p:cNvPr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gray">
              <a:xfrm>
                <a:off x="5978882" y="3257162"/>
                <a:ext cx="706099" cy="778080"/>
              </a:xfrm>
              <a:custGeom>
                <a:avLst/>
                <a:gdLst/>
                <a:ahLst/>
                <a:cxnLst/>
                <a:rect l="l" t="t" r="r" b="b"/>
                <a:pathLst>
                  <a:path w="706099" h="778080">
                    <a:moveTo>
                      <a:pt x="599618" y="738575"/>
                    </a:moveTo>
                    <a:cubicBezTo>
                      <a:pt x="602843" y="757625"/>
                      <a:pt x="604456" y="757625"/>
                      <a:pt x="612519" y="771913"/>
                    </a:cubicBezTo>
                    <a:cubicBezTo>
                      <a:pt x="607681" y="781438"/>
                      <a:pt x="602843" y="778263"/>
                      <a:pt x="593167" y="773501"/>
                    </a:cubicBezTo>
                    <a:cubicBezTo>
                      <a:pt x="596392" y="748100"/>
                      <a:pt x="577040" y="756038"/>
                      <a:pt x="599618" y="738575"/>
                    </a:cubicBezTo>
                    <a:close/>
                    <a:moveTo>
                      <a:pt x="575428" y="711588"/>
                    </a:moveTo>
                    <a:cubicBezTo>
                      <a:pt x="580266" y="713176"/>
                      <a:pt x="585104" y="711588"/>
                      <a:pt x="588329" y="714763"/>
                    </a:cubicBezTo>
                    <a:cubicBezTo>
                      <a:pt x="591554" y="719526"/>
                      <a:pt x="577040" y="725876"/>
                      <a:pt x="573815" y="721113"/>
                    </a:cubicBezTo>
                    <a:cubicBezTo>
                      <a:pt x="572202" y="717938"/>
                      <a:pt x="575428" y="714763"/>
                      <a:pt x="575428" y="711588"/>
                    </a:cubicBezTo>
                    <a:close/>
                    <a:moveTo>
                      <a:pt x="578250" y="683212"/>
                    </a:moveTo>
                    <a:cubicBezTo>
                      <a:pt x="581476" y="684601"/>
                      <a:pt x="582685" y="688569"/>
                      <a:pt x="580266" y="695713"/>
                    </a:cubicBezTo>
                    <a:cubicBezTo>
                      <a:pt x="573815" y="694126"/>
                      <a:pt x="564139" y="686188"/>
                      <a:pt x="564139" y="686188"/>
                    </a:cubicBezTo>
                    <a:cubicBezTo>
                      <a:pt x="569784" y="683013"/>
                      <a:pt x="575025" y="681823"/>
                      <a:pt x="578250" y="683212"/>
                    </a:cubicBezTo>
                    <a:close/>
                    <a:moveTo>
                      <a:pt x="580266" y="616338"/>
                    </a:moveTo>
                    <a:cubicBezTo>
                      <a:pt x="601231" y="630626"/>
                      <a:pt x="610907" y="660788"/>
                      <a:pt x="580266" y="667138"/>
                    </a:cubicBezTo>
                    <a:cubicBezTo>
                      <a:pt x="567364" y="657613"/>
                      <a:pt x="570590" y="648088"/>
                      <a:pt x="573815" y="633801"/>
                    </a:cubicBezTo>
                    <a:cubicBezTo>
                      <a:pt x="568977" y="624276"/>
                      <a:pt x="570590" y="621101"/>
                      <a:pt x="580266" y="616338"/>
                    </a:cubicBezTo>
                    <a:close/>
                    <a:moveTo>
                      <a:pt x="589942" y="592525"/>
                    </a:moveTo>
                    <a:lnTo>
                      <a:pt x="599417" y="597089"/>
                    </a:lnTo>
                    <a:cubicBezTo>
                      <a:pt x="600425" y="598081"/>
                      <a:pt x="600425" y="599669"/>
                      <a:pt x="602844" y="605225"/>
                    </a:cubicBezTo>
                    <a:lnTo>
                      <a:pt x="597426" y="609715"/>
                    </a:lnTo>
                    <a:cubicBezTo>
                      <a:pt x="593571" y="609789"/>
                      <a:pt x="593571" y="598478"/>
                      <a:pt x="589942" y="592525"/>
                    </a:cubicBezTo>
                    <a:close/>
                    <a:moveTo>
                      <a:pt x="483499" y="235374"/>
                    </a:moveTo>
                    <a:cubicBezTo>
                      <a:pt x="488335" y="232147"/>
                      <a:pt x="496372" y="249589"/>
                      <a:pt x="498007" y="262343"/>
                    </a:cubicBezTo>
                    <a:lnTo>
                      <a:pt x="496612" y="281584"/>
                    </a:lnTo>
                    <a:cubicBezTo>
                      <a:pt x="487515" y="281701"/>
                      <a:pt x="478649" y="281924"/>
                      <a:pt x="471855" y="282419"/>
                    </a:cubicBezTo>
                    <a:cubicBezTo>
                      <a:pt x="472068" y="282114"/>
                      <a:pt x="472131" y="281764"/>
                      <a:pt x="472191" y="281398"/>
                    </a:cubicBezTo>
                    <a:cubicBezTo>
                      <a:pt x="473827" y="271871"/>
                      <a:pt x="478663" y="238524"/>
                      <a:pt x="483499" y="235374"/>
                    </a:cubicBezTo>
                    <a:close/>
                    <a:moveTo>
                      <a:pt x="656036" y="216319"/>
                    </a:moveTo>
                    <a:cubicBezTo>
                      <a:pt x="668980" y="219469"/>
                      <a:pt x="704469" y="232147"/>
                      <a:pt x="706033" y="240061"/>
                    </a:cubicBezTo>
                    <a:cubicBezTo>
                      <a:pt x="707669" y="248052"/>
                      <a:pt x="678652" y="259116"/>
                      <a:pt x="670544" y="263880"/>
                    </a:cubicBezTo>
                    <a:cubicBezTo>
                      <a:pt x="662508" y="268644"/>
                      <a:pt x="660872" y="268644"/>
                      <a:pt x="656036" y="271871"/>
                    </a:cubicBezTo>
                    <a:cubicBezTo>
                      <a:pt x="651200" y="275021"/>
                      <a:pt x="639963" y="276635"/>
                      <a:pt x="638327" y="281398"/>
                    </a:cubicBezTo>
                    <a:cubicBezTo>
                      <a:pt x="636691" y="286162"/>
                      <a:pt x="644799" y="295690"/>
                      <a:pt x="643163" y="305217"/>
                    </a:cubicBezTo>
                    <a:cubicBezTo>
                      <a:pt x="641527" y="314745"/>
                      <a:pt x="636691" y="332186"/>
                      <a:pt x="631855" y="340100"/>
                    </a:cubicBezTo>
                    <a:cubicBezTo>
                      <a:pt x="627019" y="348014"/>
                      <a:pt x="620618" y="352778"/>
                      <a:pt x="614146" y="354392"/>
                    </a:cubicBezTo>
                    <a:cubicBezTo>
                      <a:pt x="607674" y="356005"/>
                      <a:pt x="596366" y="340100"/>
                      <a:pt x="594802" y="348014"/>
                    </a:cubicBezTo>
                    <a:cubicBezTo>
                      <a:pt x="593166" y="356005"/>
                      <a:pt x="602838" y="389351"/>
                      <a:pt x="602838" y="400416"/>
                    </a:cubicBezTo>
                    <a:cubicBezTo>
                      <a:pt x="602838" y="411557"/>
                      <a:pt x="596366" y="408407"/>
                      <a:pt x="591530" y="411557"/>
                    </a:cubicBezTo>
                    <a:cubicBezTo>
                      <a:pt x="586694" y="414707"/>
                      <a:pt x="573821" y="419471"/>
                      <a:pt x="570621" y="414707"/>
                    </a:cubicBezTo>
                    <a:cubicBezTo>
                      <a:pt x="567349" y="409943"/>
                      <a:pt x="573821" y="387738"/>
                      <a:pt x="570621" y="382974"/>
                    </a:cubicBezTo>
                    <a:cubicBezTo>
                      <a:pt x="567349" y="378210"/>
                      <a:pt x="556041" y="381361"/>
                      <a:pt x="549640" y="382974"/>
                    </a:cubicBezTo>
                    <a:cubicBezTo>
                      <a:pt x="543169" y="384588"/>
                      <a:pt x="533496" y="397266"/>
                      <a:pt x="530296" y="397266"/>
                    </a:cubicBezTo>
                    <a:cubicBezTo>
                      <a:pt x="527024" y="397266"/>
                      <a:pt x="527024" y="387738"/>
                      <a:pt x="530296" y="381361"/>
                    </a:cubicBezTo>
                    <a:cubicBezTo>
                      <a:pt x="533496" y="375060"/>
                      <a:pt x="544804" y="362306"/>
                      <a:pt x="551205" y="357542"/>
                    </a:cubicBezTo>
                    <a:cubicBezTo>
                      <a:pt x="557677" y="352778"/>
                      <a:pt x="564149" y="352778"/>
                      <a:pt x="567349" y="348014"/>
                    </a:cubicBezTo>
                    <a:cubicBezTo>
                      <a:pt x="570621" y="343250"/>
                      <a:pt x="575457" y="333800"/>
                      <a:pt x="570621" y="329036"/>
                    </a:cubicBezTo>
                    <a:cubicBezTo>
                      <a:pt x="565785" y="324272"/>
                      <a:pt x="548005" y="322659"/>
                      <a:pt x="536697" y="319508"/>
                    </a:cubicBezTo>
                    <a:cubicBezTo>
                      <a:pt x="525460" y="316281"/>
                      <a:pt x="504479" y="319508"/>
                      <a:pt x="498007" y="309981"/>
                    </a:cubicBezTo>
                    <a:cubicBezTo>
                      <a:pt x="494097" y="304225"/>
                      <a:pt x="495509" y="292664"/>
                      <a:pt x="496612" y="281584"/>
                    </a:cubicBezTo>
                    <a:lnTo>
                      <a:pt x="530296" y="281398"/>
                    </a:lnTo>
                    <a:cubicBezTo>
                      <a:pt x="548005" y="281398"/>
                      <a:pt x="564149" y="284549"/>
                      <a:pt x="570621" y="281398"/>
                    </a:cubicBezTo>
                    <a:cubicBezTo>
                      <a:pt x="577022" y="278171"/>
                      <a:pt x="570621" y="268644"/>
                      <a:pt x="570621" y="262343"/>
                    </a:cubicBezTo>
                    <a:cubicBezTo>
                      <a:pt x="570621" y="255966"/>
                      <a:pt x="570621" y="249589"/>
                      <a:pt x="573821" y="244825"/>
                    </a:cubicBezTo>
                    <a:cubicBezTo>
                      <a:pt x="577022" y="240061"/>
                      <a:pt x="580293" y="233761"/>
                      <a:pt x="588330" y="230610"/>
                    </a:cubicBezTo>
                    <a:cubicBezTo>
                      <a:pt x="596366" y="227383"/>
                      <a:pt x="612510" y="222620"/>
                      <a:pt x="623819" y="221083"/>
                    </a:cubicBezTo>
                    <a:cubicBezTo>
                      <a:pt x="635127" y="219469"/>
                      <a:pt x="643163" y="213092"/>
                      <a:pt x="656036" y="216319"/>
                    </a:cubicBezTo>
                    <a:close/>
                    <a:moveTo>
                      <a:pt x="154942" y="0"/>
                    </a:moveTo>
                    <a:cubicBezTo>
                      <a:pt x="155351" y="393"/>
                      <a:pt x="155351" y="1181"/>
                      <a:pt x="157769" y="1949"/>
                    </a:cubicBezTo>
                    <a:lnTo>
                      <a:pt x="178679" y="6713"/>
                    </a:lnTo>
                    <a:cubicBezTo>
                      <a:pt x="185151" y="9940"/>
                      <a:pt x="194823" y="14704"/>
                      <a:pt x="201295" y="19468"/>
                    </a:cubicBezTo>
                    <a:cubicBezTo>
                      <a:pt x="207767" y="24231"/>
                      <a:pt x="210967" y="32146"/>
                      <a:pt x="215803" y="33759"/>
                    </a:cubicBezTo>
                    <a:cubicBezTo>
                      <a:pt x="220639" y="35296"/>
                      <a:pt x="227111" y="32146"/>
                      <a:pt x="235148" y="30532"/>
                    </a:cubicBezTo>
                    <a:cubicBezTo>
                      <a:pt x="243185" y="28995"/>
                      <a:pt x="257693" y="16241"/>
                      <a:pt x="265801" y="21004"/>
                    </a:cubicBezTo>
                    <a:cubicBezTo>
                      <a:pt x="273837" y="25768"/>
                      <a:pt x="280309" y="49587"/>
                      <a:pt x="280309" y="59115"/>
                    </a:cubicBezTo>
                    <a:cubicBezTo>
                      <a:pt x="280309" y="68642"/>
                      <a:pt x="267436" y="70256"/>
                      <a:pt x="264165" y="76556"/>
                    </a:cubicBezTo>
                    <a:cubicBezTo>
                      <a:pt x="260965" y="82933"/>
                      <a:pt x="259329" y="90847"/>
                      <a:pt x="259329" y="97225"/>
                    </a:cubicBezTo>
                    <a:cubicBezTo>
                      <a:pt x="259329" y="103602"/>
                      <a:pt x="270637" y="111516"/>
                      <a:pt x="269001" y="116280"/>
                    </a:cubicBezTo>
                    <a:cubicBezTo>
                      <a:pt x="267436" y="121044"/>
                      <a:pt x="257693" y="121044"/>
                      <a:pt x="254493" y="125807"/>
                    </a:cubicBezTo>
                    <a:cubicBezTo>
                      <a:pt x="251292" y="130571"/>
                      <a:pt x="246456" y="136948"/>
                      <a:pt x="249656" y="144862"/>
                    </a:cubicBezTo>
                    <a:cubicBezTo>
                      <a:pt x="252857" y="152776"/>
                      <a:pt x="262529" y="165454"/>
                      <a:pt x="270637" y="171832"/>
                    </a:cubicBezTo>
                    <a:cubicBezTo>
                      <a:pt x="278673" y="178209"/>
                      <a:pt x="298018" y="176595"/>
                      <a:pt x="299654" y="186123"/>
                    </a:cubicBezTo>
                    <a:cubicBezTo>
                      <a:pt x="301290" y="195650"/>
                      <a:pt x="280309" y="217856"/>
                      <a:pt x="280309" y="225847"/>
                    </a:cubicBezTo>
                    <a:cubicBezTo>
                      <a:pt x="280309" y="233761"/>
                      <a:pt x="293182" y="232147"/>
                      <a:pt x="299654" y="235374"/>
                    </a:cubicBezTo>
                    <a:cubicBezTo>
                      <a:pt x="306126" y="238524"/>
                      <a:pt x="315798" y="243288"/>
                      <a:pt x="322199" y="248052"/>
                    </a:cubicBezTo>
                    <a:cubicBezTo>
                      <a:pt x="328671" y="252816"/>
                      <a:pt x="335143" y="255966"/>
                      <a:pt x="341615" y="259116"/>
                    </a:cubicBezTo>
                    <a:cubicBezTo>
                      <a:pt x="348015" y="262343"/>
                      <a:pt x="357688" y="265493"/>
                      <a:pt x="367360" y="268644"/>
                    </a:cubicBezTo>
                    <a:cubicBezTo>
                      <a:pt x="377032" y="271871"/>
                      <a:pt x="388340" y="279785"/>
                      <a:pt x="396448" y="282935"/>
                    </a:cubicBezTo>
                    <a:cubicBezTo>
                      <a:pt x="404485" y="286162"/>
                      <a:pt x="406120" y="284549"/>
                      <a:pt x="414157" y="286162"/>
                    </a:cubicBezTo>
                    <a:cubicBezTo>
                      <a:pt x="422193" y="287699"/>
                      <a:pt x="441609" y="292463"/>
                      <a:pt x="449646" y="292463"/>
                    </a:cubicBezTo>
                    <a:cubicBezTo>
                      <a:pt x="457682" y="292463"/>
                      <a:pt x="451282" y="284549"/>
                      <a:pt x="464154" y="282935"/>
                    </a:cubicBezTo>
                    <a:cubicBezTo>
                      <a:pt x="466201" y="282691"/>
                      <a:pt x="468820" y="282485"/>
                      <a:pt x="471855" y="282419"/>
                    </a:cubicBezTo>
                    <a:cubicBezTo>
                      <a:pt x="470382" y="290816"/>
                      <a:pt x="467418" y="289616"/>
                      <a:pt x="468990" y="297226"/>
                    </a:cubicBezTo>
                    <a:cubicBezTo>
                      <a:pt x="470626" y="305217"/>
                      <a:pt x="483499" y="319508"/>
                      <a:pt x="483499" y="325809"/>
                    </a:cubicBezTo>
                    <a:cubicBezTo>
                      <a:pt x="483499" y="332186"/>
                      <a:pt x="467355" y="335336"/>
                      <a:pt x="467355" y="338487"/>
                    </a:cubicBezTo>
                    <a:cubicBezTo>
                      <a:pt x="467355" y="341714"/>
                      <a:pt x="481863" y="344864"/>
                      <a:pt x="486699" y="348014"/>
                    </a:cubicBezTo>
                    <a:cubicBezTo>
                      <a:pt x="491535" y="351241"/>
                      <a:pt x="493171" y="352778"/>
                      <a:pt x="493171" y="362306"/>
                    </a:cubicBezTo>
                    <a:cubicBezTo>
                      <a:pt x="493171" y="371833"/>
                      <a:pt x="493171" y="397266"/>
                      <a:pt x="488335" y="405180"/>
                    </a:cubicBezTo>
                    <a:cubicBezTo>
                      <a:pt x="483499" y="413170"/>
                      <a:pt x="465790" y="406793"/>
                      <a:pt x="459318" y="411557"/>
                    </a:cubicBezTo>
                    <a:cubicBezTo>
                      <a:pt x="452846" y="416321"/>
                      <a:pt x="454482" y="432149"/>
                      <a:pt x="448010" y="438526"/>
                    </a:cubicBezTo>
                    <a:cubicBezTo>
                      <a:pt x="441609" y="444903"/>
                      <a:pt x="433502" y="448053"/>
                      <a:pt x="423829" y="454431"/>
                    </a:cubicBezTo>
                    <a:cubicBezTo>
                      <a:pt x="414157" y="460731"/>
                      <a:pt x="393177" y="465495"/>
                      <a:pt x="385140" y="473486"/>
                    </a:cubicBezTo>
                    <a:cubicBezTo>
                      <a:pt x="377032" y="481400"/>
                      <a:pt x="380304" y="492541"/>
                      <a:pt x="372196" y="500455"/>
                    </a:cubicBezTo>
                    <a:cubicBezTo>
                      <a:pt x="364160" y="508369"/>
                      <a:pt x="344815" y="513133"/>
                      <a:pt x="338343" y="521124"/>
                    </a:cubicBezTo>
                    <a:cubicBezTo>
                      <a:pt x="331942" y="529038"/>
                      <a:pt x="336778" y="543329"/>
                      <a:pt x="331942" y="548093"/>
                    </a:cubicBezTo>
                    <a:cubicBezTo>
                      <a:pt x="327106" y="552856"/>
                      <a:pt x="320634" y="544866"/>
                      <a:pt x="312526" y="548093"/>
                    </a:cubicBezTo>
                    <a:cubicBezTo>
                      <a:pt x="304490" y="551243"/>
                      <a:pt x="288346" y="557620"/>
                      <a:pt x="283510" y="567148"/>
                    </a:cubicBezTo>
                    <a:cubicBezTo>
                      <a:pt x="278673" y="576675"/>
                      <a:pt x="283510" y="587740"/>
                      <a:pt x="283510" y="602031"/>
                    </a:cubicBezTo>
                    <a:cubicBezTo>
                      <a:pt x="283510" y="616322"/>
                      <a:pt x="286781" y="636991"/>
                      <a:pt x="283510" y="652819"/>
                    </a:cubicBezTo>
                    <a:cubicBezTo>
                      <a:pt x="280309" y="668724"/>
                      <a:pt x="269001" y="686165"/>
                      <a:pt x="260965" y="700456"/>
                    </a:cubicBezTo>
                    <a:cubicBezTo>
                      <a:pt x="252857" y="714748"/>
                      <a:pt x="244820" y="727426"/>
                      <a:pt x="236784" y="735416"/>
                    </a:cubicBezTo>
                    <a:cubicBezTo>
                      <a:pt x="230703" y="741352"/>
                      <a:pt x="228303" y="756234"/>
                      <a:pt x="220672" y="753936"/>
                    </a:cubicBezTo>
                    <a:lnTo>
                      <a:pt x="210967" y="744944"/>
                    </a:lnTo>
                    <a:cubicBezTo>
                      <a:pt x="194823" y="722662"/>
                      <a:pt x="157769" y="643291"/>
                      <a:pt x="139989" y="597267"/>
                    </a:cubicBezTo>
                    <a:cubicBezTo>
                      <a:pt x="122281" y="551243"/>
                      <a:pt x="112608" y="495691"/>
                      <a:pt x="104501" y="463958"/>
                    </a:cubicBezTo>
                    <a:cubicBezTo>
                      <a:pt x="96464" y="432149"/>
                      <a:pt x="101300" y="414707"/>
                      <a:pt x="94828" y="409943"/>
                    </a:cubicBezTo>
                    <a:cubicBezTo>
                      <a:pt x="88427" y="405180"/>
                      <a:pt x="77119" y="436912"/>
                      <a:pt x="65811" y="438526"/>
                    </a:cubicBezTo>
                    <a:cubicBezTo>
                      <a:pt x="54503" y="440139"/>
                      <a:pt x="28758" y="425848"/>
                      <a:pt x="22286" y="419471"/>
                    </a:cubicBezTo>
                    <a:cubicBezTo>
                      <a:pt x="15814" y="413170"/>
                      <a:pt x="17450" y="402029"/>
                      <a:pt x="22286" y="397266"/>
                    </a:cubicBezTo>
                    <a:cubicBezTo>
                      <a:pt x="27122" y="392502"/>
                      <a:pt x="54503" y="389351"/>
                      <a:pt x="51303" y="387738"/>
                    </a:cubicBezTo>
                    <a:cubicBezTo>
                      <a:pt x="48102" y="386124"/>
                      <a:pt x="12614" y="387738"/>
                      <a:pt x="4506" y="382974"/>
                    </a:cubicBezTo>
                    <a:cubicBezTo>
                      <a:pt x="-3531" y="378210"/>
                      <a:pt x="1306" y="367069"/>
                      <a:pt x="2941" y="362306"/>
                    </a:cubicBezTo>
                    <a:lnTo>
                      <a:pt x="19014" y="349628"/>
                    </a:lnTo>
                    <a:cubicBezTo>
                      <a:pt x="27122" y="348014"/>
                      <a:pt x="44831" y="351241"/>
                      <a:pt x="52939" y="349628"/>
                    </a:cubicBezTo>
                    <a:cubicBezTo>
                      <a:pt x="60975" y="348014"/>
                      <a:pt x="64176" y="343250"/>
                      <a:pt x="65811" y="338487"/>
                    </a:cubicBezTo>
                    <a:lnTo>
                      <a:pt x="65811" y="319508"/>
                    </a:lnTo>
                    <a:cubicBezTo>
                      <a:pt x="64176" y="314745"/>
                      <a:pt x="54503" y="316281"/>
                      <a:pt x="51303" y="311518"/>
                    </a:cubicBezTo>
                    <a:cubicBezTo>
                      <a:pt x="48102" y="306754"/>
                      <a:pt x="46467" y="294076"/>
                      <a:pt x="41631" y="287699"/>
                    </a:cubicBezTo>
                    <a:cubicBezTo>
                      <a:pt x="36794" y="281398"/>
                      <a:pt x="20650" y="273407"/>
                      <a:pt x="22286" y="268644"/>
                    </a:cubicBezTo>
                    <a:cubicBezTo>
                      <a:pt x="23851" y="263880"/>
                      <a:pt x="46467" y="259116"/>
                      <a:pt x="56139" y="257579"/>
                    </a:cubicBezTo>
                    <a:cubicBezTo>
                      <a:pt x="65811" y="255966"/>
                      <a:pt x="77119" y="263880"/>
                      <a:pt x="85156" y="257579"/>
                    </a:cubicBezTo>
                    <a:cubicBezTo>
                      <a:pt x="93264" y="251202"/>
                      <a:pt x="89992" y="233761"/>
                      <a:pt x="99664" y="221083"/>
                    </a:cubicBezTo>
                    <a:cubicBezTo>
                      <a:pt x="109337" y="208328"/>
                      <a:pt x="133518" y="192500"/>
                      <a:pt x="143190" y="178209"/>
                    </a:cubicBezTo>
                    <a:cubicBezTo>
                      <a:pt x="152933" y="163918"/>
                      <a:pt x="164170" y="141712"/>
                      <a:pt x="162606" y="130571"/>
                    </a:cubicBezTo>
                    <a:cubicBezTo>
                      <a:pt x="160970" y="119430"/>
                      <a:pt x="136789" y="124194"/>
                      <a:pt x="130317" y="114666"/>
                    </a:cubicBezTo>
                    <a:cubicBezTo>
                      <a:pt x="123845" y="105139"/>
                      <a:pt x="123845" y="82933"/>
                      <a:pt x="122281" y="76556"/>
                    </a:cubicBezTo>
                    <a:cubicBezTo>
                      <a:pt x="121076" y="71917"/>
                      <a:pt x="117250" y="74110"/>
                      <a:pt x="115809" y="73406"/>
                    </a:cubicBezTo>
                    <a:cubicBezTo>
                      <a:pt x="117444" y="70256"/>
                      <a:pt x="127117" y="57501"/>
                      <a:pt x="128681" y="52737"/>
                    </a:cubicBezTo>
                    <a:cubicBezTo>
                      <a:pt x="130317" y="47974"/>
                      <a:pt x="128681" y="46437"/>
                      <a:pt x="123845" y="43287"/>
                    </a:cubicBezTo>
                    <a:cubicBezTo>
                      <a:pt x="119009" y="40060"/>
                      <a:pt x="102936" y="33759"/>
                      <a:pt x="99664" y="28995"/>
                    </a:cubicBezTo>
                    <a:cubicBezTo>
                      <a:pt x="96464" y="24231"/>
                      <a:pt x="99664" y="14704"/>
                      <a:pt x="104501" y="9940"/>
                    </a:cubicBezTo>
                    <a:cubicBezTo>
                      <a:pt x="109337" y="5176"/>
                      <a:pt x="125481" y="3563"/>
                      <a:pt x="128681" y="1949"/>
                    </a:cubicBezTo>
                    <a:lnTo>
                      <a:pt x="125706" y="4890"/>
                    </a:lnTo>
                    <a:lnTo>
                      <a:pt x="106136" y="9940"/>
                    </a:lnTo>
                    <a:cubicBezTo>
                      <a:pt x="99664" y="13090"/>
                      <a:pt x="106136" y="21004"/>
                      <a:pt x="106136" y="24231"/>
                    </a:cubicBezTo>
                    <a:lnTo>
                      <a:pt x="125706" y="4890"/>
                    </a:lnTo>
                    <a:cubicBezTo>
                      <a:pt x="135262" y="2946"/>
                      <a:pt x="145405" y="1227"/>
                      <a:pt x="149662" y="4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1" name="Freeform 147">
                <a:extLst>
                  <a:ext uri="{FF2B5EF4-FFF2-40B4-BE49-F238E27FC236}">
                    <a16:creationId xmlns:a16="http://schemas.microsoft.com/office/drawing/2014/main" id="{30C03887-1A3F-4152-8E01-C326E51B5E6A}"/>
                  </a:ext>
                </a:extLst>
              </p:cNvPr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gray">
              <a:xfrm>
                <a:off x="6667501" y="3700463"/>
                <a:ext cx="201613" cy="363538"/>
              </a:xfrm>
              <a:custGeom>
                <a:avLst/>
                <a:gdLst>
                  <a:gd name="T0" fmla="*/ 65 w 125"/>
                  <a:gd name="T1" fmla="*/ 217 h 229"/>
                  <a:gd name="T2" fmla="*/ 50 w 125"/>
                  <a:gd name="T3" fmla="*/ 208 h 229"/>
                  <a:gd name="T4" fmla="*/ 46 w 125"/>
                  <a:gd name="T5" fmla="*/ 192 h 229"/>
                  <a:gd name="T6" fmla="*/ 43 w 125"/>
                  <a:gd name="T7" fmla="*/ 180 h 229"/>
                  <a:gd name="T8" fmla="*/ 46 w 125"/>
                  <a:gd name="T9" fmla="*/ 168 h 229"/>
                  <a:gd name="T10" fmla="*/ 34 w 125"/>
                  <a:gd name="T11" fmla="*/ 171 h 229"/>
                  <a:gd name="T12" fmla="*/ 28 w 125"/>
                  <a:gd name="T13" fmla="*/ 157 h 229"/>
                  <a:gd name="T14" fmla="*/ 41 w 125"/>
                  <a:gd name="T15" fmla="*/ 142 h 229"/>
                  <a:gd name="T16" fmla="*/ 43 w 125"/>
                  <a:gd name="T17" fmla="*/ 127 h 229"/>
                  <a:gd name="T18" fmla="*/ 44 w 125"/>
                  <a:gd name="T19" fmla="*/ 112 h 229"/>
                  <a:gd name="T20" fmla="*/ 53 w 125"/>
                  <a:gd name="T21" fmla="*/ 108 h 229"/>
                  <a:gd name="T22" fmla="*/ 58 w 125"/>
                  <a:gd name="T23" fmla="*/ 124 h 229"/>
                  <a:gd name="T24" fmla="*/ 71 w 125"/>
                  <a:gd name="T25" fmla="*/ 126 h 229"/>
                  <a:gd name="T26" fmla="*/ 82 w 125"/>
                  <a:gd name="T27" fmla="*/ 139 h 229"/>
                  <a:gd name="T28" fmla="*/ 91 w 125"/>
                  <a:gd name="T29" fmla="*/ 153 h 229"/>
                  <a:gd name="T30" fmla="*/ 101 w 125"/>
                  <a:gd name="T31" fmla="*/ 157 h 229"/>
                  <a:gd name="T32" fmla="*/ 112 w 125"/>
                  <a:gd name="T33" fmla="*/ 159 h 229"/>
                  <a:gd name="T34" fmla="*/ 100 w 125"/>
                  <a:gd name="T35" fmla="*/ 147 h 229"/>
                  <a:gd name="T36" fmla="*/ 83 w 125"/>
                  <a:gd name="T37" fmla="*/ 126 h 229"/>
                  <a:gd name="T38" fmla="*/ 83 w 125"/>
                  <a:gd name="T39" fmla="*/ 100 h 229"/>
                  <a:gd name="T40" fmla="*/ 106 w 125"/>
                  <a:gd name="T41" fmla="*/ 99 h 229"/>
                  <a:gd name="T42" fmla="*/ 122 w 125"/>
                  <a:gd name="T43" fmla="*/ 94 h 229"/>
                  <a:gd name="T44" fmla="*/ 124 w 125"/>
                  <a:gd name="T45" fmla="*/ 73 h 229"/>
                  <a:gd name="T46" fmla="*/ 113 w 125"/>
                  <a:gd name="T47" fmla="*/ 63 h 229"/>
                  <a:gd name="T48" fmla="*/ 115 w 125"/>
                  <a:gd name="T49" fmla="*/ 46 h 229"/>
                  <a:gd name="T50" fmla="*/ 97 w 125"/>
                  <a:gd name="T51" fmla="*/ 33 h 229"/>
                  <a:gd name="T52" fmla="*/ 83 w 125"/>
                  <a:gd name="T53" fmla="*/ 39 h 229"/>
                  <a:gd name="T54" fmla="*/ 68 w 125"/>
                  <a:gd name="T55" fmla="*/ 36 h 229"/>
                  <a:gd name="T56" fmla="*/ 58 w 125"/>
                  <a:gd name="T57" fmla="*/ 46 h 229"/>
                  <a:gd name="T58" fmla="*/ 62 w 125"/>
                  <a:gd name="T59" fmla="*/ 19 h 229"/>
                  <a:gd name="T60" fmla="*/ 50 w 125"/>
                  <a:gd name="T61" fmla="*/ 9 h 229"/>
                  <a:gd name="T62" fmla="*/ 43 w 125"/>
                  <a:gd name="T63" fmla="*/ 0 h 229"/>
                  <a:gd name="T64" fmla="*/ 17 w 125"/>
                  <a:gd name="T65" fmla="*/ 7 h 229"/>
                  <a:gd name="T66" fmla="*/ 5 w 125"/>
                  <a:gd name="T67" fmla="*/ 18 h 229"/>
                  <a:gd name="T68" fmla="*/ 5 w 125"/>
                  <a:gd name="T69" fmla="*/ 37 h 229"/>
                  <a:gd name="T70" fmla="*/ 17 w 125"/>
                  <a:gd name="T71" fmla="*/ 57 h 229"/>
                  <a:gd name="T72" fmla="*/ 16 w 125"/>
                  <a:gd name="T73" fmla="*/ 73 h 229"/>
                  <a:gd name="T74" fmla="*/ 3 w 125"/>
                  <a:gd name="T75" fmla="*/ 63 h 229"/>
                  <a:gd name="T76" fmla="*/ 1 w 125"/>
                  <a:gd name="T77" fmla="*/ 57 h 229"/>
                  <a:gd name="T78" fmla="*/ 7 w 125"/>
                  <a:gd name="T79" fmla="*/ 90 h 229"/>
                  <a:gd name="T80" fmla="*/ 8 w 125"/>
                  <a:gd name="T81" fmla="*/ 100 h 229"/>
                  <a:gd name="T82" fmla="*/ 17 w 125"/>
                  <a:gd name="T83" fmla="*/ 111 h 229"/>
                  <a:gd name="T84" fmla="*/ 5 w 125"/>
                  <a:gd name="T85" fmla="*/ 117 h 229"/>
                  <a:gd name="T86" fmla="*/ 2 w 125"/>
                  <a:gd name="T87" fmla="*/ 124 h 229"/>
                  <a:gd name="T88" fmla="*/ 14 w 125"/>
                  <a:gd name="T89" fmla="*/ 150 h 229"/>
                  <a:gd name="T90" fmla="*/ 14 w 125"/>
                  <a:gd name="T91" fmla="*/ 163 h 229"/>
                  <a:gd name="T92" fmla="*/ 25 w 125"/>
                  <a:gd name="T93" fmla="*/ 192 h 229"/>
                  <a:gd name="T94" fmla="*/ 38 w 125"/>
                  <a:gd name="T95" fmla="*/ 213 h 229"/>
                  <a:gd name="T96" fmla="*/ 58 w 125"/>
                  <a:gd name="T97" fmla="*/ 229 h 229"/>
                  <a:gd name="T98" fmla="*/ 65 w 125"/>
                  <a:gd name="T99" fmla="*/ 217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5" h="229">
                    <a:moveTo>
                      <a:pt x="65" y="217"/>
                    </a:moveTo>
                    <a:cubicBezTo>
                      <a:pt x="64" y="214"/>
                      <a:pt x="53" y="212"/>
                      <a:pt x="50" y="208"/>
                    </a:cubicBezTo>
                    <a:cubicBezTo>
                      <a:pt x="47" y="204"/>
                      <a:pt x="47" y="197"/>
                      <a:pt x="46" y="192"/>
                    </a:cubicBezTo>
                    <a:cubicBezTo>
                      <a:pt x="45" y="187"/>
                      <a:pt x="43" y="184"/>
                      <a:pt x="43" y="180"/>
                    </a:cubicBezTo>
                    <a:cubicBezTo>
                      <a:pt x="43" y="176"/>
                      <a:pt x="47" y="169"/>
                      <a:pt x="46" y="168"/>
                    </a:cubicBezTo>
                    <a:cubicBezTo>
                      <a:pt x="45" y="167"/>
                      <a:pt x="37" y="173"/>
                      <a:pt x="34" y="171"/>
                    </a:cubicBezTo>
                    <a:cubicBezTo>
                      <a:pt x="31" y="169"/>
                      <a:pt x="27" y="162"/>
                      <a:pt x="28" y="157"/>
                    </a:cubicBezTo>
                    <a:cubicBezTo>
                      <a:pt x="29" y="152"/>
                      <a:pt x="39" y="147"/>
                      <a:pt x="41" y="142"/>
                    </a:cubicBezTo>
                    <a:cubicBezTo>
                      <a:pt x="43" y="137"/>
                      <a:pt x="43" y="132"/>
                      <a:pt x="43" y="127"/>
                    </a:cubicBezTo>
                    <a:cubicBezTo>
                      <a:pt x="43" y="122"/>
                      <a:pt x="42" y="115"/>
                      <a:pt x="44" y="112"/>
                    </a:cubicBezTo>
                    <a:cubicBezTo>
                      <a:pt x="46" y="109"/>
                      <a:pt x="51" y="106"/>
                      <a:pt x="53" y="108"/>
                    </a:cubicBezTo>
                    <a:cubicBezTo>
                      <a:pt x="55" y="110"/>
                      <a:pt x="55" y="121"/>
                      <a:pt x="58" y="124"/>
                    </a:cubicBezTo>
                    <a:cubicBezTo>
                      <a:pt x="61" y="127"/>
                      <a:pt x="67" y="124"/>
                      <a:pt x="71" y="126"/>
                    </a:cubicBezTo>
                    <a:cubicBezTo>
                      <a:pt x="75" y="128"/>
                      <a:pt x="79" y="134"/>
                      <a:pt x="82" y="139"/>
                    </a:cubicBezTo>
                    <a:cubicBezTo>
                      <a:pt x="85" y="144"/>
                      <a:pt x="88" y="150"/>
                      <a:pt x="91" y="153"/>
                    </a:cubicBezTo>
                    <a:cubicBezTo>
                      <a:pt x="94" y="156"/>
                      <a:pt x="97" y="156"/>
                      <a:pt x="101" y="157"/>
                    </a:cubicBezTo>
                    <a:cubicBezTo>
                      <a:pt x="105" y="158"/>
                      <a:pt x="112" y="161"/>
                      <a:pt x="112" y="159"/>
                    </a:cubicBezTo>
                    <a:cubicBezTo>
                      <a:pt x="112" y="157"/>
                      <a:pt x="105" y="152"/>
                      <a:pt x="100" y="147"/>
                    </a:cubicBezTo>
                    <a:cubicBezTo>
                      <a:pt x="95" y="142"/>
                      <a:pt x="86" y="134"/>
                      <a:pt x="83" y="126"/>
                    </a:cubicBezTo>
                    <a:cubicBezTo>
                      <a:pt x="80" y="118"/>
                      <a:pt x="79" y="104"/>
                      <a:pt x="83" y="100"/>
                    </a:cubicBezTo>
                    <a:cubicBezTo>
                      <a:pt x="87" y="96"/>
                      <a:pt x="100" y="100"/>
                      <a:pt x="106" y="99"/>
                    </a:cubicBezTo>
                    <a:cubicBezTo>
                      <a:pt x="112" y="98"/>
                      <a:pt x="119" y="98"/>
                      <a:pt x="122" y="94"/>
                    </a:cubicBezTo>
                    <a:cubicBezTo>
                      <a:pt x="125" y="90"/>
                      <a:pt x="125" y="78"/>
                      <a:pt x="124" y="73"/>
                    </a:cubicBezTo>
                    <a:cubicBezTo>
                      <a:pt x="123" y="68"/>
                      <a:pt x="114" y="67"/>
                      <a:pt x="113" y="63"/>
                    </a:cubicBezTo>
                    <a:cubicBezTo>
                      <a:pt x="112" y="59"/>
                      <a:pt x="118" y="51"/>
                      <a:pt x="115" y="46"/>
                    </a:cubicBezTo>
                    <a:cubicBezTo>
                      <a:pt x="112" y="41"/>
                      <a:pt x="102" y="34"/>
                      <a:pt x="97" y="33"/>
                    </a:cubicBezTo>
                    <a:cubicBezTo>
                      <a:pt x="92" y="32"/>
                      <a:pt x="88" y="39"/>
                      <a:pt x="83" y="39"/>
                    </a:cubicBezTo>
                    <a:cubicBezTo>
                      <a:pt x="78" y="39"/>
                      <a:pt x="72" y="35"/>
                      <a:pt x="68" y="36"/>
                    </a:cubicBezTo>
                    <a:cubicBezTo>
                      <a:pt x="64" y="37"/>
                      <a:pt x="59" y="49"/>
                      <a:pt x="58" y="46"/>
                    </a:cubicBezTo>
                    <a:cubicBezTo>
                      <a:pt x="57" y="43"/>
                      <a:pt x="63" y="25"/>
                      <a:pt x="62" y="19"/>
                    </a:cubicBezTo>
                    <a:cubicBezTo>
                      <a:pt x="61" y="13"/>
                      <a:pt x="53" y="12"/>
                      <a:pt x="50" y="9"/>
                    </a:cubicBezTo>
                    <a:cubicBezTo>
                      <a:pt x="47" y="6"/>
                      <a:pt x="48" y="0"/>
                      <a:pt x="43" y="0"/>
                    </a:cubicBezTo>
                    <a:cubicBezTo>
                      <a:pt x="38" y="0"/>
                      <a:pt x="23" y="4"/>
                      <a:pt x="17" y="7"/>
                    </a:cubicBezTo>
                    <a:cubicBezTo>
                      <a:pt x="11" y="10"/>
                      <a:pt x="7" y="13"/>
                      <a:pt x="5" y="18"/>
                    </a:cubicBezTo>
                    <a:cubicBezTo>
                      <a:pt x="3" y="23"/>
                      <a:pt x="3" y="30"/>
                      <a:pt x="5" y="37"/>
                    </a:cubicBezTo>
                    <a:cubicBezTo>
                      <a:pt x="7" y="44"/>
                      <a:pt x="15" y="51"/>
                      <a:pt x="17" y="57"/>
                    </a:cubicBezTo>
                    <a:cubicBezTo>
                      <a:pt x="19" y="63"/>
                      <a:pt x="18" y="72"/>
                      <a:pt x="16" y="73"/>
                    </a:cubicBezTo>
                    <a:cubicBezTo>
                      <a:pt x="14" y="74"/>
                      <a:pt x="5" y="66"/>
                      <a:pt x="3" y="63"/>
                    </a:cubicBezTo>
                    <a:cubicBezTo>
                      <a:pt x="1" y="60"/>
                      <a:pt x="0" y="53"/>
                      <a:pt x="1" y="57"/>
                    </a:cubicBezTo>
                    <a:cubicBezTo>
                      <a:pt x="2" y="61"/>
                      <a:pt x="6" y="83"/>
                      <a:pt x="7" y="90"/>
                    </a:cubicBezTo>
                    <a:cubicBezTo>
                      <a:pt x="8" y="97"/>
                      <a:pt x="6" y="97"/>
                      <a:pt x="8" y="100"/>
                    </a:cubicBezTo>
                    <a:cubicBezTo>
                      <a:pt x="10" y="103"/>
                      <a:pt x="17" y="108"/>
                      <a:pt x="17" y="111"/>
                    </a:cubicBezTo>
                    <a:cubicBezTo>
                      <a:pt x="17" y="114"/>
                      <a:pt x="7" y="115"/>
                      <a:pt x="5" y="117"/>
                    </a:cubicBezTo>
                    <a:cubicBezTo>
                      <a:pt x="3" y="119"/>
                      <a:pt x="1" y="119"/>
                      <a:pt x="2" y="124"/>
                    </a:cubicBezTo>
                    <a:cubicBezTo>
                      <a:pt x="3" y="129"/>
                      <a:pt x="12" y="144"/>
                      <a:pt x="14" y="150"/>
                    </a:cubicBezTo>
                    <a:cubicBezTo>
                      <a:pt x="16" y="156"/>
                      <a:pt x="12" y="156"/>
                      <a:pt x="14" y="163"/>
                    </a:cubicBezTo>
                    <a:cubicBezTo>
                      <a:pt x="16" y="170"/>
                      <a:pt x="21" y="184"/>
                      <a:pt x="25" y="192"/>
                    </a:cubicBezTo>
                    <a:cubicBezTo>
                      <a:pt x="29" y="200"/>
                      <a:pt x="33" y="207"/>
                      <a:pt x="38" y="213"/>
                    </a:cubicBezTo>
                    <a:cubicBezTo>
                      <a:pt x="43" y="219"/>
                      <a:pt x="53" y="229"/>
                      <a:pt x="58" y="229"/>
                    </a:cubicBezTo>
                    <a:cubicBezTo>
                      <a:pt x="63" y="229"/>
                      <a:pt x="66" y="220"/>
                      <a:pt x="65" y="21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2" name="Freeform 148">
                <a:extLst>
                  <a:ext uri="{FF2B5EF4-FFF2-40B4-BE49-F238E27FC236}">
                    <a16:creationId xmlns:a16="http://schemas.microsoft.com/office/drawing/2014/main" id="{3303609F-622E-4030-AB21-6C9688751C04}"/>
                  </a:ext>
                </a:extLst>
              </p:cNvPr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gray">
              <a:xfrm>
                <a:off x="6789738" y="3622675"/>
                <a:ext cx="176213" cy="373063"/>
              </a:xfrm>
              <a:custGeom>
                <a:avLst/>
                <a:gdLst>
                  <a:gd name="T0" fmla="*/ 33 w 109"/>
                  <a:gd name="T1" fmla="*/ 202 h 235"/>
                  <a:gd name="T2" fmla="*/ 49 w 109"/>
                  <a:gd name="T3" fmla="*/ 187 h 235"/>
                  <a:gd name="T4" fmla="*/ 75 w 109"/>
                  <a:gd name="T5" fmla="*/ 176 h 235"/>
                  <a:gd name="T6" fmla="*/ 75 w 109"/>
                  <a:gd name="T7" fmla="*/ 148 h 235"/>
                  <a:gd name="T8" fmla="*/ 54 w 109"/>
                  <a:gd name="T9" fmla="*/ 143 h 235"/>
                  <a:gd name="T10" fmla="*/ 76 w 109"/>
                  <a:gd name="T11" fmla="*/ 139 h 235"/>
                  <a:gd name="T12" fmla="*/ 64 w 109"/>
                  <a:gd name="T13" fmla="*/ 110 h 235"/>
                  <a:gd name="T14" fmla="*/ 45 w 109"/>
                  <a:gd name="T15" fmla="*/ 86 h 235"/>
                  <a:gd name="T16" fmla="*/ 25 w 109"/>
                  <a:gd name="T17" fmla="*/ 70 h 235"/>
                  <a:gd name="T18" fmla="*/ 39 w 109"/>
                  <a:gd name="T19" fmla="*/ 53 h 235"/>
                  <a:gd name="T20" fmla="*/ 27 w 109"/>
                  <a:gd name="T21" fmla="*/ 45 h 235"/>
                  <a:gd name="T22" fmla="*/ 20 w 109"/>
                  <a:gd name="T23" fmla="*/ 38 h 235"/>
                  <a:gd name="T24" fmla="*/ 6 w 109"/>
                  <a:gd name="T25" fmla="*/ 28 h 235"/>
                  <a:gd name="T26" fmla="*/ 0 w 109"/>
                  <a:gd name="T27" fmla="*/ 16 h 235"/>
                  <a:gd name="T28" fmla="*/ 6 w 109"/>
                  <a:gd name="T29" fmla="*/ 7 h 235"/>
                  <a:gd name="T30" fmla="*/ 19 w 109"/>
                  <a:gd name="T31" fmla="*/ 16 h 235"/>
                  <a:gd name="T32" fmla="*/ 34 w 109"/>
                  <a:gd name="T33" fmla="*/ 10 h 235"/>
                  <a:gd name="T34" fmla="*/ 45 w 109"/>
                  <a:gd name="T35" fmla="*/ 4 h 235"/>
                  <a:gd name="T36" fmla="*/ 81 w 109"/>
                  <a:gd name="T37" fmla="*/ 32 h 235"/>
                  <a:gd name="T38" fmla="*/ 63 w 109"/>
                  <a:gd name="T39" fmla="*/ 49 h 235"/>
                  <a:gd name="T40" fmla="*/ 51 w 109"/>
                  <a:gd name="T41" fmla="*/ 65 h 235"/>
                  <a:gd name="T42" fmla="*/ 55 w 109"/>
                  <a:gd name="T43" fmla="*/ 82 h 235"/>
                  <a:gd name="T44" fmla="*/ 79 w 109"/>
                  <a:gd name="T45" fmla="*/ 110 h 235"/>
                  <a:gd name="T46" fmla="*/ 94 w 109"/>
                  <a:gd name="T47" fmla="*/ 130 h 235"/>
                  <a:gd name="T48" fmla="*/ 105 w 109"/>
                  <a:gd name="T49" fmla="*/ 154 h 235"/>
                  <a:gd name="T50" fmla="*/ 105 w 109"/>
                  <a:gd name="T51" fmla="*/ 193 h 235"/>
                  <a:gd name="T52" fmla="*/ 81 w 109"/>
                  <a:gd name="T53" fmla="*/ 197 h 235"/>
                  <a:gd name="T54" fmla="*/ 64 w 109"/>
                  <a:gd name="T55" fmla="*/ 209 h 235"/>
                  <a:gd name="T56" fmla="*/ 61 w 109"/>
                  <a:gd name="T57" fmla="*/ 221 h 235"/>
                  <a:gd name="T58" fmla="*/ 43 w 109"/>
                  <a:gd name="T59" fmla="*/ 235 h 235"/>
                  <a:gd name="T60" fmla="*/ 36 w 109"/>
                  <a:gd name="T61" fmla="*/ 220 h 235"/>
                  <a:gd name="T62" fmla="*/ 33 w 109"/>
                  <a:gd name="T63" fmla="*/ 20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9" h="235">
                    <a:moveTo>
                      <a:pt x="33" y="202"/>
                    </a:moveTo>
                    <a:cubicBezTo>
                      <a:pt x="35" y="197"/>
                      <a:pt x="42" y="191"/>
                      <a:pt x="49" y="187"/>
                    </a:cubicBezTo>
                    <a:cubicBezTo>
                      <a:pt x="56" y="183"/>
                      <a:pt x="71" y="182"/>
                      <a:pt x="75" y="176"/>
                    </a:cubicBezTo>
                    <a:cubicBezTo>
                      <a:pt x="79" y="170"/>
                      <a:pt x="78" y="153"/>
                      <a:pt x="75" y="148"/>
                    </a:cubicBezTo>
                    <a:cubicBezTo>
                      <a:pt x="72" y="143"/>
                      <a:pt x="54" y="144"/>
                      <a:pt x="54" y="143"/>
                    </a:cubicBezTo>
                    <a:cubicBezTo>
                      <a:pt x="54" y="142"/>
                      <a:pt x="74" y="144"/>
                      <a:pt x="76" y="139"/>
                    </a:cubicBezTo>
                    <a:cubicBezTo>
                      <a:pt x="78" y="134"/>
                      <a:pt x="69" y="119"/>
                      <a:pt x="64" y="110"/>
                    </a:cubicBezTo>
                    <a:cubicBezTo>
                      <a:pt x="59" y="101"/>
                      <a:pt x="51" y="93"/>
                      <a:pt x="45" y="86"/>
                    </a:cubicBezTo>
                    <a:cubicBezTo>
                      <a:pt x="39" y="79"/>
                      <a:pt x="26" y="75"/>
                      <a:pt x="25" y="70"/>
                    </a:cubicBezTo>
                    <a:cubicBezTo>
                      <a:pt x="24" y="65"/>
                      <a:pt x="39" y="57"/>
                      <a:pt x="39" y="53"/>
                    </a:cubicBezTo>
                    <a:cubicBezTo>
                      <a:pt x="39" y="49"/>
                      <a:pt x="30" y="47"/>
                      <a:pt x="27" y="45"/>
                    </a:cubicBezTo>
                    <a:cubicBezTo>
                      <a:pt x="24" y="43"/>
                      <a:pt x="23" y="41"/>
                      <a:pt x="20" y="38"/>
                    </a:cubicBezTo>
                    <a:cubicBezTo>
                      <a:pt x="17" y="35"/>
                      <a:pt x="9" y="32"/>
                      <a:pt x="6" y="28"/>
                    </a:cubicBezTo>
                    <a:cubicBezTo>
                      <a:pt x="3" y="24"/>
                      <a:pt x="0" y="19"/>
                      <a:pt x="0" y="16"/>
                    </a:cubicBezTo>
                    <a:cubicBezTo>
                      <a:pt x="0" y="13"/>
                      <a:pt x="3" y="7"/>
                      <a:pt x="6" y="7"/>
                    </a:cubicBezTo>
                    <a:cubicBezTo>
                      <a:pt x="9" y="7"/>
                      <a:pt x="14" y="15"/>
                      <a:pt x="19" y="16"/>
                    </a:cubicBezTo>
                    <a:cubicBezTo>
                      <a:pt x="24" y="17"/>
                      <a:pt x="30" y="12"/>
                      <a:pt x="34" y="10"/>
                    </a:cubicBezTo>
                    <a:cubicBezTo>
                      <a:pt x="38" y="8"/>
                      <a:pt x="37" y="0"/>
                      <a:pt x="45" y="4"/>
                    </a:cubicBezTo>
                    <a:cubicBezTo>
                      <a:pt x="53" y="8"/>
                      <a:pt x="78" y="25"/>
                      <a:pt x="81" y="32"/>
                    </a:cubicBezTo>
                    <a:cubicBezTo>
                      <a:pt x="84" y="39"/>
                      <a:pt x="68" y="43"/>
                      <a:pt x="63" y="49"/>
                    </a:cubicBezTo>
                    <a:cubicBezTo>
                      <a:pt x="58" y="55"/>
                      <a:pt x="52" y="60"/>
                      <a:pt x="51" y="65"/>
                    </a:cubicBezTo>
                    <a:cubicBezTo>
                      <a:pt x="50" y="70"/>
                      <a:pt x="50" y="75"/>
                      <a:pt x="55" y="82"/>
                    </a:cubicBezTo>
                    <a:cubicBezTo>
                      <a:pt x="60" y="89"/>
                      <a:pt x="72" y="102"/>
                      <a:pt x="79" y="110"/>
                    </a:cubicBezTo>
                    <a:cubicBezTo>
                      <a:pt x="86" y="118"/>
                      <a:pt x="90" y="123"/>
                      <a:pt x="94" y="130"/>
                    </a:cubicBezTo>
                    <a:cubicBezTo>
                      <a:pt x="98" y="137"/>
                      <a:pt x="103" y="144"/>
                      <a:pt x="105" y="154"/>
                    </a:cubicBezTo>
                    <a:cubicBezTo>
                      <a:pt x="107" y="164"/>
                      <a:pt x="109" y="186"/>
                      <a:pt x="105" y="193"/>
                    </a:cubicBezTo>
                    <a:cubicBezTo>
                      <a:pt x="101" y="200"/>
                      <a:pt x="88" y="194"/>
                      <a:pt x="81" y="197"/>
                    </a:cubicBezTo>
                    <a:cubicBezTo>
                      <a:pt x="74" y="200"/>
                      <a:pt x="67" y="205"/>
                      <a:pt x="64" y="209"/>
                    </a:cubicBezTo>
                    <a:cubicBezTo>
                      <a:pt x="61" y="213"/>
                      <a:pt x="65" y="217"/>
                      <a:pt x="61" y="221"/>
                    </a:cubicBezTo>
                    <a:cubicBezTo>
                      <a:pt x="57" y="225"/>
                      <a:pt x="47" y="235"/>
                      <a:pt x="43" y="235"/>
                    </a:cubicBezTo>
                    <a:cubicBezTo>
                      <a:pt x="39" y="235"/>
                      <a:pt x="37" y="225"/>
                      <a:pt x="36" y="220"/>
                    </a:cubicBezTo>
                    <a:cubicBezTo>
                      <a:pt x="35" y="215"/>
                      <a:pt x="31" y="207"/>
                      <a:pt x="33" y="20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3" name="Freeform 154">
                <a:extLst>
                  <a:ext uri="{FF2B5EF4-FFF2-40B4-BE49-F238E27FC236}">
                    <a16:creationId xmlns:a16="http://schemas.microsoft.com/office/drawing/2014/main" id="{CE22A543-859D-4677-808C-36370E075F16}"/>
                  </a:ext>
                </a:extLst>
              </p:cNvPr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gray">
              <a:xfrm>
                <a:off x="8318501" y="5086350"/>
                <a:ext cx="290513" cy="414338"/>
              </a:xfrm>
              <a:custGeom>
                <a:avLst/>
                <a:gdLst>
                  <a:gd name="T0" fmla="*/ 36 w 180"/>
                  <a:gd name="T1" fmla="*/ 244 h 261"/>
                  <a:gd name="T2" fmla="*/ 55 w 180"/>
                  <a:gd name="T3" fmla="*/ 237 h 261"/>
                  <a:gd name="T4" fmla="*/ 66 w 180"/>
                  <a:gd name="T5" fmla="*/ 214 h 261"/>
                  <a:gd name="T6" fmla="*/ 81 w 180"/>
                  <a:gd name="T7" fmla="*/ 198 h 261"/>
                  <a:gd name="T8" fmla="*/ 85 w 180"/>
                  <a:gd name="T9" fmla="*/ 186 h 261"/>
                  <a:gd name="T10" fmla="*/ 108 w 180"/>
                  <a:gd name="T11" fmla="*/ 186 h 261"/>
                  <a:gd name="T12" fmla="*/ 96 w 180"/>
                  <a:gd name="T13" fmla="*/ 172 h 261"/>
                  <a:gd name="T14" fmla="*/ 105 w 180"/>
                  <a:gd name="T15" fmla="*/ 156 h 261"/>
                  <a:gd name="T16" fmla="*/ 121 w 180"/>
                  <a:gd name="T17" fmla="*/ 136 h 261"/>
                  <a:gd name="T18" fmla="*/ 129 w 180"/>
                  <a:gd name="T19" fmla="*/ 129 h 261"/>
                  <a:gd name="T20" fmla="*/ 142 w 180"/>
                  <a:gd name="T21" fmla="*/ 135 h 261"/>
                  <a:gd name="T22" fmla="*/ 156 w 180"/>
                  <a:gd name="T23" fmla="*/ 108 h 261"/>
                  <a:gd name="T24" fmla="*/ 162 w 180"/>
                  <a:gd name="T25" fmla="*/ 97 h 261"/>
                  <a:gd name="T26" fmla="*/ 175 w 180"/>
                  <a:gd name="T27" fmla="*/ 82 h 261"/>
                  <a:gd name="T28" fmla="*/ 178 w 180"/>
                  <a:gd name="T29" fmla="*/ 64 h 261"/>
                  <a:gd name="T30" fmla="*/ 162 w 180"/>
                  <a:gd name="T31" fmla="*/ 69 h 261"/>
                  <a:gd name="T32" fmla="*/ 147 w 180"/>
                  <a:gd name="T33" fmla="*/ 60 h 261"/>
                  <a:gd name="T34" fmla="*/ 144 w 180"/>
                  <a:gd name="T35" fmla="*/ 34 h 261"/>
                  <a:gd name="T36" fmla="*/ 135 w 180"/>
                  <a:gd name="T37" fmla="*/ 27 h 261"/>
                  <a:gd name="T38" fmla="*/ 124 w 180"/>
                  <a:gd name="T39" fmla="*/ 19 h 261"/>
                  <a:gd name="T40" fmla="*/ 112 w 180"/>
                  <a:gd name="T41" fmla="*/ 9 h 261"/>
                  <a:gd name="T42" fmla="*/ 100 w 180"/>
                  <a:gd name="T43" fmla="*/ 3 h 261"/>
                  <a:gd name="T44" fmla="*/ 103 w 180"/>
                  <a:gd name="T45" fmla="*/ 27 h 261"/>
                  <a:gd name="T46" fmla="*/ 121 w 180"/>
                  <a:gd name="T47" fmla="*/ 52 h 261"/>
                  <a:gd name="T48" fmla="*/ 130 w 180"/>
                  <a:gd name="T49" fmla="*/ 72 h 261"/>
                  <a:gd name="T50" fmla="*/ 123 w 180"/>
                  <a:gd name="T51" fmla="*/ 84 h 261"/>
                  <a:gd name="T52" fmla="*/ 114 w 180"/>
                  <a:gd name="T53" fmla="*/ 91 h 261"/>
                  <a:gd name="T54" fmla="*/ 136 w 180"/>
                  <a:gd name="T55" fmla="*/ 115 h 261"/>
                  <a:gd name="T56" fmla="*/ 121 w 180"/>
                  <a:gd name="T57" fmla="*/ 132 h 261"/>
                  <a:gd name="T58" fmla="*/ 103 w 180"/>
                  <a:gd name="T59" fmla="*/ 129 h 261"/>
                  <a:gd name="T60" fmla="*/ 99 w 180"/>
                  <a:gd name="T61" fmla="*/ 117 h 261"/>
                  <a:gd name="T62" fmla="*/ 79 w 180"/>
                  <a:gd name="T63" fmla="*/ 129 h 261"/>
                  <a:gd name="T64" fmla="*/ 79 w 180"/>
                  <a:gd name="T65" fmla="*/ 142 h 261"/>
                  <a:gd name="T66" fmla="*/ 75 w 180"/>
                  <a:gd name="T67" fmla="*/ 157 h 261"/>
                  <a:gd name="T68" fmla="*/ 45 w 180"/>
                  <a:gd name="T69" fmla="*/ 186 h 261"/>
                  <a:gd name="T70" fmla="*/ 28 w 180"/>
                  <a:gd name="T71" fmla="*/ 189 h 261"/>
                  <a:gd name="T72" fmla="*/ 4 w 180"/>
                  <a:gd name="T73" fmla="*/ 210 h 261"/>
                  <a:gd name="T74" fmla="*/ 3 w 180"/>
                  <a:gd name="T75" fmla="*/ 229 h 261"/>
                  <a:gd name="T76" fmla="*/ 15 w 180"/>
                  <a:gd name="T77" fmla="*/ 237 h 261"/>
                  <a:gd name="T78" fmla="*/ 19 w 180"/>
                  <a:gd name="T79" fmla="*/ 258 h 261"/>
                  <a:gd name="T80" fmla="*/ 33 w 180"/>
                  <a:gd name="T81" fmla="*/ 256 h 261"/>
                  <a:gd name="T82" fmla="*/ 36 w 180"/>
                  <a:gd name="T83" fmla="*/ 244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0" h="261">
                    <a:moveTo>
                      <a:pt x="36" y="244"/>
                    </a:moveTo>
                    <a:cubicBezTo>
                      <a:pt x="40" y="241"/>
                      <a:pt x="50" y="242"/>
                      <a:pt x="55" y="237"/>
                    </a:cubicBezTo>
                    <a:cubicBezTo>
                      <a:pt x="60" y="232"/>
                      <a:pt x="62" y="220"/>
                      <a:pt x="66" y="214"/>
                    </a:cubicBezTo>
                    <a:cubicBezTo>
                      <a:pt x="70" y="208"/>
                      <a:pt x="78" y="203"/>
                      <a:pt x="81" y="198"/>
                    </a:cubicBezTo>
                    <a:cubicBezTo>
                      <a:pt x="84" y="193"/>
                      <a:pt x="81" y="188"/>
                      <a:pt x="85" y="186"/>
                    </a:cubicBezTo>
                    <a:cubicBezTo>
                      <a:pt x="89" y="184"/>
                      <a:pt x="106" y="188"/>
                      <a:pt x="108" y="186"/>
                    </a:cubicBezTo>
                    <a:cubicBezTo>
                      <a:pt x="110" y="184"/>
                      <a:pt x="97" y="177"/>
                      <a:pt x="96" y="172"/>
                    </a:cubicBezTo>
                    <a:cubicBezTo>
                      <a:pt x="95" y="167"/>
                      <a:pt x="101" y="162"/>
                      <a:pt x="105" y="156"/>
                    </a:cubicBezTo>
                    <a:cubicBezTo>
                      <a:pt x="109" y="150"/>
                      <a:pt x="117" y="141"/>
                      <a:pt x="121" y="136"/>
                    </a:cubicBezTo>
                    <a:cubicBezTo>
                      <a:pt x="125" y="131"/>
                      <a:pt x="126" y="129"/>
                      <a:pt x="129" y="129"/>
                    </a:cubicBezTo>
                    <a:cubicBezTo>
                      <a:pt x="132" y="129"/>
                      <a:pt x="138" y="138"/>
                      <a:pt x="142" y="135"/>
                    </a:cubicBezTo>
                    <a:cubicBezTo>
                      <a:pt x="146" y="132"/>
                      <a:pt x="153" y="114"/>
                      <a:pt x="156" y="108"/>
                    </a:cubicBezTo>
                    <a:cubicBezTo>
                      <a:pt x="159" y="102"/>
                      <a:pt x="159" y="101"/>
                      <a:pt x="162" y="97"/>
                    </a:cubicBezTo>
                    <a:cubicBezTo>
                      <a:pt x="165" y="93"/>
                      <a:pt x="172" y="87"/>
                      <a:pt x="175" y="82"/>
                    </a:cubicBezTo>
                    <a:cubicBezTo>
                      <a:pt x="178" y="77"/>
                      <a:pt x="180" y="66"/>
                      <a:pt x="178" y="64"/>
                    </a:cubicBezTo>
                    <a:cubicBezTo>
                      <a:pt x="176" y="62"/>
                      <a:pt x="167" y="70"/>
                      <a:pt x="162" y="69"/>
                    </a:cubicBezTo>
                    <a:cubicBezTo>
                      <a:pt x="157" y="68"/>
                      <a:pt x="150" y="66"/>
                      <a:pt x="147" y="60"/>
                    </a:cubicBezTo>
                    <a:cubicBezTo>
                      <a:pt x="144" y="54"/>
                      <a:pt x="146" y="39"/>
                      <a:pt x="144" y="34"/>
                    </a:cubicBezTo>
                    <a:cubicBezTo>
                      <a:pt x="142" y="29"/>
                      <a:pt x="138" y="29"/>
                      <a:pt x="135" y="27"/>
                    </a:cubicBezTo>
                    <a:cubicBezTo>
                      <a:pt x="132" y="25"/>
                      <a:pt x="128" y="22"/>
                      <a:pt x="124" y="19"/>
                    </a:cubicBezTo>
                    <a:cubicBezTo>
                      <a:pt x="120" y="16"/>
                      <a:pt x="116" y="12"/>
                      <a:pt x="112" y="9"/>
                    </a:cubicBezTo>
                    <a:cubicBezTo>
                      <a:pt x="108" y="6"/>
                      <a:pt x="101" y="0"/>
                      <a:pt x="100" y="3"/>
                    </a:cubicBezTo>
                    <a:cubicBezTo>
                      <a:pt x="99" y="6"/>
                      <a:pt x="100" y="19"/>
                      <a:pt x="103" y="27"/>
                    </a:cubicBezTo>
                    <a:cubicBezTo>
                      <a:pt x="106" y="35"/>
                      <a:pt x="117" y="45"/>
                      <a:pt x="121" y="52"/>
                    </a:cubicBezTo>
                    <a:cubicBezTo>
                      <a:pt x="125" y="59"/>
                      <a:pt x="130" y="67"/>
                      <a:pt x="130" y="72"/>
                    </a:cubicBezTo>
                    <a:cubicBezTo>
                      <a:pt x="130" y="77"/>
                      <a:pt x="126" y="81"/>
                      <a:pt x="123" y="84"/>
                    </a:cubicBezTo>
                    <a:cubicBezTo>
                      <a:pt x="120" y="87"/>
                      <a:pt x="112" y="86"/>
                      <a:pt x="114" y="91"/>
                    </a:cubicBezTo>
                    <a:cubicBezTo>
                      <a:pt x="116" y="96"/>
                      <a:pt x="135" y="108"/>
                      <a:pt x="136" y="115"/>
                    </a:cubicBezTo>
                    <a:cubicBezTo>
                      <a:pt x="137" y="122"/>
                      <a:pt x="126" y="130"/>
                      <a:pt x="121" y="132"/>
                    </a:cubicBezTo>
                    <a:cubicBezTo>
                      <a:pt x="116" y="134"/>
                      <a:pt x="107" y="131"/>
                      <a:pt x="103" y="129"/>
                    </a:cubicBezTo>
                    <a:cubicBezTo>
                      <a:pt x="99" y="127"/>
                      <a:pt x="103" y="117"/>
                      <a:pt x="99" y="117"/>
                    </a:cubicBezTo>
                    <a:cubicBezTo>
                      <a:pt x="95" y="117"/>
                      <a:pt x="82" y="125"/>
                      <a:pt x="79" y="129"/>
                    </a:cubicBezTo>
                    <a:cubicBezTo>
                      <a:pt x="76" y="133"/>
                      <a:pt x="80" y="137"/>
                      <a:pt x="79" y="142"/>
                    </a:cubicBezTo>
                    <a:cubicBezTo>
                      <a:pt x="78" y="147"/>
                      <a:pt x="81" y="150"/>
                      <a:pt x="75" y="157"/>
                    </a:cubicBezTo>
                    <a:cubicBezTo>
                      <a:pt x="69" y="164"/>
                      <a:pt x="53" y="181"/>
                      <a:pt x="45" y="186"/>
                    </a:cubicBezTo>
                    <a:cubicBezTo>
                      <a:pt x="37" y="191"/>
                      <a:pt x="35" y="185"/>
                      <a:pt x="28" y="189"/>
                    </a:cubicBezTo>
                    <a:cubicBezTo>
                      <a:pt x="21" y="193"/>
                      <a:pt x="8" y="203"/>
                      <a:pt x="4" y="210"/>
                    </a:cubicBezTo>
                    <a:cubicBezTo>
                      <a:pt x="0" y="217"/>
                      <a:pt x="1" y="225"/>
                      <a:pt x="3" y="229"/>
                    </a:cubicBezTo>
                    <a:cubicBezTo>
                      <a:pt x="5" y="233"/>
                      <a:pt x="12" y="232"/>
                      <a:pt x="15" y="237"/>
                    </a:cubicBezTo>
                    <a:cubicBezTo>
                      <a:pt x="18" y="242"/>
                      <a:pt x="16" y="255"/>
                      <a:pt x="19" y="258"/>
                    </a:cubicBezTo>
                    <a:cubicBezTo>
                      <a:pt x="22" y="261"/>
                      <a:pt x="30" y="258"/>
                      <a:pt x="33" y="256"/>
                    </a:cubicBezTo>
                    <a:cubicBezTo>
                      <a:pt x="36" y="254"/>
                      <a:pt x="32" y="247"/>
                      <a:pt x="36" y="24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4" name="Freeform 164">
                <a:extLst>
                  <a:ext uri="{FF2B5EF4-FFF2-40B4-BE49-F238E27FC236}">
                    <a16:creationId xmlns:a16="http://schemas.microsoft.com/office/drawing/2014/main" id="{10F9A0FC-370B-4F9B-ACA2-B349D211B47F}"/>
                  </a:ext>
                </a:extLst>
              </p:cNvPr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gray">
              <a:xfrm>
                <a:off x="7200900" y="3687763"/>
                <a:ext cx="179388" cy="371381"/>
              </a:xfrm>
              <a:custGeom>
                <a:avLst/>
                <a:gdLst/>
                <a:ahLst/>
                <a:cxnLst/>
                <a:rect l="l" t="t" r="r" b="b"/>
                <a:pathLst>
                  <a:path w="179388" h="371381">
                    <a:moveTo>
                      <a:pt x="84324" y="270723"/>
                    </a:moveTo>
                    <a:lnTo>
                      <a:pt x="84038" y="271462"/>
                    </a:lnTo>
                    <a:cubicBezTo>
                      <a:pt x="78442" y="272731"/>
                      <a:pt x="79725" y="272085"/>
                      <a:pt x="84324" y="270723"/>
                    </a:cubicBezTo>
                    <a:close/>
                    <a:moveTo>
                      <a:pt x="54140" y="47625"/>
                    </a:moveTo>
                    <a:cubicBezTo>
                      <a:pt x="58584" y="47228"/>
                      <a:pt x="62220" y="48418"/>
                      <a:pt x="67877" y="53975"/>
                    </a:cubicBezTo>
                    <a:cubicBezTo>
                      <a:pt x="69493" y="65087"/>
                      <a:pt x="69493" y="74612"/>
                      <a:pt x="64645" y="84137"/>
                    </a:cubicBezTo>
                    <a:cubicBezTo>
                      <a:pt x="72725" y="103187"/>
                      <a:pt x="71109" y="115887"/>
                      <a:pt x="50099" y="120650"/>
                    </a:cubicBezTo>
                    <a:cubicBezTo>
                      <a:pt x="32322" y="142875"/>
                      <a:pt x="48483" y="144462"/>
                      <a:pt x="72725" y="146050"/>
                    </a:cubicBezTo>
                    <a:cubicBezTo>
                      <a:pt x="79190" y="174625"/>
                      <a:pt x="79190" y="168275"/>
                      <a:pt x="117976" y="169862"/>
                    </a:cubicBezTo>
                    <a:cubicBezTo>
                      <a:pt x="113128" y="193675"/>
                      <a:pt x="121208" y="201612"/>
                      <a:pt x="142218" y="211137"/>
                    </a:cubicBezTo>
                    <a:cubicBezTo>
                      <a:pt x="145450" y="236537"/>
                      <a:pt x="148682" y="239712"/>
                      <a:pt x="159995" y="258762"/>
                    </a:cubicBezTo>
                    <a:cubicBezTo>
                      <a:pt x="161611" y="290513"/>
                      <a:pt x="161611" y="303213"/>
                      <a:pt x="179388" y="327025"/>
                    </a:cubicBezTo>
                    <a:cubicBezTo>
                      <a:pt x="156763" y="341313"/>
                      <a:pt x="176156" y="352425"/>
                      <a:pt x="142218" y="355600"/>
                    </a:cubicBezTo>
                    <a:lnTo>
                      <a:pt x="137370" y="371078"/>
                    </a:lnTo>
                    <a:cubicBezTo>
                      <a:pt x="134945" y="372269"/>
                      <a:pt x="130905" y="369888"/>
                      <a:pt x="122824" y="365125"/>
                    </a:cubicBezTo>
                    <a:cubicBezTo>
                      <a:pt x="114744" y="354013"/>
                      <a:pt x="105047" y="346075"/>
                      <a:pt x="98583" y="331788"/>
                    </a:cubicBezTo>
                    <a:cubicBezTo>
                      <a:pt x="98583" y="315913"/>
                      <a:pt x="124441" y="276225"/>
                      <a:pt x="122824" y="266700"/>
                    </a:cubicBezTo>
                    <a:cubicBezTo>
                      <a:pt x="122554" y="260449"/>
                      <a:pt x="94803" y="267516"/>
                      <a:pt x="84324" y="270723"/>
                    </a:cubicBezTo>
                    <a:cubicBezTo>
                      <a:pt x="100983" y="262770"/>
                      <a:pt x="61496" y="226831"/>
                      <a:pt x="69493" y="209550"/>
                    </a:cubicBezTo>
                    <a:cubicBezTo>
                      <a:pt x="59796" y="200025"/>
                      <a:pt x="32322" y="215900"/>
                      <a:pt x="25857" y="212725"/>
                    </a:cubicBezTo>
                    <a:cubicBezTo>
                      <a:pt x="33938" y="207962"/>
                      <a:pt x="40402" y="207962"/>
                      <a:pt x="30706" y="193675"/>
                    </a:cubicBezTo>
                    <a:cubicBezTo>
                      <a:pt x="27474" y="188912"/>
                      <a:pt x="16161" y="182562"/>
                      <a:pt x="16161" y="182562"/>
                    </a:cubicBezTo>
                    <a:cubicBezTo>
                      <a:pt x="21009" y="155575"/>
                      <a:pt x="12929" y="147637"/>
                      <a:pt x="0" y="127000"/>
                    </a:cubicBezTo>
                    <a:cubicBezTo>
                      <a:pt x="4848" y="117475"/>
                      <a:pt x="9696" y="114300"/>
                      <a:pt x="14545" y="106362"/>
                    </a:cubicBezTo>
                    <a:cubicBezTo>
                      <a:pt x="14545" y="93662"/>
                      <a:pt x="12929" y="80962"/>
                      <a:pt x="16161" y="69850"/>
                    </a:cubicBezTo>
                    <a:cubicBezTo>
                      <a:pt x="17777" y="61912"/>
                      <a:pt x="35554" y="60325"/>
                      <a:pt x="35554" y="50800"/>
                    </a:cubicBezTo>
                    <a:cubicBezTo>
                      <a:pt x="44443" y="50006"/>
                      <a:pt x="49695" y="48022"/>
                      <a:pt x="54140" y="47625"/>
                    </a:cubicBezTo>
                    <a:close/>
                    <a:moveTo>
                      <a:pt x="55562" y="0"/>
                    </a:moveTo>
                    <a:cubicBezTo>
                      <a:pt x="60325" y="12700"/>
                      <a:pt x="53975" y="22225"/>
                      <a:pt x="69850" y="26988"/>
                    </a:cubicBezTo>
                    <a:cubicBezTo>
                      <a:pt x="58738" y="41275"/>
                      <a:pt x="53975" y="26988"/>
                      <a:pt x="46037" y="17463"/>
                    </a:cubicBezTo>
                    <a:cubicBezTo>
                      <a:pt x="49212" y="1588"/>
                      <a:pt x="46037" y="7938"/>
                      <a:pt x="55562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5" name="Freeform 166">
                <a:extLst>
                  <a:ext uri="{FF2B5EF4-FFF2-40B4-BE49-F238E27FC236}">
                    <a16:creationId xmlns:a16="http://schemas.microsoft.com/office/drawing/2014/main" id="{266FD04A-B151-4532-AA05-713F80F25AD5}"/>
                  </a:ext>
                </a:extLst>
              </p:cNvPr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gray">
              <a:xfrm>
                <a:off x="7316788" y="3076575"/>
                <a:ext cx="147638" cy="150813"/>
              </a:xfrm>
              <a:custGeom>
                <a:avLst/>
                <a:gdLst>
                  <a:gd name="T0" fmla="*/ 1 w 91"/>
                  <a:gd name="T1" fmla="*/ 61 h 95"/>
                  <a:gd name="T2" fmla="*/ 12 w 91"/>
                  <a:gd name="T3" fmla="*/ 63 h 95"/>
                  <a:gd name="T4" fmla="*/ 9 w 91"/>
                  <a:gd name="T5" fmla="*/ 84 h 95"/>
                  <a:gd name="T6" fmla="*/ 4 w 91"/>
                  <a:gd name="T7" fmla="*/ 94 h 95"/>
                  <a:gd name="T8" fmla="*/ 24 w 91"/>
                  <a:gd name="T9" fmla="*/ 90 h 95"/>
                  <a:gd name="T10" fmla="*/ 51 w 91"/>
                  <a:gd name="T11" fmla="*/ 69 h 95"/>
                  <a:gd name="T12" fmla="*/ 58 w 91"/>
                  <a:gd name="T13" fmla="*/ 52 h 95"/>
                  <a:gd name="T14" fmla="*/ 79 w 91"/>
                  <a:gd name="T15" fmla="*/ 37 h 95"/>
                  <a:gd name="T16" fmla="*/ 91 w 91"/>
                  <a:gd name="T17" fmla="*/ 13 h 95"/>
                  <a:gd name="T18" fmla="*/ 78 w 91"/>
                  <a:gd name="T19" fmla="*/ 1 h 95"/>
                  <a:gd name="T20" fmla="*/ 72 w 91"/>
                  <a:gd name="T21" fmla="*/ 9 h 95"/>
                  <a:gd name="T22" fmla="*/ 55 w 91"/>
                  <a:gd name="T23" fmla="*/ 13 h 95"/>
                  <a:gd name="T24" fmla="*/ 46 w 91"/>
                  <a:gd name="T25" fmla="*/ 24 h 95"/>
                  <a:gd name="T26" fmla="*/ 31 w 91"/>
                  <a:gd name="T27" fmla="*/ 28 h 95"/>
                  <a:gd name="T28" fmla="*/ 6 w 91"/>
                  <a:gd name="T29" fmla="*/ 46 h 95"/>
                  <a:gd name="T30" fmla="*/ 1 w 91"/>
                  <a:gd name="T31" fmla="*/ 6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1" h="95">
                    <a:moveTo>
                      <a:pt x="1" y="61"/>
                    </a:moveTo>
                    <a:cubicBezTo>
                      <a:pt x="2" y="64"/>
                      <a:pt x="11" y="59"/>
                      <a:pt x="12" y="63"/>
                    </a:cubicBezTo>
                    <a:cubicBezTo>
                      <a:pt x="13" y="67"/>
                      <a:pt x="10" y="79"/>
                      <a:pt x="9" y="84"/>
                    </a:cubicBezTo>
                    <a:cubicBezTo>
                      <a:pt x="8" y="89"/>
                      <a:pt x="2" y="93"/>
                      <a:pt x="4" y="94"/>
                    </a:cubicBezTo>
                    <a:cubicBezTo>
                      <a:pt x="6" y="95"/>
                      <a:pt x="16" y="94"/>
                      <a:pt x="24" y="90"/>
                    </a:cubicBezTo>
                    <a:cubicBezTo>
                      <a:pt x="32" y="86"/>
                      <a:pt x="45" y="75"/>
                      <a:pt x="51" y="69"/>
                    </a:cubicBezTo>
                    <a:cubicBezTo>
                      <a:pt x="57" y="63"/>
                      <a:pt x="53" y="57"/>
                      <a:pt x="58" y="52"/>
                    </a:cubicBezTo>
                    <a:cubicBezTo>
                      <a:pt x="63" y="47"/>
                      <a:pt x="74" y="43"/>
                      <a:pt x="79" y="37"/>
                    </a:cubicBezTo>
                    <a:cubicBezTo>
                      <a:pt x="84" y="31"/>
                      <a:pt x="91" y="19"/>
                      <a:pt x="91" y="13"/>
                    </a:cubicBezTo>
                    <a:cubicBezTo>
                      <a:pt x="91" y="7"/>
                      <a:pt x="81" y="2"/>
                      <a:pt x="78" y="1"/>
                    </a:cubicBezTo>
                    <a:cubicBezTo>
                      <a:pt x="75" y="0"/>
                      <a:pt x="76" y="7"/>
                      <a:pt x="72" y="9"/>
                    </a:cubicBezTo>
                    <a:cubicBezTo>
                      <a:pt x="68" y="11"/>
                      <a:pt x="59" y="10"/>
                      <a:pt x="55" y="13"/>
                    </a:cubicBezTo>
                    <a:cubicBezTo>
                      <a:pt x="51" y="16"/>
                      <a:pt x="50" y="21"/>
                      <a:pt x="46" y="24"/>
                    </a:cubicBezTo>
                    <a:cubicBezTo>
                      <a:pt x="42" y="27"/>
                      <a:pt x="38" y="24"/>
                      <a:pt x="31" y="28"/>
                    </a:cubicBezTo>
                    <a:cubicBezTo>
                      <a:pt x="24" y="32"/>
                      <a:pt x="11" y="42"/>
                      <a:pt x="6" y="46"/>
                    </a:cubicBezTo>
                    <a:cubicBezTo>
                      <a:pt x="1" y="50"/>
                      <a:pt x="0" y="58"/>
                      <a:pt x="1" y="6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6" name="Freeform 168">
                <a:extLst>
                  <a:ext uri="{FF2B5EF4-FFF2-40B4-BE49-F238E27FC236}">
                    <a16:creationId xmlns:a16="http://schemas.microsoft.com/office/drawing/2014/main" id="{E578F771-2D22-42FB-BBB6-0D9D614E0101}"/>
                  </a:ext>
                </a:extLst>
              </p:cNvPr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gray">
              <a:xfrm>
                <a:off x="7331076" y="3186113"/>
                <a:ext cx="112713" cy="153988"/>
              </a:xfrm>
              <a:custGeom>
                <a:avLst/>
                <a:gdLst>
                  <a:gd name="T0" fmla="*/ 0 w 69"/>
                  <a:gd name="T1" fmla="*/ 24 h 97"/>
                  <a:gd name="T2" fmla="*/ 24 w 69"/>
                  <a:gd name="T3" fmla="*/ 15 h 97"/>
                  <a:gd name="T4" fmla="*/ 39 w 69"/>
                  <a:gd name="T5" fmla="*/ 0 h 97"/>
                  <a:gd name="T6" fmla="*/ 58 w 69"/>
                  <a:gd name="T7" fmla="*/ 21 h 97"/>
                  <a:gd name="T8" fmla="*/ 69 w 69"/>
                  <a:gd name="T9" fmla="*/ 45 h 97"/>
                  <a:gd name="T10" fmla="*/ 34 w 69"/>
                  <a:gd name="T11" fmla="*/ 87 h 97"/>
                  <a:gd name="T12" fmla="*/ 22 w 69"/>
                  <a:gd name="T13" fmla="*/ 94 h 97"/>
                  <a:gd name="T14" fmla="*/ 21 w 69"/>
                  <a:gd name="T15" fmla="*/ 54 h 97"/>
                  <a:gd name="T16" fmla="*/ 7 w 69"/>
                  <a:gd name="T17" fmla="*/ 30 h 97"/>
                  <a:gd name="T18" fmla="*/ 0 w 69"/>
                  <a:gd name="T19" fmla="*/ 2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97">
                    <a:moveTo>
                      <a:pt x="0" y="24"/>
                    </a:moveTo>
                    <a:cubicBezTo>
                      <a:pt x="19" y="21"/>
                      <a:pt x="11" y="25"/>
                      <a:pt x="24" y="15"/>
                    </a:cubicBezTo>
                    <a:cubicBezTo>
                      <a:pt x="32" y="9"/>
                      <a:pt x="28" y="2"/>
                      <a:pt x="39" y="0"/>
                    </a:cubicBezTo>
                    <a:cubicBezTo>
                      <a:pt x="49" y="2"/>
                      <a:pt x="48" y="16"/>
                      <a:pt x="58" y="21"/>
                    </a:cubicBezTo>
                    <a:cubicBezTo>
                      <a:pt x="64" y="28"/>
                      <a:pt x="64" y="37"/>
                      <a:pt x="69" y="45"/>
                    </a:cubicBezTo>
                    <a:cubicBezTo>
                      <a:pt x="66" y="74"/>
                      <a:pt x="65" y="83"/>
                      <a:pt x="34" y="87"/>
                    </a:cubicBezTo>
                    <a:cubicBezTo>
                      <a:pt x="26" y="91"/>
                      <a:pt x="30" y="97"/>
                      <a:pt x="22" y="94"/>
                    </a:cubicBezTo>
                    <a:cubicBezTo>
                      <a:pt x="20" y="81"/>
                      <a:pt x="13" y="69"/>
                      <a:pt x="21" y="54"/>
                    </a:cubicBezTo>
                    <a:cubicBezTo>
                      <a:pt x="19" y="42"/>
                      <a:pt x="20" y="33"/>
                      <a:pt x="7" y="30"/>
                    </a:cubicBezTo>
                    <a:cubicBezTo>
                      <a:pt x="2" y="26"/>
                      <a:pt x="4" y="28"/>
                      <a:pt x="0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7" name="Freeform 169">
                <a:extLst>
                  <a:ext uri="{FF2B5EF4-FFF2-40B4-BE49-F238E27FC236}">
                    <a16:creationId xmlns:a16="http://schemas.microsoft.com/office/drawing/2014/main" id="{CA279330-6AF4-4472-B6DD-73B7A2E2D627}"/>
                  </a:ext>
                </a:extLst>
              </p:cNvPr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gray">
              <a:xfrm>
                <a:off x="6792913" y="3843338"/>
                <a:ext cx="123825" cy="107950"/>
              </a:xfrm>
              <a:custGeom>
                <a:avLst/>
                <a:gdLst>
                  <a:gd name="T0" fmla="*/ 47 w 77"/>
                  <a:gd name="T1" fmla="*/ 3 h 68"/>
                  <a:gd name="T2" fmla="*/ 76 w 77"/>
                  <a:gd name="T3" fmla="*/ 10 h 68"/>
                  <a:gd name="T4" fmla="*/ 68 w 77"/>
                  <a:gd name="T5" fmla="*/ 37 h 68"/>
                  <a:gd name="T6" fmla="*/ 56 w 77"/>
                  <a:gd name="T7" fmla="*/ 46 h 68"/>
                  <a:gd name="T8" fmla="*/ 44 w 77"/>
                  <a:gd name="T9" fmla="*/ 48 h 68"/>
                  <a:gd name="T10" fmla="*/ 35 w 77"/>
                  <a:gd name="T11" fmla="*/ 61 h 68"/>
                  <a:gd name="T12" fmla="*/ 23 w 77"/>
                  <a:gd name="T13" fmla="*/ 61 h 68"/>
                  <a:gd name="T14" fmla="*/ 8 w 77"/>
                  <a:gd name="T15" fmla="*/ 39 h 68"/>
                  <a:gd name="T16" fmla="*/ 44 w 77"/>
                  <a:gd name="T17" fmla="*/ 7 h 68"/>
                  <a:gd name="T18" fmla="*/ 47 w 77"/>
                  <a:gd name="T19" fmla="*/ 3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68">
                    <a:moveTo>
                      <a:pt x="47" y="3"/>
                    </a:moveTo>
                    <a:cubicBezTo>
                      <a:pt x="57" y="5"/>
                      <a:pt x="67" y="3"/>
                      <a:pt x="76" y="10"/>
                    </a:cubicBezTo>
                    <a:cubicBezTo>
                      <a:pt x="75" y="20"/>
                      <a:pt x="77" y="32"/>
                      <a:pt x="68" y="37"/>
                    </a:cubicBezTo>
                    <a:cubicBezTo>
                      <a:pt x="64" y="43"/>
                      <a:pt x="63" y="45"/>
                      <a:pt x="56" y="46"/>
                    </a:cubicBezTo>
                    <a:cubicBezTo>
                      <a:pt x="52" y="49"/>
                      <a:pt x="47" y="46"/>
                      <a:pt x="44" y="48"/>
                    </a:cubicBezTo>
                    <a:cubicBezTo>
                      <a:pt x="41" y="50"/>
                      <a:pt x="38" y="59"/>
                      <a:pt x="35" y="61"/>
                    </a:cubicBezTo>
                    <a:cubicBezTo>
                      <a:pt x="31" y="68"/>
                      <a:pt x="30" y="65"/>
                      <a:pt x="23" y="61"/>
                    </a:cubicBezTo>
                    <a:cubicBezTo>
                      <a:pt x="18" y="54"/>
                      <a:pt x="13" y="46"/>
                      <a:pt x="8" y="39"/>
                    </a:cubicBezTo>
                    <a:cubicBezTo>
                      <a:pt x="0" y="0"/>
                      <a:pt x="1" y="10"/>
                      <a:pt x="44" y="7"/>
                    </a:cubicBezTo>
                    <a:cubicBezTo>
                      <a:pt x="50" y="4"/>
                      <a:pt x="51" y="5"/>
                      <a:pt x="47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8" name="Freeform 170">
                <a:extLst>
                  <a:ext uri="{FF2B5EF4-FFF2-40B4-BE49-F238E27FC236}">
                    <a16:creationId xmlns:a16="http://schemas.microsoft.com/office/drawing/2014/main" id="{086AC12F-8C1A-48BF-93ED-C6300DBCCF4E}"/>
                  </a:ext>
                </a:extLst>
              </p:cNvPr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gray">
              <a:xfrm>
                <a:off x="6727826" y="3652838"/>
                <a:ext cx="185738" cy="201613"/>
              </a:xfrm>
              <a:custGeom>
                <a:avLst/>
                <a:gdLst>
                  <a:gd name="T0" fmla="*/ 11 w 115"/>
                  <a:gd name="T1" fmla="*/ 15 h 127"/>
                  <a:gd name="T2" fmla="*/ 35 w 115"/>
                  <a:gd name="T3" fmla="*/ 6 h 127"/>
                  <a:gd name="T4" fmla="*/ 38 w 115"/>
                  <a:gd name="T5" fmla="*/ 1 h 127"/>
                  <a:gd name="T6" fmla="*/ 44 w 115"/>
                  <a:gd name="T7" fmla="*/ 9 h 127"/>
                  <a:gd name="T8" fmla="*/ 65 w 115"/>
                  <a:gd name="T9" fmla="*/ 22 h 127"/>
                  <a:gd name="T10" fmla="*/ 75 w 115"/>
                  <a:gd name="T11" fmla="*/ 33 h 127"/>
                  <a:gd name="T12" fmla="*/ 63 w 115"/>
                  <a:gd name="T13" fmla="*/ 48 h 127"/>
                  <a:gd name="T14" fmla="*/ 89 w 115"/>
                  <a:gd name="T15" fmla="*/ 70 h 127"/>
                  <a:gd name="T16" fmla="*/ 96 w 115"/>
                  <a:gd name="T17" fmla="*/ 85 h 127"/>
                  <a:gd name="T18" fmla="*/ 108 w 115"/>
                  <a:gd name="T19" fmla="*/ 99 h 127"/>
                  <a:gd name="T20" fmla="*/ 115 w 115"/>
                  <a:gd name="T21" fmla="*/ 111 h 127"/>
                  <a:gd name="T22" fmla="*/ 110 w 115"/>
                  <a:gd name="T23" fmla="*/ 124 h 127"/>
                  <a:gd name="T24" fmla="*/ 90 w 115"/>
                  <a:gd name="T25" fmla="*/ 123 h 127"/>
                  <a:gd name="T26" fmla="*/ 83 w 115"/>
                  <a:gd name="T27" fmla="*/ 103 h 127"/>
                  <a:gd name="T28" fmla="*/ 75 w 115"/>
                  <a:gd name="T29" fmla="*/ 73 h 127"/>
                  <a:gd name="T30" fmla="*/ 59 w 115"/>
                  <a:gd name="T31" fmla="*/ 61 h 127"/>
                  <a:gd name="T32" fmla="*/ 44 w 115"/>
                  <a:gd name="T33" fmla="*/ 69 h 127"/>
                  <a:gd name="T34" fmla="*/ 24 w 115"/>
                  <a:gd name="T35" fmla="*/ 69 h 127"/>
                  <a:gd name="T36" fmla="*/ 27 w 115"/>
                  <a:gd name="T37" fmla="*/ 51 h 127"/>
                  <a:gd name="T38" fmla="*/ 9 w 115"/>
                  <a:gd name="T39" fmla="*/ 36 h 127"/>
                  <a:gd name="T40" fmla="*/ 8 w 115"/>
                  <a:gd name="T41" fmla="*/ 25 h 127"/>
                  <a:gd name="T42" fmla="*/ 11 w 115"/>
                  <a:gd name="T43" fmla="*/ 1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5" h="127">
                    <a:moveTo>
                      <a:pt x="11" y="15"/>
                    </a:moveTo>
                    <a:cubicBezTo>
                      <a:pt x="31" y="11"/>
                      <a:pt x="23" y="8"/>
                      <a:pt x="35" y="6"/>
                    </a:cubicBezTo>
                    <a:cubicBezTo>
                      <a:pt x="36" y="4"/>
                      <a:pt x="36" y="2"/>
                      <a:pt x="38" y="1"/>
                    </a:cubicBezTo>
                    <a:cubicBezTo>
                      <a:pt x="42" y="0"/>
                      <a:pt x="43" y="8"/>
                      <a:pt x="44" y="9"/>
                    </a:cubicBezTo>
                    <a:cubicBezTo>
                      <a:pt x="49" y="16"/>
                      <a:pt x="57" y="20"/>
                      <a:pt x="65" y="22"/>
                    </a:cubicBezTo>
                    <a:cubicBezTo>
                      <a:pt x="71" y="27"/>
                      <a:pt x="74" y="25"/>
                      <a:pt x="75" y="33"/>
                    </a:cubicBezTo>
                    <a:cubicBezTo>
                      <a:pt x="73" y="43"/>
                      <a:pt x="71" y="43"/>
                      <a:pt x="63" y="48"/>
                    </a:cubicBezTo>
                    <a:cubicBezTo>
                      <a:pt x="69" y="59"/>
                      <a:pt x="76" y="67"/>
                      <a:pt x="89" y="70"/>
                    </a:cubicBezTo>
                    <a:cubicBezTo>
                      <a:pt x="94" y="76"/>
                      <a:pt x="93" y="80"/>
                      <a:pt x="96" y="85"/>
                    </a:cubicBezTo>
                    <a:cubicBezTo>
                      <a:pt x="99" y="90"/>
                      <a:pt x="105" y="95"/>
                      <a:pt x="108" y="99"/>
                    </a:cubicBezTo>
                    <a:cubicBezTo>
                      <a:pt x="110" y="103"/>
                      <a:pt x="115" y="107"/>
                      <a:pt x="115" y="111"/>
                    </a:cubicBezTo>
                    <a:cubicBezTo>
                      <a:pt x="115" y="115"/>
                      <a:pt x="114" y="122"/>
                      <a:pt x="110" y="124"/>
                    </a:cubicBezTo>
                    <a:cubicBezTo>
                      <a:pt x="103" y="124"/>
                      <a:pt x="95" y="127"/>
                      <a:pt x="90" y="123"/>
                    </a:cubicBezTo>
                    <a:cubicBezTo>
                      <a:pt x="81" y="117"/>
                      <a:pt x="94" y="108"/>
                      <a:pt x="83" y="103"/>
                    </a:cubicBezTo>
                    <a:cubicBezTo>
                      <a:pt x="74" y="91"/>
                      <a:pt x="80" y="92"/>
                      <a:pt x="75" y="73"/>
                    </a:cubicBezTo>
                    <a:cubicBezTo>
                      <a:pt x="74" y="68"/>
                      <a:pt x="63" y="64"/>
                      <a:pt x="59" y="61"/>
                    </a:cubicBezTo>
                    <a:cubicBezTo>
                      <a:pt x="54" y="60"/>
                      <a:pt x="50" y="68"/>
                      <a:pt x="44" y="69"/>
                    </a:cubicBezTo>
                    <a:cubicBezTo>
                      <a:pt x="38" y="70"/>
                      <a:pt x="27" y="72"/>
                      <a:pt x="24" y="69"/>
                    </a:cubicBezTo>
                    <a:cubicBezTo>
                      <a:pt x="17" y="68"/>
                      <a:pt x="29" y="56"/>
                      <a:pt x="27" y="51"/>
                    </a:cubicBezTo>
                    <a:cubicBezTo>
                      <a:pt x="25" y="46"/>
                      <a:pt x="12" y="40"/>
                      <a:pt x="9" y="36"/>
                    </a:cubicBezTo>
                    <a:cubicBezTo>
                      <a:pt x="5" y="30"/>
                      <a:pt x="0" y="28"/>
                      <a:pt x="8" y="25"/>
                    </a:cubicBezTo>
                    <a:cubicBezTo>
                      <a:pt x="9" y="18"/>
                      <a:pt x="8" y="21"/>
                      <a:pt x="11" y="1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9" name="Freeform 171">
                <a:extLst>
                  <a:ext uri="{FF2B5EF4-FFF2-40B4-BE49-F238E27FC236}">
                    <a16:creationId xmlns:a16="http://schemas.microsoft.com/office/drawing/2014/main" id="{91F9F386-356C-4E37-9817-62F3DD87EC81}"/>
                  </a:ext>
                </a:extLst>
              </p:cNvPr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gray">
              <a:xfrm>
                <a:off x="7069138" y="4079875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14 w 17"/>
                  <a:gd name="T3" fmla="*/ 13 h 18"/>
                  <a:gd name="T4" fmla="*/ 6 w 17"/>
                  <a:gd name="T5" fmla="*/ 3 h 18"/>
                  <a:gd name="T6" fmla="*/ 0 w 17"/>
                  <a:gd name="T7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cubicBezTo>
                      <a:pt x="3" y="18"/>
                      <a:pt x="6" y="18"/>
                      <a:pt x="14" y="13"/>
                    </a:cubicBezTo>
                    <a:cubicBezTo>
                      <a:pt x="17" y="3"/>
                      <a:pt x="17" y="0"/>
                      <a:pt x="6" y="3"/>
                    </a:cubicBezTo>
                    <a:cubicBezTo>
                      <a:pt x="2" y="10"/>
                      <a:pt x="4" y="9"/>
                      <a:pt x="0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0" name="Freeform 172">
                <a:extLst>
                  <a:ext uri="{FF2B5EF4-FFF2-40B4-BE49-F238E27FC236}">
                    <a16:creationId xmlns:a16="http://schemas.microsoft.com/office/drawing/2014/main" id="{44316DA3-15B4-4685-B51F-03436D47C643}"/>
                  </a:ext>
                </a:extLst>
              </p:cNvPr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gray">
              <a:xfrm>
                <a:off x="7189788" y="3581400"/>
                <a:ext cx="80963" cy="92075"/>
              </a:xfrm>
              <a:custGeom>
                <a:avLst/>
                <a:gdLst>
                  <a:gd name="T0" fmla="*/ 4 w 50"/>
                  <a:gd name="T1" fmla="*/ 24 h 58"/>
                  <a:gd name="T2" fmla="*/ 16 w 50"/>
                  <a:gd name="T3" fmla="*/ 22 h 58"/>
                  <a:gd name="T4" fmla="*/ 22 w 50"/>
                  <a:gd name="T5" fmla="*/ 12 h 58"/>
                  <a:gd name="T6" fmla="*/ 37 w 50"/>
                  <a:gd name="T7" fmla="*/ 0 h 58"/>
                  <a:gd name="T8" fmla="*/ 38 w 50"/>
                  <a:gd name="T9" fmla="*/ 22 h 58"/>
                  <a:gd name="T10" fmla="*/ 25 w 50"/>
                  <a:gd name="T11" fmla="*/ 39 h 58"/>
                  <a:gd name="T12" fmla="*/ 17 w 50"/>
                  <a:gd name="T13" fmla="*/ 46 h 58"/>
                  <a:gd name="T14" fmla="*/ 4 w 50"/>
                  <a:gd name="T15" fmla="*/ 30 h 58"/>
                  <a:gd name="T16" fmla="*/ 4 w 50"/>
                  <a:gd name="T17" fmla="*/ 2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58">
                    <a:moveTo>
                      <a:pt x="4" y="24"/>
                    </a:moveTo>
                    <a:cubicBezTo>
                      <a:pt x="8" y="23"/>
                      <a:pt x="13" y="25"/>
                      <a:pt x="16" y="22"/>
                    </a:cubicBezTo>
                    <a:cubicBezTo>
                      <a:pt x="32" y="8"/>
                      <a:pt x="6" y="15"/>
                      <a:pt x="22" y="12"/>
                    </a:cubicBezTo>
                    <a:cubicBezTo>
                      <a:pt x="29" y="7"/>
                      <a:pt x="28" y="2"/>
                      <a:pt x="37" y="0"/>
                    </a:cubicBezTo>
                    <a:cubicBezTo>
                      <a:pt x="50" y="2"/>
                      <a:pt x="44" y="14"/>
                      <a:pt x="38" y="22"/>
                    </a:cubicBezTo>
                    <a:cubicBezTo>
                      <a:pt x="34" y="40"/>
                      <a:pt x="40" y="36"/>
                      <a:pt x="25" y="39"/>
                    </a:cubicBezTo>
                    <a:cubicBezTo>
                      <a:pt x="24" y="45"/>
                      <a:pt x="22" y="58"/>
                      <a:pt x="17" y="46"/>
                    </a:cubicBezTo>
                    <a:cubicBezTo>
                      <a:pt x="15" y="37"/>
                      <a:pt x="11" y="35"/>
                      <a:pt x="4" y="30"/>
                    </a:cubicBezTo>
                    <a:cubicBezTo>
                      <a:pt x="2" y="24"/>
                      <a:pt x="0" y="26"/>
                      <a:pt x="4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1" name="Freeform 205">
                <a:extLst>
                  <a:ext uri="{FF2B5EF4-FFF2-40B4-BE49-F238E27FC236}">
                    <a16:creationId xmlns:a16="http://schemas.microsoft.com/office/drawing/2014/main" id="{47225D2F-CB57-4BF2-8D4C-33BA6ABBB3D2}"/>
                  </a:ext>
                </a:extLst>
              </p:cNvPr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gray">
              <a:xfrm>
                <a:off x="8030093" y="4440238"/>
                <a:ext cx="49867" cy="38100"/>
              </a:xfrm>
              <a:custGeom>
                <a:avLst/>
                <a:gdLst>
                  <a:gd name="T0" fmla="*/ 1 w 31"/>
                  <a:gd name="T1" fmla="*/ 0 h 24"/>
                  <a:gd name="T2" fmla="*/ 12 w 31"/>
                  <a:gd name="T3" fmla="*/ 3 h 24"/>
                  <a:gd name="T4" fmla="*/ 31 w 31"/>
                  <a:gd name="T5" fmla="*/ 14 h 24"/>
                  <a:gd name="T6" fmla="*/ 3 w 31"/>
                  <a:gd name="T7" fmla="*/ 14 h 24"/>
                  <a:gd name="T8" fmla="*/ 1 w 31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4">
                    <a:moveTo>
                      <a:pt x="1" y="0"/>
                    </a:moveTo>
                    <a:cubicBezTo>
                      <a:pt x="5" y="1"/>
                      <a:pt x="9" y="1"/>
                      <a:pt x="12" y="3"/>
                    </a:cubicBezTo>
                    <a:cubicBezTo>
                      <a:pt x="25" y="11"/>
                      <a:pt x="8" y="10"/>
                      <a:pt x="31" y="14"/>
                    </a:cubicBezTo>
                    <a:cubicBezTo>
                      <a:pt x="24" y="24"/>
                      <a:pt x="12" y="16"/>
                      <a:pt x="3" y="14"/>
                    </a:cubicBezTo>
                    <a:cubicBezTo>
                      <a:pt x="0" y="7"/>
                      <a:pt x="4" y="7"/>
                      <a:pt x="1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2" name="Freeform 206">
                <a:extLst>
                  <a:ext uri="{FF2B5EF4-FFF2-40B4-BE49-F238E27FC236}">
                    <a16:creationId xmlns:a16="http://schemas.microsoft.com/office/drawing/2014/main" id="{4E8CA9D3-EA68-44BC-9BE8-F01CAD655C67}"/>
                  </a:ext>
                </a:extLst>
              </p:cNvPr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gray">
              <a:xfrm>
                <a:off x="7748588" y="4256088"/>
                <a:ext cx="236464" cy="201613"/>
              </a:xfrm>
              <a:custGeom>
                <a:avLst/>
                <a:gdLst>
                  <a:gd name="T0" fmla="*/ 0 w 123"/>
                  <a:gd name="T1" fmla="*/ 80 h 106"/>
                  <a:gd name="T2" fmla="*/ 0 w 123"/>
                  <a:gd name="T3" fmla="*/ 33 h 106"/>
                  <a:gd name="T4" fmla="*/ 0 w 123"/>
                  <a:gd name="T5" fmla="*/ 0 h 106"/>
                  <a:gd name="T6" fmla="*/ 32 w 123"/>
                  <a:gd name="T7" fmla="*/ 9 h 106"/>
                  <a:gd name="T8" fmla="*/ 57 w 123"/>
                  <a:gd name="T9" fmla="*/ 25 h 106"/>
                  <a:gd name="T10" fmla="*/ 57 w 123"/>
                  <a:gd name="T11" fmla="*/ 33 h 106"/>
                  <a:gd name="T12" fmla="*/ 88 w 123"/>
                  <a:gd name="T13" fmla="*/ 49 h 106"/>
                  <a:gd name="T14" fmla="*/ 72 w 123"/>
                  <a:gd name="T15" fmla="*/ 57 h 106"/>
                  <a:gd name="T16" fmla="*/ 81 w 123"/>
                  <a:gd name="T17" fmla="*/ 57 h 106"/>
                  <a:gd name="T18" fmla="*/ 88 w 123"/>
                  <a:gd name="T19" fmla="*/ 65 h 106"/>
                  <a:gd name="T20" fmla="*/ 97 w 123"/>
                  <a:gd name="T21" fmla="*/ 80 h 106"/>
                  <a:gd name="T22" fmla="*/ 104 w 123"/>
                  <a:gd name="T23" fmla="*/ 80 h 106"/>
                  <a:gd name="T24" fmla="*/ 104 w 123"/>
                  <a:gd name="T25" fmla="*/ 90 h 106"/>
                  <a:gd name="T26" fmla="*/ 122 w 123"/>
                  <a:gd name="T27" fmla="*/ 99 h 106"/>
                  <a:gd name="T28" fmla="*/ 122 w 123"/>
                  <a:gd name="T29" fmla="*/ 105 h 106"/>
                  <a:gd name="T30" fmla="*/ 81 w 123"/>
                  <a:gd name="T31" fmla="*/ 99 h 106"/>
                  <a:gd name="T32" fmla="*/ 63 w 123"/>
                  <a:gd name="T33" fmla="*/ 65 h 106"/>
                  <a:gd name="T34" fmla="*/ 47 w 123"/>
                  <a:gd name="T35" fmla="*/ 65 h 106"/>
                  <a:gd name="T36" fmla="*/ 40 w 123"/>
                  <a:gd name="T37" fmla="*/ 65 h 106"/>
                  <a:gd name="T38" fmla="*/ 23 w 123"/>
                  <a:gd name="T39" fmla="*/ 74 h 106"/>
                  <a:gd name="T40" fmla="*/ 32 w 123"/>
                  <a:gd name="T41" fmla="*/ 80 h 106"/>
                  <a:gd name="T42" fmla="*/ 15 w 123"/>
                  <a:gd name="T43" fmla="*/ 80 h 106"/>
                  <a:gd name="T44" fmla="*/ 0 w 123"/>
                  <a:gd name="T4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23" h="106">
                    <a:moveTo>
                      <a:pt x="0" y="8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2" y="9"/>
                    </a:lnTo>
                    <a:lnTo>
                      <a:pt x="57" y="25"/>
                    </a:lnTo>
                    <a:lnTo>
                      <a:pt x="57" y="33"/>
                    </a:lnTo>
                    <a:lnTo>
                      <a:pt x="88" y="49"/>
                    </a:lnTo>
                    <a:lnTo>
                      <a:pt x="72" y="57"/>
                    </a:lnTo>
                    <a:lnTo>
                      <a:pt x="81" y="57"/>
                    </a:lnTo>
                    <a:lnTo>
                      <a:pt x="88" y="65"/>
                    </a:lnTo>
                    <a:lnTo>
                      <a:pt x="97" y="80"/>
                    </a:lnTo>
                    <a:lnTo>
                      <a:pt x="104" y="80"/>
                    </a:lnTo>
                    <a:lnTo>
                      <a:pt x="104" y="90"/>
                    </a:lnTo>
                    <a:lnTo>
                      <a:pt x="122" y="99"/>
                    </a:lnTo>
                    <a:lnTo>
                      <a:pt x="122" y="105"/>
                    </a:lnTo>
                    <a:lnTo>
                      <a:pt x="81" y="99"/>
                    </a:lnTo>
                    <a:lnTo>
                      <a:pt x="63" y="65"/>
                    </a:lnTo>
                    <a:lnTo>
                      <a:pt x="47" y="65"/>
                    </a:lnTo>
                    <a:lnTo>
                      <a:pt x="40" y="65"/>
                    </a:lnTo>
                    <a:lnTo>
                      <a:pt x="23" y="74"/>
                    </a:lnTo>
                    <a:lnTo>
                      <a:pt x="32" y="80"/>
                    </a:lnTo>
                    <a:lnTo>
                      <a:pt x="15" y="80"/>
                    </a:lnTo>
                    <a:lnTo>
                      <a:pt x="0" y="8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3" name="Freeform 207">
                <a:extLst>
                  <a:ext uri="{FF2B5EF4-FFF2-40B4-BE49-F238E27FC236}">
                    <a16:creationId xmlns:a16="http://schemas.microsoft.com/office/drawing/2014/main" id="{1C891D33-84EA-4E7D-91B9-3E8E722021C1}"/>
                  </a:ext>
                </a:extLst>
              </p:cNvPr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gray">
              <a:xfrm>
                <a:off x="7919099" y="4286251"/>
                <a:ext cx="109385" cy="63500"/>
              </a:xfrm>
              <a:custGeom>
                <a:avLst/>
                <a:gdLst>
                  <a:gd name="T0" fmla="*/ 0 w 57"/>
                  <a:gd name="T1" fmla="*/ 16 h 33"/>
                  <a:gd name="T2" fmla="*/ 16 w 57"/>
                  <a:gd name="T3" fmla="*/ 32 h 33"/>
                  <a:gd name="T4" fmla="*/ 34 w 57"/>
                  <a:gd name="T5" fmla="*/ 32 h 33"/>
                  <a:gd name="T6" fmla="*/ 49 w 57"/>
                  <a:gd name="T7" fmla="*/ 23 h 33"/>
                  <a:gd name="T8" fmla="*/ 56 w 57"/>
                  <a:gd name="T9" fmla="*/ 8 h 33"/>
                  <a:gd name="T10" fmla="*/ 56 w 57"/>
                  <a:gd name="T11" fmla="*/ 0 h 33"/>
                  <a:gd name="T12" fmla="*/ 49 w 57"/>
                  <a:gd name="T13" fmla="*/ 0 h 33"/>
                  <a:gd name="T14" fmla="*/ 49 w 57"/>
                  <a:gd name="T15" fmla="*/ 16 h 33"/>
                  <a:gd name="T16" fmla="*/ 41 w 57"/>
                  <a:gd name="T17" fmla="*/ 16 h 33"/>
                  <a:gd name="T18" fmla="*/ 34 w 57"/>
                  <a:gd name="T19" fmla="*/ 16 h 33"/>
                  <a:gd name="T20" fmla="*/ 0 w 57"/>
                  <a:gd name="T21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" h="33">
                    <a:moveTo>
                      <a:pt x="0" y="16"/>
                    </a:moveTo>
                    <a:lnTo>
                      <a:pt x="16" y="32"/>
                    </a:lnTo>
                    <a:lnTo>
                      <a:pt x="34" y="32"/>
                    </a:lnTo>
                    <a:lnTo>
                      <a:pt x="49" y="23"/>
                    </a:lnTo>
                    <a:lnTo>
                      <a:pt x="56" y="8"/>
                    </a:lnTo>
                    <a:lnTo>
                      <a:pt x="56" y="0"/>
                    </a:lnTo>
                    <a:lnTo>
                      <a:pt x="49" y="0"/>
                    </a:lnTo>
                    <a:lnTo>
                      <a:pt x="49" y="16"/>
                    </a:lnTo>
                    <a:lnTo>
                      <a:pt x="41" y="16"/>
                    </a:lnTo>
                    <a:lnTo>
                      <a:pt x="34" y="16"/>
                    </a:lnTo>
                    <a:lnTo>
                      <a:pt x="0" y="16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4" name="Freeform 208">
                <a:extLst>
                  <a:ext uri="{FF2B5EF4-FFF2-40B4-BE49-F238E27FC236}">
                    <a16:creationId xmlns:a16="http://schemas.microsoft.com/office/drawing/2014/main" id="{1FF1E96A-187F-42CB-9CDF-ABAE91981E19}"/>
                  </a:ext>
                </a:extLst>
              </p:cNvPr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gray">
              <a:xfrm>
                <a:off x="7997921" y="4273551"/>
                <a:ext cx="48258" cy="31750"/>
              </a:xfrm>
              <a:custGeom>
                <a:avLst/>
                <a:gdLst>
                  <a:gd name="T0" fmla="*/ 0 w 25"/>
                  <a:gd name="T1" fmla="*/ 0 h 17"/>
                  <a:gd name="T2" fmla="*/ 15 w 25"/>
                  <a:gd name="T3" fmla="*/ 8 h 17"/>
                  <a:gd name="T4" fmla="*/ 24 w 25"/>
                  <a:gd name="T5" fmla="*/ 16 h 17"/>
                  <a:gd name="T6" fmla="*/ 24 w 25"/>
                  <a:gd name="T7" fmla="*/ 8 h 17"/>
                  <a:gd name="T8" fmla="*/ 0 w 2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7">
                    <a:moveTo>
                      <a:pt x="0" y="0"/>
                    </a:moveTo>
                    <a:lnTo>
                      <a:pt x="15" y="8"/>
                    </a:lnTo>
                    <a:lnTo>
                      <a:pt x="24" y="16"/>
                    </a:lnTo>
                    <a:lnTo>
                      <a:pt x="24" y="8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5" name="Freeform 209">
                <a:extLst>
                  <a:ext uri="{FF2B5EF4-FFF2-40B4-BE49-F238E27FC236}">
                    <a16:creationId xmlns:a16="http://schemas.microsoft.com/office/drawing/2014/main" id="{34894EFD-2F7C-49B3-8F70-E00F57946AE0}"/>
                  </a:ext>
                </a:extLst>
              </p:cNvPr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gray">
              <a:xfrm>
                <a:off x="8091219" y="4318001"/>
                <a:ext cx="35389" cy="46038"/>
              </a:xfrm>
              <a:custGeom>
                <a:avLst/>
                <a:gdLst>
                  <a:gd name="T0" fmla="*/ 0 w 18"/>
                  <a:gd name="T1" fmla="*/ 0 h 25"/>
                  <a:gd name="T2" fmla="*/ 8 w 18"/>
                  <a:gd name="T3" fmla="*/ 24 h 25"/>
                  <a:gd name="T4" fmla="*/ 17 w 18"/>
                  <a:gd name="T5" fmla="*/ 16 h 25"/>
                  <a:gd name="T6" fmla="*/ 0 w 18"/>
                  <a:gd name="T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5">
                    <a:moveTo>
                      <a:pt x="0" y="0"/>
                    </a:moveTo>
                    <a:lnTo>
                      <a:pt x="8" y="24"/>
                    </a:lnTo>
                    <a:lnTo>
                      <a:pt x="17" y="16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6" name="Freeform 210">
                <a:extLst>
                  <a:ext uri="{FF2B5EF4-FFF2-40B4-BE49-F238E27FC236}">
                    <a16:creationId xmlns:a16="http://schemas.microsoft.com/office/drawing/2014/main" id="{8DB6313D-D7E1-4562-B582-F41CA460561C}"/>
                  </a:ext>
                </a:extLst>
              </p:cNvPr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gray">
              <a:xfrm>
                <a:off x="8200604" y="4406901"/>
                <a:ext cx="32172" cy="31750"/>
              </a:xfrm>
              <a:custGeom>
                <a:avLst/>
                <a:gdLst>
                  <a:gd name="T0" fmla="*/ 0 w 17"/>
                  <a:gd name="T1" fmla="*/ 0 h 17"/>
                  <a:gd name="T2" fmla="*/ 0 w 17"/>
                  <a:gd name="T3" fmla="*/ 16 h 17"/>
                  <a:gd name="T4" fmla="*/ 16 w 17"/>
                  <a:gd name="T5" fmla="*/ 16 h 17"/>
                  <a:gd name="T6" fmla="*/ 0 w 17"/>
                  <a:gd name="T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7">
                    <a:moveTo>
                      <a:pt x="0" y="0"/>
                    </a:moveTo>
                    <a:lnTo>
                      <a:pt x="0" y="16"/>
                    </a:lnTo>
                    <a:lnTo>
                      <a:pt x="16" y="16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7" name="Freeform 213">
                <a:extLst>
                  <a:ext uri="{FF2B5EF4-FFF2-40B4-BE49-F238E27FC236}">
                    <a16:creationId xmlns:a16="http://schemas.microsoft.com/office/drawing/2014/main" id="{6D7D1EF0-EBA3-4CB2-BB65-A5AB124B7EEE}"/>
                  </a:ext>
                </a:extLst>
              </p:cNvPr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gray">
              <a:xfrm>
                <a:off x="6742113" y="4021138"/>
                <a:ext cx="471173" cy="137842"/>
              </a:xfrm>
              <a:custGeom>
                <a:avLst/>
                <a:gdLst/>
                <a:ahLst/>
                <a:cxnLst/>
                <a:rect l="l" t="t" r="r" b="b"/>
                <a:pathLst>
                  <a:path w="471173" h="137842">
                    <a:moveTo>
                      <a:pt x="406205" y="0"/>
                    </a:moveTo>
                    <a:lnTo>
                      <a:pt x="423398" y="16764"/>
                    </a:lnTo>
                    <a:lnTo>
                      <a:pt x="423398" y="33528"/>
                    </a:lnTo>
                    <a:lnTo>
                      <a:pt x="471173" y="46562"/>
                    </a:lnTo>
                    <a:lnTo>
                      <a:pt x="436787" y="46562"/>
                    </a:lnTo>
                    <a:lnTo>
                      <a:pt x="452053" y="63326"/>
                    </a:lnTo>
                    <a:lnTo>
                      <a:pt x="436787" y="63326"/>
                    </a:lnTo>
                    <a:lnTo>
                      <a:pt x="392841" y="63326"/>
                    </a:lnTo>
                    <a:lnTo>
                      <a:pt x="346993" y="121078"/>
                    </a:lnTo>
                    <a:lnTo>
                      <a:pt x="329800" y="137842"/>
                    </a:lnTo>
                    <a:lnTo>
                      <a:pt x="299218" y="121078"/>
                    </a:lnTo>
                    <a:lnTo>
                      <a:pt x="282025" y="137842"/>
                    </a:lnTo>
                    <a:lnTo>
                      <a:pt x="251468" y="137842"/>
                    </a:lnTo>
                    <a:lnTo>
                      <a:pt x="222813" y="121078"/>
                    </a:lnTo>
                    <a:lnTo>
                      <a:pt x="270563" y="121078"/>
                    </a:lnTo>
                    <a:lnTo>
                      <a:pt x="270563" y="93138"/>
                    </a:lnTo>
                    <a:lnTo>
                      <a:pt x="299218" y="93138"/>
                    </a:lnTo>
                    <a:lnTo>
                      <a:pt x="329800" y="63326"/>
                    </a:lnTo>
                    <a:lnTo>
                      <a:pt x="346993" y="63326"/>
                    </a:lnTo>
                    <a:lnTo>
                      <a:pt x="358455" y="63326"/>
                    </a:lnTo>
                    <a:lnTo>
                      <a:pt x="375648" y="46562"/>
                    </a:lnTo>
                    <a:lnTo>
                      <a:pt x="358455" y="46562"/>
                    </a:lnTo>
                    <a:lnTo>
                      <a:pt x="375648" y="33528"/>
                    </a:lnTo>
                    <a:close/>
                    <a:moveTo>
                      <a:pt x="0" y="0"/>
                    </a:moveTo>
                    <a:lnTo>
                      <a:pt x="17728" y="16764"/>
                    </a:lnTo>
                    <a:lnTo>
                      <a:pt x="35457" y="33528"/>
                    </a:lnTo>
                    <a:lnTo>
                      <a:pt x="47275" y="16764"/>
                    </a:lnTo>
                    <a:lnTo>
                      <a:pt x="84701" y="46562"/>
                    </a:lnTo>
                    <a:lnTo>
                      <a:pt x="84701" y="93138"/>
                    </a:lnTo>
                    <a:lnTo>
                      <a:pt x="96520" y="137842"/>
                    </a:lnTo>
                    <a:lnTo>
                      <a:pt x="84701" y="137842"/>
                    </a:lnTo>
                    <a:lnTo>
                      <a:pt x="35457" y="93138"/>
                    </a:lnTo>
                    <a:lnTo>
                      <a:pt x="0" y="63326"/>
                    </a:lnTo>
                    <a:lnTo>
                      <a:pt x="0" y="1676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8" name="Freeform 215">
                <a:extLst>
                  <a:ext uri="{FF2B5EF4-FFF2-40B4-BE49-F238E27FC236}">
                    <a16:creationId xmlns:a16="http://schemas.microsoft.com/office/drawing/2014/main" id="{BED23FA8-C132-47FA-B80A-3776365C5A6E}"/>
                  </a:ext>
                </a:extLst>
              </p:cNvPr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gray">
              <a:xfrm>
                <a:off x="7073104" y="4067176"/>
                <a:ext cx="48438" cy="31750"/>
              </a:xfrm>
              <a:custGeom>
                <a:avLst/>
                <a:gdLst>
                  <a:gd name="T0" fmla="*/ 0 w 25"/>
                  <a:gd name="T1" fmla="*/ 16 h 17"/>
                  <a:gd name="T2" fmla="*/ 9 w 25"/>
                  <a:gd name="T3" fmla="*/ 16 h 17"/>
                  <a:gd name="T4" fmla="*/ 15 w 25"/>
                  <a:gd name="T5" fmla="*/ 16 h 17"/>
                  <a:gd name="T6" fmla="*/ 24 w 25"/>
                  <a:gd name="T7" fmla="*/ 0 h 17"/>
                  <a:gd name="T8" fmla="*/ 15 w 25"/>
                  <a:gd name="T9" fmla="*/ 0 h 17"/>
                  <a:gd name="T10" fmla="*/ 0 w 25"/>
                  <a:gd name="T11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7">
                    <a:moveTo>
                      <a:pt x="0" y="16"/>
                    </a:moveTo>
                    <a:lnTo>
                      <a:pt x="9" y="16"/>
                    </a:lnTo>
                    <a:lnTo>
                      <a:pt x="15" y="16"/>
                    </a:lnTo>
                    <a:lnTo>
                      <a:pt x="24" y="0"/>
                    </a:lnTo>
                    <a:lnTo>
                      <a:pt x="15" y="0"/>
                    </a:lnTo>
                    <a:lnTo>
                      <a:pt x="0" y="16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9" name="Oval 216">
                <a:extLst>
                  <a:ext uri="{FF2B5EF4-FFF2-40B4-BE49-F238E27FC236}">
                    <a16:creationId xmlns:a16="http://schemas.microsoft.com/office/drawing/2014/main" id="{61645FEB-9632-44EB-8341-9D90B741B31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67"/>
                </p:custDataLst>
              </p:nvPr>
            </p:nvSpPr>
            <p:spPr bwMode="gray">
              <a:xfrm>
                <a:off x="6809926" y="4129088"/>
                <a:ext cx="27448" cy="26988"/>
              </a:xfrm>
              <a:prstGeom prst="ellipse">
                <a:avLst/>
              </a:pr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grpSp>
            <p:nvGrpSpPr>
              <p:cNvPr id="410" name="Group 233">
                <a:extLst>
                  <a:ext uri="{FF2B5EF4-FFF2-40B4-BE49-F238E27FC236}">
                    <a16:creationId xmlns:a16="http://schemas.microsoft.com/office/drawing/2014/main" id="{AF5FE2D0-732F-41FE-B317-F33884E7C2DF}"/>
                  </a:ext>
                </a:extLst>
              </p:cNvPr>
              <p:cNvGrpSpPr>
                <a:grpSpLocks/>
              </p:cNvGrpSpPr>
              <p:nvPr>
                <p:custDataLst>
                  <p:tags r:id="rId168"/>
                </p:custDataLst>
              </p:nvPr>
            </p:nvGrpSpPr>
            <p:grpSpPr bwMode="auto">
              <a:xfrm>
                <a:off x="5432426" y="2643188"/>
                <a:ext cx="1014413" cy="495300"/>
                <a:chOff x="3419" y="1862"/>
                <a:chExt cx="629" cy="312"/>
              </a:xfrm>
              <a:grpFill/>
            </p:grpSpPr>
            <p:sp>
              <p:nvSpPr>
                <p:cNvPr id="463" name="Freeform 234">
                  <a:extLst>
                    <a:ext uri="{FF2B5EF4-FFF2-40B4-BE49-F238E27FC236}">
                      <a16:creationId xmlns:a16="http://schemas.microsoft.com/office/drawing/2014/main" id="{EEE681AC-0743-4673-99B1-35F5147F6D41}"/>
                    </a:ext>
                  </a:extLst>
                </p:cNvPr>
                <p:cNvSpPr>
                  <a:spLocks/>
                </p:cNvSpPr>
                <p:nvPr>
                  <p:custDataLst>
                    <p:tags r:id="rId216"/>
                  </p:custDataLst>
                </p:nvPr>
              </p:nvSpPr>
              <p:spPr bwMode="gray">
                <a:xfrm>
                  <a:off x="3692" y="1862"/>
                  <a:ext cx="356" cy="312"/>
                </a:xfrm>
                <a:custGeom>
                  <a:avLst/>
                  <a:gdLst>
                    <a:gd name="T0" fmla="*/ 0 w 356"/>
                    <a:gd name="T1" fmla="*/ 25 h 312"/>
                    <a:gd name="T2" fmla="*/ 75 w 356"/>
                    <a:gd name="T3" fmla="*/ 0 h 312"/>
                    <a:gd name="T4" fmla="*/ 99 w 356"/>
                    <a:gd name="T5" fmla="*/ 27 h 312"/>
                    <a:gd name="T6" fmla="*/ 114 w 356"/>
                    <a:gd name="T7" fmla="*/ 12 h 312"/>
                    <a:gd name="T8" fmla="*/ 154 w 356"/>
                    <a:gd name="T9" fmla="*/ 40 h 312"/>
                    <a:gd name="T10" fmla="*/ 160 w 356"/>
                    <a:gd name="T11" fmla="*/ 42 h 312"/>
                    <a:gd name="T12" fmla="*/ 187 w 356"/>
                    <a:gd name="T13" fmla="*/ 30 h 312"/>
                    <a:gd name="T14" fmla="*/ 191 w 356"/>
                    <a:gd name="T15" fmla="*/ 28 h 312"/>
                    <a:gd name="T16" fmla="*/ 196 w 356"/>
                    <a:gd name="T17" fmla="*/ 42 h 312"/>
                    <a:gd name="T18" fmla="*/ 214 w 356"/>
                    <a:gd name="T19" fmla="*/ 54 h 312"/>
                    <a:gd name="T20" fmla="*/ 226 w 356"/>
                    <a:gd name="T21" fmla="*/ 70 h 312"/>
                    <a:gd name="T22" fmla="*/ 233 w 356"/>
                    <a:gd name="T23" fmla="*/ 85 h 312"/>
                    <a:gd name="T24" fmla="*/ 232 w 356"/>
                    <a:gd name="T25" fmla="*/ 100 h 312"/>
                    <a:gd name="T26" fmla="*/ 236 w 356"/>
                    <a:gd name="T27" fmla="*/ 103 h 312"/>
                    <a:gd name="T28" fmla="*/ 248 w 356"/>
                    <a:gd name="T29" fmla="*/ 108 h 312"/>
                    <a:gd name="T30" fmla="*/ 265 w 356"/>
                    <a:gd name="T31" fmla="*/ 105 h 312"/>
                    <a:gd name="T32" fmla="*/ 277 w 356"/>
                    <a:gd name="T33" fmla="*/ 112 h 312"/>
                    <a:gd name="T34" fmla="*/ 287 w 356"/>
                    <a:gd name="T35" fmla="*/ 108 h 312"/>
                    <a:gd name="T36" fmla="*/ 302 w 356"/>
                    <a:gd name="T37" fmla="*/ 114 h 312"/>
                    <a:gd name="T38" fmla="*/ 320 w 356"/>
                    <a:gd name="T39" fmla="*/ 130 h 312"/>
                    <a:gd name="T40" fmla="*/ 353 w 356"/>
                    <a:gd name="T41" fmla="*/ 138 h 312"/>
                    <a:gd name="T42" fmla="*/ 340 w 356"/>
                    <a:gd name="T43" fmla="*/ 152 h 312"/>
                    <a:gd name="T44" fmla="*/ 329 w 356"/>
                    <a:gd name="T45" fmla="*/ 157 h 312"/>
                    <a:gd name="T46" fmla="*/ 328 w 356"/>
                    <a:gd name="T47" fmla="*/ 175 h 312"/>
                    <a:gd name="T48" fmla="*/ 323 w 356"/>
                    <a:gd name="T49" fmla="*/ 195 h 312"/>
                    <a:gd name="T50" fmla="*/ 319 w 356"/>
                    <a:gd name="T51" fmla="*/ 192 h 312"/>
                    <a:gd name="T52" fmla="*/ 305 w 356"/>
                    <a:gd name="T53" fmla="*/ 183 h 312"/>
                    <a:gd name="T54" fmla="*/ 281 w 356"/>
                    <a:gd name="T55" fmla="*/ 195 h 312"/>
                    <a:gd name="T56" fmla="*/ 274 w 356"/>
                    <a:gd name="T57" fmla="*/ 214 h 312"/>
                    <a:gd name="T58" fmla="*/ 278 w 356"/>
                    <a:gd name="T59" fmla="*/ 234 h 312"/>
                    <a:gd name="T60" fmla="*/ 268 w 356"/>
                    <a:gd name="T61" fmla="*/ 226 h 312"/>
                    <a:gd name="T62" fmla="*/ 241 w 356"/>
                    <a:gd name="T63" fmla="*/ 232 h 312"/>
                    <a:gd name="T64" fmla="*/ 247 w 356"/>
                    <a:gd name="T65" fmla="*/ 261 h 312"/>
                    <a:gd name="T66" fmla="*/ 245 w 356"/>
                    <a:gd name="T67" fmla="*/ 274 h 312"/>
                    <a:gd name="T68" fmla="*/ 254 w 356"/>
                    <a:gd name="T69" fmla="*/ 283 h 312"/>
                    <a:gd name="T70" fmla="*/ 242 w 356"/>
                    <a:gd name="T71" fmla="*/ 287 h 312"/>
                    <a:gd name="T72" fmla="*/ 196 w 356"/>
                    <a:gd name="T73" fmla="*/ 309 h 312"/>
                    <a:gd name="T74" fmla="*/ 208 w 356"/>
                    <a:gd name="T75" fmla="*/ 282 h 312"/>
                    <a:gd name="T76" fmla="*/ 172 w 356"/>
                    <a:gd name="T77" fmla="*/ 279 h 312"/>
                    <a:gd name="T78" fmla="*/ 144 w 356"/>
                    <a:gd name="T79" fmla="*/ 270 h 312"/>
                    <a:gd name="T80" fmla="*/ 124 w 356"/>
                    <a:gd name="T81" fmla="*/ 283 h 312"/>
                    <a:gd name="T82" fmla="*/ 109 w 356"/>
                    <a:gd name="T83" fmla="*/ 279 h 312"/>
                    <a:gd name="T84" fmla="*/ 79 w 356"/>
                    <a:gd name="T85" fmla="*/ 292 h 312"/>
                    <a:gd name="T86" fmla="*/ 51 w 356"/>
                    <a:gd name="T87" fmla="*/ 312 h 3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56" h="312">
                      <a:moveTo>
                        <a:pt x="0" y="25"/>
                      </a:moveTo>
                      <a:cubicBezTo>
                        <a:pt x="10" y="28"/>
                        <a:pt x="59" y="0"/>
                        <a:pt x="75" y="0"/>
                      </a:cubicBezTo>
                      <a:cubicBezTo>
                        <a:pt x="91" y="0"/>
                        <a:pt x="92" y="25"/>
                        <a:pt x="99" y="27"/>
                      </a:cubicBezTo>
                      <a:cubicBezTo>
                        <a:pt x="106" y="29"/>
                        <a:pt x="105" y="10"/>
                        <a:pt x="114" y="12"/>
                      </a:cubicBezTo>
                      <a:cubicBezTo>
                        <a:pt x="123" y="14"/>
                        <a:pt x="146" y="35"/>
                        <a:pt x="154" y="40"/>
                      </a:cubicBezTo>
                      <a:cubicBezTo>
                        <a:pt x="162" y="45"/>
                        <a:pt x="155" y="44"/>
                        <a:pt x="160" y="42"/>
                      </a:cubicBezTo>
                      <a:cubicBezTo>
                        <a:pt x="166" y="32"/>
                        <a:pt x="176" y="31"/>
                        <a:pt x="187" y="30"/>
                      </a:cubicBezTo>
                      <a:cubicBezTo>
                        <a:pt x="188" y="29"/>
                        <a:pt x="190" y="27"/>
                        <a:pt x="191" y="28"/>
                      </a:cubicBezTo>
                      <a:cubicBezTo>
                        <a:pt x="194" y="29"/>
                        <a:pt x="195" y="41"/>
                        <a:pt x="196" y="42"/>
                      </a:cubicBezTo>
                      <a:cubicBezTo>
                        <a:pt x="198" y="46"/>
                        <a:pt x="210" y="52"/>
                        <a:pt x="214" y="54"/>
                      </a:cubicBezTo>
                      <a:cubicBezTo>
                        <a:pt x="218" y="60"/>
                        <a:pt x="222" y="64"/>
                        <a:pt x="226" y="70"/>
                      </a:cubicBezTo>
                      <a:cubicBezTo>
                        <a:pt x="228" y="76"/>
                        <a:pt x="232" y="80"/>
                        <a:pt x="233" y="85"/>
                      </a:cubicBezTo>
                      <a:cubicBezTo>
                        <a:pt x="234" y="90"/>
                        <a:pt x="231" y="97"/>
                        <a:pt x="232" y="100"/>
                      </a:cubicBezTo>
                      <a:cubicBezTo>
                        <a:pt x="233" y="106"/>
                        <a:pt x="233" y="102"/>
                        <a:pt x="236" y="103"/>
                      </a:cubicBezTo>
                      <a:cubicBezTo>
                        <a:pt x="239" y="104"/>
                        <a:pt x="243" y="108"/>
                        <a:pt x="248" y="108"/>
                      </a:cubicBezTo>
                      <a:cubicBezTo>
                        <a:pt x="254" y="104"/>
                        <a:pt x="258" y="106"/>
                        <a:pt x="265" y="105"/>
                      </a:cubicBezTo>
                      <a:cubicBezTo>
                        <a:pt x="269" y="110"/>
                        <a:pt x="271" y="111"/>
                        <a:pt x="277" y="112"/>
                      </a:cubicBezTo>
                      <a:cubicBezTo>
                        <a:pt x="281" y="111"/>
                        <a:pt x="283" y="108"/>
                        <a:pt x="287" y="108"/>
                      </a:cubicBezTo>
                      <a:cubicBezTo>
                        <a:pt x="291" y="108"/>
                        <a:pt x="299" y="111"/>
                        <a:pt x="302" y="114"/>
                      </a:cubicBezTo>
                      <a:cubicBezTo>
                        <a:pt x="306" y="120"/>
                        <a:pt x="314" y="127"/>
                        <a:pt x="320" y="130"/>
                      </a:cubicBezTo>
                      <a:cubicBezTo>
                        <a:pt x="329" y="141"/>
                        <a:pt x="338" y="136"/>
                        <a:pt x="353" y="138"/>
                      </a:cubicBezTo>
                      <a:cubicBezTo>
                        <a:pt x="356" y="142"/>
                        <a:pt x="344" y="149"/>
                        <a:pt x="340" y="152"/>
                      </a:cubicBezTo>
                      <a:cubicBezTo>
                        <a:pt x="336" y="155"/>
                        <a:pt x="331" y="153"/>
                        <a:pt x="329" y="157"/>
                      </a:cubicBezTo>
                      <a:cubicBezTo>
                        <a:pt x="325" y="162"/>
                        <a:pt x="329" y="169"/>
                        <a:pt x="328" y="175"/>
                      </a:cubicBezTo>
                      <a:cubicBezTo>
                        <a:pt x="327" y="181"/>
                        <a:pt x="324" y="192"/>
                        <a:pt x="323" y="195"/>
                      </a:cubicBezTo>
                      <a:cubicBezTo>
                        <a:pt x="323" y="197"/>
                        <a:pt x="320" y="193"/>
                        <a:pt x="319" y="192"/>
                      </a:cubicBezTo>
                      <a:cubicBezTo>
                        <a:pt x="314" y="189"/>
                        <a:pt x="310" y="186"/>
                        <a:pt x="305" y="183"/>
                      </a:cubicBezTo>
                      <a:cubicBezTo>
                        <a:pt x="287" y="186"/>
                        <a:pt x="286" y="182"/>
                        <a:pt x="281" y="195"/>
                      </a:cubicBezTo>
                      <a:cubicBezTo>
                        <a:pt x="277" y="200"/>
                        <a:pt x="275" y="207"/>
                        <a:pt x="274" y="214"/>
                      </a:cubicBezTo>
                      <a:cubicBezTo>
                        <a:pt x="274" y="220"/>
                        <a:pt x="279" y="232"/>
                        <a:pt x="278" y="234"/>
                      </a:cubicBezTo>
                      <a:cubicBezTo>
                        <a:pt x="274" y="230"/>
                        <a:pt x="273" y="229"/>
                        <a:pt x="268" y="226"/>
                      </a:cubicBezTo>
                      <a:cubicBezTo>
                        <a:pt x="263" y="226"/>
                        <a:pt x="244" y="226"/>
                        <a:pt x="241" y="232"/>
                      </a:cubicBezTo>
                      <a:cubicBezTo>
                        <a:pt x="238" y="238"/>
                        <a:pt x="246" y="254"/>
                        <a:pt x="247" y="261"/>
                      </a:cubicBezTo>
                      <a:cubicBezTo>
                        <a:pt x="246" y="265"/>
                        <a:pt x="244" y="270"/>
                        <a:pt x="245" y="274"/>
                      </a:cubicBezTo>
                      <a:cubicBezTo>
                        <a:pt x="246" y="278"/>
                        <a:pt x="254" y="283"/>
                        <a:pt x="254" y="283"/>
                      </a:cubicBezTo>
                      <a:cubicBezTo>
                        <a:pt x="254" y="285"/>
                        <a:pt x="248" y="284"/>
                        <a:pt x="242" y="287"/>
                      </a:cubicBezTo>
                      <a:cubicBezTo>
                        <a:pt x="232" y="291"/>
                        <a:pt x="202" y="310"/>
                        <a:pt x="196" y="309"/>
                      </a:cubicBezTo>
                      <a:cubicBezTo>
                        <a:pt x="190" y="308"/>
                        <a:pt x="212" y="287"/>
                        <a:pt x="208" y="282"/>
                      </a:cubicBezTo>
                      <a:cubicBezTo>
                        <a:pt x="204" y="277"/>
                        <a:pt x="183" y="281"/>
                        <a:pt x="172" y="279"/>
                      </a:cubicBezTo>
                      <a:cubicBezTo>
                        <a:pt x="161" y="277"/>
                        <a:pt x="152" y="269"/>
                        <a:pt x="144" y="270"/>
                      </a:cubicBezTo>
                      <a:cubicBezTo>
                        <a:pt x="136" y="271"/>
                        <a:pt x="130" y="282"/>
                        <a:pt x="124" y="283"/>
                      </a:cubicBezTo>
                      <a:cubicBezTo>
                        <a:pt x="118" y="284"/>
                        <a:pt x="116" y="278"/>
                        <a:pt x="109" y="279"/>
                      </a:cubicBezTo>
                      <a:cubicBezTo>
                        <a:pt x="102" y="280"/>
                        <a:pt x="89" y="287"/>
                        <a:pt x="79" y="292"/>
                      </a:cubicBezTo>
                      <a:cubicBezTo>
                        <a:pt x="69" y="297"/>
                        <a:pt x="57" y="308"/>
                        <a:pt x="51" y="312"/>
                      </a:cubicBezTo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64" name="Freeform 235">
                  <a:extLst>
                    <a:ext uri="{FF2B5EF4-FFF2-40B4-BE49-F238E27FC236}">
                      <a16:creationId xmlns:a16="http://schemas.microsoft.com/office/drawing/2014/main" id="{9BCACB16-449D-452F-BDFA-D042D740F2AC}"/>
                    </a:ext>
                  </a:extLst>
                </p:cNvPr>
                <p:cNvSpPr>
                  <a:spLocks/>
                </p:cNvSpPr>
                <p:nvPr>
                  <p:custDataLst>
                    <p:tags r:id="rId217"/>
                  </p:custDataLst>
                </p:nvPr>
              </p:nvSpPr>
              <p:spPr bwMode="gray">
                <a:xfrm>
                  <a:off x="3419" y="1864"/>
                  <a:ext cx="339" cy="308"/>
                </a:xfrm>
                <a:custGeom>
                  <a:avLst/>
                  <a:gdLst>
                    <a:gd name="T0" fmla="*/ 339 w 339"/>
                    <a:gd name="T1" fmla="*/ 0 h 308"/>
                    <a:gd name="T2" fmla="*/ 273 w 339"/>
                    <a:gd name="T3" fmla="*/ 23 h 308"/>
                    <a:gd name="T4" fmla="*/ 252 w 339"/>
                    <a:gd name="T5" fmla="*/ 31 h 308"/>
                    <a:gd name="T6" fmla="*/ 233 w 339"/>
                    <a:gd name="T7" fmla="*/ 34 h 308"/>
                    <a:gd name="T8" fmla="*/ 226 w 339"/>
                    <a:gd name="T9" fmla="*/ 55 h 308"/>
                    <a:gd name="T10" fmla="*/ 216 w 339"/>
                    <a:gd name="T11" fmla="*/ 74 h 308"/>
                    <a:gd name="T12" fmla="*/ 221 w 339"/>
                    <a:gd name="T13" fmla="*/ 92 h 308"/>
                    <a:gd name="T14" fmla="*/ 228 w 339"/>
                    <a:gd name="T15" fmla="*/ 103 h 308"/>
                    <a:gd name="T16" fmla="*/ 221 w 339"/>
                    <a:gd name="T17" fmla="*/ 112 h 308"/>
                    <a:gd name="T18" fmla="*/ 194 w 339"/>
                    <a:gd name="T19" fmla="*/ 109 h 308"/>
                    <a:gd name="T20" fmla="*/ 180 w 339"/>
                    <a:gd name="T21" fmla="*/ 101 h 308"/>
                    <a:gd name="T22" fmla="*/ 164 w 339"/>
                    <a:gd name="T23" fmla="*/ 100 h 308"/>
                    <a:gd name="T24" fmla="*/ 147 w 339"/>
                    <a:gd name="T25" fmla="*/ 110 h 308"/>
                    <a:gd name="T26" fmla="*/ 101 w 339"/>
                    <a:gd name="T27" fmla="*/ 86 h 308"/>
                    <a:gd name="T28" fmla="*/ 66 w 339"/>
                    <a:gd name="T29" fmla="*/ 88 h 308"/>
                    <a:gd name="T30" fmla="*/ 54 w 339"/>
                    <a:gd name="T31" fmla="*/ 97 h 308"/>
                    <a:gd name="T32" fmla="*/ 36 w 339"/>
                    <a:gd name="T33" fmla="*/ 116 h 308"/>
                    <a:gd name="T34" fmla="*/ 23 w 339"/>
                    <a:gd name="T35" fmla="*/ 118 h 308"/>
                    <a:gd name="T36" fmla="*/ 12 w 339"/>
                    <a:gd name="T37" fmla="*/ 142 h 308"/>
                    <a:gd name="T38" fmla="*/ 5 w 339"/>
                    <a:gd name="T39" fmla="*/ 155 h 308"/>
                    <a:gd name="T40" fmla="*/ 12 w 339"/>
                    <a:gd name="T41" fmla="*/ 173 h 308"/>
                    <a:gd name="T42" fmla="*/ 26 w 339"/>
                    <a:gd name="T43" fmla="*/ 181 h 308"/>
                    <a:gd name="T44" fmla="*/ 41 w 339"/>
                    <a:gd name="T45" fmla="*/ 202 h 308"/>
                    <a:gd name="T46" fmla="*/ 47 w 339"/>
                    <a:gd name="T47" fmla="*/ 211 h 308"/>
                    <a:gd name="T48" fmla="*/ 48 w 339"/>
                    <a:gd name="T49" fmla="*/ 206 h 308"/>
                    <a:gd name="T50" fmla="*/ 57 w 339"/>
                    <a:gd name="T51" fmla="*/ 200 h 308"/>
                    <a:gd name="T52" fmla="*/ 89 w 339"/>
                    <a:gd name="T53" fmla="*/ 197 h 308"/>
                    <a:gd name="T54" fmla="*/ 108 w 339"/>
                    <a:gd name="T55" fmla="*/ 211 h 308"/>
                    <a:gd name="T56" fmla="*/ 108 w 339"/>
                    <a:gd name="T57" fmla="*/ 221 h 308"/>
                    <a:gd name="T58" fmla="*/ 125 w 339"/>
                    <a:gd name="T59" fmla="*/ 227 h 308"/>
                    <a:gd name="T60" fmla="*/ 113 w 339"/>
                    <a:gd name="T61" fmla="*/ 247 h 308"/>
                    <a:gd name="T62" fmla="*/ 99 w 339"/>
                    <a:gd name="T63" fmla="*/ 233 h 308"/>
                    <a:gd name="T64" fmla="*/ 87 w 339"/>
                    <a:gd name="T65" fmla="*/ 238 h 308"/>
                    <a:gd name="T66" fmla="*/ 74 w 339"/>
                    <a:gd name="T67" fmla="*/ 248 h 308"/>
                    <a:gd name="T68" fmla="*/ 77 w 339"/>
                    <a:gd name="T69" fmla="*/ 265 h 308"/>
                    <a:gd name="T70" fmla="*/ 87 w 339"/>
                    <a:gd name="T71" fmla="*/ 279 h 308"/>
                    <a:gd name="T72" fmla="*/ 102 w 339"/>
                    <a:gd name="T73" fmla="*/ 295 h 308"/>
                    <a:gd name="T74" fmla="*/ 134 w 339"/>
                    <a:gd name="T75" fmla="*/ 293 h 308"/>
                    <a:gd name="T76" fmla="*/ 152 w 339"/>
                    <a:gd name="T77" fmla="*/ 302 h 308"/>
                    <a:gd name="T78" fmla="*/ 153 w 339"/>
                    <a:gd name="T79" fmla="*/ 242 h 308"/>
                    <a:gd name="T80" fmla="*/ 170 w 339"/>
                    <a:gd name="T81" fmla="*/ 235 h 308"/>
                    <a:gd name="T82" fmla="*/ 188 w 339"/>
                    <a:gd name="T83" fmla="*/ 226 h 308"/>
                    <a:gd name="T84" fmla="*/ 206 w 339"/>
                    <a:gd name="T85" fmla="*/ 230 h 308"/>
                    <a:gd name="T86" fmla="*/ 230 w 339"/>
                    <a:gd name="T87" fmla="*/ 253 h 308"/>
                    <a:gd name="T88" fmla="*/ 254 w 339"/>
                    <a:gd name="T89" fmla="*/ 269 h 308"/>
                    <a:gd name="T90" fmla="*/ 287 w 339"/>
                    <a:gd name="T91" fmla="*/ 269 h 308"/>
                    <a:gd name="T92" fmla="*/ 303 w 339"/>
                    <a:gd name="T93" fmla="*/ 287 h 308"/>
                    <a:gd name="T94" fmla="*/ 321 w 339"/>
                    <a:gd name="T95" fmla="*/ 308 h 3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39" h="308">
                      <a:moveTo>
                        <a:pt x="339" y="0"/>
                      </a:moveTo>
                      <a:cubicBezTo>
                        <a:pt x="328" y="3"/>
                        <a:pt x="287" y="18"/>
                        <a:pt x="273" y="23"/>
                      </a:cubicBezTo>
                      <a:cubicBezTo>
                        <a:pt x="262" y="26"/>
                        <a:pt x="259" y="29"/>
                        <a:pt x="252" y="31"/>
                      </a:cubicBezTo>
                      <a:cubicBezTo>
                        <a:pt x="245" y="33"/>
                        <a:pt x="237" y="30"/>
                        <a:pt x="233" y="34"/>
                      </a:cubicBezTo>
                      <a:cubicBezTo>
                        <a:pt x="225" y="39"/>
                        <a:pt x="229" y="48"/>
                        <a:pt x="226" y="55"/>
                      </a:cubicBezTo>
                      <a:cubicBezTo>
                        <a:pt x="223" y="62"/>
                        <a:pt x="217" y="68"/>
                        <a:pt x="216" y="74"/>
                      </a:cubicBezTo>
                      <a:cubicBezTo>
                        <a:pt x="211" y="82"/>
                        <a:pt x="216" y="85"/>
                        <a:pt x="221" y="92"/>
                      </a:cubicBezTo>
                      <a:cubicBezTo>
                        <a:pt x="223" y="101"/>
                        <a:pt x="226" y="94"/>
                        <a:pt x="228" y="103"/>
                      </a:cubicBezTo>
                      <a:cubicBezTo>
                        <a:pt x="227" y="105"/>
                        <a:pt x="225" y="112"/>
                        <a:pt x="221" y="112"/>
                      </a:cubicBezTo>
                      <a:cubicBezTo>
                        <a:pt x="212" y="112"/>
                        <a:pt x="194" y="109"/>
                        <a:pt x="194" y="109"/>
                      </a:cubicBezTo>
                      <a:cubicBezTo>
                        <a:pt x="189" y="107"/>
                        <a:pt x="185" y="104"/>
                        <a:pt x="180" y="101"/>
                      </a:cubicBezTo>
                      <a:cubicBezTo>
                        <a:pt x="175" y="100"/>
                        <a:pt x="169" y="99"/>
                        <a:pt x="164" y="100"/>
                      </a:cubicBezTo>
                      <a:cubicBezTo>
                        <a:pt x="159" y="101"/>
                        <a:pt x="157" y="112"/>
                        <a:pt x="147" y="110"/>
                      </a:cubicBezTo>
                      <a:cubicBezTo>
                        <a:pt x="133" y="108"/>
                        <a:pt x="114" y="90"/>
                        <a:pt x="101" y="86"/>
                      </a:cubicBezTo>
                      <a:cubicBezTo>
                        <a:pt x="88" y="82"/>
                        <a:pt x="74" y="86"/>
                        <a:pt x="66" y="88"/>
                      </a:cubicBezTo>
                      <a:cubicBezTo>
                        <a:pt x="62" y="93"/>
                        <a:pt x="59" y="94"/>
                        <a:pt x="54" y="97"/>
                      </a:cubicBezTo>
                      <a:cubicBezTo>
                        <a:pt x="53" y="105"/>
                        <a:pt x="43" y="112"/>
                        <a:pt x="36" y="116"/>
                      </a:cubicBezTo>
                      <a:cubicBezTo>
                        <a:pt x="35" y="127"/>
                        <a:pt x="32" y="122"/>
                        <a:pt x="23" y="118"/>
                      </a:cubicBezTo>
                      <a:cubicBezTo>
                        <a:pt x="17" y="112"/>
                        <a:pt x="18" y="136"/>
                        <a:pt x="12" y="142"/>
                      </a:cubicBezTo>
                      <a:cubicBezTo>
                        <a:pt x="11" y="149"/>
                        <a:pt x="10" y="151"/>
                        <a:pt x="5" y="155"/>
                      </a:cubicBezTo>
                      <a:cubicBezTo>
                        <a:pt x="0" y="164"/>
                        <a:pt x="2" y="172"/>
                        <a:pt x="12" y="173"/>
                      </a:cubicBezTo>
                      <a:cubicBezTo>
                        <a:pt x="17" y="175"/>
                        <a:pt x="21" y="178"/>
                        <a:pt x="26" y="181"/>
                      </a:cubicBezTo>
                      <a:cubicBezTo>
                        <a:pt x="32" y="189"/>
                        <a:pt x="31" y="198"/>
                        <a:pt x="41" y="202"/>
                      </a:cubicBezTo>
                      <a:cubicBezTo>
                        <a:pt x="41" y="204"/>
                        <a:pt x="41" y="213"/>
                        <a:pt x="47" y="211"/>
                      </a:cubicBezTo>
                      <a:cubicBezTo>
                        <a:pt x="49" y="210"/>
                        <a:pt x="47" y="207"/>
                        <a:pt x="48" y="206"/>
                      </a:cubicBezTo>
                      <a:cubicBezTo>
                        <a:pt x="50" y="203"/>
                        <a:pt x="54" y="201"/>
                        <a:pt x="57" y="200"/>
                      </a:cubicBezTo>
                      <a:cubicBezTo>
                        <a:pt x="67" y="196"/>
                        <a:pt x="78" y="198"/>
                        <a:pt x="89" y="197"/>
                      </a:cubicBezTo>
                      <a:cubicBezTo>
                        <a:pt x="103" y="195"/>
                        <a:pt x="102" y="200"/>
                        <a:pt x="108" y="211"/>
                      </a:cubicBezTo>
                      <a:cubicBezTo>
                        <a:pt x="113" y="214"/>
                        <a:pt x="105" y="218"/>
                        <a:pt x="108" y="221"/>
                      </a:cubicBezTo>
                      <a:cubicBezTo>
                        <a:pt x="111" y="224"/>
                        <a:pt x="124" y="223"/>
                        <a:pt x="125" y="227"/>
                      </a:cubicBezTo>
                      <a:cubicBezTo>
                        <a:pt x="123" y="236"/>
                        <a:pt x="121" y="243"/>
                        <a:pt x="113" y="247"/>
                      </a:cubicBezTo>
                      <a:cubicBezTo>
                        <a:pt x="106" y="243"/>
                        <a:pt x="108" y="236"/>
                        <a:pt x="99" y="233"/>
                      </a:cubicBezTo>
                      <a:cubicBezTo>
                        <a:pt x="78" y="238"/>
                        <a:pt x="95" y="228"/>
                        <a:pt x="87" y="238"/>
                      </a:cubicBezTo>
                      <a:cubicBezTo>
                        <a:pt x="85" y="241"/>
                        <a:pt x="74" y="248"/>
                        <a:pt x="74" y="248"/>
                      </a:cubicBezTo>
                      <a:cubicBezTo>
                        <a:pt x="70" y="255"/>
                        <a:pt x="66" y="263"/>
                        <a:pt x="77" y="265"/>
                      </a:cubicBezTo>
                      <a:cubicBezTo>
                        <a:pt x="79" y="270"/>
                        <a:pt x="83" y="274"/>
                        <a:pt x="87" y="279"/>
                      </a:cubicBezTo>
                      <a:cubicBezTo>
                        <a:pt x="91" y="284"/>
                        <a:pt x="94" y="293"/>
                        <a:pt x="102" y="295"/>
                      </a:cubicBezTo>
                      <a:cubicBezTo>
                        <a:pt x="113" y="290"/>
                        <a:pt x="120" y="292"/>
                        <a:pt x="134" y="293"/>
                      </a:cubicBezTo>
                      <a:cubicBezTo>
                        <a:pt x="140" y="296"/>
                        <a:pt x="146" y="298"/>
                        <a:pt x="152" y="302"/>
                      </a:cubicBezTo>
                      <a:cubicBezTo>
                        <a:pt x="156" y="293"/>
                        <a:pt x="150" y="253"/>
                        <a:pt x="153" y="242"/>
                      </a:cubicBezTo>
                      <a:cubicBezTo>
                        <a:pt x="156" y="231"/>
                        <a:pt x="164" y="238"/>
                        <a:pt x="170" y="235"/>
                      </a:cubicBezTo>
                      <a:cubicBezTo>
                        <a:pt x="176" y="231"/>
                        <a:pt x="181" y="227"/>
                        <a:pt x="188" y="226"/>
                      </a:cubicBezTo>
                      <a:cubicBezTo>
                        <a:pt x="194" y="227"/>
                        <a:pt x="200" y="229"/>
                        <a:pt x="206" y="230"/>
                      </a:cubicBezTo>
                      <a:cubicBezTo>
                        <a:pt x="217" y="238"/>
                        <a:pt x="214" y="250"/>
                        <a:pt x="230" y="253"/>
                      </a:cubicBezTo>
                      <a:cubicBezTo>
                        <a:pt x="238" y="258"/>
                        <a:pt x="245" y="267"/>
                        <a:pt x="254" y="269"/>
                      </a:cubicBezTo>
                      <a:cubicBezTo>
                        <a:pt x="263" y="272"/>
                        <a:pt x="279" y="266"/>
                        <a:pt x="287" y="269"/>
                      </a:cubicBezTo>
                      <a:cubicBezTo>
                        <a:pt x="295" y="274"/>
                        <a:pt x="295" y="282"/>
                        <a:pt x="303" y="287"/>
                      </a:cubicBezTo>
                      <a:cubicBezTo>
                        <a:pt x="304" y="300"/>
                        <a:pt x="310" y="301"/>
                        <a:pt x="321" y="308"/>
                      </a:cubicBezTo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</p:grpSp>
          <p:sp>
            <p:nvSpPr>
              <p:cNvPr id="411" name="Freeform 236">
                <a:extLst>
                  <a:ext uri="{FF2B5EF4-FFF2-40B4-BE49-F238E27FC236}">
                    <a16:creationId xmlns:a16="http://schemas.microsoft.com/office/drawing/2014/main" id="{7D0FF1EF-4CD9-4E7D-B1E2-921E92848CF3}"/>
                  </a:ext>
                </a:extLst>
              </p:cNvPr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gray">
              <a:xfrm>
                <a:off x="3895726" y="1398588"/>
                <a:ext cx="31750" cy="33338"/>
              </a:xfrm>
              <a:custGeom>
                <a:avLst/>
                <a:gdLst>
                  <a:gd name="T0" fmla="*/ 0 w 17"/>
                  <a:gd name="T1" fmla="*/ 0 h 18"/>
                  <a:gd name="T2" fmla="*/ 0 w 17"/>
                  <a:gd name="T3" fmla="*/ 17 h 18"/>
                  <a:gd name="T4" fmla="*/ 16 w 17"/>
                  <a:gd name="T5" fmla="*/ 17 h 18"/>
                  <a:gd name="T6" fmla="*/ 0 w 17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0"/>
                    </a:moveTo>
                    <a:lnTo>
                      <a:pt x="0" y="17"/>
                    </a:lnTo>
                    <a:lnTo>
                      <a:pt x="16" y="17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2" name="Freeform 237">
                <a:extLst>
                  <a:ext uri="{FF2B5EF4-FFF2-40B4-BE49-F238E27FC236}">
                    <a16:creationId xmlns:a16="http://schemas.microsoft.com/office/drawing/2014/main" id="{7D813A3B-A31C-43F7-87C6-A159A2F95333}"/>
                  </a:ext>
                </a:extLst>
              </p:cNvPr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gray">
              <a:xfrm>
                <a:off x="3895726" y="1398588"/>
                <a:ext cx="31750" cy="33338"/>
              </a:xfrm>
              <a:custGeom>
                <a:avLst/>
                <a:gdLst>
                  <a:gd name="T0" fmla="*/ 0 w 17"/>
                  <a:gd name="T1" fmla="*/ 0 h 18"/>
                  <a:gd name="T2" fmla="*/ 0 w 17"/>
                  <a:gd name="T3" fmla="*/ 17 h 18"/>
                  <a:gd name="T4" fmla="*/ 16 w 17"/>
                  <a:gd name="T5" fmla="*/ 17 h 18"/>
                  <a:gd name="T6" fmla="*/ 0 w 17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0"/>
                    </a:moveTo>
                    <a:lnTo>
                      <a:pt x="0" y="17"/>
                    </a:lnTo>
                    <a:lnTo>
                      <a:pt x="16" y="17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3" name="Freeform 311">
                <a:extLst>
                  <a:ext uri="{FF2B5EF4-FFF2-40B4-BE49-F238E27FC236}">
                    <a16:creationId xmlns:a16="http://schemas.microsoft.com/office/drawing/2014/main" id="{4E911DC5-1B85-47C0-973D-44DFDD099325}"/>
                  </a:ext>
                </a:extLst>
              </p:cNvPr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gray">
              <a:xfrm>
                <a:off x="3740151" y="2073276"/>
                <a:ext cx="273050" cy="179388"/>
              </a:xfrm>
              <a:custGeom>
                <a:avLst/>
                <a:gdLst>
                  <a:gd name="T0" fmla="*/ 32 w 169"/>
                  <a:gd name="T1" fmla="*/ 1 h 113"/>
                  <a:gd name="T2" fmla="*/ 50 w 169"/>
                  <a:gd name="T3" fmla="*/ 17 h 113"/>
                  <a:gd name="T4" fmla="*/ 60 w 169"/>
                  <a:gd name="T5" fmla="*/ 31 h 113"/>
                  <a:gd name="T6" fmla="*/ 72 w 169"/>
                  <a:gd name="T7" fmla="*/ 25 h 113"/>
                  <a:gd name="T8" fmla="*/ 114 w 169"/>
                  <a:gd name="T9" fmla="*/ 13 h 113"/>
                  <a:gd name="T10" fmla="*/ 152 w 169"/>
                  <a:gd name="T11" fmla="*/ 11 h 113"/>
                  <a:gd name="T12" fmla="*/ 148 w 169"/>
                  <a:gd name="T13" fmla="*/ 23 h 113"/>
                  <a:gd name="T14" fmla="*/ 166 w 169"/>
                  <a:gd name="T15" fmla="*/ 45 h 113"/>
                  <a:gd name="T16" fmla="*/ 158 w 169"/>
                  <a:gd name="T17" fmla="*/ 67 h 113"/>
                  <a:gd name="T18" fmla="*/ 134 w 169"/>
                  <a:gd name="T19" fmla="*/ 87 h 113"/>
                  <a:gd name="T20" fmla="*/ 116 w 169"/>
                  <a:gd name="T21" fmla="*/ 95 h 113"/>
                  <a:gd name="T22" fmla="*/ 112 w 169"/>
                  <a:gd name="T23" fmla="*/ 107 h 113"/>
                  <a:gd name="T24" fmla="*/ 94 w 169"/>
                  <a:gd name="T25" fmla="*/ 113 h 113"/>
                  <a:gd name="T26" fmla="*/ 54 w 169"/>
                  <a:gd name="T27" fmla="*/ 97 h 113"/>
                  <a:gd name="T28" fmla="*/ 24 w 169"/>
                  <a:gd name="T29" fmla="*/ 107 h 113"/>
                  <a:gd name="T30" fmla="*/ 38 w 169"/>
                  <a:gd name="T31" fmla="*/ 85 h 113"/>
                  <a:gd name="T32" fmla="*/ 16 w 169"/>
                  <a:gd name="T33" fmla="*/ 69 h 113"/>
                  <a:gd name="T34" fmla="*/ 2 w 169"/>
                  <a:gd name="T35" fmla="*/ 55 h 113"/>
                  <a:gd name="T36" fmla="*/ 26 w 169"/>
                  <a:gd name="T37" fmla="*/ 53 h 113"/>
                  <a:gd name="T38" fmla="*/ 24 w 169"/>
                  <a:gd name="T39" fmla="*/ 47 h 113"/>
                  <a:gd name="T40" fmla="*/ 0 w 169"/>
                  <a:gd name="T41" fmla="*/ 41 h 113"/>
                  <a:gd name="T42" fmla="*/ 4 w 169"/>
                  <a:gd name="T43" fmla="*/ 29 h 113"/>
                  <a:gd name="T44" fmla="*/ 16 w 169"/>
                  <a:gd name="T45" fmla="*/ 21 h 113"/>
                  <a:gd name="T46" fmla="*/ 28 w 169"/>
                  <a:gd name="T47" fmla="*/ 5 h 113"/>
                  <a:gd name="T48" fmla="*/ 32 w 169"/>
                  <a:gd name="T49" fmla="*/ 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9" h="113">
                    <a:moveTo>
                      <a:pt x="32" y="1"/>
                    </a:moveTo>
                    <a:cubicBezTo>
                      <a:pt x="35" y="6"/>
                      <a:pt x="45" y="15"/>
                      <a:pt x="50" y="17"/>
                    </a:cubicBezTo>
                    <a:cubicBezTo>
                      <a:pt x="53" y="45"/>
                      <a:pt x="50" y="43"/>
                      <a:pt x="60" y="31"/>
                    </a:cubicBezTo>
                    <a:cubicBezTo>
                      <a:pt x="63" y="27"/>
                      <a:pt x="68" y="26"/>
                      <a:pt x="72" y="25"/>
                    </a:cubicBezTo>
                    <a:cubicBezTo>
                      <a:pt x="81" y="11"/>
                      <a:pt x="99" y="14"/>
                      <a:pt x="114" y="13"/>
                    </a:cubicBezTo>
                    <a:cubicBezTo>
                      <a:pt x="126" y="5"/>
                      <a:pt x="131" y="0"/>
                      <a:pt x="152" y="11"/>
                    </a:cubicBezTo>
                    <a:cubicBezTo>
                      <a:pt x="156" y="13"/>
                      <a:pt x="148" y="23"/>
                      <a:pt x="148" y="23"/>
                    </a:cubicBezTo>
                    <a:cubicBezTo>
                      <a:pt x="157" y="29"/>
                      <a:pt x="158" y="37"/>
                      <a:pt x="166" y="45"/>
                    </a:cubicBezTo>
                    <a:cubicBezTo>
                      <a:pt x="169" y="54"/>
                      <a:pt x="168" y="64"/>
                      <a:pt x="158" y="67"/>
                    </a:cubicBezTo>
                    <a:cubicBezTo>
                      <a:pt x="147" y="84"/>
                      <a:pt x="161" y="84"/>
                      <a:pt x="134" y="87"/>
                    </a:cubicBezTo>
                    <a:cubicBezTo>
                      <a:pt x="127" y="89"/>
                      <a:pt x="123" y="93"/>
                      <a:pt x="116" y="95"/>
                    </a:cubicBezTo>
                    <a:cubicBezTo>
                      <a:pt x="115" y="99"/>
                      <a:pt x="113" y="103"/>
                      <a:pt x="112" y="107"/>
                    </a:cubicBezTo>
                    <a:cubicBezTo>
                      <a:pt x="110" y="113"/>
                      <a:pt x="94" y="113"/>
                      <a:pt x="94" y="113"/>
                    </a:cubicBezTo>
                    <a:cubicBezTo>
                      <a:pt x="77" y="111"/>
                      <a:pt x="69" y="102"/>
                      <a:pt x="54" y="97"/>
                    </a:cubicBezTo>
                    <a:cubicBezTo>
                      <a:pt x="26" y="100"/>
                      <a:pt x="41" y="101"/>
                      <a:pt x="24" y="107"/>
                    </a:cubicBezTo>
                    <a:cubicBezTo>
                      <a:pt x="21" y="98"/>
                      <a:pt x="32" y="93"/>
                      <a:pt x="38" y="85"/>
                    </a:cubicBezTo>
                    <a:cubicBezTo>
                      <a:pt x="28" y="79"/>
                      <a:pt x="29" y="72"/>
                      <a:pt x="16" y="69"/>
                    </a:cubicBezTo>
                    <a:cubicBezTo>
                      <a:pt x="9" y="64"/>
                      <a:pt x="9" y="60"/>
                      <a:pt x="2" y="55"/>
                    </a:cubicBezTo>
                    <a:cubicBezTo>
                      <a:pt x="10" y="54"/>
                      <a:pt x="18" y="56"/>
                      <a:pt x="26" y="53"/>
                    </a:cubicBezTo>
                    <a:cubicBezTo>
                      <a:pt x="28" y="52"/>
                      <a:pt x="26" y="48"/>
                      <a:pt x="24" y="47"/>
                    </a:cubicBezTo>
                    <a:cubicBezTo>
                      <a:pt x="17" y="43"/>
                      <a:pt x="0" y="41"/>
                      <a:pt x="0" y="41"/>
                    </a:cubicBezTo>
                    <a:cubicBezTo>
                      <a:pt x="1" y="37"/>
                      <a:pt x="0" y="31"/>
                      <a:pt x="4" y="29"/>
                    </a:cubicBezTo>
                    <a:cubicBezTo>
                      <a:pt x="8" y="26"/>
                      <a:pt x="16" y="21"/>
                      <a:pt x="16" y="21"/>
                    </a:cubicBezTo>
                    <a:cubicBezTo>
                      <a:pt x="19" y="13"/>
                      <a:pt x="21" y="10"/>
                      <a:pt x="28" y="5"/>
                    </a:cubicBezTo>
                    <a:cubicBezTo>
                      <a:pt x="38" y="8"/>
                      <a:pt x="38" y="9"/>
                      <a:pt x="32" y="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4" name="Freeform 312">
                <a:extLst>
                  <a:ext uri="{FF2B5EF4-FFF2-40B4-BE49-F238E27FC236}">
                    <a16:creationId xmlns:a16="http://schemas.microsoft.com/office/drawing/2014/main" id="{CB0B9235-E665-4258-AFE1-FBEF6EB40A27}"/>
                  </a:ext>
                </a:extLst>
              </p:cNvPr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gray">
              <a:xfrm>
                <a:off x="2681288" y="1274763"/>
                <a:ext cx="1211263" cy="1139825"/>
              </a:xfrm>
              <a:custGeom>
                <a:avLst/>
                <a:gdLst>
                  <a:gd name="T0" fmla="*/ 188 w 763"/>
                  <a:gd name="T1" fmla="*/ 119 h 718"/>
                  <a:gd name="T2" fmla="*/ 209 w 763"/>
                  <a:gd name="T3" fmla="*/ 172 h 718"/>
                  <a:gd name="T4" fmla="*/ 210 w 763"/>
                  <a:gd name="T5" fmla="*/ 248 h 718"/>
                  <a:gd name="T6" fmla="*/ 228 w 763"/>
                  <a:gd name="T7" fmla="*/ 287 h 718"/>
                  <a:gd name="T8" fmla="*/ 248 w 763"/>
                  <a:gd name="T9" fmla="*/ 299 h 718"/>
                  <a:gd name="T10" fmla="*/ 276 w 763"/>
                  <a:gd name="T11" fmla="*/ 324 h 718"/>
                  <a:gd name="T12" fmla="*/ 222 w 763"/>
                  <a:gd name="T13" fmla="*/ 332 h 718"/>
                  <a:gd name="T14" fmla="*/ 238 w 763"/>
                  <a:gd name="T15" fmla="*/ 380 h 718"/>
                  <a:gd name="T16" fmla="*/ 276 w 763"/>
                  <a:gd name="T17" fmla="*/ 354 h 718"/>
                  <a:gd name="T18" fmla="*/ 276 w 763"/>
                  <a:gd name="T19" fmla="*/ 410 h 718"/>
                  <a:gd name="T20" fmla="*/ 237 w 763"/>
                  <a:gd name="T21" fmla="*/ 427 h 718"/>
                  <a:gd name="T22" fmla="*/ 256 w 763"/>
                  <a:gd name="T23" fmla="*/ 525 h 718"/>
                  <a:gd name="T24" fmla="*/ 303 w 763"/>
                  <a:gd name="T25" fmla="*/ 669 h 718"/>
                  <a:gd name="T26" fmla="*/ 353 w 763"/>
                  <a:gd name="T27" fmla="*/ 690 h 718"/>
                  <a:gd name="T28" fmla="*/ 392 w 763"/>
                  <a:gd name="T29" fmla="*/ 707 h 718"/>
                  <a:gd name="T30" fmla="*/ 411 w 763"/>
                  <a:gd name="T31" fmla="*/ 629 h 718"/>
                  <a:gd name="T32" fmla="*/ 440 w 763"/>
                  <a:gd name="T33" fmla="*/ 559 h 718"/>
                  <a:gd name="T34" fmla="*/ 442 w 763"/>
                  <a:gd name="T35" fmla="*/ 542 h 718"/>
                  <a:gd name="T36" fmla="*/ 486 w 763"/>
                  <a:gd name="T37" fmla="*/ 525 h 718"/>
                  <a:gd name="T38" fmla="*/ 591 w 763"/>
                  <a:gd name="T39" fmla="*/ 429 h 718"/>
                  <a:gd name="T40" fmla="*/ 698 w 763"/>
                  <a:gd name="T41" fmla="*/ 361 h 718"/>
                  <a:gd name="T42" fmla="*/ 672 w 763"/>
                  <a:gd name="T43" fmla="*/ 337 h 718"/>
                  <a:gd name="T44" fmla="*/ 670 w 763"/>
                  <a:gd name="T45" fmla="*/ 315 h 718"/>
                  <a:gd name="T46" fmla="*/ 679 w 763"/>
                  <a:gd name="T47" fmla="*/ 284 h 718"/>
                  <a:gd name="T48" fmla="*/ 697 w 763"/>
                  <a:gd name="T49" fmla="*/ 337 h 718"/>
                  <a:gd name="T50" fmla="*/ 722 w 763"/>
                  <a:gd name="T51" fmla="*/ 283 h 718"/>
                  <a:gd name="T52" fmla="*/ 720 w 763"/>
                  <a:gd name="T53" fmla="*/ 248 h 718"/>
                  <a:gd name="T54" fmla="*/ 698 w 763"/>
                  <a:gd name="T55" fmla="*/ 200 h 718"/>
                  <a:gd name="T56" fmla="*/ 737 w 763"/>
                  <a:gd name="T57" fmla="*/ 159 h 718"/>
                  <a:gd name="T58" fmla="*/ 756 w 763"/>
                  <a:gd name="T59" fmla="*/ 143 h 718"/>
                  <a:gd name="T60" fmla="*/ 746 w 763"/>
                  <a:gd name="T61" fmla="*/ 112 h 718"/>
                  <a:gd name="T62" fmla="*/ 751 w 763"/>
                  <a:gd name="T63" fmla="*/ 65 h 718"/>
                  <a:gd name="T64" fmla="*/ 727 w 763"/>
                  <a:gd name="T65" fmla="*/ 19 h 718"/>
                  <a:gd name="T66" fmla="*/ 4 w 763"/>
                  <a:gd name="T67" fmla="*/ 0 h 718"/>
                  <a:gd name="T68" fmla="*/ 4 w 763"/>
                  <a:gd name="T69" fmla="*/ 33 h 718"/>
                  <a:gd name="T70" fmla="*/ 57 w 763"/>
                  <a:gd name="T71" fmla="*/ 30 h 718"/>
                  <a:gd name="T72" fmla="*/ 172 w 763"/>
                  <a:gd name="T73" fmla="*/ 61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3" h="718">
                    <a:moveTo>
                      <a:pt x="172" y="71"/>
                    </a:moveTo>
                    <a:lnTo>
                      <a:pt x="188" y="119"/>
                    </a:lnTo>
                    <a:lnTo>
                      <a:pt x="191" y="150"/>
                    </a:lnTo>
                    <a:lnTo>
                      <a:pt x="209" y="172"/>
                    </a:lnTo>
                    <a:lnTo>
                      <a:pt x="203" y="230"/>
                    </a:lnTo>
                    <a:lnTo>
                      <a:pt x="210" y="248"/>
                    </a:lnTo>
                    <a:lnTo>
                      <a:pt x="210" y="290"/>
                    </a:lnTo>
                    <a:lnTo>
                      <a:pt x="228" y="287"/>
                    </a:lnTo>
                    <a:lnTo>
                      <a:pt x="237" y="265"/>
                    </a:lnTo>
                    <a:lnTo>
                      <a:pt x="248" y="299"/>
                    </a:lnTo>
                    <a:lnTo>
                      <a:pt x="266" y="305"/>
                    </a:lnTo>
                    <a:lnTo>
                      <a:pt x="276" y="324"/>
                    </a:lnTo>
                    <a:lnTo>
                      <a:pt x="231" y="314"/>
                    </a:lnTo>
                    <a:lnTo>
                      <a:pt x="222" y="332"/>
                    </a:lnTo>
                    <a:lnTo>
                      <a:pt x="220" y="361"/>
                    </a:lnTo>
                    <a:lnTo>
                      <a:pt x="238" y="380"/>
                    </a:lnTo>
                    <a:lnTo>
                      <a:pt x="257" y="373"/>
                    </a:lnTo>
                    <a:lnTo>
                      <a:pt x="276" y="354"/>
                    </a:lnTo>
                    <a:lnTo>
                      <a:pt x="287" y="380"/>
                    </a:lnTo>
                    <a:lnTo>
                      <a:pt x="276" y="410"/>
                    </a:lnTo>
                    <a:lnTo>
                      <a:pt x="260" y="410"/>
                    </a:lnTo>
                    <a:lnTo>
                      <a:pt x="237" y="427"/>
                    </a:lnTo>
                    <a:lnTo>
                      <a:pt x="238" y="510"/>
                    </a:lnTo>
                    <a:lnTo>
                      <a:pt x="256" y="525"/>
                    </a:lnTo>
                    <a:lnTo>
                      <a:pt x="268" y="575"/>
                    </a:lnTo>
                    <a:lnTo>
                      <a:pt x="303" y="669"/>
                    </a:lnTo>
                    <a:lnTo>
                      <a:pt x="324" y="690"/>
                    </a:lnTo>
                    <a:lnTo>
                      <a:pt x="353" y="690"/>
                    </a:lnTo>
                    <a:lnTo>
                      <a:pt x="381" y="718"/>
                    </a:lnTo>
                    <a:lnTo>
                      <a:pt x="392" y="707"/>
                    </a:lnTo>
                    <a:lnTo>
                      <a:pt x="411" y="646"/>
                    </a:lnTo>
                    <a:lnTo>
                      <a:pt x="411" y="629"/>
                    </a:lnTo>
                    <a:lnTo>
                      <a:pt x="430" y="603"/>
                    </a:lnTo>
                    <a:lnTo>
                      <a:pt x="440" y="559"/>
                    </a:lnTo>
                    <a:lnTo>
                      <a:pt x="430" y="545"/>
                    </a:lnTo>
                    <a:lnTo>
                      <a:pt x="442" y="542"/>
                    </a:lnTo>
                    <a:lnTo>
                      <a:pt x="446" y="523"/>
                    </a:lnTo>
                    <a:lnTo>
                      <a:pt x="486" y="525"/>
                    </a:lnTo>
                    <a:lnTo>
                      <a:pt x="574" y="427"/>
                    </a:lnTo>
                    <a:lnTo>
                      <a:pt x="591" y="429"/>
                    </a:lnTo>
                    <a:lnTo>
                      <a:pt x="635" y="408"/>
                    </a:lnTo>
                    <a:lnTo>
                      <a:pt x="698" y="361"/>
                    </a:lnTo>
                    <a:lnTo>
                      <a:pt x="709" y="343"/>
                    </a:lnTo>
                    <a:lnTo>
                      <a:pt x="672" y="337"/>
                    </a:lnTo>
                    <a:lnTo>
                      <a:pt x="647" y="343"/>
                    </a:lnTo>
                    <a:lnTo>
                      <a:pt x="670" y="315"/>
                    </a:lnTo>
                    <a:lnTo>
                      <a:pt x="661" y="293"/>
                    </a:lnTo>
                    <a:lnTo>
                      <a:pt x="679" y="284"/>
                    </a:lnTo>
                    <a:lnTo>
                      <a:pt x="688" y="326"/>
                    </a:lnTo>
                    <a:lnTo>
                      <a:pt x="697" y="337"/>
                    </a:lnTo>
                    <a:lnTo>
                      <a:pt x="720" y="326"/>
                    </a:lnTo>
                    <a:lnTo>
                      <a:pt x="722" y="283"/>
                    </a:lnTo>
                    <a:lnTo>
                      <a:pt x="678" y="230"/>
                    </a:lnTo>
                    <a:lnTo>
                      <a:pt x="720" y="248"/>
                    </a:lnTo>
                    <a:lnTo>
                      <a:pt x="720" y="208"/>
                    </a:lnTo>
                    <a:lnTo>
                      <a:pt x="698" y="200"/>
                    </a:lnTo>
                    <a:lnTo>
                      <a:pt x="737" y="178"/>
                    </a:lnTo>
                    <a:lnTo>
                      <a:pt x="737" y="159"/>
                    </a:lnTo>
                    <a:lnTo>
                      <a:pt x="726" y="152"/>
                    </a:lnTo>
                    <a:lnTo>
                      <a:pt x="756" y="143"/>
                    </a:lnTo>
                    <a:lnTo>
                      <a:pt x="763" y="115"/>
                    </a:lnTo>
                    <a:lnTo>
                      <a:pt x="746" y="112"/>
                    </a:lnTo>
                    <a:lnTo>
                      <a:pt x="757" y="87"/>
                    </a:lnTo>
                    <a:lnTo>
                      <a:pt x="751" y="65"/>
                    </a:lnTo>
                    <a:lnTo>
                      <a:pt x="747" y="33"/>
                    </a:lnTo>
                    <a:lnTo>
                      <a:pt x="727" y="19"/>
                    </a:lnTo>
                    <a:lnTo>
                      <a:pt x="727" y="3"/>
                    </a:lnTo>
                    <a:lnTo>
                      <a:pt x="4" y="0"/>
                    </a:lnTo>
                    <a:lnTo>
                      <a:pt x="0" y="15"/>
                    </a:lnTo>
                    <a:lnTo>
                      <a:pt x="4" y="33"/>
                    </a:lnTo>
                    <a:lnTo>
                      <a:pt x="49" y="42"/>
                    </a:lnTo>
                    <a:lnTo>
                      <a:pt x="57" y="30"/>
                    </a:lnTo>
                    <a:lnTo>
                      <a:pt x="118" y="34"/>
                    </a:lnTo>
                    <a:lnTo>
                      <a:pt x="172" y="61"/>
                    </a:lnTo>
                    <a:lnTo>
                      <a:pt x="172" y="7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5" name="Freeform 320">
                <a:extLst>
                  <a:ext uri="{FF2B5EF4-FFF2-40B4-BE49-F238E27FC236}">
                    <a16:creationId xmlns:a16="http://schemas.microsoft.com/office/drawing/2014/main" id="{31E8BD77-D0B3-41F9-99E9-6D9267E472D2}"/>
                  </a:ext>
                </a:extLst>
              </p:cNvPr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gray">
              <a:xfrm>
                <a:off x="4113213" y="3079750"/>
                <a:ext cx="79375" cy="171450"/>
              </a:xfrm>
              <a:custGeom>
                <a:avLst/>
                <a:gdLst>
                  <a:gd name="T0" fmla="*/ 9 w 50"/>
                  <a:gd name="T1" fmla="*/ 0 h 111"/>
                  <a:gd name="T2" fmla="*/ 25 w 50"/>
                  <a:gd name="T3" fmla="*/ 17 h 111"/>
                  <a:gd name="T4" fmla="*/ 46 w 50"/>
                  <a:gd name="T5" fmla="*/ 20 h 111"/>
                  <a:gd name="T6" fmla="*/ 46 w 50"/>
                  <a:gd name="T7" fmla="*/ 33 h 111"/>
                  <a:gd name="T8" fmla="*/ 40 w 50"/>
                  <a:gd name="T9" fmla="*/ 47 h 111"/>
                  <a:gd name="T10" fmla="*/ 28 w 50"/>
                  <a:gd name="T11" fmla="*/ 111 h 111"/>
                  <a:gd name="T12" fmla="*/ 4 w 50"/>
                  <a:gd name="T13" fmla="*/ 86 h 111"/>
                  <a:gd name="T14" fmla="*/ 9 w 50"/>
                  <a:gd name="T15" fmla="*/ 63 h 111"/>
                  <a:gd name="T16" fmla="*/ 7 w 50"/>
                  <a:gd name="T17" fmla="*/ 12 h 111"/>
                  <a:gd name="T18" fmla="*/ 9 w 50"/>
                  <a:gd name="T1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111">
                    <a:moveTo>
                      <a:pt x="9" y="0"/>
                    </a:moveTo>
                    <a:cubicBezTo>
                      <a:pt x="12" y="1"/>
                      <a:pt x="19" y="14"/>
                      <a:pt x="25" y="17"/>
                    </a:cubicBezTo>
                    <a:cubicBezTo>
                      <a:pt x="31" y="20"/>
                      <a:pt x="42" y="17"/>
                      <a:pt x="46" y="20"/>
                    </a:cubicBezTo>
                    <a:cubicBezTo>
                      <a:pt x="50" y="25"/>
                      <a:pt x="49" y="27"/>
                      <a:pt x="46" y="33"/>
                    </a:cubicBezTo>
                    <a:cubicBezTo>
                      <a:pt x="45" y="39"/>
                      <a:pt x="43" y="42"/>
                      <a:pt x="40" y="47"/>
                    </a:cubicBezTo>
                    <a:cubicBezTo>
                      <a:pt x="38" y="68"/>
                      <a:pt x="41" y="93"/>
                      <a:pt x="28" y="111"/>
                    </a:cubicBezTo>
                    <a:cubicBezTo>
                      <a:pt x="3" y="109"/>
                      <a:pt x="16" y="103"/>
                      <a:pt x="4" y="86"/>
                    </a:cubicBezTo>
                    <a:cubicBezTo>
                      <a:pt x="2" y="77"/>
                      <a:pt x="0" y="68"/>
                      <a:pt x="9" y="63"/>
                    </a:cubicBezTo>
                    <a:cubicBezTo>
                      <a:pt x="10" y="41"/>
                      <a:pt x="15" y="31"/>
                      <a:pt x="7" y="12"/>
                    </a:cubicBezTo>
                    <a:cubicBezTo>
                      <a:pt x="8" y="8"/>
                      <a:pt x="9" y="0"/>
                      <a:pt x="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6" name="Freeform 331">
                <a:extLst>
                  <a:ext uri="{FF2B5EF4-FFF2-40B4-BE49-F238E27FC236}">
                    <a16:creationId xmlns:a16="http://schemas.microsoft.com/office/drawing/2014/main" id="{8FDF8389-1E6F-4200-B371-DFFB7091FA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64376" y="4445423"/>
                <a:ext cx="929381" cy="826665"/>
              </a:xfrm>
              <a:custGeom>
                <a:avLst/>
                <a:gdLst/>
                <a:ahLst/>
                <a:cxnLst/>
                <a:rect l="l" t="t" r="r" b="b"/>
                <a:pathLst>
                  <a:path w="929381" h="826665">
                    <a:moveTo>
                      <a:pt x="693000" y="752264"/>
                    </a:moveTo>
                    <a:cubicBezTo>
                      <a:pt x="698193" y="754675"/>
                      <a:pt x="703711" y="759498"/>
                      <a:pt x="709229" y="760531"/>
                    </a:cubicBezTo>
                    <a:cubicBezTo>
                      <a:pt x="711826" y="761909"/>
                      <a:pt x="717993" y="762598"/>
                      <a:pt x="717993" y="762598"/>
                    </a:cubicBezTo>
                    <a:cubicBezTo>
                      <a:pt x="721239" y="764320"/>
                      <a:pt x="725459" y="763975"/>
                      <a:pt x="729029" y="764664"/>
                    </a:cubicBezTo>
                    <a:cubicBezTo>
                      <a:pt x="734547" y="767075"/>
                      <a:pt x="739741" y="765353"/>
                      <a:pt x="746233" y="765353"/>
                    </a:cubicBezTo>
                    <a:cubicBezTo>
                      <a:pt x="747856" y="764320"/>
                      <a:pt x="749154" y="763631"/>
                      <a:pt x="751102" y="763287"/>
                    </a:cubicBezTo>
                    <a:cubicBezTo>
                      <a:pt x="753049" y="761564"/>
                      <a:pt x="756295" y="759842"/>
                      <a:pt x="758892" y="759153"/>
                    </a:cubicBezTo>
                    <a:cubicBezTo>
                      <a:pt x="762138" y="757431"/>
                      <a:pt x="766033" y="758120"/>
                      <a:pt x="769603" y="758464"/>
                    </a:cubicBezTo>
                    <a:cubicBezTo>
                      <a:pt x="770577" y="763287"/>
                      <a:pt x="771226" y="768109"/>
                      <a:pt x="768954" y="772931"/>
                    </a:cubicBezTo>
                    <a:cubicBezTo>
                      <a:pt x="768305" y="776720"/>
                      <a:pt x="768305" y="780509"/>
                      <a:pt x="767007" y="783954"/>
                    </a:cubicBezTo>
                    <a:cubicBezTo>
                      <a:pt x="766682" y="786709"/>
                      <a:pt x="765059" y="788776"/>
                      <a:pt x="763111" y="790498"/>
                    </a:cubicBezTo>
                    <a:cubicBezTo>
                      <a:pt x="761813" y="792909"/>
                      <a:pt x="761489" y="795320"/>
                      <a:pt x="760190" y="797731"/>
                    </a:cubicBezTo>
                    <a:cubicBezTo>
                      <a:pt x="759866" y="799798"/>
                      <a:pt x="758892" y="800832"/>
                      <a:pt x="758243" y="802554"/>
                    </a:cubicBezTo>
                    <a:cubicBezTo>
                      <a:pt x="757593" y="805654"/>
                      <a:pt x="758892" y="809443"/>
                      <a:pt x="755321" y="810132"/>
                    </a:cubicBezTo>
                    <a:cubicBezTo>
                      <a:pt x="752238" y="811337"/>
                      <a:pt x="750777" y="810993"/>
                      <a:pt x="745584" y="811854"/>
                    </a:cubicBezTo>
                    <a:lnTo>
                      <a:pt x="740390" y="815987"/>
                    </a:lnTo>
                    <a:cubicBezTo>
                      <a:pt x="739416" y="817021"/>
                      <a:pt x="739416" y="816676"/>
                      <a:pt x="737793" y="818054"/>
                    </a:cubicBezTo>
                    <a:cubicBezTo>
                      <a:pt x="736170" y="819432"/>
                      <a:pt x="735521" y="822187"/>
                      <a:pt x="733574" y="823565"/>
                    </a:cubicBezTo>
                    <a:cubicBezTo>
                      <a:pt x="732600" y="825632"/>
                      <a:pt x="732275" y="826321"/>
                      <a:pt x="730003" y="826665"/>
                    </a:cubicBezTo>
                    <a:cubicBezTo>
                      <a:pt x="719292" y="826321"/>
                      <a:pt x="720915" y="826665"/>
                      <a:pt x="714423" y="822532"/>
                    </a:cubicBezTo>
                    <a:cubicBezTo>
                      <a:pt x="712800" y="820121"/>
                      <a:pt x="711826" y="818743"/>
                      <a:pt x="709554" y="817365"/>
                    </a:cubicBezTo>
                    <a:cubicBezTo>
                      <a:pt x="707931" y="814954"/>
                      <a:pt x="707606" y="813576"/>
                      <a:pt x="704685" y="812887"/>
                    </a:cubicBezTo>
                    <a:cubicBezTo>
                      <a:pt x="702088" y="810821"/>
                      <a:pt x="699167" y="806343"/>
                      <a:pt x="697869" y="802898"/>
                    </a:cubicBezTo>
                    <a:cubicBezTo>
                      <a:pt x="697544" y="799454"/>
                      <a:pt x="696570" y="794976"/>
                      <a:pt x="700465" y="794287"/>
                    </a:cubicBezTo>
                    <a:cubicBezTo>
                      <a:pt x="702413" y="793254"/>
                      <a:pt x="701764" y="792220"/>
                      <a:pt x="700790" y="790154"/>
                    </a:cubicBezTo>
                    <a:cubicBezTo>
                      <a:pt x="700465" y="787742"/>
                      <a:pt x="699167" y="785676"/>
                      <a:pt x="697544" y="783954"/>
                    </a:cubicBezTo>
                    <a:cubicBezTo>
                      <a:pt x="696570" y="781542"/>
                      <a:pt x="695272" y="779820"/>
                      <a:pt x="693974" y="777753"/>
                    </a:cubicBezTo>
                    <a:cubicBezTo>
                      <a:pt x="693649" y="775342"/>
                      <a:pt x="693000" y="774998"/>
                      <a:pt x="691052" y="773964"/>
                    </a:cubicBezTo>
                    <a:cubicBezTo>
                      <a:pt x="690728" y="771553"/>
                      <a:pt x="690403" y="770864"/>
                      <a:pt x="688780" y="769487"/>
                    </a:cubicBezTo>
                    <a:cubicBezTo>
                      <a:pt x="687806" y="767075"/>
                      <a:pt x="687482" y="764664"/>
                      <a:pt x="687157" y="762253"/>
                    </a:cubicBezTo>
                    <a:cubicBezTo>
                      <a:pt x="687806" y="758464"/>
                      <a:pt x="687157" y="756053"/>
                      <a:pt x="689754" y="753986"/>
                    </a:cubicBezTo>
                    <a:cubicBezTo>
                      <a:pt x="691052" y="751575"/>
                      <a:pt x="690079" y="752264"/>
                      <a:pt x="693000" y="752264"/>
                    </a:cubicBezTo>
                    <a:close/>
                    <a:moveTo>
                      <a:pt x="0" y="395067"/>
                    </a:moveTo>
                    <a:cubicBezTo>
                      <a:pt x="1288" y="397374"/>
                      <a:pt x="2497" y="399746"/>
                      <a:pt x="3037" y="402446"/>
                    </a:cubicBezTo>
                    <a:cubicBezTo>
                      <a:pt x="891" y="400845"/>
                      <a:pt x="184" y="395849"/>
                      <a:pt x="0" y="395067"/>
                    </a:cubicBezTo>
                    <a:close/>
                    <a:moveTo>
                      <a:pt x="681395" y="757"/>
                    </a:moveTo>
                    <a:cubicBezTo>
                      <a:pt x="682613" y="-1224"/>
                      <a:pt x="686183" y="671"/>
                      <a:pt x="694623" y="6526"/>
                    </a:cubicBezTo>
                    <a:cubicBezTo>
                      <a:pt x="698193" y="12382"/>
                      <a:pt x="697869" y="15826"/>
                      <a:pt x="704036" y="18237"/>
                    </a:cubicBezTo>
                    <a:cubicBezTo>
                      <a:pt x="705984" y="38216"/>
                      <a:pt x="704036" y="29604"/>
                      <a:pt x="708905" y="44760"/>
                    </a:cubicBezTo>
                    <a:cubicBezTo>
                      <a:pt x="710528" y="49582"/>
                      <a:pt x="713449" y="59572"/>
                      <a:pt x="713449" y="59572"/>
                    </a:cubicBezTo>
                    <a:cubicBezTo>
                      <a:pt x="715072" y="70938"/>
                      <a:pt x="713774" y="91606"/>
                      <a:pt x="725784" y="96083"/>
                    </a:cubicBezTo>
                    <a:cubicBezTo>
                      <a:pt x="736820" y="91950"/>
                      <a:pt x="731951" y="88161"/>
                      <a:pt x="740065" y="90917"/>
                    </a:cubicBezTo>
                    <a:cubicBezTo>
                      <a:pt x="743636" y="97117"/>
                      <a:pt x="747206" y="96428"/>
                      <a:pt x="750777" y="102628"/>
                    </a:cubicBezTo>
                    <a:cubicBezTo>
                      <a:pt x="751426" y="108484"/>
                      <a:pt x="751426" y="114684"/>
                      <a:pt x="752400" y="120539"/>
                    </a:cubicBezTo>
                    <a:cubicBezTo>
                      <a:pt x="753049" y="123984"/>
                      <a:pt x="755646" y="130529"/>
                      <a:pt x="755646" y="130529"/>
                    </a:cubicBezTo>
                    <a:cubicBezTo>
                      <a:pt x="756295" y="136384"/>
                      <a:pt x="758892" y="146718"/>
                      <a:pt x="760839" y="152573"/>
                    </a:cubicBezTo>
                    <a:cubicBezTo>
                      <a:pt x="762787" y="158429"/>
                      <a:pt x="766357" y="162907"/>
                      <a:pt x="767980" y="167040"/>
                    </a:cubicBezTo>
                    <a:cubicBezTo>
                      <a:pt x="768954" y="170485"/>
                      <a:pt x="771226" y="173585"/>
                      <a:pt x="771226" y="177029"/>
                    </a:cubicBezTo>
                    <a:cubicBezTo>
                      <a:pt x="771551" y="187363"/>
                      <a:pt x="770577" y="198041"/>
                      <a:pt x="772524" y="208374"/>
                    </a:cubicBezTo>
                    <a:cubicBezTo>
                      <a:pt x="772849" y="210441"/>
                      <a:pt x="775770" y="210441"/>
                      <a:pt x="777393" y="211475"/>
                    </a:cubicBezTo>
                    <a:cubicBezTo>
                      <a:pt x="784859" y="216641"/>
                      <a:pt x="792649" y="218708"/>
                      <a:pt x="800764" y="221464"/>
                    </a:cubicBezTo>
                    <a:cubicBezTo>
                      <a:pt x="803685" y="223875"/>
                      <a:pt x="807580" y="225253"/>
                      <a:pt x="810177" y="228008"/>
                    </a:cubicBezTo>
                    <a:lnTo>
                      <a:pt x="813098" y="233132"/>
                    </a:lnTo>
                    <a:cubicBezTo>
                      <a:pt x="812855" y="233433"/>
                      <a:pt x="812936" y="233175"/>
                      <a:pt x="817967" y="234897"/>
                    </a:cubicBezTo>
                    <a:cubicBezTo>
                      <a:pt x="821538" y="240753"/>
                      <a:pt x="824134" y="242820"/>
                      <a:pt x="830302" y="244542"/>
                    </a:cubicBezTo>
                    <a:cubicBezTo>
                      <a:pt x="837118" y="249709"/>
                      <a:pt x="834521" y="251431"/>
                      <a:pt x="830302" y="257975"/>
                    </a:cubicBezTo>
                    <a:cubicBezTo>
                      <a:pt x="834846" y="262798"/>
                      <a:pt x="837442" y="267620"/>
                      <a:pt x="842636" y="271065"/>
                    </a:cubicBezTo>
                    <a:cubicBezTo>
                      <a:pt x="843610" y="282087"/>
                      <a:pt x="840364" y="293798"/>
                      <a:pt x="850426" y="297587"/>
                    </a:cubicBezTo>
                    <a:cubicBezTo>
                      <a:pt x="859190" y="294487"/>
                      <a:pt x="862761" y="299999"/>
                      <a:pt x="870875" y="302410"/>
                    </a:cubicBezTo>
                    <a:cubicBezTo>
                      <a:pt x="875744" y="305165"/>
                      <a:pt x="869901" y="315499"/>
                      <a:pt x="876718" y="325488"/>
                    </a:cubicBezTo>
                    <a:cubicBezTo>
                      <a:pt x="883534" y="335477"/>
                      <a:pt x="904957" y="354422"/>
                      <a:pt x="911449" y="362000"/>
                    </a:cubicBezTo>
                    <a:cubicBezTo>
                      <a:pt x="917616" y="369233"/>
                      <a:pt x="912423" y="360966"/>
                      <a:pt x="915020" y="370955"/>
                    </a:cubicBezTo>
                    <a:cubicBezTo>
                      <a:pt x="917941" y="370267"/>
                      <a:pt x="928328" y="356488"/>
                      <a:pt x="929301" y="358211"/>
                    </a:cubicBezTo>
                    <a:cubicBezTo>
                      <a:pt x="930275" y="359933"/>
                      <a:pt x="922160" y="371300"/>
                      <a:pt x="920538" y="381289"/>
                    </a:cubicBezTo>
                    <a:cubicBezTo>
                      <a:pt x="918915" y="391278"/>
                      <a:pt x="918590" y="406089"/>
                      <a:pt x="919564" y="417456"/>
                    </a:cubicBezTo>
                    <a:cubicBezTo>
                      <a:pt x="920538" y="428823"/>
                      <a:pt x="926380" y="437090"/>
                      <a:pt x="925406" y="450179"/>
                    </a:cubicBezTo>
                    <a:cubicBezTo>
                      <a:pt x="924108" y="463268"/>
                      <a:pt x="914046" y="483247"/>
                      <a:pt x="912747" y="495991"/>
                    </a:cubicBezTo>
                    <a:cubicBezTo>
                      <a:pt x="908528" y="509425"/>
                      <a:pt x="903983" y="523547"/>
                      <a:pt x="900413" y="530781"/>
                    </a:cubicBezTo>
                    <a:cubicBezTo>
                      <a:pt x="897816" y="534225"/>
                      <a:pt x="893921" y="535948"/>
                      <a:pt x="891000" y="539048"/>
                    </a:cubicBezTo>
                    <a:cubicBezTo>
                      <a:pt x="888728" y="545592"/>
                      <a:pt x="890675" y="551103"/>
                      <a:pt x="884833" y="553515"/>
                    </a:cubicBezTo>
                    <a:cubicBezTo>
                      <a:pt x="880613" y="560059"/>
                      <a:pt x="871849" y="562126"/>
                      <a:pt x="867629" y="568670"/>
                    </a:cubicBezTo>
                    <a:cubicBezTo>
                      <a:pt x="865357" y="576248"/>
                      <a:pt x="863734" y="576248"/>
                      <a:pt x="857242" y="578660"/>
                    </a:cubicBezTo>
                    <a:cubicBezTo>
                      <a:pt x="854321" y="582104"/>
                      <a:pt x="854970" y="587271"/>
                      <a:pt x="852698" y="592093"/>
                    </a:cubicBezTo>
                    <a:cubicBezTo>
                      <a:pt x="850426" y="596915"/>
                      <a:pt x="847505" y="601738"/>
                      <a:pt x="844259" y="606905"/>
                    </a:cubicBezTo>
                    <a:cubicBezTo>
                      <a:pt x="841987" y="614138"/>
                      <a:pt x="841013" y="620683"/>
                      <a:pt x="833547" y="623438"/>
                    </a:cubicBezTo>
                    <a:cubicBezTo>
                      <a:pt x="830626" y="627572"/>
                      <a:pt x="828354" y="623094"/>
                      <a:pt x="825757" y="631705"/>
                    </a:cubicBezTo>
                    <a:cubicBezTo>
                      <a:pt x="823810" y="639627"/>
                      <a:pt x="823161" y="667528"/>
                      <a:pt x="817967" y="676139"/>
                    </a:cubicBezTo>
                    <a:cubicBezTo>
                      <a:pt x="816020" y="684062"/>
                      <a:pt x="798167" y="683717"/>
                      <a:pt x="794597" y="684406"/>
                    </a:cubicBezTo>
                    <a:cubicBezTo>
                      <a:pt x="787131" y="686817"/>
                      <a:pt x="777069" y="684062"/>
                      <a:pt x="769603" y="686817"/>
                    </a:cubicBezTo>
                    <a:cubicBezTo>
                      <a:pt x="762138" y="689573"/>
                      <a:pt x="755321" y="697151"/>
                      <a:pt x="749154" y="700940"/>
                    </a:cubicBezTo>
                    <a:cubicBezTo>
                      <a:pt x="741688" y="706451"/>
                      <a:pt x="742662" y="707140"/>
                      <a:pt x="732924" y="710584"/>
                    </a:cubicBezTo>
                    <a:cubicBezTo>
                      <a:pt x="727731" y="710929"/>
                      <a:pt x="722862" y="706106"/>
                      <a:pt x="717993" y="702662"/>
                    </a:cubicBezTo>
                    <a:lnTo>
                      <a:pt x="710406" y="693921"/>
                    </a:lnTo>
                    <a:cubicBezTo>
                      <a:pt x="709310" y="692759"/>
                      <a:pt x="708418" y="692328"/>
                      <a:pt x="704036" y="689573"/>
                    </a:cubicBezTo>
                    <a:cubicBezTo>
                      <a:pt x="698031" y="691360"/>
                      <a:pt x="704360" y="689487"/>
                      <a:pt x="694623" y="694395"/>
                    </a:cubicBezTo>
                    <a:cubicBezTo>
                      <a:pt x="688131" y="697495"/>
                      <a:pt x="672550" y="706795"/>
                      <a:pt x="665085" y="707484"/>
                    </a:cubicBezTo>
                    <a:cubicBezTo>
                      <a:pt x="655347" y="705418"/>
                      <a:pt x="660540" y="707484"/>
                      <a:pt x="649504" y="699217"/>
                    </a:cubicBezTo>
                    <a:cubicBezTo>
                      <a:pt x="639442" y="696117"/>
                      <a:pt x="646583" y="697840"/>
                      <a:pt x="627757" y="696117"/>
                    </a:cubicBezTo>
                    <a:cubicBezTo>
                      <a:pt x="621914" y="691640"/>
                      <a:pt x="615747" y="690262"/>
                      <a:pt x="608931" y="687851"/>
                    </a:cubicBezTo>
                    <a:cubicBezTo>
                      <a:pt x="602439" y="683028"/>
                      <a:pt x="600816" y="675106"/>
                      <a:pt x="593350" y="673039"/>
                    </a:cubicBezTo>
                    <a:lnTo>
                      <a:pt x="590683" y="668637"/>
                    </a:lnTo>
                    <a:cubicBezTo>
                      <a:pt x="589496" y="666602"/>
                      <a:pt x="592052" y="669509"/>
                      <a:pt x="592052" y="657883"/>
                    </a:cubicBezTo>
                    <a:cubicBezTo>
                      <a:pt x="592052" y="646516"/>
                      <a:pt x="582963" y="633772"/>
                      <a:pt x="573226" y="629983"/>
                    </a:cubicBezTo>
                    <a:cubicBezTo>
                      <a:pt x="572252" y="628260"/>
                      <a:pt x="571927" y="625505"/>
                      <a:pt x="569980" y="624816"/>
                    </a:cubicBezTo>
                    <a:cubicBezTo>
                      <a:pt x="566085" y="623094"/>
                      <a:pt x="561216" y="630672"/>
                      <a:pt x="557645" y="628260"/>
                    </a:cubicBezTo>
                    <a:cubicBezTo>
                      <a:pt x="555049" y="626538"/>
                      <a:pt x="561865" y="617583"/>
                      <a:pt x="565436" y="615171"/>
                    </a:cubicBezTo>
                    <a:cubicBezTo>
                      <a:pt x="564137" y="606905"/>
                      <a:pt x="561865" y="602771"/>
                      <a:pt x="559268" y="595193"/>
                    </a:cubicBezTo>
                    <a:cubicBezTo>
                      <a:pt x="558295" y="596915"/>
                      <a:pt x="557321" y="598638"/>
                      <a:pt x="556022" y="600015"/>
                    </a:cubicBezTo>
                    <a:cubicBezTo>
                      <a:pt x="554724" y="601049"/>
                      <a:pt x="552452" y="600360"/>
                      <a:pt x="551478" y="601738"/>
                    </a:cubicBezTo>
                    <a:cubicBezTo>
                      <a:pt x="544013" y="610005"/>
                      <a:pt x="556347" y="604838"/>
                      <a:pt x="545311" y="608282"/>
                    </a:cubicBezTo>
                    <a:lnTo>
                      <a:pt x="543688" y="616549"/>
                    </a:lnTo>
                    <a:lnTo>
                      <a:pt x="532693" y="617927"/>
                    </a:lnTo>
                    <a:cubicBezTo>
                      <a:pt x="530948" y="616377"/>
                      <a:pt x="530542" y="613277"/>
                      <a:pt x="529731" y="610005"/>
                    </a:cubicBezTo>
                    <a:cubicBezTo>
                      <a:pt x="534275" y="608282"/>
                      <a:pt x="541091" y="611382"/>
                      <a:pt x="543688" y="606905"/>
                    </a:cubicBezTo>
                    <a:cubicBezTo>
                      <a:pt x="546934" y="603804"/>
                      <a:pt x="543039" y="599327"/>
                      <a:pt x="545636" y="591749"/>
                    </a:cubicBezTo>
                    <a:cubicBezTo>
                      <a:pt x="547259" y="586582"/>
                      <a:pt x="552127" y="581071"/>
                      <a:pt x="554400" y="576248"/>
                    </a:cubicBezTo>
                    <a:lnTo>
                      <a:pt x="559268" y="562126"/>
                    </a:lnTo>
                    <a:lnTo>
                      <a:pt x="556469" y="552352"/>
                    </a:lnTo>
                    <a:cubicBezTo>
                      <a:pt x="555860" y="551706"/>
                      <a:pt x="554887" y="553515"/>
                      <a:pt x="551478" y="557304"/>
                    </a:cubicBezTo>
                    <a:lnTo>
                      <a:pt x="548800" y="566044"/>
                    </a:lnTo>
                    <a:cubicBezTo>
                      <a:pt x="548232" y="567206"/>
                      <a:pt x="547259" y="567637"/>
                      <a:pt x="543688" y="570393"/>
                    </a:cubicBezTo>
                    <a:cubicBezTo>
                      <a:pt x="541091" y="577626"/>
                      <a:pt x="538495" y="576937"/>
                      <a:pt x="532652" y="580382"/>
                    </a:cubicBezTo>
                    <a:cubicBezTo>
                      <a:pt x="529406" y="582448"/>
                      <a:pt x="523239" y="586926"/>
                      <a:pt x="523239" y="586926"/>
                    </a:cubicBezTo>
                    <a:cubicBezTo>
                      <a:pt x="516422" y="597604"/>
                      <a:pt x="518045" y="596915"/>
                      <a:pt x="507659" y="600015"/>
                    </a:cubicBezTo>
                    <a:cubicBezTo>
                      <a:pt x="503114" y="608282"/>
                      <a:pt x="500193" y="608627"/>
                      <a:pt x="493701" y="601738"/>
                    </a:cubicBezTo>
                    <a:cubicBezTo>
                      <a:pt x="490780" y="587615"/>
                      <a:pt x="490780" y="572115"/>
                      <a:pt x="476498" y="566948"/>
                    </a:cubicBezTo>
                    <a:cubicBezTo>
                      <a:pt x="471304" y="561437"/>
                      <a:pt x="468059" y="559715"/>
                      <a:pt x="470331" y="552137"/>
                    </a:cubicBezTo>
                    <a:cubicBezTo>
                      <a:pt x="466760" y="541803"/>
                      <a:pt x="470655" y="548348"/>
                      <a:pt x="453127" y="545592"/>
                    </a:cubicBezTo>
                    <a:cubicBezTo>
                      <a:pt x="447934" y="543870"/>
                      <a:pt x="445013" y="538703"/>
                      <a:pt x="439819" y="537325"/>
                    </a:cubicBezTo>
                    <a:cubicBezTo>
                      <a:pt x="434626" y="535948"/>
                      <a:pt x="426836" y="539392"/>
                      <a:pt x="421967" y="537325"/>
                    </a:cubicBezTo>
                    <a:cubicBezTo>
                      <a:pt x="419045" y="532503"/>
                      <a:pt x="409632" y="525614"/>
                      <a:pt x="409632" y="525614"/>
                    </a:cubicBezTo>
                    <a:cubicBezTo>
                      <a:pt x="390482" y="526303"/>
                      <a:pt x="369708" y="521136"/>
                      <a:pt x="351855" y="529059"/>
                    </a:cubicBezTo>
                    <a:cubicBezTo>
                      <a:pt x="348609" y="530436"/>
                      <a:pt x="346337" y="534225"/>
                      <a:pt x="342767" y="535603"/>
                    </a:cubicBezTo>
                    <a:cubicBezTo>
                      <a:pt x="339521" y="536636"/>
                      <a:pt x="336600" y="538014"/>
                      <a:pt x="333354" y="539048"/>
                    </a:cubicBezTo>
                    <a:cubicBezTo>
                      <a:pt x="320046" y="543870"/>
                      <a:pt x="291157" y="545592"/>
                      <a:pt x="291157" y="545592"/>
                    </a:cubicBezTo>
                    <a:cubicBezTo>
                      <a:pt x="283367" y="548348"/>
                      <a:pt x="273954" y="550415"/>
                      <a:pt x="267462" y="555926"/>
                    </a:cubicBezTo>
                    <a:cubicBezTo>
                      <a:pt x="259347" y="560059"/>
                      <a:pt x="249934" y="558337"/>
                      <a:pt x="243767" y="563159"/>
                    </a:cubicBezTo>
                    <a:cubicBezTo>
                      <a:pt x="242469" y="565226"/>
                      <a:pt x="234029" y="583137"/>
                      <a:pt x="230459" y="585204"/>
                    </a:cubicBezTo>
                    <a:cubicBezTo>
                      <a:pt x="214878" y="588993"/>
                      <a:pt x="167813" y="583137"/>
                      <a:pt x="149311" y="585204"/>
                    </a:cubicBezTo>
                    <a:cubicBezTo>
                      <a:pt x="132757" y="585893"/>
                      <a:pt x="136003" y="596227"/>
                      <a:pt x="131134" y="598293"/>
                    </a:cubicBezTo>
                    <a:cubicBezTo>
                      <a:pt x="126265" y="600360"/>
                      <a:pt x="124967" y="596227"/>
                      <a:pt x="119773" y="598638"/>
                    </a:cubicBezTo>
                    <a:cubicBezTo>
                      <a:pt x="114255" y="599671"/>
                      <a:pt x="109062" y="611038"/>
                      <a:pt x="99649" y="613449"/>
                    </a:cubicBezTo>
                    <a:cubicBezTo>
                      <a:pt x="90236" y="615860"/>
                      <a:pt x="72059" y="614827"/>
                      <a:pt x="63619" y="613449"/>
                    </a:cubicBezTo>
                    <a:cubicBezTo>
                      <a:pt x="53233" y="605871"/>
                      <a:pt x="58101" y="608282"/>
                      <a:pt x="49662" y="605182"/>
                    </a:cubicBezTo>
                    <a:cubicBezTo>
                      <a:pt x="45442" y="597604"/>
                      <a:pt x="42521" y="596915"/>
                      <a:pt x="34082" y="595193"/>
                    </a:cubicBezTo>
                    <a:cubicBezTo>
                      <a:pt x="33108" y="592093"/>
                      <a:pt x="28564" y="583482"/>
                      <a:pt x="32459" y="580382"/>
                    </a:cubicBezTo>
                    <a:cubicBezTo>
                      <a:pt x="36678" y="577282"/>
                      <a:pt x="42196" y="576593"/>
                      <a:pt x="46741" y="573837"/>
                    </a:cubicBezTo>
                    <a:lnTo>
                      <a:pt x="51285" y="563848"/>
                    </a:lnTo>
                    <a:cubicBezTo>
                      <a:pt x="50960" y="560404"/>
                      <a:pt x="48039" y="553859"/>
                      <a:pt x="48039" y="553859"/>
                    </a:cubicBezTo>
                    <a:cubicBezTo>
                      <a:pt x="50960" y="545592"/>
                      <a:pt x="52583" y="537325"/>
                      <a:pt x="49662" y="529059"/>
                    </a:cubicBezTo>
                    <a:cubicBezTo>
                      <a:pt x="47390" y="522514"/>
                      <a:pt x="45118" y="519069"/>
                      <a:pt x="40249" y="514247"/>
                    </a:cubicBezTo>
                    <a:cubicBezTo>
                      <a:pt x="39275" y="510803"/>
                      <a:pt x="36678" y="507703"/>
                      <a:pt x="35705" y="504258"/>
                    </a:cubicBezTo>
                    <a:cubicBezTo>
                      <a:pt x="32783" y="491169"/>
                      <a:pt x="35055" y="477391"/>
                      <a:pt x="31160" y="464646"/>
                    </a:cubicBezTo>
                    <a:cubicBezTo>
                      <a:pt x="28888" y="456724"/>
                      <a:pt x="22721" y="452246"/>
                      <a:pt x="20124" y="444668"/>
                    </a:cubicBezTo>
                    <a:cubicBezTo>
                      <a:pt x="17852" y="437435"/>
                      <a:pt x="16554" y="431234"/>
                      <a:pt x="12334" y="425034"/>
                    </a:cubicBezTo>
                    <a:lnTo>
                      <a:pt x="3037" y="402446"/>
                    </a:lnTo>
                    <a:cubicBezTo>
                      <a:pt x="4102" y="404212"/>
                      <a:pt x="6140" y="403876"/>
                      <a:pt x="9088" y="398512"/>
                    </a:cubicBezTo>
                    <a:cubicBezTo>
                      <a:pt x="10711" y="395756"/>
                      <a:pt x="8115" y="391967"/>
                      <a:pt x="7790" y="388522"/>
                    </a:cubicBezTo>
                    <a:cubicBezTo>
                      <a:pt x="11584" y="383571"/>
                      <a:pt x="12497" y="393000"/>
                      <a:pt x="13957" y="395067"/>
                    </a:cubicBezTo>
                    <a:cubicBezTo>
                      <a:pt x="14931" y="396445"/>
                      <a:pt x="16878" y="396100"/>
                      <a:pt x="18501" y="396789"/>
                    </a:cubicBezTo>
                    <a:cubicBezTo>
                      <a:pt x="28888" y="393000"/>
                      <a:pt x="23370" y="382667"/>
                      <a:pt x="18501" y="375433"/>
                    </a:cubicBezTo>
                    <a:cubicBezTo>
                      <a:pt x="16229" y="368544"/>
                      <a:pt x="13308" y="369233"/>
                      <a:pt x="7790" y="365444"/>
                    </a:cubicBezTo>
                    <a:cubicBezTo>
                      <a:pt x="7141" y="363722"/>
                      <a:pt x="6492" y="362000"/>
                      <a:pt x="6167" y="360277"/>
                    </a:cubicBezTo>
                    <a:cubicBezTo>
                      <a:pt x="5518" y="358211"/>
                      <a:pt x="5193" y="355800"/>
                      <a:pt x="4544" y="353733"/>
                    </a:cubicBezTo>
                    <a:cubicBezTo>
                      <a:pt x="3570" y="350288"/>
                      <a:pt x="1298" y="343744"/>
                      <a:pt x="1298" y="343744"/>
                    </a:cubicBezTo>
                    <a:cubicBezTo>
                      <a:pt x="2596" y="333066"/>
                      <a:pt x="5842" y="329277"/>
                      <a:pt x="11036" y="321010"/>
                    </a:cubicBezTo>
                    <a:cubicBezTo>
                      <a:pt x="13957" y="309988"/>
                      <a:pt x="8764" y="285187"/>
                      <a:pt x="20124" y="281054"/>
                    </a:cubicBezTo>
                    <a:cubicBezTo>
                      <a:pt x="17528" y="289665"/>
                      <a:pt x="12334" y="297243"/>
                      <a:pt x="23370" y="301032"/>
                    </a:cubicBezTo>
                    <a:cubicBezTo>
                      <a:pt x="29537" y="290009"/>
                      <a:pt x="33757" y="284154"/>
                      <a:pt x="44469" y="276576"/>
                    </a:cubicBezTo>
                    <a:cubicBezTo>
                      <a:pt x="49662" y="271065"/>
                      <a:pt x="51285" y="270376"/>
                      <a:pt x="54531" y="267965"/>
                    </a:cubicBezTo>
                    <a:cubicBezTo>
                      <a:pt x="57777" y="265898"/>
                      <a:pt x="63619" y="261076"/>
                      <a:pt x="63619" y="261076"/>
                    </a:cubicBezTo>
                    <a:cubicBezTo>
                      <a:pt x="65892" y="254531"/>
                      <a:pt x="70436" y="255564"/>
                      <a:pt x="76603" y="253842"/>
                    </a:cubicBezTo>
                    <a:cubicBezTo>
                      <a:pt x="83744" y="248331"/>
                      <a:pt x="88288" y="248331"/>
                      <a:pt x="96403" y="251431"/>
                    </a:cubicBezTo>
                    <a:cubicBezTo>
                      <a:pt x="99973" y="250742"/>
                      <a:pt x="103869" y="250742"/>
                      <a:pt x="107439" y="249709"/>
                    </a:cubicBezTo>
                    <a:cubicBezTo>
                      <a:pt x="109062" y="249020"/>
                      <a:pt x="110685" y="247642"/>
                      <a:pt x="111983" y="246264"/>
                    </a:cubicBezTo>
                    <a:cubicBezTo>
                      <a:pt x="113282" y="244886"/>
                      <a:pt x="113606" y="242131"/>
                      <a:pt x="115229" y="241442"/>
                    </a:cubicBezTo>
                    <a:cubicBezTo>
                      <a:pt x="120098" y="239720"/>
                      <a:pt x="125616" y="240408"/>
                      <a:pt x="130810" y="239720"/>
                    </a:cubicBezTo>
                    <a:cubicBezTo>
                      <a:pt x="136003" y="238342"/>
                      <a:pt x="140223" y="236275"/>
                      <a:pt x="146714" y="235242"/>
                    </a:cubicBezTo>
                    <a:cubicBezTo>
                      <a:pt x="153206" y="234208"/>
                      <a:pt x="163269" y="235242"/>
                      <a:pt x="169760" y="233175"/>
                    </a:cubicBezTo>
                    <a:cubicBezTo>
                      <a:pt x="178849" y="230419"/>
                      <a:pt x="181121" y="226975"/>
                      <a:pt x="185341" y="223186"/>
                    </a:cubicBezTo>
                    <a:cubicBezTo>
                      <a:pt x="190534" y="219397"/>
                      <a:pt x="192482" y="216297"/>
                      <a:pt x="194754" y="210097"/>
                    </a:cubicBezTo>
                    <a:cubicBezTo>
                      <a:pt x="198324" y="206308"/>
                      <a:pt x="198973" y="198730"/>
                      <a:pt x="202219" y="195285"/>
                    </a:cubicBezTo>
                    <a:cubicBezTo>
                      <a:pt x="205465" y="191841"/>
                      <a:pt x="213580" y="194596"/>
                      <a:pt x="214878" y="190119"/>
                    </a:cubicBezTo>
                    <a:cubicBezTo>
                      <a:pt x="216501" y="186330"/>
                      <a:pt x="209360" y="172896"/>
                      <a:pt x="210659" y="167385"/>
                    </a:cubicBezTo>
                    <a:cubicBezTo>
                      <a:pt x="211957" y="161874"/>
                      <a:pt x="218773" y="158429"/>
                      <a:pt x="222669" y="157051"/>
                    </a:cubicBezTo>
                    <a:lnTo>
                      <a:pt x="228389" y="147751"/>
                    </a:lnTo>
                    <a:cubicBezTo>
                      <a:pt x="230378" y="148354"/>
                      <a:pt x="232406" y="152229"/>
                      <a:pt x="234354" y="158085"/>
                    </a:cubicBezTo>
                    <a:cubicBezTo>
                      <a:pt x="235977" y="162907"/>
                      <a:pt x="240521" y="170485"/>
                      <a:pt x="242144" y="175307"/>
                    </a:cubicBezTo>
                    <a:cubicBezTo>
                      <a:pt x="244741" y="177718"/>
                      <a:pt x="244741" y="173240"/>
                      <a:pt x="246039" y="171174"/>
                    </a:cubicBezTo>
                    <a:cubicBezTo>
                      <a:pt x="247337" y="169107"/>
                      <a:pt x="249934" y="167040"/>
                      <a:pt x="249285" y="163596"/>
                    </a:cubicBezTo>
                    <a:cubicBezTo>
                      <a:pt x="254478" y="154985"/>
                      <a:pt x="249609" y="154985"/>
                      <a:pt x="242793" y="150507"/>
                    </a:cubicBezTo>
                    <a:lnTo>
                      <a:pt x="244391" y="143935"/>
                    </a:lnTo>
                    <a:cubicBezTo>
                      <a:pt x="245471" y="141142"/>
                      <a:pt x="246688" y="147407"/>
                      <a:pt x="263242" y="142240"/>
                    </a:cubicBezTo>
                    <a:cubicBezTo>
                      <a:pt x="268111" y="140862"/>
                      <a:pt x="269409" y="127428"/>
                      <a:pt x="269409" y="127428"/>
                    </a:cubicBezTo>
                    <a:lnTo>
                      <a:pt x="266164" y="122262"/>
                    </a:lnTo>
                    <a:cubicBezTo>
                      <a:pt x="267787" y="119851"/>
                      <a:pt x="271357" y="121573"/>
                      <a:pt x="273954" y="120539"/>
                    </a:cubicBezTo>
                    <a:cubicBezTo>
                      <a:pt x="275577" y="119851"/>
                      <a:pt x="277200" y="118473"/>
                      <a:pt x="278823" y="117439"/>
                    </a:cubicBezTo>
                    <a:cubicBezTo>
                      <a:pt x="280121" y="116750"/>
                      <a:pt x="281744" y="116406"/>
                      <a:pt x="283367" y="115717"/>
                    </a:cubicBezTo>
                    <a:cubicBezTo>
                      <a:pt x="284665" y="111584"/>
                      <a:pt x="284341" y="106417"/>
                      <a:pt x="286613" y="102628"/>
                    </a:cubicBezTo>
                    <a:cubicBezTo>
                      <a:pt x="288560" y="99528"/>
                      <a:pt x="293105" y="99528"/>
                      <a:pt x="296026" y="97461"/>
                    </a:cubicBezTo>
                    <a:cubicBezTo>
                      <a:pt x="298298" y="88850"/>
                      <a:pt x="304465" y="88505"/>
                      <a:pt x="311606" y="86094"/>
                    </a:cubicBezTo>
                    <a:cubicBezTo>
                      <a:pt x="314528" y="85061"/>
                      <a:pt x="320695" y="82650"/>
                      <a:pt x="320695" y="82650"/>
                    </a:cubicBezTo>
                    <a:cubicBezTo>
                      <a:pt x="325564" y="75416"/>
                      <a:pt x="324265" y="79894"/>
                      <a:pt x="331406" y="82650"/>
                    </a:cubicBezTo>
                    <a:cubicBezTo>
                      <a:pt x="339196" y="94361"/>
                      <a:pt x="351531" y="101250"/>
                      <a:pt x="364514" y="105728"/>
                    </a:cubicBezTo>
                    <a:cubicBezTo>
                      <a:pt x="372305" y="109517"/>
                      <a:pt x="381068" y="108828"/>
                      <a:pt x="384314" y="106072"/>
                    </a:cubicBezTo>
                    <a:cubicBezTo>
                      <a:pt x="387236" y="104350"/>
                      <a:pt x="382042" y="97806"/>
                      <a:pt x="382042" y="95050"/>
                    </a:cubicBezTo>
                    <a:cubicBezTo>
                      <a:pt x="382042" y="92294"/>
                      <a:pt x="383341" y="90917"/>
                      <a:pt x="384639" y="89194"/>
                    </a:cubicBezTo>
                    <a:cubicBezTo>
                      <a:pt x="385937" y="85750"/>
                      <a:pt x="385937" y="87472"/>
                      <a:pt x="389183" y="84372"/>
                    </a:cubicBezTo>
                    <a:lnTo>
                      <a:pt x="393727" y="73350"/>
                    </a:lnTo>
                    <a:cubicBezTo>
                      <a:pt x="396000" y="71283"/>
                      <a:pt x="401518" y="73350"/>
                      <a:pt x="403465" y="70938"/>
                    </a:cubicBezTo>
                    <a:lnTo>
                      <a:pt x="398840" y="61035"/>
                    </a:lnTo>
                    <a:cubicBezTo>
                      <a:pt x="398272" y="59658"/>
                      <a:pt x="399732" y="59399"/>
                      <a:pt x="406386" y="57849"/>
                    </a:cubicBezTo>
                    <a:cubicBezTo>
                      <a:pt x="409632" y="52683"/>
                      <a:pt x="415800" y="44760"/>
                      <a:pt x="420668" y="43038"/>
                    </a:cubicBezTo>
                    <a:cubicBezTo>
                      <a:pt x="422941" y="39249"/>
                      <a:pt x="422616" y="37182"/>
                      <a:pt x="427809" y="37871"/>
                    </a:cubicBezTo>
                    <a:lnTo>
                      <a:pt x="435600" y="42005"/>
                    </a:lnTo>
                    <a:cubicBezTo>
                      <a:pt x="442416" y="41316"/>
                      <a:pt x="453777" y="41316"/>
                      <a:pt x="459619" y="37871"/>
                    </a:cubicBezTo>
                    <a:cubicBezTo>
                      <a:pt x="462216" y="36149"/>
                      <a:pt x="460268" y="30638"/>
                      <a:pt x="457996" y="28227"/>
                    </a:cubicBezTo>
                    <a:cubicBezTo>
                      <a:pt x="455724" y="25815"/>
                      <a:pt x="451829" y="27193"/>
                      <a:pt x="448583" y="26504"/>
                    </a:cubicBezTo>
                    <a:lnTo>
                      <a:pt x="441630" y="20170"/>
                    </a:lnTo>
                    <a:cubicBezTo>
                      <a:pt x="438784" y="15762"/>
                      <a:pt x="447122" y="16343"/>
                      <a:pt x="456373" y="14793"/>
                    </a:cubicBezTo>
                    <a:cubicBezTo>
                      <a:pt x="461242" y="15826"/>
                      <a:pt x="467085" y="14793"/>
                      <a:pt x="470331" y="18237"/>
                    </a:cubicBezTo>
                    <a:cubicBezTo>
                      <a:pt x="472786" y="24179"/>
                      <a:pt x="466517" y="21079"/>
                      <a:pt x="476498" y="26504"/>
                    </a:cubicBezTo>
                    <a:cubicBezTo>
                      <a:pt x="481691" y="28571"/>
                      <a:pt x="489482" y="35804"/>
                      <a:pt x="498895" y="36838"/>
                    </a:cubicBezTo>
                    <a:cubicBezTo>
                      <a:pt x="506360" y="38905"/>
                      <a:pt x="515124" y="40627"/>
                      <a:pt x="520642" y="39938"/>
                    </a:cubicBezTo>
                    <a:cubicBezTo>
                      <a:pt x="526160" y="39249"/>
                      <a:pt x="529082" y="33738"/>
                      <a:pt x="532652" y="33049"/>
                    </a:cubicBezTo>
                    <a:cubicBezTo>
                      <a:pt x="536223" y="31671"/>
                      <a:pt x="537845" y="35460"/>
                      <a:pt x="541741" y="35804"/>
                    </a:cubicBezTo>
                    <a:cubicBezTo>
                      <a:pt x="545636" y="36149"/>
                      <a:pt x="554075" y="32360"/>
                      <a:pt x="556022" y="34771"/>
                    </a:cubicBezTo>
                    <a:cubicBezTo>
                      <a:pt x="559918" y="37527"/>
                      <a:pt x="555049" y="44760"/>
                      <a:pt x="554400" y="49582"/>
                    </a:cubicBezTo>
                    <a:cubicBezTo>
                      <a:pt x="553101" y="57849"/>
                      <a:pt x="551478" y="64738"/>
                      <a:pt x="545311" y="69561"/>
                    </a:cubicBezTo>
                    <a:lnTo>
                      <a:pt x="546822" y="76428"/>
                    </a:lnTo>
                    <a:cubicBezTo>
                      <a:pt x="548253" y="80045"/>
                      <a:pt x="549774" y="76105"/>
                      <a:pt x="554400" y="84372"/>
                    </a:cubicBezTo>
                    <a:cubicBezTo>
                      <a:pt x="554075" y="87817"/>
                      <a:pt x="555373" y="91950"/>
                      <a:pt x="553101" y="94361"/>
                    </a:cubicBezTo>
                    <a:cubicBezTo>
                      <a:pt x="546609" y="101250"/>
                      <a:pt x="545960" y="88161"/>
                      <a:pt x="545311" y="87472"/>
                    </a:cubicBezTo>
                    <a:cubicBezTo>
                      <a:pt x="544013" y="85750"/>
                      <a:pt x="542065" y="85405"/>
                      <a:pt x="540442" y="84372"/>
                    </a:cubicBezTo>
                    <a:cubicBezTo>
                      <a:pt x="535898" y="89194"/>
                      <a:pt x="531354" y="90917"/>
                      <a:pt x="529731" y="97461"/>
                    </a:cubicBezTo>
                    <a:cubicBezTo>
                      <a:pt x="528108" y="100906"/>
                      <a:pt x="524213" y="103661"/>
                      <a:pt x="524537" y="106417"/>
                    </a:cubicBezTo>
                    <a:cubicBezTo>
                      <a:pt x="524862" y="109173"/>
                      <a:pt x="527459" y="110895"/>
                      <a:pt x="531029" y="113995"/>
                    </a:cubicBezTo>
                    <a:cubicBezTo>
                      <a:pt x="532652" y="120195"/>
                      <a:pt x="545311" y="125706"/>
                      <a:pt x="545311" y="125706"/>
                    </a:cubicBezTo>
                    <a:cubicBezTo>
                      <a:pt x="550829" y="130184"/>
                      <a:pt x="555049" y="132940"/>
                      <a:pt x="565436" y="137418"/>
                    </a:cubicBezTo>
                    <a:cubicBezTo>
                      <a:pt x="572901" y="142240"/>
                      <a:pt x="582963" y="150507"/>
                      <a:pt x="590429" y="153951"/>
                    </a:cubicBezTo>
                    <a:cubicBezTo>
                      <a:pt x="597895" y="157396"/>
                      <a:pt x="606983" y="156362"/>
                      <a:pt x="610554" y="158774"/>
                    </a:cubicBezTo>
                    <a:cubicBezTo>
                      <a:pt x="611852" y="159807"/>
                      <a:pt x="610878" y="166696"/>
                      <a:pt x="612177" y="168074"/>
                    </a:cubicBezTo>
                    <a:cubicBezTo>
                      <a:pt x="614449" y="170485"/>
                      <a:pt x="616721" y="167040"/>
                      <a:pt x="618344" y="170140"/>
                    </a:cubicBezTo>
                    <a:cubicBezTo>
                      <a:pt x="621265" y="175996"/>
                      <a:pt x="621265" y="174963"/>
                      <a:pt x="626134" y="178407"/>
                    </a:cubicBezTo>
                    <a:cubicBezTo>
                      <a:pt x="637170" y="177718"/>
                      <a:pt x="647557" y="181507"/>
                      <a:pt x="651127" y="170140"/>
                    </a:cubicBezTo>
                    <a:cubicBezTo>
                      <a:pt x="652426" y="160496"/>
                      <a:pt x="655347" y="150162"/>
                      <a:pt x="660865" y="142240"/>
                    </a:cubicBezTo>
                    <a:cubicBezTo>
                      <a:pt x="664111" y="128117"/>
                      <a:pt x="664760" y="137073"/>
                      <a:pt x="667357" y="113306"/>
                    </a:cubicBezTo>
                    <a:cubicBezTo>
                      <a:pt x="668006" y="107106"/>
                      <a:pt x="666708" y="100906"/>
                      <a:pt x="666708" y="100906"/>
                    </a:cubicBezTo>
                    <a:cubicBezTo>
                      <a:pt x="668980" y="68527"/>
                      <a:pt x="665734" y="85061"/>
                      <a:pt x="669954" y="70938"/>
                    </a:cubicBezTo>
                    <a:cubicBezTo>
                      <a:pt x="671252" y="66116"/>
                      <a:pt x="674498" y="56127"/>
                      <a:pt x="674498" y="56127"/>
                    </a:cubicBezTo>
                    <a:cubicBezTo>
                      <a:pt x="675147" y="48549"/>
                      <a:pt x="674822" y="40627"/>
                      <a:pt x="676121" y="33049"/>
                    </a:cubicBezTo>
                    <a:cubicBezTo>
                      <a:pt x="677095" y="27882"/>
                      <a:pt x="682288" y="18237"/>
                      <a:pt x="682288" y="182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7" name="Freeform 339">
                <a:extLst>
                  <a:ext uri="{FF2B5EF4-FFF2-40B4-BE49-F238E27FC236}">
                    <a16:creationId xmlns:a16="http://schemas.microsoft.com/office/drawing/2014/main" id="{A653934F-FC1D-4027-BA39-36B7AA534EF9}"/>
                  </a:ext>
                </a:extLst>
              </p:cNvPr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gray">
              <a:xfrm>
                <a:off x="7436423" y="2984730"/>
                <a:ext cx="366140" cy="446343"/>
              </a:xfrm>
              <a:custGeom>
                <a:avLst/>
                <a:gdLst/>
                <a:ahLst/>
                <a:cxnLst/>
                <a:rect l="l" t="t" r="r" b="b"/>
                <a:pathLst>
                  <a:path w="366140" h="446343">
                    <a:moveTo>
                      <a:pt x="278678" y="132903"/>
                    </a:moveTo>
                    <a:cubicBezTo>
                      <a:pt x="281307" y="132784"/>
                      <a:pt x="283589" y="133643"/>
                      <a:pt x="285177" y="135934"/>
                    </a:cubicBezTo>
                    <a:cubicBezTo>
                      <a:pt x="291527" y="145098"/>
                      <a:pt x="294702" y="187863"/>
                      <a:pt x="296289" y="203136"/>
                    </a:cubicBezTo>
                    <a:cubicBezTo>
                      <a:pt x="297877" y="218409"/>
                      <a:pt x="299464" y="215354"/>
                      <a:pt x="296289" y="224518"/>
                    </a:cubicBezTo>
                    <a:cubicBezTo>
                      <a:pt x="293114" y="233682"/>
                      <a:pt x="286764" y="242846"/>
                      <a:pt x="282002" y="256592"/>
                    </a:cubicBezTo>
                    <a:cubicBezTo>
                      <a:pt x="275652" y="270338"/>
                      <a:pt x="269302" y="299356"/>
                      <a:pt x="262952" y="310048"/>
                    </a:cubicBezTo>
                    <a:cubicBezTo>
                      <a:pt x="256602" y="320739"/>
                      <a:pt x="250252" y="316157"/>
                      <a:pt x="243902" y="320739"/>
                    </a:cubicBezTo>
                    <a:cubicBezTo>
                      <a:pt x="237552" y="325321"/>
                      <a:pt x="228027" y="332957"/>
                      <a:pt x="226439" y="337539"/>
                    </a:cubicBezTo>
                    <a:cubicBezTo>
                      <a:pt x="224852" y="342121"/>
                      <a:pt x="239139" y="352812"/>
                      <a:pt x="235964" y="352812"/>
                    </a:cubicBezTo>
                    <a:cubicBezTo>
                      <a:pt x="232789" y="352812"/>
                      <a:pt x="218502" y="337539"/>
                      <a:pt x="210564" y="334485"/>
                    </a:cubicBezTo>
                    <a:cubicBezTo>
                      <a:pt x="202627" y="331430"/>
                      <a:pt x="189927" y="331430"/>
                      <a:pt x="183577" y="332957"/>
                    </a:cubicBezTo>
                    <a:cubicBezTo>
                      <a:pt x="177227" y="334485"/>
                      <a:pt x="172464" y="340594"/>
                      <a:pt x="167702" y="346703"/>
                    </a:cubicBezTo>
                    <a:cubicBezTo>
                      <a:pt x="162939" y="352812"/>
                      <a:pt x="161352" y="363504"/>
                      <a:pt x="155002" y="366558"/>
                    </a:cubicBezTo>
                    <a:cubicBezTo>
                      <a:pt x="148652" y="369613"/>
                      <a:pt x="137539" y="369613"/>
                      <a:pt x="129602" y="369613"/>
                    </a:cubicBezTo>
                    <a:cubicBezTo>
                      <a:pt x="121664" y="369613"/>
                      <a:pt x="113727" y="363504"/>
                      <a:pt x="105789" y="365031"/>
                    </a:cubicBezTo>
                    <a:cubicBezTo>
                      <a:pt x="97852" y="366558"/>
                      <a:pt x="93089" y="374195"/>
                      <a:pt x="85152" y="380304"/>
                    </a:cubicBezTo>
                    <a:cubicBezTo>
                      <a:pt x="77214" y="386413"/>
                      <a:pt x="62927" y="392523"/>
                      <a:pt x="56577" y="401686"/>
                    </a:cubicBezTo>
                    <a:cubicBezTo>
                      <a:pt x="50227" y="412378"/>
                      <a:pt x="50227" y="442924"/>
                      <a:pt x="42289" y="445979"/>
                    </a:cubicBezTo>
                    <a:cubicBezTo>
                      <a:pt x="34352" y="449033"/>
                      <a:pt x="10539" y="432233"/>
                      <a:pt x="4189" y="420014"/>
                    </a:cubicBezTo>
                    <a:cubicBezTo>
                      <a:pt x="-2161" y="407796"/>
                      <a:pt x="-573" y="386413"/>
                      <a:pt x="4189" y="374195"/>
                    </a:cubicBezTo>
                    <a:cubicBezTo>
                      <a:pt x="8952" y="361976"/>
                      <a:pt x="23239" y="351285"/>
                      <a:pt x="32764" y="343649"/>
                    </a:cubicBezTo>
                    <a:cubicBezTo>
                      <a:pt x="42289" y="336012"/>
                      <a:pt x="53402" y="337539"/>
                      <a:pt x="61339" y="332957"/>
                    </a:cubicBezTo>
                    <a:cubicBezTo>
                      <a:pt x="69277" y="328375"/>
                      <a:pt x="70864" y="314630"/>
                      <a:pt x="85152" y="311575"/>
                    </a:cubicBezTo>
                    <a:cubicBezTo>
                      <a:pt x="97852" y="308520"/>
                      <a:pt x="135952" y="314630"/>
                      <a:pt x="150239" y="310048"/>
                    </a:cubicBezTo>
                    <a:cubicBezTo>
                      <a:pt x="164527" y="305466"/>
                      <a:pt x="170877" y="294775"/>
                      <a:pt x="174052" y="288665"/>
                    </a:cubicBezTo>
                    <a:cubicBezTo>
                      <a:pt x="177227" y="281029"/>
                      <a:pt x="167702" y="264228"/>
                      <a:pt x="174052" y="261174"/>
                    </a:cubicBezTo>
                    <a:cubicBezTo>
                      <a:pt x="180402" y="258119"/>
                      <a:pt x="199452" y="270338"/>
                      <a:pt x="207389" y="267283"/>
                    </a:cubicBezTo>
                    <a:cubicBezTo>
                      <a:pt x="215327" y="264228"/>
                      <a:pt x="213739" y="244373"/>
                      <a:pt x="220089" y="238264"/>
                    </a:cubicBezTo>
                    <a:cubicBezTo>
                      <a:pt x="226439" y="232155"/>
                      <a:pt x="240727" y="242846"/>
                      <a:pt x="245489" y="233682"/>
                    </a:cubicBezTo>
                    <a:cubicBezTo>
                      <a:pt x="250252" y="224518"/>
                      <a:pt x="247077" y="198554"/>
                      <a:pt x="248664" y="184808"/>
                    </a:cubicBezTo>
                    <a:cubicBezTo>
                      <a:pt x="250252" y="172590"/>
                      <a:pt x="248664" y="155789"/>
                      <a:pt x="255014" y="148153"/>
                    </a:cubicBezTo>
                    <a:cubicBezTo>
                      <a:pt x="259777" y="142425"/>
                      <a:pt x="270790" y="133261"/>
                      <a:pt x="278678" y="132903"/>
                    </a:cubicBezTo>
                    <a:close/>
                    <a:moveTo>
                      <a:pt x="266560" y="2495"/>
                    </a:moveTo>
                    <a:lnTo>
                      <a:pt x="264539" y="2723"/>
                    </a:lnTo>
                    <a:cubicBezTo>
                      <a:pt x="263055" y="2723"/>
                      <a:pt x="264193" y="2574"/>
                      <a:pt x="266560" y="2495"/>
                    </a:cubicBezTo>
                    <a:close/>
                    <a:moveTo>
                      <a:pt x="285177" y="425"/>
                    </a:moveTo>
                    <a:cubicBezTo>
                      <a:pt x="294702" y="-341"/>
                      <a:pt x="305021" y="-341"/>
                      <a:pt x="310577" y="2723"/>
                    </a:cubicBezTo>
                    <a:cubicBezTo>
                      <a:pt x="321690" y="8852"/>
                      <a:pt x="324865" y="34898"/>
                      <a:pt x="334390" y="41027"/>
                    </a:cubicBezTo>
                    <a:cubicBezTo>
                      <a:pt x="343915" y="47155"/>
                      <a:pt x="361377" y="33366"/>
                      <a:pt x="366140" y="36430"/>
                    </a:cubicBezTo>
                    <a:cubicBezTo>
                      <a:pt x="370902" y="39494"/>
                      <a:pt x="370902" y="53284"/>
                      <a:pt x="366140" y="60944"/>
                    </a:cubicBezTo>
                    <a:cubicBezTo>
                      <a:pt x="361377" y="68605"/>
                      <a:pt x="347090" y="77798"/>
                      <a:pt x="339152" y="83926"/>
                    </a:cubicBezTo>
                    <a:cubicBezTo>
                      <a:pt x="331215" y="90055"/>
                      <a:pt x="329627" y="97715"/>
                      <a:pt x="320102" y="97715"/>
                    </a:cubicBezTo>
                    <a:cubicBezTo>
                      <a:pt x="310577" y="97715"/>
                      <a:pt x="283589" y="85458"/>
                      <a:pt x="277239" y="88523"/>
                    </a:cubicBezTo>
                    <a:cubicBezTo>
                      <a:pt x="272477" y="91587"/>
                      <a:pt x="285177" y="106908"/>
                      <a:pt x="280414" y="113037"/>
                    </a:cubicBezTo>
                    <a:cubicBezTo>
                      <a:pt x="275652" y="119165"/>
                      <a:pt x="258189" y="128358"/>
                      <a:pt x="250252" y="125294"/>
                    </a:cubicBezTo>
                    <a:cubicBezTo>
                      <a:pt x="242314" y="122229"/>
                      <a:pt x="232789" y="105376"/>
                      <a:pt x="234377" y="94651"/>
                    </a:cubicBezTo>
                    <a:cubicBezTo>
                      <a:pt x="235964" y="83926"/>
                      <a:pt x="255014" y="74733"/>
                      <a:pt x="262952" y="62476"/>
                    </a:cubicBezTo>
                    <a:cubicBezTo>
                      <a:pt x="270889" y="50219"/>
                      <a:pt x="278827" y="31834"/>
                      <a:pt x="282002" y="22641"/>
                    </a:cubicBezTo>
                    <a:cubicBezTo>
                      <a:pt x="285177" y="13448"/>
                      <a:pt x="288352" y="7320"/>
                      <a:pt x="285177" y="4256"/>
                    </a:cubicBezTo>
                    <a:cubicBezTo>
                      <a:pt x="282992" y="2147"/>
                      <a:pt x="271782" y="2215"/>
                      <a:pt x="266560" y="2495"/>
                    </a:cubicBezTo>
                    <a:cubicBezTo>
                      <a:pt x="270296" y="2164"/>
                      <a:pt x="277477" y="1044"/>
                      <a:pt x="285177" y="42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8" name="Freeform 404">
                <a:extLst>
                  <a:ext uri="{FF2B5EF4-FFF2-40B4-BE49-F238E27FC236}">
                    <a16:creationId xmlns:a16="http://schemas.microsoft.com/office/drawing/2014/main" id="{77D00DC9-2993-47CB-8892-79E8ECB9D718}"/>
                  </a:ext>
                </a:extLst>
              </p:cNvPr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gray">
              <a:xfrm>
                <a:off x="2578101" y="3917950"/>
                <a:ext cx="323850" cy="254000"/>
              </a:xfrm>
              <a:custGeom>
                <a:avLst/>
                <a:gdLst>
                  <a:gd name="T0" fmla="*/ 18 w 200"/>
                  <a:gd name="T1" fmla="*/ 4 h 160"/>
                  <a:gd name="T2" fmla="*/ 16 w 200"/>
                  <a:gd name="T3" fmla="*/ 25 h 160"/>
                  <a:gd name="T4" fmla="*/ 30 w 200"/>
                  <a:gd name="T5" fmla="*/ 36 h 160"/>
                  <a:gd name="T6" fmla="*/ 31 w 200"/>
                  <a:gd name="T7" fmla="*/ 13 h 160"/>
                  <a:gd name="T8" fmla="*/ 51 w 200"/>
                  <a:gd name="T9" fmla="*/ 9 h 160"/>
                  <a:gd name="T10" fmla="*/ 69 w 200"/>
                  <a:gd name="T11" fmla="*/ 3 h 160"/>
                  <a:gd name="T12" fmla="*/ 93 w 200"/>
                  <a:gd name="T13" fmla="*/ 16 h 160"/>
                  <a:gd name="T14" fmla="*/ 117 w 200"/>
                  <a:gd name="T15" fmla="*/ 21 h 160"/>
                  <a:gd name="T16" fmla="*/ 133 w 200"/>
                  <a:gd name="T17" fmla="*/ 12 h 160"/>
                  <a:gd name="T18" fmla="*/ 154 w 200"/>
                  <a:gd name="T19" fmla="*/ 18 h 160"/>
                  <a:gd name="T20" fmla="*/ 174 w 200"/>
                  <a:gd name="T21" fmla="*/ 27 h 160"/>
                  <a:gd name="T22" fmla="*/ 186 w 200"/>
                  <a:gd name="T23" fmla="*/ 37 h 160"/>
                  <a:gd name="T24" fmla="*/ 189 w 200"/>
                  <a:gd name="T25" fmla="*/ 57 h 160"/>
                  <a:gd name="T26" fmla="*/ 181 w 200"/>
                  <a:gd name="T27" fmla="*/ 72 h 160"/>
                  <a:gd name="T28" fmla="*/ 178 w 200"/>
                  <a:gd name="T29" fmla="*/ 87 h 160"/>
                  <a:gd name="T30" fmla="*/ 175 w 200"/>
                  <a:gd name="T31" fmla="*/ 100 h 160"/>
                  <a:gd name="T32" fmla="*/ 162 w 200"/>
                  <a:gd name="T33" fmla="*/ 115 h 160"/>
                  <a:gd name="T34" fmla="*/ 135 w 200"/>
                  <a:gd name="T35" fmla="*/ 120 h 160"/>
                  <a:gd name="T36" fmla="*/ 135 w 200"/>
                  <a:gd name="T37" fmla="*/ 135 h 160"/>
                  <a:gd name="T38" fmla="*/ 129 w 200"/>
                  <a:gd name="T39" fmla="*/ 151 h 160"/>
                  <a:gd name="T40" fmla="*/ 124 w 200"/>
                  <a:gd name="T41" fmla="*/ 157 h 160"/>
                  <a:gd name="T42" fmla="*/ 106 w 200"/>
                  <a:gd name="T43" fmla="*/ 159 h 160"/>
                  <a:gd name="T44" fmla="*/ 82 w 200"/>
                  <a:gd name="T45" fmla="*/ 148 h 160"/>
                  <a:gd name="T46" fmla="*/ 84 w 200"/>
                  <a:gd name="T47" fmla="*/ 136 h 160"/>
                  <a:gd name="T48" fmla="*/ 82 w 200"/>
                  <a:gd name="T49" fmla="*/ 87 h 160"/>
                  <a:gd name="T50" fmla="*/ 61 w 200"/>
                  <a:gd name="T51" fmla="*/ 82 h 160"/>
                  <a:gd name="T52" fmla="*/ 43 w 200"/>
                  <a:gd name="T53" fmla="*/ 73 h 160"/>
                  <a:gd name="T54" fmla="*/ 30 w 200"/>
                  <a:gd name="T55" fmla="*/ 63 h 160"/>
                  <a:gd name="T56" fmla="*/ 18 w 200"/>
                  <a:gd name="T57" fmla="*/ 57 h 160"/>
                  <a:gd name="T58" fmla="*/ 6 w 200"/>
                  <a:gd name="T59" fmla="*/ 37 h 160"/>
                  <a:gd name="T60" fmla="*/ 0 w 200"/>
                  <a:gd name="T61" fmla="*/ 22 h 160"/>
                  <a:gd name="T62" fmla="*/ 15 w 200"/>
                  <a:gd name="T63" fmla="*/ 6 h 160"/>
                  <a:gd name="T64" fmla="*/ 24 w 200"/>
                  <a:gd name="T65" fmla="*/ 1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0" h="160">
                    <a:moveTo>
                      <a:pt x="18" y="4"/>
                    </a:moveTo>
                    <a:cubicBezTo>
                      <a:pt x="23" y="12"/>
                      <a:pt x="31" y="23"/>
                      <a:pt x="16" y="25"/>
                    </a:cubicBezTo>
                    <a:cubicBezTo>
                      <a:pt x="13" y="39"/>
                      <a:pt x="15" y="37"/>
                      <a:pt x="30" y="36"/>
                    </a:cubicBezTo>
                    <a:cubicBezTo>
                      <a:pt x="30" y="28"/>
                      <a:pt x="27" y="20"/>
                      <a:pt x="31" y="13"/>
                    </a:cubicBezTo>
                    <a:cubicBezTo>
                      <a:pt x="35" y="7"/>
                      <a:pt x="51" y="9"/>
                      <a:pt x="51" y="9"/>
                    </a:cubicBezTo>
                    <a:cubicBezTo>
                      <a:pt x="59" y="3"/>
                      <a:pt x="57" y="0"/>
                      <a:pt x="69" y="3"/>
                    </a:cubicBezTo>
                    <a:cubicBezTo>
                      <a:pt x="71" y="22"/>
                      <a:pt x="73" y="18"/>
                      <a:pt x="93" y="16"/>
                    </a:cubicBezTo>
                    <a:cubicBezTo>
                      <a:pt x="111" y="20"/>
                      <a:pt x="103" y="18"/>
                      <a:pt x="117" y="21"/>
                    </a:cubicBezTo>
                    <a:cubicBezTo>
                      <a:pt x="127" y="19"/>
                      <a:pt x="126" y="17"/>
                      <a:pt x="133" y="12"/>
                    </a:cubicBezTo>
                    <a:cubicBezTo>
                      <a:pt x="143" y="13"/>
                      <a:pt x="147" y="12"/>
                      <a:pt x="154" y="18"/>
                    </a:cubicBezTo>
                    <a:cubicBezTo>
                      <a:pt x="158" y="26"/>
                      <a:pt x="166" y="25"/>
                      <a:pt x="174" y="27"/>
                    </a:cubicBezTo>
                    <a:cubicBezTo>
                      <a:pt x="175" y="35"/>
                      <a:pt x="178" y="36"/>
                      <a:pt x="186" y="37"/>
                    </a:cubicBezTo>
                    <a:cubicBezTo>
                      <a:pt x="196" y="42"/>
                      <a:pt x="200" y="55"/>
                      <a:pt x="189" y="57"/>
                    </a:cubicBezTo>
                    <a:cubicBezTo>
                      <a:pt x="188" y="75"/>
                      <a:pt x="189" y="62"/>
                      <a:pt x="181" y="72"/>
                    </a:cubicBezTo>
                    <a:cubicBezTo>
                      <a:pt x="179" y="77"/>
                      <a:pt x="179" y="82"/>
                      <a:pt x="178" y="87"/>
                    </a:cubicBezTo>
                    <a:cubicBezTo>
                      <a:pt x="177" y="92"/>
                      <a:pt x="178" y="95"/>
                      <a:pt x="175" y="100"/>
                    </a:cubicBezTo>
                    <a:cubicBezTo>
                      <a:pt x="172" y="105"/>
                      <a:pt x="169" y="112"/>
                      <a:pt x="162" y="115"/>
                    </a:cubicBezTo>
                    <a:cubicBezTo>
                      <a:pt x="152" y="115"/>
                      <a:pt x="146" y="116"/>
                      <a:pt x="135" y="120"/>
                    </a:cubicBezTo>
                    <a:cubicBezTo>
                      <a:pt x="136" y="126"/>
                      <a:pt x="132" y="129"/>
                      <a:pt x="135" y="135"/>
                    </a:cubicBezTo>
                    <a:cubicBezTo>
                      <a:pt x="134" y="140"/>
                      <a:pt x="131" y="148"/>
                      <a:pt x="129" y="151"/>
                    </a:cubicBezTo>
                    <a:cubicBezTo>
                      <a:pt x="127" y="154"/>
                      <a:pt x="128" y="156"/>
                      <a:pt x="124" y="157"/>
                    </a:cubicBezTo>
                    <a:cubicBezTo>
                      <a:pt x="120" y="158"/>
                      <a:pt x="113" y="160"/>
                      <a:pt x="106" y="159"/>
                    </a:cubicBezTo>
                    <a:cubicBezTo>
                      <a:pt x="99" y="158"/>
                      <a:pt x="86" y="152"/>
                      <a:pt x="82" y="148"/>
                    </a:cubicBezTo>
                    <a:cubicBezTo>
                      <a:pt x="78" y="144"/>
                      <a:pt x="84" y="146"/>
                      <a:pt x="84" y="136"/>
                    </a:cubicBezTo>
                    <a:cubicBezTo>
                      <a:pt x="81" y="125"/>
                      <a:pt x="86" y="96"/>
                      <a:pt x="82" y="87"/>
                    </a:cubicBezTo>
                    <a:cubicBezTo>
                      <a:pt x="78" y="78"/>
                      <a:pt x="67" y="84"/>
                      <a:pt x="61" y="82"/>
                    </a:cubicBezTo>
                    <a:cubicBezTo>
                      <a:pt x="55" y="78"/>
                      <a:pt x="49" y="77"/>
                      <a:pt x="43" y="73"/>
                    </a:cubicBezTo>
                    <a:cubicBezTo>
                      <a:pt x="37" y="69"/>
                      <a:pt x="37" y="64"/>
                      <a:pt x="30" y="63"/>
                    </a:cubicBezTo>
                    <a:cubicBezTo>
                      <a:pt x="23" y="60"/>
                      <a:pt x="25" y="61"/>
                      <a:pt x="18" y="57"/>
                    </a:cubicBezTo>
                    <a:cubicBezTo>
                      <a:pt x="15" y="52"/>
                      <a:pt x="11" y="40"/>
                      <a:pt x="6" y="37"/>
                    </a:cubicBezTo>
                    <a:cubicBezTo>
                      <a:pt x="3" y="32"/>
                      <a:pt x="1" y="28"/>
                      <a:pt x="0" y="22"/>
                    </a:cubicBezTo>
                    <a:cubicBezTo>
                      <a:pt x="2" y="13"/>
                      <a:pt x="6" y="8"/>
                      <a:pt x="15" y="6"/>
                    </a:cubicBezTo>
                    <a:cubicBezTo>
                      <a:pt x="16" y="16"/>
                      <a:pt x="14" y="13"/>
                      <a:pt x="24" y="13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9" name="Freeform 405">
                <a:extLst>
                  <a:ext uri="{FF2B5EF4-FFF2-40B4-BE49-F238E27FC236}">
                    <a16:creationId xmlns:a16="http://schemas.microsoft.com/office/drawing/2014/main" id="{8DDFA0B9-1F5F-49A4-822F-5A9D7748A421}"/>
                  </a:ext>
                </a:extLst>
              </p:cNvPr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gray">
              <a:xfrm>
                <a:off x="3005138" y="4038600"/>
                <a:ext cx="104775" cy="96838"/>
              </a:xfrm>
              <a:custGeom>
                <a:avLst/>
                <a:gdLst>
                  <a:gd name="T0" fmla="*/ 15 w 65"/>
                  <a:gd name="T1" fmla="*/ 56 h 61"/>
                  <a:gd name="T2" fmla="*/ 57 w 65"/>
                  <a:gd name="T3" fmla="*/ 45 h 61"/>
                  <a:gd name="T4" fmla="*/ 36 w 65"/>
                  <a:gd name="T5" fmla="*/ 12 h 61"/>
                  <a:gd name="T6" fmla="*/ 15 w 65"/>
                  <a:gd name="T7" fmla="*/ 56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" h="61">
                    <a:moveTo>
                      <a:pt x="15" y="56"/>
                    </a:moveTo>
                    <a:cubicBezTo>
                      <a:pt x="56" y="54"/>
                      <a:pt x="36" y="61"/>
                      <a:pt x="57" y="45"/>
                    </a:cubicBezTo>
                    <a:cubicBezTo>
                      <a:pt x="65" y="29"/>
                      <a:pt x="46" y="20"/>
                      <a:pt x="36" y="12"/>
                    </a:cubicBezTo>
                    <a:cubicBezTo>
                      <a:pt x="0" y="16"/>
                      <a:pt x="15" y="0"/>
                      <a:pt x="15" y="5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0" name="Freeform 406">
                <a:extLst>
                  <a:ext uri="{FF2B5EF4-FFF2-40B4-BE49-F238E27FC236}">
                    <a16:creationId xmlns:a16="http://schemas.microsoft.com/office/drawing/2014/main" id="{E0F9B147-022E-4254-A5DB-11551BBC32F1}"/>
                  </a:ext>
                </a:extLst>
              </p:cNvPr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gray">
              <a:xfrm>
                <a:off x="2938463" y="4048125"/>
                <a:ext cx="93663" cy="100013"/>
              </a:xfrm>
              <a:custGeom>
                <a:avLst/>
                <a:gdLst>
                  <a:gd name="T0" fmla="*/ 9 w 57"/>
                  <a:gd name="T1" fmla="*/ 0 h 63"/>
                  <a:gd name="T2" fmla="*/ 36 w 57"/>
                  <a:gd name="T3" fmla="*/ 5 h 63"/>
                  <a:gd name="T4" fmla="*/ 51 w 57"/>
                  <a:gd name="T5" fmla="*/ 8 h 63"/>
                  <a:gd name="T6" fmla="*/ 57 w 57"/>
                  <a:gd name="T7" fmla="*/ 35 h 63"/>
                  <a:gd name="T8" fmla="*/ 29 w 57"/>
                  <a:gd name="T9" fmla="*/ 54 h 63"/>
                  <a:gd name="T10" fmla="*/ 17 w 57"/>
                  <a:gd name="T11" fmla="*/ 54 h 63"/>
                  <a:gd name="T12" fmla="*/ 8 w 57"/>
                  <a:gd name="T13" fmla="*/ 39 h 63"/>
                  <a:gd name="T14" fmla="*/ 3 w 57"/>
                  <a:gd name="T15" fmla="*/ 38 h 63"/>
                  <a:gd name="T16" fmla="*/ 14 w 57"/>
                  <a:gd name="T17" fmla="*/ 17 h 63"/>
                  <a:gd name="T18" fmla="*/ 9 w 57"/>
                  <a:gd name="T1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63">
                    <a:moveTo>
                      <a:pt x="9" y="0"/>
                    </a:moveTo>
                    <a:cubicBezTo>
                      <a:pt x="22" y="1"/>
                      <a:pt x="26" y="2"/>
                      <a:pt x="36" y="5"/>
                    </a:cubicBezTo>
                    <a:cubicBezTo>
                      <a:pt x="41" y="6"/>
                      <a:pt x="51" y="8"/>
                      <a:pt x="51" y="8"/>
                    </a:cubicBezTo>
                    <a:cubicBezTo>
                      <a:pt x="57" y="16"/>
                      <a:pt x="55" y="26"/>
                      <a:pt x="57" y="35"/>
                    </a:cubicBezTo>
                    <a:cubicBezTo>
                      <a:pt x="55" y="55"/>
                      <a:pt x="49" y="53"/>
                      <a:pt x="29" y="54"/>
                    </a:cubicBezTo>
                    <a:cubicBezTo>
                      <a:pt x="24" y="63"/>
                      <a:pt x="27" y="55"/>
                      <a:pt x="17" y="54"/>
                    </a:cubicBezTo>
                    <a:cubicBezTo>
                      <a:pt x="17" y="47"/>
                      <a:pt x="10" y="45"/>
                      <a:pt x="8" y="39"/>
                    </a:cubicBezTo>
                    <a:cubicBezTo>
                      <a:pt x="8" y="37"/>
                      <a:pt x="4" y="40"/>
                      <a:pt x="3" y="38"/>
                    </a:cubicBezTo>
                    <a:cubicBezTo>
                      <a:pt x="0" y="29"/>
                      <a:pt x="15" y="24"/>
                      <a:pt x="14" y="17"/>
                    </a:cubicBezTo>
                    <a:cubicBezTo>
                      <a:pt x="13" y="11"/>
                      <a:pt x="11" y="6"/>
                      <a:pt x="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1" name="Freeform 407">
                <a:extLst>
                  <a:ext uri="{FF2B5EF4-FFF2-40B4-BE49-F238E27FC236}">
                    <a16:creationId xmlns:a16="http://schemas.microsoft.com/office/drawing/2014/main" id="{0F1BC9FD-A9E2-4913-8D8B-F65388726010}"/>
                  </a:ext>
                </a:extLst>
              </p:cNvPr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gray">
              <a:xfrm>
                <a:off x="2849563" y="3978275"/>
                <a:ext cx="122238" cy="184150"/>
              </a:xfrm>
              <a:custGeom>
                <a:avLst/>
                <a:gdLst>
                  <a:gd name="T0" fmla="*/ 24 w 76"/>
                  <a:gd name="T1" fmla="*/ 13 h 116"/>
                  <a:gd name="T2" fmla="*/ 13 w 76"/>
                  <a:gd name="T3" fmla="*/ 35 h 116"/>
                  <a:gd name="T4" fmla="*/ 13 w 76"/>
                  <a:gd name="T5" fmla="*/ 67 h 116"/>
                  <a:gd name="T6" fmla="*/ 22 w 76"/>
                  <a:gd name="T7" fmla="*/ 70 h 116"/>
                  <a:gd name="T8" fmla="*/ 24 w 76"/>
                  <a:gd name="T9" fmla="*/ 83 h 116"/>
                  <a:gd name="T10" fmla="*/ 30 w 76"/>
                  <a:gd name="T11" fmla="*/ 97 h 116"/>
                  <a:gd name="T12" fmla="*/ 36 w 76"/>
                  <a:gd name="T13" fmla="*/ 110 h 116"/>
                  <a:gd name="T14" fmla="*/ 45 w 76"/>
                  <a:gd name="T15" fmla="*/ 115 h 116"/>
                  <a:gd name="T16" fmla="*/ 63 w 76"/>
                  <a:gd name="T17" fmla="*/ 110 h 116"/>
                  <a:gd name="T18" fmla="*/ 70 w 76"/>
                  <a:gd name="T19" fmla="*/ 101 h 116"/>
                  <a:gd name="T20" fmla="*/ 61 w 76"/>
                  <a:gd name="T21" fmla="*/ 82 h 116"/>
                  <a:gd name="T22" fmla="*/ 66 w 76"/>
                  <a:gd name="T23" fmla="*/ 65 h 116"/>
                  <a:gd name="T24" fmla="*/ 49 w 76"/>
                  <a:gd name="T25" fmla="*/ 28 h 116"/>
                  <a:gd name="T26" fmla="*/ 33 w 76"/>
                  <a:gd name="T27" fmla="*/ 13 h 116"/>
                  <a:gd name="T28" fmla="*/ 21 w 76"/>
                  <a:gd name="T29" fmla="*/ 2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116">
                    <a:moveTo>
                      <a:pt x="24" y="13"/>
                    </a:moveTo>
                    <a:cubicBezTo>
                      <a:pt x="20" y="21"/>
                      <a:pt x="20" y="31"/>
                      <a:pt x="13" y="35"/>
                    </a:cubicBezTo>
                    <a:cubicBezTo>
                      <a:pt x="7" y="45"/>
                      <a:pt x="0" y="63"/>
                      <a:pt x="13" y="67"/>
                    </a:cubicBezTo>
                    <a:cubicBezTo>
                      <a:pt x="18" y="70"/>
                      <a:pt x="19" y="65"/>
                      <a:pt x="22" y="70"/>
                    </a:cubicBezTo>
                    <a:cubicBezTo>
                      <a:pt x="20" y="75"/>
                      <a:pt x="27" y="78"/>
                      <a:pt x="24" y="83"/>
                    </a:cubicBezTo>
                    <a:cubicBezTo>
                      <a:pt x="25" y="88"/>
                      <a:pt x="28" y="93"/>
                      <a:pt x="30" y="97"/>
                    </a:cubicBezTo>
                    <a:cubicBezTo>
                      <a:pt x="32" y="101"/>
                      <a:pt x="33" y="107"/>
                      <a:pt x="36" y="110"/>
                    </a:cubicBezTo>
                    <a:cubicBezTo>
                      <a:pt x="37" y="116"/>
                      <a:pt x="39" y="112"/>
                      <a:pt x="45" y="115"/>
                    </a:cubicBezTo>
                    <a:cubicBezTo>
                      <a:pt x="54" y="113"/>
                      <a:pt x="56" y="113"/>
                      <a:pt x="63" y="110"/>
                    </a:cubicBezTo>
                    <a:cubicBezTo>
                      <a:pt x="66" y="106"/>
                      <a:pt x="67" y="105"/>
                      <a:pt x="70" y="101"/>
                    </a:cubicBezTo>
                    <a:cubicBezTo>
                      <a:pt x="72" y="93"/>
                      <a:pt x="68" y="87"/>
                      <a:pt x="61" y="82"/>
                    </a:cubicBezTo>
                    <a:cubicBezTo>
                      <a:pt x="57" y="75"/>
                      <a:pt x="59" y="70"/>
                      <a:pt x="66" y="65"/>
                    </a:cubicBezTo>
                    <a:cubicBezTo>
                      <a:pt x="76" y="49"/>
                      <a:pt x="63" y="36"/>
                      <a:pt x="49" y="28"/>
                    </a:cubicBezTo>
                    <a:cubicBezTo>
                      <a:pt x="45" y="21"/>
                      <a:pt x="40" y="18"/>
                      <a:pt x="33" y="13"/>
                    </a:cubicBezTo>
                    <a:cubicBezTo>
                      <a:pt x="25" y="0"/>
                      <a:pt x="26" y="18"/>
                      <a:pt x="21" y="23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2" name="Freeform 408">
                <a:extLst>
                  <a:ext uri="{FF2B5EF4-FFF2-40B4-BE49-F238E27FC236}">
                    <a16:creationId xmlns:a16="http://schemas.microsoft.com/office/drawing/2014/main" id="{E06C9465-2520-4511-B001-8514C509D3E8}"/>
                  </a:ext>
                </a:extLst>
              </p:cNvPr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gray">
              <a:xfrm>
                <a:off x="2371726" y="3959225"/>
                <a:ext cx="111125" cy="61913"/>
              </a:xfrm>
              <a:custGeom>
                <a:avLst/>
                <a:gdLst>
                  <a:gd name="T0" fmla="*/ 10 w 67"/>
                  <a:gd name="T1" fmla="*/ 16 h 39"/>
                  <a:gd name="T2" fmla="*/ 30 w 67"/>
                  <a:gd name="T3" fmla="*/ 2 h 39"/>
                  <a:gd name="T4" fmla="*/ 45 w 67"/>
                  <a:gd name="T5" fmla="*/ 4 h 39"/>
                  <a:gd name="T6" fmla="*/ 58 w 67"/>
                  <a:gd name="T7" fmla="*/ 13 h 39"/>
                  <a:gd name="T8" fmla="*/ 67 w 67"/>
                  <a:gd name="T9" fmla="*/ 20 h 39"/>
                  <a:gd name="T10" fmla="*/ 58 w 67"/>
                  <a:gd name="T11" fmla="*/ 34 h 39"/>
                  <a:gd name="T12" fmla="*/ 39 w 67"/>
                  <a:gd name="T13" fmla="*/ 17 h 39"/>
                  <a:gd name="T14" fmla="*/ 22 w 67"/>
                  <a:gd name="T15" fmla="*/ 25 h 39"/>
                  <a:gd name="T16" fmla="*/ 22 w 67"/>
                  <a:gd name="T17" fmla="*/ 37 h 39"/>
                  <a:gd name="T18" fmla="*/ 3 w 67"/>
                  <a:gd name="T19" fmla="*/ 35 h 39"/>
                  <a:gd name="T20" fmla="*/ 6 w 67"/>
                  <a:gd name="T21" fmla="*/ 19 h 39"/>
                  <a:gd name="T22" fmla="*/ 10 w 67"/>
                  <a:gd name="T23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39">
                    <a:moveTo>
                      <a:pt x="10" y="16"/>
                    </a:moveTo>
                    <a:cubicBezTo>
                      <a:pt x="13" y="10"/>
                      <a:pt x="24" y="4"/>
                      <a:pt x="30" y="2"/>
                    </a:cubicBezTo>
                    <a:cubicBezTo>
                      <a:pt x="36" y="0"/>
                      <a:pt x="40" y="2"/>
                      <a:pt x="45" y="4"/>
                    </a:cubicBezTo>
                    <a:cubicBezTo>
                      <a:pt x="50" y="6"/>
                      <a:pt x="54" y="10"/>
                      <a:pt x="58" y="13"/>
                    </a:cubicBezTo>
                    <a:cubicBezTo>
                      <a:pt x="62" y="16"/>
                      <a:pt x="67" y="17"/>
                      <a:pt x="67" y="20"/>
                    </a:cubicBezTo>
                    <a:cubicBezTo>
                      <a:pt x="67" y="23"/>
                      <a:pt x="63" y="34"/>
                      <a:pt x="58" y="34"/>
                    </a:cubicBezTo>
                    <a:cubicBezTo>
                      <a:pt x="53" y="34"/>
                      <a:pt x="45" y="18"/>
                      <a:pt x="39" y="17"/>
                    </a:cubicBezTo>
                    <a:cubicBezTo>
                      <a:pt x="33" y="16"/>
                      <a:pt x="25" y="22"/>
                      <a:pt x="22" y="25"/>
                    </a:cubicBezTo>
                    <a:cubicBezTo>
                      <a:pt x="19" y="28"/>
                      <a:pt x="25" y="35"/>
                      <a:pt x="22" y="37"/>
                    </a:cubicBezTo>
                    <a:cubicBezTo>
                      <a:pt x="19" y="39"/>
                      <a:pt x="6" y="38"/>
                      <a:pt x="3" y="35"/>
                    </a:cubicBezTo>
                    <a:cubicBezTo>
                      <a:pt x="0" y="32"/>
                      <a:pt x="5" y="22"/>
                      <a:pt x="6" y="19"/>
                    </a:cubicBezTo>
                    <a:cubicBezTo>
                      <a:pt x="7" y="16"/>
                      <a:pt x="9" y="17"/>
                      <a:pt x="10" y="1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3" name="Freeform 409">
                <a:extLst>
                  <a:ext uri="{FF2B5EF4-FFF2-40B4-BE49-F238E27FC236}">
                    <a16:creationId xmlns:a16="http://schemas.microsoft.com/office/drawing/2014/main" id="{D1E17B77-D347-4FAA-8278-06B2AAB72D44}"/>
                  </a:ext>
                </a:extLst>
              </p:cNvPr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gray">
              <a:xfrm>
                <a:off x="2430463" y="3911600"/>
                <a:ext cx="285750" cy="349250"/>
              </a:xfrm>
              <a:custGeom>
                <a:avLst/>
                <a:gdLst>
                  <a:gd name="T0" fmla="*/ 34 w 177"/>
                  <a:gd name="T1" fmla="*/ 55 h 220"/>
                  <a:gd name="T2" fmla="*/ 52 w 177"/>
                  <a:gd name="T3" fmla="*/ 41 h 220"/>
                  <a:gd name="T4" fmla="*/ 85 w 177"/>
                  <a:gd name="T5" fmla="*/ 10 h 220"/>
                  <a:gd name="T6" fmla="*/ 101 w 177"/>
                  <a:gd name="T7" fmla="*/ 4 h 220"/>
                  <a:gd name="T8" fmla="*/ 97 w 177"/>
                  <a:gd name="T9" fmla="*/ 32 h 220"/>
                  <a:gd name="T10" fmla="*/ 110 w 177"/>
                  <a:gd name="T11" fmla="*/ 58 h 220"/>
                  <a:gd name="T12" fmla="*/ 111 w 177"/>
                  <a:gd name="T13" fmla="*/ 67 h 220"/>
                  <a:gd name="T14" fmla="*/ 124 w 177"/>
                  <a:gd name="T15" fmla="*/ 68 h 220"/>
                  <a:gd name="T16" fmla="*/ 152 w 177"/>
                  <a:gd name="T17" fmla="*/ 88 h 220"/>
                  <a:gd name="T18" fmla="*/ 172 w 177"/>
                  <a:gd name="T19" fmla="*/ 85 h 220"/>
                  <a:gd name="T20" fmla="*/ 172 w 177"/>
                  <a:gd name="T21" fmla="*/ 152 h 220"/>
                  <a:gd name="T22" fmla="*/ 143 w 177"/>
                  <a:gd name="T23" fmla="*/ 158 h 220"/>
                  <a:gd name="T24" fmla="*/ 142 w 177"/>
                  <a:gd name="T25" fmla="*/ 184 h 220"/>
                  <a:gd name="T26" fmla="*/ 124 w 177"/>
                  <a:gd name="T27" fmla="*/ 215 h 220"/>
                  <a:gd name="T28" fmla="*/ 100 w 177"/>
                  <a:gd name="T29" fmla="*/ 215 h 220"/>
                  <a:gd name="T30" fmla="*/ 88 w 177"/>
                  <a:gd name="T31" fmla="*/ 205 h 220"/>
                  <a:gd name="T32" fmla="*/ 65 w 177"/>
                  <a:gd name="T33" fmla="*/ 184 h 220"/>
                  <a:gd name="T34" fmla="*/ 44 w 177"/>
                  <a:gd name="T35" fmla="*/ 175 h 220"/>
                  <a:gd name="T36" fmla="*/ 32 w 177"/>
                  <a:gd name="T37" fmla="*/ 166 h 220"/>
                  <a:gd name="T38" fmla="*/ 5 w 177"/>
                  <a:gd name="T39" fmla="*/ 160 h 220"/>
                  <a:gd name="T40" fmla="*/ 10 w 177"/>
                  <a:gd name="T41" fmla="*/ 143 h 220"/>
                  <a:gd name="T42" fmla="*/ 22 w 177"/>
                  <a:gd name="T43" fmla="*/ 127 h 220"/>
                  <a:gd name="T44" fmla="*/ 31 w 177"/>
                  <a:gd name="T45" fmla="*/ 107 h 220"/>
                  <a:gd name="T46" fmla="*/ 29 w 177"/>
                  <a:gd name="T47" fmla="*/ 91 h 220"/>
                  <a:gd name="T48" fmla="*/ 28 w 177"/>
                  <a:gd name="T49" fmla="*/ 61 h 220"/>
                  <a:gd name="T50" fmla="*/ 34 w 177"/>
                  <a:gd name="T51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7" h="220">
                    <a:moveTo>
                      <a:pt x="34" y="55"/>
                    </a:moveTo>
                    <a:cubicBezTo>
                      <a:pt x="41" y="52"/>
                      <a:pt x="45" y="45"/>
                      <a:pt x="52" y="41"/>
                    </a:cubicBezTo>
                    <a:cubicBezTo>
                      <a:pt x="57" y="10"/>
                      <a:pt x="56" y="16"/>
                      <a:pt x="85" y="10"/>
                    </a:cubicBezTo>
                    <a:cubicBezTo>
                      <a:pt x="93" y="4"/>
                      <a:pt x="99" y="0"/>
                      <a:pt x="101" y="4"/>
                    </a:cubicBezTo>
                    <a:cubicBezTo>
                      <a:pt x="96" y="14"/>
                      <a:pt x="107" y="27"/>
                      <a:pt x="97" y="32"/>
                    </a:cubicBezTo>
                    <a:cubicBezTo>
                      <a:pt x="92" y="41"/>
                      <a:pt x="107" y="49"/>
                      <a:pt x="110" y="58"/>
                    </a:cubicBezTo>
                    <a:cubicBezTo>
                      <a:pt x="118" y="68"/>
                      <a:pt x="109" y="65"/>
                      <a:pt x="111" y="67"/>
                    </a:cubicBezTo>
                    <a:cubicBezTo>
                      <a:pt x="113" y="69"/>
                      <a:pt x="117" y="65"/>
                      <a:pt x="124" y="68"/>
                    </a:cubicBezTo>
                    <a:cubicBezTo>
                      <a:pt x="132" y="72"/>
                      <a:pt x="144" y="86"/>
                      <a:pt x="152" y="88"/>
                    </a:cubicBezTo>
                    <a:cubicBezTo>
                      <a:pt x="159" y="89"/>
                      <a:pt x="172" y="85"/>
                      <a:pt x="172" y="85"/>
                    </a:cubicBezTo>
                    <a:cubicBezTo>
                      <a:pt x="176" y="96"/>
                      <a:pt x="177" y="140"/>
                      <a:pt x="172" y="152"/>
                    </a:cubicBezTo>
                    <a:cubicBezTo>
                      <a:pt x="167" y="164"/>
                      <a:pt x="148" y="153"/>
                      <a:pt x="143" y="158"/>
                    </a:cubicBezTo>
                    <a:cubicBezTo>
                      <a:pt x="142" y="170"/>
                      <a:pt x="135" y="173"/>
                      <a:pt x="142" y="184"/>
                    </a:cubicBezTo>
                    <a:cubicBezTo>
                      <a:pt x="140" y="213"/>
                      <a:pt x="148" y="219"/>
                      <a:pt x="124" y="215"/>
                    </a:cubicBezTo>
                    <a:cubicBezTo>
                      <a:pt x="117" y="211"/>
                      <a:pt x="100" y="215"/>
                      <a:pt x="100" y="215"/>
                    </a:cubicBezTo>
                    <a:cubicBezTo>
                      <a:pt x="91" y="220"/>
                      <a:pt x="95" y="210"/>
                      <a:pt x="88" y="205"/>
                    </a:cubicBezTo>
                    <a:cubicBezTo>
                      <a:pt x="85" y="197"/>
                      <a:pt x="72" y="188"/>
                      <a:pt x="65" y="184"/>
                    </a:cubicBezTo>
                    <a:cubicBezTo>
                      <a:pt x="61" y="177"/>
                      <a:pt x="52" y="177"/>
                      <a:pt x="44" y="175"/>
                    </a:cubicBezTo>
                    <a:cubicBezTo>
                      <a:pt x="39" y="171"/>
                      <a:pt x="39" y="167"/>
                      <a:pt x="32" y="166"/>
                    </a:cubicBezTo>
                    <a:cubicBezTo>
                      <a:pt x="24" y="162"/>
                      <a:pt x="14" y="162"/>
                      <a:pt x="5" y="160"/>
                    </a:cubicBezTo>
                    <a:cubicBezTo>
                      <a:pt x="3" y="151"/>
                      <a:pt x="0" y="148"/>
                      <a:pt x="10" y="143"/>
                    </a:cubicBezTo>
                    <a:cubicBezTo>
                      <a:pt x="14" y="137"/>
                      <a:pt x="19" y="134"/>
                      <a:pt x="22" y="127"/>
                    </a:cubicBezTo>
                    <a:cubicBezTo>
                      <a:pt x="23" y="120"/>
                      <a:pt x="28" y="114"/>
                      <a:pt x="31" y="107"/>
                    </a:cubicBezTo>
                    <a:cubicBezTo>
                      <a:pt x="32" y="101"/>
                      <a:pt x="32" y="97"/>
                      <a:pt x="29" y="91"/>
                    </a:cubicBezTo>
                    <a:cubicBezTo>
                      <a:pt x="28" y="82"/>
                      <a:pt x="25" y="70"/>
                      <a:pt x="28" y="61"/>
                    </a:cubicBezTo>
                    <a:cubicBezTo>
                      <a:pt x="29" y="58"/>
                      <a:pt x="35" y="52"/>
                      <a:pt x="34" y="5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4" name="Freeform 410">
                <a:extLst>
                  <a:ext uri="{FF2B5EF4-FFF2-40B4-BE49-F238E27FC236}">
                    <a16:creationId xmlns:a16="http://schemas.microsoft.com/office/drawing/2014/main" id="{1B089CBC-FF96-432A-91A2-60C9D5E1289C}"/>
                  </a:ext>
                </a:extLst>
              </p:cNvPr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gray">
              <a:xfrm>
                <a:off x="2651126" y="4413250"/>
                <a:ext cx="300038" cy="320675"/>
              </a:xfrm>
              <a:custGeom>
                <a:avLst/>
                <a:gdLst>
                  <a:gd name="T0" fmla="*/ 0 w 185"/>
                  <a:gd name="T1" fmla="*/ 25 h 203"/>
                  <a:gd name="T2" fmla="*/ 26 w 185"/>
                  <a:gd name="T3" fmla="*/ 21 h 203"/>
                  <a:gd name="T4" fmla="*/ 41 w 185"/>
                  <a:gd name="T5" fmla="*/ 18 h 203"/>
                  <a:gd name="T6" fmla="*/ 46 w 185"/>
                  <a:gd name="T7" fmla="*/ 13 h 203"/>
                  <a:gd name="T8" fmla="*/ 60 w 185"/>
                  <a:gd name="T9" fmla="*/ 3 h 203"/>
                  <a:gd name="T10" fmla="*/ 71 w 185"/>
                  <a:gd name="T11" fmla="*/ 33 h 203"/>
                  <a:gd name="T12" fmla="*/ 86 w 185"/>
                  <a:gd name="T13" fmla="*/ 52 h 203"/>
                  <a:gd name="T14" fmla="*/ 105 w 185"/>
                  <a:gd name="T15" fmla="*/ 61 h 203"/>
                  <a:gd name="T16" fmla="*/ 123 w 185"/>
                  <a:gd name="T17" fmla="*/ 61 h 203"/>
                  <a:gd name="T18" fmla="*/ 138 w 185"/>
                  <a:gd name="T19" fmla="*/ 69 h 203"/>
                  <a:gd name="T20" fmla="*/ 143 w 185"/>
                  <a:gd name="T21" fmla="*/ 99 h 203"/>
                  <a:gd name="T22" fmla="*/ 161 w 185"/>
                  <a:gd name="T23" fmla="*/ 102 h 203"/>
                  <a:gd name="T24" fmla="*/ 170 w 185"/>
                  <a:gd name="T25" fmla="*/ 106 h 203"/>
                  <a:gd name="T26" fmla="*/ 183 w 185"/>
                  <a:gd name="T27" fmla="*/ 133 h 203"/>
                  <a:gd name="T28" fmla="*/ 174 w 185"/>
                  <a:gd name="T29" fmla="*/ 160 h 203"/>
                  <a:gd name="T30" fmla="*/ 119 w 185"/>
                  <a:gd name="T31" fmla="*/ 163 h 203"/>
                  <a:gd name="T32" fmla="*/ 101 w 185"/>
                  <a:gd name="T33" fmla="*/ 198 h 203"/>
                  <a:gd name="T34" fmla="*/ 79 w 185"/>
                  <a:gd name="T35" fmla="*/ 196 h 203"/>
                  <a:gd name="T36" fmla="*/ 58 w 185"/>
                  <a:gd name="T37" fmla="*/ 195 h 203"/>
                  <a:gd name="T38" fmla="*/ 44 w 185"/>
                  <a:gd name="T39" fmla="*/ 196 h 203"/>
                  <a:gd name="T40" fmla="*/ 21 w 185"/>
                  <a:gd name="T41" fmla="*/ 186 h 203"/>
                  <a:gd name="T42" fmla="*/ 17 w 185"/>
                  <a:gd name="T43" fmla="*/ 172 h 203"/>
                  <a:gd name="T44" fmla="*/ 15 w 185"/>
                  <a:gd name="T45" fmla="*/ 137 h 203"/>
                  <a:gd name="T46" fmla="*/ 9 w 185"/>
                  <a:gd name="T47" fmla="*/ 117 h 203"/>
                  <a:gd name="T48" fmla="*/ 12 w 185"/>
                  <a:gd name="T49" fmla="*/ 91 h 203"/>
                  <a:gd name="T50" fmla="*/ 15 w 185"/>
                  <a:gd name="T51" fmla="*/ 66 h 203"/>
                  <a:gd name="T52" fmla="*/ 15 w 185"/>
                  <a:gd name="T53" fmla="*/ 45 h 203"/>
                  <a:gd name="T54" fmla="*/ 8 w 185"/>
                  <a:gd name="T55" fmla="*/ 3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5" h="203">
                    <a:moveTo>
                      <a:pt x="0" y="25"/>
                    </a:moveTo>
                    <a:cubicBezTo>
                      <a:pt x="11" y="24"/>
                      <a:pt x="16" y="23"/>
                      <a:pt x="26" y="21"/>
                    </a:cubicBezTo>
                    <a:cubicBezTo>
                      <a:pt x="31" y="20"/>
                      <a:pt x="41" y="18"/>
                      <a:pt x="41" y="18"/>
                    </a:cubicBezTo>
                    <a:cubicBezTo>
                      <a:pt x="44" y="17"/>
                      <a:pt x="43" y="15"/>
                      <a:pt x="46" y="13"/>
                    </a:cubicBezTo>
                    <a:cubicBezTo>
                      <a:pt x="49" y="11"/>
                      <a:pt x="56" y="0"/>
                      <a:pt x="60" y="3"/>
                    </a:cubicBezTo>
                    <a:cubicBezTo>
                      <a:pt x="64" y="6"/>
                      <a:pt x="67" y="25"/>
                      <a:pt x="71" y="33"/>
                    </a:cubicBezTo>
                    <a:cubicBezTo>
                      <a:pt x="75" y="41"/>
                      <a:pt x="80" y="47"/>
                      <a:pt x="86" y="52"/>
                    </a:cubicBezTo>
                    <a:cubicBezTo>
                      <a:pt x="95" y="57"/>
                      <a:pt x="95" y="60"/>
                      <a:pt x="105" y="61"/>
                    </a:cubicBezTo>
                    <a:cubicBezTo>
                      <a:pt x="111" y="63"/>
                      <a:pt x="118" y="60"/>
                      <a:pt x="123" y="61"/>
                    </a:cubicBezTo>
                    <a:cubicBezTo>
                      <a:pt x="128" y="62"/>
                      <a:pt x="135" y="63"/>
                      <a:pt x="138" y="69"/>
                    </a:cubicBezTo>
                    <a:cubicBezTo>
                      <a:pt x="142" y="76"/>
                      <a:pt x="136" y="96"/>
                      <a:pt x="143" y="99"/>
                    </a:cubicBezTo>
                    <a:cubicBezTo>
                      <a:pt x="149" y="101"/>
                      <a:pt x="161" y="102"/>
                      <a:pt x="161" y="102"/>
                    </a:cubicBezTo>
                    <a:cubicBezTo>
                      <a:pt x="164" y="104"/>
                      <a:pt x="168" y="104"/>
                      <a:pt x="170" y="106"/>
                    </a:cubicBezTo>
                    <a:cubicBezTo>
                      <a:pt x="174" y="111"/>
                      <a:pt x="182" y="124"/>
                      <a:pt x="183" y="133"/>
                    </a:cubicBezTo>
                    <a:cubicBezTo>
                      <a:pt x="184" y="142"/>
                      <a:pt x="185" y="155"/>
                      <a:pt x="174" y="160"/>
                    </a:cubicBezTo>
                    <a:cubicBezTo>
                      <a:pt x="158" y="159"/>
                      <a:pt x="132" y="153"/>
                      <a:pt x="119" y="163"/>
                    </a:cubicBezTo>
                    <a:cubicBezTo>
                      <a:pt x="114" y="176"/>
                      <a:pt x="114" y="192"/>
                      <a:pt x="101" y="198"/>
                    </a:cubicBezTo>
                    <a:cubicBezTo>
                      <a:pt x="94" y="203"/>
                      <a:pt x="88" y="196"/>
                      <a:pt x="79" y="196"/>
                    </a:cubicBezTo>
                    <a:cubicBezTo>
                      <a:pt x="72" y="196"/>
                      <a:pt x="64" y="195"/>
                      <a:pt x="58" y="195"/>
                    </a:cubicBezTo>
                    <a:cubicBezTo>
                      <a:pt x="52" y="195"/>
                      <a:pt x="50" y="197"/>
                      <a:pt x="44" y="196"/>
                    </a:cubicBezTo>
                    <a:cubicBezTo>
                      <a:pt x="34" y="194"/>
                      <a:pt x="26" y="190"/>
                      <a:pt x="21" y="186"/>
                    </a:cubicBezTo>
                    <a:cubicBezTo>
                      <a:pt x="20" y="181"/>
                      <a:pt x="18" y="177"/>
                      <a:pt x="17" y="172"/>
                    </a:cubicBezTo>
                    <a:cubicBezTo>
                      <a:pt x="16" y="164"/>
                      <a:pt x="16" y="146"/>
                      <a:pt x="15" y="137"/>
                    </a:cubicBezTo>
                    <a:cubicBezTo>
                      <a:pt x="14" y="128"/>
                      <a:pt x="9" y="125"/>
                      <a:pt x="9" y="117"/>
                    </a:cubicBezTo>
                    <a:cubicBezTo>
                      <a:pt x="8" y="105"/>
                      <a:pt x="11" y="99"/>
                      <a:pt x="12" y="91"/>
                    </a:cubicBezTo>
                    <a:cubicBezTo>
                      <a:pt x="13" y="83"/>
                      <a:pt x="15" y="74"/>
                      <a:pt x="15" y="66"/>
                    </a:cubicBezTo>
                    <a:cubicBezTo>
                      <a:pt x="15" y="54"/>
                      <a:pt x="16" y="51"/>
                      <a:pt x="15" y="45"/>
                    </a:cubicBezTo>
                    <a:cubicBezTo>
                      <a:pt x="14" y="39"/>
                      <a:pt x="9" y="34"/>
                      <a:pt x="8" y="31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5" name="Freeform 411">
                <a:extLst>
                  <a:ext uri="{FF2B5EF4-FFF2-40B4-BE49-F238E27FC236}">
                    <a16:creationId xmlns:a16="http://schemas.microsoft.com/office/drawing/2014/main" id="{4D6F9BBC-2610-4873-8E6B-E908D70AB812}"/>
                  </a:ext>
                </a:extLst>
              </p:cNvPr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gray">
              <a:xfrm>
                <a:off x="2560638" y="4084638"/>
                <a:ext cx="946150" cy="957263"/>
              </a:xfrm>
              <a:custGeom>
                <a:avLst/>
                <a:gdLst>
                  <a:gd name="T0" fmla="*/ 313 w 584"/>
                  <a:gd name="T1" fmla="*/ 582 h 604"/>
                  <a:gd name="T2" fmla="*/ 346 w 584"/>
                  <a:gd name="T3" fmla="*/ 550 h 604"/>
                  <a:gd name="T4" fmla="*/ 376 w 584"/>
                  <a:gd name="T5" fmla="*/ 502 h 604"/>
                  <a:gd name="T6" fmla="*/ 400 w 584"/>
                  <a:gd name="T7" fmla="*/ 442 h 604"/>
                  <a:gd name="T8" fmla="*/ 445 w 584"/>
                  <a:gd name="T9" fmla="*/ 418 h 604"/>
                  <a:gd name="T10" fmla="*/ 487 w 584"/>
                  <a:gd name="T11" fmla="*/ 399 h 604"/>
                  <a:gd name="T12" fmla="*/ 508 w 584"/>
                  <a:gd name="T13" fmla="*/ 345 h 604"/>
                  <a:gd name="T14" fmla="*/ 518 w 584"/>
                  <a:gd name="T15" fmla="*/ 315 h 604"/>
                  <a:gd name="T16" fmla="*/ 550 w 584"/>
                  <a:gd name="T17" fmla="*/ 235 h 604"/>
                  <a:gd name="T18" fmla="*/ 575 w 584"/>
                  <a:gd name="T19" fmla="*/ 189 h 604"/>
                  <a:gd name="T20" fmla="*/ 515 w 584"/>
                  <a:gd name="T21" fmla="*/ 123 h 604"/>
                  <a:gd name="T22" fmla="*/ 446 w 584"/>
                  <a:gd name="T23" fmla="*/ 105 h 604"/>
                  <a:gd name="T24" fmla="*/ 371 w 584"/>
                  <a:gd name="T25" fmla="*/ 75 h 604"/>
                  <a:gd name="T26" fmla="*/ 346 w 584"/>
                  <a:gd name="T27" fmla="*/ 45 h 604"/>
                  <a:gd name="T28" fmla="*/ 331 w 584"/>
                  <a:gd name="T29" fmla="*/ 10 h 604"/>
                  <a:gd name="T30" fmla="*/ 305 w 584"/>
                  <a:gd name="T31" fmla="*/ 27 h 604"/>
                  <a:gd name="T32" fmla="*/ 274 w 584"/>
                  <a:gd name="T33" fmla="*/ 28 h 604"/>
                  <a:gd name="T34" fmla="*/ 238 w 584"/>
                  <a:gd name="T35" fmla="*/ 43 h 604"/>
                  <a:gd name="T36" fmla="*/ 208 w 584"/>
                  <a:gd name="T37" fmla="*/ 33 h 604"/>
                  <a:gd name="T38" fmla="*/ 191 w 584"/>
                  <a:gd name="T39" fmla="*/ 0 h 604"/>
                  <a:gd name="T40" fmla="*/ 143 w 584"/>
                  <a:gd name="T41" fmla="*/ 12 h 604"/>
                  <a:gd name="T42" fmla="*/ 140 w 584"/>
                  <a:gd name="T43" fmla="*/ 45 h 604"/>
                  <a:gd name="T44" fmla="*/ 113 w 584"/>
                  <a:gd name="T45" fmla="*/ 55 h 604"/>
                  <a:gd name="T46" fmla="*/ 59 w 584"/>
                  <a:gd name="T47" fmla="*/ 54 h 604"/>
                  <a:gd name="T48" fmla="*/ 56 w 584"/>
                  <a:gd name="T49" fmla="*/ 121 h 604"/>
                  <a:gd name="T50" fmla="*/ 17 w 584"/>
                  <a:gd name="T51" fmla="*/ 141 h 604"/>
                  <a:gd name="T52" fmla="*/ 4 w 584"/>
                  <a:gd name="T53" fmla="*/ 177 h 604"/>
                  <a:gd name="T54" fmla="*/ 31 w 584"/>
                  <a:gd name="T55" fmla="*/ 216 h 604"/>
                  <a:gd name="T56" fmla="*/ 91 w 584"/>
                  <a:gd name="T57" fmla="*/ 229 h 604"/>
                  <a:gd name="T58" fmla="*/ 121 w 584"/>
                  <a:gd name="T59" fmla="*/ 216 h 604"/>
                  <a:gd name="T60" fmla="*/ 157 w 584"/>
                  <a:gd name="T61" fmla="*/ 267 h 604"/>
                  <a:gd name="T62" fmla="*/ 184 w 584"/>
                  <a:gd name="T63" fmla="*/ 268 h 604"/>
                  <a:gd name="T64" fmla="*/ 221 w 584"/>
                  <a:gd name="T65" fmla="*/ 312 h 604"/>
                  <a:gd name="T66" fmla="*/ 235 w 584"/>
                  <a:gd name="T67" fmla="*/ 330 h 604"/>
                  <a:gd name="T68" fmla="*/ 232 w 584"/>
                  <a:gd name="T69" fmla="*/ 369 h 604"/>
                  <a:gd name="T70" fmla="*/ 275 w 584"/>
                  <a:gd name="T71" fmla="*/ 412 h 604"/>
                  <a:gd name="T72" fmla="*/ 281 w 584"/>
                  <a:gd name="T73" fmla="*/ 430 h 604"/>
                  <a:gd name="T74" fmla="*/ 298 w 584"/>
                  <a:gd name="T75" fmla="*/ 450 h 604"/>
                  <a:gd name="T76" fmla="*/ 256 w 584"/>
                  <a:gd name="T77" fmla="*/ 517 h 604"/>
                  <a:gd name="T78" fmla="*/ 289 w 584"/>
                  <a:gd name="T79" fmla="*/ 56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84" h="604">
                    <a:moveTo>
                      <a:pt x="305" y="604"/>
                    </a:moveTo>
                    <a:cubicBezTo>
                      <a:pt x="310" y="598"/>
                      <a:pt x="310" y="589"/>
                      <a:pt x="313" y="582"/>
                    </a:cubicBezTo>
                    <a:cubicBezTo>
                      <a:pt x="315" y="571"/>
                      <a:pt x="324" y="571"/>
                      <a:pt x="334" y="570"/>
                    </a:cubicBezTo>
                    <a:cubicBezTo>
                      <a:pt x="341" y="565"/>
                      <a:pt x="341" y="557"/>
                      <a:pt x="346" y="550"/>
                    </a:cubicBezTo>
                    <a:cubicBezTo>
                      <a:pt x="346" y="543"/>
                      <a:pt x="349" y="541"/>
                      <a:pt x="350" y="534"/>
                    </a:cubicBezTo>
                    <a:cubicBezTo>
                      <a:pt x="352" y="519"/>
                      <a:pt x="371" y="515"/>
                      <a:pt x="376" y="502"/>
                    </a:cubicBezTo>
                    <a:cubicBezTo>
                      <a:pt x="374" y="482"/>
                      <a:pt x="372" y="466"/>
                      <a:pt x="388" y="453"/>
                    </a:cubicBezTo>
                    <a:cubicBezTo>
                      <a:pt x="391" y="447"/>
                      <a:pt x="394" y="445"/>
                      <a:pt x="400" y="442"/>
                    </a:cubicBezTo>
                    <a:cubicBezTo>
                      <a:pt x="405" y="437"/>
                      <a:pt x="415" y="433"/>
                      <a:pt x="422" y="429"/>
                    </a:cubicBezTo>
                    <a:cubicBezTo>
                      <a:pt x="429" y="425"/>
                      <a:pt x="437" y="419"/>
                      <a:pt x="445" y="418"/>
                    </a:cubicBezTo>
                    <a:cubicBezTo>
                      <a:pt x="453" y="417"/>
                      <a:pt x="462" y="428"/>
                      <a:pt x="469" y="424"/>
                    </a:cubicBezTo>
                    <a:cubicBezTo>
                      <a:pt x="471" y="413"/>
                      <a:pt x="478" y="405"/>
                      <a:pt x="487" y="399"/>
                    </a:cubicBezTo>
                    <a:cubicBezTo>
                      <a:pt x="490" y="394"/>
                      <a:pt x="493" y="391"/>
                      <a:pt x="494" y="385"/>
                    </a:cubicBezTo>
                    <a:cubicBezTo>
                      <a:pt x="496" y="368"/>
                      <a:pt x="494" y="355"/>
                      <a:pt x="508" y="345"/>
                    </a:cubicBezTo>
                    <a:cubicBezTo>
                      <a:pt x="510" y="336"/>
                      <a:pt x="516" y="332"/>
                      <a:pt x="523" y="328"/>
                    </a:cubicBezTo>
                    <a:cubicBezTo>
                      <a:pt x="528" y="321"/>
                      <a:pt x="522" y="321"/>
                      <a:pt x="518" y="315"/>
                    </a:cubicBezTo>
                    <a:cubicBezTo>
                      <a:pt x="515" y="298"/>
                      <a:pt x="507" y="272"/>
                      <a:pt x="523" y="262"/>
                    </a:cubicBezTo>
                    <a:cubicBezTo>
                      <a:pt x="532" y="249"/>
                      <a:pt x="535" y="244"/>
                      <a:pt x="550" y="235"/>
                    </a:cubicBezTo>
                    <a:cubicBezTo>
                      <a:pt x="553" y="231"/>
                      <a:pt x="556" y="226"/>
                      <a:pt x="559" y="222"/>
                    </a:cubicBezTo>
                    <a:cubicBezTo>
                      <a:pt x="560" y="214"/>
                      <a:pt x="565" y="191"/>
                      <a:pt x="575" y="189"/>
                    </a:cubicBezTo>
                    <a:cubicBezTo>
                      <a:pt x="584" y="174"/>
                      <a:pt x="576" y="151"/>
                      <a:pt x="556" y="145"/>
                    </a:cubicBezTo>
                    <a:cubicBezTo>
                      <a:pt x="542" y="137"/>
                      <a:pt x="531" y="126"/>
                      <a:pt x="515" y="123"/>
                    </a:cubicBezTo>
                    <a:cubicBezTo>
                      <a:pt x="492" y="111"/>
                      <a:pt x="498" y="112"/>
                      <a:pt x="460" y="111"/>
                    </a:cubicBezTo>
                    <a:cubicBezTo>
                      <a:pt x="455" y="109"/>
                      <a:pt x="452" y="106"/>
                      <a:pt x="446" y="105"/>
                    </a:cubicBezTo>
                    <a:cubicBezTo>
                      <a:pt x="440" y="102"/>
                      <a:pt x="435" y="97"/>
                      <a:pt x="428" y="96"/>
                    </a:cubicBezTo>
                    <a:cubicBezTo>
                      <a:pt x="413" y="77"/>
                      <a:pt x="397" y="76"/>
                      <a:pt x="371" y="75"/>
                    </a:cubicBezTo>
                    <a:cubicBezTo>
                      <a:pt x="363" y="69"/>
                      <a:pt x="358" y="67"/>
                      <a:pt x="353" y="57"/>
                    </a:cubicBezTo>
                    <a:cubicBezTo>
                      <a:pt x="352" y="51"/>
                      <a:pt x="351" y="49"/>
                      <a:pt x="346" y="45"/>
                    </a:cubicBezTo>
                    <a:cubicBezTo>
                      <a:pt x="343" y="37"/>
                      <a:pt x="336" y="32"/>
                      <a:pt x="332" y="24"/>
                    </a:cubicBezTo>
                    <a:cubicBezTo>
                      <a:pt x="332" y="19"/>
                      <a:pt x="333" y="14"/>
                      <a:pt x="331" y="10"/>
                    </a:cubicBezTo>
                    <a:cubicBezTo>
                      <a:pt x="331" y="9"/>
                      <a:pt x="326" y="19"/>
                      <a:pt x="326" y="19"/>
                    </a:cubicBezTo>
                    <a:cubicBezTo>
                      <a:pt x="323" y="25"/>
                      <a:pt x="311" y="24"/>
                      <a:pt x="305" y="27"/>
                    </a:cubicBezTo>
                    <a:cubicBezTo>
                      <a:pt x="299" y="29"/>
                      <a:pt x="294" y="27"/>
                      <a:pt x="289" y="27"/>
                    </a:cubicBezTo>
                    <a:cubicBezTo>
                      <a:pt x="284" y="27"/>
                      <a:pt x="281" y="27"/>
                      <a:pt x="274" y="28"/>
                    </a:cubicBezTo>
                    <a:cubicBezTo>
                      <a:pt x="267" y="29"/>
                      <a:pt x="254" y="34"/>
                      <a:pt x="248" y="36"/>
                    </a:cubicBezTo>
                    <a:cubicBezTo>
                      <a:pt x="243" y="40"/>
                      <a:pt x="244" y="42"/>
                      <a:pt x="238" y="43"/>
                    </a:cubicBezTo>
                    <a:cubicBezTo>
                      <a:pt x="233" y="45"/>
                      <a:pt x="225" y="49"/>
                      <a:pt x="220" y="51"/>
                    </a:cubicBezTo>
                    <a:cubicBezTo>
                      <a:pt x="214" y="45"/>
                      <a:pt x="215" y="38"/>
                      <a:pt x="208" y="33"/>
                    </a:cubicBezTo>
                    <a:cubicBezTo>
                      <a:pt x="205" y="26"/>
                      <a:pt x="208" y="17"/>
                      <a:pt x="205" y="12"/>
                    </a:cubicBezTo>
                    <a:cubicBezTo>
                      <a:pt x="202" y="7"/>
                      <a:pt x="196" y="1"/>
                      <a:pt x="191" y="0"/>
                    </a:cubicBezTo>
                    <a:cubicBezTo>
                      <a:pt x="184" y="1"/>
                      <a:pt x="182" y="4"/>
                      <a:pt x="176" y="7"/>
                    </a:cubicBezTo>
                    <a:cubicBezTo>
                      <a:pt x="166" y="11"/>
                      <a:pt x="152" y="11"/>
                      <a:pt x="143" y="12"/>
                    </a:cubicBezTo>
                    <a:cubicBezTo>
                      <a:pt x="137" y="15"/>
                      <a:pt x="143" y="25"/>
                      <a:pt x="143" y="30"/>
                    </a:cubicBezTo>
                    <a:cubicBezTo>
                      <a:pt x="143" y="35"/>
                      <a:pt x="142" y="41"/>
                      <a:pt x="140" y="45"/>
                    </a:cubicBezTo>
                    <a:cubicBezTo>
                      <a:pt x="138" y="49"/>
                      <a:pt x="132" y="50"/>
                      <a:pt x="128" y="52"/>
                    </a:cubicBezTo>
                    <a:cubicBezTo>
                      <a:pt x="122" y="57"/>
                      <a:pt x="120" y="57"/>
                      <a:pt x="113" y="55"/>
                    </a:cubicBezTo>
                    <a:cubicBezTo>
                      <a:pt x="108" y="51"/>
                      <a:pt x="103" y="49"/>
                      <a:pt x="98" y="46"/>
                    </a:cubicBezTo>
                    <a:cubicBezTo>
                      <a:pt x="66" y="48"/>
                      <a:pt x="75" y="44"/>
                      <a:pt x="59" y="54"/>
                    </a:cubicBezTo>
                    <a:cubicBezTo>
                      <a:pt x="53" y="61"/>
                      <a:pt x="59" y="77"/>
                      <a:pt x="59" y="88"/>
                    </a:cubicBezTo>
                    <a:cubicBezTo>
                      <a:pt x="59" y="99"/>
                      <a:pt x="60" y="114"/>
                      <a:pt x="56" y="121"/>
                    </a:cubicBezTo>
                    <a:cubicBezTo>
                      <a:pt x="53" y="136"/>
                      <a:pt x="40" y="129"/>
                      <a:pt x="35" y="133"/>
                    </a:cubicBezTo>
                    <a:cubicBezTo>
                      <a:pt x="29" y="136"/>
                      <a:pt x="21" y="137"/>
                      <a:pt x="17" y="141"/>
                    </a:cubicBezTo>
                    <a:cubicBezTo>
                      <a:pt x="13" y="146"/>
                      <a:pt x="11" y="150"/>
                      <a:pt x="10" y="156"/>
                    </a:cubicBezTo>
                    <a:cubicBezTo>
                      <a:pt x="8" y="162"/>
                      <a:pt x="5" y="170"/>
                      <a:pt x="4" y="177"/>
                    </a:cubicBezTo>
                    <a:cubicBezTo>
                      <a:pt x="3" y="183"/>
                      <a:pt x="0" y="193"/>
                      <a:pt x="5" y="199"/>
                    </a:cubicBezTo>
                    <a:cubicBezTo>
                      <a:pt x="9" y="205"/>
                      <a:pt x="23" y="211"/>
                      <a:pt x="31" y="216"/>
                    </a:cubicBezTo>
                    <a:cubicBezTo>
                      <a:pt x="38" y="221"/>
                      <a:pt x="44" y="229"/>
                      <a:pt x="53" y="231"/>
                    </a:cubicBezTo>
                    <a:cubicBezTo>
                      <a:pt x="64" y="230"/>
                      <a:pt x="81" y="231"/>
                      <a:pt x="91" y="229"/>
                    </a:cubicBezTo>
                    <a:cubicBezTo>
                      <a:pt x="100" y="224"/>
                      <a:pt x="99" y="214"/>
                      <a:pt x="109" y="213"/>
                    </a:cubicBezTo>
                    <a:cubicBezTo>
                      <a:pt x="111" y="213"/>
                      <a:pt x="119" y="212"/>
                      <a:pt x="121" y="216"/>
                    </a:cubicBezTo>
                    <a:cubicBezTo>
                      <a:pt x="127" y="226"/>
                      <a:pt x="125" y="245"/>
                      <a:pt x="136" y="252"/>
                    </a:cubicBezTo>
                    <a:cubicBezTo>
                      <a:pt x="141" y="260"/>
                      <a:pt x="151" y="264"/>
                      <a:pt x="157" y="267"/>
                    </a:cubicBezTo>
                    <a:cubicBezTo>
                      <a:pt x="163" y="270"/>
                      <a:pt x="168" y="268"/>
                      <a:pt x="172" y="268"/>
                    </a:cubicBezTo>
                    <a:cubicBezTo>
                      <a:pt x="176" y="270"/>
                      <a:pt x="180" y="266"/>
                      <a:pt x="184" y="268"/>
                    </a:cubicBezTo>
                    <a:cubicBezTo>
                      <a:pt x="188" y="270"/>
                      <a:pt x="193" y="277"/>
                      <a:pt x="193" y="277"/>
                    </a:cubicBezTo>
                    <a:cubicBezTo>
                      <a:pt x="195" y="313"/>
                      <a:pt x="189" y="309"/>
                      <a:pt x="221" y="312"/>
                    </a:cubicBezTo>
                    <a:cubicBezTo>
                      <a:pt x="228" y="320"/>
                      <a:pt x="230" y="321"/>
                      <a:pt x="232" y="324"/>
                    </a:cubicBezTo>
                    <a:cubicBezTo>
                      <a:pt x="234" y="327"/>
                      <a:pt x="234" y="324"/>
                      <a:pt x="235" y="330"/>
                    </a:cubicBezTo>
                    <a:cubicBezTo>
                      <a:pt x="238" y="337"/>
                      <a:pt x="236" y="352"/>
                      <a:pt x="236" y="358"/>
                    </a:cubicBezTo>
                    <a:cubicBezTo>
                      <a:pt x="236" y="364"/>
                      <a:pt x="231" y="361"/>
                      <a:pt x="232" y="369"/>
                    </a:cubicBezTo>
                    <a:cubicBezTo>
                      <a:pt x="234" y="400"/>
                      <a:pt x="224" y="406"/>
                      <a:pt x="245" y="409"/>
                    </a:cubicBezTo>
                    <a:cubicBezTo>
                      <a:pt x="254" y="413"/>
                      <a:pt x="266" y="407"/>
                      <a:pt x="275" y="412"/>
                    </a:cubicBezTo>
                    <a:cubicBezTo>
                      <a:pt x="279" y="415"/>
                      <a:pt x="275" y="422"/>
                      <a:pt x="277" y="427"/>
                    </a:cubicBezTo>
                    <a:cubicBezTo>
                      <a:pt x="278" y="429"/>
                      <a:pt x="279" y="429"/>
                      <a:pt x="281" y="430"/>
                    </a:cubicBezTo>
                    <a:cubicBezTo>
                      <a:pt x="284" y="431"/>
                      <a:pt x="286" y="431"/>
                      <a:pt x="289" y="432"/>
                    </a:cubicBezTo>
                    <a:cubicBezTo>
                      <a:pt x="290" y="435"/>
                      <a:pt x="298" y="442"/>
                      <a:pt x="298" y="450"/>
                    </a:cubicBezTo>
                    <a:cubicBezTo>
                      <a:pt x="298" y="458"/>
                      <a:pt x="294" y="467"/>
                      <a:pt x="287" y="478"/>
                    </a:cubicBezTo>
                    <a:cubicBezTo>
                      <a:pt x="281" y="486"/>
                      <a:pt x="264" y="506"/>
                      <a:pt x="256" y="517"/>
                    </a:cubicBezTo>
                    <a:cubicBezTo>
                      <a:pt x="255" y="523"/>
                      <a:pt x="250" y="526"/>
                      <a:pt x="253" y="532"/>
                    </a:cubicBezTo>
                    <a:cubicBezTo>
                      <a:pt x="254" y="535"/>
                      <a:pt x="284" y="561"/>
                      <a:pt x="289" y="564"/>
                    </a:cubicBezTo>
                    <a:cubicBezTo>
                      <a:pt x="293" y="569"/>
                      <a:pt x="298" y="572"/>
                      <a:pt x="302" y="577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6" name="Freeform 412">
                <a:extLst>
                  <a:ext uri="{FF2B5EF4-FFF2-40B4-BE49-F238E27FC236}">
                    <a16:creationId xmlns:a16="http://schemas.microsoft.com/office/drawing/2014/main" id="{29F562FB-DF3E-4277-8AD9-041324A93E6A}"/>
                  </a:ext>
                </a:extLst>
              </p:cNvPr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gray">
              <a:xfrm>
                <a:off x="2370138" y="4186238"/>
                <a:ext cx="307975" cy="444500"/>
              </a:xfrm>
              <a:custGeom>
                <a:avLst/>
                <a:gdLst>
                  <a:gd name="T0" fmla="*/ 20 w 189"/>
                  <a:gd name="T1" fmla="*/ 66 h 280"/>
                  <a:gd name="T2" fmla="*/ 17 w 189"/>
                  <a:gd name="T3" fmla="*/ 98 h 280"/>
                  <a:gd name="T4" fmla="*/ 31 w 189"/>
                  <a:gd name="T5" fmla="*/ 113 h 280"/>
                  <a:gd name="T6" fmla="*/ 40 w 189"/>
                  <a:gd name="T7" fmla="*/ 126 h 280"/>
                  <a:gd name="T8" fmla="*/ 52 w 189"/>
                  <a:gd name="T9" fmla="*/ 156 h 280"/>
                  <a:gd name="T10" fmla="*/ 58 w 189"/>
                  <a:gd name="T11" fmla="*/ 177 h 280"/>
                  <a:gd name="T12" fmla="*/ 79 w 189"/>
                  <a:gd name="T13" fmla="*/ 195 h 280"/>
                  <a:gd name="T14" fmla="*/ 85 w 189"/>
                  <a:gd name="T15" fmla="*/ 213 h 280"/>
                  <a:gd name="T16" fmla="*/ 109 w 189"/>
                  <a:gd name="T17" fmla="*/ 240 h 280"/>
                  <a:gd name="T18" fmla="*/ 124 w 189"/>
                  <a:gd name="T19" fmla="*/ 246 h 280"/>
                  <a:gd name="T20" fmla="*/ 148 w 189"/>
                  <a:gd name="T21" fmla="*/ 258 h 280"/>
                  <a:gd name="T22" fmla="*/ 163 w 189"/>
                  <a:gd name="T23" fmla="*/ 270 h 280"/>
                  <a:gd name="T24" fmla="*/ 182 w 189"/>
                  <a:gd name="T25" fmla="*/ 255 h 280"/>
                  <a:gd name="T26" fmla="*/ 187 w 189"/>
                  <a:gd name="T27" fmla="*/ 185 h 280"/>
                  <a:gd name="T28" fmla="*/ 167 w 189"/>
                  <a:gd name="T29" fmla="*/ 168 h 280"/>
                  <a:gd name="T30" fmla="*/ 142 w 189"/>
                  <a:gd name="T31" fmla="*/ 150 h 280"/>
                  <a:gd name="T32" fmla="*/ 130 w 189"/>
                  <a:gd name="T33" fmla="*/ 143 h 280"/>
                  <a:gd name="T34" fmla="*/ 119 w 189"/>
                  <a:gd name="T35" fmla="*/ 129 h 280"/>
                  <a:gd name="T36" fmla="*/ 127 w 189"/>
                  <a:gd name="T37" fmla="*/ 96 h 280"/>
                  <a:gd name="T38" fmla="*/ 142 w 189"/>
                  <a:gd name="T39" fmla="*/ 74 h 280"/>
                  <a:gd name="T40" fmla="*/ 163 w 189"/>
                  <a:gd name="T41" fmla="*/ 68 h 280"/>
                  <a:gd name="T42" fmla="*/ 175 w 189"/>
                  <a:gd name="T43" fmla="*/ 53 h 280"/>
                  <a:gd name="T44" fmla="*/ 136 w 189"/>
                  <a:gd name="T45" fmla="*/ 42 h 280"/>
                  <a:gd name="T46" fmla="*/ 104 w 189"/>
                  <a:gd name="T47" fmla="*/ 12 h 280"/>
                  <a:gd name="T48" fmla="*/ 82 w 189"/>
                  <a:gd name="T49" fmla="*/ 0 h 280"/>
                  <a:gd name="T50" fmla="*/ 94 w 189"/>
                  <a:gd name="T51" fmla="*/ 21 h 280"/>
                  <a:gd name="T52" fmla="*/ 80 w 189"/>
                  <a:gd name="T53" fmla="*/ 39 h 280"/>
                  <a:gd name="T54" fmla="*/ 62 w 189"/>
                  <a:gd name="T55" fmla="*/ 44 h 280"/>
                  <a:gd name="T56" fmla="*/ 50 w 189"/>
                  <a:gd name="T57" fmla="*/ 54 h 280"/>
                  <a:gd name="T58" fmla="*/ 38 w 189"/>
                  <a:gd name="T59" fmla="*/ 78 h 280"/>
                  <a:gd name="T60" fmla="*/ 14 w 189"/>
                  <a:gd name="T61" fmla="*/ 66 h 280"/>
                  <a:gd name="T62" fmla="*/ 20 w 189"/>
                  <a:gd name="T63" fmla="*/ 66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9" h="280">
                    <a:moveTo>
                      <a:pt x="20" y="66"/>
                    </a:moveTo>
                    <a:cubicBezTo>
                      <a:pt x="0" y="56"/>
                      <a:pt x="6" y="92"/>
                      <a:pt x="17" y="98"/>
                    </a:cubicBezTo>
                    <a:cubicBezTo>
                      <a:pt x="21" y="103"/>
                      <a:pt x="26" y="110"/>
                      <a:pt x="31" y="113"/>
                    </a:cubicBezTo>
                    <a:cubicBezTo>
                      <a:pt x="39" y="123"/>
                      <a:pt x="36" y="119"/>
                      <a:pt x="40" y="126"/>
                    </a:cubicBezTo>
                    <a:cubicBezTo>
                      <a:pt x="42" y="138"/>
                      <a:pt x="43" y="147"/>
                      <a:pt x="52" y="156"/>
                    </a:cubicBezTo>
                    <a:cubicBezTo>
                      <a:pt x="53" y="166"/>
                      <a:pt x="52" y="170"/>
                      <a:pt x="58" y="177"/>
                    </a:cubicBezTo>
                    <a:cubicBezTo>
                      <a:pt x="60" y="190"/>
                      <a:pt x="66" y="193"/>
                      <a:pt x="79" y="195"/>
                    </a:cubicBezTo>
                    <a:cubicBezTo>
                      <a:pt x="80" y="201"/>
                      <a:pt x="82" y="207"/>
                      <a:pt x="85" y="213"/>
                    </a:cubicBezTo>
                    <a:cubicBezTo>
                      <a:pt x="87" y="227"/>
                      <a:pt x="95" y="237"/>
                      <a:pt x="109" y="240"/>
                    </a:cubicBezTo>
                    <a:cubicBezTo>
                      <a:pt x="114" y="244"/>
                      <a:pt x="118" y="245"/>
                      <a:pt x="124" y="246"/>
                    </a:cubicBezTo>
                    <a:cubicBezTo>
                      <a:pt x="130" y="251"/>
                      <a:pt x="140" y="256"/>
                      <a:pt x="148" y="258"/>
                    </a:cubicBezTo>
                    <a:cubicBezTo>
                      <a:pt x="155" y="263"/>
                      <a:pt x="154" y="268"/>
                      <a:pt x="163" y="270"/>
                    </a:cubicBezTo>
                    <a:cubicBezTo>
                      <a:pt x="176" y="280"/>
                      <a:pt x="180" y="265"/>
                      <a:pt x="182" y="255"/>
                    </a:cubicBezTo>
                    <a:cubicBezTo>
                      <a:pt x="186" y="241"/>
                      <a:pt x="189" y="199"/>
                      <a:pt x="187" y="185"/>
                    </a:cubicBezTo>
                    <a:cubicBezTo>
                      <a:pt x="185" y="171"/>
                      <a:pt x="174" y="174"/>
                      <a:pt x="167" y="168"/>
                    </a:cubicBezTo>
                    <a:cubicBezTo>
                      <a:pt x="160" y="151"/>
                      <a:pt x="150" y="157"/>
                      <a:pt x="142" y="150"/>
                    </a:cubicBezTo>
                    <a:cubicBezTo>
                      <a:pt x="136" y="145"/>
                      <a:pt x="134" y="146"/>
                      <a:pt x="130" y="143"/>
                    </a:cubicBezTo>
                    <a:cubicBezTo>
                      <a:pt x="126" y="140"/>
                      <a:pt x="119" y="137"/>
                      <a:pt x="119" y="129"/>
                    </a:cubicBezTo>
                    <a:cubicBezTo>
                      <a:pt x="117" y="115"/>
                      <a:pt x="120" y="108"/>
                      <a:pt x="127" y="96"/>
                    </a:cubicBezTo>
                    <a:cubicBezTo>
                      <a:pt x="128" y="83"/>
                      <a:pt x="128" y="76"/>
                      <a:pt x="142" y="74"/>
                    </a:cubicBezTo>
                    <a:cubicBezTo>
                      <a:pt x="149" y="72"/>
                      <a:pt x="156" y="69"/>
                      <a:pt x="163" y="68"/>
                    </a:cubicBezTo>
                    <a:cubicBezTo>
                      <a:pt x="169" y="65"/>
                      <a:pt x="172" y="59"/>
                      <a:pt x="175" y="53"/>
                    </a:cubicBezTo>
                    <a:cubicBezTo>
                      <a:pt x="169" y="38"/>
                      <a:pt x="149" y="43"/>
                      <a:pt x="136" y="42"/>
                    </a:cubicBezTo>
                    <a:cubicBezTo>
                      <a:pt x="124" y="35"/>
                      <a:pt x="117" y="20"/>
                      <a:pt x="104" y="12"/>
                    </a:cubicBezTo>
                    <a:cubicBezTo>
                      <a:pt x="100" y="7"/>
                      <a:pt x="87" y="4"/>
                      <a:pt x="82" y="0"/>
                    </a:cubicBezTo>
                    <a:cubicBezTo>
                      <a:pt x="79" y="2"/>
                      <a:pt x="94" y="15"/>
                      <a:pt x="94" y="21"/>
                    </a:cubicBezTo>
                    <a:cubicBezTo>
                      <a:pt x="94" y="27"/>
                      <a:pt x="85" y="35"/>
                      <a:pt x="80" y="39"/>
                    </a:cubicBezTo>
                    <a:cubicBezTo>
                      <a:pt x="74" y="42"/>
                      <a:pt x="68" y="42"/>
                      <a:pt x="62" y="44"/>
                    </a:cubicBezTo>
                    <a:cubicBezTo>
                      <a:pt x="57" y="47"/>
                      <a:pt x="55" y="51"/>
                      <a:pt x="50" y="54"/>
                    </a:cubicBezTo>
                    <a:cubicBezTo>
                      <a:pt x="48" y="62"/>
                      <a:pt x="45" y="77"/>
                      <a:pt x="38" y="78"/>
                    </a:cubicBezTo>
                    <a:cubicBezTo>
                      <a:pt x="35" y="77"/>
                      <a:pt x="14" y="67"/>
                      <a:pt x="14" y="66"/>
                    </a:cubicBezTo>
                    <a:cubicBezTo>
                      <a:pt x="15" y="64"/>
                      <a:pt x="18" y="66"/>
                      <a:pt x="20" y="6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7" name="Freeform 413">
                <a:extLst>
                  <a:ext uri="{FF2B5EF4-FFF2-40B4-BE49-F238E27FC236}">
                    <a16:creationId xmlns:a16="http://schemas.microsoft.com/office/drawing/2014/main" id="{B7869BC5-0227-4EA0-846E-116BF3B02017}"/>
                  </a:ext>
                </a:extLst>
              </p:cNvPr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gray">
              <a:xfrm>
                <a:off x="2382838" y="4167188"/>
                <a:ext cx="134938" cy="147638"/>
              </a:xfrm>
              <a:custGeom>
                <a:avLst/>
                <a:gdLst>
                  <a:gd name="T0" fmla="*/ 30 w 84"/>
                  <a:gd name="T1" fmla="*/ 0 h 94"/>
                  <a:gd name="T2" fmla="*/ 12 w 84"/>
                  <a:gd name="T3" fmla="*/ 18 h 94"/>
                  <a:gd name="T4" fmla="*/ 4 w 84"/>
                  <a:gd name="T5" fmla="*/ 38 h 94"/>
                  <a:gd name="T6" fmla="*/ 19 w 84"/>
                  <a:gd name="T7" fmla="*/ 51 h 94"/>
                  <a:gd name="T8" fmla="*/ 16 w 84"/>
                  <a:gd name="T9" fmla="*/ 74 h 94"/>
                  <a:gd name="T10" fmla="*/ 19 w 84"/>
                  <a:gd name="T11" fmla="*/ 84 h 94"/>
                  <a:gd name="T12" fmla="*/ 36 w 84"/>
                  <a:gd name="T13" fmla="*/ 87 h 94"/>
                  <a:gd name="T14" fmla="*/ 42 w 84"/>
                  <a:gd name="T15" fmla="*/ 72 h 94"/>
                  <a:gd name="T16" fmla="*/ 72 w 84"/>
                  <a:gd name="T17" fmla="*/ 50 h 94"/>
                  <a:gd name="T18" fmla="*/ 84 w 84"/>
                  <a:gd name="T19" fmla="*/ 35 h 94"/>
                  <a:gd name="T20" fmla="*/ 51 w 84"/>
                  <a:gd name="T21" fmla="*/ 0 h 94"/>
                  <a:gd name="T22" fmla="*/ 30 w 84"/>
                  <a:gd name="T2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4" h="94">
                    <a:moveTo>
                      <a:pt x="30" y="0"/>
                    </a:moveTo>
                    <a:cubicBezTo>
                      <a:pt x="20" y="4"/>
                      <a:pt x="20" y="12"/>
                      <a:pt x="12" y="18"/>
                    </a:cubicBezTo>
                    <a:cubicBezTo>
                      <a:pt x="9" y="25"/>
                      <a:pt x="7" y="31"/>
                      <a:pt x="4" y="38"/>
                    </a:cubicBezTo>
                    <a:cubicBezTo>
                      <a:pt x="0" y="61"/>
                      <a:pt x="4" y="62"/>
                      <a:pt x="19" y="51"/>
                    </a:cubicBezTo>
                    <a:cubicBezTo>
                      <a:pt x="22" y="59"/>
                      <a:pt x="20" y="67"/>
                      <a:pt x="16" y="74"/>
                    </a:cubicBezTo>
                    <a:cubicBezTo>
                      <a:pt x="14" y="84"/>
                      <a:pt x="12" y="79"/>
                      <a:pt x="19" y="84"/>
                    </a:cubicBezTo>
                    <a:cubicBezTo>
                      <a:pt x="21" y="89"/>
                      <a:pt x="27" y="94"/>
                      <a:pt x="36" y="87"/>
                    </a:cubicBezTo>
                    <a:cubicBezTo>
                      <a:pt x="37" y="87"/>
                      <a:pt x="41" y="74"/>
                      <a:pt x="42" y="72"/>
                    </a:cubicBezTo>
                    <a:cubicBezTo>
                      <a:pt x="49" y="62"/>
                      <a:pt x="60" y="52"/>
                      <a:pt x="72" y="50"/>
                    </a:cubicBezTo>
                    <a:cubicBezTo>
                      <a:pt x="79" y="47"/>
                      <a:pt x="80" y="41"/>
                      <a:pt x="84" y="35"/>
                    </a:cubicBezTo>
                    <a:cubicBezTo>
                      <a:pt x="81" y="17"/>
                      <a:pt x="66" y="8"/>
                      <a:pt x="51" y="0"/>
                    </a:cubicBezTo>
                    <a:cubicBezTo>
                      <a:pt x="47" y="1"/>
                      <a:pt x="32" y="6"/>
                      <a:pt x="30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8" name="Freeform 414">
                <a:extLst>
                  <a:ext uri="{FF2B5EF4-FFF2-40B4-BE49-F238E27FC236}">
                    <a16:creationId xmlns:a16="http://schemas.microsoft.com/office/drawing/2014/main" id="{38304FC0-4592-434C-8010-DC4D42A99FDB}"/>
                  </a:ext>
                </a:extLst>
              </p:cNvPr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gray">
              <a:xfrm>
                <a:off x="2930526" y="4922838"/>
                <a:ext cx="131763" cy="134938"/>
              </a:xfrm>
              <a:custGeom>
                <a:avLst/>
                <a:gdLst>
                  <a:gd name="T0" fmla="*/ 23 w 82"/>
                  <a:gd name="T1" fmla="*/ 0 h 84"/>
                  <a:gd name="T2" fmla="*/ 59 w 82"/>
                  <a:gd name="T3" fmla="*/ 30 h 84"/>
                  <a:gd name="T4" fmla="*/ 67 w 82"/>
                  <a:gd name="T5" fmla="*/ 38 h 84"/>
                  <a:gd name="T6" fmla="*/ 76 w 82"/>
                  <a:gd name="T7" fmla="*/ 51 h 84"/>
                  <a:gd name="T8" fmla="*/ 58 w 82"/>
                  <a:gd name="T9" fmla="*/ 84 h 84"/>
                  <a:gd name="T10" fmla="*/ 26 w 82"/>
                  <a:gd name="T11" fmla="*/ 83 h 84"/>
                  <a:gd name="T12" fmla="*/ 5 w 82"/>
                  <a:gd name="T13" fmla="*/ 74 h 84"/>
                  <a:gd name="T14" fmla="*/ 2 w 82"/>
                  <a:gd name="T15" fmla="*/ 48 h 84"/>
                  <a:gd name="T16" fmla="*/ 4 w 82"/>
                  <a:gd name="T17" fmla="*/ 20 h 84"/>
                  <a:gd name="T18" fmla="*/ 23 w 82"/>
                  <a:gd name="T1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2" h="84">
                    <a:moveTo>
                      <a:pt x="23" y="0"/>
                    </a:moveTo>
                    <a:cubicBezTo>
                      <a:pt x="31" y="10"/>
                      <a:pt x="48" y="23"/>
                      <a:pt x="59" y="30"/>
                    </a:cubicBezTo>
                    <a:cubicBezTo>
                      <a:pt x="64" y="36"/>
                      <a:pt x="61" y="34"/>
                      <a:pt x="67" y="38"/>
                    </a:cubicBezTo>
                    <a:cubicBezTo>
                      <a:pt x="71" y="45"/>
                      <a:pt x="72" y="44"/>
                      <a:pt x="76" y="51"/>
                    </a:cubicBezTo>
                    <a:cubicBezTo>
                      <a:pt x="80" y="77"/>
                      <a:pt x="82" y="82"/>
                      <a:pt x="58" y="84"/>
                    </a:cubicBezTo>
                    <a:cubicBezTo>
                      <a:pt x="47" y="84"/>
                      <a:pt x="37" y="84"/>
                      <a:pt x="26" y="83"/>
                    </a:cubicBezTo>
                    <a:cubicBezTo>
                      <a:pt x="19" y="82"/>
                      <a:pt x="13" y="75"/>
                      <a:pt x="5" y="74"/>
                    </a:cubicBezTo>
                    <a:cubicBezTo>
                      <a:pt x="0" y="67"/>
                      <a:pt x="2" y="57"/>
                      <a:pt x="2" y="48"/>
                    </a:cubicBezTo>
                    <a:cubicBezTo>
                      <a:pt x="2" y="39"/>
                      <a:pt x="1" y="28"/>
                      <a:pt x="4" y="20"/>
                    </a:cubicBezTo>
                    <a:cubicBezTo>
                      <a:pt x="7" y="12"/>
                      <a:pt x="20" y="4"/>
                      <a:pt x="23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9" name="Freeform 416">
                <a:extLst>
                  <a:ext uri="{FF2B5EF4-FFF2-40B4-BE49-F238E27FC236}">
                    <a16:creationId xmlns:a16="http://schemas.microsoft.com/office/drawing/2014/main" id="{7856123C-50A8-401E-980E-EFA5D2B282A1}"/>
                  </a:ext>
                </a:extLst>
              </p:cNvPr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gray">
              <a:xfrm>
                <a:off x="2116138" y="3754438"/>
                <a:ext cx="92075" cy="109538"/>
              </a:xfrm>
              <a:custGeom>
                <a:avLst/>
                <a:gdLst>
                  <a:gd name="T0" fmla="*/ 1 w 57"/>
                  <a:gd name="T1" fmla="*/ 58 h 69"/>
                  <a:gd name="T2" fmla="*/ 15 w 57"/>
                  <a:gd name="T3" fmla="*/ 68 h 69"/>
                  <a:gd name="T4" fmla="*/ 34 w 57"/>
                  <a:gd name="T5" fmla="*/ 65 h 69"/>
                  <a:gd name="T6" fmla="*/ 52 w 57"/>
                  <a:gd name="T7" fmla="*/ 49 h 69"/>
                  <a:gd name="T8" fmla="*/ 46 w 57"/>
                  <a:gd name="T9" fmla="*/ 40 h 69"/>
                  <a:gd name="T10" fmla="*/ 52 w 57"/>
                  <a:gd name="T11" fmla="*/ 20 h 69"/>
                  <a:gd name="T12" fmla="*/ 57 w 57"/>
                  <a:gd name="T13" fmla="*/ 2 h 69"/>
                  <a:gd name="T14" fmla="*/ 49 w 57"/>
                  <a:gd name="T15" fmla="*/ 7 h 69"/>
                  <a:gd name="T16" fmla="*/ 25 w 57"/>
                  <a:gd name="T17" fmla="*/ 7 h 69"/>
                  <a:gd name="T18" fmla="*/ 27 w 57"/>
                  <a:gd name="T19" fmla="*/ 22 h 69"/>
                  <a:gd name="T20" fmla="*/ 37 w 57"/>
                  <a:gd name="T21" fmla="*/ 34 h 69"/>
                  <a:gd name="T22" fmla="*/ 15 w 57"/>
                  <a:gd name="T23" fmla="*/ 35 h 69"/>
                  <a:gd name="T24" fmla="*/ 6 w 57"/>
                  <a:gd name="T25" fmla="*/ 46 h 69"/>
                  <a:gd name="T26" fmla="*/ 1 w 57"/>
                  <a:gd name="T27" fmla="*/ 5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69">
                    <a:moveTo>
                      <a:pt x="1" y="58"/>
                    </a:moveTo>
                    <a:cubicBezTo>
                      <a:pt x="2" y="62"/>
                      <a:pt x="10" y="67"/>
                      <a:pt x="15" y="68"/>
                    </a:cubicBezTo>
                    <a:cubicBezTo>
                      <a:pt x="20" y="69"/>
                      <a:pt x="28" y="68"/>
                      <a:pt x="34" y="65"/>
                    </a:cubicBezTo>
                    <a:cubicBezTo>
                      <a:pt x="40" y="62"/>
                      <a:pt x="50" y="53"/>
                      <a:pt x="52" y="49"/>
                    </a:cubicBezTo>
                    <a:cubicBezTo>
                      <a:pt x="54" y="45"/>
                      <a:pt x="46" y="45"/>
                      <a:pt x="46" y="40"/>
                    </a:cubicBezTo>
                    <a:cubicBezTo>
                      <a:pt x="46" y="35"/>
                      <a:pt x="50" y="26"/>
                      <a:pt x="52" y="20"/>
                    </a:cubicBezTo>
                    <a:cubicBezTo>
                      <a:pt x="54" y="14"/>
                      <a:pt x="57" y="4"/>
                      <a:pt x="57" y="2"/>
                    </a:cubicBezTo>
                    <a:cubicBezTo>
                      <a:pt x="57" y="0"/>
                      <a:pt x="54" y="6"/>
                      <a:pt x="49" y="7"/>
                    </a:cubicBezTo>
                    <a:cubicBezTo>
                      <a:pt x="44" y="8"/>
                      <a:pt x="29" y="5"/>
                      <a:pt x="25" y="7"/>
                    </a:cubicBezTo>
                    <a:cubicBezTo>
                      <a:pt x="21" y="9"/>
                      <a:pt x="25" y="18"/>
                      <a:pt x="27" y="22"/>
                    </a:cubicBezTo>
                    <a:cubicBezTo>
                      <a:pt x="29" y="26"/>
                      <a:pt x="39" y="32"/>
                      <a:pt x="37" y="34"/>
                    </a:cubicBezTo>
                    <a:cubicBezTo>
                      <a:pt x="35" y="36"/>
                      <a:pt x="20" y="33"/>
                      <a:pt x="15" y="35"/>
                    </a:cubicBezTo>
                    <a:cubicBezTo>
                      <a:pt x="10" y="37"/>
                      <a:pt x="8" y="42"/>
                      <a:pt x="6" y="46"/>
                    </a:cubicBezTo>
                    <a:cubicBezTo>
                      <a:pt x="4" y="50"/>
                      <a:pt x="0" y="54"/>
                      <a:pt x="1" y="5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30" name="Freeform 417">
                <a:extLst>
                  <a:ext uri="{FF2B5EF4-FFF2-40B4-BE49-F238E27FC236}">
                    <a16:creationId xmlns:a16="http://schemas.microsoft.com/office/drawing/2014/main" id="{6BAB4FD4-17AD-41D9-B6C5-2DD9CA15211B}"/>
                  </a:ext>
                </a:extLst>
              </p:cNvPr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gray">
              <a:xfrm>
                <a:off x="2193926" y="3798888"/>
                <a:ext cx="144463" cy="84138"/>
              </a:xfrm>
              <a:custGeom>
                <a:avLst/>
                <a:gdLst>
                  <a:gd name="T0" fmla="*/ 3 w 89"/>
                  <a:gd name="T1" fmla="*/ 34 h 53"/>
                  <a:gd name="T2" fmla="*/ 18 w 89"/>
                  <a:gd name="T3" fmla="*/ 42 h 53"/>
                  <a:gd name="T4" fmla="*/ 25 w 89"/>
                  <a:gd name="T5" fmla="*/ 52 h 53"/>
                  <a:gd name="T6" fmla="*/ 46 w 89"/>
                  <a:gd name="T7" fmla="*/ 39 h 53"/>
                  <a:gd name="T8" fmla="*/ 66 w 89"/>
                  <a:gd name="T9" fmla="*/ 30 h 53"/>
                  <a:gd name="T10" fmla="*/ 87 w 89"/>
                  <a:gd name="T11" fmla="*/ 28 h 53"/>
                  <a:gd name="T12" fmla="*/ 78 w 89"/>
                  <a:gd name="T13" fmla="*/ 7 h 53"/>
                  <a:gd name="T14" fmla="*/ 63 w 89"/>
                  <a:gd name="T15" fmla="*/ 7 h 53"/>
                  <a:gd name="T16" fmla="*/ 40 w 89"/>
                  <a:gd name="T17" fmla="*/ 1 h 53"/>
                  <a:gd name="T18" fmla="*/ 24 w 89"/>
                  <a:gd name="T19" fmla="*/ 12 h 53"/>
                  <a:gd name="T20" fmla="*/ 9 w 89"/>
                  <a:gd name="T21" fmla="*/ 12 h 53"/>
                  <a:gd name="T22" fmla="*/ 1 w 89"/>
                  <a:gd name="T23" fmla="*/ 22 h 53"/>
                  <a:gd name="T24" fmla="*/ 3 w 89"/>
                  <a:gd name="T25" fmla="*/ 34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" h="53">
                    <a:moveTo>
                      <a:pt x="3" y="34"/>
                    </a:moveTo>
                    <a:cubicBezTo>
                      <a:pt x="6" y="37"/>
                      <a:pt x="14" y="39"/>
                      <a:pt x="18" y="42"/>
                    </a:cubicBezTo>
                    <a:cubicBezTo>
                      <a:pt x="22" y="45"/>
                      <a:pt x="20" y="53"/>
                      <a:pt x="25" y="52"/>
                    </a:cubicBezTo>
                    <a:cubicBezTo>
                      <a:pt x="30" y="51"/>
                      <a:pt x="39" y="43"/>
                      <a:pt x="46" y="39"/>
                    </a:cubicBezTo>
                    <a:cubicBezTo>
                      <a:pt x="53" y="35"/>
                      <a:pt x="59" y="32"/>
                      <a:pt x="66" y="30"/>
                    </a:cubicBezTo>
                    <a:cubicBezTo>
                      <a:pt x="73" y="28"/>
                      <a:pt x="85" y="32"/>
                      <a:pt x="87" y="28"/>
                    </a:cubicBezTo>
                    <a:cubicBezTo>
                      <a:pt x="89" y="24"/>
                      <a:pt x="82" y="10"/>
                      <a:pt x="78" y="7"/>
                    </a:cubicBezTo>
                    <a:cubicBezTo>
                      <a:pt x="74" y="4"/>
                      <a:pt x="69" y="8"/>
                      <a:pt x="63" y="7"/>
                    </a:cubicBezTo>
                    <a:cubicBezTo>
                      <a:pt x="57" y="6"/>
                      <a:pt x="46" y="0"/>
                      <a:pt x="40" y="1"/>
                    </a:cubicBezTo>
                    <a:cubicBezTo>
                      <a:pt x="34" y="2"/>
                      <a:pt x="29" y="10"/>
                      <a:pt x="24" y="12"/>
                    </a:cubicBezTo>
                    <a:cubicBezTo>
                      <a:pt x="19" y="14"/>
                      <a:pt x="13" y="10"/>
                      <a:pt x="9" y="12"/>
                    </a:cubicBezTo>
                    <a:cubicBezTo>
                      <a:pt x="5" y="14"/>
                      <a:pt x="2" y="18"/>
                      <a:pt x="1" y="22"/>
                    </a:cubicBezTo>
                    <a:cubicBezTo>
                      <a:pt x="0" y="26"/>
                      <a:pt x="1" y="30"/>
                      <a:pt x="3" y="3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31" name="Freeform 418">
                <a:extLst>
                  <a:ext uri="{FF2B5EF4-FFF2-40B4-BE49-F238E27FC236}">
                    <a16:creationId xmlns:a16="http://schemas.microsoft.com/office/drawing/2014/main" id="{5ECE2CD9-AB1F-4CBA-A3A2-003882A71014}"/>
                  </a:ext>
                </a:extLst>
              </p:cNvPr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gray">
              <a:xfrm>
                <a:off x="2157413" y="3851275"/>
                <a:ext cx="80963" cy="53975"/>
              </a:xfrm>
              <a:custGeom>
                <a:avLst/>
                <a:gdLst>
                  <a:gd name="T0" fmla="*/ 13 w 50"/>
                  <a:gd name="T1" fmla="*/ 0 h 34"/>
                  <a:gd name="T2" fmla="*/ 1 w 50"/>
                  <a:gd name="T3" fmla="*/ 16 h 34"/>
                  <a:gd name="T4" fmla="*/ 10 w 50"/>
                  <a:gd name="T5" fmla="*/ 24 h 34"/>
                  <a:gd name="T6" fmla="*/ 32 w 50"/>
                  <a:gd name="T7" fmla="*/ 27 h 34"/>
                  <a:gd name="T8" fmla="*/ 44 w 50"/>
                  <a:gd name="T9" fmla="*/ 33 h 34"/>
                  <a:gd name="T10" fmla="*/ 49 w 50"/>
                  <a:gd name="T11" fmla="*/ 22 h 34"/>
                  <a:gd name="T12" fmla="*/ 38 w 50"/>
                  <a:gd name="T13" fmla="*/ 12 h 34"/>
                  <a:gd name="T14" fmla="*/ 31 w 50"/>
                  <a:gd name="T15" fmla="*/ 3 h 34"/>
                  <a:gd name="T16" fmla="*/ 15 w 50"/>
                  <a:gd name="T17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34">
                    <a:moveTo>
                      <a:pt x="13" y="0"/>
                    </a:moveTo>
                    <a:cubicBezTo>
                      <a:pt x="11" y="3"/>
                      <a:pt x="2" y="12"/>
                      <a:pt x="1" y="16"/>
                    </a:cubicBezTo>
                    <a:cubicBezTo>
                      <a:pt x="0" y="20"/>
                      <a:pt x="5" y="22"/>
                      <a:pt x="10" y="24"/>
                    </a:cubicBezTo>
                    <a:cubicBezTo>
                      <a:pt x="15" y="26"/>
                      <a:pt x="26" y="26"/>
                      <a:pt x="32" y="27"/>
                    </a:cubicBezTo>
                    <a:cubicBezTo>
                      <a:pt x="38" y="28"/>
                      <a:pt x="41" y="34"/>
                      <a:pt x="44" y="33"/>
                    </a:cubicBezTo>
                    <a:cubicBezTo>
                      <a:pt x="47" y="32"/>
                      <a:pt x="50" y="26"/>
                      <a:pt x="49" y="22"/>
                    </a:cubicBezTo>
                    <a:cubicBezTo>
                      <a:pt x="48" y="18"/>
                      <a:pt x="41" y="15"/>
                      <a:pt x="38" y="12"/>
                    </a:cubicBezTo>
                    <a:cubicBezTo>
                      <a:pt x="35" y="9"/>
                      <a:pt x="35" y="5"/>
                      <a:pt x="31" y="3"/>
                    </a:cubicBezTo>
                    <a:cubicBezTo>
                      <a:pt x="27" y="1"/>
                      <a:pt x="18" y="2"/>
                      <a:pt x="15" y="1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32" name="Freeform 419">
                <a:extLst>
                  <a:ext uri="{FF2B5EF4-FFF2-40B4-BE49-F238E27FC236}">
                    <a16:creationId xmlns:a16="http://schemas.microsoft.com/office/drawing/2014/main" id="{43DD4341-5562-4C6B-B94C-592A9049B204}"/>
                  </a:ext>
                </a:extLst>
              </p:cNvPr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gray">
              <a:xfrm>
                <a:off x="2228851" y="3840163"/>
                <a:ext cx="109538" cy="106363"/>
              </a:xfrm>
              <a:custGeom>
                <a:avLst/>
                <a:gdLst>
                  <a:gd name="T0" fmla="*/ 3 w 67"/>
                  <a:gd name="T1" fmla="*/ 35 h 67"/>
                  <a:gd name="T2" fmla="*/ 18 w 67"/>
                  <a:gd name="T3" fmla="*/ 50 h 67"/>
                  <a:gd name="T4" fmla="*/ 26 w 67"/>
                  <a:gd name="T5" fmla="*/ 58 h 67"/>
                  <a:gd name="T6" fmla="*/ 26 w 67"/>
                  <a:gd name="T7" fmla="*/ 55 h 67"/>
                  <a:gd name="T8" fmla="*/ 42 w 67"/>
                  <a:gd name="T9" fmla="*/ 65 h 67"/>
                  <a:gd name="T10" fmla="*/ 60 w 67"/>
                  <a:gd name="T11" fmla="*/ 59 h 67"/>
                  <a:gd name="T12" fmla="*/ 62 w 67"/>
                  <a:gd name="T13" fmla="*/ 16 h 67"/>
                  <a:gd name="T14" fmla="*/ 62 w 67"/>
                  <a:gd name="T15" fmla="*/ 1 h 67"/>
                  <a:gd name="T16" fmla="*/ 33 w 67"/>
                  <a:gd name="T17" fmla="*/ 8 h 67"/>
                  <a:gd name="T18" fmla="*/ 3 w 67"/>
                  <a:gd name="T19" fmla="*/ 3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67">
                    <a:moveTo>
                      <a:pt x="3" y="35"/>
                    </a:moveTo>
                    <a:cubicBezTo>
                      <a:pt x="0" y="42"/>
                      <a:pt x="14" y="46"/>
                      <a:pt x="18" y="50"/>
                    </a:cubicBezTo>
                    <a:cubicBezTo>
                      <a:pt x="22" y="54"/>
                      <a:pt x="25" y="57"/>
                      <a:pt x="26" y="58"/>
                    </a:cubicBezTo>
                    <a:cubicBezTo>
                      <a:pt x="27" y="59"/>
                      <a:pt x="23" y="54"/>
                      <a:pt x="26" y="55"/>
                    </a:cubicBezTo>
                    <a:cubicBezTo>
                      <a:pt x="29" y="56"/>
                      <a:pt x="36" y="64"/>
                      <a:pt x="42" y="65"/>
                    </a:cubicBezTo>
                    <a:cubicBezTo>
                      <a:pt x="48" y="66"/>
                      <a:pt x="57" y="67"/>
                      <a:pt x="60" y="59"/>
                    </a:cubicBezTo>
                    <a:cubicBezTo>
                      <a:pt x="63" y="51"/>
                      <a:pt x="62" y="26"/>
                      <a:pt x="62" y="16"/>
                    </a:cubicBezTo>
                    <a:cubicBezTo>
                      <a:pt x="62" y="6"/>
                      <a:pt x="67" y="2"/>
                      <a:pt x="62" y="1"/>
                    </a:cubicBezTo>
                    <a:cubicBezTo>
                      <a:pt x="57" y="0"/>
                      <a:pt x="43" y="3"/>
                      <a:pt x="33" y="8"/>
                    </a:cubicBezTo>
                    <a:cubicBezTo>
                      <a:pt x="23" y="13"/>
                      <a:pt x="6" y="28"/>
                      <a:pt x="3" y="3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33" name="Freeform 420">
                <a:extLst>
                  <a:ext uri="{FF2B5EF4-FFF2-40B4-BE49-F238E27FC236}">
                    <a16:creationId xmlns:a16="http://schemas.microsoft.com/office/drawing/2014/main" id="{1F98E19E-C6E1-4BE1-8EC8-43CEFBBCF461}"/>
                  </a:ext>
                </a:extLst>
              </p:cNvPr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gray">
              <a:xfrm>
                <a:off x="2297113" y="3633788"/>
                <a:ext cx="247650" cy="87313"/>
              </a:xfrm>
              <a:custGeom>
                <a:avLst/>
                <a:gdLst>
                  <a:gd name="T0" fmla="*/ 0 w 152"/>
                  <a:gd name="T1" fmla="*/ 19 h 56"/>
                  <a:gd name="T2" fmla="*/ 12 w 152"/>
                  <a:gd name="T3" fmla="*/ 9 h 56"/>
                  <a:gd name="T4" fmla="*/ 23 w 152"/>
                  <a:gd name="T5" fmla="*/ 0 h 56"/>
                  <a:gd name="T6" fmla="*/ 92 w 152"/>
                  <a:gd name="T7" fmla="*/ 4 h 56"/>
                  <a:gd name="T8" fmla="*/ 110 w 152"/>
                  <a:gd name="T9" fmla="*/ 13 h 56"/>
                  <a:gd name="T10" fmla="*/ 128 w 152"/>
                  <a:gd name="T11" fmla="*/ 21 h 56"/>
                  <a:gd name="T12" fmla="*/ 143 w 152"/>
                  <a:gd name="T13" fmla="*/ 31 h 56"/>
                  <a:gd name="T14" fmla="*/ 152 w 152"/>
                  <a:gd name="T15" fmla="*/ 43 h 56"/>
                  <a:gd name="T16" fmla="*/ 143 w 152"/>
                  <a:gd name="T17" fmla="*/ 54 h 56"/>
                  <a:gd name="T18" fmla="*/ 93 w 152"/>
                  <a:gd name="T19" fmla="*/ 45 h 56"/>
                  <a:gd name="T20" fmla="*/ 51 w 152"/>
                  <a:gd name="T21" fmla="*/ 18 h 56"/>
                  <a:gd name="T22" fmla="*/ 24 w 152"/>
                  <a:gd name="T23" fmla="*/ 28 h 56"/>
                  <a:gd name="T24" fmla="*/ 15 w 152"/>
                  <a:gd name="T25" fmla="*/ 16 h 56"/>
                  <a:gd name="T26" fmla="*/ 0 w 152"/>
                  <a:gd name="T27" fmla="*/ 1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2" h="56">
                    <a:moveTo>
                      <a:pt x="0" y="19"/>
                    </a:moveTo>
                    <a:cubicBezTo>
                      <a:pt x="5" y="16"/>
                      <a:pt x="7" y="12"/>
                      <a:pt x="12" y="9"/>
                    </a:cubicBezTo>
                    <a:cubicBezTo>
                      <a:pt x="15" y="3"/>
                      <a:pt x="16" y="1"/>
                      <a:pt x="23" y="0"/>
                    </a:cubicBezTo>
                    <a:cubicBezTo>
                      <a:pt x="57" y="1"/>
                      <a:pt x="66" y="2"/>
                      <a:pt x="92" y="4"/>
                    </a:cubicBezTo>
                    <a:cubicBezTo>
                      <a:pt x="98" y="7"/>
                      <a:pt x="104" y="9"/>
                      <a:pt x="110" y="13"/>
                    </a:cubicBezTo>
                    <a:cubicBezTo>
                      <a:pt x="115" y="20"/>
                      <a:pt x="120" y="18"/>
                      <a:pt x="128" y="21"/>
                    </a:cubicBezTo>
                    <a:cubicBezTo>
                      <a:pt x="129" y="29"/>
                      <a:pt x="135" y="29"/>
                      <a:pt x="143" y="31"/>
                    </a:cubicBezTo>
                    <a:cubicBezTo>
                      <a:pt x="148" y="35"/>
                      <a:pt x="149" y="38"/>
                      <a:pt x="152" y="43"/>
                    </a:cubicBezTo>
                    <a:cubicBezTo>
                      <a:pt x="149" y="48"/>
                      <a:pt x="148" y="51"/>
                      <a:pt x="143" y="54"/>
                    </a:cubicBezTo>
                    <a:cubicBezTo>
                      <a:pt x="113" y="52"/>
                      <a:pt x="112" y="56"/>
                      <a:pt x="93" y="45"/>
                    </a:cubicBezTo>
                    <a:cubicBezTo>
                      <a:pt x="89" y="38"/>
                      <a:pt x="61" y="20"/>
                      <a:pt x="51" y="18"/>
                    </a:cubicBezTo>
                    <a:cubicBezTo>
                      <a:pt x="27" y="20"/>
                      <a:pt x="39" y="25"/>
                      <a:pt x="24" y="28"/>
                    </a:cubicBezTo>
                    <a:cubicBezTo>
                      <a:pt x="19" y="24"/>
                      <a:pt x="17" y="22"/>
                      <a:pt x="15" y="16"/>
                    </a:cubicBezTo>
                    <a:cubicBezTo>
                      <a:pt x="11" y="18"/>
                      <a:pt x="3" y="22"/>
                      <a:pt x="0" y="1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34" name="Freeform 421">
                <a:extLst>
                  <a:ext uri="{FF2B5EF4-FFF2-40B4-BE49-F238E27FC236}">
                    <a16:creationId xmlns:a16="http://schemas.microsoft.com/office/drawing/2014/main" id="{FB334DB1-0D0E-4339-A1CD-78B5DFAACFDC}"/>
                  </a:ext>
                </a:extLst>
              </p:cNvPr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gray">
              <a:xfrm>
                <a:off x="2432051" y="3527425"/>
                <a:ext cx="195263" cy="158750"/>
              </a:xfrm>
              <a:custGeom>
                <a:avLst/>
                <a:gdLst>
                  <a:gd name="T0" fmla="*/ 3 w 121"/>
                  <a:gd name="T1" fmla="*/ 3 h 100"/>
                  <a:gd name="T2" fmla="*/ 27 w 121"/>
                  <a:gd name="T3" fmla="*/ 1 h 100"/>
                  <a:gd name="T4" fmla="*/ 34 w 121"/>
                  <a:gd name="T5" fmla="*/ 12 h 100"/>
                  <a:gd name="T6" fmla="*/ 31 w 121"/>
                  <a:gd name="T7" fmla="*/ 34 h 100"/>
                  <a:gd name="T8" fmla="*/ 40 w 121"/>
                  <a:gd name="T9" fmla="*/ 33 h 100"/>
                  <a:gd name="T10" fmla="*/ 45 w 121"/>
                  <a:gd name="T11" fmla="*/ 51 h 100"/>
                  <a:gd name="T12" fmla="*/ 63 w 121"/>
                  <a:gd name="T13" fmla="*/ 57 h 100"/>
                  <a:gd name="T14" fmla="*/ 81 w 121"/>
                  <a:gd name="T15" fmla="*/ 55 h 100"/>
                  <a:gd name="T16" fmla="*/ 76 w 121"/>
                  <a:gd name="T17" fmla="*/ 54 h 100"/>
                  <a:gd name="T18" fmla="*/ 93 w 121"/>
                  <a:gd name="T19" fmla="*/ 76 h 100"/>
                  <a:gd name="T20" fmla="*/ 115 w 121"/>
                  <a:gd name="T21" fmla="*/ 87 h 100"/>
                  <a:gd name="T22" fmla="*/ 109 w 121"/>
                  <a:gd name="T23" fmla="*/ 99 h 100"/>
                  <a:gd name="T24" fmla="*/ 85 w 121"/>
                  <a:gd name="T25" fmla="*/ 76 h 100"/>
                  <a:gd name="T26" fmla="*/ 73 w 121"/>
                  <a:gd name="T27" fmla="*/ 81 h 100"/>
                  <a:gd name="T28" fmla="*/ 42 w 121"/>
                  <a:gd name="T29" fmla="*/ 61 h 100"/>
                  <a:gd name="T30" fmla="*/ 31 w 121"/>
                  <a:gd name="T31" fmla="*/ 43 h 100"/>
                  <a:gd name="T32" fmla="*/ 21 w 121"/>
                  <a:gd name="T33" fmla="*/ 66 h 100"/>
                  <a:gd name="T34" fmla="*/ 9 w 121"/>
                  <a:gd name="T35" fmla="*/ 54 h 100"/>
                  <a:gd name="T36" fmla="*/ 16 w 121"/>
                  <a:gd name="T37" fmla="*/ 28 h 100"/>
                  <a:gd name="T38" fmla="*/ 0 w 121"/>
                  <a:gd name="T39" fmla="*/ 13 h 100"/>
                  <a:gd name="T40" fmla="*/ 3 w 121"/>
                  <a:gd name="T41" fmla="*/ 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1" h="100">
                    <a:moveTo>
                      <a:pt x="3" y="3"/>
                    </a:moveTo>
                    <a:cubicBezTo>
                      <a:pt x="12" y="2"/>
                      <a:pt x="18" y="0"/>
                      <a:pt x="27" y="1"/>
                    </a:cubicBezTo>
                    <a:cubicBezTo>
                      <a:pt x="32" y="7"/>
                      <a:pt x="37" y="4"/>
                      <a:pt x="34" y="12"/>
                    </a:cubicBezTo>
                    <a:cubicBezTo>
                      <a:pt x="32" y="23"/>
                      <a:pt x="30" y="20"/>
                      <a:pt x="31" y="34"/>
                    </a:cubicBezTo>
                    <a:cubicBezTo>
                      <a:pt x="34" y="34"/>
                      <a:pt x="37" y="33"/>
                      <a:pt x="40" y="33"/>
                    </a:cubicBezTo>
                    <a:cubicBezTo>
                      <a:pt x="54" y="33"/>
                      <a:pt x="58" y="45"/>
                      <a:pt x="45" y="51"/>
                    </a:cubicBezTo>
                    <a:cubicBezTo>
                      <a:pt x="51" y="54"/>
                      <a:pt x="57" y="55"/>
                      <a:pt x="63" y="57"/>
                    </a:cubicBezTo>
                    <a:cubicBezTo>
                      <a:pt x="69" y="56"/>
                      <a:pt x="75" y="56"/>
                      <a:pt x="81" y="55"/>
                    </a:cubicBezTo>
                    <a:cubicBezTo>
                      <a:pt x="83" y="55"/>
                      <a:pt x="77" y="52"/>
                      <a:pt x="76" y="54"/>
                    </a:cubicBezTo>
                    <a:cubicBezTo>
                      <a:pt x="71" y="63"/>
                      <a:pt x="84" y="75"/>
                      <a:pt x="93" y="76"/>
                    </a:cubicBezTo>
                    <a:cubicBezTo>
                      <a:pt x="97" y="83"/>
                      <a:pt x="107" y="83"/>
                      <a:pt x="115" y="87"/>
                    </a:cubicBezTo>
                    <a:cubicBezTo>
                      <a:pt x="121" y="95"/>
                      <a:pt x="120" y="100"/>
                      <a:pt x="109" y="99"/>
                    </a:cubicBezTo>
                    <a:cubicBezTo>
                      <a:pt x="99" y="94"/>
                      <a:pt x="95" y="82"/>
                      <a:pt x="85" y="76"/>
                    </a:cubicBezTo>
                    <a:cubicBezTo>
                      <a:pt x="76" y="79"/>
                      <a:pt x="82" y="86"/>
                      <a:pt x="73" y="81"/>
                    </a:cubicBezTo>
                    <a:cubicBezTo>
                      <a:pt x="65" y="68"/>
                      <a:pt x="56" y="63"/>
                      <a:pt x="42" y="61"/>
                    </a:cubicBezTo>
                    <a:cubicBezTo>
                      <a:pt x="38" y="55"/>
                      <a:pt x="34" y="50"/>
                      <a:pt x="31" y="43"/>
                    </a:cubicBezTo>
                    <a:cubicBezTo>
                      <a:pt x="21" y="46"/>
                      <a:pt x="23" y="55"/>
                      <a:pt x="21" y="66"/>
                    </a:cubicBezTo>
                    <a:cubicBezTo>
                      <a:pt x="18" y="61"/>
                      <a:pt x="9" y="54"/>
                      <a:pt x="9" y="54"/>
                    </a:cubicBezTo>
                    <a:cubicBezTo>
                      <a:pt x="5" y="44"/>
                      <a:pt x="8" y="34"/>
                      <a:pt x="16" y="28"/>
                    </a:cubicBezTo>
                    <a:cubicBezTo>
                      <a:pt x="15" y="14"/>
                      <a:pt x="13" y="16"/>
                      <a:pt x="0" y="13"/>
                    </a:cubicBezTo>
                    <a:cubicBezTo>
                      <a:pt x="1" y="5"/>
                      <a:pt x="0" y="8"/>
                      <a:pt x="3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35" name="Freeform 422">
                <a:extLst>
                  <a:ext uri="{FF2B5EF4-FFF2-40B4-BE49-F238E27FC236}">
                    <a16:creationId xmlns:a16="http://schemas.microsoft.com/office/drawing/2014/main" id="{E04376D5-2C3E-4014-B4B4-713160AC9108}"/>
                  </a:ext>
                </a:extLst>
              </p:cNvPr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gray">
              <a:xfrm>
                <a:off x="2454276" y="3748088"/>
                <a:ext cx="68263" cy="17463"/>
              </a:xfrm>
              <a:custGeom>
                <a:avLst/>
                <a:gdLst>
                  <a:gd name="T0" fmla="*/ 2 w 43"/>
                  <a:gd name="T1" fmla="*/ 5 h 11"/>
                  <a:gd name="T2" fmla="*/ 22 w 43"/>
                  <a:gd name="T3" fmla="*/ 2 h 11"/>
                  <a:gd name="T4" fmla="*/ 5 w 43"/>
                  <a:gd name="T5" fmla="*/ 6 h 11"/>
                  <a:gd name="T6" fmla="*/ 2 w 43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11">
                    <a:moveTo>
                      <a:pt x="2" y="5"/>
                    </a:moveTo>
                    <a:cubicBezTo>
                      <a:pt x="11" y="0"/>
                      <a:pt x="10" y="0"/>
                      <a:pt x="22" y="2"/>
                    </a:cubicBezTo>
                    <a:cubicBezTo>
                      <a:pt x="34" y="11"/>
                      <a:pt x="43" y="9"/>
                      <a:pt x="5" y="6"/>
                    </a:cubicBezTo>
                    <a:cubicBezTo>
                      <a:pt x="0" y="3"/>
                      <a:pt x="0" y="2"/>
                      <a:pt x="2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36" name="Freeform 423">
                <a:extLst>
                  <a:ext uri="{FF2B5EF4-FFF2-40B4-BE49-F238E27FC236}">
                    <a16:creationId xmlns:a16="http://schemas.microsoft.com/office/drawing/2014/main" id="{3B928084-5B9F-486A-AB63-B750D45D864F}"/>
                  </a:ext>
                </a:extLst>
              </p:cNvPr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gray">
              <a:xfrm>
                <a:off x="2605088" y="3705225"/>
                <a:ext cx="103188" cy="65088"/>
              </a:xfrm>
              <a:custGeom>
                <a:avLst/>
                <a:gdLst>
                  <a:gd name="T0" fmla="*/ 2 w 64"/>
                  <a:gd name="T1" fmla="*/ 3 h 41"/>
                  <a:gd name="T2" fmla="*/ 1 w 64"/>
                  <a:gd name="T3" fmla="*/ 18 h 41"/>
                  <a:gd name="T4" fmla="*/ 11 w 64"/>
                  <a:gd name="T5" fmla="*/ 38 h 41"/>
                  <a:gd name="T6" fmla="*/ 56 w 64"/>
                  <a:gd name="T7" fmla="*/ 36 h 41"/>
                  <a:gd name="T8" fmla="*/ 59 w 64"/>
                  <a:gd name="T9" fmla="*/ 32 h 41"/>
                  <a:gd name="T10" fmla="*/ 32 w 64"/>
                  <a:gd name="T11" fmla="*/ 5 h 41"/>
                  <a:gd name="T12" fmla="*/ 8 w 64"/>
                  <a:gd name="T13" fmla="*/ 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41">
                    <a:moveTo>
                      <a:pt x="2" y="3"/>
                    </a:moveTo>
                    <a:cubicBezTo>
                      <a:pt x="2" y="5"/>
                      <a:pt x="0" y="12"/>
                      <a:pt x="1" y="18"/>
                    </a:cubicBezTo>
                    <a:cubicBezTo>
                      <a:pt x="2" y="24"/>
                      <a:pt x="2" y="35"/>
                      <a:pt x="11" y="38"/>
                    </a:cubicBezTo>
                    <a:cubicBezTo>
                      <a:pt x="20" y="41"/>
                      <a:pt x="45" y="36"/>
                      <a:pt x="56" y="36"/>
                    </a:cubicBezTo>
                    <a:cubicBezTo>
                      <a:pt x="64" y="35"/>
                      <a:pt x="63" y="37"/>
                      <a:pt x="59" y="32"/>
                    </a:cubicBezTo>
                    <a:cubicBezTo>
                      <a:pt x="47" y="29"/>
                      <a:pt x="40" y="10"/>
                      <a:pt x="32" y="5"/>
                    </a:cubicBezTo>
                    <a:cubicBezTo>
                      <a:pt x="24" y="0"/>
                      <a:pt x="13" y="3"/>
                      <a:pt x="8" y="2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37" name="Freeform 424">
                <a:extLst>
                  <a:ext uri="{FF2B5EF4-FFF2-40B4-BE49-F238E27FC236}">
                    <a16:creationId xmlns:a16="http://schemas.microsoft.com/office/drawing/2014/main" id="{2AD28B6C-F2A4-4FD6-849A-117B31DAF1A2}"/>
                  </a:ext>
                </a:extLst>
              </p:cNvPr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gray">
              <a:xfrm>
                <a:off x="2506663" y="4613275"/>
                <a:ext cx="279400" cy="1181100"/>
              </a:xfrm>
              <a:custGeom>
                <a:avLst/>
                <a:gdLst>
                  <a:gd name="T0" fmla="*/ 80 w 172"/>
                  <a:gd name="T1" fmla="*/ 87 h 745"/>
                  <a:gd name="T2" fmla="*/ 71 w 172"/>
                  <a:gd name="T3" fmla="*/ 169 h 745"/>
                  <a:gd name="T4" fmla="*/ 65 w 172"/>
                  <a:gd name="T5" fmla="*/ 184 h 745"/>
                  <a:gd name="T6" fmla="*/ 65 w 172"/>
                  <a:gd name="T7" fmla="*/ 217 h 745"/>
                  <a:gd name="T8" fmla="*/ 53 w 172"/>
                  <a:gd name="T9" fmla="*/ 291 h 745"/>
                  <a:gd name="T10" fmla="*/ 34 w 172"/>
                  <a:gd name="T11" fmla="*/ 330 h 745"/>
                  <a:gd name="T12" fmla="*/ 40 w 172"/>
                  <a:gd name="T13" fmla="*/ 370 h 745"/>
                  <a:gd name="T14" fmla="*/ 28 w 172"/>
                  <a:gd name="T15" fmla="*/ 408 h 745"/>
                  <a:gd name="T16" fmla="*/ 8 w 172"/>
                  <a:gd name="T17" fmla="*/ 523 h 745"/>
                  <a:gd name="T18" fmla="*/ 11 w 172"/>
                  <a:gd name="T19" fmla="*/ 616 h 745"/>
                  <a:gd name="T20" fmla="*/ 28 w 172"/>
                  <a:gd name="T21" fmla="*/ 679 h 745"/>
                  <a:gd name="T22" fmla="*/ 52 w 172"/>
                  <a:gd name="T23" fmla="*/ 702 h 745"/>
                  <a:gd name="T24" fmla="*/ 89 w 172"/>
                  <a:gd name="T25" fmla="*/ 721 h 745"/>
                  <a:gd name="T26" fmla="*/ 121 w 172"/>
                  <a:gd name="T27" fmla="*/ 745 h 745"/>
                  <a:gd name="T28" fmla="*/ 151 w 172"/>
                  <a:gd name="T29" fmla="*/ 715 h 745"/>
                  <a:gd name="T30" fmla="*/ 172 w 172"/>
                  <a:gd name="T31" fmla="*/ 711 h 745"/>
                  <a:gd name="T32" fmla="*/ 124 w 172"/>
                  <a:gd name="T33" fmla="*/ 703 h 745"/>
                  <a:gd name="T34" fmla="*/ 98 w 172"/>
                  <a:gd name="T35" fmla="*/ 693 h 745"/>
                  <a:gd name="T36" fmla="*/ 71 w 172"/>
                  <a:gd name="T37" fmla="*/ 651 h 745"/>
                  <a:gd name="T38" fmla="*/ 56 w 172"/>
                  <a:gd name="T39" fmla="*/ 630 h 745"/>
                  <a:gd name="T40" fmla="*/ 43 w 172"/>
                  <a:gd name="T41" fmla="*/ 600 h 745"/>
                  <a:gd name="T42" fmla="*/ 52 w 172"/>
                  <a:gd name="T43" fmla="*/ 570 h 745"/>
                  <a:gd name="T44" fmla="*/ 58 w 172"/>
                  <a:gd name="T45" fmla="*/ 541 h 745"/>
                  <a:gd name="T46" fmla="*/ 70 w 172"/>
                  <a:gd name="T47" fmla="*/ 484 h 745"/>
                  <a:gd name="T48" fmla="*/ 67 w 172"/>
                  <a:gd name="T49" fmla="*/ 456 h 745"/>
                  <a:gd name="T50" fmla="*/ 56 w 172"/>
                  <a:gd name="T51" fmla="*/ 426 h 745"/>
                  <a:gd name="T52" fmla="*/ 62 w 172"/>
                  <a:gd name="T53" fmla="*/ 394 h 745"/>
                  <a:gd name="T54" fmla="*/ 73 w 172"/>
                  <a:gd name="T55" fmla="*/ 342 h 745"/>
                  <a:gd name="T56" fmla="*/ 88 w 172"/>
                  <a:gd name="T57" fmla="*/ 300 h 745"/>
                  <a:gd name="T58" fmla="*/ 89 w 172"/>
                  <a:gd name="T59" fmla="*/ 256 h 745"/>
                  <a:gd name="T60" fmla="*/ 91 w 172"/>
                  <a:gd name="T61" fmla="*/ 186 h 745"/>
                  <a:gd name="T62" fmla="*/ 115 w 172"/>
                  <a:gd name="T63" fmla="*/ 153 h 745"/>
                  <a:gd name="T64" fmla="*/ 116 w 172"/>
                  <a:gd name="T65" fmla="*/ 117 h 745"/>
                  <a:gd name="T66" fmla="*/ 128 w 172"/>
                  <a:gd name="T67" fmla="*/ 96 h 745"/>
                  <a:gd name="T68" fmla="*/ 128 w 172"/>
                  <a:gd name="T69" fmla="*/ 72 h 745"/>
                  <a:gd name="T70" fmla="*/ 103 w 172"/>
                  <a:gd name="T71" fmla="*/ 34 h 745"/>
                  <a:gd name="T72" fmla="*/ 97 w 172"/>
                  <a:gd name="T73" fmla="*/ 0 h 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72" h="745">
                    <a:moveTo>
                      <a:pt x="85" y="10"/>
                    </a:moveTo>
                    <a:cubicBezTo>
                      <a:pt x="84" y="40"/>
                      <a:pt x="98" y="63"/>
                      <a:pt x="80" y="87"/>
                    </a:cubicBezTo>
                    <a:cubicBezTo>
                      <a:pt x="81" y="103"/>
                      <a:pt x="83" y="134"/>
                      <a:pt x="77" y="150"/>
                    </a:cubicBezTo>
                    <a:cubicBezTo>
                      <a:pt x="76" y="156"/>
                      <a:pt x="74" y="163"/>
                      <a:pt x="71" y="169"/>
                    </a:cubicBezTo>
                    <a:cubicBezTo>
                      <a:pt x="71" y="174"/>
                      <a:pt x="73" y="183"/>
                      <a:pt x="71" y="187"/>
                    </a:cubicBezTo>
                    <a:cubicBezTo>
                      <a:pt x="70" y="189"/>
                      <a:pt x="65" y="182"/>
                      <a:pt x="65" y="184"/>
                    </a:cubicBezTo>
                    <a:cubicBezTo>
                      <a:pt x="63" y="193"/>
                      <a:pt x="65" y="202"/>
                      <a:pt x="64" y="211"/>
                    </a:cubicBezTo>
                    <a:cubicBezTo>
                      <a:pt x="64" y="213"/>
                      <a:pt x="66" y="215"/>
                      <a:pt x="65" y="217"/>
                    </a:cubicBezTo>
                    <a:cubicBezTo>
                      <a:pt x="67" y="229"/>
                      <a:pt x="77" y="253"/>
                      <a:pt x="61" y="261"/>
                    </a:cubicBezTo>
                    <a:cubicBezTo>
                      <a:pt x="56" y="270"/>
                      <a:pt x="57" y="281"/>
                      <a:pt x="53" y="291"/>
                    </a:cubicBezTo>
                    <a:cubicBezTo>
                      <a:pt x="52" y="300"/>
                      <a:pt x="48" y="315"/>
                      <a:pt x="41" y="319"/>
                    </a:cubicBezTo>
                    <a:cubicBezTo>
                      <a:pt x="40" y="325"/>
                      <a:pt x="40" y="327"/>
                      <a:pt x="34" y="330"/>
                    </a:cubicBezTo>
                    <a:cubicBezTo>
                      <a:pt x="31" y="335"/>
                      <a:pt x="40" y="346"/>
                      <a:pt x="37" y="351"/>
                    </a:cubicBezTo>
                    <a:cubicBezTo>
                      <a:pt x="35" y="362"/>
                      <a:pt x="35" y="361"/>
                      <a:pt x="40" y="370"/>
                    </a:cubicBezTo>
                    <a:cubicBezTo>
                      <a:pt x="40" y="375"/>
                      <a:pt x="45" y="375"/>
                      <a:pt x="43" y="381"/>
                    </a:cubicBezTo>
                    <a:cubicBezTo>
                      <a:pt x="41" y="387"/>
                      <a:pt x="33" y="392"/>
                      <a:pt x="28" y="408"/>
                    </a:cubicBezTo>
                    <a:cubicBezTo>
                      <a:pt x="14" y="426"/>
                      <a:pt x="29" y="458"/>
                      <a:pt x="14" y="478"/>
                    </a:cubicBezTo>
                    <a:cubicBezTo>
                      <a:pt x="11" y="493"/>
                      <a:pt x="11" y="508"/>
                      <a:pt x="8" y="523"/>
                    </a:cubicBezTo>
                    <a:cubicBezTo>
                      <a:pt x="7" y="537"/>
                      <a:pt x="8" y="552"/>
                      <a:pt x="2" y="565"/>
                    </a:cubicBezTo>
                    <a:cubicBezTo>
                      <a:pt x="3" y="584"/>
                      <a:pt x="0" y="601"/>
                      <a:pt x="11" y="616"/>
                    </a:cubicBezTo>
                    <a:cubicBezTo>
                      <a:pt x="12" y="625"/>
                      <a:pt x="8" y="646"/>
                      <a:pt x="19" y="651"/>
                    </a:cubicBezTo>
                    <a:cubicBezTo>
                      <a:pt x="26" y="661"/>
                      <a:pt x="17" y="672"/>
                      <a:pt x="28" y="679"/>
                    </a:cubicBezTo>
                    <a:cubicBezTo>
                      <a:pt x="31" y="684"/>
                      <a:pt x="34" y="688"/>
                      <a:pt x="37" y="693"/>
                    </a:cubicBezTo>
                    <a:cubicBezTo>
                      <a:pt x="40" y="698"/>
                      <a:pt x="46" y="698"/>
                      <a:pt x="52" y="702"/>
                    </a:cubicBezTo>
                    <a:cubicBezTo>
                      <a:pt x="58" y="706"/>
                      <a:pt x="70" y="712"/>
                      <a:pt x="76" y="715"/>
                    </a:cubicBezTo>
                    <a:cubicBezTo>
                      <a:pt x="81" y="717"/>
                      <a:pt x="85" y="718"/>
                      <a:pt x="89" y="721"/>
                    </a:cubicBezTo>
                    <a:cubicBezTo>
                      <a:pt x="92" y="727"/>
                      <a:pt x="98" y="732"/>
                      <a:pt x="104" y="735"/>
                    </a:cubicBezTo>
                    <a:cubicBezTo>
                      <a:pt x="107" y="742"/>
                      <a:pt x="114" y="744"/>
                      <a:pt x="121" y="745"/>
                    </a:cubicBezTo>
                    <a:cubicBezTo>
                      <a:pt x="130" y="744"/>
                      <a:pt x="135" y="745"/>
                      <a:pt x="137" y="736"/>
                    </a:cubicBezTo>
                    <a:cubicBezTo>
                      <a:pt x="124" y="719"/>
                      <a:pt x="141" y="716"/>
                      <a:pt x="151" y="715"/>
                    </a:cubicBezTo>
                    <a:cubicBezTo>
                      <a:pt x="156" y="711"/>
                      <a:pt x="163" y="713"/>
                      <a:pt x="166" y="712"/>
                    </a:cubicBezTo>
                    <a:cubicBezTo>
                      <a:pt x="168" y="711"/>
                      <a:pt x="170" y="711"/>
                      <a:pt x="172" y="711"/>
                    </a:cubicBezTo>
                    <a:cubicBezTo>
                      <a:pt x="168" y="710"/>
                      <a:pt x="150" y="706"/>
                      <a:pt x="142" y="705"/>
                    </a:cubicBezTo>
                    <a:cubicBezTo>
                      <a:pt x="134" y="704"/>
                      <a:pt x="130" y="703"/>
                      <a:pt x="124" y="703"/>
                    </a:cubicBezTo>
                    <a:cubicBezTo>
                      <a:pt x="119" y="702"/>
                      <a:pt x="111" y="705"/>
                      <a:pt x="107" y="703"/>
                    </a:cubicBezTo>
                    <a:cubicBezTo>
                      <a:pt x="103" y="701"/>
                      <a:pt x="100" y="697"/>
                      <a:pt x="98" y="693"/>
                    </a:cubicBezTo>
                    <a:cubicBezTo>
                      <a:pt x="92" y="689"/>
                      <a:pt x="96" y="688"/>
                      <a:pt x="92" y="681"/>
                    </a:cubicBezTo>
                    <a:cubicBezTo>
                      <a:pt x="88" y="674"/>
                      <a:pt x="77" y="658"/>
                      <a:pt x="71" y="651"/>
                    </a:cubicBezTo>
                    <a:cubicBezTo>
                      <a:pt x="57" y="648"/>
                      <a:pt x="61" y="650"/>
                      <a:pt x="56" y="639"/>
                    </a:cubicBezTo>
                    <a:cubicBezTo>
                      <a:pt x="53" y="634"/>
                      <a:pt x="55" y="634"/>
                      <a:pt x="56" y="630"/>
                    </a:cubicBezTo>
                    <a:cubicBezTo>
                      <a:pt x="57" y="626"/>
                      <a:pt x="63" y="617"/>
                      <a:pt x="61" y="612"/>
                    </a:cubicBezTo>
                    <a:cubicBezTo>
                      <a:pt x="57" y="605"/>
                      <a:pt x="51" y="601"/>
                      <a:pt x="43" y="600"/>
                    </a:cubicBezTo>
                    <a:cubicBezTo>
                      <a:pt x="40" y="596"/>
                      <a:pt x="40" y="593"/>
                      <a:pt x="41" y="588"/>
                    </a:cubicBezTo>
                    <a:cubicBezTo>
                      <a:pt x="42" y="583"/>
                      <a:pt x="50" y="575"/>
                      <a:pt x="52" y="570"/>
                    </a:cubicBezTo>
                    <a:cubicBezTo>
                      <a:pt x="54" y="562"/>
                      <a:pt x="51" y="560"/>
                      <a:pt x="52" y="555"/>
                    </a:cubicBezTo>
                    <a:cubicBezTo>
                      <a:pt x="53" y="550"/>
                      <a:pt x="55" y="549"/>
                      <a:pt x="58" y="541"/>
                    </a:cubicBezTo>
                    <a:cubicBezTo>
                      <a:pt x="60" y="532"/>
                      <a:pt x="66" y="513"/>
                      <a:pt x="68" y="504"/>
                    </a:cubicBezTo>
                    <a:cubicBezTo>
                      <a:pt x="70" y="495"/>
                      <a:pt x="70" y="490"/>
                      <a:pt x="70" y="484"/>
                    </a:cubicBezTo>
                    <a:cubicBezTo>
                      <a:pt x="71" y="478"/>
                      <a:pt x="70" y="472"/>
                      <a:pt x="71" y="466"/>
                    </a:cubicBezTo>
                    <a:cubicBezTo>
                      <a:pt x="63" y="456"/>
                      <a:pt x="71" y="463"/>
                      <a:pt x="67" y="456"/>
                    </a:cubicBezTo>
                    <a:cubicBezTo>
                      <a:pt x="66" y="452"/>
                      <a:pt x="60" y="447"/>
                      <a:pt x="58" y="442"/>
                    </a:cubicBezTo>
                    <a:cubicBezTo>
                      <a:pt x="56" y="437"/>
                      <a:pt x="56" y="431"/>
                      <a:pt x="56" y="426"/>
                    </a:cubicBezTo>
                    <a:cubicBezTo>
                      <a:pt x="55" y="420"/>
                      <a:pt x="55" y="416"/>
                      <a:pt x="58" y="411"/>
                    </a:cubicBezTo>
                    <a:cubicBezTo>
                      <a:pt x="58" y="406"/>
                      <a:pt x="60" y="399"/>
                      <a:pt x="62" y="394"/>
                    </a:cubicBezTo>
                    <a:cubicBezTo>
                      <a:pt x="64" y="389"/>
                      <a:pt x="66" y="387"/>
                      <a:pt x="68" y="378"/>
                    </a:cubicBezTo>
                    <a:cubicBezTo>
                      <a:pt x="69" y="365"/>
                      <a:pt x="71" y="354"/>
                      <a:pt x="73" y="342"/>
                    </a:cubicBezTo>
                    <a:cubicBezTo>
                      <a:pt x="75" y="332"/>
                      <a:pt x="73" y="325"/>
                      <a:pt x="76" y="318"/>
                    </a:cubicBezTo>
                    <a:cubicBezTo>
                      <a:pt x="78" y="311"/>
                      <a:pt x="85" y="307"/>
                      <a:pt x="88" y="300"/>
                    </a:cubicBezTo>
                    <a:cubicBezTo>
                      <a:pt x="90" y="291"/>
                      <a:pt x="95" y="281"/>
                      <a:pt x="95" y="274"/>
                    </a:cubicBezTo>
                    <a:cubicBezTo>
                      <a:pt x="95" y="267"/>
                      <a:pt x="90" y="265"/>
                      <a:pt x="89" y="256"/>
                    </a:cubicBezTo>
                    <a:cubicBezTo>
                      <a:pt x="88" y="247"/>
                      <a:pt x="86" y="234"/>
                      <a:pt x="86" y="222"/>
                    </a:cubicBezTo>
                    <a:cubicBezTo>
                      <a:pt x="87" y="211"/>
                      <a:pt x="86" y="197"/>
                      <a:pt x="91" y="186"/>
                    </a:cubicBezTo>
                    <a:cubicBezTo>
                      <a:pt x="93" y="177"/>
                      <a:pt x="99" y="170"/>
                      <a:pt x="106" y="166"/>
                    </a:cubicBezTo>
                    <a:cubicBezTo>
                      <a:pt x="109" y="162"/>
                      <a:pt x="112" y="157"/>
                      <a:pt x="115" y="153"/>
                    </a:cubicBezTo>
                    <a:cubicBezTo>
                      <a:pt x="116" y="148"/>
                      <a:pt x="113" y="141"/>
                      <a:pt x="113" y="135"/>
                    </a:cubicBezTo>
                    <a:cubicBezTo>
                      <a:pt x="113" y="129"/>
                      <a:pt x="114" y="123"/>
                      <a:pt x="116" y="117"/>
                    </a:cubicBezTo>
                    <a:cubicBezTo>
                      <a:pt x="118" y="111"/>
                      <a:pt x="122" y="103"/>
                      <a:pt x="124" y="100"/>
                    </a:cubicBezTo>
                    <a:cubicBezTo>
                      <a:pt x="125" y="99"/>
                      <a:pt x="127" y="98"/>
                      <a:pt x="128" y="96"/>
                    </a:cubicBezTo>
                    <a:cubicBezTo>
                      <a:pt x="133" y="79"/>
                      <a:pt x="148" y="64"/>
                      <a:pt x="136" y="73"/>
                    </a:cubicBezTo>
                    <a:cubicBezTo>
                      <a:pt x="130" y="69"/>
                      <a:pt x="131" y="78"/>
                      <a:pt x="128" y="72"/>
                    </a:cubicBezTo>
                    <a:cubicBezTo>
                      <a:pt x="127" y="66"/>
                      <a:pt x="114" y="67"/>
                      <a:pt x="110" y="61"/>
                    </a:cubicBezTo>
                    <a:cubicBezTo>
                      <a:pt x="106" y="55"/>
                      <a:pt x="104" y="42"/>
                      <a:pt x="103" y="34"/>
                    </a:cubicBezTo>
                    <a:cubicBezTo>
                      <a:pt x="102" y="26"/>
                      <a:pt x="107" y="21"/>
                      <a:pt x="106" y="15"/>
                    </a:cubicBezTo>
                    <a:cubicBezTo>
                      <a:pt x="103" y="8"/>
                      <a:pt x="105" y="1"/>
                      <a:pt x="97" y="0"/>
                    </a:cubicBezTo>
                    <a:cubicBezTo>
                      <a:pt x="90" y="3"/>
                      <a:pt x="81" y="8"/>
                      <a:pt x="85" y="1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grpSp>
            <p:nvGrpSpPr>
              <p:cNvPr id="438" name="Group 426">
                <a:extLst>
                  <a:ext uri="{FF2B5EF4-FFF2-40B4-BE49-F238E27FC236}">
                    <a16:creationId xmlns:a16="http://schemas.microsoft.com/office/drawing/2014/main" id="{8D06D8FB-5B50-429F-8AE2-787473757C53}"/>
                  </a:ext>
                </a:extLst>
              </p:cNvPr>
              <p:cNvGrpSpPr>
                <a:grpSpLocks/>
              </p:cNvGrpSpPr>
              <p:nvPr>
                <p:custDataLst>
                  <p:tags r:id="rId195"/>
                </p:custDataLst>
              </p:nvPr>
            </p:nvGrpSpPr>
            <p:grpSpPr bwMode="auto">
              <a:xfrm>
                <a:off x="2805035" y="3762375"/>
                <a:ext cx="107950" cy="174625"/>
                <a:chOff x="4714" y="2568"/>
                <a:chExt cx="67" cy="110"/>
              </a:xfrm>
              <a:grpFill/>
            </p:grpSpPr>
            <p:sp>
              <p:nvSpPr>
                <p:cNvPr id="457" name="Freeform 427">
                  <a:extLst>
                    <a:ext uri="{FF2B5EF4-FFF2-40B4-BE49-F238E27FC236}">
                      <a16:creationId xmlns:a16="http://schemas.microsoft.com/office/drawing/2014/main" id="{4B6D4BEE-31EB-4223-9F5A-62B466E9E21F}"/>
                    </a:ext>
                  </a:extLst>
                </p:cNvPr>
                <p:cNvSpPr>
                  <a:spLocks/>
                </p:cNvSpPr>
                <p:nvPr>
                  <p:custDataLst>
                    <p:tags r:id="rId210"/>
                  </p:custDataLst>
                </p:nvPr>
              </p:nvSpPr>
              <p:spPr bwMode="gray">
                <a:xfrm>
                  <a:off x="4751" y="2668"/>
                  <a:ext cx="17" cy="10"/>
                </a:xfrm>
                <a:custGeom>
                  <a:avLst/>
                  <a:gdLst>
                    <a:gd name="T0" fmla="*/ 0 w 17"/>
                    <a:gd name="T1" fmla="*/ 1 h 10"/>
                    <a:gd name="T2" fmla="*/ 9 w 17"/>
                    <a:gd name="T3" fmla="*/ 2 h 10"/>
                    <a:gd name="T4" fmla="*/ 0 w 17"/>
                    <a:gd name="T5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7" h="10">
                      <a:moveTo>
                        <a:pt x="0" y="1"/>
                      </a:moveTo>
                      <a:cubicBezTo>
                        <a:pt x="3" y="1"/>
                        <a:pt x="7" y="0"/>
                        <a:pt x="9" y="2"/>
                      </a:cubicBezTo>
                      <a:cubicBezTo>
                        <a:pt x="17" y="8"/>
                        <a:pt x="4" y="10"/>
                        <a:pt x="0" y="1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58" name="Freeform 428">
                  <a:extLst>
                    <a:ext uri="{FF2B5EF4-FFF2-40B4-BE49-F238E27FC236}">
                      <a16:creationId xmlns:a16="http://schemas.microsoft.com/office/drawing/2014/main" id="{D4A8D2E7-3FDB-4A35-A1B8-16023A01A687}"/>
                    </a:ext>
                  </a:extLst>
                </p:cNvPr>
                <p:cNvSpPr>
                  <a:spLocks/>
                </p:cNvSpPr>
                <p:nvPr>
                  <p:custDataLst>
                    <p:tags r:id="rId211"/>
                  </p:custDataLst>
                </p:nvPr>
              </p:nvSpPr>
              <p:spPr bwMode="gray">
                <a:xfrm>
                  <a:off x="4765" y="2640"/>
                  <a:ext cx="16" cy="6"/>
                </a:xfrm>
                <a:custGeom>
                  <a:avLst/>
                  <a:gdLst>
                    <a:gd name="T0" fmla="*/ 4 w 16"/>
                    <a:gd name="T1" fmla="*/ 0 h 6"/>
                    <a:gd name="T2" fmla="*/ 13 w 16"/>
                    <a:gd name="T3" fmla="*/ 2 h 6"/>
                    <a:gd name="T4" fmla="*/ 1 w 16"/>
                    <a:gd name="T5" fmla="*/ 3 h 6"/>
                    <a:gd name="T6" fmla="*/ 4 w 16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6">
                      <a:moveTo>
                        <a:pt x="4" y="0"/>
                      </a:moveTo>
                      <a:cubicBezTo>
                        <a:pt x="7" y="1"/>
                        <a:pt x="11" y="0"/>
                        <a:pt x="13" y="2"/>
                      </a:cubicBezTo>
                      <a:cubicBezTo>
                        <a:pt x="16" y="5"/>
                        <a:pt x="4" y="6"/>
                        <a:pt x="1" y="3"/>
                      </a:cubicBezTo>
                      <a:cubicBezTo>
                        <a:pt x="0" y="2"/>
                        <a:pt x="3" y="1"/>
                        <a:pt x="4" y="0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59" name="Freeform 429">
                  <a:extLst>
                    <a:ext uri="{FF2B5EF4-FFF2-40B4-BE49-F238E27FC236}">
                      <a16:creationId xmlns:a16="http://schemas.microsoft.com/office/drawing/2014/main" id="{154F832A-D080-4117-8BA5-CBFA8FB8A652}"/>
                    </a:ext>
                  </a:extLst>
                </p:cNvPr>
                <p:cNvSpPr>
                  <a:spLocks/>
                </p:cNvSpPr>
                <p:nvPr>
                  <p:custDataLst>
                    <p:tags r:id="rId212"/>
                  </p:custDataLst>
                </p:nvPr>
              </p:nvSpPr>
              <p:spPr bwMode="gray">
                <a:xfrm>
                  <a:off x="4742" y="2645"/>
                  <a:ext cx="12" cy="7"/>
                </a:xfrm>
                <a:custGeom>
                  <a:avLst/>
                  <a:gdLst>
                    <a:gd name="T0" fmla="*/ 6 w 12"/>
                    <a:gd name="T1" fmla="*/ 3 h 7"/>
                    <a:gd name="T2" fmla="*/ 2 w 12"/>
                    <a:gd name="T3" fmla="*/ 6 h 7"/>
                    <a:gd name="T4" fmla="*/ 11 w 12"/>
                    <a:gd name="T5" fmla="*/ 4 h 7"/>
                    <a:gd name="T6" fmla="*/ 8 w 12"/>
                    <a:gd name="T7" fmla="*/ 0 h 7"/>
                    <a:gd name="T8" fmla="*/ 6 w 12"/>
                    <a:gd name="T9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7">
                      <a:moveTo>
                        <a:pt x="6" y="3"/>
                      </a:moveTo>
                      <a:cubicBezTo>
                        <a:pt x="5" y="4"/>
                        <a:pt x="0" y="6"/>
                        <a:pt x="2" y="6"/>
                      </a:cubicBezTo>
                      <a:cubicBezTo>
                        <a:pt x="5" y="7"/>
                        <a:pt x="9" y="6"/>
                        <a:pt x="11" y="4"/>
                      </a:cubicBezTo>
                      <a:cubicBezTo>
                        <a:pt x="12" y="3"/>
                        <a:pt x="10" y="0"/>
                        <a:pt x="8" y="0"/>
                      </a:cubicBezTo>
                      <a:cubicBezTo>
                        <a:pt x="7" y="0"/>
                        <a:pt x="7" y="2"/>
                        <a:pt x="6" y="3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60" name="Freeform 430">
                  <a:extLst>
                    <a:ext uri="{FF2B5EF4-FFF2-40B4-BE49-F238E27FC236}">
                      <a16:creationId xmlns:a16="http://schemas.microsoft.com/office/drawing/2014/main" id="{EAD2EE4C-FD1D-451A-9672-9A72D61C2A58}"/>
                    </a:ext>
                  </a:extLst>
                </p:cNvPr>
                <p:cNvSpPr>
                  <a:spLocks/>
                </p:cNvSpPr>
                <p:nvPr>
                  <p:custDataLst>
                    <p:tags r:id="rId213"/>
                  </p:custDataLst>
                </p:nvPr>
              </p:nvSpPr>
              <p:spPr bwMode="gray">
                <a:xfrm>
                  <a:off x="4733" y="2652"/>
                  <a:ext cx="13" cy="14"/>
                </a:xfrm>
                <a:custGeom>
                  <a:avLst/>
                  <a:gdLst>
                    <a:gd name="T0" fmla="*/ 5 w 13"/>
                    <a:gd name="T1" fmla="*/ 6 h 14"/>
                    <a:gd name="T2" fmla="*/ 9 w 13"/>
                    <a:gd name="T3" fmla="*/ 14 h 14"/>
                    <a:gd name="T4" fmla="*/ 5 w 13"/>
                    <a:gd name="T5" fmla="*/ 6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4">
                      <a:moveTo>
                        <a:pt x="5" y="6"/>
                      </a:moveTo>
                      <a:cubicBezTo>
                        <a:pt x="13" y="0"/>
                        <a:pt x="11" y="9"/>
                        <a:pt x="9" y="14"/>
                      </a:cubicBezTo>
                      <a:cubicBezTo>
                        <a:pt x="0" y="11"/>
                        <a:pt x="1" y="14"/>
                        <a:pt x="5" y="6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61" name="Freeform 431">
                  <a:extLst>
                    <a:ext uri="{FF2B5EF4-FFF2-40B4-BE49-F238E27FC236}">
                      <a16:creationId xmlns:a16="http://schemas.microsoft.com/office/drawing/2014/main" id="{C087B697-EB88-4C24-B860-7E92F898E97E}"/>
                    </a:ext>
                  </a:extLst>
                </p:cNvPr>
                <p:cNvSpPr>
                  <a:spLocks/>
                </p:cNvSpPr>
                <p:nvPr>
                  <p:custDataLst>
                    <p:tags r:id="rId214"/>
                  </p:custDataLst>
                </p:nvPr>
              </p:nvSpPr>
              <p:spPr bwMode="gray">
                <a:xfrm>
                  <a:off x="4714" y="2568"/>
                  <a:ext cx="33" cy="25"/>
                </a:xfrm>
                <a:custGeom>
                  <a:avLst/>
                  <a:gdLst>
                    <a:gd name="T0" fmla="*/ 3 w 33"/>
                    <a:gd name="T1" fmla="*/ 2 h 25"/>
                    <a:gd name="T2" fmla="*/ 15 w 33"/>
                    <a:gd name="T3" fmla="*/ 3 h 25"/>
                    <a:gd name="T4" fmla="*/ 21 w 33"/>
                    <a:gd name="T5" fmla="*/ 12 h 25"/>
                    <a:gd name="T6" fmla="*/ 33 w 33"/>
                    <a:gd name="T7" fmla="*/ 5 h 25"/>
                    <a:gd name="T8" fmla="*/ 21 w 33"/>
                    <a:gd name="T9" fmla="*/ 21 h 25"/>
                    <a:gd name="T10" fmla="*/ 7 w 33"/>
                    <a:gd name="T11" fmla="*/ 15 h 25"/>
                    <a:gd name="T12" fmla="*/ 3 w 33"/>
                    <a:gd name="T13" fmla="*/ 2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3" h="25">
                      <a:moveTo>
                        <a:pt x="3" y="2"/>
                      </a:moveTo>
                      <a:cubicBezTo>
                        <a:pt x="7" y="2"/>
                        <a:pt x="12" y="0"/>
                        <a:pt x="15" y="3"/>
                      </a:cubicBezTo>
                      <a:cubicBezTo>
                        <a:pt x="25" y="12"/>
                        <a:pt x="8" y="17"/>
                        <a:pt x="21" y="12"/>
                      </a:cubicBezTo>
                      <a:cubicBezTo>
                        <a:pt x="22" y="3"/>
                        <a:pt x="25" y="2"/>
                        <a:pt x="33" y="5"/>
                      </a:cubicBezTo>
                      <a:cubicBezTo>
                        <a:pt x="29" y="25"/>
                        <a:pt x="24" y="6"/>
                        <a:pt x="21" y="21"/>
                      </a:cubicBezTo>
                      <a:cubicBezTo>
                        <a:pt x="15" y="20"/>
                        <a:pt x="12" y="17"/>
                        <a:pt x="7" y="15"/>
                      </a:cubicBezTo>
                      <a:cubicBezTo>
                        <a:pt x="2" y="10"/>
                        <a:pt x="0" y="8"/>
                        <a:pt x="3" y="2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62" name="Freeform 432">
                  <a:extLst>
                    <a:ext uri="{FF2B5EF4-FFF2-40B4-BE49-F238E27FC236}">
                      <a16:creationId xmlns:a16="http://schemas.microsoft.com/office/drawing/2014/main" id="{99D8D83A-5C60-4874-AD30-68865D3FBB4E}"/>
                    </a:ext>
                  </a:extLst>
                </p:cNvPr>
                <p:cNvSpPr>
                  <a:spLocks/>
                </p:cNvSpPr>
                <p:nvPr>
                  <p:custDataLst>
                    <p:tags r:id="rId215"/>
                  </p:custDataLst>
                </p:nvPr>
              </p:nvSpPr>
              <p:spPr bwMode="gray">
                <a:xfrm>
                  <a:off x="4745" y="2589"/>
                  <a:ext cx="20" cy="48"/>
                </a:xfrm>
                <a:custGeom>
                  <a:avLst/>
                  <a:gdLst>
                    <a:gd name="T0" fmla="*/ 6 w 20"/>
                    <a:gd name="T1" fmla="*/ 0 h 48"/>
                    <a:gd name="T2" fmla="*/ 5 w 20"/>
                    <a:gd name="T3" fmla="*/ 12 h 48"/>
                    <a:gd name="T4" fmla="*/ 9 w 20"/>
                    <a:gd name="T5" fmla="*/ 48 h 48"/>
                    <a:gd name="T6" fmla="*/ 12 w 20"/>
                    <a:gd name="T7" fmla="*/ 32 h 48"/>
                    <a:gd name="T8" fmla="*/ 6 w 20"/>
                    <a:gd name="T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48">
                      <a:moveTo>
                        <a:pt x="6" y="0"/>
                      </a:moveTo>
                      <a:cubicBezTo>
                        <a:pt x="0" y="3"/>
                        <a:pt x="2" y="6"/>
                        <a:pt x="5" y="12"/>
                      </a:cubicBezTo>
                      <a:cubicBezTo>
                        <a:pt x="7" y="26"/>
                        <a:pt x="8" y="33"/>
                        <a:pt x="9" y="48"/>
                      </a:cubicBezTo>
                      <a:cubicBezTo>
                        <a:pt x="20" y="46"/>
                        <a:pt x="17" y="39"/>
                        <a:pt x="12" y="32"/>
                      </a:cubicBezTo>
                      <a:cubicBezTo>
                        <a:pt x="14" y="12"/>
                        <a:pt x="18" y="12"/>
                        <a:pt x="6" y="0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</p:grpSp>
          <p:sp>
            <p:nvSpPr>
              <p:cNvPr id="439" name="Freeform 433">
                <a:extLst>
                  <a:ext uri="{FF2B5EF4-FFF2-40B4-BE49-F238E27FC236}">
                    <a16:creationId xmlns:a16="http://schemas.microsoft.com/office/drawing/2014/main" id="{4B09D3C6-66E8-466E-B867-F71550213DAB}"/>
                  </a:ext>
                </a:extLst>
              </p:cNvPr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gray">
              <a:xfrm>
                <a:off x="1519238" y="3368675"/>
                <a:ext cx="730250" cy="466725"/>
              </a:xfrm>
              <a:custGeom>
                <a:avLst/>
                <a:gdLst>
                  <a:gd name="T0" fmla="*/ 9 w 451"/>
                  <a:gd name="T1" fmla="*/ 30 h 295"/>
                  <a:gd name="T2" fmla="*/ 44 w 451"/>
                  <a:gd name="T3" fmla="*/ 74 h 295"/>
                  <a:gd name="T4" fmla="*/ 65 w 451"/>
                  <a:gd name="T5" fmla="*/ 116 h 295"/>
                  <a:gd name="T6" fmla="*/ 81 w 451"/>
                  <a:gd name="T7" fmla="*/ 149 h 295"/>
                  <a:gd name="T8" fmla="*/ 105 w 451"/>
                  <a:gd name="T9" fmla="*/ 170 h 295"/>
                  <a:gd name="T10" fmla="*/ 95 w 451"/>
                  <a:gd name="T11" fmla="*/ 129 h 295"/>
                  <a:gd name="T12" fmla="*/ 66 w 451"/>
                  <a:gd name="T13" fmla="*/ 83 h 295"/>
                  <a:gd name="T14" fmla="*/ 44 w 451"/>
                  <a:gd name="T15" fmla="*/ 51 h 295"/>
                  <a:gd name="T16" fmla="*/ 35 w 451"/>
                  <a:gd name="T17" fmla="*/ 20 h 295"/>
                  <a:gd name="T18" fmla="*/ 65 w 451"/>
                  <a:gd name="T19" fmla="*/ 45 h 295"/>
                  <a:gd name="T20" fmla="*/ 120 w 451"/>
                  <a:gd name="T21" fmla="*/ 116 h 295"/>
                  <a:gd name="T22" fmla="*/ 152 w 451"/>
                  <a:gd name="T23" fmla="*/ 156 h 295"/>
                  <a:gd name="T24" fmla="*/ 171 w 451"/>
                  <a:gd name="T25" fmla="*/ 213 h 295"/>
                  <a:gd name="T26" fmla="*/ 201 w 451"/>
                  <a:gd name="T27" fmla="*/ 237 h 295"/>
                  <a:gd name="T28" fmla="*/ 273 w 451"/>
                  <a:gd name="T29" fmla="*/ 276 h 295"/>
                  <a:gd name="T30" fmla="*/ 327 w 451"/>
                  <a:gd name="T31" fmla="*/ 279 h 295"/>
                  <a:gd name="T32" fmla="*/ 371 w 451"/>
                  <a:gd name="T33" fmla="*/ 294 h 295"/>
                  <a:gd name="T34" fmla="*/ 398 w 451"/>
                  <a:gd name="T35" fmla="*/ 279 h 295"/>
                  <a:gd name="T36" fmla="*/ 387 w 451"/>
                  <a:gd name="T37" fmla="*/ 257 h 295"/>
                  <a:gd name="T38" fmla="*/ 413 w 451"/>
                  <a:gd name="T39" fmla="*/ 251 h 295"/>
                  <a:gd name="T40" fmla="*/ 450 w 451"/>
                  <a:gd name="T41" fmla="*/ 195 h 295"/>
                  <a:gd name="T42" fmla="*/ 411 w 451"/>
                  <a:gd name="T43" fmla="*/ 198 h 295"/>
                  <a:gd name="T44" fmla="*/ 396 w 451"/>
                  <a:gd name="T45" fmla="*/ 221 h 295"/>
                  <a:gd name="T46" fmla="*/ 348 w 451"/>
                  <a:gd name="T47" fmla="*/ 242 h 295"/>
                  <a:gd name="T48" fmla="*/ 315 w 451"/>
                  <a:gd name="T49" fmla="*/ 233 h 295"/>
                  <a:gd name="T50" fmla="*/ 285 w 451"/>
                  <a:gd name="T51" fmla="*/ 167 h 295"/>
                  <a:gd name="T52" fmla="*/ 272 w 451"/>
                  <a:gd name="T53" fmla="*/ 117 h 295"/>
                  <a:gd name="T54" fmla="*/ 249 w 451"/>
                  <a:gd name="T55" fmla="*/ 74 h 295"/>
                  <a:gd name="T56" fmla="*/ 212 w 451"/>
                  <a:gd name="T57" fmla="*/ 65 h 295"/>
                  <a:gd name="T58" fmla="*/ 147 w 451"/>
                  <a:gd name="T59" fmla="*/ 18 h 295"/>
                  <a:gd name="T60" fmla="*/ 116 w 451"/>
                  <a:gd name="T61" fmla="*/ 30 h 295"/>
                  <a:gd name="T62" fmla="*/ 63 w 451"/>
                  <a:gd name="T63" fmla="*/ 21 h 295"/>
                  <a:gd name="T64" fmla="*/ 5 w 451"/>
                  <a:gd name="T65" fmla="*/ 9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1" h="295">
                    <a:moveTo>
                      <a:pt x="5" y="9"/>
                    </a:moveTo>
                    <a:cubicBezTo>
                      <a:pt x="0" y="13"/>
                      <a:pt x="5" y="22"/>
                      <a:pt x="9" y="30"/>
                    </a:cubicBezTo>
                    <a:cubicBezTo>
                      <a:pt x="13" y="38"/>
                      <a:pt x="21" y="50"/>
                      <a:pt x="27" y="57"/>
                    </a:cubicBezTo>
                    <a:cubicBezTo>
                      <a:pt x="33" y="64"/>
                      <a:pt x="41" y="68"/>
                      <a:pt x="44" y="74"/>
                    </a:cubicBezTo>
                    <a:cubicBezTo>
                      <a:pt x="47" y="80"/>
                      <a:pt x="41" y="88"/>
                      <a:pt x="44" y="95"/>
                    </a:cubicBezTo>
                    <a:cubicBezTo>
                      <a:pt x="47" y="102"/>
                      <a:pt x="60" y="110"/>
                      <a:pt x="65" y="116"/>
                    </a:cubicBezTo>
                    <a:cubicBezTo>
                      <a:pt x="70" y="122"/>
                      <a:pt x="72" y="129"/>
                      <a:pt x="75" y="134"/>
                    </a:cubicBezTo>
                    <a:cubicBezTo>
                      <a:pt x="78" y="139"/>
                      <a:pt x="77" y="146"/>
                      <a:pt x="81" y="149"/>
                    </a:cubicBezTo>
                    <a:cubicBezTo>
                      <a:pt x="85" y="152"/>
                      <a:pt x="97" y="150"/>
                      <a:pt x="101" y="153"/>
                    </a:cubicBezTo>
                    <a:cubicBezTo>
                      <a:pt x="105" y="156"/>
                      <a:pt x="103" y="169"/>
                      <a:pt x="105" y="170"/>
                    </a:cubicBezTo>
                    <a:cubicBezTo>
                      <a:pt x="107" y="171"/>
                      <a:pt x="115" y="166"/>
                      <a:pt x="113" y="159"/>
                    </a:cubicBezTo>
                    <a:cubicBezTo>
                      <a:pt x="111" y="152"/>
                      <a:pt x="101" y="138"/>
                      <a:pt x="95" y="129"/>
                    </a:cubicBezTo>
                    <a:cubicBezTo>
                      <a:pt x="89" y="120"/>
                      <a:pt x="82" y="110"/>
                      <a:pt x="77" y="102"/>
                    </a:cubicBezTo>
                    <a:cubicBezTo>
                      <a:pt x="72" y="94"/>
                      <a:pt x="70" y="90"/>
                      <a:pt x="66" y="83"/>
                    </a:cubicBezTo>
                    <a:cubicBezTo>
                      <a:pt x="62" y="76"/>
                      <a:pt x="57" y="67"/>
                      <a:pt x="53" y="62"/>
                    </a:cubicBezTo>
                    <a:cubicBezTo>
                      <a:pt x="49" y="57"/>
                      <a:pt x="47" y="56"/>
                      <a:pt x="44" y="51"/>
                    </a:cubicBezTo>
                    <a:cubicBezTo>
                      <a:pt x="41" y="46"/>
                      <a:pt x="36" y="38"/>
                      <a:pt x="35" y="33"/>
                    </a:cubicBezTo>
                    <a:cubicBezTo>
                      <a:pt x="34" y="28"/>
                      <a:pt x="31" y="21"/>
                      <a:pt x="35" y="20"/>
                    </a:cubicBezTo>
                    <a:cubicBezTo>
                      <a:pt x="39" y="19"/>
                      <a:pt x="54" y="25"/>
                      <a:pt x="59" y="29"/>
                    </a:cubicBezTo>
                    <a:cubicBezTo>
                      <a:pt x="64" y="33"/>
                      <a:pt x="61" y="37"/>
                      <a:pt x="65" y="45"/>
                    </a:cubicBezTo>
                    <a:cubicBezTo>
                      <a:pt x="69" y="53"/>
                      <a:pt x="75" y="68"/>
                      <a:pt x="84" y="80"/>
                    </a:cubicBezTo>
                    <a:cubicBezTo>
                      <a:pt x="93" y="92"/>
                      <a:pt x="114" y="108"/>
                      <a:pt x="120" y="116"/>
                    </a:cubicBezTo>
                    <a:cubicBezTo>
                      <a:pt x="126" y="124"/>
                      <a:pt x="114" y="122"/>
                      <a:pt x="119" y="129"/>
                    </a:cubicBezTo>
                    <a:cubicBezTo>
                      <a:pt x="124" y="136"/>
                      <a:pt x="142" y="145"/>
                      <a:pt x="152" y="156"/>
                    </a:cubicBezTo>
                    <a:cubicBezTo>
                      <a:pt x="162" y="167"/>
                      <a:pt x="174" y="189"/>
                      <a:pt x="177" y="198"/>
                    </a:cubicBezTo>
                    <a:cubicBezTo>
                      <a:pt x="180" y="207"/>
                      <a:pt x="170" y="207"/>
                      <a:pt x="171" y="213"/>
                    </a:cubicBezTo>
                    <a:cubicBezTo>
                      <a:pt x="172" y="219"/>
                      <a:pt x="181" y="233"/>
                      <a:pt x="186" y="237"/>
                    </a:cubicBezTo>
                    <a:cubicBezTo>
                      <a:pt x="191" y="241"/>
                      <a:pt x="194" y="235"/>
                      <a:pt x="201" y="237"/>
                    </a:cubicBezTo>
                    <a:cubicBezTo>
                      <a:pt x="208" y="239"/>
                      <a:pt x="216" y="246"/>
                      <a:pt x="228" y="252"/>
                    </a:cubicBezTo>
                    <a:cubicBezTo>
                      <a:pt x="240" y="258"/>
                      <a:pt x="260" y="271"/>
                      <a:pt x="273" y="276"/>
                    </a:cubicBezTo>
                    <a:cubicBezTo>
                      <a:pt x="286" y="281"/>
                      <a:pt x="296" y="281"/>
                      <a:pt x="305" y="281"/>
                    </a:cubicBezTo>
                    <a:cubicBezTo>
                      <a:pt x="314" y="281"/>
                      <a:pt x="320" y="279"/>
                      <a:pt x="327" y="279"/>
                    </a:cubicBezTo>
                    <a:cubicBezTo>
                      <a:pt x="334" y="279"/>
                      <a:pt x="343" y="279"/>
                      <a:pt x="350" y="282"/>
                    </a:cubicBezTo>
                    <a:cubicBezTo>
                      <a:pt x="357" y="285"/>
                      <a:pt x="366" y="295"/>
                      <a:pt x="371" y="294"/>
                    </a:cubicBezTo>
                    <a:cubicBezTo>
                      <a:pt x="376" y="293"/>
                      <a:pt x="376" y="281"/>
                      <a:pt x="380" y="279"/>
                    </a:cubicBezTo>
                    <a:cubicBezTo>
                      <a:pt x="384" y="277"/>
                      <a:pt x="393" y="279"/>
                      <a:pt x="398" y="279"/>
                    </a:cubicBezTo>
                    <a:cubicBezTo>
                      <a:pt x="403" y="279"/>
                      <a:pt x="410" y="279"/>
                      <a:pt x="408" y="276"/>
                    </a:cubicBezTo>
                    <a:cubicBezTo>
                      <a:pt x="406" y="273"/>
                      <a:pt x="389" y="261"/>
                      <a:pt x="387" y="257"/>
                    </a:cubicBezTo>
                    <a:cubicBezTo>
                      <a:pt x="385" y="253"/>
                      <a:pt x="391" y="253"/>
                      <a:pt x="395" y="252"/>
                    </a:cubicBezTo>
                    <a:cubicBezTo>
                      <a:pt x="399" y="251"/>
                      <a:pt x="407" y="252"/>
                      <a:pt x="413" y="251"/>
                    </a:cubicBezTo>
                    <a:cubicBezTo>
                      <a:pt x="419" y="250"/>
                      <a:pt x="425" y="252"/>
                      <a:pt x="431" y="243"/>
                    </a:cubicBezTo>
                    <a:cubicBezTo>
                      <a:pt x="437" y="234"/>
                      <a:pt x="451" y="204"/>
                      <a:pt x="450" y="195"/>
                    </a:cubicBezTo>
                    <a:cubicBezTo>
                      <a:pt x="449" y="186"/>
                      <a:pt x="431" y="191"/>
                      <a:pt x="425" y="191"/>
                    </a:cubicBezTo>
                    <a:cubicBezTo>
                      <a:pt x="419" y="191"/>
                      <a:pt x="415" y="197"/>
                      <a:pt x="411" y="198"/>
                    </a:cubicBezTo>
                    <a:cubicBezTo>
                      <a:pt x="407" y="199"/>
                      <a:pt x="401" y="194"/>
                      <a:pt x="399" y="198"/>
                    </a:cubicBezTo>
                    <a:cubicBezTo>
                      <a:pt x="397" y="202"/>
                      <a:pt x="399" y="215"/>
                      <a:pt x="396" y="221"/>
                    </a:cubicBezTo>
                    <a:cubicBezTo>
                      <a:pt x="393" y="227"/>
                      <a:pt x="391" y="233"/>
                      <a:pt x="383" y="237"/>
                    </a:cubicBezTo>
                    <a:cubicBezTo>
                      <a:pt x="375" y="241"/>
                      <a:pt x="355" y="241"/>
                      <a:pt x="348" y="242"/>
                    </a:cubicBezTo>
                    <a:cubicBezTo>
                      <a:pt x="341" y="243"/>
                      <a:pt x="343" y="244"/>
                      <a:pt x="338" y="243"/>
                    </a:cubicBezTo>
                    <a:cubicBezTo>
                      <a:pt x="333" y="242"/>
                      <a:pt x="321" y="240"/>
                      <a:pt x="315" y="233"/>
                    </a:cubicBezTo>
                    <a:cubicBezTo>
                      <a:pt x="309" y="226"/>
                      <a:pt x="304" y="211"/>
                      <a:pt x="299" y="200"/>
                    </a:cubicBezTo>
                    <a:cubicBezTo>
                      <a:pt x="294" y="189"/>
                      <a:pt x="286" y="181"/>
                      <a:pt x="285" y="167"/>
                    </a:cubicBezTo>
                    <a:cubicBezTo>
                      <a:pt x="284" y="153"/>
                      <a:pt x="292" y="125"/>
                      <a:pt x="290" y="117"/>
                    </a:cubicBezTo>
                    <a:cubicBezTo>
                      <a:pt x="288" y="109"/>
                      <a:pt x="277" y="119"/>
                      <a:pt x="272" y="117"/>
                    </a:cubicBezTo>
                    <a:cubicBezTo>
                      <a:pt x="267" y="115"/>
                      <a:pt x="262" y="112"/>
                      <a:pt x="258" y="105"/>
                    </a:cubicBezTo>
                    <a:cubicBezTo>
                      <a:pt x="254" y="98"/>
                      <a:pt x="256" y="82"/>
                      <a:pt x="249" y="74"/>
                    </a:cubicBezTo>
                    <a:cubicBezTo>
                      <a:pt x="242" y="66"/>
                      <a:pt x="219" y="55"/>
                      <a:pt x="213" y="54"/>
                    </a:cubicBezTo>
                    <a:cubicBezTo>
                      <a:pt x="207" y="53"/>
                      <a:pt x="216" y="65"/>
                      <a:pt x="212" y="65"/>
                    </a:cubicBezTo>
                    <a:cubicBezTo>
                      <a:pt x="208" y="65"/>
                      <a:pt x="200" y="61"/>
                      <a:pt x="189" y="53"/>
                    </a:cubicBezTo>
                    <a:cubicBezTo>
                      <a:pt x="178" y="45"/>
                      <a:pt x="156" y="23"/>
                      <a:pt x="147" y="18"/>
                    </a:cubicBezTo>
                    <a:cubicBezTo>
                      <a:pt x="138" y="13"/>
                      <a:pt x="140" y="18"/>
                      <a:pt x="135" y="20"/>
                    </a:cubicBezTo>
                    <a:cubicBezTo>
                      <a:pt x="130" y="22"/>
                      <a:pt x="123" y="28"/>
                      <a:pt x="116" y="30"/>
                    </a:cubicBezTo>
                    <a:cubicBezTo>
                      <a:pt x="109" y="32"/>
                      <a:pt x="104" y="35"/>
                      <a:pt x="95" y="33"/>
                    </a:cubicBezTo>
                    <a:cubicBezTo>
                      <a:pt x="86" y="31"/>
                      <a:pt x="73" y="26"/>
                      <a:pt x="63" y="21"/>
                    </a:cubicBezTo>
                    <a:cubicBezTo>
                      <a:pt x="53" y="16"/>
                      <a:pt x="45" y="4"/>
                      <a:pt x="35" y="2"/>
                    </a:cubicBezTo>
                    <a:cubicBezTo>
                      <a:pt x="25" y="0"/>
                      <a:pt x="11" y="8"/>
                      <a:pt x="5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40" name="Freeform 434">
                <a:extLst>
                  <a:ext uri="{FF2B5EF4-FFF2-40B4-BE49-F238E27FC236}">
                    <a16:creationId xmlns:a16="http://schemas.microsoft.com/office/drawing/2014/main" id="{E8649C9C-BAA8-4B72-B8D7-5A575095B3B4}"/>
                  </a:ext>
                </a:extLst>
              </p:cNvPr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gray">
              <a:xfrm>
                <a:off x="2824163" y="4659313"/>
                <a:ext cx="222250" cy="203200"/>
              </a:xfrm>
              <a:custGeom>
                <a:avLst/>
                <a:gdLst>
                  <a:gd name="T0" fmla="*/ 0 w 137"/>
                  <a:gd name="T1" fmla="*/ 43 h 128"/>
                  <a:gd name="T2" fmla="*/ 6 w 137"/>
                  <a:gd name="T3" fmla="*/ 28 h 128"/>
                  <a:gd name="T4" fmla="*/ 12 w 137"/>
                  <a:gd name="T5" fmla="*/ 10 h 128"/>
                  <a:gd name="T6" fmla="*/ 24 w 137"/>
                  <a:gd name="T7" fmla="*/ 4 h 128"/>
                  <a:gd name="T8" fmla="*/ 35 w 137"/>
                  <a:gd name="T9" fmla="*/ 2 h 128"/>
                  <a:gd name="T10" fmla="*/ 69 w 137"/>
                  <a:gd name="T11" fmla="*/ 5 h 128"/>
                  <a:gd name="T12" fmla="*/ 69 w 137"/>
                  <a:gd name="T13" fmla="*/ 19 h 128"/>
                  <a:gd name="T14" fmla="*/ 70 w 137"/>
                  <a:gd name="T15" fmla="*/ 41 h 128"/>
                  <a:gd name="T16" fmla="*/ 94 w 137"/>
                  <a:gd name="T17" fmla="*/ 47 h 128"/>
                  <a:gd name="T18" fmla="*/ 114 w 137"/>
                  <a:gd name="T19" fmla="*/ 49 h 128"/>
                  <a:gd name="T20" fmla="*/ 115 w 137"/>
                  <a:gd name="T21" fmla="*/ 65 h 128"/>
                  <a:gd name="T22" fmla="*/ 132 w 137"/>
                  <a:gd name="T23" fmla="*/ 76 h 128"/>
                  <a:gd name="T24" fmla="*/ 136 w 137"/>
                  <a:gd name="T25" fmla="*/ 92 h 128"/>
                  <a:gd name="T26" fmla="*/ 126 w 137"/>
                  <a:gd name="T27" fmla="*/ 110 h 128"/>
                  <a:gd name="T28" fmla="*/ 115 w 137"/>
                  <a:gd name="T29" fmla="*/ 127 h 128"/>
                  <a:gd name="T30" fmla="*/ 70 w 137"/>
                  <a:gd name="T31" fmla="*/ 119 h 128"/>
                  <a:gd name="T32" fmla="*/ 76 w 137"/>
                  <a:gd name="T33" fmla="*/ 103 h 128"/>
                  <a:gd name="T34" fmla="*/ 57 w 137"/>
                  <a:gd name="T35" fmla="*/ 86 h 128"/>
                  <a:gd name="T36" fmla="*/ 39 w 137"/>
                  <a:gd name="T37" fmla="*/ 73 h 128"/>
                  <a:gd name="T38" fmla="*/ 15 w 137"/>
                  <a:gd name="T39" fmla="*/ 53 h 128"/>
                  <a:gd name="T40" fmla="*/ 0 w 137"/>
                  <a:gd name="T41" fmla="*/ 4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7" h="128">
                    <a:moveTo>
                      <a:pt x="0" y="43"/>
                    </a:moveTo>
                    <a:cubicBezTo>
                      <a:pt x="1" y="38"/>
                      <a:pt x="6" y="28"/>
                      <a:pt x="6" y="28"/>
                    </a:cubicBezTo>
                    <a:cubicBezTo>
                      <a:pt x="8" y="23"/>
                      <a:pt x="9" y="14"/>
                      <a:pt x="12" y="10"/>
                    </a:cubicBezTo>
                    <a:cubicBezTo>
                      <a:pt x="15" y="6"/>
                      <a:pt x="20" y="5"/>
                      <a:pt x="24" y="4"/>
                    </a:cubicBezTo>
                    <a:cubicBezTo>
                      <a:pt x="29" y="0"/>
                      <a:pt x="28" y="2"/>
                      <a:pt x="35" y="2"/>
                    </a:cubicBezTo>
                    <a:cubicBezTo>
                      <a:pt x="42" y="2"/>
                      <a:pt x="63" y="2"/>
                      <a:pt x="69" y="5"/>
                    </a:cubicBezTo>
                    <a:cubicBezTo>
                      <a:pt x="75" y="8"/>
                      <a:pt x="69" y="13"/>
                      <a:pt x="69" y="19"/>
                    </a:cubicBezTo>
                    <a:cubicBezTo>
                      <a:pt x="69" y="25"/>
                      <a:pt x="66" y="36"/>
                      <a:pt x="70" y="41"/>
                    </a:cubicBezTo>
                    <a:cubicBezTo>
                      <a:pt x="74" y="49"/>
                      <a:pt x="87" y="45"/>
                      <a:pt x="94" y="47"/>
                    </a:cubicBezTo>
                    <a:cubicBezTo>
                      <a:pt x="101" y="48"/>
                      <a:pt x="110" y="46"/>
                      <a:pt x="114" y="49"/>
                    </a:cubicBezTo>
                    <a:cubicBezTo>
                      <a:pt x="118" y="51"/>
                      <a:pt x="112" y="61"/>
                      <a:pt x="115" y="65"/>
                    </a:cubicBezTo>
                    <a:cubicBezTo>
                      <a:pt x="118" y="69"/>
                      <a:pt x="129" y="72"/>
                      <a:pt x="132" y="76"/>
                    </a:cubicBezTo>
                    <a:cubicBezTo>
                      <a:pt x="135" y="80"/>
                      <a:pt x="137" y="86"/>
                      <a:pt x="136" y="92"/>
                    </a:cubicBezTo>
                    <a:cubicBezTo>
                      <a:pt x="135" y="98"/>
                      <a:pt x="129" y="104"/>
                      <a:pt x="126" y="110"/>
                    </a:cubicBezTo>
                    <a:cubicBezTo>
                      <a:pt x="123" y="116"/>
                      <a:pt x="124" y="125"/>
                      <a:pt x="115" y="127"/>
                    </a:cubicBezTo>
                    <a:cubicBezTo>
                      <a:pt x="87" y="126"/>
                      <a:pt x="86" y="128"/>
                      <a:pt x="70" y="119"/>
                    </a:cubicBezTo>
                    <a:cubicBezTo>
                      <a:pt x="63" y="115"/>
                      <a:pt x="78" y="108"/>
                      <a:pt x="76" y="103"/>
                    </a:cubicBezTo>
                    <a:cubicBezTo>
                      <a:pt x="74" y="98"/>
                      <a:pt x="63" y="91"/>
                      <a:pt x="57" y="86"/>
                    </a:cubicBezTo>
                    <a:cubicBezTo>
                      <a:pt x="53" y="77"/>
                      <a:pt x="50" y="75"/>
                      <a:pt x="39" y="73"/>
                    </a:cubicBezTo>
                    <a:cubicBezTo>
                      <a:pt x="33" y="67"/>
                      <a:pt x="21" y="58"/>
                      <a:pt x="15" y="53"/>
                    </a:cubicBezTo>
                    <a:cubicBezTo>
                      <a:pt x="9" y="48"/>
                      <a:pt x="3" y="45"/>
                      <a:pt x="0" y="4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41" name="Freeform 435">
                <a:extLst>
                  <a:ext uri="{FF2B5EF4-FFF2-40B4-BE49-F238E27FC236}">
                    <a16:creationId xmlns:a16="http://schemas.microsoft.com/office/drawing/2014/main" id="{EDB6D5A5-C2AC-4A48-9208-94797DD2486F}"/>
                  </a:ext>
                </a:extLst>
              </p:cNvPr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gray">
              <a:xfrm>
                <a:off x="2187576" y="3762375"/>
                <a:ext cx="28575" cy="61913"/>
              </a:xfrm>
              <a:custGeom>
                <a:avLst/>
                <a:gdLst>
                  <a:gd name="T0" fmla="*/ 14 w 19"/>
                  <a:gd name="T1" fmla="*/ 0 h 38"/>
                  <a:gd name="T2" fmla="*/ 19 w 19"/>
                  <a:gd name="T3" fmla="*/ 32 h 38"/>
                  <a:gd name="T4" fmla="*/ 5 w 19"/>
                  <a:gd name="T5" fmla="*/ 38 h 38"/>
                  <a:gd name="T6" fmla="*/ 4 w 19"/>
                  <a:gd name="T7" fmla="*/ 23 h 38"/>
                  <a:gd name="T8" fmla="*/ 10 w 19"/>
                  <a:gd name="T9" fmla="*/ 9 h 38"/>
                  <a:gd name="T10" fmla="*/ 14 w 19"/>
                  <a:gd name="T1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38">
                    <a:moveTo>
                      <a:pt x="14" y="0"/>
                    </a:moveTo>
                    <a:cubicBezTo>
                      <a:pt x="18" y="22"/>
                      <a:pt x="16" y="11"/>
                      <a:pt x="19" y="32"/>
                    </a:cubicBezTo>
                    <a:cubicBezTo>
                      <a:pt x="13" y="33"/>
                      <a:pt x="10" y="36"/>
                      <a:pt x="5" y="38"/>
                    </a:cubicBezTo>
                    <a:cubicBezTo>
                      <a:pt x="0" y="32"/>
                      <a:pt x="1" y="30"/>
                      <a:pt x="4" y="23"/>
                    </a:cubicBezTo>
                    <a:cubicBezTo>
                      <a:pt x="5" y="17"/>
                      <a:pt x="7" y="14"/>
                      <a:pt x="10" y="9"/>
                    </a:cubicBezTo>
                    <a:cubicBezTo>
                      <a:pt x="11" y="2"/>
                      <a:pt x="10" y="4"/>
                      <a:pt x="14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42" name="Freeform 436">
                <a:extLst>
                  <a:ext uri="{FF2B5EF4-FFF2-40B4-BE49-F238E27FC236}">
                    <a16:creationId xmlns:a16="http://schemas.microsoft.com/office/drawing/2014/main" id="{C2989215-C1A4-444F-BB19-E1688B059F5B}"/>
                  </a:ext>
                </a:extLst>
              </p:cNvPr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gray">
              <a:xfrm>
                <a:off x="2274888" y="3925888"/>
                <a:ext cx="107950" cy="93663"/>
              </a:xfrm>
              <a:custGeom>
                <a:avLst/>
                <a:gdLst>
                  <a:gd name="T0" fmla="*/ 5 w 68"/>
                  <a:gd name="T1" fmla="*/ 4 h 58"/>
                  <a:gd name="T2" fmla="*/ 14 w 68"/>
                  <a:gd name="T3" fmla="*/ 15 h 58"/>
                  <a:gd name="T4" fmla="*/ 23 w 68"/>
                  <a:gd name="T5" fmla="*/ 31 h 58"/>
                  <a:gd name="T6" fmla="*/ 33 w 68"/>
                  <a:gd name="T7" fmla="*/ 36 h 58"/>
                  <a:gd name="T8" fmla="*/ 60 w 68"/>
                  <a:gd name="T9" fmla="*/ 51 h 58"/>
                  <a:gd name="T10" fmla="*/ 68 w 68"/>
                  <a:gd name="T11" fmla="*/ 43 h 58"/>
                  <a:gd name="T12" fmla="*/ 51 w 68"/>
                  <a:gd name="T13" fmla="*/ 33 h 58"/>
                  <a:gd name="T14" fmla="*/ 39 w 68"/>
                  <a:gd name="T15" fmla="*/ 24 h 58"/>
                  <a:gd name="T16" fmla="*/ 38 w 68"/>
                  <a:gd name="T17" fmla="*/ 16 h 58"/>
                  <a:gd name="T18" fmla="*/ 5 w 68"/>
                  <a:gd name="T19" fmla="*/ 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58">
                    <a:moveTo>
                      <a:pt x="5" y="4"/>
                    </a:moveTo>
                    <a:cubicBezTo>
                      <a:pt x="0" y="3"/>
                      <a:pt x="11" y="11"/>
                      <a:pt x="14" y="15"/>
                    </a:cubicBezTo>
                    <a:cubicBezTo>
                      <a:pt x="17" y="19"/>
                      <a:pt x="20" y="28"/>
                      <a:pt x="23" y="31"/>
                    </a:cubicBezTo>
                    <a:cubicBezTo>
                      <a:pt x="28" y="33"/>
                      <a:pt x="29" y="33"/>
                      <a:pt x="33" y="36"/>
                    </a:cubicBezTo>
                    <a:cubicBezTo>
                      <a:pt x="36" y="45"/>
                      <a:pt x="52" y="48"/>
                      <a:pt x="60" y="51"/>
                    </a:cubicBezTo>
                    <a:cubicBezTo>
                      <a:pt x="65" y="58"/>
                      <a:pt x="65" y="49"/>
                      <a:pt x="68" y="43"/>
                    </a:cubicBezTo>
                    <a:cubicBezTo>
                      <a:pt x="61" y="39"/>
                      <a:pt x="59" y="35"/>
                      <a:pt x="51" y="33"/>
                    </a:cubicBezTo>
                    <a:cubicBezTo>
                      <a:pt x="47" y="30"/>
                      <a:pt x="41" y="27"/>
                      <a:pt x="39" y="24"/>
                    </a:cubicBezTo>
                    <a:cubicBezTo>
                      <a:pt x="37" y="21"/>
                      <a:pt x="44" y="19"/>
                      <a:pt x="38" y="16"/>
                    </a:cubicBezTo>
                    <a:cubicBezTo>
                      <a:pt x="30" y="0"/>
                      <a:pt x="16" y="15"/>
                      <a:pt x="5" y="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43" name="Freeform 437">
                <a:extLst>
                  <a:ext uri="{FF2B5EF4-FFF2-40B4-BE49-F238E27FC236}">
                    <a16:creationId xmlns:a16="http://schemas.microsoft.com/office/drawing/2014/main" id="{1CA020BA-8BD1-4E5A-826F-97322385F708}"/>
                  </a:ext>
                </a:extLst>
              </p:cNvPr>
              <p:cNvSpPr>
                <a:spLocks/>
              </p:cNvSpPr>
              <p:nvPr>
                <p:custDataLst>
                  <p:tags r:id="rId200"/>
                </p:custDataLst>
              </p:nvPr>
            </p:nvSpPr>
            <p:spPr bwMode="gray">
              <a:xfrm>
                <a:off x="2559051" y="3703638"/>
                <a:ext cx="60325" cy="68263"/>
              </a:xfrm>
              <a:custGeom>
                <a:avLst/>
                <a:gdLst>
                  <a:gd name="T0" fmla="*/ 15 w 69"/>
                  <a:gd name="T1" fmla="*/ 0 h 43"/>
                  <a:gd name="T2" fmla="*/ 22 w 69"/>
                  <a:gd name="T3" fmla="*/ 12 h 43"/>
                  <a:gd name="T4" fmla="*/ 16 w 69"/>
                  <a:gd name="T5" fmla="*/ 27 h 43"/>
                  <a:gd name="T6" fmla="*/ 0 w 69"/>
                  <a:gd name="T7" fmla="*/ 28 h 43"/>
                  <a:gd name="T8" fmla="*/ 7 w 69"/>
                  <a:gd name="T9" fmla="*/ 37 h 43"/>
                  <a:gd name="T10" fmla="*/ 31 w 69"/>
                  <a:gd name="T11" fmla="*/ 34 h 43"/>
                  <a:gd name="T12" fmla="*/ 46 w 69"/>
                  <a:gd name="T13" fmla="*/ 43 h 43"/>
                  <a:gd name="T14" fmla="*/ 69 w 69"/>
                  <a:gd name="T15" fmla="*/ 37 h 43"/>
                  <a:gd name="T16" fmla="*/ 54 w 69"/>
                  <a:gd name="T17" fmla="*/ 16 h 43"/>
                  <a:gd name="T18" fmla="*/ 60 w 69"/>
                  <a:gd name="T19" fmla="*/ 1 h 43"/>
                  <a:gd name="T20" fmla="*/ 40 w 69"/>
                  <a:gd name="T21" fmla="*/ 4 h 43"/>
                  <a:gd name="T22" fmla="*/ 25 w 69"/>
                  <a:gd name="T23" fmla="*/ 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" h="43">
                    <a:moveTo>
                      <a:pt x="15" y="0"/>
                    </a:moveTo>
                    <a:lnTo>
                      <a:pt x="22" y="12"/>
                    </a:lnTo>
                    <a:lnTo>
                      <a:pt x="16" y="27"/>
                    </a:lnTo>
                    <a:lnTo>
                      <a:pt x="0" y="28"/>
                    </a:lnTo>
                    <a:lnTo>
                      <a:pt x="7" y="37"/>
                    </a:lnTo>
                    <a:lnTo>
                      <a:pt x="31" y="34"/>
                    </a:lnTo>
                    <a:lnTo>
                      <a:pt x="46" y="43"/>
                    </a:lnTo>
                    <a:lnTo>
                      <a:pt x="69" y="37"/>
                    </a:lnTo>
                    <a:lnTo>
                      <a:pt x="54" y="16"/>
                    </a:lnTo>
                    <a:lnTo>
                      <a:pt x="60" y="1"/>
                    </a:lnTo>
                    <a:lnTo>
                      <a:pt x="40" y="4"/>
                    </a:lnTo>
                    <a:lnTo>
                      <a:pt x="25" y="4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44" name="Freeform 438">
                <a:extLst>
                  <a:ext uri="{FF2B5EF4-FFF2-40B4-BE49-F238E27FC236}">
                    <a16:creationId xmlns:a16="http://schemas.microsoft.com/office/drawing/2014/main" id="{6B1BE11A-C5D8-49D8-9F4B-0A6E081EF848}"/>
                  </a:ext>
                </a:extLst>
              </p:cNvPr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gray">
              <a:xfrm>
                <a:off x="2717801" y="3744913"/>
                <a:ext cx="73025" cy="22225"/>
              </a:xfrm>
              <a:custGeom>
                <a:avLst/>
                <a:gdLst>
                  <a:gd name="T0" fmla="*/ 0 w 45"/>
                  <a:gd name="T1" fmla="*/ 8 h 15"/>
                  <a:gd name="T2" fmla="*/ 24 w 45"/>
                  <a:gd name="T3" fmla="*/ 8 h 15"/>
                  <a:gd name="T4" fmla="*/ 43 w 45"/>
                  <a:gd name="T5" fmla="*/ 0 h 15"/>
                  <a:gd name="T6" fmla="*/ 45 w 45"/>
                  <a:gd name="T7" fmla="*/ 14 h 15"/>
                  <a:gd name="T8" fmla="*/ 21 w 45"/>
                  <a:gd name="T9" fmla="*/ 15 h 15"/>
                  <a:gd name="T10" fmla="*/ 0 w 45"/>
                  <a:gd name="T11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" h="15">
                    <a:moveTo>
                      <a:pt x="0" y="8"/>
                    </a:moveTo>
                    <a:lnTo>
                      <a:pt x="24" y="8"/>
                    </a:lnTo>
                    <a:lnTo>
                      <a:pt x="43" y="0"/>
                    </a:lnTo>
                    <a:lnTo>
                      <a:pt x="45" y="14"/>
                    </a:lnTo>
                    <a:lnTo>
                      <a:pt x="21" y="15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45" name="Freeform 490">
                <a:extLst>
                  <a:ext uri="{FF2B5EF4-FFF2-40B4-BE49-F238E27FC236}">
                    <a16:creationId xmlns:a16="http://schemas.microsoft.com/office/drawing/2014/main" id="{E4B4E256-8CC2-4147-A90F-58ABBC50A486}"/>
                  </a:ext>
                </a:extLst>
              </p:cNvPr>
              <p:cNvSpPr>
                <a:spLocks/>
              </p:cNvSpPr>
              <p:nvPr>
                <p:custDataLst>
                  <p:tags r:id="rId202"/>
                </p:custDataLst>
              </p:nvPr>
            </p:nvSpPr>
            <p:spPr bwMode="gray">
              <a:xfrm>
                <a:off x="4649788" y="3636963"/>
                <a:ext cx="260350" cy="382588"/>
              </a:xfrm>
              <a:custGeom>
                <a:avLst/>
                <a:gdLst>
                  <a:gd name="T0" fmla="*/ 140 w 160"/>
                  <a:gd name="T1" fmla="*/ 182 h 236"/>
                  <a:gd name="T2" fmla="*/ 137 w 160"/>
                  <a:gd name="T3" fmla="*/ 164 h 236"/>
                  <a:gd name="T4" fmla="*/ 131 w 160"/>
                  <a:gd name="T5" fmla="*/ 154 h 236"/>
                  <a:gd name="T6" fmla="*/ 137 w 160"/>
                  <a:gd name="T7" fmla="*/ 136 h 236"/>
                  <a:gd name="T8" fmla="*/ 158 w 160"/>
                  <a:gd name="T9" fmla="*/ 106 h 236"/>
                  <a:gd name="T10" fmla="*/ 158 w 160"/>
                  <a:gd name="T11" fmla="*/ 63 h 236"/>
                  <a:gd name="T12" fmla="*/ 143 w 160"/>
                  <a:gd name="T13" fmla="*/ 49 h 236"/>
                  <a:gd name="T14" fmla="*/ 125 w 160"/>
                  <a:gd name="T15" fmla="*/ 39 h 236"/>
                  <a:gd name="T16" fmla="*/ 107 w 160"/>
                  <a:gd name="T17" fmla="*/ 30 h 236"/>
                  <a:gd name="T18" fmla="*/ 92 w 160"/>
                  <a:gd name="T19" fmla="*/ 26 h 236"/>
                  <a:gd name="T20" fmla="*/ 77 w 160"/>
                  <a:gd name="T21" fmla="*/ 8 h 236"/>
                  <a:gd name="T22" fmla="*/ 65 w 160"/>
                  <a:gd name="T23" fmla="*/ 7 h 236"/>
                  <a:gd name="T24" fmla="*/ 50 w 160"/>
                  <a:gd name="T25" fmla="*/ 4 h 236"/>
                  <a:gd name="T26" fmla="*/ 26 w 160"/>
                  <a:gd name="T27" fmla="*/ 2 h 236"/>
                  <a:gd name="T28" fmla="*/ 31 w 160"/>
                  <a:gd name="T29" fmla="*/ 17 h 236"/>
                  <a:gd name="T30" fmla="*/ 40 w 160"/>
                  <a:gd name="T31" fmla="*/ 51 h 236"/>
                  <a:gd name="T32" fmla="*/ 34 w 160"/>
                  <a:gd name="T33" fmla="*/ 93 h 236"/>
                  <a:gd name="T34" fmla="*/ 21 w 160"/>
                  <a:gd name="T35" fmla="*/ 116 h 236"/>
                  <a:gd name="T36" fmla="*/ 5 w 160"/>
                  <a:gd name="T37" fmla="*/ 131 h 236"/>
                  <a:gd name="T38" fmla="*/ 13 w 160"/>
                  <a:gd name="T39" fmla="*/ 158 h 236"/>
                  <a:gd name="T40" fmla="*/ 28 w 160"/>
                  <a:gd name="T41" fmla="*/ 188 h 236"/>
                  <a:gd name="T42" fmla="*/ 29 w 160"/>
                  <a:gd name="T43" fmla="*/ 197 h 236"/>
                  <a:gd name="T44" fmla="*/ 14 w 160"/>
                  <a:gd name="T45" fmla="*/ 205 h 236"/>
                  <a:gd name="T46" fmla="*/ 26 w 160"/>
                  <a:gd name="T47" fmla="*/ 217 h 236"/>
                  <a:gd name="T48" fmla="*/ 43 w 160"/>
                  <a:gd name="T49" fmla="*/ 232 h 236"/>
                  <a:gd name="T50" fmla="*/ 67 w 160"/>
                  <a:gd name="T51" fmla="*/ 235 h 236"/>
                  <a:gd name="T52" fmla="*/ 83 w 160"/>
                  <a:gd name="T53" fmla="*/ 228 h 236"/>
                  <a:gd name="T54" fmla="*/ 98 w 160"/>
                  <a:gd name="T55" fmla="*/ 214 h 236"/>
                  <a:gd name="T56" fmla="*/ 115 w 160"/>
                  <a:gd name="T57" fmla="*/ 205 h 236"/>
                  <a:gd name="T58" fmla="*/ 121 w 160"/>
                  <a:gd name="T59" fmla="*/ 197 h 236"/>
                  <a:gd name="T60" fmla="*/ 142 w 160"/>
                  <a:gd name="T61" fmla="*/ 185 h 236"/>
                  <a:gd name="T62" fmla="*/ 140 w 160"/>
                  <a:gd name="T63" fmla="*/ 182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36">
                    <a:moveTo>
                      <a:pt x="140" y="182"/>
                    </a:moveTo>
                    <a:cubicBezTo>
                      <a:pt x="140" y="178"/>
                      <a:pt x="138" y="169"/>
                      <a:pt x="137" y="164"/>
                    </a:cubicBezTo>
                    <a:cubicBezTo>
                      <a:pt x="136" y="159"/>
                      <a:pt x="131" y="159"/>
                      <a:pt x="131" y="154"/>
                    </a:cubicBezTo>
                    <a:cubicBezTo>
                      <a:pt x="133" y="149"/>
                      <a:pt x="137" y="136"/>
                      <a:pt x="137" y="136"/>
                    </a:cubicBezTo>
                    <a:cubicBezTo>
                      <a:pt x="145" y="123"/>
                      <a:pt x="140" y="110"/>
                      <a:pt x="158" y="106"/>
                    </a:cubicBezTo>
                    <a:cubicBezTo>
                      <a:pt x="160" y="93"/>
                      <a:pt x="160" y="72"/>
                      <a:pt x="158" y="63"/>
                    </a:cubicBezTo>
                    <a:cubicBezTo>
                      <a:pt x="156" y="54"/>
                      <a:pt x="148" y="53"/>
                      <a:pt x="143" y="49"/>
                    </a:cubicBezTo>
                    <a:cubicBezTo>
                      <a:pt x="138" y="42"/>
                      <a:pt x="133" y="40"/>
                      <a:pt x="125" y="39"/>
                    </a:cubicBezTo>
                    <a:cubicBezTo>
                      <a:pt x="118" y="36"/>
                      <a:pt x="114" y="31"/>
                      <a:pt x="107" y="30"/>
                    </a:cubicBezTo>
                    <a:cubicBezTo>
                      <a:pt x="103" y="28"/>
                      <a:pt x="99" y="30"/>
                      <a:pt x="92" y="26"/>
                    </a:cubicBezTo>
                    <a:cubicBezTo>
                      <a:pt x="87" y="22"/>
                      <a:pt x="81" y="11"/>
                      <a:pt x="77" y="8"/>
                    </a:cubicBezTo>
                    <a:cubicBezTo>
                      <a:pt x="73" y="5"/>
                      <a:pt x="69" y="8"/>
                      <a:pt x="65" y="7"/>
                    </a:cubicBezTo>
                    <a:cubicBezTo>
                      <a:pt x="60" y="5"/>
                      <a:pt x="54" y="7"/>
                      <a:pt x="50" y="4"/>
                    </a:cubicBezTo>
                    <a:cubicBezTo>
                      <a:pt x="41" y="4"/>
                      <a:pt x="34" y="0"/>
                      <a:pt x="26" y="2"/>
                    </a:cubicBezTo>
                    <a:cubicBezTo>
                      <a:pt x="22" y="3"/>
                      <a:pt x="25" y="16"/>
                      <a:pt x="31" y="17"/>
                    </a:cubicBezTo>
                    <a:cubicBezTo>
                      <a:pt x="37" y="27"/>
                      <a:pt x="36" y="40"/>
                      <a:pt x="40" y="51"/>
                    </a:cubicBezTo>
                    <a:cubicBezTo>
                      <a:pt x="43" y="69"/>
                      <a:pt x="45" y="79"/>
                      <a:pt x="34" y="93"/>
                    </a:cubicBezTo>
                    <a:cubicBezTo>
                      <a:pt x="31" y="104"/>
                      <a:pt x="26" y="110"/>
                      <a:pt x="21" y="116"/>
                    </a:cubicBezTo>
                    <a:cubicBezTo>
                      <a:pt x="16" y="122"/>
                      <a:pt x="6" y="124"/>
                      <a:pt x="5" y="131"/>
                    </a:cubicBezTo>
                    <a:cubicBezTo>
                      <a:pt x="3" y="142"/>
                      <a:pt x="0" y="156"/>
                      <a:pt x="13" y="158"/>
                    </a:cubicBezTo>
                    <a:cubicBezTo>
                      <a:pt x="14" y="170"/>
                      <a:pt x="21" y="179"/>
                      <a:pt x="28" y="188"/>
                    </a:cubicBezTo>
                    <a:cubicBezTo>
                      <a:pt x="29" y="195"/>
                      <a:pt x="38" y="195"/>
                      <a:pt x="29" y="197"/>
                    </a:cubicBezTo>
                    <a:cubicBezTo>
                      <a:pt x="23" y="200"/>
                      <a:pt x="18" y="199"/>
                      <a:pt x="14" y="205"/>
                    </a:cubicBezTo>
                    <a:cubicBezTo>
                      <a:pt x="16" y="210"/>
                      <a:pt x="21" y="213"/>
                      <a:pt x="26" y="217"/>
                    </a:cubicBezTo>
                    <a:cubicBezTo>
                      <a:pt x="32" y="226"/>
                      <a:pt x="32" y="231"/>
                      <a:pt x="43" y="232"/>
                    </a:cubicBezTo>
                    <a:cubicBezTo>
                      <a:pt x="50" y="235"/>
                      <a:pt x="60" y="236"/>
                      <a:pt x="67" y="235"/>
                    </a:cubicBezTo>
                    <a:cubicBezTo>
                      <a:pt x="74" y="234"/>
                      <a:pt x="78" y="232"/>
                      <a:pt x="83" y="228"/>
                    </a:cubicBezTo>
                    <a:cubicBezTo>
                      <a:pt x="86" y="219"/>
                      <a:pt x="91" y="219"/>
                      <a:pt x="98" y="214"/>
                    </a:cubicBezTo>
                    <a:cubicBezTo>
                      <a:pt x="102" y="207"/>
                      <a:pt x="107" y="206"/>
                      <a:pt x="115" y="205"/>
                    </a:cubicBezTo>
                    <a:cubicBezTo>
                      <a:pt x="125" y="197"/>
                      <a:pt x="113" y="207"/>
                      <a:pt x="121" y="197"/>
                    </a:cubicBezTo>
                    <a:cubicBezTo>
                      <a:pt x="125" y="192"/>
                      <a:pt x="138" y="187"/>
                      <a:pt x="142" y="185"/>
                    </a:cubicBezTo>
                    <a:cubicBezTo>
                      <a:pt x="143" y="184"/>
                      <a:pt x="141" y="183"/>
                      <a:pt x="140" y="18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46" name="Freeform 491">
                <a:extLst>
                  <a:ext uri="{FF2B5EF4-FFF2-40B4-BE49-F238E27FC236}">
                    <a16:creationId xmlns:a16="http://schemas.microsoft.com/office/drawing/2014/main" id="{D9B3E980-B7F6-43D6-8B1C-6A12522FBE68}"/>
                  </a:ext>
                </a:extLst>
              </p:cNvPr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gray">
              <a:xfrm>
                <a:off x="5129213" y="3846513"/>
                <a:ext cx="350838" cy="265113"/>
              </a:xfrm>
              <a:custGeom>
                <a:avLst/>
                <a:gdLst>
                  <a:gd name="T0" fmla="*/ 46 w 216"/>
                  <a:gd name="T1" fmla="*/ 5 h 164"/>
                  <a:gd name="T2" fmla="*/ 68 w 216"/>
                  <a:gd name="T3" fmla="*/ 6 h 164"/>
                  <a:gd name="T4" fmla="*/ 87 w 216"/>
                  <a:gd name="T5" fmla="*/ 6 h 164"/>
                  <a:gd name="T6" fmla="*/ 113 w 216"/>
                  <a:gd name="T7" fmla="*/ 6 h 164"/>
                  <a:gd name="T8" fmla="*/ 124 w 216"/>
                  <a:gd name="T9" fmla="*/ 9 h 164"/>
                  <a:gd name="T10" fmla="*/ 129 w 216"/>
                  <a:gd name="T11" fmla="*/ 24 h 164"/>
                  <a:gd name="T12" fmla="*/ 122 w 216"/>
                  <a:gd name="T13" fmla="*/ 27 h 164"/>
                  <a:gd name="T14" fmla="*/ 124 w 216"/>
                  <a:gd name="T15" fmla="*/ 39 h 164"/>
                  <a:gd name="T16" fmla="*/ 153 w 216"/>
                  <a:gd name="T17" fmla="*/ 64 h 164"/>
                  <a:gd name="T18" fmla="*/ 170 w 216"/>
                  <a:gd name="T19" fmla="*/ 82 h 164"/>
                  <a:gd name="T20" fmla="*/ 182 w 216"/>
                  <a:gd name="T21" fmla="*/ 85 h 164"/>
                  <a:gd name="T22" fmla="*/ 200 w 216"/>
                  <a:gd name="T23" fmla="*/ 94 h 164"/>
                  <a:gd name="T24" fmla="*/ 215 w 216"/>
                  <a:gd name="T25" fmla="*/ 103 h 164"/>
                  <a:gd name="T26" fmla="*/ 198 w 216"/>
                  <a:gd name="T27" fmla="*/ 120 h 164"/>
                  <a:gd name="T28" fmla="*/ 186 w 216"/>
                  <a:gd name="T29" fmla="*/ 133 h 164"/>
                  <a:gd name="T30" fmla="*/ 168 w 216"/>
                  <a:gd name="T31" fmla="*/ 143 h 164"/>
                  <a:gd name="T32" fmla="*/ 132 w 216"/>
                  <a:gd name="T33" fmla="*/ 146 h 164"/>
                  <a:gd name="T34" fmla="*/ 107 w 216"/>
                  <a:gd name="T35" fmla="*/ 161 h 164"/>
                  <a:gd name="T36" fmla="*/ 87 w 216"/>
                  <a:gd name="T37" fmla="*/ 162 h 164"/>
                  <a:gd name="T38" fmla="*/ 65 w 216"/>
                  <a:gd name="T39" fmla="*/ 162 h 164"/>
                  <a:gd name="T40" fmla="*/ 48 w 216"/>
                  <a:gd name="T41" fmla="*/ 148 h 164"/>
                  <a:gd name="T42" fmla="*/ 42 w 216"/>
                  <a:gd name="T43" fmla="*/ 144 h 164"/>
                  <a:gd name="T44" fmla="*/ 24 w 216"/>
                  <a:gd name="T45" fmla="*/ 127 h 164"/>
                  <a:gd name="T46" fmla="*/ 18 w 216"/>
                  <a:gd name="T47" fmla="*/ 113 h 164"/>
                  <a:gd name="T48" fmla="*/ 2 w 216"/>
                  <a:gd name="T49" fmla="*/ 99 h 164"/>
                  <a:gd name="T50" fmla="*/ 4 w 216"/>
                  <a:gd name="T51" fmla="*/ 92 h 164"/>
                  <a:gd name="T52" fmla="*/ 14 w 216"/>
                  <a:gd name="T53" fmla="*/ 83 h 164"/>
                  <a:gd name="T54" fmla="*/ 16 w 216"/>
                  <a:gd name="T55" fmla="*/ 60 h 164"/>
                  <a:gd name="T56" fmla="*/ 28 w 216"/>
                  <a:gd name="T57" fmla="*/ 42 h 164"/>
                  <a:gd name="T58" fmla="*/ 41 w 216"/>
                  <a:gd name="T59" fmla="*/ 31 h 164"/>
                  <a:gd name="T60" fmla="*/ 46 w 216"/>
                  <a:gd name="T61" fmla="*/ 5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16" h="164">
                    <a:moveTo>
                      <a:pt x="46" y="5"/>
                    </a:moveTo>
                    <a:cubicBezTo>
                      <a:pt x="50" y="0"/>
                      <a:pt x="61" y="6"/>
                      <a:pt x="68" y="6"/>
                    </a:cubicBezTo>
                    <a:cubicBezTo>
                      <a:pt x="75" y="6"/>
                      <a:pt x="80" y="6"/>
                      <a:pt x="87" y="6"/>
                    </a:cubicBezTo>
                    <a:cubicBezTo>
                      <a:pt x="94" y="6"/>
                      <a:pt x="107" y="6"/>
                      <a:pt x="113" y="6"/>
                    </a:cubicBezTo>
                    <a:cubicBezTo>
                      <a:pt x="117" y="8"/>
                      <a:pt x="121" y="5"/>
                      <a:pt x="124" y="9"/>
                    </a:cubicBezTo>
                    <a:cubicBezTo>
                      <a:pt x="126" y="11"/>
                      <a:pt x="130" y="21"/>
                      <a:pt x="129" y="24"/>
                    </a:cubicBezTo>
                    <a:cubicBezTo>
                      <a:pt x="129" y="27"/>
                      <a:pt x="123" y="25"/>
                      <a:pt x="122" y="27"/>
                    </a:cubicBezTo>
                    <a:cubicBezTo>
                      <a:pt x="121" y="28"/>
                      <a:pt x="119" y="33"/>
                      <a:pt x="124" y="39"/>
                    </a:cubicBezTo>
                    <a:cubicBezTo>
                      <a:pt x="129" y="45"/>
                      <a:pt x="145" y="57"/>
                      <a:pt x="153" y="64"/>
                    </a:cubicBezTo>
                    <a:cubicBezTo>
                      <a:pt x="156" y="69"/>
                      <a:pt x="164" y="78"/>
                      <a:pt x="170" y="82"/>
                    </a:cubicBezTo>
                    <a:cubicBezTo>
                      <a:pt x="174" y="83"/>
                      <a:pt x="182" y="85"/>
                      <a:pt x="182" y="85"/>
                    </a:cubicBezTo>
                    <a:cubicBezTo>
                      <a:pt x="186" y="88"/>
                      <a:pt x="196" y="91"/>
                      <a:pt x="200" y="94"/>
                    </a:cubicBezTo>
                    <a:cubicBezTo>
                      <a:pt x="205" y="97"/>
                      <a:pt x="215" y="99"/>
                      <a:pt x="215" y="103"/>
                    </a:cubicBezTo>
                    <a:cubicBezTo>
                      <a:pt x="216" y="108"/>
                      <a:pt x="203" y="115"/>
                      <a:pt x="198" y="120"/>
                    </a:cubicBezTo>
                    <a:cubicBezTo>
                      <a:pt x="193" y="125"/>
                      <a:pt x="191" y="129"/>
                      <a:pt x="186" y="133"/>
                    </a:cubicBezTo>
                    <a:cubicBezTo>
                      <a:pt x="178" y="138"/>
                      <a:pt x="177" y="141"/>
                      <a:pt x="168" y="143"/>
                    </a:cubicBezTo>
                    <a:cubicBezTo>
                      <a:pt x="159" y="145"/>
                      <a:pt x="142" y="143"/>
                      <a:pt x="132" y="146"/>
                    </a:cubicBezTo>
                    <a:cubicBezTo>
                      <a:pt x="122" y="156"/>
                      <a:pt x="123" y="159"/>
                      <a:pt x="107" y="161"/>
                    </a:cubicBezTo>
                    <a:cubicBezTo>
                      <a:pt x="100" y="164"/>
                      <a:pt x="94" y="162"/>
                      <a:pt x="87" y="162"/>
                    </a:cubicBezTo>
                    <a:cubicBezTo>
                      <a:pt x="80" y="162"/>
                      <a:pt x="71" y="164"/>
                      <a:pt x="65" y="162"/>
                    </a:cubicBezTo>
                    <a:cubicBezTo>
                      <a:pt x="54" y="158"/>
                      <a:pt x="62" y="157"/>
                      <a:pt x="48" y="148"/>
                    </a:cubicBezTo>
                    <a:cubicBezTo>
                      <a:pt x="46" y="147"/>
                      <a:pt x="42" y="144"/>
                      <a:pt x="42" y="144"/>
                    </a:cubicBezTo>
                    <a:cubicBezTo>
                      <a:pt x="38" y="141"/>
                      <a:pt x="29" y="133"/>
                      <a:pt x="24" y="127"/>
                    </a:cubicBezTo>
                    <a:cubicBezTo>
                      <a:pt x="20" y="122"/>
                      <a:pt x="22" y="118"/>
                      <a:pt x="18" y="113"/>
                    </a:cubicBezTo>
                    <a:cubicBezTo>
                      <a:pt x="15" y="109"/>
                      <a:pt x="2" y="99"/>
                      <a:pt x="2" y="99"/>
                    </a:cubicBezTo>
                    <a:cubicBezTo>
                      <a:pt x="0" y="95"/>
                      <a:pt x="2" y="95"/>
                      <a:pt x="4" y="92"/>
                    </a:cubicBezTo>
                    <a:cubicBezTo>
                      <a:pt x="6" y="89"/>
                      <a:pt x="12" y="88"/>
                      <a:pt x="14" y="83"/>
                    </a:cubicBezTo>
                    <a:cubicBezTo>
                      <a:pt x="17" y="76"/>
                      <a:pt x="11" y="67"/>
                      <a:pt x="16" y="60"/>
                    </a:cubicBezTo>
                    <a:cubicBezTo>
                      <a:pt x="18" y="56"/>
                      <a:pt x="25" y="45"/>
                      <a:pt x="28" y="42"/>
                    </a:cubicBezTo>
                    <a:cubicBezTo>
                      <a:pt x="31" y="39"/>
                      <a:pt x="41" y="31"/>
                      <a:pt x="41" y="31"/>
                    </a:cubicBezTo>
                    <a:cubicBezTo>
                      <a:pt x="44" y="24"/>
                      <a:pt x="50" y="13"/>
                      <a:pt x="46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47" name="Freeform 492">
                <a:extLst>
                  <a:ext uri="{FF2B5EF4-FFF2-40B4-BE49-F238E27FC236}">
                    <a16:creationId xmlns:a16="http://schemas.microsoft.com/office/drawing/2014/main" id="{E2D456EA-D1DA-4F37-94FC-13BAA8316132}"/>
                  </a:ext>
                </a:extLst>
              </p:cNvPr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gray">
              <a:xfrm>
                <a:off x="4683126" y="3930650"/>
                <a:ext cx="306388" cy="193675"/>
              </a:xfrm>
              <a:custGeom>
                <a:avLst/>
                <a:gdLst>
                  <a:gd name="T0" fmla="*/ 11 w 188"/>
                  <a:gd name="T1" fmla="*/ 49 h 119"/>
                  <a:gd name="T2" fmla="*/ 47 w 188"/>
                  <a:gd name="T3" fmla="*/ 52 h 119"/>
                  <a:gd name="T4" fmla="*/ 65 w 188"/>
                  <a:gd name="T5" fmla="*/ 40 h 119"/>
                  <a:gd name="T6" fmla="*/ 97 w 188"/>
                  <a:gd name="T7" fmla="*/ 17 h 119"/>
                  <a:gd name="T8" fmla="*/ 121 w 188"/>
                  <a:gd name="T9" fmla="*/ 0 h 119"/>
                  <a:gd name="T10" fmla="*/ 130 w 188"/>
                  <a:gd name="T11" fmla="*/ 14 h 119"/>
                  <a:gd name="T12" fmla="*/ 136 w 188"/>
                  <a:gd name="T13" fmla="*/ 29 h 119"/>
                  <a:gd name="T14" fmla="*/ 144 w 188"/>
                  <a:gd name="T15" fmla="*/ 41 h 119"/>
                  <a:gd name="T16" fmla="*/ 156 w 188"/>
                  <a:gd name="T17" fmla="*/ 48 h 119"/>
                  <a:gd name="T18" fmla="*/ 164 w 188"/>
                  <a:gd name="T19" fmla="*/ 59 h 119"/>
                  <a:gd name="T20" fmla="*/ 180 w 188"/>
                  <a:gd name="T21" fmla="*/ 77 h 119"/>
                  <a:gd name="T22" fmla="*/ 188 w 188"/>
                  <a:gd name="T23" fmla="*/ 87 h 119"/>
                  <a:gd name="T24" fmla="*/ 169 w 188"/>
                  <a:gd name="T25" fmla="*/ 88 h 119"/>
                  <a:gd name="T26" fmla="*/ 152 w 188"/>
                  <a:gd name="T27" fmla="*/ 93 h 119"/>
                  <a:gd name="T28" fmla="*/ 136 w 188"/>
                  <a:gd name="T29" fmla="*/ 91 h 119"/>
                  <a:gd name="T30" fmla="*/ 106 w 188"/>
                  <a:gd name="T31" fmla="*/ 102 h 119"/>
                  <a:gd name="T32" fmla="*/ 86 w 188"/>
                  <a:gd name="T33" fmla="*/ 96 h 119"/>
                  <a:gd name="T34" fmla="*/ 68 w 188"/>
                  <a:gd name="T35" fmla="*/ 91 h 119"/>
                  <a:gd name="T36" fmla="*/ 55 w 188"/>
                  <a:gd name="T37" fmla="*/ 110 h 119"/>
                  <a:gd name="T38" fmla="*/ 34 w 188"/>
                  <a:gd name="T39" fmla="*/ 110 h 119"/>
                  <a:gd name="T40" fmla="*/ 19 w 188"/>
                  <a:gd name="T41" fmla="*/ 116 h 119"/>
                  <a:gd name="T42" fmla="*/ 7 w 188"/>
                  <a:gd name="T43" fmla="*/ 91 h 119"/>
                  <a:gd name="T44" fmla="*/ 10 w 188"/>
                  <a:gd name="T45" fmla="*/ 58 h 119"/>
                  <a:gd name="T46" fmla="*/ 11 w 188"/>
                  <a:gd name="T47" fmla="*/ 4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8" h="119">
                    <a:moveTo>
                      <a:pt x="11" y="49"/>
                    </a:moveTo>
                    <a:cubicBezTo>
                      <a:pt x="16" y="48"/>
                      <a:pt x="38" y="53"/>
                      <a:pt x="47" y="52"/>
                    </a:cubicBezTo>
                    <a:cubicBezTo>
                      <a:pt x="56" y="51"/>
                      <a:pt x="62" y="43"/>
                      <a:pt x="65" y="40"/>
                    </a:cubicBezTo>
                    <a:cubicBezTo>
                      <a:pt x="73" y="34"/>
                      <a:pt x="88" y="23"/>
                      <a:pt x="97" y="17"/>
                    </a:cubicBezTo>
                    <a:cubicBezTo>
                      <a:pt x="98" y="10"/>
                      <a:pt x="114" y="3"/>
                      <a:pt x="121" y="0"/>
                    </a:cubicBezTo>
                    <a:cubicBezTo>
                      <a:pt x="124" y="5"/>
                      <a:pt x="127" y="9"/>
                      <a:pt x="130" y="14"/>
                    </a:cubicBezTo>
                    <a:cubicBezTo>
                      <a:pt x="133" y="19"/>
                      <a:pt x="132" y="24"/>
                      <a:pt x="136" y="29"/>
                    </a:cubicBezTo>
                    <a:cubicBezTo>
                      <a:pt x="138" y="33"/>
                      <a:pt x="141" y="38"/>
                      <a:pt x="144" y="41"/>
                    </a:cubicBezTo>
                    <a:cubicBezTo>
                      <a:pt x="147" y="45"/>
                      <a:pt x="153" y="45"/>
                      <a:pt x="156" y="48"/>
                    </a:cubicBezTo>
                    <a:cubicBezTo>
                      <a:pt x="159" y="51"/>
                      <a:pt x="160" y="54"/>
                      <a:pt x="164" y="59"/>
                    </a:cubicBezTo>
                    <a:cubicBezTo>
                      <a:pt x="170" y="65"/>
                      <a:pt x="171" y="75"/>
                      <a:pt x="180" y="77"/>
                    </a:cubicBezTo>
                    <a:cubicBezTo>
                      <a:pt x="181" y="83"/>
                      <a:pt x="187" y="81"/>
                      <a:pt x="188" y="87"/>
                    </a:cubicBezTo>
                    <a:cubicBezTo>
                      <a:pt x="187" y="90"/>
                      <a:pt x="175" y="87"/>
                      <a:pt x="169" y="88"/>
                    </a:cubicBezTo>
                    <a:cubicBezTo>
                      <a:pt x="163" y="89"/>
                      <a:pt x="157" y="93"/>
                      <a:pt x="152" y="93"/>
                    </a:cubicBezTo>
                    <a:cubicBezTo>
                      <a:pt x="143" y="95"/>
                      <a:pt x="143" y="89"/>
                      <a:pt x="136" y="91"/>
                    </a:cubicBezTo>
                    <a:cubicBezTo>
                      <a:pt x="128" y="93"/>
                      <a:pt x="114" y="101"/>
                      <a:pt x="106" y="102"/>
                    </a:cubicBezTo>
                    <a:cubicBezTo>
                      <a:pt x="96" y="109"/>
                      <a:pt x="96" y="98"/>
                      <a:pt x="86" y="96"/>
                    </a:cubicBezTo>
                    <a:cubicBezTo>
                      <a:pt x="79" y="91"/>
                      <a:pt x="78" y="90"/>
                      <a:pt x="68" y="91"/>
                    </a:cubicBezTo>
                    <a:cubicBezTo>
                      <a:pt x="63" y="92"/>
                      <a:pt x="63" y="106"/>
                      <a:pt x="55" y="110"/>
                    </a:cubicBezTo>
                    <a:cubicBezTo>
                      <a:pt x="49" y="113"/>
                      <a:pt x="40" y="109"/>
                      <a:pt x="34" y="110"/>
                    </a:cubicBezTo>
                    <a:cubicBezTo>
                      <a:pt x="28" y="111"/>
                      <a:pt x="23" y="119"/>
                      <a:pt x="19" y="116"/>
                    </a:cubicBezTo>
                    <a:cubicBezTo>
                      <a:pt x="0" y="113"/>
                      <a:pt x="16" y="103"/>
                      <a:pt x="7" y="91"/>
                    </a:cubicBezTo>
                    <a:cubicBezTo>
                      <a:pt x="4" y="76"/>
                      <a:pt x="1" y="69"/>
                      <a:pt x="10" y="58"/>
                    </a:cubicBezTo>
                    <a:cubicBezTo>
                      <a:pt x="11" y="50"/>
                      <a:pt x="11" y="53"/>
                      <a:pt x="11" y="4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48" name="Freeform 494">
                <a:extLst>
                  <a:ext uri="{FF2B5EF4-FFF2-40B4-BE49-F238E27FC236}">
                    <a16:creationId xmlns:a16="http://schemas.microsoft.com/office/drawing/2014/main" id="{55D83DD2-ABF0-4417-A917-FCD13CDD693C}"/>
                  </a:ext>
                </a:extLst>
              </p:cNvPr>
              <p:cNvSpPr>
                <a:spLocks/>
              </p:cNvSpPr>
              <p:nvPr>
                <p:custDataLst>
                  <p:tags r:id="rId205"/>
                </p:custDataLst>
              </p:nvPr>
            </p:nvSpPr>
            <p:spPr bwMode="gray">
              <a:xfrm>
                <a:off x="4867276" y="3659188"/>
                <a:ext cx="379413" cy="328613"/>
              </a:xfrm>
              <a:custGeom>
                <a:avLst/>
                <a:gdLst>
                  <a:gd name="T0" fmla="*/ 12 w 234"/>
                  <a:gd name="T1" fmla="*/ 101 h 203"/>
                  <a:gd name="T2" fmla="*/ 24 w 234"/>
                  <a:gd name="T3" fmla="*/ 87 h 203"/>
                  <a:gd name="T4" fmla="*/ 26 w 234"/>
                  <a:gd name="T5" fmla="*/ 36 h 203"/>
                  <a:gd name="T6" fmla="*/ 41 w 234"/>
                  <a:gd name="T7" fmla="*/ 37 h 203"/>
                  <a:gd name="T8" fmla="*/ 40 w 234"/>
                  <a:gd name="T9" fmla="*/ 7 h 203"/>
                  <a:gd name="T10" fmla="*/ 152 w 234"/>
                  <a:gd name="T11" fmla="*/ 7 h 203"/>
                  <a:gd name="T12" fmla="*/ 181 w 234"/>
                  <a:gd name="T13" fmla="*/ 8 h 203"/>
                  <a:gd name="T14" fmla="*/ 209 w 234"/>
                  <a:gd name="T15" fmla="*/ 0 h 203"/>
                  <a:gd name="T16" fmla="*/ 216 w 234"/>
                  <a:gd name="T17" fmla="*/ 8 h 203"/>
                  <a:gd name="T18" fmla="*/ 218 w 234"/>
                  <a:gd name="T19" fmla="*/ 13 h 203"/>
                  <a:gd name="T20" fmla="*/ 220 w 234"/>
                  <a:gd name="T21" fmla="*/ 22 h 203"/>
                  <a:gd name="T22" fmla="*/ 221 w 234"/>
                  <a:gd name="T23" fmla="*/ 36 h 203"/>
                  <a:gd name="T24" fmla="*/ 234 w 234"/>
                  <a:gd name="T25" fmla="*/ 60 h 203"/>
                  <a:gd name="T26" fmla="*/ 224 w 234"/>
                  <a:gd name="T27" fmla="*/ 78 h 203"/>
                  <a:gd name="T28" fmla="*/ 213 w 234"/>
                  <a:gd name="T29" fmla="*/ 93 h 203"/>
                  <a:gd name="T30" fmla="*/ 211 w 234"/>
                  <a:gd name="T31" fmla="*/ 106 h 203"/>
                  <a:gd name="T32" fmla="*/ 209 w 234"/>
                  <a:gd name="T33" fmla="*/ 112 h 203"/>
                  <a:gd name="T34" fmla="*/ 207 w 234"/>
                  <a:gd name="T35" fmla="*/ 136 h 203"/>
                  <a:gd name="T36" fmla="*/ 199 w 234"/>
                  <a:gd name="T37" fmla="*/ 146 h 203"/>
                  <a:gd name="T38" fmla="*/ 192 w 234"/>
                  <a:gd name="T39" fmla="*/ 157 h 203"/>
                  <a:gd name="T40" fmla="*/ 189 w 234"/>
                  <a:gd name="T41" fmla="*/ 160 h 203"/>
                  <a:gd name="T42" fmla="*/ 181 w 234"/>
                  <a:gd name="T43" fmla="*/ 174 h 203"/>
                  <a:gd name="T44" fmla="*/ 176 w 234"/>
                  <a:gd name="T45" fmla="*/ 190 h 203"/>
                  <a:gd name="T46" fmla="*/ 173 w 234"/>
                  <a:gd name="T47" fmla="*/ 187 h 203"/>
                  <a:gd name="T48" fmla="*/ 162 w 234"/>
                  <a:gd name="T49" fmla="*/ 163 h 203"/>
                  <a:gd name="T50" fmla="*/ 156 w 234"/>
                  <a:gd name="T51" fmla="*/ 156 h 203"/>
                  <a:gd name="T52" fmla="*/ 152 w 234"/>
                  <a:gd name="T53" fmla="*/ 160 h 203"/>
                  <a:gd name="T54" fmla="*/ 145 w 234"/>
                  <a:gd name="T55" fmla="*/ 177 h 203"/>
                  <a:gd name="T56" fmla="*/ 129 w 234"/>
                  <a:gd name="T57" fmla="*/ 189 h 203"/>
                  <a:gd name="T58" fmla="*/ 116 w 234"/>
                  <a:gd name="T59" fmla="*/ 179 h 203"/>
                  <a:gd name="T60" fmla="*/ 106 w 234"/>
                  <a:gd name="T61" fmla="*/ 187 h 203"/>
                  <a:gd name="T62" fmla="*/ 93 w 234"/>
                  <a:gd name="T63" fmla="*/ 193 h 203"/>
                  <a:gd name="T64" fmla="*/ 86 w 234"/>
                  <a:gd name="T65" fmla="*/ 194 h 203"/>
                  <a:gd name="T66" fmla="*/ 63 w 234"/>
                  <a:gd name="T67" fmla="*/ 191 h 203"/>
                  <a:gd name="T68" fmla="*/ 53 w 234"/>
                  <a:gd name="T69" fmla="*/ 179 h 203"/>
                  <a:gd name="T70" fmla="*/ 39 w 234"/>
                  <a:gd name="T71" fmla="*/ 183 h 203"/>
                  <a:gd name="T72" fmla="*/ 36 w 234"/>
                  <a:gd name="T73" fmla="*/ 194 h 203"/>
                  <a:gd name="T74" fmla="*/ 29 w 234"/>
                  <a:gd name="T75" fmla="*/ 203 h 203"/>
                  <a:gd name="T76" fmla="*/ 21 w 234"/>
                  <a:gd name="T77" fmla="*/ 193 h 203"/>
                  <a:gd name="T78" fmla="*/ 13 w 234"/>
                  <a:gd name="T79" fmla="*/ 177 h 203"/>
                  <a:gd name="T80" fmla="*/ 4 w 234"/>
                  <a:gd name="T81" fmla="*/ 159 h 203"/>
                  <a:gd name="T82" fmla="*/ 0 w 234"/>
                  <a:gd name="T83" fmla="*/ 140 h 203"/>
                  <a:gd name="T84" fmla="*/ 4 w 234"/>
                  <a:gd name="T85" fmla="*/ 125 h 203"/>
                  <a:gd name="T86" fmla="*/ 10 w 234"/>
                  <a:gd name="T87" fmla="*/ 115 h 203"/>
                  <a:gd name="T88" fmla="*/ 9 w 234"/>
                  <a:gd name="T89" fmla="*/ 111 h 203"/>
                  <a:gd name="T90" fmla="*/ 12 w 234"/>
                  <a:gd name="T91" fmla="*/ 10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4" h="203">
                    <a:moveTo>
                      <a:pt x="12" y="101"/>
                    </a:moveTo>
                    <a:lnTo>
                      <a:pt x="24" y="87"/>
                    </a:lnTo>
                    <a:lnTo>
                      <a:pt x="26" y="36"/>
                    </a:lnTo>
                    <a:lnTo>
                      <a:pt x="41" y="37"/>
                    </a:lnTo>
                    <a:lnTo>
                      <a:pt x="40" y="7"/>
                    </a:lnTo>
                    <a:lnTo>
                      <a:pt x="152" y="7"/>
                    </a:lnTo>
                    <a:lnTo>
                      <a:pt x="181" y="8"/>
                    </a:lnTo>
                    <a:lnTo>
                      <a:pt x="209" y="0"/>
                    </a:lnTo>
                    <a:cubicBezTo>
                      <a:pt x="213" y="2"/>
                      <a:pt x="214" y="6"/>
                      <a:pt x="216" y="8"/>
                    </a:cubicBezTo>
                    <a:cubicBezTo>
                      <a:pt x="217" y="10"/>
                      <a:pt x="217" y="12"/>
                      <a:pt x="218" y="13"/>
                    </a:cubicBezTo>
                    <a:cubicBezTo>
                      <a:pt x="218" y="16"/>
                      <a:pt x="219" y="19"/>
                      <a:pt x="220" y="22"/>
                    </a:cubicBezTo>
                    <a:cubicBezTo>
                      <a:pt x="221" y="26"/>
                      <a:pt x="219" y="30"/>
                      <a:pt x="221" y="36"/>
                    </a:cubicBezTo>
                    <a:cubicBezTo>
                      <a:pt x="224" y="43"/>
                      <a:pt x="233" y="53"/>
                      <a:pt x="234" y="60"/>
                    </a:cubicBezTo>
                    <a:cubicBezTo>
                      <a:pt x="234" y="67"/>
                      <a:pt x="227" y="74"/>
                      <a:pt x="224" y="78"/>
                    </a:cubicBezTo>
                    <a:cubicBezTo>
                      <a:pt x="221" y="83"/>
                      <a:pt x="215" y="89"/>
                      <a:pt x="213" y="93"/>
                    </a:cubicBezTo>
                    <a:cubicBezTo>
                      <a:pt x="211" y="97"/>
                      <a:pt x="214" y="101"/>
                      <a:pt x="211" y="106"/>
                    </a:cubicBezTo>
                    <a:cubicBezTo>
                      <a:pt x="210" y="108"/>
                      <a:pt x="210" y="110"/>
                      <a:pt x="209" y="112"/>
                    </a:cubicBezTo>
                    <a:cubicBezTo>
                      <a:pt x="211" y="117"/>
                      <a:pt x="213" y="132"/>
                      <a:pt x="207" y="136"/>
                    </a:cubicBezTo>
                    <a:cubicBezTo>
                      <a:pt x="204" y="143"/>
                      <a:pt x="209" y="145"/>
                      <a:pt x="199" y="146"/>
                    </a:cubicBezTo>
                    <a:cubicBezTo>
                      <a:pt x="197" y="149"/>
                      <a:pt x="194" y="155"/>
                      <a:pt x="192" y="157"/>
                    </a:cubicBezTo>
                    <a:cubicBezTo>
                      <a:pt x="191" y="158"/>
                      <a:pt x="189" y="160"/>
                      <a:pt x="189" y="160"/>
                    </a:cubicBezTo>
                    <a:cubicBezTo>
                      <a:pt x="187" y="163"/>
                      <a:pt x="183" y="171"/>
                      <a:pt x="181" y="174"/>
                    </a:cubicBezTo>
                    <a:cubicBezTo>
                      <a:pt x="179" y="179"/>
                      <a:pt x="177" y="188"/>
                      <a:pt x="176" y="190"/>
                    </a:cubicBezTo>
                    <a:cubicBezTo>
                      <a:pt x="175" y="191"/>
                      <a:pt x="174" y="189"/>
                      <a:pt x="173" y="187"/>
                    </a:cubicBezTo>
                    <a:cubicBezTo>
                      <a:pt x="171" y="183"/>
                      <a:pt x="165" y="168"/>
                      <a:pt x="162" y="163"/>
                    </a:cubicBezTo>
                    <a:cubicBezTo>
                      <a:pt x="160" y="160"/>
                      <a:pt x="158" y="157"/>
                      <a:pt x="156" y="156"/>
                    </a:cubicBezTo>
                    <a:cubicBezTo>
                      <a:pt x="155" y="157"/>
                      <a:pt x="154" y="157"/>
                      <a:pt x="152" y="160"/>
                    </a:cubicBezTo>
                    <a:lnTo>
                      <a:pt x="145" y="177"/>
                    </a:lnTo>
                    <a:lnTo>
                      <a:pt x="129" y="189"/>
                    </a:lnTo>
                    <a:lnTo>
                      <a:pt x="116" y="179"/>
                    </a:lnTo>
                    <a:cubicBezTo>
                      <a:pt x="112" y="179"/>
                      <a:pt x="109" y="185"/>
                      <a:pt x="106" y="187"/>
                    </a:cubicBezTo>
                    <a:cubicBezTo>
                      <a:pt x="102" y="189"/>
                      <a:pt x="96" y="192"/>
                      <a:pt x="93" y="193"/>
                    </a:cubicBezTo>
                    <a:cubicBezTo>
                      <a:pt x="91" y="194"/>
                      <a:pt x="89" y="194"/>
                      <a:pt x="86" y="194"/>
                    </a:cubicBezTo>
                    <a:cubicBezTo>
                      <a:pt x="83" y="186"/>
                      <a:pt x="69" y="191"/>
                      <a:pt x="63" y="191"/>
                    </a:cubicBezTo>
                    <a:cubicBezTo>
                      <a:pt x="61" y="187"/>
                      <a:pt x="57" y="181"/>
                      <a:pt x="53" y="179"/>
                    </a:cubicBezTo>
                    <a:cubicBezTo>
                      <a:pt x="36" y="179"/>
                      <a:pt x="46" y="178"/>
                      <a:pt x="39" y="183"/>
                    </a:cubicBezTo>
                    <a:cubicBezTo>
                      <a:pt x="37" y="187"/>
                      <a:pt x="37" y="190"/>
                      <a:pt x="36" y="194"/>
                    </a:cubicBezTo>
                    <a:cubicBezTo>
                      <a:pt x="35" y="197"/>
                      <a:pt x="32" y="201"/>
                      <a:pt x="29" y="203"/>
                    </a:cubicBezTo>
                    <a:cubicBezTo>
                      <a:pt x="27" y="203"/>
                      <a:pt x="23" y="196"/>
                      <a:pt x="21" y="193"/>
                    </a:cubicBezTo>
                    <a:cubicBezTo>
                      <a:pt x="18" y="189"/>
                      <a:pt x="16" y="183"/>
                      <a:pt x="13" y="177"/>
                    </a:cubicBezTo>
                    <a:cubicBezTo>
                      <a:pt x="10" y="173"/>
                      <a:pt x="6" y="165"/>
                      <a:pt x="4" y="159"/>
                    </a:cubicBezTo>
                    <a:cubicBezTo>
                      <a:pt x="3" y="155"/>
                      <a:pt x="0" y="146"/>
                      <a:pt x="0" y="140"/>
                    </a:cubicBezTo>
                    <a:cubicBezTo>
                      <a:pt x="0" y="134"/>
                      <a:pt x="2" y="129"/>
                      <a:pt x="4" y="125"/>
                    </a:cubicBezTo>
                    <a:cubicBezTo>
                      <a:pt x="0" y="120"/>
                      <a:pt x="5" y="116"/>
                      <a:pt x="10" y="115"/>
                    </a:cubicBezTo>
                    <a:cubicBezTo>
                      <a:pt x="9" y="114"/>
                      <a:pt x="7" y="113"/>
                      <a:pt x="9" y="111"/>
                    </a:cubicBezTo>
                    <a:cubicBezTo>
                      <a:pt x="10" y="106"/>
                      <a:pt x="9" y="113"/>
                      <a:pt x="12" y="10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49" name="Freeform 493">
                <a:extLst>
                  <a:ext uri="{FF2B5EF4-FFF2-40B4-BE49-F238E27FC236}">
                    <a16:creationId xmlns:a16="http://schemas.microsoft.com/office/drawing/2014/main" id="{33C6BFAD-CD23-41E0-8668-62CFCCBFF883}"/>
                  </a:ext>
                </a:extLst>
              </p:cNvPr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gray">
              <a:xfrm>
                <a:off x="4913313" y="3903663"/>
                <a:ext cx="285750" cy="204788"/>
              </a:xfrm>
              <a:custGeom>
                <a:avLst/>
                <a:gdLst>
                  <a:gd name="T0" fmla="*/ 177 w 177"/>
                  <a:gd name="T1" fmla="*/ 113 h 126"/>
                  <a:gd name="T2" fmla="*/ 151 w 177"/>
                  <a:gd name="T3" fmla="*/ 111 h 126"/>
                  <a:gd name="T4" fmla="*/ 142 w 177"/>
                  <a:gd name="T5" fmla="*/ 117 h 126"/>
                  <a:gd name="T6" fmla="*/ 134 w 177"/>
                  <a:gd name="T7" fmla="*/ 123 h 126"/>
                  <a:gd name="T8" fmla="*/ 127 w 177"/>
                  <a:gd name="T9" fmla="*/ 122 h 126"/>
                  <a:gd name="T10" fmla="*/ 113 w 177"/>
                  <a:gd name="T11" fmla="*/ 122 h 126"/>
                  <a:gd name="T12" fmla="*/ 110 w 177"/>
                  <a:gd name="T13" fmla="*/ 126 h 126"/>
                  <a:gd name="T14" fmla="*/ 94 w 177"/>
                  <a:gd name="T15" fmla="*/ 125 h 126"/>
                  <a:gd name="T16" fmla="*/ 87 w 177"/>
                  <a:gd name="T17" fmla="*/ 118 h 126"/>
                  <a:gd name="T18" fmla="*/ 74 w 177"/>
                  <a:gd name="T19" fmla="*/ 113 h 126"/>
                  <a:gd name="T20" fmla="*/ 63 w 177"/>
                  <a:gd name="T21" fmla="*/ 115 h 126"/>
                  <a:gd name="T22" fmla="*/ 50 w 177"/>
                  <a:gd name="T23" fmla="*/ 107 h 126"/>
                  <a:gd name="T24" fmla="*/ 49 w 177"/>
                  <a:gd name="T25" fmla="*/ 105 h 126"/>
                  <a:gd name="T26" fmla="*/ 45 w 177"/>
                  <a:gd name="T27" fmla="*/ 102 h 126"/>
                  <a:gd name="T28" fmla="*/ 32 w 177"/>
                  <a:gd name="T29" fmla="*/ 87 h 126"/>
                  <a:gd name="T30" fmla="*/ 29 w 177"/>
                  <a:gd name="T31" fmla="*/ 81 h 126"/>
                  <a:gd name="T32" fmla="*/ 18 w 177"/>
                  <a:gd name="T33" fmla="*/ 73 h 126"/>
                  <a:gd name="T34" fmla="*/ 12 w 177"/>
                  <a:gd name="T35" fmla="*/ 63 h 126"/>
                  <a:gd name="T36" fmla="*/ 3 w 177"/>
                  <a:gd name="T37" fmla="*/ 59 h 126"/>
                  <a:gd name="T38" fmla="*/ 0 w 177"/>
                  <a:gd name="T39" fmla="*/ 57 h 126"/>
                  <a:gd name="T40" fmla="*/ 4 w 177"/>
                  <a:gd name="T41" fmla="*/ 49 h 126"/>
                  <a:gd name="T42" fmla="*/ 9 w 177"/>
                  <a:gd name="T43" fmla="*/ 35 h 126"/>
                  <a:gd name="T44" fmla="*/ 13 w 177"/>
                  <a:gd name="T45" fmla="*/ 30 h 126"/>
                  <a:gd name="T46" fmla="*/ 25 w 177"/>
                  <a:gd name="T47" fmla="*/ 28 h 126"/>
                  <a:gd name="T48" fmla="*/ 35 w 177"/>
                  <a:gd name="T49" fmla="*/ 37 h 126"/>
                  <a:gd name="T50" fmla="*/ 44 w 177"/>
                  <a:gd name="T51" fmla="*/ 38 h 126"/>
                  <a:gd name="T52" fmla="*/ 59 w 177"/>
                  <a:gd name="T53" fmla="*/ 42 h 126"/>
                  <a:gd name="T54" fmla="*/ 69 w 177"/>
                  <a:gd name="T55" fmla="*/ 41 h 126"/>
                  <a:gd name="T56" fmla="*/ 70 w 177"/>
                  <a:gd name="T57" fmla="*/ 39 h 126"/>
                  <a:gd name="T58" fmla="*/ 81 w 177"/>
                  <a:gd name="T59" fmla="*/ 31 h 126"/>
                  <a:gd name="T60" fmla="*/ 87 w 177"/>
                  <a:gd name="T61" fmla="*/ 27 h 126"/>
                  <a:gd name="T62" fmla="*/ 101 w 177"/>
                  <a:gd name="T63" fmla="*/ 37 h 126"/>
                  <a:gd name="T64" fmla="*/ 107 w 177"/>
                  <a:gd name="T65" fmla="*/ 37 h 126"/>
                  <a:gd name="T66" fmla="*/ 116 w 177"/>
                  <a:gd name="T67" fmla="*/ 26 h 126"/>
                  <a:gd name="T68" fmla="*/ 123 w 177"/>
                  <a:gd name="T69" fmla="*/ 20 h 126"/>
                  <a:gd name="T70" fmla="*/ 124 w 177"/>
                  <a:gd name="T71" fmla="*/ 8 h 126"/>
                  <a:gd name="T72" fmla="*/ 119 w 177"/>
                  <a:gd name="T73" fmla="*/ 4 h 126"/>
                  <a:gd name="T74" fmla="*/ 130 w 177"/>
                  <a:gd name="T75" fmla="*/ 0 h 126"/>
                  <a:gd name="T76" fmla="*/ 134 w 177"/>
                  <a:gd name="T77" fmla="*/ 15 h 126"/>
                  <a:gd name="T78" fmla="*/ 141 w 177"/>
                  <a:gd name="T79" fmla="*/ 25 h 126"/>
                  <a:gd name="T80" fmla="*/ 147 w 177"/>
                  <a:gd name="T81" fmla="*/ 41 h 126"/>
                  <a:gd name="T82" fmla="*/ 144 w 177"/>
                  <a:gd name="T83" fmla="*/ 54 h 126"/>
                  <a:gd name="T84" fmla="*/ 136 w 177"/>
                  <a:gd name="T85" fmla="*/ 56 h 126"/>
                  <a:gd name="T86" fmla="*/ 132 w 177"/>
                  <a:gd name="T87" fmla="*/ 63 h 126"/>
                  <a:gd name="T88" fmla="*/ 140 w 177"/>
                  <a:gd name="T89" fmla="*/ 66 h 126"/>
                  <a:gd name="T90" fmla="*/ 153 w 177"/>
                  <a:gd name="T91" fmla="*/ 80 h 126"/>
                  <a:gd name="T92" fmla="*/ 159 w 177"/>
                  <a:gd name="T93" fmla="*/ 85 h 126"/>
                  <a:gd name="T94" fmla="*/ 164 w 177"/>
                  <a:gd name="T95" fmla="*/ 98 h 126"/>
                  <a:gd name="T96" fmla="*/ 166 w 177"/>
                  <a:gd name="T97" fmla="*/ 101 h 126"/>
                  <a:gd name="T98" fmla="*/ 177 w 177"/>
                  <a:gd name="T99" fmla="*/ 11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7" h="126">
                    <a:moveTo>
                      <a:pt x="177" y="113"/>
                    </a:moveTo>
                    <a:lnTo>
                      <a:pt x="151" y="111"/>
                    </a:lnTo>
                    <a:cubicBezTo>
                      <a:pt x="148" y="114"/>
                      <a:pt x="145" y="115"/>
                      <a:pt x="142" y="117"/>
                    </a:cubicBezTo>
                    <a:cubicBezTo>
                      <a:pt x="141" y="121"/>
                      <a:pt x="137" y="122"/>
                      <a:pt x="134" y="123"/>
                    </a:cubicBezTo>
                    <a:cubicBezTo>
                      <a:pt x="131" y="121"/>
                      <a:pt x="130" y="122"/>
                      <a:pt x="127" y="122"/>
                    </a:cubicBezTo>
                    <a:cubicBezTo>
                      <a:pt x="124" y="122"/>
                      <a:pt x="116" y="121"/>
                      <a:pt x="113" y="122"/>
                    </a:cubicBezTo>
                    <a:cubicBezTo>
                      <a:pt x="111" y="122"/>
                      <a:pt x="110" y="123"/>
                      <a:pt x="110" y="126"/>
                    </a:cubicBezTo>
                    <a:cubicBezTo>
                      <a:pt x="107" y="126"/>
                      <a:pt x="98" y="126"/>
                      <a:pt x="94" y="125"/>
                    </a:cubicBezTo>
                    <a:cubicBezTo>
                      <a:pt x="94" y="123"/>
                      <a:pt x="89" y="118"/>
                      <a:pt x="87" y="118"/>
                    </a:cubicBezTo>
                    <a:cubicBezTo>
                      <a:pt x="84" y="116"/>
                      <a:pt x="76" y="114"/>
                      <a:pt x="74" y="113"/>
                    </a:cubicBezTo>
                    <a:cubicBezTo>
                      <a:pt x="70" y="112"/>
                      <a:pt x="66" y="115"/>
                      <a:pt x="63" y="115"/>
                    </a:cubicBezTo>
                    <a:cubicBezTo>
                      <a:pt x="59" y="114"/>
                      <a:pt x="52" y="109"/>
                      <a:pt x="50" y="107"/>
                    </a:cubicBezTo>
                    <a:cubicBezTo>
                      <a:pt x="50" y="106"/>
                      <a:pt x="50" y="106"/>
                      <a:pt x="49" y="105"/>
                    </a:cubicBezTo>
                    <a:cubicBezTo>
                      <a:pt x="48" y="105"/>
                      <a:pt x="47" y="104"/>
                      <a:pt x="45" y="102"/>
                    </a:cubicBezTo>
                    <a:cubicBezTo>
                      <a:pt x="42" y="99"/>
                      <a:pt x="35" y="90"/>
                      <a:pt x="32" y="87"/>
                    </a:cubicBezTo>
                    <a:cubicBezTo>
                      <a:pt x="30" y="84"/>
                      <a:pt x="33" y="81"/>
                      <a:pt x="29" y="81"/>
                    </a:cubicBezTo>
                    <a:cubicBezTo>
                      <a:pt x="27" y="79"/>
                      <a:pt x="20" y="75"/>
                      <a:pt x="18" y="73"/>
                    </a:cubicBezTo>
                    <a:cubicBezTo>
                      <a:pt x="15" y="70"/>
                      <a:pt x="14" y="65"/>
                      <a:pt x="12" y="63"/>
                    </a:cubicBezTo>
                    <a:cubicBezTo>
                      <a:pt x="7" y="61"/>
                      <a:pt x="9" y="60"/>
                      <a:pt x="3" y="59"/>
                    </a:cubicBezTo>
                    <a:cubicBezTo>
                      <a:pt x="2" y="58"/>
                      <a:pt x="0" y="59"/>
                      <a:pt x="0" y="57"/>
                    </a:cubicBezTo>
                    <a:cubicBezTo>
                      <a:pt x="0" y="53"/>
                      <a:pt x="1" y="50"/>
                      <a:pt x="4" y="49"/>
                    </a:cubicBezTo>
                    <a:cubicBezTo>
                      <a:pt x="6" y="45"/>
                      <a:pt x="8" y="38"/>
                      <a:pt x="9" y="35"/>
                    </a:cubicBezTo>
                    <a:cubicBezTo>
                      <a:pt x="10" y="32"/>
                      <a:pt x="11" y="32"/>
                      <a:pt x="13" y="30"/>
                    </a:cubicBezTo>
                    <a:cubicBezTo>
                      <a:pt x="16" y="26"/>
                      <a:pt x="18" y="28"/>
                      <a:pt x="25" y="28"/>
                    </a:cubicBezTo>
                    <a:cubicBezTo>
                      <a:pt x="29" y="29"/>
                      <a:pt x="32" y="35"/>
                      <a:pt x="35" y="37"/>
                    </a:cubicBezTo>
                    <a:cubicBezTo>
                      <a:pt x="35" y="42"/>
                      <a:pt x="39" y="39"/>
                      <a:pt x="44" y="38"/>
                    </a:cubicBezTo>
                    <a:cubicBezTo>
                      <a:pt x="48" y="39"/>
                      <a:pt x="55" y="42"/>
                      <a:pt x="59" y="42"/>
                    </a:cubicBezTo>
                    <a:cubicBezTo>
                      <a:pt x="62" y="42"/>
                      <a:pt x="66" y="43"/>
                      <a:pt x="69" y="41"/>
                    </a:cubicBezTo>
                    <a:cubicBezTo>
                      <a:pt x="70" y="40"/>
                      <a:pt x="69" y="39"/>
                      <a:pt x="70" y="39"/>
                    </a:cubicBezTo>
                    <a:cubicBezTo>
                      <a:pt x="72" y="37"/>
                      <a:pt x="78" y="33"/>
                      <a:pt x="81" y="31"/>
                    </a:cubicBezTo>
                    <a:cubicBezTo>
                      <a:pt x="83" y="30"/>
                      <a:pt x="87" y="27"/>
                      <a:pt x="87" y="27"/>
                    </a:cubicBezTo>
                    <a:lnTo>
                      <a:pt x="101" y="37"/>
                    </a:lnTo>
                    <a:lnTo>
                      <a:pt x="107" y="37"/>
                    </a:lnTo>
                    <a:lnTo>
                      <a:pt x="116" y="26"/>
                    </a:lnTo>
                    <a:lnTo>
                      <a:pt x="123" y="20"/>
                    </a:lnTo>
                    <a:lnTo>
                      <a:pt x="124" y="8"/>
                    </a:lnTo>
                    <a:lnTo>
                      <a:pt x="119" y="4"/>
                    </a:lnTo>
                    <a:cubicBezTo>
                      <a:pt x="129" y="4"/>
                      <a:pt x="129" y="6"/>
                      <a:pt x="130" y="0"/>
                    </a:cubicBezTo>
                    <a:cubicBezTo>
                      <a:pt x="136" y="1"/>
                      <a:pt x="132" y="10"/>
                      <a:pt x="134" y="15"/>
                    </a:cubicBezTo>
                    <a:cubicBezTo>
                      <a:pt x="135" y="20"/>
                      <a:pt x="135" y="24"/>
                      <a:pt x="141" y="25"/>
                    </a:cubicBezTo>
                    <a:cubicBezTo>
                      <a:pt x="143" y="29"/>
                      <a:pt x="147" y="36"/>
                      <a:pt x="147" y="41"/>
                    </a:cubicBezTo>
                    <a:cubicBezTo>
                      <a:pt x="147" y="48"/>
                      <a:pt x="151" y="53"/>
                      <a:pt x="144" y="54"/>
                    </a:cubicBezTo>
                    <a:cubicBezTo>
                      <a:pt x="142" y="58"/>
                      <a:pt x="140" y="56"/>
                      <a:pt x="136" y="56"/>
                    </a:cubicBezTo>
                    <a:cubicBezTo>
                      <a:pt x="132" y="57"/>
                      <a:pt x="132" y="59"/>
                      <a:pt x="132" y="63"/>
                    </a:cubicBezTo>
                    <a:cubicBezTo>
                      <a:pt x="133" y="69"/>
                      <a:pt x="131" y="66"/>
                      <a:pt x="140" y="66"/>
                    </a:cubicBezTo>
                    <a:cubicBezTo>
                      <a:pt x="143" y="69"/>
                      <a:pt x="150" y="77"/>
                      <a:pt x="153" y="80"/>
                    </a:cubicBezTo>
                    <a:cubicBezTo>
                      <a:pt x="154" y="82"/>
                      <a:pt x="157" y="82"/>
                      <a:pt x="159" y="85"/>
                    </a:cubicBezTo>
                    <a:cubicBezTo>
                      <a:pt x="161" y="88"/>
                      <a:pt x="163" y="95"/>
                      <a:pt x="164" y="98"/>
                    </a:cubicBezTo>
                    <a:cubicBezTo>
                      <a:pt x="164" y="99"/>
                      <a:pt x="164" y="101"/>
                      <a:pt x="166" y="101"/>
                    </a:cubicBezTo>
                    <a:cubicBezTo>
                      <a:pt x="175" y="102"/>
                      <a:pt x="177" y="113"/>
                      <a:pt x="177" y="1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50" name="Freeform 15">
                <a:extLst>
                  <a:ext uri="{FF2B5EF4-FFF2-40B4-BE49-F238E27FC236}">
                    <a16:creationId xmlns:a16="http://schemas.microsoft.com/office/drawing/2014/main" id="{194F5ED8-AC83-4E41-BC75-45BD062506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2977" y="1398587"/>
                <a:ext cx="2128837" cy="1720851"/>
              </a:xfrm>
              <a:custGeom>
                <a:avLst/>
                <a:gdLst>
                  <a:gd name="T0" fmla="*/ 332 w 1304"/>
                  <a:gd name="T1" fmla="*/ 24 h 1052"/>
                  <a:gd name="T2" fmla="*/ 186 w 1304"/>
                  <a:gd name="T3" fmla="*/ 848 h 1052"/>
                  <a:gd name="T4" fmla="*/ 1284 w 1304"/>
                  <a:gd name="T5" fmla="*/ 886 h 1052"/>
                  <a:gd name="T6" fmla="*/ 1244 w 1304"/>
                  <a:gd name="T7" fmla="*/ 788 h 1052"/>
                  <a:gd name="T8" fmla="*/ 1182 w 1304"/>
                  <a:gd name="T9" fmla="*/ 736 h 1052"/>
                  <a:gd name="T10" fmla="*/ 1112 w 1304"/>
                  <a:gd name="T11" fmla="*/ 650 h 1052"/>
                  <a:gd name="T12" fmla="*/ 1052 w 1304"/>
                  <a:gd name="T13" fmla="*/ 618 h 1052"/>
                  <a:gd name="T14" fmla="*/ 930 w 1304"/>
                  <a:gd name="T15" fmla="*/ 546 h 1052"/>
                  <a:gd name="T16" fmla="*/ 906 w 1304"/>
                  <a:gd name="T17" fmla="*/ 762 h 1052"/>
                  <a:gd name="T18" fmla="*/ 744 w 1304"/>
                  <a:gd name="T19" fmla="*/ 694 h 1052"/>
                  <a:gd name="T20" fmla="*/ 750 w 1304"/>
                  <a:gd name="T21" fmla="*/ 514 h 1052"/>
                  <a:gd name="T22" fmla="*/ 790 w 1304"/>
                  <a:gd name="T23" fmla="*/ 506 h 1052"/>
                  <a:gd name="T24" fmla="*/ 870 w 1304"/>
                  <a:gd name="T25" fmla="*/ 482 h 1052"/>
                  <a:gd name="T26" fmla="*/ 872 w 1304"/>
                  <a:gd name="T27" fmla="*/ 294 h 1052"/>
                  <a:gd name="T28" fmla="*/ 916 w 1304"/>
                  <a:gd name="T29" fmla="*/ 252 h 1052"/>
                  <a:gd name="T30" fmla="*/ 988 w 1304"/>
                  <a:gd name="T31" fmla="*/ 414 h 1052"/>
                  <a:gd name="T32" fmla="*/ 952 w 1304"/>
                  <a:gd name="T33" fmla="*/ 488 h 1052"/>
                  <a:gd name="T34" fmla="*/ 1072 w 1304"/>
                  <a:gd name="T35" fmla="*/ 554 h 1052"/>
                  <a:gd name="T36" fmla="*/ 1114 w 1304"/>
                  <a:gd name="T37" fmla="*/ 500 h 1052"/>
                  <a:gd name="T38" fmla="*/ 1132 w 1304"/>
                  <a:gd name="T39" fmla="*/ 392 h 1052"/>
                  <a:gd name="T40" fmla="*/ 1028 w 1304"/>
                  <a:gd name="T41" fmla="*/ 256 h 1052"/>
                  <a:gd name="T42" fmla="*/ 962 w 1304"/>
                  <a:gd name="T43" fmla="*/ 198 h 1052"/>
                  <a:gd name="T44" fmla="*/ 920 w 1304"/>
                  <a:gd name="T45" fmla="*/ 192 h 1052"/>
                  <a:gd name="T46" fmla="*/ 820 w 1304"/>
                  <a:gd name="T47" fmla="*/ 142 h 1052"/>
                  <a:gd name="T48" fmla="*/ 824 w 1304"/>
                  <a:gd name="T49" fmla="*/ 98 h 1052"/>
                  <a:gd name="T50" fmla="*/ 794 w 1304"/>
                  <a:gd name="T51" fmla="*/ 270 h 1052"/>
                  <a:gd name="T52" fmla="*/ 764 w 1304"/>
                  <a:gd name="T53" fmla="*/ 304 h 1052"/>
                  <a:gd name="T54" fmla="*/ 658 w 1304"/>
                  <a:gd name="T55" fmla="*/ 266 h 1052"/>
                  <a:gd name="T56" fmla="*/ 626 w 1304"/>
                  <a:gd name="T57" fmla="*/ 330 h 1052"/>
                  <a:gd name="T58" fmla="*/ 478 w 1304"/>
                  <a:gd name="T59" fmla="*/ 382 h 1052"/>
                  <a:gd name="T60" fmla="*/ 418 w 1304"/>
                  <a:gd name="T61" fmla="*/ 346 h 1052"/>
                  <a:gd name="T62" fmla="*/ 580 w 1304"/>
                  <a:gd name="T63" fmla="*/ 320 h 1052"/>
                  <a:gd name="T64" fmla="*/ 538 w 1304"/>
                  <a:gd name="T65" fmla="*/ 106 h 1052"/>
                  <a:gd name="T66" fmla="*/ 448 w 1304"/>
                  <a:gd name="T67" fmla="*/ 166 h 1052"/>
                  <a:gd name="T68" fmla="*/ 380 w 1304"/>
                  <a:gd name="T69" fmla="*/ 114 h 1052"/>
                  <a:gd name="T70" fmla="*/ 242 w 1304"/>
                  <a:gd name="T71" fmla="*/ 86 h 1052"/>
                  <a:gd name="T72" fmla="*/ 276 w 1304"/>
                  <a:gd name="T73" fmla="*/ 228 h 1052"/>
                  <a:gd name="T74" fmla="*/ 334 w 1304"/>
                  <a:gd name="T75" fmla="*/ 172 h 1052"/>
                  <a:gd name="T76" fmla="*/ 392 w 1304"/>
                  <a:gd name="T77" fmla="*/ 252 h 1052"/>
                  <a:gd name="T78" fmla="*/ 402 w 1304"/>
                  <a:gd name="T79" fmla="*/ 316 h 1052"/>
                  <a:gd name="T80" fmla="*/ 228 w 1304"/>
                  <a:gd name="T81" fmla="*/ 266 h 1052"/>
                  <a:gd name="T82" fmla="*/ 152 w 1304"/>
                  <a:gd name="T83" fmla="*/ 306 h 1052"/>
                  <a:gd name="T84" fmla="*/ 18 w 1304"/>
                  <a:gd name="T85" fmla="*/ 288 h 1052"/>
                  <a:gd name="T86" fmla="*/ 112 w 1304"/>
                  <a:gd name="T87" fmla="*/ 756 h 1052"/>
                  <a:gd name="T88" fmla="*/ 702 w 1304"/>
                  <a:gd name="T89" fmla="*/ 912 h 1052"/>
                  <a:gd name="T90" fmla="*/ 834 w 1304"/>
                  <a:gd name="T91" fmla="*/ 948 h 1052"/>
                  <a:gd name="T92" fmla="*/ 858 w 1304"/>
                  <a:gd name="T93" fmla="*/ 1038 h 1052"/>
                  <a:gd name="T94" fmla="*/ 1076 w 1304"/>
                  <a:gd name="T95" fmla="*/ 932 h 1052"/>
                  <a:gd name="T96" fmla="*/ 1194 w 1304"/>
                  <a:gd name="T97" fmla="*/ 936 h 1052"/>
                  <a:gd name="T98" fmla="*/ 1102 w 1304"/>
                  <a:gd name="T99" fmla="*/ 910 h 1052"/>
                  <a:gd name="T100" fmla="*/ 1134 w 1304"/>
                  <a:gd name="T101" fmla="*/ 872 h 1052"/>
                  <a:gd name="T102" fmla="*/ 1194 w 1304"/>
                  <a:gd name="T103" fmla="*/ 920 h 1052"/>
                  <a:gd name="T104" fmla="*/ 772 w 1304"/>
                  <a:gd name="T105" fmla="*/ 446 h 1052"/>
                  <a:gd name="T106" fmla="*/ 126 w 1304"/>
                  <a:gd name="T107" fmla="*/ 772 h 1052"/>
                  <a:gd name="T108" fmla="*/ 588 w 1304"/>
                  <a:gd name="T109" fmla="*/ 154 h 1052"/>
                  <a:gd name="T110" fmla="*/ 654 w 1304"/>
                  <a:gd name="T111" fmla="*/ 204 h 1052"/>
                  <a:gd name="T112" fmla="*/ 674 w 1304"/>
                  <a:gd name="T113" fmla="*/ 90 h 1052"/>
                  <a:gd name="T114" fmla="*/ 740 w 1304"/>
                  <a:gd name="T115" fmla="*/ 118 h 1052"/>
                  <a:gd name="T116" fmla="*/ 948 w 1304"/>
                  <a:gd name="T117" fmla="*/ 140 h 1052"/>
                  <a:gd name="T118" fmla="*/ 972 w 1304"/>
                  <a:gd name="T119" fmla="*/ 352 h 1052"/>
                  <a:gd name="T120" fmla="*/ 870 w 1304"/>
                  <a:gd name="T121" fmla="*/ 536 h 1052"/>
                  <a:gd name="T122" fmla="*/ 898 w 1304"/>
                  <a:gd name="T123" fmla="*/ 644 h 1052"/>
                  <a:gd name="T124" fmla="*/ 1160 w 1304"/>
                  <a:gd name="T125" fmla="*/ 892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04" h="1052">
                    <a:moveTo>
                      <a:pt x="650" y="32"/>
                    </a:moveTo>
                    <a:lnTo>
                      <a:pt x="650" y="32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98" y="54"/>
                    </a:lnTo>
                    <a:lnTo>
                      <a:pt x="698" y="54"/>
                    </a:lnTo>
                    <a:lnTo>
                      <a:pt x="700" y="54"/>
                    </a:lnTo>
                    <a:lnTo>
                      <a:pt x="700" y="54"/>
                    </a:lnTo>
                    <a:lnTo>
                      <a:pt x="702" y="50"/>
                    </a:lnTo>
                    <a:lnTo>
                      <a:pt x="702" y="22"/>
                    </a:lnTo>
                    <a:lnTo>
                      <a:pt x="702" y="22"/>
                    </a:lnTo>
                    <a:lnTo>
                      <a:pt x="700" y="20"/>
                    </a:lnTo>
                    <a:lnTo>
                      <a:pt x="680" y="2"/>
                    </a:lnTo>
                    <a:lnTo>
                      <a:pt x="680" y="2"/>
                    </a:lnTo>
                    <a:lnTo>
                      <a:pt x="678" y="0"/>
                    </a:lnTo>
                    <a:lnTo>
                      <a:pt x="670" y="0"/>
                    </a:lnTo>
                    <a:lnTo>
                      <a:pt x="670" y="0"/>
                    </a:lnTo>
                    <a:lnTo>
                      <a:pt x="668" y="2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48" y="30"/>
                    </a:lnTo>
                    <a:lnTo>
                      <a:pt x="648" y="30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50" y="32"/>
                    </a:lnTo>
                    <a:lnTo>
                      <a:pt x="650" y="32"/>
                    </a:lnTo>
                    <a:close/>
                    <a:moveTo>
                      <a:pt x="718" y="54"/>
                    </a:moveTo>
                    <a:lnTo>
                      <a:pt x="802" y="72"/>
                    </a:lnTo>
                    <a:lnTo>
                      <a:pt x="802" y="72"/>
                    </a:lnTo>
                    <a:lnTo>
                      <a:pt x="802" y="72"/>
                    </a:lnTo>
                    <a:lnTo>
                      <a:pt x="832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52" y="54"/>
                    </a:lnTo>
                    <a:lnTo>
                      <a:pt x="870" y="62"/>
                    </a:lnTo>
                    <a:lnTo>
                      <a:pt x="870" y="62"/>
                    </a:lnTo>
                    <a:lnTo>
                      <a:pt x="874" y="62"/>
                    </a:lnTo>
                    <a:lnTo>
                      <a:pt x="900" y="52"/>
                    </a:lnTo>
                    <a:lnTo>
                      <a:pt x="900" y="52"/>
                    </a:lnTo>
                    <a:lnTo>
                      <a:pt x="902" y="50"/>
                    </a:lnTo>
                    <a:lnTo>
                      <a:pt x="908" y="10"/>
                    </a:lnTo>
                    <a:lnTo>
                      <a:pt x="908" y="10"/>
                    </a:lnTo>
                    <a:lnTo>
                      <a:pt x="908" y="8"/>
                    </a:lnTo>
                    <a:lnTo>
                      <a:pt x="908" y="8"/>
                    </a:lnTo>
                    <a:lnTo>
                      <a:pt x="906" y="6"/>
                    </a:lnTo>
                    <a:lnTo>
                      <a:pt x="718" y="4"/>
                    </a:lnTo>
                    <a:lnTo>
                      <a:pt x="718" y="4"/>
                    </a:lnTo>
                    <a:lnTo>
                      <a:pt x="714" y="6"/>
                    </a:lnTo>
                    <a:lnTo>
                      <a:pt x="714" y="8"/>
                    </a:lnTo>
                    <a:lnTo>
                      <a:pt x="714" y="8"/>
                    </a:lnTo>
                    <a:lnTo>
                      <a:pt x="714" y="10"/>
                    </a:lnTo>
                    <a:lnTo>
                      <a:pt x="716" y="50"/>
                    </a:lnTo>
                    <a:lnTo>
                      <a:pt x="716" y="50"/>
                    </a:lnTo>
                    <a:lnTo>
                      <a:pt x="718" y="54"/>
                    </a:lnTo>
                    <a:lnTo>
                      <a:pt x="718" y="54"/>
                    </a:lnTo>
                    <a:close/>
                    <a:moveTo>
                      <a:pt x="592" y="34"/>
                    </a:moveTo>
                    <a:lnTo>
                      <a:pt x="592" y="34"/>
                    </a:lnTo>
                    <a:lnTo>
                      <a:pt x="594" y="34"/>
                    </a:lnTo>
                    <a:lnTo>
                      <a:pt x="622" y="34"/>
                    </a:lnTo>
                    <a:lnTo>
                      <a:pt x="622" y="34"/>
                    </a:lnTo>
                    <a:lnTo>
                      <a:pt x="624" y="32"/>
                    </a:lnTo>
                    <a:lnTo>
                      <a:pt x="634" y="12"/>
                    </a:lnTo>
                    <a:lnTo>
                      <a:pt x="634" y="12"/>
                    </a:lnTo>
                    <a:lnTo>
                      <a:pt x="636" y="10"/>
                    </a:lnTo>
                    <a:lnTo>
                      <a:pt x="636" y="10"/>
                    </a:lnTo>
                    <a:lnTo>
                      <a:pt x="636" y="8"/>
                    </a:lnTo>
                    <a:lnTo>
                      <a:pt x="636" y="8"/>
                    </a:lnTo>
                    <a:lnTo>
                      <a:pt x="636" y="6"/>
                    </a:lnTo>
                    <a:lnTo>
                      <a:pt x="634" y="6"/>
                    </a:lnTo>
                    <a:lnTo>
                      <a:pt x="634" y="6"/>
                    </a:lnTo>
                    <a:lnTo>
                      <a:pt x="632" y="6"/>
                    </a:lnTo>
                    <a:lnTo>
                      <a:pt x="630" y="6"/>
                    </a:lnTo>
                    <a:lnTo>
                      <a:pt x="630" y="6"/>
                    </a:lnTo>
                    <a:lnTo>
                      <a:pt x="556" y="4"/>
                    </a:lnTo>
                    <a:lnTo>
                      <a:pt x="556" y="4"/>
                    </a:lnTo>
                    <a:lnTo>
                      <a:pt x="552" y="6"/>
                    </a:lnTo>
                    <a:lnTo>
                      <a:pt x="552" y="6"/>
                    </a:lnTo>
                    <a:lnTo>
                      <a:pt x="552" y="8"/>
                    </a:lnTo>
                    <a:lnTo>
                      <a:pt x="554" y="10"/>
                    </a:lnTo>
                    <a:lnTo>
                      <a:pt x="592" y="34"/>
                    </a:lnTo>
                    <a:close/>
                    <a:moveTo>
                      <a:pt x="330" y="22"/>
                    </a:moveTo>
                    <a:lnTo>
                      <a:pt x="330" y="22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72" y="34"/>
                    </a:lnTo>
                    <a:lnTo>
                      <a:pt x="372" y="34"/>
                    </a:lnTo>
                    <a:lnTo>
                      <a:pt x="374" y="32"/>
                    </a:lnTo>
                    <a:lnTo>
                      <a:pt x="382" y="26"/>
                    </a:lnTo>
                    <a:lnTo>
                      <a:pt x="398" y="38"/>
                    </a:lnTo>
                    <a:lnTo>
                      <a:pt x="382" y="48"/>
                    </a:lnTo>
                    <a:lnTo>
                      <a:pt x="382" y="48"/>
                    </a:lnTo>
                    <a:lnTo>
                      <a:pt x="380" y="50"/>
                    </a:lnTo>
                    <a:lnTo>
                      <a:pt x="380" y="50"/>
                    </a:lnTo>
                    <a:lnTo>
                      <a:pt x="380" y="52"/>
                    </a:lnTo>
                    <a:lnTo>
                      <a:pt x="390" y="62"/>
                    </a:lnTo>
                    <a:lnTo>
                      <a:pt x="390" y="62"/>
                    </a:lnTo>
                    <a:lnTo>
                      <a:pt x="390" y="62"/>
                    </a:lnTo>
                    <a:lnTo>
                      <a:pt x="410" y="72"/>
                    </a:lnTo>
                    <a:lnTo>
                      <a:pt x="410" y="72"/>
                    </a:lnTo>
                    <a:lnTo>
                      <a:pt x="412" y="72"/>
                    </a:lnTo>
                    <a:lnTo>
                      <a:pt x="460" y="34"/>
                    </a:lnTo>
                    <a:lnTo>
                      <a:pt x="506" y="34"/>
                    </a:lnTo>
                    <a:lnTo>
                      <a:pt x="506" y="34"/>
                    </a:lnTo>
                    <a:lnTo>
                      <a:pt x="508" y="32"/>
                    </a:lnTo>
                    <a:lnTo>
                      <a:pt x="510" y="30"/>
                    </a:lnTo>
                    <a:lnTo>
                      <a:pt x="512" y="8"/>
                    </a:lnTo>
                    <a:lnTo>
                      <a:pt x="512" y="8"/>
                    </a:lnTo>
                    <a:lnTo>
                      <a:pt x="512" y="6"/>
                    </a:lnTo>
                    <a:lnTo>
                      <a:pt x="512" y="6"/>
                    </a:lnTo>
                    <a:lnTo>
                      <a:pt x="510" y="4"/>
                    </a:lnTo>
                    <a:lnTo>
                      <a:pt x="340" y="4"/>
                    </a:lnTo>
                    <a:lnTo>
                      <a:pt x="340" y="4"/>
                    </a:lnTo>
                    <a:lnTo>
                      <a:pt x="338" y="6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close/>
                    <a:moveTo>
                      <a:pt x="292" y="926"/>
                    </a:moveTo>
                    <a:lnTo>
                      <a:pt x="290" y="922"/>
                    </a:lnTo>
                    <a:lnTo>
                      <a:pt x="288" y="918"/>
                    </a:lnTo>
                    <a:lnTo>
                      <a:pt x="286" y="914"/>
                    </a:lnTo>
                    <a:lnTo>
                      <a:pt x="282" y="910"/>
                    </a:lnTo>
                    <a:lnTo>
                      <a:pt x="280" y="908"/>
                    </a:lnTo>
                    <a:lnTo>
                      <a:pt x="274" y="902"/>
                    </a:lnTo>
                    <a:lnTo>
                      <a:pt x="268" y="896"/>
                    </a:lnTo>
                    <a:lnTo>
                      <a:pt x="264" y="892"/>
                    </a:lnTo>
                    <a:lnTo>
                      <a:pt x="260" y="888"/>
                    </a:lnTo>
                    <a:lnTo>
                      <a:pt x="260" y="888"/>
                    </a:lnTo>
                    <a:lnTo>
                      <a:pt x="258" y="884"/>
                    </a:lnTo>
                    <a:lnTo>
                      <a:pt x="256" y="882"/>
                    </a:lnTo>
                    <a:lnTo>
                      <a:pt x="256" y="878"/>
                    </a:lnTo>
                    <a:lnTo>
                      <a:pt x="256" y="876"/>
                    </a:lnTo>
                    <a:lnTo>
                      <a:pt x="256" y="874"/>
                    </a:lnTo>
                    <a:lnTo>
                      <a:pt x="256" y="872"/>
                    </a:lnTo>
                    <a:lnTo>
                      <a:pt x="256" y="872"/>
                    </a:lnTo>
                    <a:lnTo>
                      <a:pt x="254" y="870"/>
                    </a:lnTo>
                    <a:lnTo>
                      <a:pt x="254" y="868"/>
                    </a:lnTo>
                    <a:lnTo>
                      <a:pt x="248" y="868"/>
                    </a:lnTo>
                    <a:lnTo>
                      <a:pt x="244" y="866"/>
                    </a:lnTo>
                    <a:lnTo>
                      <a:pt x="240" y="864"/>
                    </a:lnTo>
                    <a:lnTo>
                      <a:pt x="236" y="862"/>
                    </a:lnTo>
                    <a:lnTo>
                      <a:pt x="228" y="860"/>
                    </a:lnTo>
                    <a:lnTo>
                      <a:pt x="222" y="854"/>
                    </a:lnTo>
                    <a:lnTo>
                      <a:pt x="216" y="850"/>
                    </a:lnTo>
                    <a:lnTo>
                      <a:pt x="212" y="848"/>
                    </a:lnTo>
                    <a:lnTo>
                      <a:pt x="208" y="848"/>
                    </a:lnTo>
                    <a:lnTo>
                      <a:pt x="204" y="846"/>
                    </a:lnTo>
                    <a:lnTo>
                      <a:pt x="200" y="846"/>
                    </a:lnTo>
                    <a:lnTo>
                      <a:pt x="194" y="844"/>
                    </a:lnTo>
                    <a:lnTo>
                      <a:pt x="188" y="846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6" y="848"/>
                    </a:lnTo>
                    <a:lnTo>
                      <a:pt x="186" y="848"/>
                    </a:lnTo>
                    <a:lnTo>
                      <a:pt x="186" y="848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2"/>
                    </a:lnTo>
                    <a:lnTo>
                      <a:pt x="188" y="856"/>
                    </a:lnTo>
                    <a:lnTo>
                      <a:pt x="190" y="860"/>
                    </a:lnTo>
                    <a:lnTo>
                      <a:pt x="192" y="864"/>
                    </a:lnTo>
                    <a:lnTo>
                      <a:pt x="194" y="866"/>
                    </a:lnTo>
                    <a:lnTo>
                      <a:pt x="194" y="866"/>
                    </a:lnTo>
                    <a:lnTo>
                      <a:pt x="194" y="866"/>
                    </a:lnTo>
                    <a:lnTo>
                      <a:pt x="198" y="870"/>
                    </a:lnTo>
                    <a:lnTo>
                      <a:pt x="204" y="874"/>
                    </a:lnTo>
                    <a:lnTo>
                      <a:pt x="210" y="878"/>
                    </a:lnTo>
                    <a:lnTo>
                      <a:pt x="214" y="882"/>
                    </a:lnTo>
                    <a:lnTo>
                      <a:pt x="214" y="882"/>
                    </a:lnTo>
                    <a:lnTo>
                      <a:pt x="218" y="886"/>
                    </a:lnTo>
                    <a:lnTo>
                      <a:pt x="218" y="888"/>
                    </a:lnTo>
                    <a:lnTo>
                      <a:pt x="220" y="892"/>
                    </a:lnTo>
                    <a:lnTo>
                      <a:pt x="220" y="894"/>
                    </a:lnTo>
                    <a:lnTo>
                      <a:pt x="222" y="896"/>
                    </a:lnTo>
                    <a:lnTo>
                      <a:pt x="222" y="898"/>
                    </a:lnTo>
                    <a:lnTo>
                      <a:pt x="222" y="900"/>
                    </a:lnTo>
                    <a:lnTo>
                      <a:pt x="222" y="900"/>
                    </a:lnTo>
                    <a:lnTo>
                      <a:pt x="222" y="902"/>
                    </a:lnTo>
                    <a:lnTo>
                      <a:pt x="222" y="902"/>
                    </a:lnTo>
                    <a:lnTo>
                      <a:pt x="226" y="902"/>
                    </a:lnTo>
                    <a:lnTo>
                      <a:pt x="228" y="902"/>
                    </a:lnTo>
                    <a:lnTo>
                      <a:pt x="232" y="900"/>
                    </a:lnTo>
                    <a:lnTo>
                      <a:pt x="234" y="900"/>
                    </a:lnTo>
                    <a:lnTo>
                      <a:pt x="234" y="900"/>
                    </a:lnTo>
                    <a:lnTo>
                      <a:pt x="234" y="900"/>
                    </a:lnTo>
                    <a:lnTo>
                      <a:pt x="236" y="902"/>
                    </a:lnTo>
                    <a:lnTo>
                      <a:pt x="240" y="908"/>
                    </a:lnTo>
                    <a:lnTo>
                      <a:pt x="244" y="916"/>
                    </a:lnTo>
                    <a:lnTo>
                      <a:pt x="252" y="922"/>
                    </a:lnTo>
                    <a:lnTo>
                      <a:pt x="252" y="922"/>
                    </a:lnTo>
                    <a:lnTo>
                      <a:pt x="252" y="924"/>
                    </a:lnTo>
                    <a:lnTo>
                      <a:pt x="258" y="928"/>
                    </a:lnTo>
                    <a:lnTo>
                      <a:pt x="258" y="928"/>
                    </a:lnTo>
                    <a:lnTo>
                      <a:pt x="258" y="928"/>
                    </a:lnTo>
                    <a:lnTo>
                      <a:pt x="266" y="932"/>
                    </a:lnTo>
                    <a:lnTo>
                      <a:pt x="266" y="932"/>
                    </a:lnTo>
                    <a:lnTo>
                      <a:pt x="266" y="932"/>
                    </a:lnTo>
                    <a:lnTo>
                      <a:pt x="274" y="934"/>
                    </a:lnTo>
                    <a:lnTo>
                      <a:pt x="274" y="934"/>
                    </a:lnTo>
                    <a:lnTo>
                      <a:pt x="274" y="934"/>
                    </a:lnTo>
                    <a:lnTo>
                      <a:pt x="282" y="936"/>
                    </a:lnTo>
                    <a:lnTo>
                      <a:pt x="284" y="936"/>
                    </a:lnTo>
                    <a:lnTo>
                      <a:pt x="292" y="936"/>
                    </a:lnTo>
                    <a:lnTo>
                      <a:pt x="292" y="936"/>
                    </a:lnTo>
                    <a:lnTo>
                      <a:pt x="294" y="934"/>
                    </a:lnTo>
                    <a:lnTo>
                      <a:pt x="294" y="934"/>
                    </a:lnTo>
                    <a:lnTo>
                      <a:pt x="294" y="932"/>
                    </a:lnTo>
                    <a:lnTo>
                      <a:pt x="292" y="926"/>
                    </a:lnTo>
                    <a:close/>
                    <a:moveTo>
                      <a:pt x="1304" y="932"/>
                    </a:moveTo>
                    <a:lnTo>
                      <a:pt x="1302" y="928"/>
                    </a:lnTo>
                    <a:lnTo>
                      <a:pt x="1302" y="930"/>
                    </a:lnTo>
                    <a:lnTo>
                      <a:pt x="1302" y="926"/>
                    </a:lnTo>
                    <a:lnTo>
                      <a:pt x="1300" y="924"/>
                    </a:lnTo>
                    <a:lnTo>
                      <a:pt x="1300" y="922"/>
                    </a:lnTo>
                    <a:lnTo>
                      <a:pt x="1300" y="922"/>
                    </a:lnTo>
                    <a:lnTo>
                      <a:pt x="1300" y="920"/>
                    </a:lnTo>
                    <a:lnTo>
                      <a:pt x="1300" y="918"/>
                    </a:lnTo>
                    <a:lnTo>
                      <a:pt x="1300" y="918"/>
                    </a:lnTo>
                    <a:lnTo>
                      <a:pt x="1298" y="918"/>
                    </a:lnTo>
                    <a:lnTo>
                      <a:pt x="1298" y="916"/>
                    </a:lnTo>
                    <a:lnTo>
                      <a:pt x="1298" y="916"/>
                    </a:lnTo>
                    <a:lnTo>
                      <a:pt x="1296" y="916"/>
                    </a:lnTo>
                    <a:lnTo>
                      <a:pt x="1296" y="916"/>
                    </a:lnTo>
                    <a:lnTo>
                      <a:pt x="1296" y="914"/>
                    </a:lnTo>
                    <a:lnTo>
                      <a:pt x="1298" y="910"/>
                    </a:lnTo>
                    <a:lnTo>
                      <a:pt x="1298" y="908"/>
                    </a:lnTo>
                    <a:lnTo>
                      <a:pt x="1298" y="908"/>
                    </a:lnTo>
                    <a:lnTo>
                      <a:pt x="1298" y="906"/>
                    </a:lnTo>
                    <a:lnTo>
                      <a:pt x="1298" y="906"/>
                    </a:lnTo>
                    <a:lnTo>
                      <a:pt x="1298" y="904"/>
                    </a:lnTo>
                    <a:lnTo>
                      <a:pt x="1298" y="902"/>
                    </a:lnTo>
                    <a:lnTo>
                      <a:pt x="1298" y="902"/>
                    </a:lnTo>
                    <a:lnTo>
                      <a:pt x="1296" y="902"/>
                    </a:lnTo>
                    <a:lnTo>
                      <a:pt x="1294" y="900"/>
                    </a:lnTo>
                    <a:lnTo>
                      <a:pt x="1294" y="900"/>
                    </a:lnTo>
                    <a:lnTo>
                      <a:pt x="1294" y="898"/>
                    </a:lnTo>
                    <a:lnTo>
                      <a:pt x="1292" y="898"/>
                    </a:lnTo>
                    <a:lnTo>
                      <a:pt x="1292" y="898"/>
                    </a:lnTo>
                    <a:lnTo>
                      <a:pt x="1290" y="898"/>
                    </a:lnTo>
                    <a:lnTo>
                      <a:pt x="1288" y="898"/>
                    </a:lnTo>
                    <a:lnTo>
                      <a:pt x="1288" y="898"/>
                    </a:lnTo>
                    <a:lnTo>
                      <a:pt x="1288" y="896"/>
                    </a:lnTo>
                    <a:lnTo>
                      <a:pt x="1286" y="892"/>
                    </a:lnTo>
                    <a:lnTo>
                      <a:pt x="1286" y="888"/>
                    </a:lnTo>
                    <a:lnTo>
                      <a:pt x="1284" y="886"/>
                    </a:lnTo>
                    <a:lnTo>
                      <a:pt x="1284" y="886"/>
                    </a:lnTo>
                    <a:lnTo>
                      <a:pt x="1284" y="884"/>
                    </a:lnTo>
                    <a:lnTo>
                      <a:pt x="1282" y="882"/>
                    </a:lnTo>
                    <a:lnTo>
                      <a:pt x="1282" y="882"/>
                    </a:lnTo>
                    <a:lnTo>
                      <a:pt x="1282" y="882"/>
                    </a:lnTo>
                    <a:lnTo>
                      <a:pt x="1280" y="880"/>
                    </a:lnTo>
                    <a:lnTo>
                      <a:pt x="1280" y="880"/>
                    </a:lnTo>
                    <a:lnTo>
                      <a:pt x="1280" y="880"/>
                    </a:lnTo>
                    <a:lnTo>
                      <a:pt x="1276" y="878"/>
                    </a:lnTo>
                    <a:lnTo>
                      <a:pt x="1276" y="878"/>
                    </a:lnTo>
                    <a:lnTo>
                      <a:pt x="1274" y="878"/>
                    </a:lnTo>
                    <a:lnTo>
                      <a:pt x="1270" y="878"/>
                    </a:lnTo>
                    <a:lnTo>
                      <a:pt x="1266" y="880"/>
                    </a:lnTo>
                    <a:lnTo>
                      <a:pt x="1262" y="880"/>
                    </a:lnTo>
                    <a:lnTo>
                      <a:pt x="1260" y="880"/>
                    </a:lnTo>
                    <a:lnTo>
                      <a:pt x="1260" y="880"/>
                    </a:lnTo>
                    <a:lnTo>
                      <a:pt x="1258" y="876"/>
                    </a:lnTo>
                    <a:lnTo>
                      <a:pt x="1258" y="876"/>
                    </a:lnTo>
                    <a:lnTo>
                      <a:pt x="1258" y="876"/>
                    </a:lnTo>
                    <a:lnTo>
                      <a:pt x="1258" y="874"/>
                    </a:lnTo>
                    <a:lnTo>
                      <a:pt x="1258" y="874"/>
                    </a:lnTo>
                    <a:lnTo>
                      <a:pt x="1258" y="874"/>
                    </a:lnTo>
                    <a:lnTo>
                      <a:pt x="1256" y="872"/>
                    </a:lnTo>
                    <a:lnTo>
                      <a:pt x="1256" y="872"/>
                    </a:lnTo>
                    <a:lnTo>
                      <a:pt x="1256" y="872"/>
                    </a:lnTo>
                    <a:lnTo>
                      <a:pt x="1252" y="870"/>
                    </a:lnTo>
                    <a:lnTo>
                      <a:pt x="1250" y="870"/>
                    </a:lnTo>
                    <a:lnTo>
                      <a:pt x="1250" y="868"/>
                    </a:lnTo>
                    <a:lnTo>
                      <a:pt x="1250" y="868"/>
                    </a:lnTo>
                    <a:lnTo>
                      <a:pt x="1248" y="866"/>
                    </a:lnTo>
                    <a:lnTo>
                      <a:pt x="1248" y="866"/>
                    </a:lnTo>
                    <a:lnTo>
                      <a:pt x="1248" y="866"/>
                    </a:lnTo>
                    <a:lnTo>
                      <a:pt x="1248" y="864"/>
                    </a:lnTo>
                    <a:lnTo>
                      <a:pt x="1248" y="864"/>
                    </a:lnTo>
                    <a:lnTo>
                      <a:pt x="1248" y="864"/>
                    </a:lnTo>
                    <a:lnTo>
                      <a:pt x="1246" y="864"/>
                    </a:lnTo>
                    <a:lnTo>
                      <a:pt x="1246" y="864"/>
                    </a:lnTo>
                    <a:lnTo>
                      <a:pt x="1250" y="862"/>
                    </a:lnTo>
                    <a:lnTo>
                      <a:pt x="1252" y="862"/>
                    </a:lnTo>
                    <a:lnTo>
                      <a:pt x="1254" y="862"/>
                    </a:lnTo>
                    <a:lnTo>
                      <a:pt x="1254" y="862"/>
                    </a:lnTo>
                    <a:lnTo>
                      <a:pt x="1254" y="862"/>
                    </a:lnTo>
                    <a:lnTo>
                      <a:pt x="1256" y="860"/>
                    </a:lnTo>
                    <a:lnTo>
                      <a:pt x="1258" y="858"/>
                    </a:lnTo>
                    <a:lnTo>
                      <a:pt x="1258" y="854"/>
                    </a:lnTo>
                    <a:lnTo>
                      <a:pt x="1260" y="850"/>
                    </a:lnTo>
                    <a:lnTo>
                      <a:pt x="1260" y="844"/>
                    </a:lnTo>
                    <a:lnTo>
                      <a:pt x="1260" y="842"/>
                    </a:lnTo>
                    <a:lnTo>
                      <a:pt x="1262" y="840"/>
                    </a:lnTo>
                    <a:lnTo>
                      <a:pt x="1262" y="840"/>
                    </a:lnTo>
                    <a:lnTo>
                      <a:pt x="1262" y="838"/>
                    </a:lnTo>
                    <a:lnTo>
                      <a:pt x="1262" y="834"/>
                    </a:lnTo>
                    <a:lnTo>
                      <a:pt x="1260" y="832"/>
                    </a:lnTo>
                    <a:lnTo>
                      <a:pt x="1260" y="828"/>
                    </a:lnTo>
                    <a:lnTo>
                      <a:pt x="1260" y="826"/>
                    </a:lnTo>
                    <a:lnTo>
                      <a:pt x="1260" y="824"/>
                    </a:lnTo>
                    <a:lnTo>
                      <a:pt x="1260" y="824"/>
                    </a:lnTo>
                    <a:lnTo>
                      <a:pt x="1258" y="824"/>
                    </a:lnTo>
                    <a:lnTo>
                      <a:pt x="1258" y="824"/>
                    </a:lnTo>
                    <a:lnTo>
                      <a:pt x="1258" y="824"/>
                    </a:lnTo>
                    <a:lnTo>
                      <a:pt x="1258" y="822"/>
                    </a:lnTo>
                    <a:lnTo>
                      <a:pt x="1256" y="822"/>
                    </a:lnTo>
                    <a:lnTo>
                      <a:pt x="1256" y="822"/>
                    </a:lnTo>
                    <a:lnTo>
                      <a:pt x="1256" y="822"/>
                    </a:lnTo>
                    <a:lnTo>
                      <a:pt x="1254" y="820"/>
                    </a:lnTo>
                    <a:lnTo>
                      <a:pt x="1254" y="820"/>
                    </a:lnTo>
                    <a:lnTo>
                      <a:pt x="1254" y="818"/>
                    </a:lnTo>
                    <a:lnTo>
                      <a:pt x="1254" y="820"/>
                    </a:lnTo>
                    <a:lnTo>
                      <a:pt x="1252" y="818"/>
                    </a:lnTo>
                    <a:lnTo>
                      <a:pt x="1252" y="816"/>
                    </a:lnTo>
                    <a:lnTo>
                      <a:pt x="1250" y="816"/>
                    </a:lnTo>
                    <a:lnTo>
                      <a:pt x="1250" y="814"/>
                    </a:lnTo>
                    <a:lnTo>
                      <a:pt x="1250" y="812"/>
                    </a:lnTo>
                    <a:lnTo>
                      <a:pt x="1250" y="812"/>
                    </a:lnTo>
                    <a:lnTo>
                      <a:pt x="1250" y="812"/>
                    </a:lnTo>
                    <a:lnTo>
                      <a:pt x="1250" y="810"/>
                    </a:lnTo>
                    <a:lnTo>
                      <a:pt x="1252" y="806"/>
                    </a:lnTo>
                    <a:lnTo>
                      <a:pt x="1252" y="802"/>
                    </a:lnTo>
                    <a:lnTo>
                      <a:pt x="1252" y="798"/>
                    </a:lnTo>
                    <a:lnTo>
                      <a:pt x="1252" y="798"/>
                    </a:lnTo>
                    <a:lnTo>
                      <a:pt x="1252" y="796"/>
                    </a:lnTo>
                    <a:lnTo>
                      <a:pt x="1252" y="794"/>
                    </a:lnTo>
                    <a:lnTo>
                      <a:pt x="1252" y="794"/>
                    </a:lnTo>
                    <a:lnTo>
                      <a:pt x="1252" y="792"/>
                    </a:lnTo>
                    <a:lnTo>
                      <a:pt x="1250" y="790"/>
                    </a:lnTo>
                    <a:lnTo>
                      <a:pt x="1250" y="790"/>
                    </a:lnTo>
                    <a:lnTo>
                      <a:pt x="1250" y="790"/>
                    </a:lnTo>
                    <a:lnTo>
                      <a:pt x="1248" y="788"/>
                    </a:lnTo>
                    <a:lnTo>
                      <a:pt x="1248" y="788"/>
                    </a:lnTo>
                    <a:lnTo>
                      <a:pt x="1248" y="788"/>
                    </a:lnTo>
                    <a:lnTo>
                      <a:pt x="1244" y="788"/>
                    </a:lnTo>
                    <a:lnTo>
                      <a:pt x="1244" y="788"/>
                    </a:lnTo>
                    <a:lnTo>
                      <a:pt x="1244" y="788"/>
                    </a:lnTo>
                    <a:lnTo>
                      <a:pt x="1242" y="786"/>
                    </a:lnTo>
                    <a:lnTo>
                      <a:pt x="1236" y="786"/>
                    </a:lnTo>
                    <a:lnTo>
                      <a:pt x="1234" y="786"/>
                    </a:lnTo>
                    <a:lnTo>
                      <a:pt x="1234" y="786"/>
                    </a:lnTo>
                    <a:lnTo>
                      <a:pt x="1232" y="786"/>
                    </a:lnTo>
                    <a:lnTo>
                      <a:pt x="1232" y="786"/>
                    </a:lnTo>
                    <a:lnTo>
                      <a:pt x="1232" y="784"/>
                    </a:lnTo>
                    <a:lnTo>
                      <a:pt x="1230" y="782"/>
                    </a:lnTo>
                    <a:lnTo>
                      <a:pt x="1228" y="780"/>
                    </a:lnTo>
                    <a:lnTo>
                      <a:pt x="1228" y="780"/>
                    </a:lnTo>
                    <a:lnTo>
                      <a:pt x="1228" y="778"/>
                    </a:lnTo>
                    <a:lnTo>
                      <a:pt x="1228" y="778"/>
                    </a:lnTo>
                    <a:lnTo>
                      <a:pt x="1228" y="778"/>
                    </a:lnTo>
                    <a:lnTo>
                      <a:pt x="1226" y="776"/>
                    </a:lnTo>
                    <a:lnTo>
                      <a:pt x="1224" y="776"/>
                    </a:lnTo>
                    <a:lnTo>
                      <a:pt x="1224" y="776"/>
                    </a:lnTo>
                    <a:lnTo>
                      <a:pt x="1224" y="776"/>
                    </a:lnTo>
                    <a:lnTo>
                      <a:pt x="1220" y="776"/>
                    </a:lnTo>
                    <a:lnTo>
                      <a:pt x="1220" y="776"/>
                    </a:lnTo>
                    <a:lnTo>
                      <a:pt x="1220" y="776"/>
                    </a:lnTo>
                    <a:lnTo>
                      <a:pt x="1216" y="778"/>
                    </a:lnTo>
                    <a:lnTo>
                      <a:pt x="1216" y="778"/>
                    </a:lnTo>
                    <a:lnTo>
                      <a:pt x="1216" y="778"/>
                    </a:lnTo>
                    <a:lnTo>
                      <a:pt x="1212" y="780"/>
                    </a:lnTo>
                    <a:lnTo>
                      <a:pt x="1208" y="784"/>
                    </a:lnTo>
                    <a:lnTo>
                      <a:pt x="1204" y="788"/>
                    </a:lnTo>
                    <a:lnTo>
                      <a:pt x="1198" y="790"/>
                    </a:lnTo>
                    <a:lnTo>
                      <a:pt x="1194" y="794"/>
                    </a:lnTo>
                    <a:lnTo>
                      <a:pt x="1190" y="796"/>
                    </a:lnTo>
                    <a:lnTo>
                      <a:pt x="1188" y="798"/>
                    </a:lnTo>
                    <a:lnTo>
                      <a:pt x="1186" y="798"/>
                    </a:lnTo>
                    <a:lnTo>
                      <a:pt x="1184" y="798"/>
                    </a:lnTo>
                    <a:lnTo>
                      <a:pt x="1182" y="798"/>
                    </a:lnTo>
                    <a:lnTo>
                      <a:pt x="1180" y="798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4"/>
                    </a:lnTo>
                    <a:lnTo>
                      <a:pt x="1182" y="790"/>
                    </a:lnTo>
                    <a:lnTo>
                      <a:pt x="1186" y="788"/>
                    </a:lnTo>
                    <a:lnTo>
                      <a:pt x="1188" y="784"/>
                    </a:lnTo>
                    <a:lnTo>
                      <a:pt x="1192" y="782"/>
                    </a:lnTo>
                    <a:lnTo>
                      <a:pt x="1196" y="778"/>
                    </a:lnTo>
                    <a:lnTo>
                      <a:pt x="1200" y="776"/>
                    </a:lnTo>
                    <a:lnTo>
                      <a:pt x="1202" y="774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14" y="772"/>
                    </a:lnTo>
                    <a:lnTo>
                      <a:pt x="1216" y="772"/>
                    </a:lnTo>
                    <a:lnTo>
                      <a:pt x="1220" y="772"/>
                    </a:lnTo>
                    <a:lnTo>
                      <a:pt x="1220" y="772"/>
                    </a:lnTo>
                    <a:lnTo>
                      <a:pt x="1220" y="772"/>
                    </a:lnTo>
                    <a:lnTo>
                      <a:pt x="1222" y="772"/>
                    </a:lnTo>
                    <a:lnTo>
                      <a:pt x="1222" y="772"/>
                    </a:lnTo>
                    <a:lnTo>
                      <a:pt x="1224" y="770"/>
                    </a:lnTo>
                    <a:lnTo>
                      <a:pt x="1224" y="770"/>
                    </a:lnTo>
                    <a:lnTo>
                      <a:pt x="1224" y="770"/>
                    </a:lnTo>
                    <a:lnTo>
                      <a:pt x="1224" y="766"/>
                    </a:lnTo>
                    <a:lnTo>
                      <a:pt x="1224" y="766"/>
                    </a:lnTo>
                    <a:lnTo>
                      <a:pt x="1224" y="766"/>
                    </a:lnTo>
                    <a:lnTo>
                      <a:pt x="1224" y="764"/>
                    </a:lnTo>
                    <a:lnTo>
                      <a:pt x="1222" y="764"/>
                    </a:lnTo>
                    <a:lnTo>
                      <a:pt x="1222" y="764"/>
                    </a:lnTo>
                    <a:lnTo>
                      <a:pt x="1222" y="764"/>
                    </a:lnTo>
                    <a:lnTo>
                      <a:pt x="1220" y="762"/>
                    </a:lnTo>
                    <a:lnTo>
                      <a:pt x="1216" y="760"/>
                    </a:lnTo>
                    <a:lnTo>
                      <a:pt x="1214" y="758"/>
                    </a:lnTo>
                    <a:lnTo>
                      <a:pt x="1206" y="756"/>
                    </a:lnTo>
                    <a:lnTo>
                      <a:pt x="1202" y="754"/>
                    </a:lnTo>
                    <a:lnTo>
                      <a:pt x="1198" y="754"/>
                    </a:lnTo>
                    <a:lnTo>
                      <a:pt x="1196" y="754"/>
                    </a:lnTo>
                    <a:lnTo>
                      <a:pt x="1192" y="752"/>
                    </a:lnTo>
                    <a:lnTo>
                      <a:pt x="1188" y="752"/>
                    </a:lnTo>
                    <a:lnTo>
                      <a:pt x="1184" y="752"/>
                    </a:lnTo>
                    <a:lnTo>
                      <a:pt x="1184" y="752"/>
                    </a:lnTo>
                    <a:lnTo>
                      <a:pt x="1182" y="752"/>
                    </a:lnTo>
                    <a:lnTo>
                      <a:pt x="1182" y="752"/>
                    </a:lnTo>
                    <a:lnTo>
                      <a:pt x="1182" y="750"/>
                    </a:lnTo>
                    <a:lnTo>
                      <a:pt x="1182" y="748"/>
                    </a:lnTo>
                    <a:lnTo>
                      <a:pt x="1184" y="746"/>
                    </a:lnTo>
                    <a:lnTo>
                      <a:pt x="1184" y="744"/>
                    </a:lnTo>
                    <a:lnTo>
                      <a:pt x="1184" y="742"/>
                    </a:lnTo>
                    <a:lnTo>
                      <a:pt x="1184" y="742"/>
                    </a:lnTo>
                    <a:lnTo>
                      <a:pt x="1184" y="742"/>
                    </a:lnTo>
                    <a:lnTo>
                      <a:pt x="1184" y="740"/>
                    </a:lnTo>
                    <a:lnTo>
                      <a:pt x="1184" y="740"/>
                    </a:lnTo>
                    <a:lnTo>
                      <a:pt x="1184" y="740"/>
                    </a:lnTo>
                    <a:lnTo>
                      <a:pt x="1182" y="738"/>
                    </a:lnTo>
                    <a:lnTo>
                      <a:pt x="1182" y="738"/>
                    </a:lnTo>
                    <a:lnTo>
                      <a:pt x="1182" y="736"/>
                    </a:lnTo>
                    <a:lnTo>
                      <a:pt x="1180" y="736"/>
                    </a:lnTo>
                    <a:lnTo>
                      <a:pt x="1180" y="736"/>
                    </a:lnTo>
                    <a:lnTo>
                      <a:pt x="1180" y="734"/>
                    </a:lnTo>
                    <a:lnTo>
                      <a:pt x="1178" y="734"/>
                    </a:lnTo>
                    <a:lnTo>
                      <a:pt x="1178" y="734"/>
                    </a:lnTo>
                    <a:lnTo>
                      <a:pt x="1178" y="734"/>
                    </a:lnTo>
                    <a:lnTo>
                      <a:pt x="1174" y="732"/>
                    </a:lnTo>
                    <a:lnTo>
                      <a:pt x="1172" y="732"/>
                    </a:lnTo>
                    <a:lnTo>
                      <a:pt x="1170" y="730"/>
                    </a:lnTo>
                    <a:lnTo>
                      <a:pt x="1168" y="730"/>
                    </a:lnTo>
                    <a:lnTo>
                      <a:pt x="1168" y="728"/>
                    </a:lnTo>
                    <a:lnTo>
                      <a:pt x="1166" y="726"/>
                    </a:lnTo>
                    <a:lnTo>
                      <a:pt x="1164" y="722"/>
                    </a:lnTo>
                    <a:lnTo>
                      <a:pt x="1160" y="718"/>
                    </a:lnTo>
                    <a:lnTo>
                      <a:pt x="1158" y="714"/>
                    </a:lnTo>
                    <a:lnTo>
                      <a:pt x="1156" y="710"/>
                    </a:lnTo>
                    <a:lnTo>
                      <a:pt x="1154" y="706"/>
                    </a:lnTo>
                    <a:lnTo>
                      <a:pt x="1154" y="704"/>
                    </a:lnTo>
                    <a:lnTo>
                      <a:pt x="1154" y="704"/>
                    </a:lnTo>
                    <a:lnTo>
                      <a:pt x="1156" y="704"/>
                    </a:lnTo>
                    <a:lnTo>
                      <a:pt x="1158" y="706"/>
                    </a:lnTo>
                    <a:lnTo>
                      <a:pt x="1158" y="706"/>
                    </a:lnTo>
                    <a:lnTo>
                      <a:pt x="1158" y="706"/>
                    </a:lnTo>
                    <a:lnTo>
                      <a:pt x="1160" y="706"/>
                    </a:lnTo>
                    <a:lnTo>
                      <a:pt x="1160" y="706"/>
                    </a:lnTo>
                    <a:lnTo>
                      <a:pt x="1162" y="706"/>
                    </a:lnTo>
                    <a:lnTo>
                      <a:pt x="1162" y="704"/>
                    </a:lnTo>
                    <a:lnTo>
                      <a:pt x="1162" y="702"/>
                    </a:lnTo>
                    <a:lnTo>
                      <a:pt x="1162" y="702"/>
                    </a:lnTo>
                    <a:lnTo>
                      <a:pt x="1162" y="700"/>
                    </a:lnTo>
                    <a:lnTo>
                      <a:pt x="1162" y="698"/>
                    </a:lnTo>
                    <a:lnTo>
                      <a:pt x="1160" y="696"/>
                    </a:lnTo>
                    <a:lnTo>
                      <a:pt x="1158" y="692"/>
                    </a:lnTo>
                    <a:lnTo>
                      <a:pt x="1156" y="690"/>
                    </a:lnTo>
                    <a:lnTo>
                      <a:pt x="1150" y="682"/>
                    </a:lnTo>
                    <a:lnTo>
                      <a:pt x="1148" y="678"/>
                    </a:lnTo>
                    <a:lnTo>
                      <a:pt x="1146" y="676"/>
                    </a:lnTo>
                    <a:lnTo>
                      <a:pt x="1142" y="670"/>
                    </a:lnTo>
                    <a:lnTo>
                      <a:pt x="1138" y="666"/>
                    </a:lnTo>
                    <a:lnTo>
                      <a:pt x="1136" y="666"/>
                    </a:lnTo>
                    <a:lnTo>
                      <a:pt x="1136" y="664"/>
                    </a:lnTo>
                    <a:lnTo>
                      <a:pt x="1136" y="664"/>
                    </a:lnTo>
                    <a:lnTo>
                      <a:pt x="1136" y="662"/>
                    </a:lnTo>
                    <a:lnTo>
                      <a:pt x="1136" y="662"/>
                    </a:lnTo>
                    <a:lnTo>
                      <a:pt x="1136" y="662"/>
                    </a:lnTo>
                    <a:lnTo>
                      <a:pt x="1138" y="662"/>
                    </a:lnTo>
                    <a:lnTo>
                      <a:pt x="1140" y="660"/>
                    </a:lnTo>
                    <a:lnTo>
                      <a:pt x="1140" y="660"/>
                    </a:lnTo>
                    <a:lnTo>
                      <a:pt x="1140" y="660"/>
                    </a:lnTo>
                    <a:lnTo>
                      <a:pt x="1142" y="660"/>
                    </a:lnTo>
                    <a:lnTo>
                      <a:pt x="1142" y="660"/>
                    </a:lnTo>
                    <a:lnTo>
                      <a:pt x="1142" y="658"/>
                    </a:lnTo>
                    <a:lnTo>
                      <a:pt x="1144" y="658"/>
                    </a:lnTo>
                    <a:lnTo>
                      <a:pt x="1144" y="658"/>
                    </a:lnTo>
                    <a:lnTo>
                      <a:pt x="1144" y="656"/>
                    </a:lnTo>
                    <a:lnTo>
                      <a:pt x="1144" y="654"/>
                    </a:lnTo>
                    <a:lnTo>
                      <a:pt x="1144" y="654"/>
                    </a:lnTo>
                    <a:lnTo>
                      <a:pt x="1144" y="654"/>
                    </a:lnTo>
                    <a:lnTo>
                      <a:pt x="1144" y="652"/>
                    </a:lnTo>
                    <a:lnTo>
                      <a:pt x="1142" y="648"/>
                    </a:lnTo>
                    <a:lnTo>
                      <a:pt x="1140" y="644"/>
                    </a:lnTo>
                    <a:lnTo>
                      <a:pt x="1138" y="642"/>
                    </a:lnTo>
                    <a:lnTo>
                      <a:pt x="1136" y="638"/>
                    </a:lnTo>
                    <a:lnTo>
                      <a:pt x="1134" y="634"/>
                    </a:lnTo>
                    <a:lnTo>
                      <a:pt x="1132" y="632"/>
                    </a:lnTo>
                    <a:lnTo>
                      <a:pt x="1130" y="630"/>
                    </a:lnTo>
                    <a:lnTo>
                      <a:pt x="1128" y="628"/>
                    </a:lnTo>
                    <a:lnTo>
                      <a:pt x="1128" y="628"/>
                    </a:lnTo>
                    <a:lnTo>
                      <a:pt x="1128" y="628"/>
                    </a:lnTo>
                    <a:lnTo>
                      <a:pt x="1126" y="628"/>
                    </a:lnTo>
                    <a:lnTo>
                      <a:pt x="1126" y="628"/>
                    </a:lnTo>
                    <a:lnTo>
                      <a:pt x="1126" y="626"/>
                    </a:lnTo>
                    <a:lnTo>
                      <a:pt x="1122" y="626"/>
                    </a:lnTo>
                    <a:lnTo>
                      <a:pt x="1122" y="626"/>
                    </a:lnTo>
                    <a:lnTo>
                      <a:pt x="1122" y="626"/>
                    </a:lnTo>
                    <a:lnTo>
                      <a:pt x="1118" y="626"/>
                    </a:lnTo>
                    <a:lnTo>
                      <a:pt x="1118" y="626"/>
                    </a:lnTo>
                    <a:lnTo>
                      <a:pt x="1118" y="626"/>
                    </a:lnTo>
                    <a:lnTo>
                      <a:pt x="1116" y="628"/>
                    </a:lnTo>
                    <a:lnTo>
                      <a:pt x="1116" y="628"/>
                    </a:lnTo>
                    <a:lnTo>
                      <a:pt x="1114" y="630"/>
                    </a:lnTo>
                    <a:lnTo>
                      <a:pt x="1114" y="632"/>
                    </a:lnTo>
                    <a:lnTo>
                      <a:pt x="1114" y="632"/>
                    </a:lnTo>
                    <a:lnTo>
                      <a:pt x="1114" y="632"/>
                    </a:lnTo>
                    <a:lnTo>
                      <a:pt x="1114" y="634"/>
                    </a:lnTo>
                    <a:lnTo>
                      <a:pt x="1114" y="638"/>
                    </a:lnTo>
                    <a:lnTo>
                      <a:pt x="1114" y="640"/>
                    </a:lnTo>
                    <a:lnTo>
                      <a:pt x="1114" y="644"/>
                    </a:lnTo>
                    <a:lnTo>
                      <a:pt x="1114" y="646"/>
                    </a:lnTo>
                    <a:lnTo>
                      <a:pt x="1114" y="648"/>
                    </a:lnTo>
                    <a:lnTo>
                      <a:pt x="1114" y="648"/>
                    </a:lnTo>
                    <a:lnTo>
                      <a:pt x="1112" y="650"/>
                    </a:lnTo>
                    <a:lnTo>
                      <a:pt x="1112" y="650"/>
                    </a:lnTo>
                    <a:lnTo>
                      <a:pt x="1108" y="652"/>
                    </a:lnTo>
                    <a:lnTo>
                      <a:pt x="1106" y="652"/>
                    </a:lnTo>
                    <a:lnTo>
                      <a:pt x="1106" y="652"/>
                    </a:lnTo>
                    <a:lnTo>
                      <a:pt x="1104" y="652"/>
                    </a:lnTo>
                    <a:lnTo>
                      <a:pt x="1104" y="652"/>
                    </a:lnTo>
                    <a:lnTo>
                      <a:pt x="1104" y="652"/>
                    </a:lnTo>
                    <a:lnTo>
                      <a:pt x="1102" y="654"/>
                    </a:lnTo>
                    <a:lnTo>
                      <a:pt x="1102" y="654"/>
                    </a:lnTo>
                    <a:lnTo>
                      <a:pt x="1102" y="654"/>
                    </a:lnTo>
                    <a:lnTo>
                      <a:pt x="1102" y="656"/>
                    </a:lnTo>
                    <a:lnTo>
                      <a:pt x="1100" y="656"/>
                    </a:lnTo>
                    <a:lnTo>
                      <a:pt x="1100" y="656"/>
                    </a:lnTo>
                    <a:lnTo>
                      <a:pt x="1100" y="658"/>
                    </a:lnTo>
                    <a:lnTo>
                      <a:pt x="1100" y="658"/>
                    </a:lnTo>
                    <a:lnTo>
                      <a:pt x="1100" y="658"/>
                    </a:lnTo>
                    <a:lnTo>
                      <a:pt x="1098" y="656"/>
                    </a:lnTo>
                    <a:lnTo>
                      <a:pt x="1098" y="656"/>
                    </a:lnTo>
                    <a:lnTo>
                      <a:pt x="1098" y="656"/>
                    </a:lnTo>
                    <a:lnTo>
                      <a:pt x="1096" y="656"/>
                    </a:lnTo>
                    <a:lnTo>
                      <a:pt x="1096" y="656"/>
                    </a:lnTo>
                    <a:lnTo>
                      <a:pt x="1096" y="658"/>
                    </a:lnTo>
                    <a:lnTo>
                      <a:pt x="1094" y="658"/>
                    </a:lnTo>
                    <a:lnTo>
                      <a:pt x="1094" y="658"/>
                    </a:lnTo>
                    <a:lnTo>
                      <a:pt x="1094" y="658"/>
                    </a:lnTo>
                    <a:lnTo>
                      <a:pt x="1090" y="660"/>
                    </a:lnTo>
                    <a:lnTo>
                      <a:pt x="1086" y="664"/>
                    </a:lnTo>
                    <a:lnTo>
                      <a:pt x="1084" y="666"/>
                    </a:lnTo>
                    <a:lnTo>
                      <a:pt x="1082" y="668"/>
                    </a:lnTo>
                    <a:lnTo>
                      <a:pt x="1082" y="668"/>
                    </a:lnTo>
                    <a:lnTo>
                      <a:pt x="1082" y="668"/>
                    </a:lnTo>
                    <a:lnTo>
                      <a:pt x="1080" y="668"/>
                    </a:lnTo>
                    <a:lnTo>
                      <a:pt x="1078" y="672"/>
                    </a:lnTo>
                    <a:lnTo>
                      <a:pt x="1078" y="672"/>
                    </a:lnTo>
                    <a:lnTo>
                      <a:pt x="1078" y="674"/>
                    </a:lnTo>
                    <a:lnTo>
                      <a:pt x="1076" y="674"/>
                    </a:lnTo>
                    <a:lnTo>
                      <a:pt x="1074" y="674"/>
                    </a:lnTo>
                    <a:lnTo>
                      <a:pt x="1072" y="676"/>
                    </a:lnTo>
                    <a:lnTo>
                      <a:pt x="1068" y="676"/>
                    </a:lnTo>
                    <a:lnTo>
                      <a:pt x="1064" y="678"/>
                    </a:lnTo>
                    <a:lnTo>
                      <a:pt x="1060" y="678"/>
                    </a:lnTo>
                    <a:lnTo>
                      <a:pt x="1060" y="678"/>
                    </a:lnTo>
                    <a:lnTo>
                      <a:pt x="1060" y="678"/>
                    </a:lnTo>
                    <a:lnTo>
                      <a:pt x="1062" y="676"/>
                    </a:lnTo>
                    <a:lnTo>
                      <a:pt x="1062" y="676"/>
                    </a:lnTo>
                    <a:lnTo>
                      <a:pt x="1062" y="676"/>
                    </a:lnTo>
                    <a:lnTo>
                      <a:pt x="1062" y="674"/>
                    </a:lnTo>
                    <a:lnTo>
                      <a:pt x="1064" y="670"/>
                    </a:lnTo>
                    <a:lnTo>
                      <a:pt x="1064" y="668"/>
                    </a:lnTo>
                    <a:lnTo>
                      <a:pt x="1064" y="664"/>
                    </a:lnTo>
                    <a:lnTo>
                      <a:pt x="1064" y="660"/>
                    </a:lnTo>
                    <a:lnTo>
                      <a:pt x="1064" y="658"/>
                    </a:lnTo>
                    <a:lnTo>
                      <a:pt x="1064" y="654"/>
                    </a:lnTo>
                    <a:lnTo>
                      <a:pt x="1064" y="654"/>
                    </a:lnTo>
                    <a:lnTo>
                      <a:pt x="1064" y="654"/>
                    </a:lnTo>
                    <a:lnTo>
                      <a:pt x="1064" y="652"/>
                    </a:lnTo>
                    <a:lnTo>
                      <a:pt x="1064" y="652"/>
                    </a:lnTo>
                    <a:lnTo>
                      <a:pt x="1062" y="652"/>
                    </a:lnTo>
                    <a:lnTo>
                      <a:pt x="1062" y="650"/>
                    </a:lnTo>
                    <a:lnTo>
                      <a:pt x="1062" y="650"/>
                    </a:lnTo>
                    <a:lnTo>
                      <a:pt x="1060" y="650"/>
                    </a:lnTo>
                    <a:lnTo>
                      <a:pt x="1058" y="650"/>
                    </a:lnTo>
                    <a:lnTo>
                      <a:pt x="1058" y="650"/>
                    </a:lnTo>
                    <a:lnTo>
                      <a:pt x="1058" y="650"/>
                    </a:lnTo>
                    <a:lnTo>
                      <a:pt x="1056" y="652"/>
                    </a:lnTo>
                    <a:lnTo>
                      <a:pt x="1056" y="652"/>
                    </a:lnTo>
                    <a:lnTo>
                      <a:pt x="1056" y="652"/>
                    </a:lnTo>
                    <a:lnTo>
                      <a:pt x="1054" y="652"/>
                    </a:lnTo>
                    <a:lnTo>
                      <a:pt x="1052" y="656"/>
                    </a:lnTo>
                    <a:lnTo>
                      <a:pt x="1050" y="656"/>
                    </a:lnTo>
                    <a:lnTo>
                      <a:pt x="1050" y="656"/>
                    </a:lnTo>
                    <a:lnTo>
                      <a:pt x="1048" y="656"/>
                    </a:lnTo>
                    <a:lnTo>
                      <a:pt x="1046" y="658"/>
                    </a:lnTo>
                    <a:lnTo>
                      <a:pt x="1044" y="658"/>
                    </a:lnTo>
                    <a:lnTo>
                      <a:pt x="1042" y="658"/>
                    </a:lnTo>
                    <a:lnTo>
                      <a:pt x="1042" y="658"/>
                    </a:lnTo>
                    <a:lnTo>
                      <a:pt x="1042" y="656"/>
                    </a:lnTo>
                    <a:lnTo>
                      <a:pt x="1042" y="654"/>
                    </a:lnTo>
                    <a:lnTo>
                      <a:pt x="1044" y="652"/>
                    </a:lnTo>
                    <a:lnTo>
                      <a:pt x="1046" y="648"/>
                    </a:lnTo>
                    <a:lnTo>
                      <a:pt x="1050" y="642"/>
                    </a:lnTo>
                    <a:lnTo>
                      <a:pt x="1050" y="638"/>
                    </a:lnTo>
                    <a:lnTo>
                      <a:pt x="1052" y="636"/>
                    </a:lnTo>
                    <a:lnTo>
                      <a:pt x="1054" y="630"/>
                    </a:lnTo>
                    <a:lnTo>
                      <a:pt x="1054" y="624"/>
                    </a:lnTo>
                    <a:lnTo>
                      <a:pt x="1054" y="624"/>
                    </a:lnTo>
                    <a:lnTo>
                      <a:pt x="1054" y="624"/>
                    </a:lnTo>
                    <a:lnTo>
                      <a:pt x="1054" y="620"/>
                    </a:lnTo>
                    <a:lnTo>
                      <a:pt x="1054" y="620"/>
                    </a:lnTo>
                    <a:lnTo>
                      <a:pt x="1054" y="620"/>
                    </a:lnTo>
                    <a:lnTo>
                      <a:pt x="1052" y="618"/>
                    </a:lnTo>
                    <a:lnTo>
                      <a:pt x="1052" y="618"/>
                    </a:lnTo>
                    <a:lnTo>
                      <a:pt x="1052" y="618"/>
                    </a:lnTo>
                    <a:lnTo>
                      <a:pt x="1052" y="616"/>
                    </a:lnTo>
                    <a:lnTo>
                      <a:pt x="1052" y="616"/>
                    </a:lnTo>
                    <a:lnTo>
                      <a:pt x="1050" y="614"/>
                    </a:lnTo>
                    <a:lnTo>
                      <a:pt x="1050" y="614"/>
                    </a:lnTo>
                    <a:lnTo>
                      <a:pt x="1050" y="614"/>
                    </a:lnTo>
                    <a:lnTo>
                      <a:pt x="1048" y="612"/>
                    </a:lnTo>
                    <a:lnTo>
                      <a:pt x="1046" y="612"/>
                    </a:lnTo>
                    <a:lnTo>
                      <a:pt x="1046" y="612"/>
                    </a:lnTo>
                    <a:lnTo>
                      <a:pt x="1046" y="612"/>
                    </a:lnTo>
                    <a:lnTo>
                      <a:pt x="1042" y="612"/>
                    </a:lnTo>
                    <a:lnTo>
                      <a:pt x="1040" y="612"/>
                    </a:lnTo>
                    <a:lnTo>
                      <a:pt x="1040" y="610"/>
                    </a:lnTo>
                    <a:lnTo>
                      <a:pt x="1044" y="610"/>
                    </a:lnTo>
                    <a:lnTo>
                      <a:pt x="1046" y="608"/>
                    </a:lnTo>
                    <a:lnTo>
                      <a:pt x="1046" y="608"/>
                    </a:lnTo>
                    <a:lnTo>
                      <a:pt x="1046" y="608"/>
                    </a:lnTo>
                    <a:lnTo>
                      <a:pt x="1048" y="608"/>
                    </a:lnTo>
                    <a:lnTo>
                      <a:pt x="1048" y="608"/>
                    </a:lnTo>
                    <a:lnTo>
                      <a:pt x="1048" y="606"/>
                    </a:lnTo>
                    <a:lnTo>
                      <a:pt x="1050" y="604"/>
                    </a:lnTo>
                    <a:lnTo>
                      <a:pt x="1050" y="604"/>
                    </a:lnTo>
                    <a:lnTo>
                      <a:pt x="1050" y="604"/>
                    </a:lnTo>
                    <a:lnTo>
                      <a:pt x="1052" y="600"/>
                    </a:lnTo>
                    <a:lnTo>
                      <a:pt x="1052" y="600"/>
                    </a:lnTo>
                    <a:lnTo>
                      <a:pt x="1052" y="600"/>
                    </a:lnTo>
                    <a:lnTo>
                      <a:pt x="1052" y="596"/>
                    </a:lnTo>
                    <a:lnTo>
                      <a:pt x="1052" y="596"/>
                    </a:lnTo>
                    <a:lnTo>
                      <a:pt x="1050" y="596"/>
                    </a:lnTo>
                    <a:lnTo>
                      <a:pt x="1050" y="594"/>
                    </a:lnTo>
                    <a:lnTo>
                      <a:pt x="1050" y="594"/>
                    </a:lnTo>
                    <a:lnTo>
                      <a:pt x="1048" y="592"/>
                    </a:lnTo>
                    <a:lnTo>
                      <a:pt x="1048" y="592"/>
                    </a:lnTo>
                    <a:lnTo>
                      <a:pt x="1046" y="592"/>
                    </a:lnTo>
                    <a:lnTo>
                      <a:pt x="1042" y="592"/>
                    </a:lnTo>
                    <a:lnTo>
                      <a:pt x="1036" y="590"/>
                    </a:lnTo>
                    <a:lnTo>
                      <a:pt x="1032" y="590"/>
                    </a:lnTo>
                    <a:lnTo>
                      <a:pt x="1030" y="590"/>
                    </a:lnTo>
                    <a:lnTo>
                      <a:pt x="1026" y="588"/>
                    </a:lnTo>
                    <a:lnTo>
                      <a:pt x="1022" y="588"/>
                    </a:lnTo>
                    <a:lnTo>
                      <a:pt x="1020" y="586"/>
                    </a:lnTo>
                    <a:lnTo>
                      <a:pt x="1018" y="584"/>
                    </a:lnTo>
                    <a:lnTo>
                      <a:pt x="1016" y="582"/>
                    </a:lnTo>
                    <a:lnTo>
                      <a:pt x="1014" y="580"/>
                    </a:lnTo>
                    <a:lnTo>
                      <a:pt x="1012" y="576"/>
                    </a:lnTo>
                    <a:lnTo>
                      <a:pt x="1008" y="572"/>
                    </a:lnTo>
                    <a:lnTo>
                      <a:pt x="1006" y="568"/>
                    </a:lnTo>
                    <a:lnTo>
                      <a:pt x="1004" y="564"/>
                    </a:lnTo>
                    <a:lnTo>
                      <a:pt x="1002" y="562"/>
                    </a:lnTo>
                    <a:lnTo>
                      <a:pt x="1000" y="558"/>
                    </a:lnTo>
                    <a:lnTo>
                      <a:pt x="998" y="556"/>
                    </a:lnTo>
                    <a:lnTo>
                      <a:pt x="996" y="554"/>
                    </a:lnTo>
                    <a:lnTo>
                      <a:pt x="994" y="552"/>
                    </a:lnTo>
                    <a:lnTo>
                      <a:pt x="994" y="552"/>
                    </a:lnTo>
                    <a:lnTo>
                      <a:pt x="994" y="552"/>
                    </a:lnTo>
                    <a:lnTo>
                      <a:pt x="990" y="550"/>
                    </a:lnTo>
                    <a:lnTo>
                      <a:pt x="990" y="550"/>
                    </a:lnTo>
                    <a:lnTo>
                      <a:pt x="990" y="550"/>
                    </a:lnTo>
                    <a:lnTo>
                      <a:pt x="988" y="550"/>
                    </a:lnTo>
                    <a:lnTo>
                      <a:pt x="988" y="550"/>
                    </a:lnTo>
                    <a:lnTo>
                      <a:pt x="988" y="550"/>
                    </a:lnTo>
                    <a:lnTo>
                      <a:pt x="986" y="550"/>
                    </a:lnTo>
                    <a:lnTo>
                      <a:pt x="986" y="550"/>
                    </a:lnTo>
                    <a:lnTo>
                      <a:pt x="986" y="550"/>
                    </a:lnTo>
                    <a:lnTo>
                      <a:pt x="984" y="550"/>
                    </a:lnTo>
                    <a:lnTo>
                      <a:pt x="984" y="550"/>
                    </a:lnTo>
                    <a:lnTo>
                      <a:pt x="984" y="550"/>
                    </a:lnTo>
                    <a:lnTo>
                      <a:pt x="980" y="550"/>
                    </a:lnTo>
                    <a:lnTo>
                      <a:pt x="978" y="552"/>
                    </a:lnTo>
                    <a:lnTo>
                      <a:pt x="976" y="552"/>
                    </a:lnTo>
                    <a:lnTo>
                      <a:pt x="974" y="552"/>
                    </a:lnTo>
                    <a:lnTo>
                      <a:pt x="972" y="552"/>
                    </a:lnTo>
                    <a:lnTo>
                      <a:pt x="966" y="552"/>
                    </a:lnTo>
                    <a:lnTo>
                      <a:pt x="962" y="552"/>
                    </a:lnTo>
                    <a:lnTo>
                      <a:pt x="958" y="552"/>
                    </a:lnTo>
                    <a:lnTo>
                      <a:pt x="956" y="552"/>
                    </a:lnTo>
                    <a:lnTo>
                      <a:pt x="952" y="550"/>
                    </a:lnTo>
                    <a:lnTo>
                      <a:pt x="950" y="548"/>
                    </a:lnTo>
                    <a:lnTo>
                      <a:pt x="946" y="546"/>
                    </a:lnTo>
                    <a:lnTo>
                      <a:pt x="944" y="546"/>
                    </a:lnTo>
                    <a:lnTo>
                      <a:pt x="940" y="544"/>
                    </a:lnTo>
                    <a:lnTo>
                      <a:pt x="940" y="544"/>
                    </a:lnTo>
                    <a:lnTo>
                      <a:pt x="940" y="544"/>
                    </a:lnTo>
                    <a:lnTo>
                      <a:pt x="938" y="544"/>
                    </a:lnTo>
                    <a:lnTo>
                      <a:pt x="938" y="544"/>
                    </a:lnTo>
                    <a:lnTo>
                      <a:pt x="936" y="544"/>
                    </a:lnTo>
                    <a:lnTo>
                      <a:pt x="934" y="544"/>
                    </a:lnTo>
                    <a:lnTo>
                      <a:pt x="934" y="544"/>
                    </a:lnTo>
                    <a:lnTo>
                      <a:pt x="932" y="544"/>
                    </a:lnTo>
                    <a:lnTo>
                      <a:pt x="930" y="546"/>
                    </a:lnTo>
                    <a:lnTo>
                      <a:pt x="930" y="546"/>
                    </a:lnTo>
                    <a:lnTo>
                      <a:pt x="930" y="546"/>
                    </a:lnTo>
                    <a:lnTo>
                      <a:pt x="928" y="550"/>
                    </a:lnTo>
                    <a:lnTo>
                      <a:pt x="928" y="552"/>
                    </a:lnTo>
                    <a:lnTo>
                      <a:pt x="926" y="556"/>
                    </a:lnTo>
                    <a:lnTo>
                      <a:pt x="924" y="564"/>
                    </a:lnTo>
                    <a:lnTo>
                      <a:pt x="924" y="568"/>
                    </a:lnTo>
                    <a:lnTo>
                      <a:pt x="922" y="572"/>
                    </a:lnTo>
                    <a:lnTo>
                      <a:pt x="924" y="576"/>
                    </a:lnTo>
                    <a:lnTo>
                      <a:pt x="924" y="576"/>
                    </a:lnTo>
                    <a:lnTo>
                      <a:pt x="924" y="576"/>
                    </a:lnTo>
                    <a:lnTo>
                      <a:pt x="924" y="578"/>
                    </a:lnTo>
                    <a:lnTo>
                      <a:pt x="924" y="578"/>
                    </a:lnTo>
                    <a:lnTo>
                      <a:pt x="924" y="578"/>
                    </a:lnTo>
                    <a:lnTo>
                      <a:pt x="926" y="584"/>
                    </a:lnTo>
                    <a:lnTo>
                      <a:pt x="928" y="590"/>
                    </a:lnTo>
                    <a:lnTo>
                      <a:pt x="930" y="592"/>
                    </a:lnTo>
                    <a:lnTo>
                      <a:pt x="930" y="594"/>
                    </a:lnTo>
                    <a:lnTo>
                      <a:pt x="932" y="600"/>
                    </a:lnTo>
                    <a:lnTo>
                      <a:pt x="934" y="606"/>
                    </a:lnTo>
                    <a:lnTo>
                      <a:pt x="934" y="612"/>
                    </a:lnTo>
                    <a:lnTo>
                      <a:pt x="934" y="618"/>
                    </a:lnTo>
                    <a:lnTo>
                      <a:pt x="934" y="624"/>
                    </a:lnTo>
                    <a:lnTo>
                      <a:pt x="932" y="630"/>
                    </a:lnTo>
                    <a:lnTo>
                      <a:pt x="930" y="636"/>
                    </a:lnTo>
                    <a:lnTo>
                      <a:pt x="928" y="642"/>
                    </a:lnTo>
                    <a:lnTo>
                      <a:pt x="928" y="644"/>
                    </a:lnTo>
                    <a:lnTo>
                      <a:pt x="926" y="646"/>
                    </a:lnTo>
                    <a:lnTo>
                      <a:pt x="924" y="650"/>
                    </a:lnTo>
                    <a:lnTo>
                      <a:pt x="922" y="652"/>
                    </a:lnTo>
                    <a:lnTo>
                      <a:pt x="922" y="652"/>
                    </a:lnTo>
                    <a:lnTo>
                      <a:pt x="922" y="654"/>
                    </a:lnTo>
                    <a:lnTo>
                      <a:pt x="922" y="656"/>
                    </a:lnTo>
                    <a:lnTo>
                      <a:pt x="922" y="656"/>
                    </a:lnTo>
                    <a:lnTo>
                      <a:pt x="920" y="656"/>
                    </a:lnTo>
                    <a:lnTo>
                      <a:pt x="920" y="660"/>
                    </a:lnTo>
                    <a:lnTo>
                      <a:pt x="920" y="660"/>
                    </a:lnTo>
                    <a:lnTo>
                      <a:pt x="922" y="660"/>
                    </a:lnTo>
                    <a:lnTo>
                      <a:pt x="922" y="664"/>
                    </a:lnTo>
                    <a:lnTo>
                      <a:pt x="922" y="664"/>
                    </a:lnTo>
                    <a:lnTo>
                      <a:pt x="922" y="664"/>
                    </a:lnTo>
                    <a:lnTo>
                      <a:pt x="924" y="666"/>
                    </a:lnTo>
                    <a:lnTo>
                      <a:pt x="924" y="666"/>
                    </a:lnTo>
                    <a:lnTo>
                      <a:pt x="924" y="666"/>
                    </a:lnTo>
                    <a:lnTo>
                      <a:pt x="924" y="668"/>
                    </a:lnTo>
                    <a:lnTo>
                      <a:pt x="924" y="668"/>
                    </a:lnTo>
                    <a:lnTo>
                      <a:pt x="926" y="668"/>
                    </a:lnTo>
                    <a:lnTo>
                      <a:pt x="928" y="670"/>
                    </a:lnTo>
                    <a:lnTo>
                      <a:pt x="934" y="674"/>
                    </a:lnTo>
                    <a:lnTo>
                      <a:pt x="938" y="676"/>
                    </a:lnTo>
                    <a:lnTo>
                      <a:pt x="944" y="680"/>
                    </a:lnTo>
                    <a:lnTo>
                      <a:pt x="948" y="682"/>
                    </a:lnTo>
                    <a:lnTo>
                      <a:pt x="950" y="686"/>
                    </a:lnTo>
                    <a:lnTo>
                      <a:pt x="950" y="688"/>
                    </a:lnTo>
                    <a:lnTo>
                      <a:pt x="952" y="690"/>
                    </a:lnTo>
                    <a:lnTo>
                      <a:pt x="952" y="692"/>
                    </a:lnTo>
                    <a:lnTo>
                      <a:pt x="952" y="694"/>
                    </a:lnTo>
                    <a:lnTo>
                      <a:pt x="952" y="702"/>
                    </a:lnTo>
                    <a:lnTo>
                      <a:pt x="952" y="708"/>
                    </a:lnTo>
                    <a:lnTo>
                      <a:pt x="950" y="716"/>
                    </a:lnTo>
                    <a:lnTo>
                      <a:pt x="948" y="724"/>
                    </a:lnTo>
                    <a:lnTo>
                      <a:pt x="946" y="730"/>
                    </a:lnTo>
                    <a:lnTo>
                      <a:pt x="944" y="736"/>
                    </a:lnTo>
                    <a:lnTo>
                      <a:pt x="944" y="738"/>
                    </a:lnTo>
                    <a:lnTo>
                      <a:pt x="942" y="740"/>
                    </a:lnTo>
                    <a:lnTo>
                      <a:pt x="942" y="744"/>
                    </a:lnTo>
                    <a:lnTo>
                      <a:pt x="940" y="746"/>
                    </a:lnTo>
                    <a:lnTo>
                      <a:pt x="936" y="748"/>
                    </a:lnTo>
                    <a:lnTo>
                      <a:pt x="934" y="748"/>
                    </a:lnTo>
                    <a:lnTo>
                      <a:pt x="932" y="750"/>
                    </a:lnTo>
                    <a:lnTo>
                      <a:pt x="930" y="750"/>
                    </a:lnTo>
                    <a:lnTo>
                      <a:pt x="926" y="750"/>
                    </a:lnTo>
                    <a:lnTo>
                      <a:pt x="924" y="750"/>
                    </a:lnTo>
                    <a:lnTo>
                      <a:pt x="922" y="752"/>
                    </a:lnTo>
                    <a:lnTo>
                      <a:pt x="920" y="750"/>
                    </a:lnTo>
                    <a:lnTo>
                      <a:pt x="920" y="750"/>
                    </a:lnTo>
                    <a:lnTo>
                      <a:pt x="916" y="750"/>
                    </a:lnTo>
                    <a:lnTo>
                      <a:pt x="914" y="750"/>
                    </a:lnTo>
                    <a:lnTo>
                      <a:pt x="914" y="750"/>
                    </a:lnTo>
                    <a:lnTo>
                      <a:pt x="914" y="750"/>
                    </a:lnTo>
                    <a:lnTo>
                      <a:pt x="912" y="750"/>
                    </a:lnTo>
                    <a:lnTo>
                      <a:pt x="912" y="750"/>
                    </a:lnTo>
                    <a:lnTo>
                      <a:pt x="912" y="750"/>
                    </a:lnTo>
                    <a:lnTo>
                      <a:pt x="910" y="750"/>
                    </a:lnTo>
                    <a:lnTo>
                      <a:pt x="910" y="750"/>
                    </a:lnTo>
                    <a:lnTo>
                      <a:pt x="908" y="752"/>
                    </a:lnTo>
                    <a:lnTo>
                      <a:pt x="908" y="752"/>
                    </a:lnTo>
                    <a:lnTo>
                      <a:pt x="908" y="752"/>
                    </a:lnTo>
                    <a:lnTo>
                      <a:pt x="908" y="754"/>
                    </a:lnTo>
                    <a:lnTo>
                      <a:pt x="906" y="756"/>
                    </a:lnTo>
                    <a:lnTo>
                      <a:pt x="906" y="756"/>
                    </a:lnTo>
                    <a:lnTo>
                      <a:pt x="906" y="756"/>
                    </a:lnTo>
                    <a:lnTo>
                      <a:pt x="906" y="758"/>
                    </a:lnTo>
                    <a:lnTo>
                      <a:pt x="906" y="762"/>
                    </a:lnTo>
                    <a:lnTo>
                      <a:pt x="908" y="766"/>
                    </a:lnTo>
                    <a:lnTo>
                      <a:pt x="908" y="774"/>
                    </a:lnTo>
                    <a:lnTo>
                      <a:pt x="910" y="778"/>
                    </a:lnTo>
                    <a:lnTo>
                      <a:pt x="910" y="782"/>
                    </a:lnTo>
                    <a:lnTo>
                      <a:pt x="912" y="786"/>
                    </a:lnTo>
                    <a:lnTo>
                      <a:pt x="912" y="790"/>
                    </a:lnTo>
                    <a:lnTo>
                      <a:pt x="916" y="798"/>
                    </a:lnTo>
                    <a:lnTo>
                      <a:pt x="918" y="806"/>
                    </a:lnTo>
                    <a:lnTo>
                      <a:pt x="920" y="810"/>
                    </a:lnTo>
                    <a:lnTo>
                      <a:pt x="920" y="812"/>
                    </a:lnTo>
                    <a:lnTo>
                      <a:pt x="920" y="816"/>
                    </a:lnTo>
                    <a:lnTo>
                      <a:pt x="920" y="818"/>
                    </a:lnTo>
                    <a:lnTo>
                      <a:pt x="920" y="824"/>
                    </a:lnTo>
                    <a:lnTo>
                      <a:pt x="918" y="828"/>
                    </a:lnTo>
                    <a:lnTo>
                      <a:pt x="916" y="832"/>
                    </a:lnTo>
                    <a:lnTo>
                      <a:pt x="914" y="836"/>
                    </a:lnTo>
                    <a:lnTo>
                      <a:pt x="914" y="840"/>
                    </a:lnTo>
                    <a:lnTo>
                      <a:pt x="912" y="842"/>
                    </a:lnTo>
                    <a:lnTo>
                      <a:pt x="912" y="844"/>
                    </a:lnTo>
                    <a:lnTo>
                      <a:pt x="912" y="844"/>
                    </a:lnTo>
                    <a:lnTo>
                      <a:pt x="910" y="844"/>
                    </a:lnTo>
                    <a:lnTo>
                      <a:pt x="908" y="846"/>
                    </a:lnTo>
                    <a:lnTo>
                      <a:pt x="904" y="846"/>
                    </a:lnTo>
                    <a:lnTo>
                      <a:pt x="900" y="846"/>
                    </a:lnTo>
                    <a:lnTo>
                      <a:pt x="900" y="844"/>
                    </a:lnTo>
                    <a:lnTo>
                      <a:pt x="898" y="844"/>
                    </a:lnTo>
                    <a:lnTo>
                      <a:pt x="894" y="842"/>
                    </a:lnTo>
                    <a:lnTo>
                      <a:pt x="892" y="838"/>
                    </a:lnTo>
                    <a:lnTo>
                      <a:pt x="888" y="834"/>
                    </a:lnTo>
                    <a:lnTo>
                      <a:pt x="886" y="830"/>
                    </a:lnTo>
                    <a:lnTo>
                      <a:pt x="884" y="828"/>
                    </a:lnTo>
                    <a:lnTo>
                      <a:pt x="880" y="826"/>
                    </a:lnTo>
                    <a:lnTo>
                      <a:pt x="876" y="820"/>
                    </a:lnTo>
                    <a:lnTo>
                      <a:pt x="874" y="818"/>
                    </a:lnTo>
                    <a:lnTo>
                      <a:pt x="872" y="816"/>
                    </a:lnTo>
                    <a:lnTo>
                      <a:pt x="870" y="812"/>
                    </a:lnTo>
                    <a:lnTo>
                      <a:pt x="870" y="810"/>
                    </a:lnTo>
                    <a:lnTo>
                      <a:pt x="868" y="804"/>
                    </a:lnTo>
                    <a:lnTo>
                      <a:pt x="868" y="798"/>
                    </a:lnTo>
                    <a:lnTo>
                      <a:pt x="868" y="792"/>
                    </a:lnTo>
                    <a:lnTo>
                      <a:pt x="866" y="786"/>
                    </a:lnTo>
                    <a:lnTo>
                      <a:pt x="866" y="778"/>
                    </a:lnTo>
                    <a:lnTo>
                      <a:pt x="866" y="772"/>
                    </a:lnTo>
                    <a:lnTo>
                      <a:pt x="866" y="766"/>
                    </a:lnTo>
                    <a:lnTo>
                      <a:pt x="866" y="762"/>
                    </a:lnTo>
                    <a:lnTo>
                      <a:pt x="864" y="758"/>
                    </a:lnTo>
                    <a:lnTo>
                      <a:pt x="864" y="756"/>
                    </a:lnTo>
                    <a:lnTo>
                      <a:pt x="864" y="754"/>
                    </a:lnTo>
                    <a:lnTo>
                      <a:pt x="864" y="752"/>
                    </a:lnTo>
                    <a:lnTo>
                      <a:pt x="864" y="752"/>
                    </a:lnTo>
                    <a:lnTo>
                      <a:pt x="864" y="752"/>
                    </a:lnTo>
                    <a:lnTo>
                      <a:pt x="864" y="750"/>
                    </a:lnTo>
                    <a:lnTo>
                      <a:pt x="864" y="750"/>
                    </a:lnTo>
                    <a:lnTo>
                      <a:pt x="864" y="750"/>
                    </a:lnTo>
                    <a:lnTo>
                      <a:pt x="862" y="748"/>
                    </a:lnTo>
                    <a:lnTo>
                      <a:pt x="862" y="748"/>
                    </a:lnTo>
                    <a:lnTo>
                      <a:pt x="862" y="748"/>
                    </a:lnTo>
                    <a:lnTo>
                      <a:pt x="860" y="746"/>
                    </a:lnTo>
                    <a:lnTo>
                      <a:pt x="858" y="746"/>
                    </a:lnTo>
                    <a:lnTo>
                      <a:pt x="858" y="746"/>
                    </a:lnTo>
                    <a:lnTo>
                      <a:pt x="858" y="744"/>
                    </a:lnTo>
                    <a:lnTo>
                      <a:pt x="854" y="744"/>
                    </a:lnTo>
                    <a:lnTo>
                      <a:pt x="854" y="744"/>
                    </a:lnTo>
                    <a:lnTo>
                      <a:pt x="854" y="744"/>
                    </a:lnTo>
                    <a:lnTo>
                      <a:pt x="848" y="742"/>
                    </a:lnTo>
                    <a:lnTo>
                      <a:pt x="844" y="742"/>
                    </a:lnTo>
                    <a:lnTo>
                      <a:pt x="838" y="742"/>
                    </a:lnTo>
                    <a:lnTo>
                      <a:pt x="832" y="740"/>
                    </a:lnTo>
                    <a:lnTo>
                      <a:pt x="824" y="740"/>
                    </a:lnTo>
                    <a:lnTo>
                      <a:pt x="820" y="738"/>
                    </a:lnTo>
                    <a:lnTo>
                      <a:pt x="814" y="738"/>
                    </a:lnTo>
                    <a:lnTo>
                      <a:pt x="810" y="734"/>
                    </a:lnTo>
                    <a:lnTo>
                      <a:pt x="804" y="730"/>
                    </a:lnTo>
                    <a:lnTo>
                      <a:pt x="798" y="726"/>
                    </a:lnTo>
                    <a:lnTo>
                      <a:pt x="794" y="722"/>
                    </a:lnTo>
                    <a:lnTo>
                      <a:pt x="788" y="718"/>
                    </a:lnTo>
                    <a:lnTo>
                      <a:pt x="784" y="714"/>
                    </a:lnTo>
                    <a:lnTo>
                      <a:pt x="780" y="710"/>
                    </a:lnTo>
                    <a:lnTo>
                      <a:pt x="776" y="708"/>
                    </a:lnTo>
                    <a:lnTo>
                      <a:pt x="772" y="706"/>
                    </a:lnTo>
                    <a:lnTo>
                      <a:pt x="768" y="704"/>
                    </a:lnTo>
                    <a:lnTo>
                      <a:pt x="764" y="704"/>
                    </a:lnTo>
                    <a:lnTo>
                      <a:pt x="762" y="702"/>
                    </a:lnTo>
                    <a:lnTo>
                      <a:pt x="756" y="702"/>
                    </a:lnTo>
                    <a:lnTo>
                      <a:pt x="754" y="702"/>
                    </a:lnTo>
                    <a:lnTo>
                      <a:pt x="752" y="700"/>
                    </a:lnTo>
                    <a:lnTo>
                      <a:pt x="750" y="700"/>
                    </a:lnTo>
                    <a:lnTo>
                      <a:pt x="748" y="698"/>
                    </a:lnTo>
                    <a:lnTo>
                      <a:pt x="746" y="696"/>
                    </a:lnTo>
                    <a:lnTo>
                      <a:pt x="744" y="694"/>
                    </a:lnTo>
                    <a:lnTo>
                      <a:pt x="744" y="694"/>
                    </a:lnTo>
                    <a:lnTo>
                      <a:pt x="744" y="694"/>
                    </a:lnTo>
                    <a:lnTo>
                      <a:pt x="742" y="694"/>
                    </a:lnTo>
                    <a:lnTo>
                      <a:pt x="742" y="694"/>
                    </a:lnTo>
                    <a:lnTo>
                      <a:pt x="742" y="692"/>
                    </a:lnTo>
                    <a:lnTo>
                      <a:pt x="740" y="692"/>
                    </a:lnTo>
                    <a:lnTo>
                      <a:pt x="740" y="692"/>
                    </a:lnTo>
                    <a:lnTo>
                      <a:pt x="738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4" y="694"/>
                    </a:lnTo>
                    <a:lnTo>
                      <a:pt x="734" y="694"/>
                    </a:lnTo>
                    <a:lnTo>
                      <a:pt x="734" y="694"/>
                    </a:lnTo>
                    <a:lnTo>
                      <a:pt x="732" y="694"/>
                    </a:lnTo>
                    <a:lnTo>
                      <a:pt x="730" y="696"/>
                    </a:lnTo>
                    <a:lnTo>
                      <a:pt x="726" y="698"/>
                    </a:lnTo>
                    <a:lnTo>
                      <a:pt x="726" y="698"/>
                    </a:lnTo>
                    <a:lnTo>
                      <a:pt x="724" y="698"/>
                    </a:lnTo>
                    <a:lnTo>
                      <a:pt x="724" y="698"/>
                    </a:lnTo>
                    <a:lnTo>
                      <a:pt x="724" y="698"/>
                    </a:lnTo>
                    <a:lnTo>
                      <a:pt x="722" y="696"/>
                    </a:lnTo>
                    <a:lnTo>
                      <a:pt x="722" y="692"/>
                    </a:lnTo>
                    <a:lnTo>
                      <a:pt x="720" y="690"/>
                    </a:lnTo>
                    <a:lnTo>
                      <a:pt x="718" y="682"/>
                    </a:lnTo>
                    <a:lnTo>
                      <a:pt x="716" y="680"/>
                    </a:lnTo>
                    <a:lnTo>
                      <a:pt x="714" y="676"/>
                    </a:lnTo>
                    <a:lnTo>
                      <a:pt x="714" y="674"/>
                    </a:lnTo>
                    <a:lnTo>
                      <a:pt x="714" y="670"/>
                    </a:lnTo>
                    <a:lnTo>
                      <a:pt x="712" y="664"/>
                    </a:lnTo>
                    <a:lnTo>
                      <a:pt x="712" y="660"/>
                    </a:lnTo>
                    <a:lnTo>
                      <a:pt x="710" y="658"/>
                    </a:lnTo>
                    <a:lnTo>
                      <a:pt x="710" y="658"/>
                    </a:lnTo>
                    <a:lnTo>
                      <a:pt x="710" y="658"/>
                    </a:lnTo>
                    <a:lnTo>
                      <a:pt x="710" y="654"/>
                    </a:lnTo>
                    <a:lnTo>
                      <a:pt x="710" y="654"/>
                    </a:lnTo>
                    <a:lnTo>
                      <a:pt x="710" y="654"/>
                    </a:lnTo>
                    <a:lnTo>
                      <a:pt x="708" y="652"/>
                    </a:lnTo>
                    <a:lnTo>
                      <a:pt x="708" y="652"/>
                    </a:lnTo>
                    <a:lnTo>
                      <a:pt x="706" y="652"/>
                    </a:lnTo>
                    <a:lnTo>
                      <a:pt x="704" y="650"/>
                    </a:lnTo>
                    <a:lnTo>
                      <a:pt x="704" y="650"/>
                    </a:lnTo>
                    <a:lnTo>
                      <a:pt x="704" y="650"/>
                    </a:lnTo>
                    <a:lnTo>
                      <a:pt x="700" y="650"/>
                    </a:lnTo>
                    <a:lnTo>
                      <a:pt x="700" y="650"/>
                    </a:lnTo>
                    <a:lnTo>
                      <a:pt x="700" y="650"/>
                    </a:lnTo>
                    <a:lnTo>
                      <a:pt x="698" y="650"/>
                    </a:lnTo>
                    <a:lnTo>
                      <a:pt x="694" y="652"/>
                    </a:lnTo>
                    <a:lnTo>
                      <a:pt x="692" y="652"/>
                    </a:lnTo>
                    <a:lnTo>
                      <a:pt x="690" y="652"/>
                    </a:lnTo>
                    <a:lnTo>
                      <a:pt x="688" y="650"/>
                    </a:lnTo>
                    <a:lnTo>
                      <a:pt x="688" y="650"/>
                    </a:lnTo>
                    <a:lnTo>
                      <a:pt x="688" y="650"/>
                    </a:lnTo>
                    <a:lnTo>
                      <a:pt x="686" y="646"/>
                    </a:lnTo>
                    <a:lnTo>
                      <a:pt x="686" y="642"/>
                    </a:lnTo>
                    <a:lnTo>
                      <a:pt x="686" y="638"/>
                    </a:lnTo>
                    <a:lnTo>
                      <a:pt x="686" y="632"/>
                    </a:lnTo>
                    <a:lnTo>
                      <a:pt x="686" y="626"/>
                    </a:lnTo>
                    <a:lnTo>
                      <a:pt x="686" y="620"/>
                    </a:lnTo>
                    <a:lnTo>
                      <a:pt x="686" y="614"/>
                    </a:lnTo>
                    <a:lnTo>
                      <a:pt x="688" y="608"/>
                    </a:lnTo>
                    <a:lnTo>
                      <a:pt x="688" y="602"/>
                    </a:lnTo>
                    <a:lnTo>
                      <a:pt x="690" y="596"/>
                    </a:lnTo>
                    <a:lnTo>
                      <a:pt x="694" y="590"/>
                    </a:lnTo>
                    <a:lnTo>
                      <a:pt x="696" y="584"/>
                    </a:lnTo>
                    <a:lnTo>
                      <a:pt x="702" y="572"/>
                    </a:lnTo>
                    <a:lnTo>
                      <a:pt x="704" y="566"/>
                    </a:lnTo>
                    <a:lnTo>
                      <a:pt x="708" y="562"/>
                    </a:lnTo>
                    <a:lnTo>
                      <a:pt x="710" y="558"/>
                    </a:lnTo>
                    <a:lnTo>
                      <a:pt x="714" y="554"/>
                    </a:lnTo>
                    <a:lnTo>
                      <a:pt x="722" y="546"/>
                    </a:lnTo>
                    <a:lnTo>
                      <a:pt x="728" y="538"/>
                    </a:lnTo>
                    <a:lnTo>
                      <a:pt x="732" y="536"/>
                    </a:lnTo>
                    <a:lnTo>
                      <a:pt x="734" y="534"/>
                    </a:lnTo>
                    <a:lnTo>
                      <a:pt x="738" y="532"/>
                    </a:lnTo>
                    <a:lnTo>
                      <a:pt x="740" y="530"/>
                    </a:lnTo>
                    <a:lnTo>
                      <a:pt x="742" y="530"/>
                    </a:lnTo>
                    <a:lnTo>
                      <a:pt x="744" y="530"/>
                    </a:lnTo>
                    <a:lnTo>
                      <a:pt x="744" y="528"/>
                    </a:lnTo>
                    <a:lnTo>
                      <a:pt x="746" y="528"/>
                    </a:lnTo>
                    <a:lnTo>
                      <a:pt x="746" y="528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50" y="524"/>
                    </a:lnTo>
                    <a:lnTo>
                      <a:pt x="750" y="524"/>
                    </a:lnTo>
                    <a:lnTo>
                      <a:pt x="750" y="522"/>
                    </a:lnTo>
                    <a:lnTo>
                      <a:pt x="750" y="520"/>
                    </a:lnTo>
                    <a:lnTo>
                      <a:pt x="750" y="520"/>
                    </a:lnTo>
                    <a:lnTo>
                      <a:pt x="750" y="518"/>
                    </a:lnTo>
                    <a:lnTo>
                      <a:pt x="750" y="516"/>
                    </a:lnTo>
                    <a:lnTo>
                      <a:pt x="750" y="514"/>
                    </a:lnTo>
                    <a:lnTo>
                      <a:pt x="750" y="514"/>
                    </a:lnTo>
                    <a:lnTo>
                      <a:pt x="748" y="514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0"/>
                    </a:lnTo>
                    <a:lnTo>
                      <a:pt x="748" y="510"/>
                    </a:lnTo>
                    <a:lnTo>
                      <a:pt x="748" y="510"/>
                    </a:lnTo>
                    <a:lnTo>
                      <a:pt x="750" y="510"/>
                    </a:lnTo>
                    <a:lnTo>
                      <a:pt x="750" y="508"/>
                    </a:lnTo>
                    <a:lnTo>
                      <a:pt x="750" y="508"/>
                    </a:lnTo>
                    <a:lnTo>
                      <a:pt x="752" y="506"/>
                    </a:lnTo>
                    <a:lnTo>
                      <a:pt x="752" y="504"/>
                    </a:lnTo>
                    <a:lnTo>
                      <a:pt x="754" y="500"/>
                    </a:lnTo>
                    <a:lnTo>
                      <a:pt x="754" y="496"/>
                    </a:lnTo>
                    <a:lnTo>
                      <a:pt x="756" y="494"/>
                    </a:lnTo>
                    <a:lnTo>
                      <a:pt x="756" y="492"/>
                    </a:lnTo>
                    <a:lnTo>
                      <a:pt x="756" y="492"/>
                    </a:lnTo>
                    <a:lnTo>
                      <a:pt x="758" y="492"/>
                    </a:lnTo>
                    <a:lnTo>
                      <a:pt x="760" y="494"/>
                    </a:lnTo>
                    <a:lnTo>
                      <a:pt x="760" y="496"/>
                    </a:lnTo>
                    <a:lnTo>
                      <a:pt x="760" y="496"/>
                    </a:lnTo>
                    <a:lnTo>
                      <a:pt x="762" y="496"/>
                    </a:lnTo>
                    <a:lnTo>
                      <a:pt x="764" y="496"/>
                    </a:lnTo>
                    <a:lnTo>
                      <a:pt x="764" y="496"/>
                    </a:lnTo>
                    <a:lnTo>
                      <a:pt x="764" y="496"/>
                    </a:lnTo>
                    <a:lnTo>
                      <a:pt x="766" y="496"/>
                    </a:lnTo>
                    <a:lnTo>
                      <a:pt x="766" y="496"/>
                    </a:lnTo>
                    <a:lnTo>
                      <a:pt x="768" y="496"/>
                    </a:lnTo>
                    <a:lnTo>
                      <a:pt x="768" y="496"/>
                    </a:lnTo>
                    <a:lnTo>
                      <a:pt x="768" y="496"/>
                    </a:lnTo>
                    <a:lnTo>
                      <a:pt x="770" y="496"/>
                    </a:lnTo>
                    <a:lnTo>
                      <a:pt x="770" y="496"/>
                    </a:lnTo>
                    <a:lnTo>
                      <a:pt x="774" y="492"/>
                    </a:lnTo>
                    <a:lnTo>
                      <a:pt x="778" y="490"/>
                    </a:lnTo>
                    <a:lnTo>
                      <a:pt x="782" y="484"/>
                    </a:lnTo>
                    <a:lnTo>
                      <a:pt x="786" y="480"/>
                    </a:lnTo>
                    <a:lnTo>
                      <a:pt x="790" y="476"/>
                    </a:lnTo>
                    <a:lnTo>
                      <a:pt x="794" y="470"/>
                    </a:lnTo>
                    <a:lnTo>
                      <a:pt x="794" y="468"/>
                    </a:lnTo>
                    <a:lnTo>
                      <a:pt x="796" y="466"/>
                    </a:lnTo>
                    <a:lnTo>
                      <a:pt x="796" y="466"/>
                    </a:lnTo>
                    <a:lnTo>
                      <a:pt x="796" y="466"/>
                    </a:lnTo>
                    <a:lnTo>
                      <a:pt x="796" y="464"/>
                    </a:lnTo>
                    <a:lnTo>
                      <a:pt x="796" y="464"/>
                    </a:lnTo>
                    <a:lnTo>
                      <a:pt x="796" y="464"/>
                    </a:lnTo>
                    <a:lnTo>
                      <a:pt x="798" y="462"/>
                    </a:lnTo>
                    <a:lnTo>
                      <a:pt x="798" y="462"/>
                    </a:lnTo>
                    <a:lnTo>
                      <a:pt x="798" y="460"/>
                    </a:lnTo>
                    <a:lnTo>
                      <a:pt x="796" y="460"/>
                    </a:lnTo>
                    <a:lnTo>
                      <a:pt x="796" y="460"/>
                    </a:lnTo>
                    <a:lnTo>
                      <a:pt x="796" y="458"/>
                    </a:lnTo>
                    <a:lnTo>
                      <a:pt x="796" y="458"/>
                    </a:lnTo>
                    <a:lnTo>
                      <a:pt x="796" y="458"/>
                    </a:lnTo>
                    <a:lnTo>
                      <a:pt x="796" y="456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2" y="454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6" y="452"/>
                    </a:lnTo>
                    <a:lnTo>
                      <a:pt x="796" y="452"/>
                    </a:lnTo>
                    <a:lnTo>
                      <a:pt x="796" y="450"/>
                    </a:lnTo>
                    <a:lnTo>
                      <a:pt x="798" y="448"/>
                    </a:lnTo>
                    <a:lnTo>
                      <a:pt x="798" y="446"/>
                    </a:lnTo>
                    <a:lnTo>
                      <a:pt x="800" y="442"/>
                    </a:lnTo>
                    <a:lnTo>
                      <a:pt x="802" y="440"/>
                    </a:lnTo>
                    <a:lnTo>
                      <a:pt x="802" y="442"/>
                    </a:lnTo>
                    <a:lnTo>
                      <a:pt x="802" y="442"/>
                    </a:lnTo>
                    <a:lnTo>
                      <a:pt x="802" y="444"/>
                    </a:lnTo>
                    <a:lnTo>
                      <a:pt x="802" y="444"/>
                    </a:lnTo>
                    <a:lnTo>
                      <a:pt x="802" y="446"/>
                    </a:lnTo>
                    <a:lnTo>
                      <a:pt x="802" y="452"/>
                    </a:lnTo>
                    <a:lnTo>
                      <a:pt x="804" y="460"/>
                    </a:lnTo>
                    <a:lnTo>
                      <a:pt x="804" y="468"/>
                    </a:lnTo>
                    <a:lnTo>
                      <a:pt x="804" y="474"/>
                    </a:lnTo>
                    <a:lnTo>
                      <a:pt x="804" y="482"/>
                    </a:lnTo>
                    <a:lnTo>
                      <a:pt x="804" y="484"/>
                    </a:lnTo>
                    <a:lnTo>
                      <a:pt x="802" y="488"/>
                    </a:lnTo>
                    <a:lnTo>
                      <a:pt x="800" y="490"/>
                    </a:lnTo>
                    <a:lnTo>
                      <a:pt x="798" y="494"/>
                    </a:lnTo>
                    <a:lnTo>
                      <a:pt x="796" y="496"/>
                    </a:lnTo>
                    <a:lnTo>
                      <a:pt x="794" y="498"/>
                    </a:lnTo>
                    <a:lnTo>
                      <a:pt x="794" y="498"/>
                    </a:lnTo>
                    <a:lnTo>
                      <a:pt x="794" y="498"/>
                    </a:lnTo>
                    <a:lnTo>
                      <a:pt x="792" y="502"/>
                    </a:lnTo>
                    <a:lnTo>
                      <a:pt x="792" y="502"/>
                    </a:lnTo>
                    <a:lnTo>
                      <a:pt x="790" y="504"/>
                    </a:lnTo>
                    <a:lnTo>
                      <a:pt x="790" y="506"/>
                    </a:lnTo>
                    <a:lnTo>
                      <a:pt x="790" y="506"/>
                    </a:lnTo>
                    <a:lnTo>
                      <a:pt x="790" y="506"/>
                    </a:lnTo>
                    <a:lnTo>
                      <a:pt x="788" y="508"/>
                    </a:lnTo>
                    <a:lnTo>
                      <a:pt x="788" y="508"/>
                    </a:lnTo>
                    <a:lnTo>
                      <a:pt x="790" y="510"/>
                    </a:lnTo>
                    <a:lnTo>
                      <a:pt x="790" y="510"/>
                    </a:lnTo>
                    <a:lnTo>
                      <a:pt x="790" y="510"/>
                    </a:lnTo>
                    <a:lnTo>
                      <a:pt x="790" y="512"/>
                    </a:lnTo>
                    <a:lnTo>
                      <a:pt x="792" y="512"/>
                    </a:lnTo>
                    <a:lnTo>
                      <a:pt x="792" y="512"/>
                    </a:lnTo>
                    <a:lnTo>
                      <a:pt x="792" y="512"/>
                    </a:lnTo>
                    <a:lnTo>
                      <a:pt x="794" y="514"/>
                    </a:lnTo>
                    <a:lnTo>
                      <a:pt x="794" y="514"/>
                    </a:lnTo>
                    <a:lnTo>
                      <a:pt x="796" y="514"/>
                    </a:lnTo>
                    <a:lnTo>
                      <a:pt x="800" y="514"/>
                    </a:lnTo>
                    <a:lnTo>
                      <a:pt x="802" y="512"/>
                    </a:lnTo>
                    <a:lnTo>
                      <a:pt x="806" y="512"/>
                    </a:lnTo>
                    <a:lnTo>
                      <a:pt x="808" y="512"/>
                    </a:lnTo>
                    <a:lnTo>
                      <a:pt x="810" y="512"/>
                    </a:lnTo>
                    <a:lnTo>
                      <a:pt x="810" y="512"/>
                    </a:lnTo>
                    <a:lnTo>
                      <a:pt x="812" y="512"/>
                    </a:lnTo>
                    <a:lnTo>
                      <a:pt x="812" y="514"/>
                    </a:lnTo>
                    <a:lnTo>
                      <a:pt x="812" y="516"/>
                    </a:lnTo>
                    <a:lnTo>
                      <a:pt x="814" y="518"/>
                    </a:lnTo>
                    <a:lnTo>
                      <a:pt x="814" y="520"/>
                    </a:lnTo>
                    <a:lnTo>
                      <a:pt x="814" y="524"/>
                    </a:lnTo>
                    <a:lnTo>
                      <a:pt x="814" y="524"/>
                    </a:lnTo>
                    <a:lnTo>
                      <a:pt x="816" y="526"/>
                    </a:lnTo>
                    <a:lnTo>
                      <a:pt x="818" y="526"/>
                    </a:lnTo>
                    <a:lnTo>
                      <a:pt x="820" y="526"/>
                    </a:lnTo>
                    <a:lnTo>
                      <a:pt x="824" y="526"/>
                    </a:lnTo>
                    <a:lnTo>
                      <a:pt x="828" y="524"/>
                    </a:lnTo>
                    <a:lnTo>
                      <a:pt x="834" y="522"/>
                    </a:lnTo>
                    <a:lnTo>
                      <a:pt x="836" y="522"/>
                    </a:lnTo>
                    <a:lnTo>
                      <a:pt x="840" y="520"/>
                    </a:lnTo>
                    <a:lnTo>
                      <a:pt x="840" y="520"/>
                    </a:lnTo>
                    <a:lnTo>
                      <a:pt x="840" y="520"/>
                    </a:lnTo>
                    <a:lnTo>
                      <a:pt x="844" y="514"/>
                    </a:lnTo>
                    <a:lnTo>
                      <a:pt x="850" y="506"/>
                    </a:lnTo>
                    <a:lnTo>
                      <a:pt x="850" y="506"/>
                    </a:lnTo>
                    <a:lnTo>
                      <a:pt x="850" y="504"/>
                    </a:lnTo>
                    <a:lnTo>
                      <a:pt x="850" y="502"/>
                    </a:lnTo>
                    <a:lnTo>
                      <a:pt x="850" y="500"/>
                    </a:lnTo>
                    <a:lnTo>
                      <a:pt x="850" y="500"/>
                    </a:lnTo>
                    <a:lnTo>
                      <a:pt x="850" y="500"/>
                    </a:lnTo>
                    <a:lnTo>
                      <a:pt x="852" y="502"/>
                    </a:lnTo>
                    <a:lnTo>
                      <a:pt x="854" y="504"/>
                    </a:lnTo>
                    <a:lnTo>
                      <a:pt x="856" y="504"/>
                    </a:lnTo>
                    <a:lnTo>
                      <a:pt x="860" y="508"/>
                    </a:lnTo>
                    <a:lnTo>
                      <a:pt x="862" y="510"/>
                    </a:lnTo>
                    <a:lnTo>
                      <a:pt x="866" y="512"/>
                    </a:lnTo>
                    <a:lnTo>
                      <a:pt x="868" y="514"/>
                    </a:lnTo>
                    <a:lnTo>
                      <a:pt x="868" y="514"/>
                    </a:lnTo>
                    <a:lnTo>
                      <a:pt x="870" y="514"/>
                    </a:lnTo>
                    <a:lnTo>
                      <a:pt x="872" y="514"/>
                    </a:lnTo>
                    <a:lnTo>
                      <a:pt x="872" y="514"/>
                    </a:lnTo>
                    <a:lnTo>
                      <a:pt x="874" y="514"/>
                    </a:lnTo>
                    <a:lnTo>
                      <a:pt x="878" y="514"/>
                    </a:lnTo>
                    <a:lnTo>
                      <a:pt x="882" y="514"/>
                    </a:lnTo>
                    <a:lnTo>
                      <a:pt x="886" y="514"/>
                    </a:lnTo>
                    <a:lnTo>
                      <a:pt x="886" y="514"/>
                    </a:lnTo>
                    <a:lnTo>
                      <a:pt x="886" y="514"/>
                    </a:lnTo>
                    <a:lnTo>
                      <a:pt x="890" y="514"/>
                    </a:lnTo>
                    <a:lnTo>
                      <a:pt x="890" y="514"/>
                    </a:lnTo>
                    <a:lnTo>
                      <a:pt x="890" y="514"/>
                    </a:lnTo>
                    <a:lnTo>
                      <a:pt x="892" y="512"/>
                    </a:lnTo>
                    <a:lnTo>
                      <a:pt x="892" y="512"/>
                    </a:lnTo>
                    <a:lnTo>
                      <a:pt x="894" y="512"/>
                    </a:lnTo>
                    <a:lnTo>
                      <a:pt x="894" y="510"/>
                    </a:lnTo>
                    <a:lnTo>
                      <a:pt x="894" y="510"/>
                    </a:lnTo>
                    <a:lnTo>
                      <a:pt x="896" y="510"/>
                    </a:lnTo>
                    <a:lnTo>
                      <a:pt x="896" y="508"/>
                    </a:lnTo>
                    <a:lnTo>
                      <a:pt x="896" y="508"/>
                    </a:lnTo>
                    <a:lnTo>
                      <a:pt x="896" y="506"/>
                    </a:lnTo>
                    <a:lnTo>
                      <a:pt x="894" y="506"/>
                    </a:lnTo>
                    <a:lnTo>
                      <a:pt x="894" y="506"/>
                    </a:lnTo>
                    <a:lnTo>
                      <a:pt x="894" y="504"/>
                    </a:lnTo>
                    <a:lnTo>
                      <a:pt x="894" y="504"/>
                    </a:lnTo>
                    <a:lnTo>
                      <a:pt x="894" y="504"/>
                    </a:lnTo>
                    <a:lnTo>
                      <a:pt x="892" y="502"/>
                    </a:lnTo>
                    <a:lnTo>
                      <a:pt x="892" y="502"/>
                    </a:lnTo>
                    <a:lnTo>
                      <a:pt x="890" y="500"/>
                    </a:lnTo>
                    <a:lnTo>
                      <a:pt x="886" y="498"/>
                    </a:lnTo>
                    <a:lnTo>
                      <a:pt x="882" y="494"/>
                    </a:lnTo>
                    <a:lnTo>
                      <a:pt x="878" y="492"/>
                    </a:lnTo>
                    <a:lnTo>
                      <a:pt x="876" y="490"/>
                    </a:lnTo>
                    <a:lnTo>
                      <a:pt x="874" y="490"/>
                    </a:lnTo>
                    <a:lnTo>
                      <a:pt x="872" y="490"/>
                    </a:lnTo>
                    <a:lnTo>
                      <a:pt x="872" y="488"/>
                    </a:lnTo>
                    <a:lnTo>
                      <a:pt x="870" y="486"/>
                    </a:lnTo>
                    <a:lnTo>
                      <a:pt x="870" y="486"/>
                    </a:lnTo>
                    <a:lnTo>
                      <a:pt x="870" y="484"/>
                    </a:lnTo>
                    <a:lnTo>
                      <a:pt x="870" y="482"/>
                    </a:lnTo>
                    <a:lnTo>
                      <a:pt x="868" y="478"/>
                    </a:lnTo>
                    <a:lnTo>
                      <a:pt x="868" y="476"/>
                    </a:lnTo>
                    <a:lnTo>
                      <a:pt x="868" y="472"/>
                    </a:lnTo>
                    <a:lnTo>
                      <a:pt x="868" y="472"/>
                    </a:lnTo>
                    <a:lnTo>
                      <a:pt x="866" y="472"/>
                    </a:lnTo>
                    <a:lnTo>
                      <a:pt x="864" y="470"/>
                    </a:lnTo>
                    <a:lnTo>
                      <a:pt x="864" y="470"/>
                    </a:lnTo>
                    <a:lnTo>
                      <a:pt x="864" y="470"/>
                    </a:lnTo>
                    <a:lnTo>
                      <a:pt x="862" y="468"/>
                    </a:lnTo>
                    <a:lnTo>
                      <a:pt x="860" y="468"/>
                    </a:lnTo>
                    <a:lnTo>
                      <a:pt x="858" y="466"/>
                    </a:lnTo>
                    <a:lnTo>
                      <a:pt x="856" y="464"/>
                    </a:lnTo>
                    <a:lnTo>
                      <a:pt x="854" y="460"/>
                    </a:lnTo>
                    <a:lnTo>
                      <a:pt x="852" y="456"/>
                    </a:lnTo>
                    <a:lnTo>
                      <a:pt x="852" y="456"/>
                    </a:lnTo>
                    <a:lnTo>
                      <a:pt x="852" y="456"/>
                    </a:lnTo>
                    <a:lnTo>
                      <a:pt x="848" y="454"/>
                    </a:lnTo>
                    <a:lnTo>
                      <a:pt x="848" y="454"/>
                    </a:lnTo>
                    <a:lnTo>
                      <a:pt x="848" y="454"/>
                    </a:lnTo>
                    <a:lnTo>
                      <a:pt x="844" y="450"/>
                    </a:lnTo>
                    <a:lnTo>
                      <a:pt x="840" y="448"/>
                    </a:lnTo>
                    <a:lnTo>
                      <a:pt x="840" y="448"/>
                    </a:lnTo>
                    <a:lnTo>
                      <a:pt x="840" y="448"/>
                    </a:lnTo>
                    <a:lnTo>
                      <a:pt x="842" y="448"/>
                    </a:lnTo>
                    <a:lnTo>
                      <a:pt x="844" y="446"/>
                    </a:lnTo>
                    <a:lnTo>
                      <a:pt x="844" y="446"/>
                    </a:lnTo>
                    <a:lnTo>
                      <a:pt x="846" y="446"/>
                    </a:lnTo>
                    <a:lnTo>
                      <a:pt x="848" y="446"/>
                    </a:lnTo>
                    <a:lnTo>
                      <a:pt x="848" y="446"/>
                    </a:lnTo>
                    <a:lnTo>
                      <a:pt x="848" y="444"/>
                    </a:lnTo>
                    <a:lnTo>
                      <a:pt x="850" y="442"/>
                    </a:lnTo>
                    <a:lnTo>
                      <a:pt x="850" y="442"/>
                    </a:lnTo>
                    <a:lnTo>
                      <a:pt x="850" y="442"/>
                    </a:lnTo>
                    <a:lnTo>
                      <a:pt x="852" y="440"/>
                    </a:lnTo>
                    <a:lnTo>
                      <a:pt x="852" y="440"/>
                    </a:lnTo>
                    <a:lnTo>
                      <a:pt x="852" y="438"/>
                    </a:lnTo>
                    <a:lnTo>
                      <a:pt x="854" y="430"/>
                    </a:lnTo>
                    <a:lnTo>
                      <a:pt x="854" y="422"/>
                    </a:lnTo>
                    <a:lnTo>
                      <a:pt x="854" y="414"/>
                    </a:lnTo>
                    <a:lnTo>
                      <a:pt x="854" y="414"/>
                    </a:lnTo>
                    <a:lnTo>
                      <a:pt x="854" y="414"/>
                    </a:lnTo>
                    <a:lnTo>
                      <a:pt x="852" y="410"/>
                    </a:lnTo>
                    <a:lnTo>
                      <a:pt x="852" y="410"/>
                    </a:lnTo>
                    <a:lnTo>
                      <a:pt x="852" y="410"/>
                    </a:lnTo>
                    <a:lnTo>
                      <a:pt x="854" y="408"/>
                    </a:lnTo>
                    <a:lnTo>
                      <a:pt x="854" y="408"/>
                    </a:lnTo>
                    <a:lnTo>
                      <a:pt x="856" y="408"/>
                    </a:lnTo>
                    <a:lnTo>
                      <a:pt x="858" y="406"/>
                    </a:lnTo>
                    <a:lnTo>
                      <a:pt x="862" y="404"/>
                    </a:lnTo>
                    <a:lnTo>
                      <a:pt x="866" y="400"/>
                    </a:lnTo>
                    <a:lnTo>
                      <a:pt x="870" y="396"/>
                    </a:lnTo>
                    <a:lnTo>
                      <a:pt x="874" y="392"/>
                    </a:lnTo>
                    <a:lnTo>
                      <a:pt x="878" y="388"/>
                    </a:lnTo>
                    <a:lnTo>
                      <a:pt x="882" y="384"/>
                    </a:lnTo>
                    <a:lnTo>
                      <a:pt x="882" y="384"/>
                    </a:lnTo>
                    <a:lnTo>
                      <a:pt x="882" y="384"/>
                    </a:lnTo>
                    <a:lnTo>
                      <a:pt x="882" y="382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78"/>
                    </a:lnTo>
                    <a:lnTo>
                      <a:pt x="884" y="378"/>
                    </a:lnTo>
                    <a:lnTo>
                      <a:pt x="884" y="378"/>
                    </a:lnTo>
                    <a:lnTo>
                      <a:pt x="884" y="376"/>
                    </a:lnTo>
                    <a:lnTo>
                      <a:pt x="882" y="374"/>
                    </a:lnTo>
                    <a:lnTo>
                      <a:pt x="882" y="374"/>
                    </a:lnTo>
                    <a:lnTo>
                      <a:pt x="882" y="372"/>
                    </a:lnTo>
                    <a:lnTo>
                      <a:pt x="880" y="370"/>
                    </a:lnTo>
                    <a:lnTo>
                      <a:pt x="878" y="366"/>
                    </a:lnTo>
                    <a:lnTo>
                      <a:pt x="874" y="364"/>
                    </a:lnTo>
                    <a:lnTo>
                      <a:pt x="872" y="360"/>
                    </a:lnTo>
                    <a:lnTo>
                      <a:pt x="872" y="358"/>
                    </a:lnTo>
                    <a:lnTo>
                      <a:pt x="872" y="356"/>
                    </a:lnTo>
                    <a:lnTo>
                      <a:pt x="872" y="354"/>
                    </a:lnTo>
                    <a:lnTo>
                      <a:pt x="872" y="350"/>
                    </a:lnTo>
                    <a:lnTo>
                      <a:pt x="874" y="348"/>
                    </a:lnTo>
                    <a:lnTo>
                      <a:pt x="876" y="344"/>
                    </a:lnTo>
                    <a:lnTo>
                      <a:pt x="878" y="338"/>
                    </a:lnTo>
                    <a:lnTo>
                      <a:pt x="880" y="334"/>
                    </a:lnTo>
                    <a:lnTo>
                      <a:pt x="880" y="332"/>
                    </a:lnTo>
                    <a:lnTo>
                      <a:pt x="880" y="328"/>
                    </a:lnTo>
                    <a:lnTo>
                      <a:pt x="880" y="324"/>
                    </a:lnTo>
                    <a:lnTo>
                      <a:pt x="880" y="316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78" y="302"/>
                    </a:lnTo>
                    <a:lnTo>
                      <a:pt x="876" y="298"/>
                    </a:lnTo>
                    <a:lnTo>
                      <a:pt x="876" y="298"/>
                    </a:lnTo>
                    <a:lnTo>
                      <a:pt x="876" y="298"/>
                    </a:lnTo>
                    <a:lnTo>
                      <a:pt x="872" y="294"/>
                    </a:lnTo>
                    <a:lnTo>
                      <a:pt x="872" y="294"/>
                    </a:lnTo>
                    <a:lnTo>
                      <a:pt x="872" y="294"/>
                    </a:lnTo>
                    <a:lnTo>
                      <a:pt x="870" y="292"/>
                    </a:lnTo>
                    <a:lnTo>
                      <a:pt x="868" y="290"/>
                    </a:lnTo>
                    <a:lnTo>
                      <a:pt x="864" y="288"/>
                    </a:lnTo>
                    <a:lnTo>
                      <a:pt x="862" y="286"/>
                    </a:lnTo>
                    <a:lnTo>
                      <a:pt x="858" y="284"/>
                    </a:lnTo>
                    <a:lnTo>
                      <a:pt x="854" y="282"/>
                    </a:lnTo>
                    <a:lnTo>
                      <a:pt x="848" y="280"/>
                    </a:lnTo>
                    <a:lnTo>
                      <a:pt x="842" y="278"/>
                    </a:lnTo>
                    <a:lnTo>
                      <a:pt x="848" y="278"/>
                    </a:lnTo>
                    <a:lnTo>
                      <a:pt x="856" y="278"/>
                    </a:lnTo>
                    <a:lnTo>
                      <a:pt x="856" y="278"/>
                    </a:lnTo>
                    <a:lnTo>
                      <a:pt x="860" y="276"/>
                    </a:lnTo>
                    <a:lnTo>
                      <a:pt x="860" y="276"/>
                    </a:lnTo>
                    <a:lnTo>
                      <a:pt x="858" y="272"/>
                    </a:lnTo>
                    <a:lnTo>
                      <a:pt x="854" y="270"/>
                    </a:lnTo>
                    <a:lnTo>
                      <a:pt x="852" y="270"/>
                    </a:lnTo>
                    <a:lnTo>
                      <a:pt x="852" y="268"/>
                    </a:lnTo>
                    <a:lnTo>
                      <a:pt x="850" y="266"/>
                    </a:lnTo>
                    <a:lnTo>
                      <a:pt x="850" y="266"/>
                    </a:lnTo>
                    <a:lnTo>
                      <a:pt x="852" y="266"/>
                    </a:lnTo>
                    <a:lnTo>
                      <a:pt x="852" y="264"/>
                    </a:lnTo>
                    <a:lnTo>
                      <a:pt x="854" y="264"/>
                    </a:lnTo>
                    <a:lnTo>
                      <a:pt x="858" y="264"/>
                    </a:lnTo>
                    <a:lnTo>
                      <a:pt x="864" y="266"/>
                    </a:lnTo>
                    <a:lnTo>
                      <a:pt x="874" y="268"/>
                    </a:lnTo>
                    <a:lnTo>
                      <a:pt x="876" y="268"/>
                    </a:lnTo>
                    <a:lnTo>
                      <a:pt x="876" y="268"/>
                    </a:lnTo>
                    <a:lnTo>
                      <a:pt x="87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84" y="270"/>
                    </a:lnTo>
                    <a:lnTo>
                      <a:pt x="886" y="270"/>
                    </a:lnTo>
                    <a:lnTo>
                      <a:pt x="894" y="270"/>
                    </a:lnTo>
                    <a:lnTo>
                      <a:pt x="896" y="270"/>
                    </a:lnTo>
                    <a:lnTo>
                      <a:pt x="898" y="270"/>
                    </a:lnTo>
                    <a:lnTo>
                      <a:pt x="898" y="270"/>
                    </a:lnTo>
                    <a:lnTo>
                      <a:pt x="900" y="274"/>
                    </a:lnTo>
                    <a:lnTo>
                      <a:pt x="902" y="278"/>
                    </a:lnTo>
                    <a:lnTo>
                      <a:pt x="902" y="278"/>
                    </a:lnTo>
                    <a:lnTo>
                      <a:pt x="902" y="280"/>
                    </a:lnTo>
                    <a:lnTo>
                      <a:pt x="902" y="282"/>
                    </a:lnTo>
                    <a:lnTo>
                      <a:pt x="902" y="282"/>
                    </a:lnTo>
                    <a:lnTo>
                      <a:pt x="904" y="282"/>
                    </a:lnTo>
                    <a:lnTo>
                      <a:pt x="906" y="284"/>
                    </a:lnTo>
                    <a:lnTo>
                      <a:pt x="906" y="284"/>
                    </a:lnTo>
                    <a:lnTo>
                      <a:pt x="906" y="284"/>
                    </a:lnTo>
                    <a:lnTo>
                      <a:pt x="908" y="286"/>
                    </a:lnTo>
                    <a:lnTo>
                      <a:pt x="908" y="286"/>
                    </a:lnTo>
                    <a:lnTo>
                      <a:pt x="908" y="286"/>
                    </a:lnTo>
                    <a:lnTo>
                      <a:pt x="912" y="286"/>
                    </a:lnTo>
                    <a:lnTo>
                      <a:pt x="912" y="286"/>
                    </a:lnTo>
                    <a:lnTo>
                      <a:pt x="914" y="286"/>
                    </a:lnTo>
                    <a:lnTo>
                      <a:pt x="914" y="286"/>
                    </a:lnTo>
                    <a:lnTo>
                      <a:pt x="916" y="286"/>
                    </a:lnTo>
                    <a:lnTo>
                      <a:pt x="918" y="286"/>
                    </a:lnTo>
                    <a:lnTo>
                      <a:pt x="918" y="286"/>
                    </a:lnTo>
                    <a:lnTo>
                      <a:pt x="920" y="286"/>
                    </a:lnTo>
                    <a:lnTo>
                      <a:pt x="922" y="284"/>
                    </a:lnTo>
                    <a:lnTo>
                      <a:pt x="922" y="284"/>
                    </a:lnTo>
                    <a:lnTo>
                      <a:pt x="922" y="284"/>
                    </a:lnTo>
                    <a:lnTo>
                      <a:pt x="922" y="282"/>
                    </a:lnTo>
                    <a:lnTo>
                      <a:pt x="922" y="282"/>
                    </a:lnTo>
                    <a:lnTo>
                      <a:pt x="924" y="282"/>
                    </a:lnTo>
                    <a:lnTo>
                      <a:pt x="924" y="280"/>
                    </a:lnTo>
                    <a:lnTo>
                      <a:pt x="924" y="280"/>
                    </a:lnTo>
                    <a:lnTo>
                      <a:pt x="924" y="278"/>
                    </a:lnTo>
                    <a:lnTo>
                      <a:pt x="924" y="278"/>
                    </a:lnTo>
                    <a:lnTo>
                      <a:pt x="924" y="278"/>
                    </a:lnTo>
                    <a:lnTo>
                      <a:pt x="922" y="276"/>
                    </a:lnTo>
                    <a:lnTo>
                      <a:pt x="922" y="276"/>
                    </a:lnTo>
                    <a:lnTo>
                      <a:pt x="922" y="276"/>
                    </a:lnTo>
                    <a:lnTo>
                      <a:pt x="922" y="274"/>
                    </a:lnTo>
                    <a:lnTo>
                      <a:pt x="920" y="274"/>
                    </a:lnTo>
                    <a:lnTo>
                      <a:pt x="920" y="274"/>
                    </a:lnTo>
                    <a:lnTo>
                      <a:pt x="918" y="272"/>
                    </a:lnTo>
                    <a:lnTo>
                      <a:pt x="916" y="272"/>
                    </a:lnTo>
                    <a:lnTo>
                      <a:pt x="912" y="270"/>
                    </a:lnTo>
                    <a:lnTo>
                      <a:pt x="908" y="270"/>
                    </a:lnTo>
                    <a:lnTo>
                      <a:pt x="908" y="270"/>
                    </a:lnTo>
                    <a:lnTo>
                      <a:pt x="906" y="266"/>
                    </a:lnTo>
                    <a:lnTo>
                      <a:pt x="906" y="262"/>
                    </a:lnTo>
                    <a:lnTo>
                      <a:pt x="906" y="258"/>
                    </a:lnTo>
                    <a:lnTo>
                      <a:pt x="906" y="256"/>
                    </a:lnTo>
                    <a:lnTo>
                      <a:pt x="906" y="254"/>
                    </a:lnTo>
                    <a:lnTo>
                      <a:pt x="908" y="252"/>
                    </a:lnTo>
                    <a:lnTo>
                      <a:pt x="910" y="250"/>
                    </a:lnTo>
                    <a:lnTo>
                      <a:pt x="912" y="250"/>
                    </a:lnTo>
                    <a:lnTo>
                      <a:pt x="914" y="250"/>
                    </a:lnTo>
                    <a:lnTo>
                      <a:pt x="916" y="252"/>
                    </a:lnTo>
                    <a:lnTo>
                      <a:pt x="916" y="252"/>
                    </a:lnTo>
                    <a:lnTo>
                      <a:pt x="918" y="254"/>
                    </a:lnTo>
                    <a:lnTo>
                      <a:pt x="918" y="256"/>
                    </a:lnTo>
                    <a:lnTo>
                      <a:pt x="920" y="260"/>
                    </a:lnTo>
                    <a:lnTo>
                      <a:pt x="922" y="262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8" y="268"/>
                    </a:lnTo>
                    <a:lnTo>
                      <a:pt x="930" y="272"/>
                    </a:lnTo>
                    <a:lnTo>
                      <a:pt x="932" y="274"/>
                    </a:lnTo>
                    <a:lnTo>
                      <a:pt x="934" y="276"/>
                    </a:lnTo>
                    <a:lnTo>
                      <a:pt x="934" y="276"/>
                    </a:lnTo>
                    <a:lnTo>
                      <a:pt x="934" y="276"/>
                    </a:lnTo>
                    <a:lnTo>
                      <a:pt x="936" y="278"/>
                    </a:lnTo>
                    <a:lnTo>
                      <a:pt x="936" y="278"/>
                    </a:lnTo>
                    <a:lnTo>
                      <a:pt x="936" y="278"/>
                    </a:lnTo>
                    <a:lnTo>
                      <a:pt x="938" y="278"/>
                    </a:lnTo>
                    <a:lnTo>
                      <a:pt x="938" y="278"/>
                    </a:lnTo>
                    <a:lnTo>
                      <a:pt x="938" y="278"/>
                    </a:lnTo>
                    <a:lnTo>
                      <a:pt x="942" y="278"/>
                    </a:lnTo>
                    <a:lnTo>
                      <a:pt x="944" y="278"/>
                    </a:lnTo>
                    <a:lnTo>
                      <a:pt x="946" y="278"/>
                    </a:lnTo>
                    <a:lnTo>
                      <a:pt x="948" y="278"/>
                    </a:lnTo>
                    <a:lnTo>
                      <a:pt x="948" y="278"/>
                    </a:lnTo>
                    <a:lnTo>
                      <a:pt x="950" y="286"/>
                    </a:lnTo>
                    <a:lnTo>
                      <a:pt x="954" y="296"/>
                    </a:lnTo>
                    <a:lnTo>
                      <a:pt x="956" y="302"/>
                    </a:lnTo>
                    <a:lnTo>
                      <a:pt x="958" y="306"/>
                    </a:lnTo>
                    <a:lnTo>
                      <a:pt x="960" y="312"/>
                    </a:lnTo>
                    <a:lnTo>
                      <a:pt x="964" y="316"/>
                    </a:lnTo>
                    <a:lnTo>
                      <a:pt x="964" y="318"/>
                    </a:lnTo>
                    <a:lnTo>
                      <a:pt x="964" y="318"/>
                    </a:lnTo>
                    <a:lnTo>
                      <a:pt x="964" y="318"/>
                    </a:lnTo>
                    <a:lnTo>
                      <a:pt x="966" y="320"/>
                    </a:lnTo>
                    <a:lnTo>
                      <a:pt x="966" y="320"/>
                    </a:lnTo>
                    <a:lnTo>
                      <a:pt x="966" y="320"/>
                    </a:lnTo>
                    <a:lnTo>
                      <a:pt x="966" y="322"/>
                    </a:lnTo>
                    <a:lnTo>
                      <a:pt x="966" y="322"/>
                    </a:lnTo>
                    <a:lnTo>
                      <a:pt x="966" y="322"/>
                    </a:lnTo>
                    <a:lnTo>
                      <a:pt x="968" y="324"/>
                    </a:lnTo>
                    <a:lnTo>
                      <a:pt x="968" y="324"/>
                    </a:lnTo>
                    <a:lnTo>
                      <a:pt x="968" y="324"/>
                    </a:lnTo>
                    <a:lnTo>
                      <a:pt x="972" y="324"/>
                    </a:lnTo>
                    <a:lnTo>
                      <a:pt x="972" y="324"/>
                    </a:lnTo>
                    <a:lnTo>
                      <a:pt x="972" y="324"/>
                    </a:lnTo>
                    <a:lnTo>
                      <a:pt x="974" y="326"/>
                    </a:lnTo>
                    <a:lnTo>
                      <a:pt x="978" y="326"/>
                    </a:lnTo>
                    <a:lnTo>
                      <a:pt x="980" y="326"/>
                    </a:lnTo>
                    <a:lnTo>
                      <a:pt x="982" y="326"/>
                    </a:lnTo>
                    <a:lnTo>
                      <a:pt x="986" y="328"/>
                    </a:lnTo>
                    <a:lnTo>
                      <a:pt x="988" y="328"/>
                    </a:lnTo>
                    <a:lnTo>
                      <a:pt x="990" y="328"/>
                    </a:lnTo>
                    <a:lnTo>
                      <a:pt x="990" y="328"/>
                    </a:lnTo>
                    <a:lnTo>
                      <a:pt x="992" y="332"/>
                    </a:lnTo>
                    <a:lnTo>
                      <a:pt x="994" y="338"/>
                    </a:lnTo>
                    <a:lnTo>
                      <a:pt x="996" y="344"/>
                    </a:lnTo>
                    <a:lnTo>
                      <a:pt x="998" y="348"/>
                    </a:lnTo>
                    <a:lnTo>
                      <a:pt x="1000" y="352"/>
                    </a:lnTo>
                    <a:lnTo>
                      <a:pt x="1000" y="352"/>
                    </a:lnTo>
                    <a:lnTo>
                      <a:pt x="1000" y="352"/>
                    </a:lnTo>
                    <a:lnTo>
                      <a:pt x="1000" y="354"/>
                    </a:lnTo>
                    <a:lnTo>
                      <a:pt x="1000" y="354"/>
                    </a:lnTo>
                    <a:lnTo>
                      <a:pt x="1000" y="354"/>
                    </a:lnTo>
                    <a:lnTo>
                      <a:pt x="1002" y="356"/>
                    </a:lnTo>
                    <a:lnTo>
                      <a:pt x="1004" y="358"/>
                    </a:lnTo>
                    <a:lnTo>
                      <a:pt x="1006" y="360"/>
                    </a:lnTo>
                    <a:lnTo>
                      <a:pt x="1008" y="362"/>
                    </a:lnTo>
                    <a:lnTo>
                      <a:pt x="1010" y="362"/>
                    </a:lnTo>
                    <a:lnTo>
                      <a:pt x="1010" y="364"/>
                    </a:lnTo>
                    <a:lnTo>
                      <a:pt x="1010" y="374"/>
                    </a:lnTo>
                    <a:lnTo>
                      <a:pt x="1010" y="380"/>
                    </a:lnTo>
                    <a:lnTo>
                      <a:pt x="1008" y="384"/>
                    </a:lnTo>
                    <a:lnTo>
                      <a:pt x="1006" y="388"/>
                    </a:lnTo>
                    <a:lnTo>
                      <a:pt x="1004" y="392"/>
                    </a:lnTo>
                    <a:lnTo>
                      <a:pt x="1002" y="396"/>
                    </a:lnTo>
                    <a:lnTo>
                      <a:pt x="998" y="400"/>
                    </a:lnTo>
                    <a:lnTo>
                      <a:pt x="998" y="400"/>
                    </a:lnTo>
                    <a:lnTo>
                      <a:pt x="998" y="400"/>
                    </a:lnTo>
                    <a:lnTo>
                      <a:pt x="996" y="402"/>
                    </a:lnTo>
                    <a:lnTo>
                      <a:pt x="994" y="404"/>
                    </a:lnTo>
                    <a:lnTo>
                      <a:pt x="992" y="406"/>
                    </a:lnTo>
                    <a:lnTo>
                      <a:pt x="992" y="406"/>
                    </a:lnTo>
                    <a:lnTo>
                      <a:pt x="992" y="408"/>
                    </a:lnTo>
                    <a:lnTo>
                      <a:pt x="990" y="408"/>
                    </a:lnTo>
                    <a:lnTo>
                      <a:pt x="990" y="410"/>
                    </a:lnTo>
                    <a:lnTo>
                      <a:pt x="988" y="412"/>
                    </a:lnTo>
                    <a:lnTo>
                      <a:pt x="988" y="414"/>
                    </a:lnTo>
                    <a:lnTo>
                      <a:pt x="988" y="414"/>
                    </a:lnTo>
                    <a:lnTo>
                      <a:pt x="986" y="414"/>
                    </a:lnTo>
                    <a:lnTo>
                      <a:pt x="986" y="418"/>
                    </a:lnTo>
                    <a:lnTo>
                      <a:pt x="986" y="420"/>
                    </a:lnTo>
                    <a:lnTo>
                      <a:pt x="986" y="422"/>
                    </a:lnTo>
                    <a:lnTo>
                      <a:pt x="984" y="424"/>
                    </a:lnTo>
                    <a:lnTo>
                      <a:pt x="984" y="426"/>
                    </a:lnTo>
                    <a:lnTo>
                      <a:pt x="984" y="428"/>
                    </a:lnTo>
                    <a:lnTo>
                      <a:pt x="984" y="428"/>
                    </a:lnTo>
                    <a:lnTo>
                      <a:pt x="984" y="428"/>
                    </a:lnTo>
                    <a:lnTo>
                      <a:pt x="984" y="430"/>
                    </a:lnTo>
                    <a:lnTo>
                      <a:pt x="984" y="430"/>
                    </a:lnTo>
                    <a:lnTo>
                      <a:pt x="984" y="432"/>
                    </a:lnTo>
                    <a:lnTo>
                      <a:pt x="984" y="436"/>
                    </a:lnTo>
                    <a:lnTo>
                      <a:pt x="984" y="436"/>
                    </a:lnTo>
                    <a:lnTo>
                      <a:pt x="984" y="438"/>
                    </a:lnTo>
                    <a:lnTo>
                      <a:pt x="984" y="442"/>
                    </a:lnTo>
                    <a:lnTo>
                      <a:pt x="984" y="444"/>
                    </a:lnTo>
                    <a:lnTo>
                      <a:pt x="984" y="446"/>
                    </a:lnTo>
                    <a:lnTo>
                      <a:pt x="984" y="448"/>
                    </a:lnTo>
                    <a:lnTo>
                      <a:pt x="984" y="450"/>
                    </a:lnTo>
                    <a:lnTo>
                      <a:pt x="984" y="450"/>
                    </a:lnTo>
                    <a:lnTo>
                      <a:pt x="984" y="450"/>
                    </a:lnTo>
                    <a:lnTo>
                      <a:pt x="982" y="450"/>
                    </a:lnTo>
                    <a:lnTo>
                      <a:pt x="980" y="452"/>
                    </a:lnTo>
                    <a:lnTo>
                      <a:pt x="978" y="452"/>
                    </a:lnTo>
                    <a:lnTo>
                      <a:pt x="974" y="452"/>
                    </a:lnTo>
                    <a:lnTo>
                      <a:pt x="972" y="454"/>
                    </a:lnTo>
                    <a:lnTo>
                      <a:pt x="964" y="452"/>
                    </a:lnTo>
                    <a:lnTo>
                      <a:pt x="956" y="452"/>
                    </a:lnTo>
                    <a:lnTo>
                      <a:pt x="954" y="452"/>
                    </a:lnTo>
                    <a:lnTo>
                      <a:pt x="950" y="452"/>
                    </a:lnTo>
                    <a:lnTo>
                      <a:pt x="946" y="450"/>
                    </a:lnTo>
                    <a:lnTo>
                      <a:pt x="944" y="448"/>
                    </a:lnTo>
                    <a:lnTo>
                      <a:pt x="944" y="448"/>
                    </a:lnTo>
                    <a:lnTo>
                      <a:pt x="940" y="448"/>
                    </a:lnTo>
                    <a:lnTo>
                      <a:pt x="938" y="450"/>
                    </a:lnTo>
                    <a:lnTo>
                      <a:pt x="934" y="452"/>
                    </a:lnTo>
                    <a:lnTo>
                      <a:pt x="932" y="454"/>
                    </a:lnTo>
                    <a:lnTo>
                      <a:pt x="928" y="454"/>
                    </a:lnTo>
                    <a:lnTo>
                      <a:pt x="926" y="456"/>
                    </a:lnTo>
                    <a:lnTo>
                      <a:pt x="924" y="456"/>
                    </a:lnTo>
                    <a:lnTo>
                      <a:pt x="920" y="456"/>
                    </a:lnTo>
                    <a:lnTo>
                      <a:pt x="920" y="456"/>
                    </a:lnTo>
                    <a:lnTo>
                      <a:pt x="920" y="456"/>
                    </a:lnTo>
                    <a:lnTo>
                      <a:pt x="918" y="458"/>
                    </a:lnTo>
                    <a:lnTo>
                      <a:pt x="918" y="458"/>
                    </a:lnTo>
                    <a:lnTo>
                      <a:pt x="918" y="458"/>
                    </a:lnTo>
                    <a:lnTo>
                      <a:pt x="918" y="460"/>
                    </a:lnTo>
                    <a:lnTo>
                      <a:pt x="918" y="460"/>
                    </a:lnTo>
                    <a:lnTo>
                      <a:pt x="916" y="460"/>
                    </a:lnTo>
                    <a:lnTo>
                      <a:pt x="916" y="462"/>
                    </a:lnTo>
                    <a:lnTo>
                      <a:pt x="916" y="462"/>
                    </a:lnTo>
                    <a:lnTo>
                      <a:pt x="916" y="462"/>
                    </a:lnTo>
                    <a:lnTo>
                      <a:pt x="916" y="464"/>
                    </a:lnTo>
                    <a:lnTo>
                      <a:pt x="916" y="464"/>
                    </a:lnTo>
                    <a:lnTo>
                      <a:pt x="916" y="464"/>
                    </a:lnTo>
                    <a:lnTo>
                      <a:pt x="916" y="468"/>
                    </a:lnTo>
                    <a:lnTo>
                      <a:pt x="916" y="470"/>
                    </a:lnTo>
                    <a:lnTo>
                      <a:pt x="916" y="470"/>
                    </a:lnTo>
                    <a:lnTo>
                      <a:pt x="916" y="472"/>
                    </a:lnTo>
                    <a:lnTo>
                      <a:pt x="916" y="472"/>
                    </a:lnTo>
                    <a:lnTo>
                      <a:pt x="916" y="472"/>
                    </a:lnTo>
                    <a:lnTo>
                      <a:pt x="918" y="474"/>
                    </a:lnTo>
                    <a:lnTo>
                      <a:pt x="918" y="474"/>
                    </a:lnTo>
                    <a:lnTo>
                      <a:pt x="918" y="476"/>
                    </a:lnTo>
                    <a:lnTo>
                      <a:pt x="918" y="476"/>
                    </a:lnTo>
                    <a:lnTo>
                      <a:pt x="918" y="476"/>
                    </a:lnTo>
                    <a:lnTo>
                      <a:pt x="920" y="476"/>
                    </a:lnTo>
                    <a:lnTo>
                      <a:pt x="922" y="476"/>
                    </a:lnTo>
                    <a:lnTo>
                      <a:pt x="924" y="476"/>
                    </a:lnTo>
                    <a:lnTo>
                      <a:pt x="926" y="476"/>
                    </a:lnTo>
                    <a:lnTo>
                      <a:pt x="928" y="476"/>
                    </a:lnTo>
                    <a:lnTo>
                      <a:pt x="928" y="478"/>
                    </a:lnTo>
                    <a:lnTo>
                      <a:pt x="928" y="480"/>
                    </a:lnTo>
                    <a:lnTo>
                      <a:pt x="928" y="480"/>
                    </a:lnTo>
                    <a:lnTo>
                      <a:pt x="928" y="482"/>
                    </a:lnTo>
                    <a:lnTo>
                      <a:pt x="930" y="482"/>
                    </a:lnTo>
                    <a:lnTo>
                      <a:pt x="930" y="482"/>
                    </a:lnTo>
                    <a:lnTo>
                      <a:pt x="930" y="484"/>
                    </a:lnTo>
                    <a:lnTo>
                      <a:pt x="932" y="484"/>
                    </a:lnTo>
                    <a:lnTo>
                      <a:pt x="932" y="484"/>
                    </a:lnTo>
                    <a:lnTo>
                      <a:pt x="932" y="486"/>
                    </a:lnTo>
                    <a:lnTo>
                      <a:pt x="934" y="486"/>
                    </a:lnTo>
                    <a:lnTo>
                      <a:pt x="934" y="486"/>
                    </a:lnTo>
                    <a:lnTo>
                      <a:pt x="934" y="486"/>
                    </a:lnTo>
                    <a:lnTo>
                      <a:pt x="936" y="486"/>
                    </a:lnTo>
                    <a:lnTo>
                      <a:pt x="938" y="488"/>
                    </a:lnTo>
                    <a:lnTo>
                      <a:pt x="942" y="488"/>
                    </a:lnTo>
                    <a:lnTo>
                      <a:pt x="942" y="488"/>
                    </a:lnTo>
                    <a:lnTo>
                      <a:pt x="944" y="488"/>
                    </a:lnTo>
                    <a:lnTo>
                      <a:pt x="948" y="488"/>
                    </a:lnTo>
                    <a:lnTo>
                      <a:pt x="952" y="488"/>
                    </a:lnTo>
                    <a:lnTo>
                      <a:pt x="956" y="486"/>
                    </a:lnTo>
                    <a:lnTo>
                      <a:pt x="956" y="486"/>
                    </a:lnTo>
                    <a:lnTo>
                      <a:pt x="956" y="486"/>
                    </a:lnTo>
                    <a:lnTo>
                      <a:pt x="960" y="486"/>
                    </a:lnTo>
                    <a:lnTo>
                      <a:pt x="964" y="484"/>
                    </a:lnTo>
                    <a:lnTo>
                      <a:pt x="964" y="484"/>
                    </a:lnTo>
                    <a:lnTo>
                      <a:pt x="964" y="484"/>
                    </a:lnTo>
                    <a:lnTo>
                      <a:pt x="966" y="484"/>
                    </a:lnTo>
                    <a:lnTo>
                      <a:pt x="966" y="484"/>
                    </a:lnTo>
                    <a:lnTo>
                      <a:pt x="966" y="482"/>
                    </a:lnTo>
                    <a:lnTo>
                      <a:pt x="966" y="482"/>
                    </a:lnTo>
                    <a:lnTo>
                      <a:pt x="966" y="482"/>
                    </a:lnTo>
                    <a:lnTo>
                      <a:pt x="968" y="480"/>
                    </a:lnTo>
                    <a:lnTo>
                      <a:pt x="968" y="480"/>
                    </a:lnTo>
                    <a:lnTo>
                      <a:pt x="968" y="478"/>
                    </a:lnTo>
                    <a:lnTo>
                      <a:pt x="968" y="478"/>
                    </a:lnTo>
                    <a:lnTo>
                      <a:pt x="970" y="476"/>
                    </a:lnTo>
                    <a:lnTo>
                      <a:pt x="972" y="476"/>
                    </a:lnTo>
                    <a:lnTo>
                      <a:pt x="972" y="476"/>
                    </a:lnTo>
                    <a:lnTo>
                      <a:pt x="976" y="476"/>
                    </a:lnTo>
                    <a:lnTo>
                      <a:pt x="980" y="476"/>
                    </a:lnTo>
                    <a:lnTo>
                      <a:pt x="982" y="476"/>
                    </a:lnTo>
                    <a:lnTo>
                      <a:pt x="986" y="476"/>
                    </a:lnTo>
                    <a:lnTo>
                      <a:pt x="988" y="476"/>
                    </a:lnTo>
                    <a:lnTo>
                      <a:pt x="990" y="478"/>
                    </a:lnTo>
                    <a:lnTo>
                      <a:pt x="992" y="480"/>
                    </a:lnTo>
                    <a:lnTo>
                      <a:pt x="992" y="482"/>
                    </a:lnTo>
                    <a:lnTo>
                      <a:pt x="994" y="484"/>
                    </a:lnTo>
                    <a:lnTo>
                      <a:pt x="994" y="488"/>
                    </a:lnTo>
                    <a:lnTo>
                      <a:pt x="994" y="488"/>
                    </a:lnTo>
                    <a:lnTo>
                      <a:pt x="994" y="488"/>
                    </a:lnTo>
                    <a:lnTo>
                      <a:pt x="996" y="490"/>
                    </a:lnTo>
                    <a:lnTo>
                      <a:pt x="996" y="490"/>
                    </a:lnTo>
                    <a:lnTo>
                      <a:pt x="996" y="490"/>
                    </a:lnTo>
                    <a:lnTo>
                      <a:pt x="996" y="492"/>
                    </a:lnTo>
                    <a:lnTo>
                      <a:pt x="996" y="492"/>
                    </a:lnTo>
                    <a:lnTo>
                      <a:pt x="998" y="494"/>
                    </a:lnTo>
                    <a:lnTo>
                      <a:pt x="1002" y="496"/>
                    </a:lnTo>
                    <a:lnTo>
                      <a:pt x="1004" y="498"/>
                    </a:lnTo>
                    <a:lnTo>
                      <a:pt x="1006" y="500"/>
                    </a:lnTo>
                    <a:lnTo>
                      <a:pt x="1008" y="502"/>
                    </a:lnTo>
                    <a:lnTo>
                      <a:pt x="1010" y="506"/>
                    </a:lnTo>
                    <a:lnTo>
                      <a:pt x="1012" y="508"/>
                    </a:lnTo>
                    <a:lnTo>
                      <a:pt x="1014" y="510"/>
                    </a:lnTo>
                    <a:lnTo>
                      <a:pt x="1018" y="516"/>
                    </a:lnTo>
                    <a:lnTo>
                      <a:pt x="1024" y="518"/>
                    </a:lnTo>
                    <a:lnTo>
                      <a:pt x="1024" y="520"/>
                    </a:lnTo>
                    <a:lnTo>
                      <a:pt x="1024" y="522"/>
                    </a:lnTo>
                    <a:lnTo>
                      <a:pt x="1024" y="522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6"/>
                    </a:lnTo>
                    <a:lnTo>
                      <a:pt x="1024" y="528"/>
                    </a:lnTo>
                    <a:lnTo>
                      <a:pt x="1024" y="528"/>
                    </a:lnTo>
                    <a:lnTo>
                      <a:pt x="1026" y="528"/>
                    </a:lnTo>
                    <a:lnTo>
                      <a:pt x="1028" y="528"/>
                    </a:lnTo>
                    <a:lnTo>
                      <a:pt x="1028" y="528"/>
                    </a:lnTo>
                    <a:lnTo>
                      <a:pt x="1028" y="530"/>
                    </a:lnTo>
                    <a:lnTo>
                      <a:pt x="1028" y="530"/>
                    </a:lnTo>
                    <a:lnTo>
                      <a:pt x="1030" y="530"/>
                    </a:lnTo>
                    <a:lnTo>
                      <a:pt x="1034" y="532"/>
                    </a:lnTo>
                    <a:lnTo>
                      <a:pt x="1038" y="534"/>
                    </a:lnTo>
                    <a:lnTo>
                      <a:pt x="1044" y="534"/>
                    </a:lnTo>
                    <a:lnTo>
                      <a:pt x="1046" y="536"/>
                    </a:lnTo>
                    <a:lnTo>
                      <a:pt x="1050" y="540"/>
                    </a:lnTo>
                    <a:lnTo>
                      <a:pt x="1050" y="540"/>
                    </a:lnTo>
                    <a:lnTo>
                      <a:pt x="1050" y="540"/>
                    </a:lnTo>
                    <a:lnTo>
                      <a:pt x="1052" y="542"/>
                    </a:lnTo>
                    <a:lnTo>
                      <a:pt x="1052" y="542"/>
                    </a:lnTo>
                    <a:lnTo>
                      <a:pt x="1052" y="542"/>
                    </a:lnTo>
                    <a:lnTo>
                      <a:pt x="1056" y="544"/>
                    </a:lnTo>
                    <a:lnTo>
                      <a:pt x="1056" y="544"/>
                    </a:lnTo>
                    <a:lnTo>
                      <a:pt x="1056" y="544"/>
                    </a:lnTo>
                    <a:lnTo>
                      <a:pt x="1058" y="544"/>
                    </a:lnTo>
                    <a:lnTo>
                      <a:pt x="1058" y="544"/>
                    </a:lnTo>
                    <a:lnTo>
                      <a:pt x="1060" y="546"/>
                    </a:lnTo>
                    <a:lnTo>
                      <a:pt x="1060" y="548"/>
                    </a:lnTo>
                    <a:lnTo>
                      <a:pt x="1062" y="548"/>
                    </a:lnTo>
                    <a:lnTo>
                      <a:pt x="1062" y="548"/>
                    </a:lnTo>
                    <a:lnTo>
                      <a:pt x="1062" y="550"/>
                    </a:lnTo>
                    <a:lnTo>
                      <a:pt x="1064" y="550"/>
                    </a:lnTo>
                    <a:lnTo>
                      <a:pt x="1064" y="550"/>
                    </a:lnTo>
                    <a:lnTo>
                      <a:pt x="1064" y="550"/>
                    </a:lnTo>
                    <a:lnTo>
                      <a:pt x="1066" y="552"/>
                    </a:lnTo>
                    <a:lnTo>
                      <a:pt x="1066" y="552"/>
                    </a:lnTo>
                    <a:lnTo>
                      <a:pt x="1066" y="552"/>
                    </a:lnTo>
                    <a:lnTo>
                      <a:pt x="1068" y="552"/>
                    </a:lnTo>
                    <a:lnTo>
                      <a:pt x="1070" y="552"/>
                    </a:lnTo>
                    <a:lnTo>
                      <a:pt x="1072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6" y="554"/>
                    </a:lnTo>
                    <a:lnTo>
                      <a:pt x="1076" y="554"/>
                    </a:lnTo>
                    <a:lnTo>
                      <a:pt x="1076" y="554"/>
                    </a:lnTo>
                    <a:lnTo>
                      <a:pt x="1078" y="556"/>
                    </a:lnTo>
                    <a:lnTo>
                      <a:pt x="1082" y="556"/>
                    </a:lnTo>
                    <a:lnTo>
                      <a:pt x="1086" y="556"/>
                    </a:lnTo>
                    <a:lnTo>
                      <a:pt x="1088" y="556"/>
                    </a:lnTo>
                    <a:lnTo>
                      <a:pt x="1090" y="558"/>
                    </a:lnTo>
                    <a:lnTo>
                      <a:pt x="1092" y="558"/>
                    </a:lnTo>
                    <a:lnTo>
                      <a:pt x="1094" y="558"/>
                    </a:lnTo>
                    <a:lnTo>
                      <a:pt x="1094" y="558"/>
                    </a:lnTo>
                    <a:lnTo>
                      <a:pt x="1094" y="558"/>
                    </a:lnTo>
                    <a:lnTo>
                      <a:pt x="1096" y="558"/>
                    </a:lnTo>
                    <a:lnTo>
                      <a:pt x="1096" y="558"/>
                    </a:lnTo>
                    <a:lnTo>
                      <a:pt x="1096" y="558"/>
                    </a:lnTo>
                    <a:lnTo>
                      <a:pt x="1098" y="556"/>
                    </a:lnTo>
                    <a:lnTo>
                      <a:pt x="1098" y="556"/>
                    </a:lnTo>
                    <a:lnTo>
                      <a:pt x="1098" y="554"/>
                    </a:lnTo>
                    <a:lnTo>
                      <a:pt x="1098" y="554"/>
                    </a:lnTo>
                    <a:lnTo>
                      <a:pt x="1098" y="554"/>
                    </a:lnTo>
                    <a:lnTo>
                      <a:pt x="1098" y="552"/>
                    </a:lnTo>
                    <a:lnTo>
                      <a:pt x="1096" y="550"/>
                    </a:lnTo>
                    <a:lnTo>
                      <a:pt x="1094" y="550"/>
                    </a:lnTo>
                    <a:lnTo>
                      <a:pt x="1092" y="548"/>
                    </a:lnTo>
                    <a:lnTo>
                      <a:pt x="1088" y="544"/>
                    </a:lnTo>
                    <a:lnTo>
                      <a:pt x="1084" y="540"/>
                    </a:lnTo>
                    <a:lnTo>
                      <a:pt x="1080" y="536"/>
                    </a:lnTo>
                    <a:lnTo>
                      <a:pt x="1076" y="534"/>
                    </a:lnTo>
                    <a:lnTo>
                      <a:pt x="1074" y="532"/>
                    </a:lnTo>
                    <a:lnTo>
                      <a:pt x="1074" y="530"/>
                    </a:lnTo>
                    <a:lnTo>
                      <a:pt x="1072" y="528"/>
                    </a:lnTo>
                    <a:lnTo>
                      <a:pt x="1072" y="526"/>
                    </a:lnTo>
                    <a:lnTo>
                      <a:pt x="1070" y="524"/>
                    </a:lnTo>
                    <a:lnTo>
                      <a:pt x="1070" y="524"/>
                    </a:lnTo>
                    <a:lnTo>
                      <a:pt x="1070" y="524"/>
                    </a:lnTo>
                    <a:lnTo>
                      <a:pt x="1068" y="522"/>
                    </a:lnTo>
                    <a:lnTo>
                      <a:pt x="1066" y="522"/>
                    </a:lnTo>
                    <a:lnTo>
                      <a:pt x="1066" y="518"/>
                    </a:lnTo>
                    <a:lnTo>
                      <a:pt x="1064" y="516"/>
                    </a:lnTo>
                    <a:lnTo>
                      <a:pt x="1062" y="514"/>
                    </a:lnTo>
                    <a:lnTo>
                      <a:pt x="1062" y="512"/>
                    </a:lnTo>
                    <a:lnTo>
                      <a:pt x="1062" y="512"/>
                    </a:lnTo>
                    <a:lnTo>
                      <a:pt x="1062" y="512"/>
                    </a:lnTo>
                    <a:lnTo>
                      <a:pt x="1064" y="512"/>
                    </a:lnTo>
                    <a:lnTo>
                      <a:pt x="1068" y="512"/>
                    </a:lnTo>
                    <a:lnTo>
                      <a:pt x="1074" y="514"/>
                    </a:lnTo>
                    <a:lnTo>
                      <a:pt x="1080" y="514"/>
                    </a:lnTo>
                    <a:lnTo>
                      <a:pt x="1080" y="516"/>
                    </a:lnTo>
                    <a:lnTo>
                      <a:pt x="1082" y="518"/>
                    </a:lnTo>
                    <a:lnTo>
                      <a:pt x="1086" y="522"/>
                    </a:lnTo>
                    <a:lnTo>
                      <a:pt x="1088" y="524"/>
                    </a:lnTo>
                    <a:lnTo>
                      <a:pt x="1090" y="526"/>
                    </a:lnTo>
                    <a:lnTo>
                      <a:pt x="1090" y="526"/>
                    </a:lnTo>
                    <a:lnTo>
                      <a:pt x="1092" y="528"/>
                    </a:lnTo>
                    <a:lnTo>
                      <a:pt x="1092" y="528"/>
                    </a:lnTo>
                    <a:lnTo>
                      <a:pt x="1092" y="528"/>
                    </a:lnTo>
                    <a:lnTo>
                      <a:pt x="1094" y="530"/>
                    </a:lnTo>
                    <a:lnTo>
                      <a:pt x="1094" y="530"/>
                    </a:lnTo>
                    <a:lnTo>
                      <a:pt x="1096" y="530"/>
                    </a:lnTo>
                    <a:lnTo>
                      <a:pt x="1098" y="532"/>
                    </a:lnTo>
                    <a:lnTo>
                      <a:pt x="1098" y="532"/>
                    </a:lnTo>
                    <a:lnTo>
                      <a:pt x="1098" y="532"/>
                    </a:lnTo>
                    <a:lnTo>
                      <a:pt x="1100" y="532"/>
                    </a:lnTo>
                    <a:lnTo>
                      <a:pt x="1100" y="532"/>
                    </a:lnTo>
                    <a:lnTo>
                      <a:pt x="1102" y="532"/>
                    </a:lnTo>
                    <a:lnTo>
                      <a:pt x="1104" y="532"/>
                    </a:lnTo>
                    <a:lnTo>
                      <a:pt x="1104" y="532"/>
                    </a:lnTo>
                    <a:lnTo>
                      <a:pt x="1104" y="532"/>
                    </a:lnTo>
                    <a:lnTo>
                      <a:pt x="1106" y="530"/>
                    </a:lnTo>
                    <a:lnTo>
                      <a:pt x="1106" y="530"/>
                    </a:lnTo>
                    <a:lnTo>
                      <a:pt x="1106" y="530"/>
                    </a:lnTo>
                    <a:lnTo>
                      <a:pt x="1108" y="528"/>
                    </a:lnTo>
                    <a:lnTo>
                      <a:pt x="1108" y="528"/>
                    </a:lnTo>
                    <a:lnTo>
                      <a:pt x="1108" y="528"/>
                    </a:lnTo>
                    <a:lnTo>
                      <a:pt x="1110" y="524"/>
                    </a:lnTo>
                    <a:lnTo>
                      <a:pt x="1110" y="524"/>
                    </a:lnTo>
                    <a:lnTo>
                      <a:pt x="1110" y="524"/>
                    </a:lnTo>
                    <a:lnTo>
                      <a:pt x="1112" y="520"/>
                    </a:lnTo>
                    <a:lnTo>
                      <a:pt x="1112" y="518"/>
                    </a:lnTo>
                    <a:lnTo>
                      <a:pt x="1114" y="514"/>
                    </a:lnTo>
                    <a:lnTo>
                      <a:pt x="1114" y="512"/>
                    </a:lnTo>
                    <a:lnTo>
                      <a:pt x="1116" y="508"/>
                    </a:lnTo>
                    <a:lnTo>
                      <a:pt x="1116" y="508"/>
                    </a:lnTo>
                    <a:lnTo>
                      <a:pt x="1116" y="506"/>
                    </a:lnTo>
                    <a:lnTo>
                      <a:pt x="1114" y="504"/>
                    </a:lnTo>
                    <a:lnTo>
                      <a:pt x="1114" y="504"/>
                    </a:lnTo>
                    <a:lnTo>
                      <a:pt x="1114" y="502"/>
                    </a:lnTo>
                    <a:lnTo>
                      <a:pt x="1114" y="500"/>
                    </a:lnTo>
                    <a:lnTo>
                      <a:pt x="1114" y="500"/>
                    </a:lnTo>
                    <a:lnTo>
                      <a:pt x="1114" y="498"/>
                    </a:lnTo>
                    <a:lnTo>
                      <a:pt x="1112" y="496"/>
                    </a:lnTo>
                    <a:lnTo>
                      <a:pt x="1110" y="494"/>
                    </a:lnTo>
                    <a:lnTo>
                      <a:pt x="1108" y="490"/>
                    </a:lnTo>
                    <a:lnTo>
                      <a:pt x="1104" y="486"/>
                    </a:lnTo>
                    <a:lnTo>
                      <a:pt x="1102" y="486"/>
                    </a:lnTo>
                    <a:lnTo>
                      <a:pt x="1100" y="484"/>
                    </a:lnTo>
                    <a:lnTo>
                      <a:pt x="1098" y="484"/>
                    </a:lnTo>
                    <a:lnTo>
                      <a:pt x="1096" y="476"/>
                    </a:lnTo>
                    <a:lnTo>
                      <a:pt x="1094" y="472"/>
                    </a:lnTo>
                    <a:lnTo>
                      <a:pt x="1090" y="470"/>
                    </a:lnTo>
                    <a:lnTo>
                      <a:pt x="1090" y="464"/>
                    </a:lnTo>
                    <a:lnTo>
                      <a:pt x="1090" y="460"/>
                    </a:lnTo>
                    <a:lnTo>
                      <a:pt x="1088" y="458"/>
                    </a:lnTo>
                    <a:lnTo>
                      <a:pt x="1088" y="458"/>
                    </a:lnTo>
                    <a:lnTo>
                      <a:pt x="1088" y="456"/>
                    </a:lnTo>
                    <a:lnTo>
                      <a:pt x="1086" y="454"/>
                    </a:lnTo>
                    <a:lnTo>
                      <a:pt x="1086" y="454"/>
                    </a:lnTo>
                    <a:lnTo>
                      <a:pt x="1086" y="454"/>
                    </a:lnTo>
                    <a:lnTo>
                      <a:pt x="1084" y="452"/>
                    </a:lnTo>
                    <a:lnTo>
                      <a:pt x="1084" y="452"/>
                    </a:lnTo>
                    <a:lnTo>
                      <a:pt x="1084" y="452"/>
                    </a:lnTo>
                    <a:lnTo>
                      <a:pt x="1082" y="450"/>
                    </a:lnTo>
                    <a:lnTo>
                      <a:pt x="1078" y="448"/>
                    </a:lnTo>
                    <a:lnTo>
                      <a:pt x="1076" y="446"/>
                    </a:lnTo>
                    <a:lnTo>
                      <a:pt x="1074" y="442"/>
                    </a:lnTo>
                    <a:lnTo>
                      <a:pt x="1072" y="440"/>
                    </a:lnTo>
                    <a:lnTo>
                      <a:pt x="1070" y="438"/>
                    </a:lnTo>
                    <a:lnTo>
                      <a:pt x="1070" y="434"/>
                    </a:lnTo>
                    <a:lnTo>
                      <a:pt x="1070" y="432"/>
                    </a:lnTo>
                    <a:lnTo>
                      <a:pt x="1070" y="428"/>
                    </a:lnTo>
                    <a:lnTo>
                      <a:pt x="1072" y="428"/>
                    </a:lnTo>
                    <a:lnTo>
                      <a:pt x="1072" y="426"/>
                    </a:lnTo>
                    <a:lnTo>
                      <a:pt x="1072" y="426"/>
                    </a:lnTo>
                    <a:lnTo>
                      <a:pt x="1074" y="424"/>
                    </a:lnTo>
                    <a:lnTo>
                      <a:pt x="1074" y="422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2"/>
                    </a:lnTo>
                    <a:lnTo>
                      <a:pt x="1076" y="412"/>
                    </a:lnTo>
                    <a:lnTo>
                      <a:pt x="1076" y="410"/>
                    </a:lnTo>
                    <a:lnTo>
                      <a:pt x="1078" y="410"/>
                    </a:lnTo>
                    <a:lnTo>
                      <a:pt x="1082" y="412"/>
                    </a:lnTo>
                    <a:lnTo>
                      <a:pt x="1084" y="412"/>
                    </a:lnTo>
                    <a:lnTo>
                      <a:pt x="1086" y="412"/>
                    </a:lnTo>
                    <a:lnTo>
                      <a:pt x="1088" y="414"/>
                    </a:lnTo>
                    <a:lnTo>
                      <a:pt x="1090" y="416"/>
                    </a:lnTo>
                    <a:lnTo>
                      <a:pt x="1094" y="418"/>
                    </a:lnTo>
                    <a:lnTo>
                      <a:pt x="1096" y="420"/>
                    </a:lnTo>
                    <a:lnTo>
                      <a:pt x="1098" y="422"/>
                    </a:lnTo>
                    <a:lnTo>
                      <a:pt x="1100" y="422"/>
                    </a:lnTo>
                    <a:lnTo>
                      <a:pt x="1104" y="424"/>
                    </a:lnTo>
                    <a:lnTo>
                      <a:pt x="1106" y="426"/>
                    </a:lnTo>
                    <a:lnTo>
                      <a:pt x="1106" y="428"/>
                    </a:lnTo>
                    <a:lnTo>
                      <a:pt x="1108" y="432"/>
                    </a:lnTo>
                    <a:lnTo>
                      <a:pt x="1108" y="432"/>
                    </a:lnTo>
                    <a:lnTo>
                      <a:pt x="1110" y="432"/>
                    </a:lnTo>
                    <a:lnTo>
                      <a:pt x="1112" y="436"/>
                    </a:lnTo>
                    <a:lnTo>
                      <a:pt x="1112" y="436"/>
                    </a:lnTo>
                    <a:lnTo>
                      <a:pt x="1112" y="436"/>
                    </a:lnTo>
                    <a:lnTo>
                      <a:pt x="1114" y="438"/>
                    </a:lnTo>
                    <a:lnTo>
                      <a:pt x="1118" y="440"/>
                    </a:lnTo>
                    <a:lnTo>
                      <a:pt x="1122" y="442"/>
                    </a:lnTo>
                    <a:lnTo>
                      <a:pt x="1124" y="444"/>
                    </a:lnTo>
                    <a:lnTo>
                      <a:pt x="1126" y="446"/>
                    </a:lnTo>
                    <a:lnTo>
                      <a:pt x="1128" y="448"/>
                    </a:lnTo>
                    <a:lnTo>
                      <a:pt x="1128" y="452"/>
                    </a:lnTo>
                    <a:lnTo>
                      <a:pt x="1128" y="452"/>
                    </a:lnTo>
                    <a:lnTo>
                      <a:pt x="1132" y="452"/>
                    </a:lnTo>
                    <a:lnTo>
                      <a:pt x="1132" y="452"/>
                    </a:lnTo>
                    <a:lnTo>
                      <a:pt x="1134" y="452"/>
                    </a:lnTo>
                    <a:lnTo>
                      <a:pt x="1136" y="448"/>
                    </a:lnTo>
                    <a:lnTo>
                      <a:pt x="1138" y="444"/>
                    </a:lnTo>
                    <a:lnTo>
                      <a:pt x="1142" y="438"/>
                    </a:lnTo>
                    <a:lnTo>
                      <a:pt x="1142" y="438"/>
                    </a:lnTo>
                    <a:lnTo>
                      <a:pt x="1144" y="436"/>
                    </a:lnTo>
                    <a:lnTo>
                      <a:pt x="1144" y="430"/>
                    </a:lnTo>
                    <a:lnTo>
                      <a:pt x="1144" y="422"/>
                    </a:lnTo>
                    <a:lnTo>
                      <a:pt x="1142" y="414"/>
                    </a:lnTo>
                    <a:lnTo>
                      <a:pt x="1142" y="408"/>
                    </a:lnTo>
                    <a:lnTo>
                      <a:pt x="1142" y="408"/>
                    </a:lnTo>
                    <a:lnTo>
                      <a:pt x="1142" y="406"/>
                    </a:lnTo>
                    <a:lnTo>
                      <a:pt x="1140" y="400"/>
                    </a:lnTo>
                    <a:lnTo>
                      <a:pt x="1140" y="400"/>
                    </a:lnTo>
                    <a:lnTo>
                      <a:pt x="1138" y="400"/>
                    </a:lnTo>
                    <a:lnTo>
                      <a:pt x="1138" y="396"/>
                    </a:lnTo>
                    <a:lnTo>
                      <a:pt x="1136" y="394"/>
                    </a:lnTo>
                    <a:lnTo>
                      <a:pt x="1136" y="394"/>
                    </a:lnTo>
                    <a:lnTo>
                      <a:pt x="1134" y="394"/>
                    </a:lnTo>
                    <a:lnTo>
                      <a:pt x="1132" y="392"/>
                    </a:lnTo>
                    <a:lnTo>
                      <a:pt x="1132" y="392"/>
                    </a:lnTo>
                    <a:lnTo>
                      <a:pt x="1132" y="390"/>
                    </a:lnTo>
                    <a:lnTo>
                      <a:pt x="1130" y="388"/>
                    </a:lnTo>
                    <a:lnTo>
                      <a:pt x="1130" y="388"/>
                    </a:lnTo>
                    <a:lnTo>
                      <a:pt x="1128" y="388"/>
                    </a:lnTo>
                    <a:lnTo>
                      <a:pt x="1126" y="388"/>
                    </a:lnTo>
                    <a:lnTo>
                      <a:pt x="1126" y="388"/>
                    </a:lnTo>
                    <a:lnTo>
                      <a:pt x="1126" y="388"/>
                    </a:lnTo>
                    <a:lnTo>
                      <a:pt x="1122" y="386"/>
                    </a:lnTo>
                    <a:lnTo>
                      <a:pt x="1122" y="386"/>
                    </a:lnTo>
                    <a:lnTo>
                      <a:pt x="1120" y="382"/>
                    </a:lnTo>
                    <a:lnTo>
                      <a:pt x="1118" y="380"/>
                    </a:lnTo>
                    <a:lnTo>
                      <a:pt x="1118" y="378"/>
                    </a:lnTo>
                    <a:lnTo>
                      <a:pt x="1118" y="378"/>
                    </a:lnTo>
                    <a:lnTo>
                      <a:pt x="1118" y="378"/>
                    </a:lnTo>
                    <a:lnTo>
                      <a:pt x="1116" y="378"/>
                    </a:lnTo>
                    <a:lnTo>
                      <a:pt x="1116" y="376"/>
                    </a:lnTo>
                    <a:lnTo>
                      <a:pt x="1114" y="376"/>
                    </a:lnTo>
                    <a:lnTo>
                      <a:pt x="1110" y="374"/>
                    </a:lnTo>
                    <a:lnTo>
                      <a:pt x="1108" y="374"/>
                    </a:lnTo>
                    <a:lnTo>
                      <a:pt x="1108" y="374"/>
                    </a:lnTo>
                    <a:lnTo>
                      <a:pt x="1106" y="372"/>
                    </a:lnTo>
                    <a:lnTo>
                      <a:pt x="1100" y="364"/>
                    </a:lnTo>
                    <a:lnTo>
                      <a:pt x="1094" y="356"/>
                    </a:lnTo>
                    <a:lnTo>
                      <a:pt x="1086" y="348"/>
                    </a:lnTo>
                    <a:lnTo>
                      <a:pt x="1082" y="344"/>
                    </a:lnTo>
                    <a:lnTo>
                      <a:pt x="1078" y="340"/>
                    </a:lnTo>
                    <a:lnTo>
                      <a:pt x="1072" y="336"/>
                    </a:lnTo>
                    <a:lnTo>
                      <a:pt x="1068" y="334"/>
                    </a:lnTo>
                    <a:lnTo>
                      <a:pt x="1062" y="328"/>
                    </a:lnTo>
                    <a:lnTo>
                      <a:pt x="1058" y="326"/>
                    </a:lnTo>
                    <a:lnTo>
                      <a:pt x="1054" y="322"/>
                    </a:lnTo>
                    <a:lnTo>
                      <a:pt x="1052" y="318"/>
                    </a:lnTo>
                    <a:lnTo>
                      <a:pt x="1050" y="316"/>
                    </a:lnTo>
                    <a:lnTo>
                      <a:pt x="1050" y="314"/>
                    </a:lnTo>
                    <a:lnTo>
                      <a:pt x="1050" y="314"/>
                    </a:lnTo>
                    <a:lnTo>
                      <a:pt x="1050" y="314"/>
                    </a:lnTo>
                    <a:lnTo>
                      <a:pt x="1050" y="312"/>
                    </a:lnTo>
                    <a:lnTo>
                      <a:pt x="1050" y="312"/>
                    </a:lnTo>
                    <a:lnTo>
                      <a:pt x="1050" y="312"/>
                    </a:lnTo>
                    <a:lnTo>
                      <a:pt x="1050" y="310"/>
                    </a:lnTo>
                    <a:lnTo>
                      <a:pt x="1050" y="310"/>
                    </a:lnTo>
                    <a:lnTo>
                      <a:pt x="1050" y="308"/>
                    </a:lnTo>
                    <a:lnTo>
                      <a:pt x="1050" y="306"/>
                    </a:lnTo>
                    <a:lnTo>
                      <a:pt x="1050" y="306"/>
                    </a:lnTo>
                    <a:lnTo>
                      <a:pt x="1050" y="306"/>
                    </a:lnTo>
                    <a:lnTo>
                      <a:pt x="1048" y="304"/>
                    </a:lnTo>
                    <a:lnTo>
                      <a:pt x="1048" y="304"/>
                    </a:lnTo>
                    <a:lnTo>
                      <a:pt x="1048" y="304"/>
                    </a:lnTo>
                    <a:lnTo>
                      <a:pt x="1048" y="302"/>
                    </a:lnTo>
                    <a:lnTo>
                      <a:pt x="1048" y="302"/>
                    </a:lnTo>
                    <a:lnTo>
                      <a:pt x="1046" y="302"/>
                    </a:lnTo>
                    <a:lnTo>
                      <a:pt x="1044" y="300"/>
                    </a:lnTo>
                    <a:lnTo>
                      <a:pt x="1044" y="300"/>
                    </a:lnTo>
                    <a:lnTo>
                      <a:pt x="1044" y="300"/>
                    </a:lnTo>
                    <a:lnTo>
                      <a:pt x="1042" y="300"/>
                    </a:lnTo>
                    <a:lnTo>
                      <a:pt x="1040" y="298"/>
                    </a:lnTo>
                    <a:lnTo>
                      <a:pt x="1040" y="294"/>
                    </a:lnTo>
                    <a:lnTo>
                      <a:pt x="1038" y="292"/>
                    </a:lnTo>
                    <a:lnTo>
                      <a:pt x="1038" y="288"/>
                    </a:lnTo>
                    <a:lnTo>
                      <a:pt x="1038" y="286"/>
                    </a:lnTo>
                    <a:lnTo>
                      <a:pt x="1040" y="284"/>
                    </a:lnTo>
                    <a:lnTo>
                      <a:pt x="1040" y="280"/>
                    </a:lnTo>
                    <a:lnTo>
                      <a:pt x="1042" y="278"/>
                    </a:lnTo>
                    <a:lnTo>
                      <a:pt x="1046" y="272"/>
                    </a:lnTo>
                    <a:lnTo>
                      <a:pt x="1050" y="268"/>
                    </a:lnTo>
                    <a:lnTo>
                      <a:pt x="1054" y="262"/>
                    </a:lnTo>
                    <a:lnTo>
                      <a:pt x="1058" y="256"/>
                    </a:lnTo>
                    <a:lnTo>
                      <a:pt x="1058" y="256"/>
                    </a:lnTo>
                    <a:lnTo>
                      <a:pt x="1058" y="252"/>
                    </a:lnTo>
                    <a:lnTo>
                      <a:pt x="1056" y="250"/>
                    </a:lnTo>
                    <a:lnTo>
                      <a:pt x="1056" y="250"/>
                    </a:lnTo>
                    <a:lnTo>
                      <a:pt x="1054" y="250"/>
                    </a:lnTo>
                    <a:lnTo>
                      <a:pt x="1052" y="248"/>
                    </a:lnTo>
                    <a:lnTo>
                      <a:pt x="1052" y="248"/>
                    </a:lnTo>
                    <a:lnTo>
                      <a:pt x="1052" y="248"/>
                    </a:lnTo>
                    <a:lnTo>
                      <a:pt x="1050" y="246"/>
                    </a:lnTo>
                    <a:lnTo>
                      <a:pt x="1050" y="246"/>
                    </a:lnTo>
                    <a:lnTo>
                      <a:pt x="1048" y="246"/>
                    </a:lnTo>
                    <a:lnTo>
                      <a:pt x="1046" y="246"/>
                    </a:lnTo>
                    <a:lnTo>
                      <a:pt x="1046" y="246"/>
                    </a:lnTo>
                    <a:lnTo>
                      <a:pt x="1046" y="246"/>
                    </a:lnTo>
                    <a:lnTo>
                      <a:pt x="1044" y="248"/>
                    </a:lnTo>
                    <a:lnTo>
                      <a:pt x="1040" y="248"/>
                    </a:lnTo>
                    <a:lnTo>
                      <a:pt x="1034" y="250"/>
                    </a:lnTo>
                    <a:lnTo>
                      <a:pt x="1034" y="250"/>
                    </a:lnTo>
                    <a:lnTo>
                      <a:pt x="1034" y="250"/>
                    </a:lnTo>
                    <a:lnTo>
                      <a:pt x="1030" y="252"/>
                    </a:lnTo>
                    <a:lnTo>
                      <a:pt x="1030" y="252"/>
                    </a:lnTo>
                    <a:lnTo>
                      <a:pt x="1030" y="252"/>
                    </a:lnTo>
                    <a:lnTo>
                      <a:pt x="1028" y="254"/>
                    </a:lnTo>
                    <a:lnTo>
                      <a:pt x="1028" y="254"/>
                    </a:lnTo>
                    <a:lnTo>
                      <a:pt x="1028" y="256"/>
                    </a:lnTo>
                    <a:lnTo>
                      <a:pt x="1028" y="258"/>
                    </a:lnTo>
                    <a:lnTo>
                      <a:pt x="1026" y="260"/>
                    </a:lnTo>
                    <a:lnTo>
                      <a:pt x="1024" y="264"/>
                    </a:lnTo>
                    <a:lnTo>
                      <a:pt x="1022" y="266"/>
                    </a:lnTo>
                    <a:lnTo>
                      <a:pt x="1020" y="268"/>
                    </a:lnTo>
                    <a:lnTo>
                      <a:pt x="1020" y="268"/>
                    </a:lnTo>
                    <a:lnTo>
                      <a:pt x="1020" y="270"/>
                    </a:lnTo>
                    <a:lnTo>
                      <a:pt x="1020" y="270"/>
                    </a:lnTo>
                    <a:lnTo>
                      <a:pt x="1020" y="270"/>
                    </a:lnTo>
                    <a:lnTo>
                      <a:pt x="1018" y="268"/>
                    </a:lnTo>
                    <a:lnTo>
                      <a:pt x="1018" y="264"/>
                    </a:lnTo>
                    <a:lnTo>
                      <a:pt x="1016" y="260"/>
                    </a:lnTo>
                    <a:lnTo>
                      <a:pt x="1016" y="258"/>
                    </a:lnTo>
                    <a:lnTo>
                      <a:pt x="1016" y="258"/>
                    </a:lnTo>
                    <a:lnTo>
                      <a:pt x="1016" y="256"/>
                    </a:lnTo>
                    <a:lnTo>
                      <a:pt x="1014" y="254"/>
                    </a:lnTo>
                    <a:lnTo>
                      <a:pt x="1014" y="254"/>
                    </a:lnTo>
                    <a:lnTo>
                      <a:pt x="1014" y="252"/>
                    </a:lnTo>
                    <a:lnTo>
                      <a:pt x="1014" y="248"/>
                    </a:lnTo>
                    <a:lnTo>
                      <a:pt x="1014" y="246"/>
                    </a:lnTo>
                    <a:lnTo>
                      <a:pt x="1014" y="244"/>
                    </a:lnTo>
                    <a:lnTo>
                      <a:pt x="1014" y="242"/>
                    </a:lnTo>
                    <a:lnTo>
                      <a:pt x="1014" y="240"/>
                    </a:lnTo>
                    <a:lnTo>
                      <a:pt x="1016" y="238"/>
                    </a:lnTo>
                    <a:lnTo>
                      <a:pt x="1018" y="238"/>
                    </a:lnTo>
                    <a:lnTo>
                      <a:pt x="1018" y="238"/>
                    </a:lnTo>
                    <a:lnTo>
                      <a:pt x="1020" y="236"/>
                    </a:lnTo>
                    <a:lnTo>
                      <a:pt x="1022" y="234"/>
                    </a:lnTo>
                    <a:lnTo>
                      <a:pt x="1022" y="234"/>
                    </a:lnTo>
                    <a:lnTo>
                      <a:pt x="1022" y="232"/>
                    </a:lnTo>
                    <a:lnTo>
                      <a:pt x="1024" y="230"/>
                    </a:lnTo>
                    <a:lnTo>
                      <a:pt x="1024" y="230"/>
                    </a:lnTo>
                    <a:lnTo>
                      <a:pt x="1024" y="230"/>
                    </a:lnTo>
                    <a:lnTo>
                      <a:pt x="1026" y="226"/>
                    </a:lnTo>
                    <a:lnTo>
                      <a:pt x="1026" y="222"/>
                    </a:lnTo>
                    <a:lnTo>
                      <a:pt x="1026" y="222"/>
                    </a:lnTo>
                    <a:lnTo>
                      <a:pt x="1026" y="218"/>
                    </a:lnTo>
                    <a:lnTo>
                      <a:pt x="1024" y="216"/>
                    </a:lnTo>
                    <a:lnTo>
                      <a:pt x="1022" y="216"/>
                    </a:lnTo>
                    <a:lnTo>
                      <a:pt x="1022" y="214"/>
                    </a:lnTo>
                    <a:lnTo>
                      <a:pt x="1020" y="212"/>
                    </a:lnTo>
                    <a:lnTo>
                      <a:pt x="1020" y="212"/>
                    </a:lnTo>
                    <a:lnTo>
                      <a:pt x="1020" y="212"/>
                    </a:lnTo>
                    <a:lnTo>
                      <a:pt x="1020" y="210"/>
                    </a:lnTo>
                    <a:lnTo>
                      <a:pt x="1020" y="210"/>
                    </a:lnTo>
                    <a:lnTo>
                      <a:pt x="1018" y="210"/>
                    </a:lnTo>
                    <a:lnTo>
                      <a:pt x="1016" y="210"/>
                    </a:lnTo>
                    <a:lnTo>
                      <a:pt x="1016" y="210"/>
                    </a:lnTo>
                    <a:lnTo>
                      <a:pt x="1016" y="210"/>
                    </a:lnTo>
                    <a:lnTo>
                      <a:pt x="1014" y="210"/>
                    </a:lnTo>
                    <a:lnTo>
                      <a:pt x="1014" y="210"/>
                    </a:lnTo>
                    <a:lnTo>
                      <a:pt x="1014" y="210"/>
                    </a:lnTo>
                    <a:lnTo>
                      <a:pt x="1010" y="210"/>
                    </a:lnTo>
                    <a:lnTo>
                      <a:pt x="1010" y="210"/>
                    </a:lnTo>
                    <a:lnTo>
                      <a:pt x="1010" y="212"/>
                    </a:lnTo>
                    <a:lnTo>
                      <a:pt x="1006" y="214"/>
                    </a:lnTo>
                    <a:lnTo>
                      <a:pt x="1004" y="216"/>
                    </a:lnTo>
                    <a:lnTo>
                      <a:pt x="1000" y="222"/>
                    </a:lnTo>
                    <a:lnTo>
                      <a:pt x="996" y="226"/>
                    </a:lnTo>
                    <a:lnTo>
                      <a:pt x="994" y="228"/>
                    </a:lnTo>
                    <a:lnTo>
                      <a:pt x="992" y="230"/>
                    </a:lnTo>
                    <a:lnTo>
                      <a:pt x="992" y="230"/>
                    </a:lnTo>
                    <a:lnTo>
                      <a:pt x="990" y="232"/>
                    </a:lnTo>
                    <a:lnTo>
                      <a:pt x="990" y="234"/>
                    </a:lnTo>
                    <a:lnTo>
                      <a:pt x="990" y="234"/>
                    </a:lnTo>
                    <a:lnTo>
                      <a:pt x="990" y="234"/>
                    </a:lnTo>
                    <a:lnTo>
                      <a:pt x="988" y="234"/>
                    </a:lnTo>
                    <a:lnTo>
                      <a:pt x="986" y="234"/>
                    </a:lnTo>
                    <a:lnTo>
                      <a:pt x="984" y="232"/>
                    </a:lnTo>
                    <a:lnTo>
                      <a:pt x="982" y="232"/>
                    </a:lnTo>
                    <a:lnTo>
                      <a:pt x="980" y="230"/>
                    </a:lnTo>
                    <a:lnTo>
                      <a:pt x="980" y="228"/>
                    </a:lnTo>
                    <a:lnTo>
                      <a:pt x="978" y="226"/>
                    </a:lnTo>
                    <a:lnTo>
                      <a:pt x="978" y="226"/>
                    </a:lnTo>
                    <a:lnTo>
                      <a:pt x="976" y="224"/>
                    </a:lnTo>
                    <a:lnTo>
                      <a:pt x="972" y="220"/>
                    </a:lnTo>
                    <a:lnTo>
                      <a:pt x="970" y="218"/>
                    </a:lnTo>
                    <a:lnTo>
                      <a:pt x="970" y="216"/>
                    </a:lnTo>
                    <a:lnTo>
                      <a:pt x="970" y="214"/>
                    </a:lnTo>
                    <a:lnTo>
                      <a:pt x="968" y="210"/>
                    </a:lnTo>
                    <a:lnTo>
                      <a:pt x="968" y="210"/>
                    </a:lnTo>
                    <a:lnTo>
                      <a:pt x="968" y="210"/>
                    </a:lnTo>
                    <a:lnTo>
                      <a:pt x="968" y="208"/>
                    </a:lnTo>
                    <a:lnTo>
                      <a:pt x="968" y="208"/>
                    </a:lnTo>
                    <a:lnTo>
                      <a:pt x="968" y="208"/>
                    </a:lnTo>
                    <a:lnTo>
                      <a:pt x="966" y="206"/>
                    </a:lnTo>
                    <a:lnTo>
                      <a:pt x="966" y="206"/>
                    </a:lnTo>
                    <a:lnTo>
                      <a:pt x="966" y="206"/>
                    </a:lnTo>
                    <a:lnTo>
                      <a:pt x="964" y="204"/>
                    </a:lnTo>
                    <a:lnTo>
                      <a:pt x="962" y="202"/>
                    </a:lnTo>
                    <a:lnTo>
                      <a:pt x="962" y="202"/>
                    </a:lnTo>
                    <a:lnTo>
                      <a:pt x="962" y="198"/>
                    </a:lnTo>
                    <a:lnTo>
                      <a:pt x="964" y="196"/>
                    </a:lnTo>
                    <a:lnTo>
                      <a:pt x="964" y="194"/>
                    </a:lnTo>
                    <a:lnTo>
                      <a:pt x="964" y="192"/>
                    </a:lnTo>
                    <a:lnTo>
                      <a:pt x="966" y="192"/>
                    </a:lnTo>
                    <a:lnTo>
                      <a:pt x="968" y="190"/>
                    </a:lnTo>
                    <a:lnTo>
                      <a:pt x="968" y="190"/>
                    </a:lnTo>
                    <a:lnTo>
                      <a:pt x="968" y="188"/>
                    </a:lnTo>
                    <a:lnTo>
                      <a:pt x="970" y="186"/>
                    </a:lnTo>
                    <a:lnTo>
                      <a:pt x="970" y="186"/>
                    </a:lnTo>
                    <a:lnTo>
                      <a:pt x="970" y="184"/>
                    </a:lnTo>
                    <a:lnTo>
                      <a:pt x="972" y="182"/>
                    </a:lnTo>
                    <a:lnTo>
                      <a:pt x="972" y="182"/>
                    </a:lnTo>
                    <a:lnTo>
                      <a:pt x="972" y="180"/>
                    </a:lnTo>
                    <a:lnTo>
                      <a:pt x="972" y="178"/>
                    </a:lnTo>
                    <a:lnTo>
                      <a:pt x="972" y="178"/>
                    </a:lnTo>
                    <a:lnTo>
                      <a:pt x="972" y="176"/>
                    </a:lnTo>
                    <a:lnTo>
                      <a:pt x="970" y="174"/>
                    </a:lnTo>
                    <a:lnTo>
                      <a:pt x="970" y="174"/>
                    </a:lnTo>
                    <a:lnTo>
                      <a:pt x="970" y="174"/>
                    </a:lnTo>
                    <a:lnTo>
                      <a:pt x="968" y="170"/>
                    </a:lnTo>
                    <a:lnTo>
                      <a:pt x="968" y="170"/>
                    </a:lnTo>
                    <a:lnTo>
                      <a:pt x="968" y="170"/>
                    </a:lnTo>
                    <a:lnTo>
                      <a:pt x="966" y="168"/>
                    </a:lnTo>
                    <a:lnTo>
                      <a:pt x="966" y="168"/>
                    </a:lnTo>
                    <a:lnTo>
                      <a:pt x="966" y="168"/>
                    </a:lnTo>
                    <a:lnTo>
                      <a:pt x="962" y="164"/>
                    </a:lnTo>
                    <a:lnTo>
                      <a:pt x="960" y="162"/>
                    </a:lnTo>
                    <a:lnTo>
                      <a:pt x="958" y="160"/>
                    </a:lnTo>
                    <a:lnTo>
                      <a:pt x="954" y="156"/>
                    </a:lnTo>
                    <a:lnTo>
                      <a:pt x="950" y="152"/>
                    </a:lnTo>
                    <a:lnTo>
                      <a:pt x="950" y="152"/>
                    </a:lnTo>
                    <a:lnTo>
                      <a:pt x="948" y="152"/>
                    </a:lnTo>
                    <a:lnTo>
                      <a:pt x="946" y="150"/>
                    </a:lnTo>
                    <a:lnTo>
                      <a:pt x="946" y="150"/>
                    </a:lnTo>
                    <a:lnTo>
                      <a:pt x="946" y="150"/>
                    </a:lnTo>
                    <a:lnTo>
                      <a:pt x="944" y="150"/>
                    </a:lnTo>
                    <a:lnTo>
                      <a:pt x="942" y="148"/>
                    </a:lnTo>
                    <a:lnTo>
                      <a:pt x="942" y="148"/>
                    </a:lnTo>
                    <a:lnTo>
                      <a:pt x="942" y="148"/>
                    </a:lnTo>
                    <a:lnTo>
                      <a:pt x="940" y="148"/>
                    </a:lnTo>
                    <a:lnTo>
                      <a:pt x="940" y="148"/>
                    </a:lnTo>
                    <a:lnTo>
                      <a:pt x="938" y="148"/>
                    </a:lnTo>
                    <a:lnTo>
                      <a:pt x="936" y="148"/>
                    </a:lnTo>
                    <a:lnTo>
                      <a:pt x="936" y="148"/>
                    </a:lnTo>
                    <a:lnTo>
                      <a:pt x="936" y="148"/>
                    </a:lnTo>
                    <a:lnTo>
                      <a:pt x="934" y="148"/>
                    </a:lnTo>
                    <a:lnTo>
                      <a:pt x="934" y="148"/>
                    </a:lnTo>
                    <a:lnTo>
                      <a:pt x="934" y="148"/>
                    </a:lnTo>
                    <a:lnTo>
                      <a:pt x="930" y="150"/>
                    </a:lnTo>
                    <a:lnTo>
                      <a:pt x="930" y="150"/>
                    </a:lnTo>
                    <a:lnTo>
                      <a:pt x="930" y="150"/>
                    </a:lnTo>
                    <a:lnTo>
                      <a:pt x="926" y="152"/>
                    </a:lnTo>
                    <a:lnTo>
                      <a:pt x="926" y="152"/>
                    </a:lnTo>
                    <a:lnTo>
                      <a:pt x="924" y="154"/>
                    </a:lnTo>
                    <a:lnTo>
                      <a:pt x="924" y="156"/>
                    </a:lnTo>
                    <a:lnTo>
                      <a:pt x="922" y="160"/>
                    </a:lnTo>
                    <a:lnTo>
                      <a:pt x="922" y="160"/>
                    </a:lnTo>
                    <a:lnTo>
                      <a:pt x="922" y="160"/>
                    </a:lnTo>
                    <a:lnTo>
                      <a:pt x="922" y="162"/>
                    </a:lnTo>
                    <a:lnTo>
                      <a:pt x="922" y="162"/>
                    </a:lnTo>
                    <a:lnTo>
                      <a:pt x="922" y="162"/>
                    </a:lnTo>
                    <a:lnTo>
                      <a:pt x="922" y="164"/>
                    </a:lnTo>
                    <a:lnTo>
                      <a:pt x="922" y="164"/>
                    </a:lnTo>
                    <a:lnTo>
                      <a:pt x="922" y="166"/>
                    </a:lnTo>
                    <a:lnTo>
                      <a:pt x="922" y="168"/>
                    </a:lnTo>
                    <a:lnTo>
                      <a:pt x="922" y="168"/>
                    </a:lnTo>
                    <a:lnTo>
                      <a:pt x="922" y="168"/>
                    </a:lnTo>
                    <a:lnTo>
                      <a:pt x="924" y="170"/>
                    </a:lnTo>
                    <a:lnTo>
                      <a:pt x="924" y="170"/>
                    </a:lnTo>
                    <a:lnTo>
                      <a:pt x="924" y="172"/>
                    </a:lnTo>
                    <a:lnTo>
                      <a:pt x="926" y="172"/>
                    </a:lnTo>
                    <a:lnTo>
                      <a:pt x="926" y="172"/>
                    </a:lnTo>
                    <a:lnTo>
                      <a:pt x="928" y="172"/>
                    </a:lnTo>
                    <a:lnTo>
                      <a:pt x="930" y="174"/>
                    </a:lnTo>
                    <a:lnTo>
                      <a:pt x="932" y="174"/>
                    </a:lnTo>
                    <a:lnTo>
                      <a:pt x="932" y="174"/>
                    </a:lnTo>
                    <a:lnTo>
                      <a:pt x="932" y="174"/>
                    </a:lnTo>
                    <a:lnTo>
                      <a:pt x="932" y="176"/>
                    </a:lnTo>
                    <a:lnTo>
                      <a:pt x="932" y="176"/>
                    </a:lnTo>
                    <a:lnTo>
                      <a:pt x="932" y="178"/>
                    </a:lnTo>
                    <a:lnTo>
                      <a:pt x="930" y="180"/>
                    </a:lnTo>
                    <a:lnTo>
                      <a:pt x="928" y="182"/>
                    </a:lnTo>
                    <a:lnTo>
                      <a:pt x="926" y="184"/>
                    </a:lnTo>
                    <a:lnTo>
                      <a:pt x="926" y="184"/>
                    </a:lnTo>
                    <a:lnTo>
                      <a:pt x="924" y="186"/>
                    </a:lnTo>
                    <a:lnTo>
                      <a:pt x="924" y="190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2" y="192"/>
                    </a:lnTo>
                    <a:lnTo>
                      <a:pt x="920" y="192"/>
                    </a:lnTo>
                    <a:lnTo>
                      <a:pt x="918" y="188"/>
                    </a:lnTo>
                    <a:lnTo>
                      <a:pt x="918" y="188"/>
                    </a:lnTo>
                    <a:lnTo>
                      <a:pt x="918" y="188"/>
                    </a:lnTo>
                    <a:lnTo>
                      <a:pt x="914" y="184"/>
                    </a:lnTo>
                    <a:lnTo>
                      <a:pt x="914" y="184"/>
                    </a:lnTo>
                    <a:lnTo>
                      <a:pt x="914" y="184"/>
                    </a:lnTo>
                    <a:lnTo>
                      <a:pt x="910" y="180"/>
                    </a:lnTo>
                    <a:lnTo>
                      <a:pt x="906" y="178"/>
                    </a:lnTo>
                    <a:lnTo>
                      <a:pt x="906" y="176"/>
                    </a:lnTo>
                    <a:lnTo>
                      <a:pt x="904" y="176"/>
                    </a:lnTo>
                    <a:lnTo>
                      <a:pt x="904" y="176"/>
                    </a:lnTo>
                    <a:lnTo>
                      <a:pt x="904" y="174"/>
                    </a:lnTo>
                    <a:lnTo>
                      <a:pt x="904" y="174"/>
                    </a:lnTo>
                    <a:lnTo>
                      <a:pt x="904" y="174"/>
                    </a:lnTo>
                    <a:lnTo>
                      <a:pt x="900" y="174"/>
                    </a:lnTo>
                    <a:lnTo>
                      <a:pt x="898" y="174"/>
                    </a:lnTo>
                    <a:lnTo>
                      <a:pt x="898" y="174"/>
                    </a:lnTo>
                    <a:lnTo>
                      <a:pt x="898" y="174"/>
                    </a:lnTo>
                    <a:lnTo>
                      <a:pt x="896" y="176"/>
                    </a:lnTo>
                    <a:lnTo>
                      <a:pt x="896" y="176"/>
                    </a:lnTo>
                    <a:lnTo>
                      <a:pt x="896" y="176"/>
                    </a:lnTo>
                    <a:lnTo>
                      <a:pt x="892" y="178"/>
                    </a:lnTo>
                    <a:lnTo>
                      <a:pt x="890" y="180"/>
                    </a:lnTo>
                    <a:lnTo>
                      <a:pt x="888" y="182"/>
                    </a:lnTo>
                    <a:lnTo>
                      <a:pt x="888" y="184"/>
                    </a:lnTo>
                    <a:lnTo>
                      <a:pt x="886" y="184"/>
                    </a:lnTo>
                    <a:lnTo>
                      <a:pt x="886" y="184"/>
                    </a:lnTo>
                    <a:lnTo>
                      <a:pt x="886" y="184"/>
                    </a:lnTo>
                    <a:lnTo>
                      <a:pt x="884" y="190"/>
                    </a:lnTo>
                    <a:lnTo>
                      <a:pt x="884" y="192"/>
                    </a:lnTo>
                    <a:lnTo>
                      <a:pt x="882" y="190"/>
                    </a:lnTo>
                    <a:lnTo>
                      <a:pt x="880" y="186"/>
                    </a:lnTo>
                    <a:lnTo>
                      <a:pt x="880" y="184"/>
                    </a:lnTo>
                    <a:lnTo>
                      <a:pt x="882" y="184"/>
                    </a:lnTo>
                    <a:lnTo>
                      <a:pt x="882" y="182"/>
                    </a:lnTo>
                    <a:lnTo>
                      <a:pt x="884" y="180"/>
                    </a:lnTo>
                    <a:lnTo>
                      <a:pt x="890" y="174"/>
                    </a:lnTo>
                    <a:lnTo>
                      <a:pt x="892" y="172"/>
                    </a:lnTo>
                    <a:lnTo>
                      <a:pt x="892" y="172"/>
                    </a:lnTo>
                    <a:lnTo>
                      <a:pt x="892" y="172"/>
                    </a:lnTo>
                    <a:lnTo>
                      <a:pt x="894" y="168"/>
                    </a:lnTo>
                    <a:lnTo>
                      <a:pt x="894" y="168"/>
                    </a:lnTo>
                    <a:lnTo>
                      <a:pt x="894" y="166"/>
                    </a:lnTo>
                    <a:lnTo>
                      <a:pt x="894" y="158"/>
                    </a:lnTo>
                    <a:lnTo>
                      <a:pt x="894" y="148"/>
                    </a:lnTo>
                    <a:lnTo>
                      <a:pt x="892" y="140"/>
                    </a:lnTo>
                    <a:lnTo>
                      <a:pt x="890" y="130"/>
                    </a:lnTo>
                    <a:lnTo>
                      <a:pt x="888" y="120"/>
                    </a:lnTo>
                    <a:lnTo>
                      <a:pt x="888" y="120"/>
                    </a:lnTo>
                    <a:lnTo>
                      <a:pt x="888" y="120"/>
                    </a:lnTo>
                    <a:lnTo>
                      <a:pt x="882" y="112"/>
                    </a:lnTo>
                    <a:lnTo>
                      <a:pt x="882" y="112"/>
                    </a:lnTo>
                    <a:lnTo>
                      <a:pt x="882" y="112"/>
                    </a:lnTo>
                    <a:lnTo>
                      <a:pt x="880" y="108"/>
                    </a:lnTo>
                    <a:lnTo>
                      <a:pt x="878" y="106"/>
                    </a:lnTo>
                    <a:lnTo>
                      <a:pt x="878" y="106"/>
                    </a:lnTo>
                    <a:lnTo>
                      <a:pt x="876" y="106"/>
                    </a:lnTo>
                    <a:lnTo>
                      <a:pt x="874" y="102"/>
                    </a:lnTo>
                    <a:lnTo>
                      <a:pt x="870" y="100"/>
                    </a:lnTo>
                    <a:lnTo>
                      <a:pt x="870" y="100"/>
                    </a:lnTo>
                    <a:lnTo>
                      <a:pt x="868" y="100"/>
                    </a:lnTo>
                    <a:lnTo>
                      <a:pt x="864" y="100"/>
                    </a:lnTo>
                    <a:lnTo>
                      <a:pt x="860" y="102"/>
                    </a:lnTo>
                    <a:lnTo>
                      <a:pt x="858" y="102"/>
                    </a:lnTo>
                    <a:lnTo>
                      <a:pt x="854" y="104"/>
                    </a:lnTo>
                    <a:lnTo>
                      <a:pt x="852" y="104"/>
                    </a:lnTo>
                    <a:lnTo>
                      <a:pt x="850" y="106"/>
                    </a:lnTo>
                    <a:lnTo>
                      <a:pt x="850" y="106"/>
                    </a:lnTo>
                    <a:lnTo>
                      <a:pt x="850" y="106"/>
                    </a:lnTo>
                    <a:lnTo>
                      <a:pt x="848" y="108"/>
                    </a:lnTo>
                    <a:lnTo>
                      <a:pt x="844" y="110"/>
                    </a:lnTo>
                    <a:lnTo>
                      <a:pt x="842" y="112"/>
                    </a:lnTo>
                    <a:lnTo>
                      <a:pt x="840" y="114"/>
                    </a:lnTo>
                    <a:lnTo>
                      <a:pt x="838" y="116"/>
                    </a:lnTo>
                    <a:lnTo>
                      <a:pt x="836" y="116"/>
                    </a:lnTo>
                    <a:lnTo>
                      <a:pt x="836" y="116"/>
                    </a:lnTo>
                    <a:lnTo>
                      <a:pt x="834" y="116"/>
                    </a:lnTo>
                    <a:lnTo>
                      <a:pt x="832" y="120"/>
                    </a:lnTo>
                    <a:lnTo>
                      <a:pt x="832" y="120"/>
                    </a:lnTo>
                    <a:lnTo>
                      <a:pt x="832" y="120"/>
                    </a:lnTo>
                    <a:lnTo>
                      <a:pt x="830" y="122"/>
                    </a:lnTo>
                    <a:lnTo>
                      <a:pt x="830" y="122"/>
                    </a:lnTo>
                    <a:lnTo>
                      <a:pt x="830" y="124"/>
                    </a:lnTo>
                    <a:lnTo>
                      <a:pt x="828" y="126"/>
                    </a:lnTo>
                    <a:lnTo>
                      <a:pt x="828" y="130"/>
                    </a:lnTo>
                    <a:lnTo>
                      <a:pt x="826" y="134"/>
                    </a:lnTo>
                    <a:lnTo>
                      <a:pt x="826" y="136"/>
                    </a:lnTo>
                    <a:lnTo>
                      <a:pt x="824" y="140"/>
                    </a:lnTo>
                    <a:lnTo>
                      <a:pt x="824" y="140"/>
                    </a:lnTo>
                    <a:lnTo>
                      <a:pt x="822" y="142"/>
                    </a:lnTo>
                    <a:lnTo>
                      <a:pt x="822" y="142"/>
                    </a:lnTo>
                    <a:lnTo>
                      <a:pt x="820" y="142"/>
                    </a:lnTo>
                    <a:lnTo>
                      <a:pt x="820" y="146"/>
                    </a:lnTo>
                    <a:lnTo>
                      <a:pt x="820" y="146"/>
                    </a:lnTo>
                    <a:lnTo>
                      <a:pt x="820" y="146"/>
                    </a:lnTo>
                    <a:lnTo>
                      <a:pt x="820" y="150"/>
                    </a:lnTo>
                    <a:lnTo>
                      <a:pt x="820" y="150"/>
                    </a:lnTo>
                    <a:lnTo>
                      <a:pt x="820" y="150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20" y="162"/>
                    </a:lnTo>
                    <a:lnTo>
                      <a:pt x="822" y="166"/>
                    </a:lnTo>
                    <a:lnTo>
                      <a:pt x="824" y="168"/>
                    </a:lnTo>
                    <a:lnTo>
                      <a:pt x="824" y="170"/>
                    </a:lnTo>
                    <a:lnTo>
                      <a:pt x="824" y="174"/>
                    </a:lnTo>
                    <a:lnTo>
                      <a:pt x="824" y="178"/>
                    </a:lnTo>
                    <a:lnTo>
                      <a:pt x="824" y="182"/>
                    </a:lnTo>
                    <a:lnTo>
                      <a:pt x="824" y="184"/>
                    </a:lnTo>
                    <a:lnTo>
                      <a:pt x="824" y="184"/>
                    </a:lnTo>
                    <a:lnTo>
                      <a:pt x="824" y="186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20" y="188"/>
                    </a:lnTo>
                    <a:lnTo>
                      <a:pt x="820" y="188"/>
                    </a:lnTo>
                    <a:lnTo>
                      <a:pt x="820" y="188"/>
                    </a:lnTo>
                    <a:lnTo>
                      <a:pt x="820" y="192"/>
                    </a:lnTo>
                    <a:lnTo>
                      <a:pt x="820" y="192"/>
                    </a:lnTo>
                    <a:lnTo>
                      <a:pt x="820" y="192"/>
                    </a:lnTo>
                    <a:lnTo>
                      <a:pt x="822" y="192"/>
                    </a:lnTo>
                    <a:lnTo>
                      <a:pt x="824" y="194"/>
                    </a:lnTo>
                    <a:lnTo>
                      <a:pt x="824" y="194"/>
                    </a:lnTo>
                    <a:lnTo>
                      <a:pt x="826" y="196"/>
                    </a:lnTo>
                    <a:lnTo>
                      <a:pt x="828" y="198"/>
                    </a:lnTo>
                    <a:lnTo>
                      <a:pt x="830" y="200"/>
                    </a:lnTo>
                    <a:lnTo>
                      <a:pt x="830" y="200"/>
                    </a:lnTo>
                    <a:lnTo>
                      <a:pt x="830" y="200"/>
                    </a:lnTo>
                    <a:lnTo>
                      <a:pt x="830" y="202"/>
                    </a:lnTo>
                    <a:lnTo>
                      <a:pt x="830" y="202"/>
                    </a:lnTo>
                    <a:lnTo>
                      <a:pt x="828" y="204"/>
                    </a:lnTo>
                    <a:lnTo>
                      <a:pt x="828" y="204"/>
                    </a:lnTo>
                    <a:lnTo>
                      <a:pt x="828" y="206"/>
                    </a:lnTo>
                    <a:lnTo>
                      <a:pt x="826" y="210"/>
                    </a:lnTo>
                    <a:lnTo>
                      <a:pt x="826" y="212"/>
                    </a:lnTo>
                    <a:lnTo>
                      <a:pt x="824" y="216"/>
                    </a:lnTo>
                    <a:lnTo>
                      <a:pt x="822" y="220"/>
                    </a:lnTo>
                    <a:lnTo>
                      <a:pt x="822" y="220"/>
                    </a:lnTo>
                    <a:lnTo>
                      <a:pt x="820" y="222"/>
                    </a:lnTo>
                    <a:lnTo>
                      <a:pt x="818" y="224"/>
                    </a:lnTo>
                    <a:lnTo>
                      <a:pt x="816" y="224"/>
                    </a:lnTo>
                    <a:lnTo>
                      <a:pt x="818" y="222"/>
                    </a:lnTo>
                    <a:lnTo>
                      <a:pt x="820" y="220"/>
                    </a:lnTo>
                    <a:lnTo>
                      <a:pt x="822" y="216"/>
                    </a:lnTo>
                    <a:lnTo>
                      <a:pt x="824" y="216"/>
                    </a:lnTo>
                    <a:lnTo>
                      <a:pt x="824" y="216"/>
                    </a:lnTo>
                    <a:lnTo>
                      <a:pt x="824" y="216"/>
                    </a:lnTo>
                    <a:lnTo>
                      <a:pt x="824" y="214"/>
                    </a:lnTo>
                    <a:lnTo>
                      <a:pt x="824" y="214"/>
                    </a:lnTo>
                    <a:lnTo>
                      <a:pt x="824" y="212"/>
                    </a:lnTo>
                    <a:lnTo>
                      <a:pt x="824" y="212"/>
                    </a:lnTo>
                    <a:lnTo>
                      <a:pt x="824" y="212"/>
                    </a:lnTo>
                    <a:lnTo>
                      <a:pt x="824" y="210"/>
                    </a:lnTo>
                    <a:lnTo>
                      <a:pt x="824" y="210"/>
                    </a:lnTo>
                    <a:lnTo>
                      <a:pt x="822" y="208"/>
                    </a:lnTo>
                    <a:lnTo>
                      <a:pt x="822" y="208"/>
                    </a:lnTo>
                    <a:lnTo>
                      <a:pt x="822" y="208"/>
                    </a:lnTo>
                    <a:lnTo>
                      <a:pt x="822" y="206"/>
                    </a:lnTo>
                    <a:lnTo>
                      <a:pt x="820" y="202"/>
                    </a:lnTo>
                    <a:lnTo>
                      <a:pt x="816" y="200"/>
                    </a:lnTo>
                    <a:lnTo>
                      <a:pt x="812" y="194"/>
                    </a:lnTo>
                    <a:lnTo>
                      <a:pt x="810" y="190"/>
                    </a:lnTo>
                    <a:lnTo>
                      <a:pt x="808" y="188"/>
                    </a:lnTo>
                    <a:lnTo>
                      <a:pt x="806" y="182"/>
                    </a:lnTo>
                    <a:lnTo>
                      <a:pt x="806" y="176"/>
                    </a:lnTo>
                    <a:lnTo>
                      <a:pt x="806" y="168"/>
                    </a:lnTo>
                    <a:lnTo>
                      <a:pt x="806" y="162"/>
                    </a:lnTo>
                    <a:lnTo>
                      <a:pt x="806" y="156"/>
                    </a:lnTo>
                    <a:lnTo>
                      <a:pt x="808" y="152"/>
                    </a:lnTo>
                    <a:lnTo>
                      <a:pt x="810" y="142"/>
                    </a:lnTo>
                    <a:lnTo>
                      <a:pt x="812" y="132"/>
                    </a:lnTo>
                    <a:lnTo>
                      <a:pt x="814" y="126"/>
                    </a:lnTo>
                    <a:lnTo>
                      <a:pt x="814" y="122"/>
                    </a:lnTo>
                    <a:lnTo>
                      <a:pt x="816" y="120"/>
                    </a:lnTo>
                    <a:lnTo>
                      <a:pt x="818" y="116"/>
                    </a:lnTo>
                    <a:lnTo>
                      <a:pt x="822" y="110"/>
                    </a:lnTo>
                    <a:lnTo>
                      <a:pt x="826" y="106"/>
                    </a:lnTo>
                    <a:lnTo>
                      <a:pt x="828" y="104"/>
                    </a:lnTo>
                    <a:lnTo>
                      <a:pt x="830" y="102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4" y="98"/>
                    </a:lnTo>
                    <a:lnTo>
                      <a:pt x="824" y="98"/>
                    </a:lnTo>
                    <a:lnTo>
                      <a:pt x="820" y="98"/>
                    </a:lnTo>
                    <a:lnTo>
                      <a:pt x="822" y="96"/>
                    </a:lnTo>
                    <a:lnTo>
                      <a:pt x="820" y="94"/>
                    </a:lnTo>
                    <a:lnTo>
                      <a:pt x="820" y="94"/>
                    </a:lnTo>
                    <a:lnTo>
                      <a:pt x="816" y="92"/>
                    </a:lnTo>
                    <a:lnTo>
                      <a:pt x="814" y="90"/>
                    </a:lnTo>
                    <a:lnTo>
                      <a:pt x="812" y="90"/>
                    </a:lnTo>
                    <a:lnTo>
                      <a:pt x="812" y="90"/>
                    </a:lnTo>
                    <a:lnTo>
                      <a:pt x="810" y="90"/>
                    </a:lnTo>
                    <a:lnTo>
                      <a:pt x="808" y="88"/>
                    </a:lnTo>
                    <a:lnTo>
                      <a:pt x="808" y="88"/>
                    </a:lnTo>
                    <a:lnTo>
                      <a:pt x="808" y="88"/>
                    </a:lnTo>
                    <a:lnTo>
                      <a:pt x="806" y="88"/>
                    </a:lnTo>
                    <a:lnTo>
                      <a:pt x="806" y="88"/>
                    </a:lnTo>
                    <a:lnTo>
                      <a:pt x="806" y="88"/>
                    </a:lnTo>
                    <a:lnTo>
                      <a:pt x="804" y="88"/>
                    </a:lnTo>
                    <a:lnTo>
                      <a:pt x="800" y="90"/>
                    </a:lnTo>
                    <a:lnTo>
                      <a:pt x="796" y="92"/>
                    </a:lnTo>
                    <a:lnTo>
                      <a:pt x="792" y="96"/>
                    </a:lnTo>
                    <a:lnTo>
                      <a:pt x="786" y="100"/>
                    </a:lnTo>
                    <a:lnTo>
                      <a:pt x="784" y="102"/>
                    </a:lnTo>
                    <a:lnTo>
                      <a:pt x="782" y="104"/>
                    </a:lnTo>
                    <a:lnTo>
                      <a:pt x="776" y="110"/>
                    </a:lnTo>
                    <a:lnTo>
                      <a:pt x="770" y="114"/>
                    </a:lnTo>
                    <a:lnTo>
                      <a:pt x="768" y="118"/>
                    </a:lnTo>
                    <a:lnTo>
                      <a:pt x="766" y="120"/>
                    </a:lnTo>
                    <a:lnTo>
                      <a:pt x="766" y="120"/>
                    </a:lnTo>
                    <a:lnTo>
                      <a:pt x="766" y="120"/>
                    </a:lnTo>
                    <a:lnTo>
                      <a:pt x="766" y="124"/>
                    </a:lnTo>
                    <a:lnTo>
                      <a:pt x="764" y="126"/>
                    </a:lnTo>
                    <a:lnTo>
                      <a:pt x="762" y="130"/>
                    </a:lnTo>
                    <a:lnTo>
                      <a:pt x="760" y="132"/>
                    </a:lnTo>
                    <a:lnTo>
                      <a:pt x="758" y="138"/>
                    </a:lnTo>
                    <a:lnTo>
                      <a:pt x="758" y="138"/>
                    </a:lnTo>
                    <a:lnTo>
                      <a:pt x="756" y="138"/>
                    </a:lnTo>
                    <a:lnTo>
                      <a:pt x="756" y="144"/>
                    </a:lnTo>
                    <a:lnTo>
                      <a:pt x="756" y="146"/>
                    </a:lnTo>
                    <a:lnTo>
                      <a:pt x="756" y="150"/>
                    </a:lnTo>
                    <a:lnTo>
                      <a:pt x="756" y="152"/>
                    </a:lnTo>
                    <a:lnTo>
                      <a:pt x="754" y="154"/>
                    </a:lnTo>
                    <a:lnTo>
                      <a:pt x="754" y="156"/>
                    </a:lnTo>
                    <a:lnTo>
                      <a:pt x="752" y="158"/>
                    </a:lnTo>
                    <a:lnTo>
                      <a:pt x="752" y="160"/>
                    </a:lnTo>
                    <a:lnTo>
                      <a:pt x="752" y="160"/>
                    </a:lnTo>
                    <a:lnTo>
                      <a:pt x="750" y="162"/>
                    </a:lnTo>
                    <a:lnTo>
                      <a:pt x="750" y="168"/>
                    </a:lnTo>
                    <a:lnTo>
                      <a:pt x="750" y="176"/>
                    </a:lnTo>
                    <a:lnTo>
                      <a:pt x="748" y="188"/>
                    </a:lnTo>
                    <a:lnTo>
                      <a:pt x="748" y="196"/>
                    </a:lnTo>
                    <a:lnTo>
                      <a:pt x="748" y="202"/>
                    </a:lnTo>
                    <a:lnTo>
                      <a:pt x="750" y="208"/>
                    </a:lnTo>
                    <a:lnTo>
                      <a:pt x="750" y="216"/>
                    </a:lnTo>
                    <a:lnTo>
                      <a:pt x="752" y="218"/>
                    </a:lnTo>
                    <a:lnTo>
                      <a:pt x="752" y="222"/>
                    </a:lnTo>
                    <a:lnTo>
                      <a:pt x="752" y="224"/>
                    </a:lnTo>
                    <a:lnTo>
                      <a:pt x="752" y="224"/>
                    </a:lnTo>
                    <a:lnTo>
                      <a:pt x="752" y="224"/>
                    </a:lnTo>
                    <a:lnTo>
                      <a:pt x="754" y="226"/>
                    </a:lnTo>
                    <a:lnTo>
                      <a:pt x="754" y="228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2"/>
                    </a:lnTo>
                    <a:lnTo>
                      <a:pt x="758" y="234"/>
                    </a:lnTo>
                    <a:lnTo>
                      <a:pt x="758" y="236"/>
                    </a:lnTo>
                    <a:lnTo>
                      <a:pt x="760" y="238"/>
                    </a:lnTo>
                    <a:lnTo>
                      <a:pt x="760" y="240"/>
                    </a:lnTo>
                    <a:lnTo>
                      <a:pt x="762" y="242"/>
                    </a:lnTo>
                    <a:lnTo>
                      <a:pt x="762" y="244"/>
                    </a:lnTo>
                    <a:lnTo>
                      <a:pt x="762" y="246"/>
                    </a:lnTo>
                    <a:lnTo>
                      <a:pt x="762" y="248"/>
                    </a:lnTo>
                    <a:lnTo>
                      <a:pt x="764" y="250"/>
                    </a:lnTo>
                    <a:lnTo>
                      <a:pt x="764" y="252"/>
                    </a:lnTo>
                    <a:lnTo>
                      <a:pt x="764" y="254"/>
                    </a:lnTo>
                    <a:lnTo>
                      <a:pt x="764" y="258"/>
                    </a:lnTo>
                    <a:lnTo>
                      <a:pt x="764" y="262"/>
                    </a:lnTo>
                    <a:lnTo>
                      <a:pt x="764" y="262"/>
                    </a:lnTo>
                    <a:lnTo>
                      <a:pt x="766" y="264"/>
                    </a:lnTo>
                    <a:lnTo>
                      <a:pt x="768" y="264"/>
                    </a:lnTo>
                    <a:lnTo>
                      <a:pt x="768" y="264"/>
                    </a:lnTo>
                    <a:lnTo>
                      <a:pt x="770" y="264"/>
                    </a:lnTo>
                    <a:lnTo>
                      <a:pt x="776" y="264"/>
                    </a:lnTo>
                    <a:lnTo>
                      <a:pt x="780" y="262"/>
                    </a:lnTo>
                    <a:lnTo>
                      <a:pt x="786" y="262"/>
                    </a:lnTo>
                    <a:lnTo>
                      <a:pt x="792" y="262"/>
                    </a:lnTo>
                    <a:lnTo>
                      <a:pt x="796" y="262"/>
                    </a:lnTo>
                    <a:lnTo>
                      <a:pt x="796" y="262"/>
                    </a:lnTo>
                    <a:lnTo>
                      <a:pt x="798" y="264"/>
                    </a:lnTo>
                    <a:lnTo>
                      <a:pt x="796" y="264"/>
                    </a:lnTo>
                    <a:lnTo>
                      <a:pt x="794" y="268"/>
                    </a:lnTo>
                    <a:lnTo>
                      <a:pt x="794" y="268"/>
                    </a:lnTo>
                    <a:lnTo>
                      <a:pt x="794" y="268"/>
                    </a:lnTo>
                    <a:lnTo>
                      <a:pt x="794" y="270"/>
                    </a:lnTo>
                    <a:lnTo>
                      <a:pt x="794" y="270"/>
                    </a:lnTo>
                    <a:lnTo>
                      <a:pt x="794" y="272"/>
                    </a:lnTo>
                    <a:lnTo>
                      <a:pt x="794" y="272"/>
                    </a:lnTo>
                    <a:lnTo>
                      <a:pt x="794" y="272"/>
                    </a:lnTo>
                    <a:lnTo>
                      <a:pt x="794" y="274"/>
                    </a:lnTo>
                    <a:lnTo>
                      <a:pt x="796" y="276"/>
                    </a:lnTo>
                    <a:lnTo>
                      <a:pt x="796" y="276"/>
                    </a:lnTo>
                    <a:lnTo>
                      <a:pt x="796" y="276"/>
                    </a:lnTo>
                    <a:lnTo>
                      <a:pt x="798" y="276"/>
                    </a:lnTo>
                    <a:lnTo>
                      <a:pt x="798" y="276"/>
                    </a:lnTo>
                    <a:lnTo>
                      <a:pt x="798" y="278"/>
                    </a:lnTo>
                    <a:lnTo>
                      <a:pt x="800" y="278"/>
                    </a:lnTo>
                    <a:lnTo>
                      <a:pt x="800" y="278"/>
                    </a:lnTo>
                    <a:lnTo>
                      <a:pt x="802" y="278"/>
                    </a:lnTo>
                    <a:lnTo>
                      <a:pt x="808" y="278"/>
                    </a:lnTo>
                    <a:lnTo>
                      <a:pt x="814" y="276"/>
                    </a:lnTo>
                    <a:lnTo>
                      <a:pt x="820" y="276"/>
                    </a:lnTo>
                    <a:lnTo>
                      <a:pt x="822" y="276"/>
                    </a:lnTo>
                    <a:lnTo>
                      <a:pt x="822" y="276"/>
                    </a:lnTo>
                    <a:lnTo>
                      <a:pt x="822" y="276"/>
                    </a:lnTo>
                    <a:lnTo>
                      <a:pt x="820" y="278"/>
                    </a:lnTo>
                    <a:lnTo>
                      <a:pt x="820" y="278"/>
                    </a:lnTo>
                    <a:lnTo>
                      <a:pt x="820" y="280"/>
                    </a:lnTo>
                    <a:lnTo>
                      <a:pt x="818" y="282"/>
                    </a:lnTo>
                    <a:lnTo>
                      <a:pt x="818" y="282"/>
                    </a:lnTo>
                    <a:lnTo>
                      <a:pt x="818" y="284"/>
                    </a:lnTo>
                    <a:lnTo>
                      <a:pt x="818" y="288"/>
                    </a:lnTo>
                    <a:lnTo>
                      <a:pt x="820" y="292"/>
                    </a:lnTo>
                    <a:lnTo>
                      <a:pt x="820" y="298"/>
                    </a:lnTo>
                    <a:lnTo>
                      <a:pt x="822" y="302"/>
                    </a:lnTo>
                    <a:lnTo>
                      <a:pt x="822" y="306"/>
                    </a:lnTo>
                    <a:lnTo>
                      <a:pt x="822" y="310"/>
                    </a:lnTo>
                    <a:lnTo>
                      <a:pt x="820" y="314"/>
                    </a:lnTo>
                    <a:lnTo>
                      <a:pt x="818" y="318"/>
                    </a:lnTo>
                    <a:lnTo>
                      <a:pt x="816" y="326"/>
                    </a:lnTo>
                    <a:lnTo>
                      <a:pt x="812" y="334"/>
                    </a:lnTo>
                    <a:lnTo>
                      <a:pt x="810" y="338"/>
                    </a:lnTo>
                    <a:lnTo>
                      <a:pt x="810" y="342"/>
                    </a:lnTo>
                    <a:lnTo>
                      <a:pt x="808" y="350"/>
                    </a:lnTo>
                    <a:lnTo>
                      <a:pt x="806" y="358"/>
                    </a:lnTo>
                    <a:lnTo>
                      <a:pt x="802" y="364"/>
                    </a:lnTo>
                    <a:lnTo>
                      <a:pt x="802" y="368"/>
                    </a:lnTo>
                    <a:lnTo>
                      <a:pt x="800" y="370"/>
                    </a:lnTo>
                    <a:lnTo>
                      <a:pt x="798" y="374"/>
                    </a:lnTo>
                    <a:lnTo>
                      <a:pt x="796" y="376"/>
                    </a:lnTo>
                    <a:lnTo>
                      <a:pt x="794" y="380"/>
                    </a:lnTo>
                    <a:lnTo>
                      <a:pt x="792" y="382"/>
                    </a:lnTo>
                    <a:lnTo>
                      <a:pt x="790" y="384"/>
                    </a:lnTo>
                    <a:lnTo>
                      <a:pt x="788" y="386"/>
                    </a:lnTo>
                    <a:lnTo>
                      <a:pt x="788" y="386"/>
                    </a:lnTo>
                    <a:lnTo>
                      <a:pt x="788" y="386"/>
                    </a:lnTo>
                    <a:lnTo>
                      <a:pt x="788" y="384"/>
                    </a:lnTo>
                    <a:lnTo>
                      <a:pt x="786" y="382"/>
                    </a:lnTo>
                    <a:lnTo>
                      <a:pt x="784" y="378"/>
                    </a:lnTo>
                    <a:lnTo>
                      <a:pt x="784" y="374"/>
                    </a:lnTo>
                    <a:lnTo>
                      <a:pt x="782" y="366"/>
                    </a:lnTo>
                    <a:lnTo>
                      <a:pt x="780" y="360"/>
                    </a:lnTo>
                    <a:lnTo>
                      <a:pt x="780" y="356"/>
                    </a:lnTo>
                    <a:lnTo>
                      <a:pt x="780" y="354"/>
                    </a:lnTo>
                    <a:lnTo>
                      <a:pt x="780" y="354"/>
                    </a:lnTo>
                    <a:lnTo>
                      <a:pt x="782" y="350"/>
                    </a:lnTo>
                    <a:lnTo>
                      <a:pt x="782" y="348"/>
                    </a:lnTo>
                    <a:lnTo>
                      <a:pt x="784" y="344"/>
                    </a:lnTo>
                    <a:lnTo>
                      <a:pt x="784" y="340"/>
                    </a:lnTo>
                    <a:lnTo>
                      <a:pt x="786" y="338"/>
                    </a:lnTo>
                    <a:lnTo>
                      <a:pt x="786" y="334"/>
                    </a:lnTo>
                    <a:lnTo>
                      <a:pt x="786" y="334"/>
                    </a:lnTo>
                    <a:lnTo>
                      <a:pt x="786" y="332"/>
                    </a:lnTo>
                    <a:lnTo>
                      <a:pt x="786" y="330"/>
                    </a:lnTo>
                    <a:lnTo>
                      <a:pt x="786" y="330"/>
                    </a:lnTo>
                    <a:lnTo>
                      <a:pt x="786" y="328"/>
                    </a:lnTo>
                    <a:lnTo>
                      <a:pt x="786" y="326"/>
                    </a:lnTo>
                    <a:lnTo>
                      <a:pt x="784" y="322"/>
                    </a:lnTo>
                    <a:lnTo>
                      <a:pt x="782" y="316"/>
                    </a:lnTo>
                    <a:lnTo>
                      <a:pt x="780" y="312"/>
                    </a:lnTo>
                    <a:lnTo>
                      <a:pt x="776" y="308"/>
                    </a:lnTo>
                    <a:lnTo>
                      <a:pt x="774" y="306"/>
                    </a:lnTo>
                    <a:lnTo>
                      <a:pt x="774" y="306"/>
                    </a:lnTo>
                    <a:lnTo>
                      <a:pt x="774" y="306"/>
                    </a:lnTo>
                    <a:lnTo>
                      <a:pt x="772" y="304"/>
                    </a:lnTo>
                    <a:lnTo>
                      <a:pt x="772" y="304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68" y="302"/>
                    </a:lnTo>
                    <a:lnTo>
                      <a:pt x="768" y="302"/>
                    </a:lnTo>
                    <a:lnTo>
                      <a:pt x="766" y="302"/>
                    </a:lnTo>
                    <a:lnTo>
                      <a:pt x="766" y="302"/>
                    </a:lnTo>
                    <a:lnTo>
                      <a:pt x="766" y="302"/>
                    </a:lnTo>
                    <a:lnTo>
                      <a:pt x="764" y="302"/>
                    </a:lnTo>
                    <a:lnTo>
                      <a:pt x="764" y="304"/>
                    </a:lnTo>
                    <a:lnTo>
                      <a:pt x="762" y="304"/>
                    </a:lnTo>
                    <a:lnTo>
                      <a:pt x="762" y="304"/>
                    </a:lnTo>
                    <a:lnTo>
                      <a:pt x="762" y="306"/>
                    </a:lnTo>
                    <a:lnTo>
                      <a:pt x="762" y="306"/>
                    </a:lnTo>
                    <a:lnTo>
                      <a:pt x="760" y="310"/>
                    </a:lnTo>
                    <a:lnTo>
                      <a:pt x="758" y="316"/>
                    </a:lnTo>
                    <a:lnTo>
                      <a:pt x="756" y="320"/>
                    </a:lnTo>
                    <a:lnTo>
                      <a:pt x="754" y="324"/>
                    </a:lnTo>
                    <a:lnTo>
                      <a:pt x="752" y="328"/>
                    </a:lnTo>
                    <a:lnTo>
                      <a:pt x="750" y="330"/>
                    </a:lnTo>
                    <a:lnTo>
                      <a:pt x="750" y="330"/>
                    </a:lnTo>
                    <a:lnTo>
                      <a:pt x="748" y="336"/>
                    </a:lnTo>
                    <a:lnTo>
                      <a:pt x="746" y="340"/>
                    </a:lnTo>
                    <a:lnTo>
                      <a:pt x="746" y="336"/>
                    </a:lnTo>
                    <a:lnTo>
                      <a:pt x="746" y="330"/>
                    </a:lnTo>
                    <a:lnTo>
                      <a:pt x="744" y="326"/>
                    </a:lnTo>
                    <a:lnTo>
                      <a:pt x="744" y="320"/>
                    </a:lnTo>
                    <a:lnTo>
                      <a:pt x="742" y="316"/>
                    </a:lnTo>
                    <a:lnTo>
                      <a:pt x="740" y="312"/>
                    </a:lnTo>
                    <a:lnTo>
                      <a:pt x="740" y="312"/>
                    </a:lnTo>
                    <a:lnTo>
                      <a:pt x="740" y="312"/>
                    </a:lnTo>
                    <a:lnTo>
                      <a:pt x="738" y="308"/>
                    </a:lnTo>
                    <a:lnTo>
                      <a:pt x="738" y="308"/>
                    </a:lnTo>
                    <a:lnTo>
                      <a:pt x="738" y="308"/>
                    </a:lnTo>
                    <a:lnTo>
                      <a:pt x="736" y="304"/>
                    </a:lnTo>
                    <a:lnTo>
                      <a:pt x="736" y="304"/>
                    </a:lnTo>
                    <a:lnTo>
                      <a:pt x="736" y="304"/>
                    </a:lnTo>
                    <a:lnTo>
                      <a:pt x="730" y="300"/>
                    </a:lnTo>
                    <a:lnTo>
                      <a:pt x="724" y="296"/>
                    </a:lnTo>
                    <a:lnTo>
                      <a:pt x="720" y="294"/>
                    </a:lnTo>
                    <a:lnTo>
                      <a:pt x="720" y="292"/>
                    </a:lnTo>
                    <a:lnTo>
                      <a:pt x="718" y="292"/>
                    </a:lnTo>
                    <a:lnTo>
                      <a:pt x="714" y="290"/>
                    </a:lnTo>
                    <a:lnTo>
                      <a:pt x="712" y="288"/>
                    </a:lnTo>
                    <a:lnTo>
                      <a:pt x="710" y="286"/>
                    </a:lnTo>
                    <a:lnTo>
                      <a:pt x="710" y="286"/>
                    </a:lnTo>
                    <a:lnTo>
                      <a:pt x="710" y="284"/>
                    </a:lnTo>
                    <a:lnTo>
                      <a:pt x="710" y="284"/>
                    </a:lnTo>
                    <a:lnTo>
                      <a:pt x="710" y="280"/>
                    </a:lnTo>
                    <a:lnTo>
                      <a:pt x="710" y="276"/>
                    </a:lnTo>
                    <a:lnTo>
                      <a:pt x="712" y="272"/>
                    </a:lnTo>
                    <a:lnTo>
                      <a:pt x="714" y="266"/>
                    </a:lnTo>
                    <a:lnTo>
                      <a:pt x="716" y="262"/>
                    </a:lnTo>
                    <a:lnTo>
                      <a:pt x="718" y="256"/>
                    </a:lnTo>
                    <a:lnTo>
                      <a:pt x="720" y="252"/>
                    </a:lnTo>
                    <a:lnTo>
                      <a:pt x="720" y="246"/>
                    </a:lnTo>
                    <a:lnTo>
                      <a:pt x="720" y="238"/>
                    </a:lnTo>
                    <a:lnTo>
                      <a:pt x="720" y="234"/>
                    </a:lnTo>
                    <a:lnTo>
                      <a:pt x="720" y="230"/>
                    </a:lnTo>
                    <a:lnTo>
                      <a:pt x="720" y="226"/>
                    </a:lnTo>
                    <a:lnTo>
                      <a:pt x="718" y="222"/>
                    </a:lnTo>
                    <a:lnTo>
                      <a:pt x="716" y="220"/>
                    </a:lnTo>
                    <a:lnTo>
                      <a:pt x="716" y="220"/>
                    </a:lnTo>
                    <a:lnTo>
                      <a:pt x="716" y="218"/>
                    </a:lnTo>
                    <a:lnTo>
                      <a:pt x="714" y="216"/>
                    </a:lnTo>
                    <a:lnTo>
                      <a:pt x="710" y="212"/>
                    </a:lnTo>
                    <a:lnTo>
                      <a:pt x="706" y="208"/>
                    </a:lnTo>
                    <a:lnTo>
                      <a:pt x="700" y="204"/>
                    </a:lnTo>
                    <a:lnTo>
                      <a:pt x="696" y="200"/>
                    </a:lnTo>
                    <a:lnTo>
                      <a:pt x="690" y="196"/>
                    </a:lnTo>
                    <a:lnTo>
                      <a:pt x="684" y="194"/>
                    </a:lnTo>
                    <a:lnTo>
                      <a:pt x="680" y="192"/>
                    </a:lnTo>
                    <a:lnTo>
                      <a:pt x="680" y="192"/>
                    </a:lnTo>
                    <a:lnTo>
                      <a:pt x="680" y="192"/>
                    </a:lnTo>
                    <a:lnTo>
                      <a:pt x="676" y="190"/>
                    </a:lnTo>
                    <a:lnTo>
                      <a:pt x="676" y="190"/>
                    </a:lnTo>
                    <a:lnTo>
                      <a:pt x="676" y="190"/>
                    </a:lnTo>
                    <a:lnTo>
                      <a:pt x="672" y="190"/>
                    </a:lnTo>
                    <a:lnTo>
                      <a:pt x="672" y="190"/>
                    </a:lnTo>
                    <a:lnTo>
                      <a:pt x="672" y="190"/>
                    </a:lnTo>
                    <a:lnTo>
                      <a:pt x="670" y="192"/>
                    </a:lnTo>
                    <a:lnTo>
                      <a:pt x="670" y="192"/>
                    </a:lnTo>
                    <a:lnTo>
                      <a:pt x="668" y="192"/>
                    </a:lnTo>
                    <a:lnTo>
                      <a:pt x="666" y="192"/>
                    </a:lnTo>
                    <a:lnTo>
                      <a:pt x="666" y="192"/>
                    </a:lnTo>
                    <a:lnTo>
                      <a:pt x="666" y="194"/>
                    </a:lnTo>
                    <a:lnTo>
                      <a:pt x="664" y="196"/>
                    </a:lnTo>
                    <a:lnTo>
                      <a:pt x="664" y="196"/>
                    </a:lnTo>
                    <a:lnTo>
                      <a:pt x="664" y="196"/>
                    </a:lnTo>
                    <a:lnTo>
                      <a:pt x="662" y="198"/>
                    </a:lnTo>
                    <a:lnTo>
                      <a:pt x="660" y="202"/>
                    </a:lnTo>
                    <a:lnTo>
                      <a:pt x="658" y="208"/>
                    </a:lnTo>
                    <a:lnTo>
                      <a:pt x="658" y="212"/>
                    </a:lnTo>
                    <a:lnTo>
                      <a:pt x="656" y="216"/>
                    </a:lnTo>
                    <a:lnTo>
                      <a:pt x="656" y="224"/>
                    </a:lnTo>
                    <a:lnTo>
                      <a:pt x="654" y="232"/>
                    </a:lnTo>
                    <a:lnTo>
                      <a:pt x="654" y="236"/>
                    </a:lnTo>
                    <a:lnTo>
                      <a:pt x="654" y="240"/>
                    </a:lnTo>
                    <a:lnTo>
                      <a:pt x="654" y="248"/>
                    </a:lnTo>
                    <a:lnTo>
                      <a:pt x="656" y="256"/>
                    </a:lnTo>
                    <a:lnTo>
                      <a:pt x="656" y="264"/>
                    </a:lnTo>
                    <a:lnTo>
                      <a:pt x="658" y="266"/>
                    </a:lnTo>
                    <a:lnTo>
                      <a:pt x="658" y="270"/>
                    </a:lnTo>
                    <a:lnTo>
                      <a:pt x="658" y="270"/>
                    </a:lnTo>
                    <a:lnTo>
                      <a:pt x="658" y="270"/>
                    </a:lnTo>
                    <a:lnTo>
                      <a:pt x="660" y="272"/>
                    </a:lnTo>
                    <a:lnTo>
                      <a:pt x="660" y="272"/>
                    </a:lnTo>
                    <a:lnTo>
                      <a:pt x="660" y="274"/>
                    </a:lnTo>
                    <a:lnTo>
                      <a:pt x="662" y="276"/>
                    </a:lnTo>
                    <a:lnTo>
                      <a:pt x="662" y="276"/>
                    </a:lnTo>
                    <a:lnTo>
                      <a:pt x="662" y="276"/>
                    </a:lnTo>
                    <a:lnTo>
                      <a:pt x="666" y="278"/>
                    </a:lnTo>
                    <a:lnTo>
                      <a:pt x="672" y="282"/>
                    </a:lnTo>
                    <a:lnTo>
                      <a:pt x="676" y="286"/>
                    </a:lnTo>
                    <a:lnTo>
                      <a:pt x="680" y="288"/>
                    </a:lnTo>
                    <a:lnTo>
                      <a:pt x="684" y="290"/>
                    </a:lnTo>
                    <a:lnTo>
                      <a:pt x="690" y="294"/>
                    </a:lnTo>
                    <a:lnTo>
                      <a:pt x="694" y="296"/>
                    </a:lnTo>
                    <a:lnTo>
                      <a:pt x="696" y="298"/>
                    </a:lnTo>
                    <a:lnTo>
                      <a:pt x="698" y="300"/>
                    </a:lnTo>
                    <a:lnTo>
                      <a:pt x="700" y="302"/>
                    </a:lnTo>
                    <a:lnTo>
                      <a:pt x="700" y="306"/>
                    </a:lnTo>
                    <a:lnTo>
                      <a:pt x="700" y="306"/>
                    </a:lnTo>
                    <a:lnTo>
                      <a:pt x="700" y="308"/>
                    </a:lnTo>
                    <a:lnTo>
                      <a:pt x="700" y="312"/>
                    </a:lnTo>
                    <a:lnTo>
                      <a:pt x="700" y="316"/>
                    </a:lnTo>
                    <a:lnTo>
                      <a:pt x="700" y="322"/>
                    </a:lnTo>
                    <a:lnTo>
                      <a:pt x="698" y="326"/>
                    </a:lnTo>
                    <a:lnTo>
                      <a:pt x="696" y="328"/>
                    </a:lnTo>
                    <a:lnTo>
                      <a:pt x="696" y="332"/>
                    </a:lnTo>
                    <a:lnTo>
                      <a:pt x="692" y="334"/>
                    </a:lnTo>
                    <a:lnTo>
                      <a:pt x="690" y="338"/>
                    </a:lnTo>
                    <a:lnTo>
                      <a:pt x="686" y="340"/>
                    </a:lnTo>
                    <a:lnTo>
                      <a:pt x="684" y="344"/>
                    </a:lnTo>
                    <a:lnTo>
                      <a:pt x="680" y="346"/>
                    </a:lnTo>
                    <a:lnTo>
                      <a:pt x="676" y="348"/>
                    </a:lnTo>
                    <a:lnTo>
                      <a:pt x="674" y="352"/>
                    </a:lnTo>
                    <a:lnTo>
                      <a:pt x="672" y="354"/>
                    </a:lnTo>
                    <a:lnTo>
                      <a:pt x="672" y="356"/>
                    </a:lnTo>
                    <a:lnTo>
                      <a:pt x="672" y="356"/>
                    </a:lnTo>
                    <a:lnTo>
                      <a:pt x="672" y="356"/>
                    </a:lnTo>
                    <a:lnTo>
                      <a:pt x="670" y="358"/>
                    </a:lnTo>
                    <a:lnTo>
                      <a:pt x="670" y="358"/>
                    </a:lnTo>
                    <a:lnTo>
                      <a:pt x="670" y="358"/>
                    </a:lnTo>
                    <a:lnTo>
                      <a:pt x="670" y="360"/>
                    </a:lnTo>
                    <a:lnTo>
                      <a:pt x="670" y="362"/>
                    </a:lnTo>
                    <a:lnTo>
                      <a:pt x="670" y="364"/>
                    </a:lnTo>
                    <a:lnTo>
                      <a:pt x="670" y="364"/>
                    </a:lnTo>
                    <a:lnTo>
                      <a:pt x="670" y="368"/>
                    </a:lnTo>
                    <a:lnTo>
                      <a:pt x="670" y="370"/>
                    </a:lnTo>
                    <a:lnTo>
                      <a:pt x="670" y="376"/>
                    </a:lnTo>
                    <a:lnTo>
                      <a:pt x="670" y="378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68" y="380"/>
                    </a:lnTo>
                    <a:lnTo>
                      <a:pt x="666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2" y="378"/>
                    </a:lnTo>
                    <a:lnTo>
                      <a:pt x="662" y="376"/>
                    </a:lnTo>
                    <a:lnTo>
                      <a:pt x="662" y="376"/>
                    </a:lnTo>
                    <a:lnTo>
                      <a:pt x="662" y="374"/>
                    </a:lnTo>
                    <a:lnTo>
                      <a:pt x="662" y="370"/>
                    </a:lnTo>
                    <a:lnTo>
                      <a:pt x="662" y="368"/>
                    </a:lnTo>
                    <a:lnTo>
                      <a:pt x="662" y="364"/>
                    </a:lnTo>
                    <a:lnTo>
                      <a:pt x="662" y="360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62" y="354"/>
                    </a:lnTo>
                    <a:lnTo>
                      <a:pt x="662" y="354"/>
                    </a:lnTo>
                    <a:lnTo>
                      <a:pt x="662" y="352"/>
                    </a:lnTo>
                    <a:lnTo>
                      <a:pt x="660" y="350"/>
                    </a:lnTo>
                    <a:lnTo>
                      <a:pt x="658" y="346"/>
                    </a:lnTo>
                    <a:lnTo>
                      <a:pt x="656" y="344"/>
                    </a:lnTo>
                    <a:lnTo>
                      <a:pt x="652" y="340"/>
                    </a:lnTo>
                    <a:lnTo>
                      <a:pt x="650" y="338"/>
                    </a:lnTo>
                    <a:lnTo>
                      <a:pt x="648" y="334"/>
                    </a:lnTo>
                    <a:lnTo>
                      <a:pt x="644" y="332"/>
                    </a:lnTo>
                    <a:lnTo>
                      <a:pt x="642" y="332"/>
                    </a:lnTo>
                    <a:lnTo>
                      <a:pt x="642" y="332"/>
                    </a:lnTo>
                    <a:lnTo>
                      <a:pt x="640" y="330"/>
                    </a:lnTo>
                    <a:lnTo>
                      <a:pt x="636" y="330"/>
                    </a:lnTo>
                    <a:lnTo>
                      <a:pt x="636" y="330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8"/>
                    </a:lnTo>
                    <a:lnTo>
                      <a:pt x="630" y="328"/>
                    </a:lnTo>
                    <a:lnTo>
                      <a:pt x="630" y="328"/>
                    </a:lnTo>
                    <a:lnTo>
                      <a:pt x="628" y="330"/>
                    </a:lnTo>
                    <a:lnTo>
                      <a:pt x="628" y="330"/>
                    </a:lnTo>
                    <a:lnTo>
                      <a:pt x="626" y="330"/>
                    </a:lnTo>
                    <a:lnTo>
                      <a:pt x="624" y="330"/>
                    </a:lnTo>
                    <a:lnTo>
                      <a:pt x="624" y="330"/>
                    </a:lnTo>
                    <a:lnTo>
                      <a:pt x="624" y="330"/>
                    </a:lnTo>
                    <a:lnTo>
                      <a:pt x="622" y="332"/>
                    </a:lnTo>
                    <a:lnTo>
                      <a:pt x="622" y="332"/>
                    </a:lnTo>
                    <a:lnTo>
                      <a:pt x="622" y="332"/>
                    </a:lnTo>
                    <a:lnTo>
                      <a:pt x="620" y="334"/>
                    </a:lnTo>
                    <a:lnTo>
                      <a:pt x="620" y="334"/>
                    </a:lnTo>
                    <a:lnTo>
                      <a:pt x="620" y="336"/>
                    </a:lnTo>
                    <a:lnTo>
                      <a:pt x="620" y="338"/>
                    </a:lnTo>
                    <a:lnTo>
                      <a:pt x="620" y="338"/>
                    </a:lnTo>
                    <a:lnTo>
                      <a:pt x="620" y="338"/>
                    </a:lnTo>
                    <a:lnTo>
                      <a:pt x="622" y="342"/>
                    </a:lnTo>
                    <a:lnTo>
                      <a:pt x="622" y="346"/>
                    </a:lnTo>
                    <a:lnTo>
                      <a:pt x="624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0"/>
                    </a:lnTo>
                    <a:lnTo>
                      <a:pt x="624" y="360"/>
                    </a:lnTo>
                    <a:lnTo>
                      <a:pt x="624" y="360"/>
                    </a:lnTo>
                    <a:lnTo>
                      <a:pt x="624" y="362"/>
                    </a:lnTo>
                    <a:lnTo>
                      <a:pt x="624" y="362"/>
                    </a:lnTo>
                    <a:lnTo>
                      <a:pt x="622" y="362"/>
                    </a:lnTo>
                    <a:lnTo>
                      <a:pt x="618" y="362"/>
                    </a:lnTo>
                    <a:lnTo>
                      <a:pt x="612" y="364"/>
                    </a:lnTo>
                    <a:lnTo>
                      <a:pt x="606" y="364"/>
                    </a:lnTo>
                    <a:lnTo>
                      <a:pt x="600" y="362"/>
                    </a:lnTo>
                    <a:lnTo>
                      <a:pt x="594" y="362"/>
                    </a:lnTo>
                    <a:lnTo>
                      <a:pt x="588" y="362"/>
                    </a:lnTo>
                    <a:lnTo>
                      <a:pt x="584" y="362"/>
                    </a:lnTo>
                    <a:lnTo>
                      <a:pt x="576" y="362"/>
                    </a:lnTo>
                    <a:lnTo>
                      <a:pt x="568" y="362"/>
                    </a:lnTo>
                    <a:lnTo>
                      <a:pt x="562" y="360"/>
                    </a:lnTo>
                    <a:lnTo>
                      <a:pt x="556" y="358"/>
                    </a:lnTo>
                    <a:lnTo>
                      <a:pt x="554" y="356"/>
                    </a:lnTo>
                    <a:lnTo>
                      <a:pt x="552" y="354"/>
                    </a:lnTo>
                    <a:lnTo>
                      <a:pt x="548" y="350"/>
                    </a:lnTo>
                    <a:lnTo>
                      <a:pt x="544" y="344"/>
                    </a:lnTo>
                    <a:lnTo>
                      <a:pt x="542" y="342"/>
                    </a:lnTo>
                    <a:lnTo>
                      <a:pt x="540" y="340"/>
                    </a:lnTo>
                    <a:lnTo>
                      <a:pt x="536" y="338"/>
                    </a:lnTo>
                    <a:lnTo>
                      <a:pt x="536" y="338"/>
                    </a:lnTo>
                    <a:lnTo>
                      <a:pt x="536" y="338"/>
                    </a:lnTo>
                    <a:lnTo>
                      <a:pt x="532" y="336"/>
                    </a:lnTo>
                    <a:lnTo>
                      <a:pt x="532" y="336"/>
                    </a:lnTo>
                    <a:lnTo>
                      <a:pt x="532" y="336"/>
                    </a:lnTo>
                    <a:lnTo>
                      <a:pt x="528" y="336"/>
                    </a:lnTo>
                    <a:lnTo>
                      <a:pt x="528" y="336"/>
                    </a:lnTo>
                    <a:lnTo>
                      <a:pt x="528" y="336"/>
                    </a:lnTo>
                    <a:lnTo>
                      <a:pt x="524" y="336"/>
                    </a:lnTo>
                    <a:lnTo>
                      <a:pt x="522" y="336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0" y="338"/>
                    </a:lnTo>
                    <a:lnTo>
                      <a:pt x="506" y="338"/>
                    </a:lnTo>
                    <a:lnTo>
                      <a:pt x="500" y="340"/>
                    </a:lnTo>
                    <a:lnTo>
                      <a:pt x="500" y="340"/>
                    </a:lnTo>
                    <a:lnTo>
                      <a:pt x="500" y="340"/>
                    </a:lnTo>
                    <a:lnTo>
                      <a:pt x="496" y="342"/>
                    </a:lnTo>
                    <a:lnTo>
                      <a:pt x="496" y="342"/>
                    </a:lnTo>
                    <a:lnTo>
                      <a:pt x="496" y="342"/>
                    </a:lnTo>
                    <a:lnTo>
                      <a:pt x="492" y="344"/>
                    </a:lnTo>
                    <a:lnTo>
                      <a:pt x="492" y="344"/>
                    </a:lnTo>
                    <a:lnTo>
                      <a:pt x="492" y="346"/>
                    </a:lnTo>
                    <a:lnTo>
                      <a:pt x="490" y="348"/>
                    </a:lnTo>
                    <a:lnTo>
                      <a:pt x="490" y="348"/>
                    </a:lnTo>
                    <a:lnTo>
                      <a:pt x="488" y="350"/>
                    </a:lnTo>
                    <a:lnTo>
                      <a:pt x="488" y="352"/>
                    </a:lnTo>
                    <a:lnTo>
                      <a:pt x="488" y="352"/>
                    </a:lnTo>
                    <a:lnTo>
                      <a:pt x="488" y="352"/>
                    </a:lnTo>
                    <a:lnTo>
                      <a:pt x="488" y="354"/>
                    </a:lnTo>
                    <a:lnTo>
                      <a:pt x="488" y="354"/>
                    </a:lnTo>
                    <a:lnTo>
                      <a:pt x="488" y="354"/>
                    </a:lnTo>
                    <a:lnTo>
                      <a:pt x="488" y="360"/>
                    </a:lnTo>
                    <a:lnTo>
                      <a:pt x="490" y="368"/>
                    </a:lnTo>
                    <a:lnTo>
                      <a:pt x="492" y="374"/>
                    </a:lnTo>
                    <a:lnTo>
                      <a:pt x="494" y="380"/>
                    </a:lnTo>
                    <a:lnTo>
                      <a:pt x="496" y="388"/>
                    </a:lnTo>
                    <a:lnTo>
                      <a:pt x="498" y="392"/>
                    </a:lnTo>
                    <a:lnTo>
                      <a:pt x="498" y="398"/>
                    </a:lnTo>
                    <a:lnTo>
                      <a:pt x="498" y="406"/>
                    </a:lnTo>
                    <a:lnTo>
                      <a:pt x="498" y="410"/>
                    </a:lnTo>
                    <a:lnTo>
                      <a:pt x="498" y="412"/>
                    </a:lnTo>
                    <a:lnTo>
                      <a:pt x="498" y="414"/>
                    </a:lnTo>
                    <a:lnTo>
                      <a:pt x="498" y="414"/>
                    </a:lnTo>
                    <a:lnTo>
                      <a:pt x="496" y="412"/>
                    </a:lnTo>
                    <a:lnTo>
                      <a:pt x="496" y="410"/>
                    </a:lnTo>
                    <a:lnTo>
                      <a:pt x="492" y="404"/>
                    </a:lnTo>
                    <a:lnTo>
                      <a:pt x="488" y="398"/>
                    </a:lnTo>
                    <a:lnTo>
                      <a:pt x="484" y="392"/>
                    </a:lnTo>
                    <a:lnTo>
                      <a:pt x="480" y="384"/>
                    </a:lnTo>
                    <a:lnTo>
                      <a:pt x="478" y="382"/>
                    </a:lnTo>
                    <a:lnTo>
                      <a:pt x="476" y="380"/>
                    </a:lnTo>
                    <a:lnTo>
                      <a:pt x="474" y="378"/>
                    </a:lnTo>
                    <a:lnTo>
                      <a:pt x="474" y="376"/>
                    </a:lnTo>
                    <a:lnTo>
                      <a:pt x="472" y="372"/>
                    </a:lnTo>
                    <a:lnTo>
                      <a:pt x="470" y="370"/>
                    </a:lnTo>
                    <a:lnTo>
                      <a:pt x="468" y="368"/>
                    </a:lnTo>
                    <a:lnTo>
                      <a:pt x="468" y="368"/>
                    </a:lnTo>
                    <a:lnTo>
                      <a:pt x="468" y="368"/>
                    </a:lnTo>
                    <a:lnTo>
                      <a:pt x="466" y="366"/>
                    </a:lnTo>
                    <a:lnTo>
                      <a:pt x="464" y="366"/>
                    </a:lnTo>
                    <a:lnTo>
                      <a:pt x="464" y="366"/>
                    </a:lnTo>
                    <a:lnTo>
                      <a:pt x="464" y="364"/>
                    </a:lnTo>
                    <a:lnTo>
                      <a:pt x="462" y="364"/>
                    </a:lnTo>
                    <a:lnTo>
                      <a:pt x="462" y="364"/>
                    </a:lnTo>
                    <a:lnTo>
                      <a:pt x="456" y="362"/>
                    </a:lnTo>
                    <a:lnTo>
                      <a:pt x="452" y="362"/>
                    </a:lnTo>
                    <a:lnTo>
                      <a:pt x="446" y="360"/>
                    </a:lnTo>
                    <a:lnTo>
                      <a:pt x="440" y="360"/>
                    </a:lnTo>
                    <a:lnTo>
                      <a:pt x="436" y="360"/>
                    </a:lnTo>
                    <a:lnTo>
                      <a:pt x="432" y="362"/>
                    </a:lnTo>
                    <a:lnTo>
                      <a:pt x="424" y="364"/>
                    </a:lnTo>
                    <a:lnTo>
                      <a:pt x="420" y="364"/>
                    </a:lnTo>
                    <a:lnTo>
                      <a:pt x="418" y="366"/>
                    </a:lnTo>
                    <a:lnTo>
                      <a:pt x="414" y="366"/>
                    </a:lnTo>
                    <a:lnTo>
                      <a:pt x="414" y="366"/>
                    </a:lnTo>
                    <a:lnTo>
                      <a:pt x="410" y="366"/>
                    </a:lnTo>
                    <a:lnTo>
                      <a:pt x="406" y="366"/>
                    </a:lnTo>
                    <a:lnTo>
                      <a:pt x="400" y="366"/>
                    </a:lnTo>
                    <a:lnTo>
                      <a:pt x="394" y="364"/>
                    </a:lnTo>
                    <a:lnTo>
                      <a:pt x="390" y="362"/>
                    </a:lnTo>
                    <a:lnTo>
                      <a:pt x="384" y="362"/>
                    </a:lnTo>
                    <a:lnTo>
                      <a:pt x="380" y="360"/>
                    </a:lnTo>
                    <a:lnTo>
                      <a:pt x="378" y="360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6"/>
                    </a:lnTo>
                    <a:lnTo>
                      <a:pt x="378" y="354"/>
                    </a:lnTo>
                    <a:lnTo>
                      <a:pt x="378" y="354"/>
                    </a:lnTo>
                    <a:lnTo>
                      <a:pt x="380" y="352"/>
                    </a:lnTo>
                    <a:lnTo>
                      <a:pt x="382" y="348"/>
                    </a:lnTo>
                    <a:lnTo>
                      <a:pt x="386" y="346"/>
                    </a:lnTo>
                    <a:lnTo>
                      <a:pt x="388" y="344"/>
                    </a:lnTo>
                    <a:lnTo>
                      <a:pt x="390" y="342"/>
                    </a:lnTo>
                    <a:lnTo>
                      <a:pt x="394" y="340"/>
                    </a:lnTo>
                    <a:lnTo>
                      <a:pt x="396" y="338"/>
                    </a:lnTo>
                    <a:lnTo>
                      <a:pt x="400" y="338"/>
                    </a:lnTo>
                    <a:lnTo>
                      <a:pt x="402" y="336"/>
                    </a:lnTo>
                    <a:lnTo>
                      <a:pt x="402" y="338"/>
                    </a:lnTo>
                    <a:lnTo>
                      <a:pt x="402" y="338"/>
                    </a:lnTo>
                    <a:lnTo>
                      <a:pt x="400" y="338"/>
                    </a:lnTo>
                    <a:lnTo>
                      <a:pt x="398" y="340"/>
                    </a:lnTo>
                    <a:lnTo>
                      <a:pt x="394" y="342"/>
                    </a:lnTo>
                    <a:lnTo>
                      <a:pt x="394" y="342"/>
                    </a:lnTo>
                    <a:lnTo>
                      <a:pt x="394" y="344"/>
                    </a:lnTo>
                    <a:lnTo>
                      <a:pt x="394" y="346"/>
                    </a:lnTo>
                    <a:lnTo>
                      <a:pt x="394" y="346"/>
                    </a:lnTo>
                    <a:lnTo>
                      <a:pt x="394" y="348"/>
                    </a:lnTo>
                    <a:lnTo>
                      <a:pt x="396" y="348"/>
                    </a:lnTo>
                    <a:lnTo>
                      <a:pt x="396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400" y="348"/>
                    </a:lnTo>
                    <a:lnTo>
                      <a:pt x="402" y="348"/>
                    </a:lnTo>
                    <a:lnTo>
                      <a:pt x="404" y="350"/>
                    </a:lnTo>
                    <a:lnTo>
                      <a:pt x="406" y="352"/>
                    </a:lnTo>
                    <a:lnTo>
                      <a:pt x="408" y="354"/>
                    </a:lnTo>
                    <a:lnTo>
                      <a:pt x="410" y="354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4" y="356"/>
                    </a:lnTo>
                    <a:lnTo>
                      <a:pt x="414" y="356"/>
                    </a:lnTo>
                    <a:lnTo>
                      <a:pt x="414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8" y="354"/>
                    </a:lnTo>
                    <a:lnTo>
                      <a:pt x="418" y="352"/>
                    </a:lnTo>
                    <a:lnTo>
                      <a:pt x="420" y="352"/>
                    </a:lnTo>
                    <a:lnTo>
                      <a:pt x="420" y="352"/>
                    </a:lnTo>
                    <a:lnTo>
                      <a:pt x="420" y="352"/>
                    </a:lnTo>
                    <a:lnTo>
                      <a:pt x="420" y="348"/>
                    </a:lnTo>
                    <a:lnTo>
                      <a:pt x="420" y="348"/>
                    </a:lnTo>
                    <a:lnTo>
                      <a:pt x="420" y="348"/>
                    </a:lnTo>
                    <a:lnTo>
                      <a:pt x="418" y="346"/>
                    </a:lnTo>
                    <a:lnTo>
                      <a:pt x="418" y="346"/>
                    </a:lnTo>
                    <a:lnTo>
                      <a:pt x="420" y="344"/>
                    </a:lnTo>
                    <a:lnTo>
                      <a:pt x="420" y="346"/>
                    </a:lnTo>
                    <a:lnTo>
                      <a:pt x="424" y="348"/>
                    </a:lnTo>
                    <a:lnTo>
                      <a:pt x="424" y="348"/>
                    </a:lnTo>
                    <a:lnTo>
                      <a:pt x="424" y="348"/>
                    </a:lnTo>
                    <a:lnTo>
                      <a:pt x="428" y="348"/>
                    </a:lnTo>
                    <a:lnTo>
                      <a:pt x="430" y="348"/>
                    </a:lnTo>
                    <a:lnTo>
                      <a:pt x="434" y="348"/>
                    </a:lnTo>
                    <a:lnTo>
                      <a:pt x="436" y="348"/>
                    </a:lnTo>
                    <a:lnTo>
                      <a:pt x="436" y="348"/>
                    </a:lnTo>
                    <a:lnTo>
                      <a:pt x="438" y="348"/>
                    </a:lnTo>
                    <a:lnTo>
                      <a:pt x="438" y="346"/>
                    </a:lnTo>
                    <a:lnTo>
                      <a:pt x="440" y="346"/>
                    </a:lnTo>
                    <a:lnTo>
                      <a:pt x="442" y="344"/>
                    </a:lnTo>
                    <a:lnTo>
                      <a:pt x="442" y="344"/>
                    </a:lnTo>
                    <a:lnTo>
                      <a:pt x="442" y="344"/>
                    </a:lnTo>
                    <a:lnTo>
                      <a:pt x="444" y="344"/>
                    </a:lnTo>
                    <a:lnTo>
                      <a:pt x="444" y="342"/>
                    </a:lnTo>
                    <a:lnTo>
                      <a:pt x="444" y="342"/>
                    </a:lnTo>
                    <a:lnTo>
                      <a:pt x="446" y="342"/>
                    </a:lnTo>
                    <a:lnTo>
                      <a:pt x="444" y="342"/>
                    </a:lnTo>
                    <a:lnTo>
                      <a:pt x="446" y="342"/>
                    </a:lnTo>
                    <a:lnTo>
                      <a:pt x="448" y="340"/>
                    </a:lnTo>
                    <a:lnTo>
                      <a:pt x="450" y="340"/>
                    </a:lnTo>
                    <a:lnTo>
                      <a:pt x="452" y="340"/>
                    </a:lnTo>
                    <a:lnTo>
                      <a:pt x="454" y="340"/>
                    </a:lnTo>
                    <a:lnTo>
                      <a:pt x="456" y="340"/>
                    </a:lnTo>
                    <a:lnTo>
                      <a:pt x="456" y="340"/>
                    </a:lnTo>
                    <a:lnTo>
                      <a:pt x="456" y="338"/>
                    </a:lnTo>
                    <a:lnTo>
                      <a:pt x="458" y="338"/>
                    </a:lnTo>
                    <a:lnTo>
                      <a:pt x="460" y="338"/>
                    </a:lnTo>
                    <a:lnTo>
                      <a:pt x="460" y="338"/>
                    </a:lnTo>
                    <a:lnTo>
                      <a:pt x="468" y="336"/>
                    </a:lnTo>
                    <a:lnTo>
                      <a:pt x="470" y="334"/>
                    </a:lnTo>
                    <a:lnTo>
                      <a:pt x="474" y="334"/>
                    </a:lnTo>
                    <a:lnTo>
                      <a:pt x="474" y="334"/>
                    </a:lnTo>
                    <a:lnTo>
                      <a:pt x="476" y="332"/>
                    </a:lnTo>
                    <a:lnTo>
                      <a:pt x="478" y="328"/>
                    </a:lnTo>
                    <a:lnTo>
                      <a:pt x="482" y="326"/>
                    </a:lnTo>
                    <a:lnTo>
                      <a:pt x="484" y="324"/>
                    </a:lnTo>
                    <a:lnTo>
                      <a:pt x="484" y="324"/>
                    </a:lnTo>
                    <a:lnTo>
                      <a:pt x="486" y="322"/>
                    </a:lnTo>
                    <a:lnTo>
                      <a:pt x="488" y="322"/>
                    </a:lnTo>
                    <a:lnTo>
                      <a:pt x="490" y="322"/>
                    </a:lnTo>
                    <a:lnTo>
                      <a:pt x="496" y="322"/>
                    </a:lnTo>
                    <a:lnTo>
                      <a:pt x="498" y="320"/>
                    </a:lnTo>
                    <a:lnTo>
                      <a:pt x="500" y="320"/>
                    </a:lnTo>
                    <a:lnTo>
                      <a:pt x="500" y="320"/>
                    </a:lnTo>
                    <a:lnTo>
                      <a:pt x="504" y="320"/>
                    </a:lnTo>
                    <a:lnTo>
                      <a:pt x="504" y="318"/>
                    </a:lnTo>
                    <a:lnTo>
                      <a:pt x="506" y="316"/>
                    </a:lnTo>
                    <a:lnTo>
                      <a:pt x="506" y="316"/>
                    </a:lnTo>
                    <a:lnTo>
                      <a:pt x="506" y="314"/>
                    </a:lnTo>
                    <a:lnTo>
                      <a:pt x="506" y="312"/>
                    </a:lnTo>
                    <a:lnTo>
                      <a:pt x="506" y="312"/>
                    </a:lnTo>
                    <a:lnTo>
                      <a:pt x="506" y="310"/>
                    </a:lnTo>
                    <a:lnTo>
                      <a:pt x="506" y="308"/>
                    </a:lnTo>
                    <a:lnTo>
                      <a:pt x="506" y="306"/>
                    </a:lnTo>
                    <a:lnTo>
                      <a:pt x="506" y="304"/>
                    </a:lnTo>
                    <a:lnTo>
                      <a:pt x="506" y="304"/>
                    </a:lnTo>
                    <a:lnTo>
                      <a:pt x="508" y="304"/>
                    </a:lnTo>
                    <a:lnTo>
                      <a:pt x="508" y="304"/>
                    </a:lnTo>
                    <a:lnTo>
                      <a:pt x="510" y="304"/>
                    </a:lnTo>
                    <a:lnTo>
                      <a:pt x="512" y="304"/>
                    </a:lnTo>
                    <a:lnTo>
                      <a:pt x="514" y="306"/>
                    </a:lnTo>
                    <a:lnTo>
                      <a:pt x="516" y="306"/>
                    </a:lnTo>
                    <a:lnTo>
                      <a:pt x="520" y="310"/>
                    </a:lnTo>
                    <a:lnTo>
                      <a:pt x="524" y="314"/>
                    </a:lnTo>
                    <a:lnTo>
                      <a:pt x="524" y="314"/>
                    </a:lnTo>
                    <a:lnTo>
                      <a:pt x="524" y="314"/>
                    </a:lnTo>
                    <a:lnTo>
                      <a:pt x="526" y="316"/>
                    </a:lnTo>
                    <a:lnTo>
                      <a:pt x="526" y="316"/>
                    </a:lnTo>
                    <a:lnTo>
                      <a:pt x="526" y="316"/>
                    </a:lnTo>
                    <a:lnTo>
                      <a:pt x="530" y="316"/>
                    </a:lnTo>
                    <a:lnTo>
                      <a:pt x="532" y="318"/>
                    </a:lnTo>
                    <a:lnTo>
                      <a:pt x="532" y="318"/>
                    </a:lnTo>
                    <a:lnTo>
                      <a:pt x="532" y="318"/>
                    </a:lnTo>
                    <a:lnTo>
                      <a:pt x="536" y="320"/>
                    </a:lnTo>
                    <a:lnTo>
                      <a:pt x="536" y="320"/>
                    </a:lnTo>
                    <a:lnTo>
                      <a:pt x="536" y="320"/>
                    </a:lnTo>
                    <a:lnTo>
                      <a:pt x="540" y="320"/>
                    </a:lnTo>
                    <a:lnTo>
                      <a:pt x="544" y="322"/>
                    </a:lnTo>
                    <a:lnTo>
                      <a:pt x="544" y="322"/>
                    </a:lnTo>
                    <a:lnTo>
                      <a:pt x="554" y="322"/>
                    </a:lnTo>
                    <a:lnTo>
                      <a:pt x="562" y="322"/>
                    </a:lnTo>
                    <a:lnTo>
                      <a:pt x="570" y="322"/>
                    </a:lnTo>
                    <a:lnTo>
                      <a:pt x="574" y="322"/>
                    </a:lnTo>
                    <a:lnTo>
                      <a:pt x="578" y="320"/>
                    </a:lnTo>
                    <a:lnTo>
                      <a:pt x="578" y="320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2" y="318"/>
                    </a:lnTo>
                    <a:lnTo>
                      <a:pt x="582" y="318"/>
                    </a:lnTo>
                    <a:lnTo>
                      <a:pt x="582" y="318"/>
                    </a:lnTo>
                    <a:lnTo>
                      <a:pt x="582" y="316"/>
                    </a:lnTo>
                    <a:lnTo>
                      <a:pt x="582" y="314"/>
                    </a:lnTo>
                    <a:lnTo>
                      <a:pt x="582" y="312"/>
                    </a:lnTo>
                    <a:lnTo>
                      <a:pt x="584" y="312"/>
                    </a:lnTo>
                    <a:lnTo>
                      <a:pt x="584" y="312"/>
                    </a:lnTo>
                    <a:lnTo>
                      <a:pt x="586" y="312"/>
                    </a:lnTo>
                    <a:lnTo>
                      <a:pt x="588" y="310"/>
                    </a:lnTo>
                    <a:lnTo>
                      <a:pt x="588" y="310"/>
                    </a:lnTo>
                    <a:lnTo>
                      <a:pt x="588" y="310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92" y="306"/>
                    </a:lnTo>
                    <a:lnTo>
                      <a:pt x="592" y="306"/>
                    </a:lnTo>
                    <a:lnTo>
                      <a:pt x="592" y="306"/>
                    </a:lnTo>
                    <a:lnTo>
                      <a:pt x="592" y="304"/>
                    </a:lnTo>
                    <a:lnTo>
                      <a:pt x="592" y="304"/>
                    </a:lnTo>
                    <a:lnTo>
                      <a:pt x="592" y="304"/>
                    </a:lnTo>
                    <a:lnTo>
                      <a:pt x="594" y="300"/>
                    </a:lnTo>
                    <a:lnTo>
                      <a:pt x="594" y="298"/>
                    </a:lnTo>
                    <a:lnTo>
                      <a:pt x="596" y="296"/>
                    </a:lnTo>
                    <a:lnTo>
                      <a:pt x="596" y="296"/>
                    </a:lnTo>
                    <a:lnTo>
                      <a:pt x="596" y="296"/>
                    </a:lnTo>
                    <a:lnTo>
                      <a:pt x="596" y="288"/>
                    </a:lnTo>
                    <a:lnTo>
                      <a:pt x="598" y="284"/>
                    </a:lnTo>
                    <a:lnTo>
                      <a:pt x="600" y="278"/>
                    </a:lnTo>
                    <a:lnTo>
                      <a:pt x="602" y="274"/>
                    </a:lnTo>
                    <a:lnTo>
                      <a:pt x="602" y="274"/>
                    </a:lnTo>
                    <a:lnTo>
                      <a:pt x="602" y="274"/>
                    </a:lnTo>
                    <a:lnTo>
                      <a:pt x="602" y="272"/>
                    </a:lnTo>
                    <a:lnTo>
                      <a:pt x="602" y="272"/>
                    </a:lnTo>
                    <a:lnTo>
                      <a:pt x="602" y="272"/>
                    </a:lnTo>
                    <a:lnTo>
                      <a:pt x="600" y="270"/>
                    </a:lnTo>
                    <a:lnTo>
                      <a:pt x="600" y="270"/>
                    </a:lnTo>
                    <a:lnTo>
                      <a:pt x="600" y="268"/>
                    </a:lnTo>
                    <a:lnTo>
                      <a:pt x="600" y="268"/>
                    </a:lnTo>
                    <a:lnTo>
                      <a:pt x="600" y="268"/>
                    </a:lnTo>
                    <a:lnTo>
                      <a:pt x="598" y="266"/>
                    </a:lnTo>
                    <a:lnTo>
                      <a:pt x="598" y="264"/>
                    </a:lnTo>
                    <a:lnTo>
                      <a:pt x="598" y="264"/>
                    </a:lnTo>
                    <a:lnTo>
                      <a:pt x="598" y="264"/>
                    </a:lnTo>
                    <a:lnTo>
                      <a:pt x="594" y="264"/>
                    </a:lnTo>
                    <a:lnTo>
                      <a:pt x="594" y="264"/>
                    </a:lnTo>
                    <a:lnTo>
                      <a:pt x="594" y="262"/>
                    </a:lnTo>
                    <a:lnTo>
                      <a:pt x="592" y="262"/>
                    </a:lnTo>
                    <a:lnTo>
                      <a:pt x="588" y="260"/>
                    </a:lnTo>
                    <a:lnTo>
                      <a:pt x="584" y="258"/>
                    </a:lnTo>
                    <a:lnTo>
                      <a:pt x="580" y="256"/>
                    </a:lnTo>
                    <a:lnTo>
                      <a:pt x="576" y="252"/>
                    </a:lnTo>
                    <a:lnTo>
                      <a:pt x="570" y="246"/>
                    </a:lnTo>
                    <a:lnTo>
                      <a:pt x="566" y="244"/>
                    </a:lnTo>
                    <a:lnTo>
                      <a:pt x="562" y="240"/>
                    </a:lnTo>
                    <a:lnTo>
                      <a:pt x="562" y="240"/>
                    </a:lnTo>
                    <a:lnTo>
                      <a:pt x="562" y="240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4" y="236"/>
                    </a:lnTo>
                    <a:lnTo>
                      <a:pt x="550" y="236"/>
                    </a:lnTo>
                    <a:lnTo>
                      <a:pt x="548" y="234"/>
                    </a:lnTo>
                    <a:lnTo>
                      <a:pt x="544" y="230"/>
                    </a:lnTo>
                    <a:lnTo>
                      <a:pt x="540" y="226"/>
                    </a:lnTo>
                    <a:lnTo>
                      <a:pt x="538" y="220"/>
                    </a:lnTo>
                    <a:lnTo>
                      <a:pt x="538" y="216"/>
                    </a:lnTo>
                    <a:lnTo>
                      <a:pt x="538" y="208"/>
                    </a:lnTo>
                    <a:lnTo>
                      <a:pt x="538" y="202"/>
                    </a:lnTo>
                    <a:lnTo>
                      <a:pt x="538" y="194"/>
                    </a:lnTo>
                    <a:lnTo>
                      <a:pt x="538" y="186"/>
                    </a:lnTo>
                    <a:lnTo>
                      <a:pt x="538" y="178"/>
                    </a:lnTo>
                    <a:lnTo>
                      <a:pt x="538" y="178"/>
                    </a:lnTo>
                    <a:lnTo>
                      <a:pt x="536" y="178"/>
                    </a:lnTo>
                    <a:lnTo>
                      <a:pt x="534" y="172"/>
                    </a:lnTo>
                    <a:lnTo>
                      <a:pt x="534" y="172"/>
                    </a:lnTo>
                    <a:lnTo>
                      <a:pt x="534" y="172"/>
                    </a:lnTo>
                    <a:lnTo>
                      <a:pt x="532" y="168"/>
                    </a:lnTo>
                    <a:lnTo>
                      <a:pt x="532" y="166"/>
                    </a:lnTo>
                    <a:lnTo>
                      <a:pt x="532" y="162"/>
                    </a:lnTo>
                    <a:lnTo>
                      <a:pt x="532" y="154"/>
                    </a:lnTo>
                    <a:lnTo>
                      <a:pt x="532" y="148"/>
                    </a:lnTo>
                    <a:lnTo>
                      <a:pt x="534" y="140"/>
                    </a:lnTo>
                    <a:lnTo>
                      <a:pt x="536" y="132"/>
                    </a:lnTo>
                    <a:lnTo>
                      <a:pt x="536" y="126"/>
                    </a:lnTo>
                    <a:lnTo>
                      <a:pt x="540" y="118"/>
                    </a:lnTo>
                    <a:lnTo>
                      <a:pt x="542" y="114"/>
                    </a:lnTo>
                    <a:lnTo>
                      <a:pt x="542" y="114"/>
                    </a:lnTo>
                    <a:lnTo>
                      <a:pt x="542" y="110"/>
                    </a:lnTo>
                    <a:lnTo>
                      <a:pt x="540" y="108"/>
                    </a:lnTo>
                    <a:lnTo>
                      <a:pt x="538" y="106"/>
                    </a:lnTo>
                    <a:lnTo>
                      <a:pt x="538" y="106"/>
                    </a:lnTo>
                    <a:lnTo>
                      <a:pt x="538" y="106"/>
                    </a:lnTo>
                    <a:lnTo>
                      <a:pt x="534" y="104"/>
                    </a:lnTo>
                    <a:lnTo>
                      <a:pt x="534" y="104"/>
                    </a:lnTo>
                    <a:lnTo>
                      <a:pt x="534" y="104"/>
                    </a:lnTo>
                    <a:lnTo>
                      <a:pt x="530" y="104"/>
                    </a:lnTo>
                    <a:lnTo>
                      <a:pt x="530" y="104"/>
                    </a:lnTo>
                    <a:lnTo>
                      <a:pt x="528" y="104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0" y="104"/>
                    </a:lnTo>
                    <a:lnTo>
                      <a:pt x="516" y="104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504" y="108"/>
                    </a:lnTo>
                    <a:lnTo>
                      <a:pt x="504" y="108"/>
                    </a:lnTo>
                    <a:lnTo>
                      <a:pt x="502" y="108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0" y="112"/>
                    </a:lnTo>
                    <a:lnTo>
                      <a:pt x="500" y="114"/>
                    </a:lnTo>
                    <a:lnTo>
                      <a:pt x="500" y="114"/>
                    </a:lnTo>
                    <a:lnTo>
                      <a:pt x="500" y="114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496" y="114"/>
                    </a:lnTo>
                    <a:lnTo>
                      <a:pt x="496" y="114"/>
                    </a:lnTo>
                    <a:lnTo>
                      <a:pt x="496" y="114"/>
                    </a:lnTo>
                    <a:lnTo>
                      <a:pt x="494" y="112"/>
                    </a:lnTo>
                    <a:lnTo>
                      <a:pt x="494" y="112"/>
                    </a:lnTo>
                    <a:lnTo>
                      <a:pt x="494" y="112"/>
                    </a:lnTo>
                    <a:lnTo>
                      <a:pt x="492" y="110"/>
                    </a:lnTo>
                    <a:lnTo>
                      <a:pt x="492" y="110"/>
                    </a:lnTo>
                    <a:lnTo>
                      <a:pt x="488" y="110"/>
                    </a:lnTo>
                    <a:lnTo>
                      <a:pt x="488" y="110"/>
                    </a:lnTo>
                    <a:lnTo>
                      <a:pt x="486" y="110"/>
                    </a:lnTo>
                    <a:lnTo>
                      <a:pt x="486" y="114"/>
                    </a:lnTo>
                    <a:lnTo>
                      <a:pt x="486" y="114"/>
                    </a:lnTo>
                    <a:lnTo>
                      <a:pt x="486" y="114"/>
                    </a:lnTo>
                    <a:lnTo>
                      <a:pt x="484" y="118"/>
                    </a:lnTo>
                    <a:lnTo>
                      <a:pt x="482" y="124"/>
                    </a:lnTo>
                    <a:lnTo>
                      <a:pt x="482" y="128"/>
                    </a:lnTo>
                    <a:lnTo>
                      <a:pt x="482" y="140"/>
                    </a:lnTo>
                    <a:lnTo>
                      <a:pt x="484" y="150"/>
                    </a:lnTo>
                    <a:lnTo>
                      <a:pt x="486" y="162"/>
                    </a:lnTo>
                    <a:lnTo>
                      <a:pt x="486" y="168"/>
                    </a:lnTo>
                    <a:lnTo>
                      <a:pt x="488" y="174"/>
                    </a:lnTo>
                    <a:lnTo>
                      <a:pt x="490" y="178"/>
                    </a:lnTo>
                    <a:lnTo>
                      <a:pt x="492" y="182"/>
                    </a:lnTo>
                    <a:lnTo>
                      <a:pt x="494" y="186"/>
                    </a:lnTo>
                    <a:lnTo>
                      <a:pt x="496" y="190"/>
                    </a:lnTo>
                    <a:lnTo>
                      <a:pt x="496" y="190"/>
                    </a:lnTo>
                    <a:lnTo>
                      <a:pt x="496" y="190"/>
                    </a:lnTo>
                    <a:lnTo>
                      <a:pt x="496" y="192"/>
                    </a:lnTo>
                    <a:lnTo>
                      <a:pt x="494" y="192"/>
                    </a:lnTo>
                    <a:lnTo>
                      <a:pt x="494" y="194"/>
                    </a:lnTo>
                    <a:lnTo>
                      <a:pt x="492" y="194"/>
                    </a:lnTo>
                    <a:lnTo>
                      <a:pt x="492" y="194"/>
                    </a:lnTo>
                    <a:lnTo>
                      <a:pt x="492" y="194"/>
                    </a:lnTo>
                    <a:lnTo>
                      <a:pt x="490" y="196"/>
                    </a:lnTo>
                    <a:lnTo>
                      <a:pt x="490" y="196"/>
                    </a:lnTo>
                    <a:lnTo>
                      <a:pt x="490" y="196"/>
                    </a:lnTo>
                    <a:lnTo>
                      <a:pt x="490" y="194"/>
                    </a:lnTo>
                    <a:lnTo>
                      <a:pt x="490" y="194"/>
                    </a:lnTo>
                    <a:lnTo>
                      <a:pt x="490" y="194"/>
                    </a:lnTo>
                    <a:lnTo>
                      <a:pt x="488" y="192"/>
                    </a:lnTo>
                    <a:lnTo>
                      <a:pt x="488" y="186"/>
                    </a:lnTo>
                    <a:lnTo>
                      <a:pt x="486" y="178"/>
                    </a:lnTo>
                    <a:lnTo>
                      <a:pt x="484" y="172"/>
                    </a:lnTo>
                    <a:lnTo>
                      <a:pt x="482" y="164"/>
                    </a:lnTo>
                    <a:lnTo>
                      <a:pt x="478" y="156"/>
                    </a:lnTo>
                    <a:lnTo>
                      <a:pt x="474" y="150"/>
                    </a:lnTo>
                    <a:lnTo>
                      <a:pt x="470" y="144"/>
                    </a:lnTo>
                    <a:lnTo>
                      <a:pt x="464" y="138"/>
                    </a:lnTo>
                    <a:lnTo>
                      <a:pt x="464" y="138"/>
                    </a:lnTo>
                    <a:lnTo>
                      <a:pt x="462" y="138"/>
                    </a:lnTo>
                    <a:lnTo>
                      <a:pt x="462" y="138"/>
                    </a:lnTo>
                    <a:lnTo>
                      <a:pt x="460" y="140"/>
                    </a:lnTo>
                    <a:lnTo>
                      <a:pt x="458" y="142"/>
                    </a:lnTo>
                    <a:lnTo>
                      <a:pt x="458" y="142"/>
                    </a:lnTo>
                    <a:lnTo>
                      <a:pt x="458" y="142"/>
                    </a:lnTo>
                    <a:lnTo>
                      <a:pt x="456" y="146"/>
                    </a:lnTo>
                    <a:lnTo>
                      <a:pt x="456" y="156"/>
                    </a:lnTo>
                    <a:lnTo>
                      <a:pt x="454" y="160"/>
                    </a:lnTo>
                    <a:lnTo>
                      <a:pt x="454" y="162"/>
                    </a:lnTo>
                    <a:lnTo>
                      <a:pt x="452" y="164"/>
                    </a:lnTo>
                    <a:lnTo>
                      <a:pt x="452" y="164"/>
                    </a:lnTo>
                    <a:lnTo>
                      <a:pt x="450" y="164"/>
                    </a:lnTo>
                    <a:lnTo>
                      <a:pt x="448" y="166"/>
                    </a:lnTo>
                    <a:lnTo>
                      <a:pt x="448" y="166"/>
                    </a:lnTo>
                    <a:lnTo>
                      <a:pt x="446" y="166"/>
                    </a:lnTo>
                    <a:lnTo>
                      <a:pt x="440" y="168"/>
                    </a:lnTo>
                    <a:lnTo>
                      <a:pt x="436" y="168"/>
                    </a:lnTo>
                    <a:lnTo>
                      <a:pt x="432" y="166"/>
                    </a:lnTo>
                    <a:lnTo>
                      <a:pt x="432" y="166"/>
                    </a:lnTo>
                    <a:lnTo>
                      <a:pt x="432" y="162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4" y="156"/>
                    </a:lnTo>
                    <a:lnTo>
                      <a:pt x="434" y="154"/>
                    </a:lnTo>
                    <a:lnTo>
                      <a:pt x="434" y="152"/>
                    </a:lnTo>
                    <a:lnTo>
                      <a:pt x="432" y="148"/>
                    </a:lnTo>
                    <a:lnTo>
                      <a:pt x="432" y="148"/>
                    </a:lnTo>
                    <a:lnTo>
                      <a:pt x="432" y="148"/>
                    </a:lnTo>
                    <a:lnTo>
                      <a:pt x="430" y="144"/>
                    </a:lnTo>
                    <a:lnTo>
                      <a:pt x="430" y="144"/>
                    </a:lnTo>
                    <a:lnTo>
                      <a:pt x="428" y="144"/>
                    </a:lnTo>
                    <a:lnTo>
                      <a:pt x="426" y="142"/>
                    </a:lnTo>
                    <a:lnTo>
                      <a:pt x="426" y="142"/>
                    </a:lnTo>
                    <a:lnTo>
                      <a:pt x="424" y="142"/>
                    </a:lnTo>
                    <a:lnTo>
                      <a:pt x="422" y="140"/>
                    </a:lnTo>
                    <a:lnTo>
                      <a:pt x="420" y="138"/>
                    </a:lnTo>
                    <a:lnTo>
                      <a:pt x="420" y="138"/>
                    </a:lnTo>
                    <a:lnTo>
                      <a:pt x="418" y="138"/>
                    </a:lnTo>
                    <a:lnTo>
                      <a:pt x="414" y="138"/>
                    </a:lnTo>
                    <a:lnTo>
                      <a:pt x="412" y="138"/>
                    </a:lnTo>
                    <a:lnTo>
                      <a:pt x="412" y="138"/>
                    </a:lnTo>
                    <a:lnTo>
                      <a:pt x="410" y="138"/>
                    </a:lnTo>
                    <a:lnTo>
                      <a:pt x="408" y="140"/>
                    </a:lnTo>
                    <a:lnTo>
                      <a:pt x="408" y="140"/>
                    </a:lnTo>
                    <a:lnTo>
                      <a:pt x="406" y="140"/>
                    </a:lnTo>
                    <a:lnTo>
                      <a:pt x="404" y="140"/>
                    </a:lnTo>
                    <a:lnTo>
                      <a:pt x="404" y="140"/>
                    </a:lnTo>
                    <a:lnTo>
                      <a:pt x="404" y="142"/>
                    </a:lnTo>
                    <a:lnTo>
                      <a:pt x="404" y="142"/>
                    </a:lnTo>
                    <a:lnTo>
                      <a:pt x="400" y="146"/>
                    </a:lnTo>
                    <a:lnTo>
                      <a:pt x="400" y="150"/>
                    </a:lnTo>
                    <a:lnTo>
                      <a:pt x="398" y="152"/>
                    </a:lnTo>
                    <a:lnTo>
                      <a:pt x="398" y="152"/>
                    </a:lnTo>
                    <a:lnTo>
                      <a:pt x="398" y="152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6"/>
                    </a:lnTo>
                    <a:lnTo>
                      <a:pt x="398" y="156"/>
                    </a:lnTo>
                    <a:lnTo>
                      <a:pt x="398" y="156"/>
                    </a:lnTo>
                    <a:lnTo>
                      <a:pt x="396" y="154"/>
                    </a:lnTo>
                    <a:lnTo>
                      <a:pt x="396" y="154"/>
                    </a:lnTo>
                    <a:lnTo>
                      <a:pt x="394" y="154"/>
                    </a:lnTo>
                    <a:lnTo>
                      <a:pt x="394" y="152"/>
                    </a:lnTo>
                    <a:lnTo>
                      <a:pt x="394" y="150"/>
                    </a:lnTo>
                    <a:lnTo>
                      <a:pt x="394" y="146"/>
                    </a:lnTo>
                    <a:lnTo>
                      <a:pt x="394" y="142"/>
                    </a:lnTo>
                    <a:lnTo>
                      <a:pt x="394" y="136"/>
                    </a:lnTo>
                    <a:lnTo>
                      <a:pt x="394" y="132"/>
                    </a:lnTo>
                    <a:lnTo>
                      <a:pt x="394" y="126"/>
                    </a:lnTo>
                    <a:lnTo>
                      <a:pt x="394" y="126"/>
                    </a:lnTo>
                    <a:lnTo>
                      <a:pt x="394" y="124"/>
                    </a:lnTo>
                    <a:lnTo>
                      <a:pt x="394" y="124"/>
                    </a:lnTo>
                    <a:lnTo>
                      <a:pt x="390" y="124"/>
                    </a:lnTo>
                    <a:lnTo>
                      <a:pt x="390" y="124"/>
                    </a:lnTo>
                    <a:lnTo>
                      <a:pt x="388" y="124"/>
                    </a:lnTo>
                    <a:lnTo>
                      <a:pt x="386" y="126"/>
                    </a:lnTo>
                    <a:lnTo>
                      <a:pt x="384" y="126"/>
                    </a:lnTo>
                    <a:lnTo>
                      <a:pt x="382" y="128"/>
                    </a:lnTo>
                    <a:lnTo>
                      <a:pt x="382" y="128"/>
                    </a:lnTo>
                    <a:lnTo>
                      <a:pt x="380" y="128"/>
                    </a:lnTo>
                    <a:lnTo>
                      <a:pt x="380" y="128"/>
                    </a:lnTo>
                    <a:lnTo>
                      <a:pt x="380" y="128"/>
                    </a:lnTo>
                    <a:lnTo>
                      <a:pt x="380" y="130"/>
                    </a:lnTo>
                    <a:lnTo>
                      <a:pt x="376" y="130"/>
                    </a:lnTo>
                    <a:lnTo>
                      <a:pt x="370" y="132"/>
                    </a:lnTo>
                    <a:lnTo>
                      <a:pt x="362" y="134"/>
                    </a:lnTo>
                    <a:lnTo>
                      <a:pt x="358" y="136"/>
                    </a:lnTo>
                    <a:lnTo>
                      <a:pt x="358" y="136"/>
                    </a:lnTo>
                    <a:lnTo>
                      <a:pt x="360" y="134"/>
                    </a:lnTo>
                    <a:lnTo>
                      <a:pt x="362" y="132"/>
                    </a:lnTo>
                    <a:lnTo>
                      <a:pt x="364" y="128"/>
                    </a:lnTo>
                    <a:lnTo>
                      <a:pt x="366" y="128"/>
                    </a:lnTo>
                    <a:lnTo>
                      <a:pt x="366" y="126"/>
                    </a:lnTo>
                    <a:lnTo>
                      <a:pt x="368" y="126"/>
                    </a:lnTo>
                    <a:lnTo>
                      <a:pt x="368" y="126"/>
                    </a:lnTo>
                    <a:lnTo>
                      <a:pt x="370" y="126"/>
                    </a:lnTo>
                    <a:lnTo>
                      <a:pt x="372" y="126"/>
                    </a:lnTo>
                    <a:lnTo>
                      <a:pt x="376" y="124"/>
                    </a:lnTo>
                    <a:lnTo>
                      <a:pt x="380" y="124"/>
                    </a:lnTo>
                    <a:lnTo>
                      <a:pt x="380" y="124"/>
                    </a:lnTo>
                    <a:lnTo>
                      <a:pt x="382" y="124"/>
                    </a:lnTo>
                    <a:lnTo>
                      <a:pt x="382" y="120"/>
                    </a:lnTo>
                    <a:lnTo>
                      <a:pt x="382" y="118"/>
                    </a:lnTo>
                    <a:lnTo>
                      <a:pt x="380" y="114"/>
                    </a:lnTo>
                    <a:lnTo>
                      <a:pt x="380" y="108"/>
                    </a:lnTo>
                    <a:lnTo>
                      <a:pt x="380" y="108"/>
                    </a:lnTo>
                    <a:lnTo>
                      <a:pt x="378" y="106"/>
                    </a:lnTo>
                    <a:lnTo>
                      <a:pt x="376" y="102"/>
                    </a:lnTo>
                    <a:lnTo>
                      <a:pt x="374" y="98"/>
                    </a:lnTo>
                    <a:lnTo>
                      <a:pt x="372" y="96"/>
                    </a:lnTo>
                    <a:lnTo>
                      <a:pt x="372" y="94"/>
                    </a:lnTo>
                    <a:lnTo>
                      <a:pt x="372" y="92"/>
                    </a:lnTo>
                    <a:lnTo>
                      <a:pt x="372" y="92"/>
                    </a:lnTo>
                    <a:lnTo>
                      <a:pt x="372" y="92"/>
                    </a:lnTo>
                    <a:lnTo>
                      <a:pt x="370" y="88"/>
                    </a:lnTo>
                    <a:lnTo>
                      <a:pt x="370" y="88"/>
                    </a:lnTo>
                    <a:lnTo>
                      <a:pt x="370" y="88"/>
                    </a:lnTo>
                    <a:lnTo>
                      <a:pt x="366" y="86"/>
                    </a:lnTo>
                    <a:lnTo>
                      <a:pt x="366" y="86"/>
                    </a:lnTo>
                    <a:lnTo>
                      <a:pt x="366" y="86"/>
                    </a:lnTo>
                    <a:lnTo>
                      <a:pt x="364" y="84"/>
                    </a:lnTo>
                    <a:lnTo>
                      <a:pt x="362" y="84"/>
                    </a:lnTo>
                    <a:lnTo>
                      <a:pt x="360" y="80"/>
                    </a:lnTo>
                    <a:lnTo>
                      <a:pt x="358" y="78"/>
                    </a:lnTo>
                    <a:lnTo>
                      <a:pt x="354" y="76"/>
                    </a:lnTo>
                    <a:lnTo>
                      <a:pt x="352" y="72"/>
                    </a:lnTo>
                    <a:lnTo>
                      <a:pt x="352" y="72"/>
                    </a:lnTo>
                    <a:lnTo>
                      <a:pt x="350" y="72"/>
                    </a:lnTo>
                    <a:lnTo>
                      <a:pt x="346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4" y="72"/>
                    </a:lnTo>
                    <a:lnTo>
                      <a:pt x="334" y="72"/>
                    </a:lnTo>
                    <a:lnTo>
                      <a:pt x="334" y="72"/>
                    </a:lnTo>
                    <a:lnTo>
                      <a:pt x="330" y="74"/>
                    </a:lnTo>
                    <a:lnTo>
                      <a:pt x="330" y="74"/>
                    </a:lnTo>
                    <a:lnTo>
                      <a:pt x="330" y="74"/>
                    </a:lnTo>
                    <a:lnTo>
                      <a:pt x="328" y="76"/>
                    </a:lnTo>
                    <a:lnTo>
                      <a:pt x="328" y="76"/>
                    </a:lnTo>
                    <a:lnTo>
                      <a:pt x="326" y="76"/>
                    </a:lnTo>
                    <a:lnTo>
                      <a:pt x="324" y="78"/>
                    </a:lnTo>
                    <a:lnTo>
                      <a:pt x="324" y="78"/>
                    </a:lnTo>
                    <a:lnTo>
                      <a:pt x="324" y="78"/>
                    </a:lnTo>
                    <a:lnTo>
                      <a:pt x="322" y="82"/>
                    </a:lnTo>
                    <a:lnTo>
                      <a:pt x="322" y="84"/>
                    </a:lnTo>
                    <a:lnTo>
                      <a:pt x="320" y="84"/>
                    </a:lnTo>
                    <a:lnTo>
                      <a:pt x="316" y="80"/>
                    </a:lnTo>
                    <a:lnTo>
                      <a:pt x="314" y="78"/>
                    </a:lnTo>
                    <a:lnTo>
                      <a:pt x="310" y="74"/>
                    </a:lnTo>
                    <a:lnTo>
                      <a:pt x="308" y="72"/>
                    </a:lnTo>
                    <a:lnTo>
                      <a:pt x="304" y="68"/>
                    </a:lnTo>
                    <a:lnTo>
                      <a:pt x="304" y="68"/>
                    </a:lnTo>
                    <a:lnTo>
                      <a:pt x="304" y="68"/>
                    </a:lnTo>
                    <a:lnTo>
                      <a:pt x="300" y="66"/>
                    </a:lnTo>
                    <a:lnTo>
                      <a:pt x="300" y="66"/>
                    </a:lnTo>
                    <a:lnTo>
                      <a:pt x="300" y="66"/>
                    </a:lnTo>
                    <a:lnTo>
                      <a:pt x="296" y="64"/>
                    </a:lnTo>
                    <a:lnTo>
                      <a:pt x="296" y="64"/>
                    </a:lnTo>
                    <a:lnTo>
                      <a:pt x="296" y="60"/>
                    </a:lnTo>
                    <a:lnTo>
                      <a:pt x="294" y="58"/>
                    </a:lnTo>
                    <a:lnTo>
                      <a:pt x="294" y="58"/>
                    </a:lnTo>
                    <a:lnTo>
                      <a:pt x="294" y="58"/>
                    </a:lnTo>
                    <a:lnTo>
                      <a:pt x="294" y="56"/>
                    </a:lnTo>
                    <a:lnTo>
                      <a:pt x="294" y="56"/>
                    </a:lnTo>
                    <a:lnTo>
                      <a:pt x="294" y="56"/>
                    </a:lnTo>
                    <a:lnTo>
                      <a:pt x="292" y="56"/>
                    </a:lnTo>
                    <a:lnTo>
                      <a:pt x="292" y="56"/>
                    </a:lnTo>
                    <a:lnTo>
                      <a:pt x="292" y="56"/>
                    </a:lnTo>
                    <a:lnTo>
                      <a:pt x="290" y="56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6" y="58"/>
                    </a:lnTo>
                    <a:lnTo>
                      <a:pt x="284" y="60"/>
                    </a:lnTo>
                    <a:lnTo>
                      <a:pt x="282" y="62"/>
                    </a:lnTo>
                    <a:lnTo>
                      <a:pt x="280" y="62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66" y="58"/>
                    </a:lnTo>
                    <a:lnTo>
                      <a:pt x="266" y="58"/>
                    </a:lnTo>
                    <a:lnTo>
                      <a:pt x="264" y="58"/>
                    </a:lnTo>
                    <a:lnTo>
                      <a:pt x="258" y="62"/>
                    </a:lnTo>
                    <a:lnTo>
                      <a:pt x="254" y="64"/>
                    </a:lnTo>
                    <a:lnTo>
                      <a:pt x="248" y="66"/>
                    </a:lnTo>
                    <a:lnTo>
                      <a:pt x="246" y="68"/>
                    </a:lnTo>
                    <a:lnTo>
                      <a:pt x="242" y="68"/>
                    </a:lnTo>
                    <a:lnTo>
                      <a:pt x="242" y="68"/>
                    </a:lnTo>
                    <a:lnTo>
                      <a:pt x="240" y="70"/>
                    </a:lnTo>
                    <a:lnTo>
                      <a:pt x="240" y="70"/>
                    </a:lnTo>
                    <a:lnTo>
                      <a:pt x="240" y="72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86"/>
                    </a:lnTo>
                    <a:lnTo>
                      <a:pt x="242" y="86"/>
                    </a:lnTo>
                    <a:lnTo>
                      <a:pt x="244" y="88"/>
                    </a:lnTo>
                    <a:lnTo>
                      <a:pt x="244" y="88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50" y="92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0" y="100"/>
                    </a:lnTo>
                    <a:lnTo>
                      <a:pt x="250" y="106"/>
                    </a:lnTo>
                    <a:lnTo>
                      <a:pt x="250" y="112"/>
                    </a:lnTo>
                    <a:lnTo>
                      <a:pt x="248" y="120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2" y="130"/>
                    </a:lnTo>
                    <a:lnTo>
                      <a:pt x="242" y="132"/>
                    </a:lnTo>
                    <a:lnTo>
                      <a:pt x="242" y="132"/>
                    </a:lnTo>
                    <a:lnTo>
                      <a:pt x="240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0" y="142"/>
                    </a:lnTo>
                    <a:lnTo>
                      <a:pt x="240" y="144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38" y="150"/>
                    </a:lnTo>
                    <a:lnTo>
                      <a:pt x="236" y="152"/>
                    </a:lnTo>
                    <a:lnTo>
                      <a:pt x="234" y="156"/>
                    </a:lnTo>
                    <a:lnTo>
                      <a:pt x="234" y="156"/>
                    </a:lnTo>
                    <a:lnTo>
                      <a:pt x="234" y="158"/>
                    </a:lnTo>
                    <a:lnTo>
                      <a:pt x="234" y="160"/>
                    </a:lnTo>
                    <a:lnTo>
                      <a:pt x="232" y="162"/>
                    </a:lnTo>
                    <a:lnTo>
                      <a:pt x="232" y="164"/>
                    </a:lnTo>
                    <a:lnTo>
                      <a:pt x="230" y="168"/>
                    </a:lnTo>
                    <a:lnTo>
                      <a:pt x="228" y="170"/>
                    </a:lnTo>
                    <a:lnTo>
                      <a:pt x="226" y="172"/>
                    </a:lnTo>
                    <a:lnTo>
                      <a:pt x="224" y="174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0" y="178"/>
                    </a:lnTo>
                    <a:lnTo>
                      <a:pt x="220" y="178"/>
                    </a:lnTo>
                    <a:lnTo>
                      <a:pt x="220" y="180"/>
                    </a:lnTo>
                    <a:lnTo>
                      <a:pt x="220" y="182"/>
                    </a:lnTo>
                    <a:lnTo>
                      <a:pt x="218" y="184"/>
                    </a:lnTo>
                    <a:lnTo>
                      <a:pt x="218" y="184"/>
                    </a:lnTo>
                    <a:lnTo>
                      <a:pt x="218" y="184"/>
                    </a:lnTo>
                    <a:lnTo>
                      <a:pt x="218" y="188"/>
                    </a:lnTo>
                    <a:lnTo>
                      <a:pt x="218" y="188"/>
                    </a:lnTo>
                    <a:lnTo>
                      <a:pt x="220" y="190"/>
                    </a:lnTo>
                    <a:lnTo>
                      <a:pt x="222" y="190"/>
                    </a:lnTo>
                    <a:lnTo>
                      <a:pt x="226" y="192"/>
                    </a:lnTo>
                    <a:lnTo>
                      <a:pt x="232" y="192"/>
                    </a:lnTo>
                    <a:lnTo>
                      <a:pt x="236" y="192"/>
                    </a:lnTo>
                    <a:lnTo>
                      <a:pt x="242" y="192"/>
                    </a:lnTo>
                    <a:lnTo>
                      <a:pt x="242" y="192"/>
                    </a:lnTo>
                    <a:lnTo>
                      <a:pt x="242" y="194"/>
                    </a:lnTo>
                    <a:lnTo>
                      <a:pt x="242" y="194"/>
                    </a:lnTo>
                    <a:lnTo>
                      <a:pt x="244" y="196"/>
                    </a:lnTo>
                    <a:lnTo>
                      <a:pt x="246" y="200"/>
                    </a:lnTo>
                    <a:lnTo>
                      <a:pt x="246" y="200"/>
                    </a:lnTo>
                    <a:lnTo>
                      <a:pt x="246" y="200"/>
                    </a:lnTo>
                    <a:lnTo>
                      <a:pt x="248" y="202"/>
                    </a:lnTo>
                    <a:lnTo>
                      <a:pt x="248" y="202"/>
                    </a:lnTo>
                    <a:lnTo>
                      <a:pt x="248" y="202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6" y="206"/>
                    </a:lnTo>
                    <a:lnTo>
                      <a:pt x="256" y="210"/>
                    </a:lnTo>
                    <a:lnTo>
                      <a:pt x="258" y="216"/>
                    </a:lnTo>
                    <a:lnTo>
                      <a:pt x="260" y="220"/>
                    </a:lnTo>
                    <a:lnTo>
                      <a:pt x="262" y="224"/>
                    </a:lnTo>
                    <a:lnTo>
                      <a:pt x="262" y="224"/>
                    </a:lnTo>
                    <a:lnTo>
                      <a:pt x="262" y="224"/>
                    </a:lnTo>
                    <a:lnTo>
                      <a:pt x="264" y="226"/>
                    </a:lnTo>
                    <a:lnTo>
                      <a:pt x="264" y="226"/>
                    </a:lnTo>
                    <a:lnTo>
                      <a:pt x="264" y="228"/>
                    </a:lnTo>
                    <a:lnTo>
                      <a:pt x="266" y="230"/>
                    </a:lnTo>
                    <a:lnTo>
                      <a:pt x="266" y="230"/>
                    </a:lnTo>
                    <a:lnTo>
                      <a:pt x="270" y="230"/>
                    </a:lnTo>
                    <a:lnTo>
                      <a:pt x="272" y="230"/>
                    </a:lnTo>
                    <a:lnTo>
                      <a:pt x="276" y="228"/>
                    </a:lnTo>
                    <a:lnTo>
                      <a:pt x="278" y="228"/>
                    </a:lnTo>
                    <a:lnTo>
                      <a:pt x="280" y="226"/>
                    </a:lnTo>
                    <a:lnTo>
                      <a:pt x="280" y="226"/>
                    </a:lnTo>
                    <a:lnTo>
                      <a:pt x="280" y="226"/>
                    </a:lnTo>
                    <a:lnTo>
                      <a:pt x="282" y="224"/>
                    </a:lnTo>
                    <a:lnTo>
                      <a:pt x="284" y="220"/>
                    </a:lnTo>
                    <a:lnTo>
                      <a:pt x="286" y="218"/>
                    </a:lnTo>
                    <a:lnTo>
                      <a:pt x="290" y="216"/>
                    </a:lnTo>
                    <a:lnTo>
                      <a:pt x="290" y="216"/>
                    </a:lnTo>
                    <a:lnTo>
                      <a:pt x="294" y="214"/>
                    </a:lnTo>
                    <a:lnTo>
                      <a:pt x="296" y="214"/>
                    </a:lnTo>
                    <a:lnTo>
                      <a:pt x="298" y="214"/>
                    </a:lnTo>
                    <a:lnTo>
                      <a:pt x="298" y="214"/>
                    </a:lnTo>
                    <a:lnTo>
                      <a:pt x="300" y="212"/>
                    </a:lnTo>
                    <a:lnTo>
                      <a:pt x="302" y="210"/>
                    </a:lnTo>
                    <a:lnTo>
                      <a:pt x="302" y="210"/>
                    </a:lnTo>
                    <a:lnTo>
                      <a:pt x="304" y="210"/>
                    </a:lnTo>
                    <a:lnTo>
                      <a:pt x="304" y="208"/>
                    </a:lnTo>
                    <a:lnTo>
                      <a:pt x="304" y="208"/>
                    </a:lnTo>
                    <a:lnTo>
                      <a:pt x="304" y="206"/>
                    </a:lnTo>
                    <a:lnTo>
                      <a:pt x="306" y="204"/>
                    </a:lnTo>
                    <a:lnTo>
                      <a:pt x="306" y="204"/>
                    </a:lnTo>
                    <a:lnTo>
                      <a:pt x="306" y="204"/>
                    </a:lnTo>
                    <a:lnTo>
                      <a:pt x="306" y="202"/>
                    </a:lnTo>
                    <a:lnTo>
                      <a:pt x="306" y="202"/>
                    </a:lnTo>
                    <a:lnTo>
                      <a:pt x="306" y="200"/>
                    </a:lnTo>
                    <a:lnTo>
                      <a:pt x="308" y="196"/>
                    </a:lnTo>
                    <a:lnTo>
                      <a:pt x="308" y="192"/>
                    </a:lnTo>
                    <a:lnTo>
                      <a:pt x="308" y="188"/>
                    </a:lnTo>
                    <a:lnTo>
                      <a:pt x="308" y="188"/>
                    </a:lnTo>
                    <a:lnTo>
                      <a:pt x="308" y="186"/>
                    </a:lnTo>
                    <a:lnTo>
                      <a:pt x="310" y="186"/>
                    </a:lnTo>
                    <a:lnTo>
                      <a:pt x="312" y="184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0" y="184"/>
                    </a:lnTo>
                    <a:lnTo>
                      <a:pt x="320" y="184"/>
                    </a:lnTo>
                    <a:lnTo>
                      <a:pt x="322" y="182"/>
                    </a:lnTo>
                    <a:lnTo>
                      <a:pt x="322" y="178"/>
                    </a:lnTo>
                    <a:lnTo>
                      <a:pt x="322" y="176"/>
                    </a:lnTo>
                    <a:lnTo>
                      <a:pt x="324" y="170"/>
                    </a:lnTo>
                    <a:lnTo>
                      <a:pt x="324" y="166"/>
                    </a:lnTo>
                    <a:lnTo>
                      <a:pt x="324" y="164"/>
                    </a:lnTo>
                    <a:lnTo>
                      <a:pt x="324" y="162"/>
                    </a:lnTo>
                    <a:lnTo>
                      <a:pt x="326" y="160"/>
                    </a:lnTo>
                    <a:lnTo>
                      <a:pt x="326" y="160"/>
                    </a:lnTo>
                    <a:lnTo>
                      <a:pt x="328" y="158"/>
                    </a:lnTo>
                    <a:lnTo>
                      <a:pt x="330" y="156"/>
                    </a:lnTo>
                    <a:lnTo>
                      <a:pt x="332" y="156"/>
                    </a:lnTo>
                    <a:lnTo>
                      <a:pt x="338" y="152"/>
                    </a:lnTo>
                    <a:lnTo>
                      <a:pt x="340" y="150"/>
                    </a:lnTo>
                    <a:lnTo>
                      <a:pt x="342" y="150"/>
                    </a:lnTo>
                    <a:lnTo>
                      <a:pt x="342" y="150"/>
                    </a:lnTo>
                    <a:lnTo>
                      <a:pt x="344" y="148"/>
                    </a:lnTo>
                    <a:lnTo>
                      <a:pt x="344" y="146"/>
                    </a:lnTo>
                    <a:lnTo>
                      <a:pt x="346" y="144"/>
                    </a:lnTo>
                    <a:lnTo>
                      <a:pt x="348" y="140"/>
                    </a:lnTo>
                    <a:lnTo>
                      <a:pt x="348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46" y="142"/>
                    </a:lnTo>
                    <a:lnTo>
                      <a:pt x="346" y="142"/>
                    </a:lnTo>
                    <a:lnTo>
                      <a:pt x="346" y="142"/>
                    </a:lnTo>
                    <a:lnTo>
                      <a:pt x="346" y="146"/>
                    </a:lnTo>
                    <a:lnTo>
                      <a:pt x="344" y="150"/>
                    </a:lnTo>
                    <a:lnTo>
                      <a:pt x="342" y="152"/>
                    </a:lnTo>
                    <a:lnTo>
                      <a:pt x="342" y="154"/>
                    </a:lnTo>
                    <a:lnTo>
                      <a:pt x="340" y="156"/>
                    </a:lnTo>
                    <a:lnTo>
                      <a:pt x="338" y="158"/>
                    </a:lnTo>
                    <a:lnTo>
                      <a:pt x="338" y="158"/>
                    </a:lnTo>
                    <a:lnTo>
                      <a:pt x="336" y="158"/>
                    </a:lnTo>
                    <a:lnTo>
                      <a:pt x="336" y="158"/>
                    </a:lnTo>
                    <a:lnTo>
                      <a:pt x="336" y="158"/>
                    </a:lnTo>
                    <a:lnTo>
                      <a:pt x="334" y="160"/>
                    </a:lnTo>
                    <a:lnTo>
                      <a:pt x="334" y="160"/>
                    </a:lnTo>
                    <a:lnTo>
                      <a:pt x="334" y="160"/>
                    </a:lnTo>
                    <a:lnTo>
                      <a:pt x="332" y="162"/>
                    </a:lnTo>
                    <a:lnTo>
                      <a:pt x="332" y="162"/>
                    </a:lnTo>
                    <a:lnTo>
                      <a:pt x="332" y="164"/>
                    </a:lnTo>
                    <a:lnTo>
                      <a:pt x="332" y="164"/>
                    </a:lnTo>
                    <a:lnTo>
                      <a:pt x="332" y="164"/>
                    </a:lnTo>
                    <a:lnTo>
                      <a:pt x="330" y="166"/>
                    </a:lnTo>
                    <a:lnTo>
                      <a:pt x="330" y="168"/>
                    </a:lnTo>
                    <a:lnTo>
                      <a:pt x="330" y="168"/>
                    </a:lnTo>
                    <a:lnTo>
                      <a:pt x="332" y="168"/>
                    </a:lnTo>
                    <a:lnTo>
                      <a:pt x="332" y="170"/>
                    </a:lnTo>
                    <a:lnTo>
                      <a:pt x="332" y="170"/>
                    </a:lnTo>
                    <a:lnTo>
                      <a:pt x="332" y="170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6" y="174"/>
                    </a:lnTo>
                    <a:lnTo>
                      <a:pt x="336" y="174"/>
                    </a:lnTo>
                    <a:lnTo>
                      <a:pt x="332" y="178"/>
                    </a:lnTo>
                    <a:lnTo>
                      <a:pt x="330" y="180"/>
                    </a:lnTo>
                    <a:lnTo>
                      <a:pt x="328" y="184"/>
                    </a:lnTo>
                    <a:lnTo>
                      <a:pt x="328" y="184"/>
                    </a:lnTo>
                    <a:lnTo>
                      <a:pt x="326" y="184"/>
                    </a:lnTo>
                    <a:lnTo>
                      <a:pt x="326" y="188"/>
                    </a:lnTo>
                    <a:lnTo>
                      <a:pt x="326" y="190"/>
                    </a:lnTo>
                    <a:lnTo>
                      <a:pt x="324" y="192"/>
                    </a:lnTo>
                    <a:lnTo>
                      <a:pt x="322" y="196"/>
                    </a:lnTo>
                    <a:lnTo>
                      <a:pt x="322" y="198"/>
                    </a:lnTo>
                    <a:lnTo>
                      <a:pt x="320" y="200"/>
                    </a:lnTo>
                    <a:lnTo>
                      <a:pt x="320" y="200"/>
                    </a:lnTo>
                    <a:lnTo>
                      <a:pt x="320" y="202"/>
                    </a:lnTo>
                    <a:lnTo>
                      <a:pt x="320" y="204"/>
                    </a:lnTo>
                    <a:lnTo>
                      <a:pt x="322" y="206"/>
                    </a:lnTo>
                    <a:lnTo>
                      <a:pt x="324" y="208"/>
                    </a:lnTo>
                    <a:lnTo>
                      <a:pt x="326" y="208"/>
                    </a:lnTo>
                    <a:lnTo>
                      <a:pt x="328" y="208"/>
                    </a:lnTo>
                    <a:lnTo>
                      <a:pt x="328" y="208"/>
                    </a:lnTo>
                    <a:lnTo>
                      <a:pt x="328" y="210"/>
                    </a:lnTo>
                    <a:lnTo>
                      <a:pt x="330" y="210"/>
                    </a:lnTo>
                    <a:lnTo>
                      <a:pt x="330" y="210"/>
                    </a:lnTo>
                    <a:lnTo>
                      <a:pt x="332" y="210"/>
                    </a:lnTo>
                    <a:lnTo>
                      <a:pt x="334" y="210"/>
                    </a:lnTo>
                    <a:lnTo>
                      <a:pt x="336" y="208"/>
                    </a:lnTo>
                    <a:lnTo>
                      <a:pt x="338" y="208"/>
                    </a:lnTo>
                    <a:lnTo>
                      <a:pt x="340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52" y="208"/>
                    </a:lnTo>
                    <a:lnTo>
                      <a:pt x="360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72" y="210"/>
                    </a:lnTo>
                    <a:lnTo>
                      <a:pt x="376" y="210"/>
                    </a:lnTo>
                    <a:lnTo>
                      <a:pt x="374" y="210"/>
                    </a:lnTo>
                    <a:lnTo>
                      <a:pt x="372" y="210"/>
                    </a:lnTo>
                    <a:lnTo>
                      <a:pt x="368" y="214"/>
                    </a:lnTo>
                    <a:lnTo>
                      <a:pt x="364" y="216"/>
                    </a:lnTo>
                    <a:lnTo>
                      <a:pt x="358" y="218"/>
                    </a:lnTo>
                    <a:lnTo>
                      <a:pt x="354" y="220"/>
                    </a:lnTo>
                    <a:lnTo>
                      <a:pt x="352" y="222"/>
                    </a:lnTo>
                    <a:lnTo>
                      <a:pt x="348" y="222"/>
                    </a:lnTo>
                    <a:lnTo>
                      <a:pt x="344" y="222"/>
                    </a:lnTo>
                    <a:lnTo>
                      <a:pt x="340" y="222"/>
                    </a:lnTo>
                    <a:lnTo>
                      <a:pt x="340" y="222"/>
                    </a:lnTo>
                    <a:lnTo>
                      <a:pt x="338" y="224"/>
                    </a:lnTo>
                    <a:lnTo>
                      <a:pt x="336" y="224"/>
                    </a:lnTo>
                    <a:lnTo>
                      <a:pt x="336" y="224"/>
                    </a:lnTo>
                    <a:lnTo>
                      <a:pt x="336" y="224"/>
                    </a:lnTo>
                    <a:lnTo>
                      <a:pt x="334" y="226"/>
                    </a:lnTo>
                    <a:lnTo>
                      <a:pt x="334" y="226"/>
                    </a:lnTo>
                    <a:lnTo>
                      <a:pt x="334" y="226"/>
                    </a:lnTo>
                    <a:lnTo>
                      <a:pt x="330" y="230"/>
                    </a:lnTo>
                    <a:lnTo>
                      <a:pt x="330" y="230"/>
                    </a:lnTo>
                    <a:lnTo>
                      <a:pt x="330" y="230"/>
                    </a:lnTo>
                    <a:lnTo>
                      <a:pt x="328" y="232"/>
                    </a:lnTo>
                    <a:lnTo>
                      <a:pt x="328" y="232"/>
                    </a:lnTo>
                    <a:lnTo>
                      <a:pt x="328" y="234"/>
                    </a:lnTo>
                    <a:lnTo>
                      <a:pt x="328" y="236"/>
                    </a:lnTo>
                    <a:lnTo>
                      <a:pt x="328" y="236"/>
                    </a:lnTo>
                    <a:lnTo>
                      <a:pt x="328" y="236"/>
                    </a:lnTo>
                    <a:lnTo>
                      <a:pt x="328" y="240"/>
                    </a:lnTo>
                    <a:lnTo>
                      <a:pt x="328" y="240"/>
                    </a:lnTo>
                    <a:lnTo>
                      <a:pt x="328" y="240"/>
                    </a:lnTo>
                    <a:lnTo>
                      <a:pt x="328" y="242"/>
                    </a:lnTo>
                    <a:lnTo>
                      <a:pt x="328" y="242"/>
                    </a:lnTo>
                    <a:lnTo>
                      <a:pt x="328" y="242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2" y="246"/>
                    </a:lnTo>
                    <a:lnTo>
                      <a:pt x="332" y="246"/>
                    </a:lnTo>
                    <a:lnTo>
                      <a:pt x="336" y="246"/>
                    </a:lnTo>
                    <a:lnTo>
                      <a:pt x="340" y="248"/>
                    </a:lnTo>
                    <a:lnTo>
                      <a:pt x="348" y="248"/>
                    </a:lnTo>
                    <a:lnTo>
                      <a:pt x="354" y="248"/>
                    </a:lnTo>
                    <a:lnTo>
                      <a:pt x="360" y="248"/>
                    </a:lnTo>
                    <a:lnTo>
                      <a:pt x="360" y="248"/>
                    </a:lnTo>
                    <a:lnTo>
                      <a:pt x="364" y="248"/>
                    </a:lnTo>
                    <a:lnTo>
                      <a:pt x="374" y="250"/>
                    </a:lnTo>
                    <a:lnTo>
                      <a:pt x="380" y="252"/>
                    </a:lnTo>
                    <a:lnTo>
                      <a:pt x="380" y="252"/>
                    </a:lnTo>
                    <a:lnTo>
                      <a:pt x="380" y="252"/>
                    </a:lnTo>
                    <a:lnTo>
                      <a:pt x="384" y="252"/>
                    </a:lnTo>
                    <a:lnTo>
                      <a:pt x="388" y="252"/>
                    </a:lnTo>
                    <a:lnTo>
                      <a:pt x="392" y="252"/>
                    </a:lnTo>
                    <a:lnTo>
                      <a:pt x="398" y="250"/>
                    </a:lnTo>
                    <a:lnTo>
                      <a:pt x="402" y="250"/>
                    </a:lnTo>
                    <a:lnTo>
                      <a:pt x="408" y="250"/>
                    </a:lnTo>
                    <a:lnTo>
                      <a:pt x="412" y="250"/>
                    </a:lnTo>
                    <a:lnTo>
                      <a:pt x="416" y="250"/>
                    </a:lnTo>
                    <a:lnTo>
                      <a:pt x="418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8" y="252"/>
                    </a:lnTo>
                    <a:lnTo>
                      <a:pt x="428" y="252"/>
                    </a:lnTo>
                    <a:lnTo>
                      <a:pt x="428" y="254"/>
                    </a:lnTo>
                    <a:lnTo>
                      <a:pt x="430" y="256"/>
                    </a:lnTo>
                    <a:lnTo>
                      <a:pt x="430" y="256"/>
                    </a:lnTo>
                    <a:lnTo>
                      <a:pt x="430" y="256"/>
                    </a:lnTo>
                    <a:lnTo>
                      <a:pt x="434" y="258"/>
                    </a:lnTo>
                    <a:lnTo>
                      <a:pt x="434" y="258"/>
                    </a:lnTo>
                    <a:lnTo>
                      <a:pt x="434" y="260"/>
                    </a:lnTo>
                    <a:lnTo>
                      <a:pt x="434" y="260"/>
                    </a:lnTo>
                    <a:lnTo>
                      <a:pt x="432" y="262"/>
                    </a:lnTo>
                    <a:lnTo>
                      <a:pt x="432" y="262"/>
                    </a:lnTo>
                    <a:lnTo>
                      <a:pt x="430" y="264"/>
                    </a:lnTo>
                    <a:lnTo>
                      <a:pt x="428" y="264"/>
                    </a:lnTo>
                    <a:lnTo>
                      <a:pt x="428" y="264"/>
                    </a:lnTo>
                    <a:lnTo>
                      <a:pt x="424" y="264"/>
                    </a:lnTo>
                    <a:lnTo>
                      <a:pt x="418" y="264"/>
                    </a:lnTo>
                    <a:lnTo>
                      <a:pt x="414" y="262"/>
                    </a:lnTo>
                    <a:lnTo>
                      <a:pt x="408" y="260"/>
                    </a:lnTo>
                    <a:lnTo>
                      <a:pt x="404" y="260"/>
                    </a:lnTo>
                    <a:lnTo>
                      <a:pt x="400" y="258"/>
                    </a:lnTo>
                    <a:lnTo>
                      <a:pt x="396" y="258"/>
                    </a:lnTo>
                    <a:lnTo>
                      <a:pt x="390" y="258"/>
                    </a:lnTo>
                    <a:lnTo>
                      <a:pt x="386" y="256"/>
                    </a:lnTo>
                    <a:lnTo>
                      <a:pt x="382" y="258"/>
                    </a:lnTo>
                    <a:lnTo>
                      <a:pt x="378" y="258"/>
                    </a:lnTo>
                    <a:lnTo>
                      <a:pt x="374" y="258"/>
                    </a:lnTo>
                    <a:lnTo>
                      <a:pt x="374" y="258"/>
                    </a:lnTo>
                    <a:lnTo>
                      <a:pt x="372" y="258"/>
                    </a:lnTo>
                    <a:lnTo>
                      <a:pt x="368" y="260"/>
                    </a:lnTo>
                    <a:lnTo>
                      <a:pt x="364" y="264"/>
                    </a:lnTo>
                    <a:lnTo>
                      <a:pt x="360" y="266"/>
                    </a:lnTo>
                    <a:lnTo>
                      <a:pt x="358" y="266"/>
                    </a:lnTo>
                    <a:lnTo>
                      <a:pt x="356" y="266"/>
                    </a:lnTo>
                    <a:lnTo>
                      <a:pt x="356" y="266"/>
                    </a:lnTo>
                    <a:lnTo>
                      <a:pt x="354" y="268"/>
                    </a:lnTo>
                    <a:lnTo>
                      <a:pt x="352" y="268"/>
                    </a:lnTo>
                    <a:lnTo>
                      <a:pt x="350" y="270"/>
                    </a:lnTo>
                    <a:lnTo>
                      <a:pt x="350" y="270"/>
                    </a:lnTo>
                    <a:lnTo>
                      <a:pt x="350" y="270"/>
                    </a:lnTo>
                    <a:lnTo>
                      <a:pt x="348" y="274"/>
                    </a:lnTo>
                    <a:lnTo>
                      <a:pt x="348" y="274"/>
                    </a:lnTo>
                    <a:lnTo>
                      <a:pt x="348" y="274"/>
                    </a:lnTo>
                    <a:lnTo>
                      <a:pt x="348" y="276"/>
                    </a:lnTo>
                    <a:lnTo>
                      <a:pt x="348" y="276"/>
                    </a:lnTo>
                    <a:lnTo>
                      <a:pt x="348" y="278"/>
                    </a:lnTo>
                    <a:lnTo>
                      <a:pt x="348" y="280"/>
                    </a:lnTo>
                    <a:lnTo>
                      <a:pt x="348" y="280"/>
                    </a:lnTo>
                    <a:lnTo>
                      <a:pt x="348" y="280"/>
                    </a:lnTo>
                    <a:lnTo>
                      <a:pt x="350" y="282"/>
                    </a:lnTo>
                    <a:lnTo>
                      <a:pt x="352" y="286"/>
                    </a:lnTo>
                    <a:lnTo>
                      <a:pt x="354" y="288"/>
                    </a:lnTo>
                    <a:lnTo>
                      <a:pt x="356" y="292"/>
                    </a:lnTo>
                    <a:lnTo>
                      <a:pt x="356" y="292"/>
                    </a:lnTo>
                    <a:lnTo>
                      <a:pt x="358" y="292"/>
                    </a:lnTo>
                    <a:lnTo>
                      <a:pt x="360" y="292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62" y="294"/>
                    </a:lnTo>
                    <a:lnTo>
                      <a:pt x="362" y="294"/>
                    </a:lnTo>
                    <a:lnTo>
                      <a:pt x="362" y="296"/>
                    </a:lnTo>
                    <a:lnTo>
                      <a:pt x="362" y="298"/>
                    </a:lnTo>
                    <a:lnTo>
                      <a:pt x="362" y="298"/>
                    </a:lnTo>
                    <a:lnTo>
                      <a:pt x="364" y="298"/>
                    </a:lnTo>
                    <a:lnTo>
                      <a:pt x="364" y="300"/>
                    </a:lnTo>
                    <a:lnTo>
                      <a:pt x="364" y="300"/>
                    </a:lnTo>
                    <a:lnTo>
                      <a:pt x="366" y="300"/>
                    </a:lnTo>
                    <a:lnTo>
                      <a:pt x="370" y="302"/>
                    </a:lnTo>
                    <a:lnTo>
                      <a:pt x="370" y="302"/>
                    </a:lnTo>
                    <a:lnTo>
                      <a:pt x="370" y="302"/>
                    </a:lnTo>
                    <a:lnTo>
                      <a:pt x="374" y="304"/>
                    </a:lnTo>
                    <a:lnTo>
                      <a:pt x="378" y="304"/>
                    </a:lnTo>
                    <a:lnTo>
                      <a:pt x="384" y="304"/>
                    </a:lnTo>
                    <a:lnTo>
                      <a:pt x="390" y="304"/>
                    </a:lnTo>
                    <a:lnTo>
                      <a:pt x="394" y="306"/>
                    </a:lnTo>
                    <a:lnTo>
                      <a:pt x="400" y="306"/>
                    </a:lnTo>
                    <a:lnTo>
                      <a:pt x="402" y="306"/>
                    </a:lnTo>
                    <a:lnTo>
                      <a:pt x="402" y="308"/>
                    </a:lnTo>
                    <a:lnTo>
                      <a:pt x="404" y="310"/>
                    </a:lnTo>
                    <a:lnTo>
                      <a:pt x="404" y="312"/>
                    </a:lnTo>
                    <a:lnTo>
                      <a:pt x="404" y="312"/>
                    </a:lnTo>
                    <a:lnTo>
                      <a:pt x="404" y="314"/>
                    </a:lnTo>
                    <a:lnTo>
                      <a:pt x="404" y="314"/>
                    </a:lnTo>
                    <a:lnTo>
                      <a:pt x="402" y="316"/>
                    </a:lnTo>
                    <a:lnTo>
                      <a:pt x="400" y="320"/>
                    </a:lnTo>
                    <a:lnTo>
                      <a:pt x="400" y="320"/>
                    </a:lnTo>
                    <a:lnTo>
                      <a:pt x="400" y="320"/>
                    </a:lnTo>
                    <a:lnTo>
                      <a:pt x="400" y="322"/>
                    </a:lnTo>
                    <a:lnTo>
                      <a:pt x="398" y="320"/>
                    </a:lnTo>
                    <a:lnTo>
                      <a:pt x="392" y="320"/>
                    </a:lnTo>
                    <a:lnTo>
                      <a:pt x="386" y="318"/>
                    </a:lnTo>
                    <a:lnTo>
                      <a:pt x="380" y="316"/>
                    </a:lnTo>
                    <a:lnTo>
                      <a:pt x="374" y="316"/>
                    </a:lnTo>
                    <a:lnTo>
                      <a:pt x="368" y="314"/>
                    </a:lnTo>
                    <a:lnTo>
                      <a:pt x="358" y="312"/>
                    </a:lnTo>
                    <a:lnTo>
                      <a:pt x="350" y="310"/>
                    </a:lnTo>
                    <a:lnTo>
                      <a:pt x="342" y="308"/>
                    </a:lnTo>
                    <a:lnTo>
                      <a:pt x="338" y="306"/>
                    </a:lnTo>
                    <a:lnTo>
                      <a:pt x="332" y="304"/>
                    </a:lnTo>
                    <a:lnTo>
                      <a:pt x="328" y="304"/>
                    </a:lnTo>
                    <a:lnTo>
                      <a:pt x="322" y="300"/>
                    </a:lnTo>
                    <a:lnTo>
                      <a:pt x="310" y="296"/>
                    </a:lnTo>
                    <a:lnTo>
                      <a:pt x="304" y="294"/>
                    </a:lnTo>
                    <a:lnTo>
                      <a:pt x="298" y="290"/>
                    </a:lnTo>
                    <a:lnTo>
                      <a:pt x="292" y="288"/>
                    </a:lnTo>
                    <a:lnTo>
                      <a:pt x="288" y="286"/>
                    </a:lnTo>
                    <a:lnTo>
                      <a:pt x="286" y="284"/>
                    </a:lnTo>
                    <a:lnTo>
                      <a:pt x="284" y="282"/>
                    </a:lnTo>
                    <a:lnTo>
                      <a:pt x="282" y="282"/>
                    </a:lnTo>
                    <a:lnTo>
                      <a:pt x="280" y="280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6" y="278"/>
                    </a:lnTo>
                    <a:lnTo>
                      <a:pt x="276" y="276"/>
                    </a:lnTo>
                    <a:lnTo>
                      <a:pt x="276" y="276"/>
                    </a:lnTo>
                    <a:lnTo>
                      <a:pt x="274" y="276"/>
                    </a:lnTo>
                    <a:lnTo>
                      <a:pt x="272" y="278"/>
                    </a:lnTo>
                    <a:lnTo>
                      <a:pt x="272" y="278"/>
                    </a:lnTo>
                    <a:lnTo>
                      <a:pt x="272" y="278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68" y="282"/>
                    </a:lnTo>
                    <a:lnTo>
                      <a:pt x="268" y="286"/>
                    </a:lnTo>
                    <a:lnTo>
                      <a:pt x="266" y="288"/>
                    </a:lnTo>
                    <a:lnTo>
                      <a:pt x="264" y="292"/>
                    </a:lnTo>
                    <a:lnTo>
                      <a:pt x="264" y="294"/>
                    </a:lnTo>
                    <a:lnTo>
                      <a:pt x="262" y="296"/>
                    </a:lnTo>
                    <a:lnTo>
                      <a:pt x="262" y="296"/>
                    </a:lnTo>
                    <a:lnTo>
                      <a:pt x="260" y="296"/>
                    </a:lnTo>
                    <a:lnTo>
                      <a:pt x="258" y="298"/>
                    </a:lnTo>
                    <a:lnTo>
                      <a:pt x="256" y="298"/>
                    </a:lnTo>
                    <a:lnTo>
                      <a:pt x="254" y="298"/>
                    </a:lnTo>
                    <a:lnTo>
                      <a:pt x="252" y="298"/>
                    </a:lnTo>
                    <a:lnTo>
                      <a:pt x="250" y="296"/>
                    </a:lnTo>
                    <a:lnTo>
                      <a:pt x="248" y="296"/>
                    </a:lnTo>
                    <a:lnTo>
                      <a:pt x="248" y="294"/>
                    </a:lnTo>
                    <a:lnTo>
                      <a:pt x="248" y="294"/>
                    </a:lnTo>
                    <a:lnTo>
                      <a:pt x="248" y="290"/>
                    </a:lnTo>
                    <a:lnTo>
                      <a:pt x="250" y="286"/>
                    </a:lnTo>
                    <a:lnTo>
                      <a:pt x="252" y="280"/>
                    </a:lnTo>
                    <a:lnTo>
                      <a:pt x="252" y="276"/>
                    </a:lnTo>
                    <a:lnTo>
                      <a:pt x="254" y="270"/>
                    </a:lnTo>
                    <a:lnTo>
                      <a:pt x="254" y="266"/>
                    </a:lnTo>
                    <a:lnTo>
                      <a:pt x="256" y="264"/>
                    </a:lnTo>
                    <a:lnTo>
                      <a:pt x="256" y="264"/>
                    </a:lnTo>
                    <a:lnTo>
                      <a:pt x="256" y="262"/>
                    </a:lnTo>
                    <a:lnTo>
                      <a:pt x="256" y="260"/>
                    </a:lnTo>
                    <a:lnTo>
                      <a:pt x="256" y="260"/>
                    </a:lnTo>
                    <a:lnTo>
                      <a:pt x="254" y="260"/>
                    </a:lnTo>
                    <a:lnTo>
                      <a:pt x="254" y="258"/>
                    </a:lnTo>
                    <a:lnTo>
                      <a:pt x="254" y="258"/>
                    </a:lnTo>
                    <a:lnTo>
                      <a:pt x="254" y="258"/>
                    </a:lnTo>
                    <a:lnTo>
                      <a:pt x="252" y="256"/>
                    </a:lnTo>
                    <a:lnTo>
                      <a:pt x="252" y="256"/>
                    </a:lnTo>
                    <a:lnTo>
                      <a:pt x="250" y="256"/>
                    </a:lnTo>
                    <a:lnTo>
                      <a:pt x="250" y="256"/>
                    </a:lnTo>
                    <a:lnTo>
                      <a:pt x="250" y="256"/>
                    </a:lnTo>
                    <a:lnTo>
                      <a:pt x="248" y="256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42" y="258"/>
                    </a:lnTo>
                    <a:lnTo>
                      <a:pt x="240" y="258"/>
                    </a:lnTo>
                    <a:lnTo>
                      <a:pt x="238" y="258"/>
                    </a:lnTo>
                    <a:lnTo>
                      <a:pt x="234" y="260"/>
                    </a:lnTo>
                    <a:lnTo>
                      <a:pt x="234" y="260"/>
                    </a:lnTo>
                    <a:lnTo>
                      <a:pt x="234" y="260"/>
                    </a:lnTo>
                    <a:lnTo>
                      <a:pt x="230" y="264"/>
                    </a:lnTo>
                    <a:lnTo>
                      <a:pt x="230" y="264"/>
                    </a:lnTo>
                    <a:lnTo>
                      <a:pt x="228" y="264"/>
                    </a:lnTo>
                    <a:lnTo>
                      <a:pt x="228" y="266"/>
                    </a:lnTo>
                    <a:lnTo>
                      <a:pt x="228" y="266"/>
                    </a:lnTo>
                    <a:lnTo>
                      <a:pt x="226" y="266"/>
                    </a:lnTo>
                    <a:lnTo>
                      <a:pt x="226" y="268"/>
                    </a:lnTo>
                    <a:lnTo>
                      <a:pt x="226" y="268"/>
                    </a:lnTo>
                    <a:lnTo>
                      <a:pt x="226" y="270"/>
                    </a:lnTo>
                    <a:lnTo>
                      <a:pt x="224" y="272"/>
                    </a:lnTo>
                    <a:lnTo>
                      <a:pt x="224" y="272"/>
                    </a:lnTo>
                    <a:lnTo>
                      <a:pt x="224" y="272"/>
                    </a:lnTo>
                    <a:lnTo>
                      <a:pt x="224" y="276"/>
                    </a:lnTo>
                    <a:lnTo>
                      <a:pt x="224" y="280"/>
                    </a:lnTo>
                    <a:lnTo>
                      <a:pt x="224" y="284"/>
                    </a:lnTo>
                    <a:lnTo>
                      <a:pt x="224" y="288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0" y="290"/>
                    </a:lnTo>
                    <a:lnTo>
                      <a:pt x="218" y="286"/>
                    </a:lnTo>
                    <a:lnTo>
                      <a:pt x="214" y="284"/>
                    </a:lnTo>
                    <a:lnTo>
                      <a:pt x="212" y="280"/>
                    </a:lnTo>
                    <a:lnTo>
                      <a:pt x="210" y="276"/>
                    </a:lnTo>
                    <a:lnTo>
                      <a:pt x="208" y="274"/>
                    </a:lnTo>
                    <a:lnTo>
                      <a:pt x="206" y="270"/>
                    </a:lnTo>
                    <a:lnTo>
                      <a:pt x="204" y="268"/>
                    </a:lnTo>
                    <a:lnTo>
                      <a:pt x="202" y="262"/>
                    </a:lnTo>
                    <a:lnTo>
                      <a:pt x="200" y="258"/>
                    </a:lnTo>
                    <a:lnTo>
                      <a:pt x="200" y="254"/>
                    </a:lnTo>
                    <a:lnTo>
                      <a:pt x="198" y="252"/>
                    </a:lnTo>
                    <a:lnTo>
                      <a:pt x="196" y="250"/>
                    </a:lnTo>
                    <a:lnTo>
                      <a:pt x="196" y="250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4" y="246"/>
                    </a:lnTo>
                    <a:lnTo>
                      <a:pt x="192" y="246"/>
                    </a:lnTo>
                    <a:lnTo>
                      <a:pt x="192" y="246"/>
                    </a:lnTo>
                    <a:lnTo>
                      <a:pt x="190" y="248"/>
                    </a:lnTo>
                    <a:lnTo>
                      <a:pt x="190" y="248"/>
                    </a:lnTo>
                    <a:lnTo>
                      <a:pt x="190" y="248"/>
                    </a:lnTo>
                    <a:lnTo>
                      <a:pt x="190" y="250"/>
                    </a:lnTo>
                    <a:lnTo>
                      <a:pt x="190" y="252"/>
                    </a:lnTo>
                    <a:lnTo>
                      <a:pt x="190" y="254"/>
                    </a:lnTo>
                    <a:lnTo>
                      <a:pt x="192" y="258"/>
                    </a:lnTo>
                    <a:lnTo>
                      <a:pt x="192" y="262"/>
                    </a:lnTo>
                    <a:lnTo>
                      <a:pt x="192" y="266"/>
                    </a:lnTo>
                    <a:lnTo>
                      <a:pt x="192" y="268"/>
                    </a:lnTo>
                    <a:lnTo>
                      <a:pt x="192" y="270"/>
                    </a:lnTo>
                    <a:lnTo>
                      <a:pt x="192" y="270"/>
                    </a:lnTo>
                    <a:lnTo>
                      <a:pt x="192" y="272"/>
                    </a:lnTo>
                    <a:lnTo>
                      <a:pt x="190" y="274"/>
                    </a:lnTo>
                    <a:lnTo>
                      <a:pt x="186" y="278"/>
                    </a:lnTo>
                    <a:lnTo>
                      <a:pt x="186" y="278"/>
                    </a:lnTo>
                    <a:lnTo>
                      <a:pt x="186" y="278"/>
                    </a:lnTo>
                    <a:lnTo>
                      <a:pt x="184" y="276"/>
                    </a:lnTo>
                    <a:lnTo>
                      <a:pt x="182" y="274"/>
                    </a:lnTo>
                    <a:lnTo>
                      <a:pt x="182" y="274"/>
                    </a:lnTo>
                    <a:lnTo>
                      <a:pt x="182" y="274"/>
                    </a:lnTo>
                    <a:lnTo>
                      <a:pt x="180" y="272"/>
                    </a:lnTo>
                    <a:lnTo>
                      <a:pt x="180" y="272"/>
                    </a:lnTo>
                    <a:lnTo>
                      <a:pt x="180" y="272"/>
                    </a:lnTo>
                    <a:lnTo>
                      <a:pt x="178" y="272"/>
                    </a:lnTo>
                    <a:lnTo>
                      <a:pt x="178" y="272"/>
                    </a:lnTo>
                    <a:lnTo>
                      <a:pt x="178" y="272"/>
                    </a:lnTo>
                    <a:lnTo>
                      <a:pt x="176" y="272"/>
                    </a:lnTo>
                    <a:lnTo>
                      <a:pt x="172" y="272"/>
                    </a:lnTo>
                    <a:lnTo>
                      <a:pt x="166" y="274"/>
                    </a:lnTo>
                    <a:lnTo>
                      <a:pt x="162" y="274"/>
                    </a:lnTo>
                    <a:lnTo>
                      <a:pt x="160" y="276"/>
                    </a:lnTo>
                    <a:lnTo>
                      <a:pt x="158" y="278"/>
                    </a:lnTo>
                    <a:lnTo>
                      <a:pt x="158" y="278"/>
                    </a:lnTo>
                    <a:lnTo>
                      <a:pt x="156" y="278"/>
                    </a:lnTo>
                    <a:lnTo>
                      <a:pt x="154" y="278"/>
                    </a:lnTo>
                    <a:lnTo>
                      <a:pt x="154" y="278"/>
                    </a:lnTo>
                    <a:lnTo>
                      <a:pt x="154" y="280"/>
                    </a:lnTo>
                    <a:lnTo>
                      <a:pt x="154" y="280"/>
                    </a:lnTo>
                    <a:lnTo>
                      <a:pt x="154" y="280"/>
                    </a:lnTo>
                    <a:lnTo>
                      <a:pt x="152" y="282"/>
                    </a:lnTo>
                    <a:lnTo>
                      <a:pt x="152" y="284"/>
                    </a:lnTo>
                    <a:lnTo>
                      <a:pt x="152" y="284"/>
                    </a:lnTo>
                    <a:lnTo>
                      <a:pt x="152" y="284"/>
                    </a:lnTo>
                    <a:lnTo>
                      <a:pt x="150" y="288"/>
                    </a:lnTo>
                    <a:lnTo>
                      <a:pt x="150" y="288"/>
                    </a:lnTo>
                    <a:lnTo>
                      <a:pt x="150" y="288"/>
                    </a:lnTo>
                    <a:lnTo>
                      <a:pt x="150" y="294"/>
                    </a:lnTo>
                    <a:lnTo>
                      <a:pt x="150" y="298"/>
                    </a:lnTo>
                    <a:lnTo>
                      <a:pt x="152" y="300"/>
                    </a:lnTo>
                    <a:lnTo>
                      <a:pt x="152" y="302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50" y="306"/>
                    </a:lnTo>
                    <a:lnTo>
                      <a:pt x="146" y="304"/>
                    </a:lnTo>
                    <a:lnTo>
                      <a:pt x="144" y="302"/>
                    </a:lnTo>
                    <a:lnTo>
                      <a:pt x="140" y="302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32" y="298"/>
                    </a:lnTo>
                    <a:lnTo>
                      <a:pt x="132" y="298"/>
                    </a:lnTo>
                    <a:lnTo>
                      <a:pt x="130" y="298"/>
                    </a:lnTo>
                    <a:lnTo>
                      <a:pt x="130" y="298"/>
                    </a:lnTo>
                    <a:lnTo>
                      <a:pt x="128" y="300"/>
                    </a:lnTo>
                    <a:lnTo>
                      <a:pt x="126" y="302"/>
                    </a:lnTo>
                    <a:lnTo>
                      <a:pt x="126" y="302"/>
                    </a:lnTo>
                    <a:lnTo>
                      <a:pt x="126" y="302"/>
                    </a:lnTo>
                    <a:lnTo>
                      <a:pt x="126" y="306"/>
                    </a:lnTo>
                    <a:lnTo>
                      <a:pt x="126" y="306"/>
                    </a:lnTo>
                    <a:lnTo>
                      <a:pt x="126" y="306"/>
                    </a:lnTo>
                    <a:lnTo>
                      <a:pt x="126" y="308"/>
                    </a:lnTo>
                    <a:lnTo>
                      <a:pt x="126" y="312"/>
                    </a:lnTo>
                    <a:lnTo>
                      <a:pt x="126" y="316"/>
                    </a:lnTo>
                    <a:lnTo>
                      <a:pt x="128" y="318"/>
                    </a:lnTo>
                    <a:lnTo>
                      <a:pt x="128" y="320"/>
                    </a:lnTo>
                    <a:lnTo>
                      <a:pt x="128" y="322"/>
                    </a:lnTo>
                    <a:lnTo>
                      <a:pt x="128" y="322"/>
                    </a:lnTo>
                    <a:lnTo>
                      <a:pt x="126" y="322"/>
                    </a:lnTo>
                    <a:lnTo>
                      <a:pt x="124" y="322"/>
                    </a:lnTo>
                    <a:lnTo>
                      <a:pt x="124" y="322"/>
                    </a:lnTo>
                    <a:lnTo>
                      <a:pt x="120" y="322"/>
                    </a:lnTo>
                    <a:lnTo>
                      <a:pt x="118" y="320"/>
                    </a:lnTo>
                    <a:lnTo>
                      <a:pt x="118" y="320"/>
                    </a:lnTo>
                    <a:lnTo>
                      <a:pt x="118" y="320"/>
                    </a:lnTo>
                    <a:lnTo>
                      <a:pt x="116" y="318"/>
                    </a:lnTo>
                    <a:lnTo>
                      <a:pt x="118" y="316"/>
                    </a:lnTo>
                    <a:lnTo>
                      <a:pt x="118" y="314"/>
                    </a:lnTo>
                    <a:lnTo>
                      <a:pt x="118" y="310"/>
                    </a:lnTo>
                    <a:lnTo>
                      <a:pt x="118" y="308"/>
                    </a:lnTo>
                    <a:lnTo>
                      <a:pt x="118" y="308"/>
                    </a:lnTo>
                    <a:lnTo>
                      <a:pt x="118" y="304"/>
                    </a:lnTo>
                    <a:lnTo>
                      <a:pt x="118" y="304"/>
                    </a:lnTo>
                    <a:lnTo>
                      <a:pt x="116" y="304"/>
                    </a:lnTo>
                    <a:lnTo>
                      <a:pt x="116" y="302"/>
                    </a:lnTo>
                    <a:lnTo>
                      <a:pt x="116" y="302"/>
                    </a:lnTo>
                    <a:lnTo>
                      <a:pt x="114" y="302"/>
                    </a:lnTo>
                    <a:lnTo>
                      <a:pt x="112" y="300"/>
                    </a:lnTo>
                    <a:lnTo>
                      <a:pt x="112" y="300"/>
                    </a:lnTo>
                    <a:lnTo>
                      <a:pt x="112" y="300"/>
                    </a:lnTo>
                    <a:lnTo>
                      <a:pt x="110" y="298"/>
                    </a:lnTo>
                    <a:lnTo>
                      <a:pt x="106" y="298"/>
                    </a:lnTo>
                    <a:lnTo>
                      <a:pt x="102" y="298"/>
                    </a:lnTo>
                    <a:lnTo>
                      <a:pt x="98" y="296"/>
                    </a:lnTo>
                    <a:lnTo>
                      <a:pt x="94" y="296"/>
                    </a:lnTo>
                    <a:lnTo>
                      <a:pt x="90" y="298"/>
                    </a:lnTo>
                    <a:lnTo>
                      <a:pt x="90" y="298"/>
                    </a:lnTo>
                    <a:lnTo>
                      <a:pt x="90" y="298"/>
                    </a:lnTo>
                    <a:lnTo>
                      <a:pt x="88" y="298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300"/>
                    </a:lnTo>
                    <a:lnTo>
                      <a:pt x="86" y="300"/>
                    </a:lnTo>
                    <a:lnTo>
                      <a:pt x="84" y="302"/>
                    </a:lnTo>
                    <a:lnTo>
                      <a:pt x="84" y="304"/>
                    </a:lnTo>
                    <a:lnTo>
                      <a:pt x="84" y="304"/>
                    </a:lnTo>
                    <a:lnTo>
                      <a:pt x="84" y="304"/>
                    </a:lnTo>
                    <a:lnTo>
                      <a:pt x="84" y="306"/>
                    </a:lnTo>
                    <a:lnTo>
                      <a:pt x="84" y="310"/>
                    </a:lnTo>
                    <a:lnTo>
                      <a:pt x="84" y="312"/>
                    </a:lnTo>
                    <a:lnTo>
                      <a:pt x="84" y="314"/>
                    </a:lnTo>
                    <a:lnTo>
                      <a:pt x="84" y="316"/>
                    </a:lnTo>
                    <a:lnTo>
                      <a:pt x="84" y="316"/>
                    </a:lnTo>
                    <a:lnTo>
                      <a:pt x="82" y="318"/>
                    </a:lnTo>
                    <a:lnTo>
                      <a:pt x="80" y="318"/>
                    </a:lnTo>
                    <a:lnTo>
                      <a:pt x="78" y="318"/>
                    </a:lnTo>
                    <a:lnTo>
                      <a:pt x="76" y="318"/>
                    </a:lnTo>
                    <a:lnTo>
                      <a:pt x="74" y="320"/>
                    </a:lnTo>
                    <a:lnTo>
                      <a:pt x="70" y="318"/>
                    </a:lnTo>
                    <a:lnTo>
                      <a:pt x="66" y="318"/>
                    </a:lnTo>
                    <a:lnTo>
                      <a:pt x="64" y="316"/>
                    </a:lnTo>
                    <a:lnTo>
                      <a:pt x="60" y="316"/>
                    </a:lnTo>
                    <a:lnTo>
                      <a:pt x="54" y="312"/>
                    </a:lnTo>
                    <a:lnTo>
                      <a:pt x="50" y="308"/>
                    </a:lnTo>
                    <a:lnTo>
                      <a:pt x="44" y="306"/>
                    </a:lnTo>
                    <a:lnTo>
                      <a:pt x="38" y="302"/>
                    </a:lnTo>
                    <a:lnTo>
                      <a:pt x="32" y="298"/>
                    </a:lnTo>
                    <a:lnTo>
                      <a:pt x="28" y="294"/>
                    </a:lnTo>
                    <a:lnTo>
                      <a:pt x="24" y="292"/>
                    </a:lnTo>
                    <a:lnTo>
                      <a:pt x="22" y="290"/>
                    </a:lnTo>
                    <a:lnTo>
                      <a:pt x="20" y="290"/>
                    </a:lnTo>
                    <a:lnTo>
                      <a:pt x="20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6" y="288"/>
                    </a:lnTo>
                    <a:lnTo>
                      <a:pt x="16" y="288"/>
                    </a:lnTo>
                    <a:lnTo>
                      <a:pt x="16" y="288"/>
                    </a:lnTo>
                    <a:lnTo>
                      <a:pt x="14" y="286"/>
                    </a:lnTo>
                    <a:lnTo>
                      <a:pt x="14" y="282"/>
                    </a:lnTo>
                    <a:lnTo>
                      <a:pt x="12" y="280"/>
                    </a:lnTo>
                    <a:lnTo>
                      <a:pt x="12" y="280"/>
                    </a:lnTo>
                    <a:lnTo>
                      <a:pt x="12" y="280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8" y="278"/>
                    </a:lnTo>
                    <a:lnTo>
                      <a:pt x="8" y="278"/>
                    </a:lnTo>
                    <a:lnTo>
                      <a:pt x="8" y="278"/>
                    </a:lnTo>
                    <a:lnTo>
                      <a:pt x="6" y="278"/>
                    </a:lnTo>
                    <a:lnTo>
                      <a:pt x="6" y="280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82"/>
                    </a:lnTo>
                    <a:lnTo>
                      <a:pt x="4" y="284"/>
                    </a:lnTo>
                    <a:lnTo>
                      <a:pt x="4" y="288"/>
                    </a:lnTo>
                    <a:lnTo>
                      <a:pt x="4" y="292"/>
                    </a:lnTo>
                    <a:lnTo>
                      <a:pt x="4" y="298"/>
                    </a:lnTo>
                    <a:lnTo>
                      <a:pt x="4" y="304"/>
                    </a:lnTo>
                    <a:lnTo>
                      <a:pt x="2" y="310"/>
                    </a:lnTo>
                    <a:lnTo>
                      <a:pt x="2" y="318"/>
                    </a:lnTo>
                    <a:lnTo>
                      <a:pt x="2" y="326"/>
                    </a:lnTo>
                    <a:lnTo>
                      <a:pt x="2" y="336"/>
                    </a:lnTo>
                    <a:lnTo>
                      <a:pt x="2" y="346"/>
                    </a:lnTo>
                    <a:lnTo>
                      <a:pt x="2" y="356"/>
                    </a:lnTo>
                    <a:lnTo>
                      <a:pt x="2" y="376"/>
                    </a:lnTo>
                    <a:lnTo>
                      <a:pt x="2" y="398"/>
                    </a:lnTo>
                    <a:lnTo>
                      <a:pt x="2" y="442"/>
                    </a:lnTo>
                    <a:lnTo>
                      <a:pt x="2" y="452"/>
                    </a:lnTo>
                    <a:lnTo>
                      <a:pt x="2" y="464"/>
                    </a:lnTo>
                    <a:lnTo>
                      <a:pt x="2" y="476"/>
                    </a:lnTo>
                    <a:lnTo>
                      <a:pt x="2" y="488"/>
                    </a:lnTo>
                    <a:lnTo>
                      <a:pt x="2" y="514"/>
                    </a:lnTo>
                    <a:lnTo>
                      <a:pt x="0" y="538"/>
                    </a:lnTo>
                    <a:lnTo>
                      <a:pt x="0" y="552"/>
                    </a:lnTo>
                    <a:lnTo>
                      <a:pt x="0" y="564"/>
                    </a:lnTo>
                    <a:lnTo>
                      <a:pt x="0" y="574"/>
                    </a:lnTo>
                    <a:lnTo>
                      <a:pt x="0" y="586"/>
                    </a:lnTo>
                    <a:lnTo>
                      <a:pt x="0" y="596"/>
                    </a:lnTo>
                    <a:lnTo>
                      <a:pt x="0" y="604"/>
                    </a:lnTo>
                    <a:lnTo>
                      <a:pt x="0" y="612"/>
                    </a:lnTo>
                    <a:lnTo>
                      <a:pt x="0" y="618"/>
                    </a:lnTo>
                    <a:lnTo>
                      <a:pt x="0" y="624"/>
                    </a:lnTo>
                    <a:lnTo>
                      <a:pt x="2" y="628"/>
                    </a:lnTo>
                    <a:lnTo>
                      <a:pt x="2" y="632"/>
                    </a:lnTo>
                    <a:lnTo>
                      <a:pt x="2" y="634"/>
                    </a:lnTo>
                    <a:lnTo>
                      <a:pt x="2" y="634"/>
                    </a:lnTo>
                    <a:lnTo>
                      <a:pt x="2" y="636"/>
                    </a:lnTo>
                    <a:lnTo>
                      <a:pt x="4" y="636"/>
                    </a:lnTo>
                    <a:lnTo>
                      <a:pt x="4" y="636"/>
                    </a:lnTo>
                    <a:lnTo>
                      <a:pt x="4" y="638"/>
                    </a:lnTo>
                    <a:lnTo>
                      <a:pt x="4" y="638"/>
                    </a:lnTo>
                    <a:lnTo>
                      <a:pt x="4" y="638"/>
                    </a:lnTo>
                    <a:lnTo>
                      <a:pt x="6" y="640"/>
                    </a:lnTo>
                    <a:lnTo>
                      <a:pt x="6" y="640"/>
                    </a:lnTo>
                    <a:lnTo>
                      <a:pt x="6" y="640"/>
                    </a:lnTo>
                    <a:lnTo>
                      <a:pt x="8" y="640"/>
                    </a:lnTo>
                    <a:lnTo>
                      <a:pt x="8" y="640"/>
                    </a:lnTo>
                    <a:lnTo>
                      <a:pt x="8" y="640"/>
                    </a:lnTo>
                    <a:lnTo>
                      <a:pt x="10" y="640"/>
                    </a:lnTo>
                    <a:lnTo>
                      <a:pt x="12" y="638"/>
                    </a:lnTo>
                    <a:lnTo>
                      <a:pt x="14" y="636"/>
                    </a:lnTo>
                    <a:lnTo>
                      <a:pt x="14" y="636"/>
                    </a:lnTo>
                    <a:lnTo>
                      <a:pt x="14" y="636"/>
                    </a:lnTo>
                    <a:lnTo>
                      <a:pt x="18" y="638"/>
                    </a:lnTo>
                    <a:lnTo>
                      <a:pt x="24" y="642"/>
                    </a:lnTo>
                    <a:lnTo>
                      <a:pt x="28" y="644"/>
                    </a:lnTo>
                    <a:lnTo>
                      <a:pt x="32" y="646"/>
                    </a:lnTo>
                    <a:lnTo>
                      <a:pt x="34" y="648"/>
                    </a:lnTo>
                    <a:lnTo>
                      <a:pt x="40" y="654"/>
                    </a:lnTo>
                    <a:lnTo>
                      <a:pt x="48" y="660"/>
                    </a:lnTo>
                    <a:lnTo>
                      <a:pt x="54" y="666"/>
                    </a:lnTo>
                    <a:lnTo>
                      <a:pt x="60" y="674"/>
                    </a:lnTo>
                    <a:lnTo>
                      <a:pt x="64" y="678"/>
                    </a:lnTo>
                    <a:lnTo>
                      <a:pt x="66" y="682"/>
                    </a:lnTo>
                    <a:lnTo>
                      <a:pt x="72" y="694"/>
                    </a:lnTo>
                    <a:lnTo>
                      <a:pt x="78" y="704"/>
                    </a:lnTo>
                    <a:lnTo>
                      <a:pt x="82" y="708"/>
                    </a:lnTo>
                    <a:lnTo>
                      <a:pt x="84" y="714"/>
                    </a:lnTo>
                    <a:lnTo>
                      <a:pt x="90" y="722"/>
                    </a:lnTo>
                    <a:lnTo>
                      <a:pt x="96" y="730"/>
                    </a:lnTo>
                    <a:lnTo>
                      <a:pt x="102" y="736"/>
                    </a:lnTo>
                    <a:lnTo>
                      <a:pt x="106" y="744"/>
                    </a:lnTo>
                    <a:lnTo>
                      <a:pt x="108" y="746"/>
                    </a:lnTo>
                    <a:lnTo>
                      <a:pt x="110" y="750"/>
                    </a:lnTo>
                    <a:lnTo>
                      <a:pt x="112" y="756"/>
                    </a:lnTo>
                    <a:lnTo>
                      <a:pt x="114" y="760"/>
                    </a:lnTo>
                    <a:lnTo>
                      <a:pt x="116" y="762"/>
                    </a:lnTo>
                    <a:lnTo>
                      <a:pt x="116" y="762"/>
                    </a:lnTo>
                    <a:lnTo>
                      <a:pt x="118" y="764"/>
                    </a:lnTo>
                    <a:lnTo>
                      <a:pt x="118" y="764"/>
                    </a:lnTo>
                    <a:lnTo>
                      <a:pt x="118" y="766"/>
                    </a:lnTo>
                    <a:lnTo>
                      <a:pt x="120" y="766"/>
                    </a:lnTo>
                    <a:lnTo>
                      <a:pt x="120" y="766"/>
                    </a:lnTo>
                    <a:lnTo>
                      <a:pt x="122" y="768"/>
                    </a:lnTo>
                    <a:lnTo>
                      <a:pt x="124" y="768"/>
                    </a:lnTo>
                    <a:lnTo>
                      <a:pt x="124" y="768"/>
                    </a:lnTo>
                    <a:lnTo>
                      <a:pt x="124" y="768"/>
                    </a:lnTo>
                    <a:lnTo>
                      <a:pt x="128" y="768"/>
                    </a:lnTo>
                    <a:lnTo>
                      <a:pt x="128" y="768"/>
                    </a:lnTo>
                    <a:lnTo>
                      <a:pt x="128" y="768"/>
                    </a:lnTo>
                    <a:lnTo>
                      <a:pt x="132" y="766"/>
                    </a:lnTo>
                    <a:lnTo>
                      <a:pt x="134" y="766"/>
                    </a:lnTo>
                    <a:lnTo>
                      <a:pt x="138" y="764"/>
                    </a:lnTo>
                    <a:lnTo>
                      <a:pt x="140" y="764"/>
                    </a:lnTo>
                    <a:lnTo>
                      <a:pt x="142" y="764"/>
                    </a:lnTo>
                    <a:lnTo>
                      <a:pt x="144" y="764"/>
                    </a:lnTo>
                    <a:lnTo>
                      <a:pt x="144" y="766"/>
                    </a:lnTo>
                    <a:lnTo>
                      <a:pt x="146" y="768"/>
                    </a:lnTo>
                    <a:lnTo>
                      <a:pt x="148" y="770"/>
                    </a:lnTo>
                    <a:lnTo>
                      <a:pt x="150" y="774"/>
                    </a:lnTo>
                    <a:lnTo>
                      <a:pt x="154" y="780"/>
                    </a:lnTo>
                    <a:lnTo>
                      <a:pt x="156" y="784"/>
                    </a:lnTo>
                    <a:lnTo>
                      <a:pt x="158" y="788"/>
                    </a:lnTo>
                    <a:lnTo>
                      <a:pt x="162" y="794"/>
                    </a:lnTo>
                    <a:lnTo>
                      <a:pt x="166" y="798"/>
                    </a:lnTo>
                    <a:lnTo>
                      <a:pt x="170" y="804"/>
                    </a:lnTo>
                    <a:lnTo>
                      <a:pt x="174" y="808"/>
                    </a:lnTo>
                    <a:lnTo>
                      <a:pt x="174" y="812"/>
                    </a:lnTo>
                    <a:lnTo>
                      <a:pt x="176" y="814"/>
                    </a:lnTo>
                    <a:lnTo>
                      <a:pt x="180" y="822"/>
                    </a:lnTo>
                    <a:lnTo>
                      <a:pt x="182" y="826"/>
                    </a:lnTo>
                    <a:lnTo>
                      <a:pt x="184" y="830"/>
                    </a:lnTo>
                    <a:lnTo>
                      <a:pt x="188" y="834"/>
                    </a:lnTo>
                    <a:lnTo>
                      <a:pt x="190" y="836"/>
                    </a:lnTo>
                    <a:lnTo>
                      <a:pt x="190" y="836"/>
                    </a:lnTo>
                    <a:lnTo>
                      <a:pt x="190" y="838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196" y="840"/>
                    </a:lnTo>
                    <a:lnTo>
                      <a:pt x="204" y="844"/>
                    </a:lnTo>
                    <a:lnTo>
                      <a:pt x="210" y="846"/>
                    </a:lnTo>
                    <a:lnTo>
                      <a:pt x="212" y="846"/>
                    </a:lnTo>
                    <a:lnTo>
                      <a:pt x="216" y="848"/>
                    </a:lnTo>
                    <a:lnTo>
                      <a:pt x="226" y="854"/>
                    </a:lnTo>
                    <a:lnTo>
                      <a:pt x="238" y="860"/>
                    </a:lnTo>
                    <a:lnTo>
                      <a:pt x="242" y="860"/>
                    </a:lnTo>
                    <a:lnTo>
                      <a:pt x="246" y="862"/>
                    </a:lnTo>
                    <a:lnTo>
                      <a:pt x="254" y="864"/>
                    </a:lnTo>
                    <a:lnTo>
                      <a:pt x="258" y="866"/>
                    </a:lnTo>
                    <a:lnTo>
                      <a:pt x="260" y="866"/>
                    </a:lnTo>
                    <a:lnTo>
                      <a:pt x="262" y="868"/>
                    </a:lnTo>
                    <a:lnTo>
                      <a:pt x="264" y="868"/>
                    </a:lnTo>
                    <a:lnTo>
                      <a:pt x="266" y="870"/>
                    </a:lnTo>
                    <a:lnTo>
                      <a:pt x="266" y="872"/>
                    </a:lnTo>
                    <a:lnTo>
                      <a:pt x="266" y="874"/>
                    </a:lnTo>
                    <a:lnTo>
                      <a:pt x="266" y="876"/>
                    </a:lnTo>
                    <a:lnTo>
                      <a:pt x="266" y="878"/>
                    </a:lnTo>
                    <a:lnTo>
                      <a:pt x="268" y="882"/>
                    </a:lnTo>
                    <a:lnTo>
                      <a:pt x="268" y="884"/>
                    </a:lnTo>
                    <a:lnTo>
                      <a:pt x="268" y="884"/>
                    </a:lnTo>
                    <a:lnTo>
                      <a:pt x="268" y="884"/>
                    </a:lnTo>
                    <a:lnTo>
                      <a:pt x="270" y="888"/>
                    </a:lnTo>
                    <a:lnTo>
                      <a:pt x="272" y="892"/>
                    </a:lnTo>
                    <a:lnTo>
                      <a:pt x="274" y="894"/>
                    </a:lnTo>
                    <a:lnTo>
                      <a:pt x="280" y="902"/>
                    </a:lnTo>
                    <a:lnTo>
                      <a:pt x="284" y="906"/>
                    </a:lnTo>
                    <a:lnTo>
                      <a:pt x="286" y="910"/>
                    </a:lnTo>
                    <a:lnTo>
                      <a:pt x="290" y="912"/>
                    </a:lnTo>
                    <a:lnTo>
                      <a:pt x="290" y="914"/>
                    </a:lnTo>
                    <a:lnTo>
                      <a:pt x="294" y="912"/>
                    </a:lnTo>
                    <a:lnTo>
                      <a:pt x="366" y="912"/>
                    </a:lnTo>
                    <a:lnTo>
                      <a:pt x="382" y="912"/>
                    </a:lnTo>
                    <a:lnTo>
                      <a:pt x="428" y="912"/>
                    </a:lnTo>
                    <a:lnTo>
                      <a:pt x="444" y="912"/>
                    </a:lnTo>
                    <a:lnTo>
                      <a:pt x="480" y="912"/>
                    </a:lnTo>
                    <a:lnTo>
                      <a:pt x="514" y="912"/>
                    </a:lnTo>
                    <a:lnTo>
                      <a:pt x="550" y="912"/>
                    </a:lnTo>
                    <a:lnTo>
                      <a:pt x="584" y="912"/>
                    </a:lnTo>
                    <a:lnTo>
                      <a:pt x="600" y="912"/>
                    </a:lnTo>
                    <a:lnTo>
                      <a:pt x="616" y="912"/>
                    </a:lnTo>
                    <a:lnTo>
                      <a:pt x="632" y="912"/>
                    </a:lnTo>
                    <a:lnTo>
                      <a:pt x="648" y="912"/>
                    </a:lnTo>
                    <a:lnTo>
                      <a:pt x="662" y="912"/>
                    </a:lnTo>
                    <a:lnTo>
                      <a:pt x="676" y="912"/>
                    </a:lnTo>
                    <a:lnTo>
                      <a:pt x="690" y="912"/>
                    </a:lnTo>
                    <a:lnTo>
                      <a:pt x="702" y="912"/>
                    </a:lnTo>
                    <a:lnTo>
                      <a:pt x="714" y="912"/>
                    </a:lnTo>
                    <a:lnTo>
                      <a:pt x="724" y="912"/>
                    </a:lnTo>
                    <a:lnTo>
                      <a:pt x="734" y="912"/>
                    </a:lnTo>
                    <a:lnTo>
                      <a:pt x="742" y="910"/>
                    </a:lnTo>
                    <a:lnTo>
                      <a:pt x="750" y="910"/>
                    </a:lnTo>
                    <a:lnTo>
                      <a:pt x="756" y="910"/>
                    </a:lnTo>
                    <a:lnTo>
                      <a:pt x="762" y="910"/>
                    </a:lnTo>
                    <a:lnTo>
                      <a:pt x="766" y="910"/>
                    </a:lnTo>
                    <a:lnTo>
                      <a:pt x="770" y="910"/>
                    </a:lnTo>
                    <a:lnTo>
                      <a:pt x="774" y="910"/>
                    </a:lnTo>
                    <a:lnTo>
                      <a:pt x="778" y="910"/>
                    </a:lnTo>
                    <a:lnTo>
                      <a:pt x="780" y="910"/>
                    </a:lnTo>
                    <a:lnTo>
                      <a:pt x="782" y="908"/>
                    </a:lnTo>
                    <a:lnTo>
                      <a:pt x="784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8" y="908"/>
                    </a:lnTo>
                    <a:lnTo>
                      <a:pt x="788" y="908"/>
                    </a:lnTo>
                    <a:lnTo>
                      <a:pt x="788" y="906"/>
                    </a:lnTo>
                    <a:lnTo>
                      <a:pt x="788" y="906"/>
                    </a:lnTo>
                    <a:lnTo>
                      <a:pt x="788" y="906"/>
                    </a:lnTo>
                    <a:lnTo>
                      <a:pt x="788" y="902"/>
                    </a:lnTo>
                    <a:lnTo>
                      <a:pt x="786" y="902"/>
                    </a:lnTo>
                    <a:lnTo>
                      <a:pt x="786" y="902"/>
                    </a:lnTo>
                    <a:lnTo>
                      <a:pt x="786" y="902"/>
                    </a:lnTo>
                    <a:lnTo>
                      <a:pt x="784" y="900"/>
                    </a:lnTo>
                    <a:lnTo>
                      <a:pt x="782" y="900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6"/>
                    </a:lnTo>
                    <a:lnTo>
                      <a:pt x="776" y="894"/>
                    </a:lnTo>
                    <a:lnTo>
                      <a:pt x="776" y="894"/>
                    </a:lnTo>
                    <a:lnTo>
                      <a:pt x="776" y="894"/>
                    </a:lnTo>
                    <a:lnTo>
                      <a:pt x="776" y="892"/>
                    </a:lnTo>
                    <a:lnTo>
                      <a:pt x="776" y="892"/>
                    </a:lnTo>
                    <a:lnTo>
                      <a:pt x="778" y="892"/>
                    </a:lnTo>
                    <a:lnTo>
                      <a:pt x="780" y="894"/>
                    </a:lnTo>
                    <a:lnTo>
                      <a:pt x="784" y="896"/>
                    </a:lnTo>
                    <a:lnTo>
                      <a:pt x="786" y="896"/>
                    </a:lnTo>
                    <a:lnTo>
                      <a:pt x="788" y="896"/>
                    </a:lnTo>
                    <a:lnTo>
                      <a:pt x="792" y="896"/>
                    </a:lnTo>
                    <a:lnTo>
                      <a:pt x="798" y="898"/>
                    </a:lnTo>
                    <a:lnTo>
                      <a:pt x="802" y="898"/>
                    </a:lnTo>
                    <a:lnTo>
                      <a:pt x="804" y="898"/>
                    </a:lnTo>
                    <a:lnTo>
                      <a:pt x="808" y="898"/>
                    </a:lnTo>
                    <a:lnTo>
                      <a:pt x="808" y="900"/>
                    </a:lnTo>
                    <a:lnTo>
                      <a:pt x="808" y="900"/>
                    </a:lnTo>
                    <a:lnTo>
                      <a:pt x="808" y="900"/>
                    </a:lnTo>
                    <a:lnTo>
                      <a:pt x="808" y="902"/>
                    </a:lnTo>
                    <a:lnTo>
                      <a:pt x="808" y="904"/>
                    </a:lnTo>
                    <a:lnTo>
                      <a:pt x="808" y="906"/>
                    </a:lnTo>
                    <a:lnTo>
                      <a:pt x="808" y="908"/>
                    </a:lnTo>
                    <a:lnTo>
                      <a:pt x="808" y="908"/>
                    </a:lnTo>
                    <a:lnTo>
                      <a:pt x="808" y="908"/>
                    </a:lnTo>
                    <a:lnTo>
                      <a:pt x="810" y="910"/>
                    </a:lnTo>
                    <a:lnTo>
                      <a:pt x="810" y="910"/>
                    </a:lnTo>
                    <a:lnTo>
                      <a:pt x="810" y="912"/>
                    </a:lnTo>
                    <a:lnTo>
                      <a:pt x="810" y="912"/>
                    </a:lnTo>
                    <a:lnTo>
                      <a:pt x="810" y="912"/>
                    </a:lnTo>
                    <a:lnTo>
                      <a:pt x="812" y="914"/>
                    </a:lnTo>
                    <a:lnTo>
                      <a:pt x="814" y="914"/>
                    </a:lnTo>
                    <a:lnTo>
                      <a:pt x="814" y="914"/>
                    </a:lnTo>
                    <a:lnTo>
                      <a:pt x="814" y="914"/>
                    </a:lnTo>
                    <a:lnTo>
                      <a:pt x="818" y="916"/>
                    </a:lnTo>
                    <a:lnTo>
                      <a:pt x="820" y="916"/>
                    </a:lnTo>
                    <a:lnTo>
                      <a:pt x="824" y="916"/>
                    </a:lnTo>
                    <a:lnTo>
                      <a:pt x="828" y="916"/>
                    </a:lnTo>
                    <a:lnTo>
                      <a:pt x="830" y="918"/>
                    </a:lnTo>
                    <a:lnTo>
                      <a:pt x="832" y="918"/>
                    </a:lnTo>
                    <a:lnTo>
                      <a:pt x="834" y="918"/>
                    </a:lnTo>
                    <a:lnTo>
                      <a:pt x="834" y="920"/>
                    </a:lnTo>
                    <a:lnTo>
                      <a:pt x="834" y="922"/>
                    </a:lnTo>
                    <a:lnTo>
                      <a:pt x="832" y="926"/>
                    </a:lnTo>
                    <a:lnTo>
                      <a:pt x="830" y="930"/>
                    </a:lnTo>
                    <a:lnTo>
                      <a:pt x="830" y="934"/>
                    </a:lnTo>
                    <a:lnTo>
                      <a:pt x="830" y="938"/>
                    </a:lnTo>
                    <a:lnTo>
                      <a:pt x="830" y="938"/>
                    </a:lnTo>
                    <a:lnTo>
                      <a:pt x="830" y="938"/>
                    </a:lnTo>
                    <a:lnTo>
                      <a:pt x="830" y="942"/>
                    </a:lnTo>
                    <a:lnTo>
                      <a:pt x="830" y="942"/>
                    </a:lnTo>
                    <a:lnTo>
                      <a:pt x="830" y="942"/>
                    </a:lnTo>
                    <a:lnTo>
                      <a:pt x="830" y="944"/>
                    </a:lnTo>
                    <a:lnTo>
                      <a:pt x="830" y="944"/>
                    </a:lnTo>
                    <a:lnTo>
                      <a:pt x="830" y="944"/>
                    </a:lnTo>
                    <a:lnTo>
                      <a:pt x="832" y="946"/>
                    </a:lnTo>
                    <a:lnTo>
                      <a:pt x="832" y="946"/>
                    </a:lnTo>
                    <a:lnTo>
                      <a:pt x="832" y="946"/>
                    </a:lnTo>
                    <a:lnTo>
                      <a:pt x="834" y="948"/>
                    </a:lnTo>
                    <a:lnTo>
                      <a:pt x="834" y="948"/>
                    </a:lnTo>
                    <a:lnTo>
                      <a:pt x="840" y="952"/>
                    </a:lnTo>
                    <a:lnTo>
                      <a:pt x="844" y="954"/>
                    </a:lnTo>
                    <a:lnTo>
                      <a:pt x="850" y="956"/>
                    </a:lnTo>
                    <a:lnTo>
                      <a:pt x="856" y="958"/>
                    </a:lnTo>
                    <a:lnTo>
                      <a:pt x="860" y="960"/>
                    </a:lnTo>
                    <a:lnTo>
                      <a:pt x="864" y="962"/>
                    </a:lnTo>
                    <a:lnTo>
                      <a:pt x="868" y="964"/>
                    </a:lnTo>
                    <a:lnTo>
                      <a:pt x="868" y="964"/>
                    </a:lnTo>
                    <a:lnTo>
                      <a:pt x="870" y="964"/>
                    </a:lnTo>
                    <a:lnTo>
                      <a:pt x="872" y="964"/>
                    </a:lnTo>
                    <a:lnTo>
                      <a:pt x="872" y="964"/>
                    </a:lnTo>
                    <a:lnTo>
                      <a:pt x="872" y="964"/>
                    </a:lnTo>
                    <a:lnTo>
                      <a:pt x="876" y="964"/>
                    </a:lnTo>
                    <a:lnTo>
                      <a:pt x="876" y="964"/>
                    </a:lnTo>
                    <a:lnTo>
                      <a:pt x="876" y="962"/>
                    </a:lnTo>
                    <a:lnTo>
                      <a:pt x="878" y="962"/>
                    </a:lnTo>
                    <a:lnTo>
                      <a:pt x="878" y="962"/>
                    </a:lnTo>
                    <a:lnTo>
                      <a:pt x="878" y="962"/>
                    </a:lnTo>
                    <a:lnTo>
                      <a:pt x="880" y="960"/>
                    </a:lnTo>
                    <a:lnTo>
                      <a:pt x="882" y="960"/>
                    </a:lnTo>
                    <a:lnTo>
                      <a:pt x="882" y="958"/>
                    </a:lnTo>
                    <a:lnTo>
                      <a:pt x="882" y="958"/>
                    </a:lnTo>
                    <a:lnTo>
                      <a:pt x="884" y="958"/>
                    </a:lnTo>
                    <a:lnTo>
                      <a:pt x="884" y="960"/>
                    </a:lnTo>
                    <a:lnTo>
                      <a:pt x="886" y="960"/>
                    </a:lnTo>
                    <a:lnTo>
                      <a:pt x="888" y="962"/>
                    </a:lnTo>
                    <a:lnTo>
                      <a:pt x="892" y="966"/>
                    </a:lnTo>
                    <a:lnTo>
                      <a:pt x="896" y="970"/>
                    </a:lnTo>
                    <a:lnTo>
                      <a:pt x="898" y="972"/>
                    </a:lnTo>
                    <a:lnTo>
                      <a:pt x="898" y="974"/>
                    </a:lnTo>
                    <a:lnTo>
                      <a:pt x="900" y="978"/>
                    </a:lnTo>
                    <a:lnTo>
                      <a:pt x="902" y="982"/>
                    </a:lnTo>
                    <a:lnTo>
                      <a:pt x="904" y="984"/>
                    </a:lnTo>
                    <a:lnTo>
                      <a:pt x="904" y="984"/>
                    </a:lnTo>
                    <a:lnTo>
                      <a:pt x="902" y="984"/>
                    </a:lnTo>
                    <a:lnTo>
                      <a:pt x="900" y="984"/>
                    </a:lnTo>
                    <a:lnTo>
                      <a:pt x="896" y="982"/>
                    </a:lnTo>
                    <a:lnTo>
                      <a:pt x="892" y="982"/>
                    </a:lnTo>
                    <a:lnTo>
                      <a:pt x="888" y="980"/>
                    </a:lnTo>
                    <a:lnTo>
                      <a:pt x="884" y="980"/>
                    </a:lnTo>
                    <a:lnTo>
                      <a:pt x="884" y="980"/>
                    </a:lnTo>
                    <a:lnTo>
                      <a:pt x="884" y="980"/>
                    </a:lnTo>
                    <a:lnTo>
                      <a:pt x="880" y="980"/>
                    </a:lnTo>
                    <a:lnTo>
                      <a:pt x="880" y="980"/>
                    </a:lnTo>
                    <a:lnTo>
                      <a:pt x="880" y="980"/>
                    </a:lnTo>
                    <a:lnTo>
                      <a:pt x="876" y="982"/>
                    </a:lnTo>
                    <a:lnTo>
                      <a:pt x="876" y="982"/>
                    </a:lnTo>
                    <a:lnTo>
                      <a:pt x="876" y="982"/>
                    </a:lnTo>
                    <a:lnTo>
                      <a:pt x="872" y="984"/>
                    </a:lnTo>
                    <a:lnTo>
                      <a:pt x="872" y="984"/>
                    </a:lnTo>
                    <a:lnTo>
                      <a:pt x="872" y="986"/>
                    </a:lnTo>
                    <a:lnTo>
                      <a:pt x="870" y="988"/>
                    </a:lnTo>
                    <a:lnTo>
                      <a:pt x="868" y="994"/>
                    </a:lnTo>
                    <a:lnTo>
                      <a:pt x="866" y="998"/>
                    </a:lnTo>
                    <a:lnTo>
                      <a:pt x="864" y="1008"/>
                    </a:lnTo>
                    <a:lnTo>
                      <a:pt x="862" y="1012"/>
                    </a:lnTo>
                    <a:lnTo>
                      <a:pt x="860" y="1016"/>
                    </a:lnTo>
                    <a:lnTo>
                      <a:pt x="856" y="1022"/>
                    </a:lnTo>
                    <a:lnTo>
                      <a:pt x="852" y="1030"/>
                    </a:lnTo>
                    <a:lnTo>
                      <a:pt x="850" y="1034"/>
                    </a:lnTo>
                    <a:lnTo>
                      <a:pt x="848" y="1036"/>
                    </a:lnTo>
                    <a:lnTo>
                      <a:pt x="846" y="1040"/>
                    </a:lnTo>
                    <a:lnTo>
                      <a:pt x="846" y="1042"/>
                    </a:lnTo>
                    <a:lnTo>
                      <a:pt x="846" y="1044"/>
                    </a:lnTo>
                    <a:lnTo>
                      <a:pt x="846" y="1044"/>
                    </a:lnTo>
                    <a:lnTo>
                      <a:pt x="846" y="1044"/>
                    </a:lnTo>
                    <a:lnTo>
                      <a:pt x="846" y="1046"/>
                    </a:lnTo>
                    <a:lnTo>
                      <a:pt x="846" y="1046"/>
                    </a:lnTo>
                    <a:lnTo>
                      <a:pt x="846" y="1046"/>
                    </a:lnTo>
                    <a:lnTo>
                      <a:pt x="846" y="1050"/>
                    </a:lnTo>
                    <a:lnTo>
                      <a:pt x="846" y="1050"/>
                    </a:lnTo>
                    <a:lnTo>
                      <a:pt x="846" y="1050"/>
                    </a:lnTo>
                    <a:lnTo>
                      <a:pt x="848" y="1050"/>
                    </a:lnTo>
                    <a:lnTo>
                      <a:pt x="848" y="1050"/>
                    </a:lnTo>
                    <a:lnTo>
                      <a:pt x="848" y="1052"/>
                    </a:lnTo>
                    <a:lnTo>
                      <a:pt x="848" y="1052"/>
                    </a:lnTo>
                    <a:lnTo>
                      <a:pt x="848" y="1052"/>
                    </a:lnTo>
                    <a:lnTo>
                      <a:pt x="850" y="1052"/>
                    </a:lnTo>
                    <a:lnTo>
                      <a:pt x="852" y="1052"/>
                    </a:lnTo>
                    <a:lnTo>
                      <a:pt x="852" y="1052"/>
                    </a:lnTo>
                    <a:lnTo>
                      <a:pt x="852" y="1052"/>
                    </a:lnTo>
                    <a:lnTo>
                      <a:pt x="854" y="1052"/>
                    </a:lnTo>
                    <a:lnTo>
                      <a:pt x="854" y="1052"/>
                    </a:lnTo>
                    <a:lnTo>
                      <a:pt x="854" y="1050"/>
                    </a:lnTo>
                    <a:lnTo>
                      <a:pt x="854" y="1050"/>
                    </a:lnTo>
                    <a:lnTo>
                      <a:pt x="854" y="1050"/>
                    </a:lnTo>
                    <a:lnTo>
                      <a:pt x="856" y="1048"/>
                    </a:lnTo>
                    <a:lnTo>
                      <a:pt x="856" y="1046"/>
                    </a:lnTo>
                    <a:lnTo>
                      <a:pt x="856" y="1044"/>
                    </a:lnTo>
                    <a:lnTo>
                      <a:pt x="858" y="1042"/>
                    </a:lnTo>
                    <a:lnTo>
                      <a:pt x="858" y="1038"/>
                    </a:lnTo>
                    <a:lnTo>
                      <a:pt x="860" y="1036"/>
                    </a:lnTo>
                    <a:lnTo>
                      <a:pt x="862" y="1034"/>
                    </a:lnTo>
                    <a:lnTo>
                      <a:pt x="864" y="1032"/>
                    </a:lnTo>
                    <a:lnTo>
                      <a:pt x="866" y="1032"/>
                    </a:lnTo>
                    <a:lnTo>
                      <a:pt x="868" y="1032"/>
                    </a:lnTo>
                    <a:lnTo>
                      <a:pt x="874" y="1030"/>
                    </a:lnTo>
                    <a:lnTo>
                      <a:pt x="880" y="1030"/>
                    </a:lnTo>
                    <a:lnTo>
                      <a:pt x="886" y="1030"/>
                    </a:lnTo>
                    <a:lnTo>
                      <a:pt x="892" y="1030"/>
                    </a:lnTo>
                    <a:lnTo>
                      <a:pt x="900" y="1028"/>
                    </a:lnTo>
                    <a:lnTo>
                      <a:pt x="904" y="1028"/>
                    </a:lnTo>
                    <a:lnTo>
                      <a:pt x="906" y="1028"/>
                    </a:lnTo>
                    <a:lnTo>
                      <a:pt x="908" y="1026"/>
                    </a:lnTo>
                    <a:lnTo>
                      <a:pt x="908" y="1026"/>
                    </a:lnTo>
                    <a:lnTo>
                      <a:pt x="910" y="1026"/>
                    </a:lnTo>
                    <a:lnTo>
                      <a:pt x="912" y="1024"/>
                    </a:lnTo>
                    <a:lnTo>
                      <a:pt x="912" y="1024"/>
                    </a:lnTo>
                    <a:lnTo>
                      <a:pt x="912" y="1024"/>
                    </a:lnTo>
                    <a:lnTo>
                      <a:pt x="914" y="1020"/>
                    </a:lnTo>
                    <a:lnTo>
                      <a:pt x="914" y="1020"/>
                    </a:lnTo>
                    <a:lnTo>
                      <a:pt x="914" y="1020"/>
                    </a:lnTo>
                    <a:lnTo>
                      <a:pt x="914" y="1018"/>
                    </a:lnTo>
                    <a:lnTo>
                      <a:pt x="914" y="1016"/>
                    </a:lnTo>
                    <a:lnTo>
                      <a:pt x="914" y="1014"/>
                    </a:lnTo>
                    <a:lnTo>
                      <a:pt x="914" y="1010"/>
                    </a:lnTo>
                    <a:lnTo>
                      <a:pt x="914" y="1008"/>
                    </a:lnTo>
                    <a:lnTo>
                      <a:pt x="916" y="1006"/>
                    </a:lnTo>
                    <a:lnTo>
                      <a:pt x="916" y="1006"/>
                    </a:lnTo>
                    <a:lnTo>
                      <a:pt x="918" y="1004"/>
                    </a:lnTo>
                    <a:lnTo>
                      <a:pt x="920" y="1004"/>
                    </a:lnTo>
                    <a:lnTo>
                      <a:pt x="922" y="1004"/>
                    </a:lnTo>
                    <a:lnTo>
                      <a:pt x="926" y="1004"/>
                    </a:lnTo>
                    <a:lnTo>
                      <a:pt x="932" y="1004"/>
                    </a:lnTo>
                    <a:lnTo>
                      <a:pt x="936" y="1004"/>
                    </a:lnTo>
                    <a:lnTo>
                      <a:pt x="940" y="1002"/>
                    </a:lnTo>
                    <a:lnTo>
                      <a:pt x="940" y="1002"/>
                    </a:lnTo>
                    <a:lnTo>
                      <a:pt x="940" y="1002"/>
                    </a:lnTo>
                    <a:lnTo>
                      <a:pt x="944" y="1002"/>
                    </a:lnTo>
                    <a:lnTo>
                      <a:pt x="944" y="1002"/>
                    </a:lnTo>
                    <a:lnTo>
                      <a:pt x="944" y="1002"/>
                    </a:lnTo>
                    <a:lnTo>
                      <a:pt x="948" y="1000"/>
                    </a:lnTo>
                    <a:lnTo>
                      <a:pt x="954" y="994"/>
                    </a:lnTo>
                    <a:lnTo>
                      <a:pt x="956" y="992"/>
                    </a:lnTo>
                    <a:lnTo>
                      <a:pt x="960" y="990"/>
                    </a:lnTo>
                    <a:lnTo>
                      <a:pt x="964" y="988"/>
                    </a:lnTo>
                    <a:lnTo>
                      <a:pt x="968" y="986"/>
                    </a:lnTo>
                    <a:lnTo>
                      <a:pt x="970" y="986"/>
                    </a:lnTo>
                    <a:lnTo>
                      <a:pt x="974" y="986"/>
                    </a:lnTo>
                    <a:lnTo>
                      <a:pt x="980" y="984"/>
                    </a:lnTo>
                    <a:lnTo>
                      <a:pt x="988" y="984"/>
                    </a:lnTo>
                    <a:lnTo>
                      <a:pt x="998" y="984"/>
                    </a:lnTo>
                    <a:lnTo>
                      <a:pt x="1006" y="984"/>
                    </a:lnTo>
                    <a:lnTo>
                      <a:pt x="1014" y="982"/>
                    </a:lnTo>
                    <a:lnTo>
                      <a:pt x="1018" y="982"/>
                    </a:lnTo>
                    <a:lnTo>
                      <a:pt x="1020" y="982"/>
                    </a:lnTo>
                    <a:lnTo>
                      <a:pt x="1024" y="982"/>
                    </a:lnTo>
                    <a:lnTo>
                      <a:pt x="1026" y="982"/>
                    </a:lnTo>
                    <a:lnTo>
                      <a:pt x="1030" y="980"/>
                    </a:lnTo>
                    <a:lnTo>
                      <a:pt x="1030" y="980"/>
                    </a:lnTo>
                    <a:lnTo>
                      <a:pt x="1030" y="980"/>
                    </a:lnTo>
                    <a:lnTo>
                      <a:pt x="1034" y="978"/>
                    </a:lnTo>
                    <a:lnTo>
                      <a:pt x="1034" y="978"/>
                    </a:lnTo>
                    <a:lnTo>
                      <a:pt x="1034" y="978"/>
                    </a:lnTo>
                    <a:lnTo>
                      <a:pt x="1036" y="976"/>
                    </a:lnTo>
                    <a:lnTo>
                      <a:pt x="1036" y="976"/>
                    </a:lnTo>
                    <a:lnTo>
                      <a:pt x="1036" y="976"/>
                    </a:lnTo>
                    <a:lnTo>
                      <a:pt x="1038" y="974"/>
                    </a:lnTo>
                    <a:lnTo>
                      <a:pt x="1038" y="974"/>
                    </a:lnTo>
                    <a:lnTo>
                      <a:pt x="1038" y="972"/>
                    </a:lnTo>
                    <a:lnTo>
                      <a:pt x="1038" y="970"/>
                    </a:lnTo>
                    <a:lnTo>
                      <a:pt x="1040" y="968"/>
                    </a:lnTo>
                    <a:lnTo>
                      <a:pt x="1040" y="968"/>
                    </a:lnTo>
                    <a:lnTo>
                      <a:pt x="1040" y="966"/>
                    </a:lnTo>
                    <a:lnTo>
                      <a:pt x="1046" y="960"/>
                    </a:lnTo>
                    <a:lnTo>
                      <a:pt x="1050" y="958"/>
                    </a:lnTo>
                    <a:lnTo>
                      <a:pt x="1052" y="954"/>
                    </a:lnTo>
                    <a:lnTo>
                      <a:pt x="1052" y="954"/>
                    </a:lnTo>
                    <a:lnTo>
                      <a:pt x="1052" y="952"/>
                    </a:lnTo>
                    <a:lnTo>
                      <a:pt x="1054" y="950"/>
                    </a:lnTo>
                    <a:lnTo>
                      <a:pt x="1054" y="948"/>
                    </a:lnTo>
                    <a:lnTo>
                      <a:pt x="1056" y="944"/>
                    </a:lnTo>
                    <a:lnTo>
                      <a:pt x="1058" y="940"/>
                    </a:lnTo>
                    <a:lnTo>
                      <a:pt x="1058" y="938"/>
                    </a:lnTo>
                    <a:lnTo>
                      <a:pt x="1058" y="936"/>
                    </a:lnTo>
                    <a:lnTo>
                      <a:pt x="1060" y="936"/>
                    </a:lnTo>
                    <a:lnTo>
                      <a:pt x="1062" y="934"/>
                    </a:lnTo>
                    <a:lnTo>
                      <a:pt x="1064" y="934"/>
                    </a:lnTo>
                    <a:lnTo>
                      <a:pt x="1068" y="934"/>
                    </a:lnTo>
                    <a:lnTo>
                      <a:pt x="1070" y="934"/>
                    </a:lnTo>
                    <a:lnTo>
                      <a:pt x="1074" y="932"/>
                    </a:lnTo>
                    <a:lnTo>
                      <a:pt x="1076" y="932"/>
                    </a:lnTo>
                    <a:lnTo>
                      <a:pt x="1076" y="932"/>
                    </a:lnTo>
                    <a:lnTo>
                      <a:pt x="1076" y="932"/>
                    </a:lnTo>
                    <a:lnTo>
                      <a:pt x="1076" y="934"/>
                    </a:lnTo>
                    <a:lnTo>
                      <a:pt x="1076" y="934"/>
                    </a:lnTo>
                    <a:lnTo>
                      <a:pt x="1078" y="936"/>
                    </a:lnTo>
                    <a:lnTo>
                      <a:pt x="1078" y="938"/>
                    </a:lnTo>
                    <a:lnTo>
                      <a:pt x="1078" y="942"/>
                    </a:lnTo>
                    <a:lnTo>
                      <a:pt x="1078" y="948"/>
                    </a:lnTo>
                    <a:lnTo>
                      <a:pt x="1078" y="950"/>
                    </a:lnTo>
                    <a:lnTo>
                      <a:pt x="1078" y="952"/>
                    </a:lnTo>
                    <a:lnTo>
                      <a:pt x="1076" y="958"/>
                    </a:lnTo>
                    <a:lnTo>
                      <a:pt x="1076" y="962"/>
                    </a:lnTo>
                    <a:lnTo>
                      <a:pt x="1078" y="966"/>
                    </a:lnTo>
                    <a:lnTo>
                      <a:pt x="1078" y="966"/>
                    </a:lnTo>
                    <a:lnTo>
                      <a:pt x="1078" y="968"/>
                    </a:lnTo>
                    <a:lnTo>
                      <a:pt x="1078" y="968"/>
                    </a:lnTo>
                    <a:lnTo>
                      <a:pt x="1078" y="968"/>
                    </a:lnTo>
                    <a:lnTo>
                      <a:pt x="1078" y="970"/>
                    </a:lnTo>
                    <a:lnTo>
                      <a:pt x="1080" y="970"/>
                    </a:lnTo>
                    <a:lnTo>
                      <a:pt x="1080" y="970"/>
                    </a:lnTo>
                    <a:lnTo>
                      <a:pt x="1080" y="972"/>
                    </a:lnTo>
                    <a:lnTo>
                      <a:pt x="1082" y="972"/>
                    </a:lnTo>
                    <a:lnTo>
                      <a:pt x="1084" y="974"/>
                    </a:lnTo>
                    <a:lnTo>
                      <a:pt x="1088" y="978"/>
                    </a:lnTo>
                    <a:lnTo>
                      <a:pt x="1092" y="980"/>
                    </a:lnTo>
                    <a:lnTo>
                      <a:pt x="1094" y="980"/>
                    </a:lnTo>
                    <a:lnTo>
                      <a:pt x="1094" y="980"/>
                    </a:lnTo>
                    <a:lnTo>
                      <a:pt x="1094" y="982"/>
                    </a:lnTo>
                    <a:lnTo>
                      <a:pt x="1096" y="982"/>
                    </a:lnTo>
                    <a:lnTo>
                      <a:pt x="1096" y="982"/>
                    </a:lnTo>
                    <a:lnTo>
                      <a:pt x="1098" y="982"/>
                    </a:lnTo>
                    <a:lnTo>
                      <a:pt x="1098" y="980"/>
                    </a:lnTo>
                    <a:lnTo>
                      <a:pt x="1098" y="980"/>
                    </a:lnTo>
                    <a:lnTo>
                      <a:pt x="1100" y="980"/>
                    </a:lnTo>
                    <a:lnTo>
                      <a:pt x="1100" y="978"/>
                    </a:lnTo>
                    <a:lnTo>
                      <a:pt x="1100" y="978"/>
                    </a:lnTo>
                    <a:lnTo>
                      <a:pt x="1100" y="978"/>
                    </a:lnTo>
                    <a:lnTo>
                      <a:pt x="1102" y="976"/>
                    </a:lnTo>
                    <a:lnTo>
                      <a:pt x="1102" y="976"/>
                    </a:lnTo>
                    <a:lnTo>
                      <a:pt x="1102" y="976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4" y="976"/>
                    </a:lnTo>
                    <a:lnTo>
                      <a:pt x="1104" y="976"/>
                    </a:lnTo>
                    <a:lnTo>
                      <a:pt x="1104" y="976"/>
                    </a:lnTo>
                    <a:lnTo>
                      <a:pt x="1106" y="976"/>
                    </a:lnTo>
                    <a:lnTo>
                      <a:pt x="1106" y="976"/>
                    </a:lnTo>
                    <a:lnTo>
                      <a:pt x="1106" y="976"/>
                    </a:lnTo>
                    <a:lnTo>
                      <a:pt x="1108" y="976"/>
                    </a:lnTo>
                    <a:lnTo>
                      <a:pt x="1110" y="974"/>
                    </a:lnTo>
                    <a:lnTo>
                      <a:pt x="1114" y="974"/>
                    </a:lnTo>
                    <a:lnTo>
                      <a:pt x="1118" y="972"/>
                    </a:lnTo>
                    <a:lnTo>
                      <a:pt x="1120" y="970"/>
                    </a:lnTo>
                    <a:lnTo>
                      <a:pt x="1120" y="970"/>
                    </a:lnTo>
                    <a:lnTo>
                      <a:pt x="1120" y="970"/>
                    </a:lnTo>
                    <a:lnTo>
                      <a:pt x="1120" y="974"/>
                    </a:lnTo>
                    <a:lnTo>
                      <a:pt x="1120" y="974"/>
                    </a:lnTo>
                    <a:lnTo>
                      <a:pt x="1122" y="976"/>
                    </a:lnTo>
                    <a:lnTo>
                      <a:pt x="1124" y="976"/>
                    </a:lnTo>
                    <a:lnTo>
                      <a:pt x="1106" y="982"/>
                    </a:lnTo>
                    <a:lnTo>
                      <a:pt x="1106" y="982"/>
                    </a:lnTo>
                    <a:lnTo>
                      <a:pt x="1104" y="984"/>
                    </a:lnTo>
                    <a:lnTo>
                      <a:pt x="1094" y="1002"/>
                    </a:lnTo>
                    <a:lnTo>
                      <a:pt x="1094" y="1002"/>
                    </a:lnTo>
                    <a:lnTo>
                      <a:pt x="1096" y="1004"/>
                    </a:lnTo>
                    <a:lnTo>
                      <a:pt x="1108" y="1022"/>
                    </a:lnTo>
                    <a:lnTo>
                      <a:pt x="1108" y="1022"/>
                    </a:lnTo>
                    <a:lnTo>
                      <a:pt x="1110" y="1024"/>
                    </a:lnTo>
                    <a:lnTo>
                      <a:pt x="1110" y="1024"/>
                    </a:lnTo>
                    <a:lnTo>
                      <a:pt x="1112" y="1022"/>
                    </a:lnTo>
                    <a:lnTo>
                      <a:pt x="1134" y="996"/>
                    </a:lnTo>
                    <a:lnTo>
                      <a:pt x="1142" y="1000"/>
                    </a:lnTo>
                    <a:lnTo>
                      <a:pt x="1142" y="1000"/>
                    </a:lnTo>
                    <a:lnTo>
                      <a:pt x="1146" y="998"/>
                    </a:lnTo>
                    <a:lnTo>
                      <a:pt x="1154" y="992"/>
                    </a:lnTo>
                    <a:lnTo>
                      <a:pt x="1186" y="980"/>
                    </a:lnTo>
                    <a:lnTo>
                      <a:pt x="1186" y="980"/>
                    </a:lnTo>
                    <a:lnTo>
                      <a:pt x="1188" y="980"/>
                    </a:lnTo>
                    <a:lnTo>
                      <a:pt x="1188" y="978"/>
                    </a:lnTo>
                    <a:lnTo>
                      <a:pt x="1188" y="972"/>
                    </a:lnTo>
                    <a:lnTo>
                      <a:pt x="1206" y="964"/>
                    </a:lnTo>
                    <a:lnTo>
                      <a:pt x="1206" y="964"/>
                    </a:lnTo>
                    <a:lnTo>
                      <a:pt x="1208" y="960"/>
                    </a:lnTo>
                    <a:lnTo>
                      <a:pt x="1208" y="960"/>
                    </a:lnTo>
                    <a:lnTo>
                      <a:pt x="1206" y="958"/>
                    </a:lnTo>
                    <a:lnTo>
                      <a:pt x="1196" y="954"/>
                    </a:lnTo>
                    <a:lnTo>
                      <a:pt x="1196" y="946"/>
                    </a:lnTo>
                    <a:lnTo>
                      <a:pt x="1196" y="946"/>
                    </a:lnTo>
                    <a:lnTo>
                      <a:pt x="1196" y="946"/>
                    </a:lnTo>
                    <a:lnTo>
                      <a:pt x="1194" y="936"/>
                    </a:lnTo>
                    <a:lnTo>
                      <a:pt x="1194" y="936"/>
                    </a:lnTo>
                    <a:lnTo>
                      <a:pt x="1190" y="934"/>
                    </a:lnTo>
                    <a:lnTo>
                      <a:pt x="1190" y="934"/>
                    </a:lnTo>
                    <a:lnTo>
                      <a:pt x="1188" y="936"/>
                    </a:lnTo>
                    <a:lnTo>
                      <a:pt x="1182" y="946"/>
                    </a:lnTo>
                    <a:lnTo>
                      <a:pt x="1174" y="956"/>
                    </a:lnTo>
                    <a:lnTo>
                      <a:pt x="1174" y="956"/>
                    </a:lnTo>
                    <a:lnTo>
                      <a:pt x="1172" y="958"/>
                    </a:lnTo>
                    <a:lnTo>
                      <a:pt x="1174" y="966"/>
                    </a:lnTo>
                    <a:lnTo>
                      <a:pt x="1174" y="966"/>
                    </a:lnTo>
                    <a:lnTo>
                      <a:pt x="1174" y="964"/>
                    </a:lnTo>
                    <a:lnTo>
                      <a:pt x="1174" y="964"/>
                    </a:lnTo>
                    <a:lnTo>
                      <a:pt x="1172" y="962"/>
                    </a:lnTo>
                    <a:lnTo>
                      <a:pt x="1172" y="962"/>
                    </a:lnTo>
                    <a:lnTo>
                      <a:pt x="1168" y="962"/>
                    </a:lnTo>
                    <a:lnTo>
                      <a:pt x="1164" y="964"/>
                    </a:lnTo>
                    <a:lnTo>
                      <a:pt x="1166" y="960"/>
                    </a:lnTo>
                    <a:lnTo>
                      <a:pt x="1172" y="954"/>
                    </a:lnTo>
                    <a:lnTo>
                      <a:pt x="1172" y="954"/>
                    </a:lnTo>
                    <a:lnTo>
                      <a:pt x="1172" y="950"/>
                    </a:lnTo>
                    <a:lnTo>
                      <a:pt x="1172" y="950"/>
                    </a:lnTo>
                    <a:lnTo>
                      <a:pt x="1168" y="948"/>
                    </a:lnTo>
                    <a:lnTo>
                      <a:pt x="1162" y="948"/>
                    </a:lnTo>
                    <a:lnTo>
                      <a:pt x="1150" y="946"/>
                    </a:lnTo>
                    <a:lnTo>
                      <a:pt x="1140" y="942"/>
                    </a:lnTo>
                    <a:lnTo>
                      <a:pt x="1138" y="938"/>
                    </a:lnTo>
                    <a:lnTo>
                      <a:pt x="1138" y="938"/>
                    </a:lnTo>
                    <a:lnTo>
                      <a:pt x="1136" y="936"/>
                    </a:lnTo>
                    <a:lnTo>
                      <a:pt x="1136" y="936"/>
                    </a:lnTo>
                    <a:lnTo>
                      <a:pt x="1134" y="936"/>
                    </a:lnTo>
                    <a:lnTo>
                      <a:pt x="1128" y="944"/>
                    </a:lnTo>
                    <a:lnTo>
                      <a:pt x="1128" y="944"/>
                    </a:lnTo>
                    <a:lnTo>
                      <a:pt x="1128" y="946"/>
                    </a:lnTo>
                    <a:lnTo>
                      <a:pt x="1130" y="948"/>
                    </a:lnTo>
                    <a:lnTo>
                      <a:pt x="1136" y="954"/>
                    </a:lnTo>
                    <a:lnTo>
                      <a:pt x="1136" y="954"/>
                    </a:lnTo>
                    <a:lnTo>
                      <a:pt x="1136" y="956"/>
                    </a:lnTo>
                    <a:lnTo>
                      <a:pt x="1134" y="956"/>
                    </a:lnTo>
                    <a:lnTo>
                      <a:pt x="1134" y="956"/>
                    </a:lnTo>
                    <a:lnTo>
                      <a:pt x="1134" y="956"/>
                    </a:lnTo>
                    <a:lnTo>
                      <a:pt x="1132" y="954"/>
                    </a:lnTo>
                    <a:lnTo>
                      <a:pt x="1130" y="952"/>
                    </a:lnTo>
                    <a:lnTo>
                      <a:pt x="1128" y="950"/>
                    </a:lnTo>
                    <a:lnTo>
                      <a:pt x="1126" y="948"/>
                    </a:lnTo>
                    <a:lnTo>
                      <a:pt x="1124" y="946"/>
                    </a:lnTo>
                    <a:lnTo>
                      <a:pt x="1124" y="946"/>
                    </a:lnTo>
                    <a:lnTo>
                      <a:pt x="1124" y="946"/>
                    </a:lnTo>
                    <a:lnTo>
                      <a:pt x="1124" y="944"/>
                    </a:lnTo>
                    <a:lnTo>
                      <a:pt x="1126" y="944"/>
                    </a:lnTo>
                    <a:lnTo>
                      <a:pt x="1126" y="942"/>
                    </a:lnTo>
                    <a:lnTo>
                      <a:pt x="1128" y="942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30" y="938"/>
                    </a:lnTo>
                    <a:lnTo>
                      <a:pt x="1130" y="936"/>
                    </a:lnTo>
                    <a:lnTo>
                      <a:pt x="1130" y="936"/>
                    </a:lnTo>
                    <a:lnTo>
                      <a:pt x="1128" y="934"/>
                    </a:lnTo>
                    <a:lnTo>
                      <a:pt x="1128" y="934"/>
                    </a:lnTo>
                    <a:lnTo>
                      <a:pt x="1128" y="934"/>
                    </a:lnTo>
                    <a:lnTo>
                      <a:pt x="1126" y="934"/>
                    </a:lnTo>
                    <a:lnTo>
                      <a:pt x="1124" y="934"/>
                    </a:lnTo>
                    <a:lnTo>
                      <a:pt x="1122" y="934"/>
                    </a:lnTo>
                    <a:lnTo>
                      <a:pt x="1120" y="934"/>
                    </a:lnTo>
                    <a:lnTo>
                      <a:pt x="1120" y="934"/>
                    </a:lnTo>
                    <a:lnTo>
                      <a:pt x="1120" y="934"/>
                    </a:lnTo>
                    <a:lnTo>
                      <a:pt x="1122" y="930"/>
                    </a:lnTo>
                    <a:lnTo>
                      <a:pt x="1122" y="928"/>
                    </a:lnTo>
                    <a:lnTo>
                      <a:pt x="1124" y="926"/>
                    </a:lnTo>
                    <a:lnTo>
                      <a:pt x="1126" y="924"/>
                    </a:lnTo>
                    <a:lnTo>
                      <a:pt x="1126" y="922"/>
                    </a:lnTo>
                    <a:lnTo>
                      <a:pt x="1126" y="922"/>
                    </a:lnTo>
                    <a:lnTo>
                      <a:pt x="1128" y="920"/>
                    </a:lnTo>
                    <a:lnTo>
                      <a:pt x="1128" y="920"/>
                    </a:lnTo>
                    <a:lnTo>
                      <a:pt x="1128" y="920"/>
                    </a:lnTo>
                    <a:lnTo>
                      <a:pt x="1126" y="918"/>
                    </a:lnTo>
                    <a:lnTo>
                      <a:pt x="1126" y="916"/>
                    </a:lnTo>
                    <a:lnTo>
                      <a:pt x="1126" y="916"/>
                    </a:lnTo>
                    <a:lnTo>
                      <a:pt x="1124" y="916"/>
                    </a:lnTo>
                    <a:lnTo>
                      <a:pt x="1124" y="916"/>
                    </a:lnTo>
                    <a:lnTo>
                      <a:pt x="1124" y="916"/>
                    </a:lnTo>
                    <a:lnTo>
                      <a:pt x="1122" y="916"/>
                    </a:lnTo>
                    <a:lnTo>
                      <a:pt x="1120" y="916"/>
                    </a:lnTo>
                    <a:lnTo>
                      <a:pt x="1118" y="916"/>
                    </a:lnTo>
                    <a:lnTo>
                      <a:pt x="1114" y="916"/>
                    </a:lnTo>
                    <a:lnTo>
                      <a:pt x="1114" y="916"/>
                    </a:lnTo>
                    <a:lnTo>
                      <a:pt x="1112" y="916"/>
                    </a:lnTo>
                    <a:lnTo>
                      <a:pt x="1112" y="916"/>
                    </a:lnTo>
                    <a:lnTo>
                      <a:pt x="1110" y="914"/>
                    </a:lnTo>
                    <a:lnTo>
                      <a:pt x="1104" y="912"/>
                    </a:lnTo>
                    <a:lnTo>
                      <a:pt x="1102" y="910"/>
                    </a:lnTo>
                    <a:lnTo>
                      <a:pt x="1102" y="910"/>
                    </a:lnTo>
                    <a:lnTo>
                      <a:pt x="1100" y="908"/>
                    </a:lnTo>
                    <a:lnTo>
                      <a:pt x="1100" y="908"/>
                    </a:lnTo>
                    <a:lnTo>
                      <a:pt x="1102" y="906"/>
                    </a:lnTo>
                    <a:lnTo>
                      <a:pt x="1106" y="904"/>
                    </a:lnTo>
                    <a:lnTo>
                      <a:pt x="1108" y="902"/>
                    </a:lnTo>
                    <a:lnTo>
                      <a:pt x="1112" y="900"/>
                    </a:lnTo>
                    <a:lnTo>
                      <a:pt x="1114" y="898"/>
                    </a:lnTo>
                    <a:lnTo>
                      <a:pt x="1114" y="898"/>
                    </a:lnTo>
                    <a:lnTo>
                      <a:pt x="1114" y="898"/>
                    </a:lnTo>
                    <a:lnTo>
                      <a:pt x="1116" y="896"/>
                    </a:lnTo>
                    <a:lnTo>
                      <a:pt x="1116" y="896"/>
                    </a:lnTo>
                    <a:lnTo>
                      <a:pt x="1116" y="894"/>
                    </a:lnTo>
                    <a:lnTo>
                      <a:pt x="1118" y="894"/>
                    </a:lnTo>
                    <a:lnTo>
                      <a:pt x="1118" y="894"/>
                    </a:lnTo>
                    <a:lnTo>
                      <a:pt x="1118" y="894"/>
                    </a:lnTo>
                    <a:lnTo>
                      <a:pt x="1118" y="892"/>
                    </a:lnTo>
                    <a:lnTo>
                      <a:pt x="1118" y="892"/>
                    </a:lnTo>
                    <a:lnTo>
                      <a:pt x="1118" y="890"/>
                    </a:lnTo>
                    <a:lnTo>
                      <a:pt x="1116" y="890"/>
                    </a:lnTo>
                    <a:lnTo>
                      <a:pt x="1116" y="890"/>
                    </a:lnTo>
                    <a:lnTo>
                      <a:pt x="1116" y="888"/>
                    </a:lnTo>
                    <a:lnTo>
                      <a:pt x="1114" y="886"/>
                    </a:lnTo>
                    <a:lnTo>
                      <a:pt x="1114" y="886"/>
                    </a:lnTo>
                    <a:lnTo>
                      <a:pt x="1114" y="886"/>
                    </a:lnTo>
                    <a:lnTo>
                      <a:pt x="1110" y="884"/>
                    </a:lnTo>
                    <a:lnTo>
                      <a:pt x="1108" y="882"/>
                    </a:lnTo>
                    <a:lnTo>
                      <a:pt x="1104" y="882"/>
                    </a:lnTo>
                    <a:lnTo>
                      <a:pt x="1100" y="880"/>
                    </a:lnTo>
                    <a:lnTo>
                      <a:pt x="1100" y="880"/>
                    </a:lnTo>
                    <a:lnTo>
                      <a:pt x="1098" y="880"/>
                    </a:lnTo>
                    <a:lnTo>
                      <a:pt x="1094" y="880"/>
                    </a:lnTo>
                    <a:lnTo>
                      <a:pt x="1094" y="880"/>
                    </a:lnTo>
                    <a:lnTo>
                      <a:pt x="1094" y="880"/>
                    </a:lnTo>
                    <a:lnTo>
                      <a:pt x="1090" y="880"/>
                    </a:lnTo>
                    <a:lnTo>
                      <a:pt x="1090" y="880"/>
                    </a:lnTo>
                    <a:lnTo>
                      <a:pt x="1090" y="880"/>
                    </a:lnTo>
                    <a:lnTo>
                      <a:pt x="1086" y="882"/>
                    </a:lnTo>
                    <a:lnTo>
                      <a:pt x="1082" y="884"/>
                    </a:lnTo>
                    <a:lnTo>
                      <a:pt x="1076" y="886"/>
                    </a:lnTo>
                    <a:lnTo>
                      <a:pt x="1070" y="890"/>
                    </a:lnTo>
                    <a:lnTo>
                      <a:pt x="1066" y="894"/>
                    </a:lnTo>
                    <a:lnTo>
                      <a:pt x="1060" y="898"/>
                    </a:lnTo>
                    <a:lnTo>
                      <a:pt x="1056" y="902"/>
                    </a:lnTo>
                    <a:lnTo>
                      <a:pt x="1052" y="906"/>
                    </a:lnTo>
                    <a:lnTo>
                      <a:pt x="1046" y="912"/>
                    </a:lnTo>
                    <a:lnTo>
                      <a:pt x="1042" y="918"/>
                    </a:lnTo>
                    <a:lnTo>
                      <a:pt x="1040" y="924"/>
                    </a:lnTo>
                    <a:lnTo>
                      <a:pt x="1036" y="930"/>
                    </a:lnTo>
                    <a:lnTo>
                      <a:pt x="1032" y="936"/>
                    </a:lnTo>
                    <a:lnTo>
                      <a:pt x="1028" y="942"/>
                    </a:lnTo>
                    <a:lnTo>
                      <a:pt x="1026" y="948"/>
                    </a:lnTo>
                    <a:lnTo>
                      <a:pt x="1024" y="950"/>
                    </a:lnTo>
                    <a:lnTo>
                      <a:pt x="1022" y="954"/>
                    </a:lnTo>
                    <a:lnTo>
                      <a:pt x="1020" y="956"/>
                    </a:lnTo>
                    <a:lnTo>
                      <a:pt x="1018" y="956"/>
                    </a:lnTo>
                    <a:lnTo>
                      <a:pt x="1016" y="958"/>
                    </a:lnTo>
                    <a:lnTo>
                      <a:pt x="1016" y="958"/>
                    </a:lnTo>
                    <a:lnTo>
                      <a:pt x="1014" y="958"/>
                    </a:lnTo>
                    <a:lnTo>
                      <a:pt x="1012" y="960"/>
                    </a:lnTo>
                    <a:lnTo>
                      <a:pt x="1010" y="960"/>
                    </a:lnTo>
                    <a:lnTo>
                      <a:pt x="1008" y="962"/>
                    </a:lnTo>
                    <a:lnTo>
                      <a:pt x="1006" y="962"/>
                    </a:lnTo>
                    <a:lnTo>
                      <a:pt x="1000" y="966"/>
                    </a:lnTo>
                    <a:lnTo>
                      <a:pt x="994" y="968"/>
                    </a:lnTo>
                    <a:lnTo>
                      <a:pt x="994" y="968"/>
                    </a:lnTo>
                    <a:lnTo>
                      <a:pt x="996" y="966"/>
                    </a:lnTo>
                    <a:lnTo>
                      <a:pt x="1002" y="962"/>
                    </a:lnTo>
                    <a:lnTo>
                      <a:pt x="1010" y="958"/>
                    </a:lnTo>
                    <a:lnTo>
                      <a:pt x="1016" y="952"/>
                    </a:lnTo>
                    <a:lnTo>
                      <a:pt x="1020" y="950"/>
                    </a:lnTo>
                    <a:lnTo>
                      <a:pt x="1022" y="948"/>
                    </a:lnTo>
                    <a:lnTo>
                      <a:pt x="1026" y="942"/>
                    </a:lnTo>
                    <a:lnTo>
                      <a:pt x="1030" y="938"/>
                    </a:lnTo>
                    <a:lnTo>
                      <a:pt x="1032" y="932"/>
                    </a:lnTo>
                    <a:lnTo>
                      <a:pt x="1034" y="926"/>
                    </a:lnTo>
                    <a:lnTo>
                      <a:pt x="1038" y="920"/>
                    </a:lnTo>
                    <a:lnTo>
                      <a:pt x="1040" y="916"/>
                    </a:lnTo>
                    <a:lnTo>
                      <a:pt x="1042" y="910"/>
                    </a:lnTo>
                    <a:lnTo>
                      <a:pt x="1046" y="906"/>
                    </a:lnTo>
                    <a:lnTo>
                      <a:pt x="1056" y="898"/>
                    </a:lnTo>
                    <a:lnTo>
                      <a:pt x="1060" y="894"/>
                    </a:lnTo>
                    <a:lnTo>
                      <a:pt x="1066" y="890"/>
                    </a:lnTo>
                    <a:lnTo>
                      <a:pt x="1072" y="886"/>
                    </a:lnTo>
                    <a:lnTo>
                      <a:pt x="1078" y="882"/>
                    </a:lnTo>
                    <a:lnTo>
                      <a:pt x="1086" y="878"/>
                    </a:lnTo>
                    <a:lnTo>
                      <a:pt x="1094" y="876"/>
                    </a:lnTo>
                    <a:lnTo>
                      <a:pt x="1100" y="876"/>
                    </a:lnTo>
                    <a:lnTo>
                      <a:pt x="1106" y="874"/>
                    </a:lnTo>
                    <a:lnTo>
                      <a:pt x="1112" y="874"/>
                    </a:lnTo>
                    <a:lnTo>
                      <a:pt x="1118" y="872"/>
                    </a:lnTo>
                    <a:lnTo>
                      <a:pt x="1134" y="872"/>
                    </a:lnTo>
                    <a:lnTo>
                      <a:pt x="1148" y="870"/>
                    </a:lnTo>
                    <a:lnTo>
                      <a:pt x="1164" y="870"/>
                    </a:lnTo>
                    <a:lnTo>
                      <a:pt x="1170" y="870"/>
                    </a:lnTo>
                    <a:lnTo>
                      <a:pt x="1178" y="870"/>
                    </a:lnTo>
                    <a:lnTo>
                      <a:pt x="1184" y="870"/>
                    </a:lnTo>
                    <a:lnTo>
                      <a:pt x="1188" y="868"/>
                    </a:lnTo>
                    <a:lnTo>
                      <a:pt x="1194" y="868"/>
                    </a:lnTo>
                    <a:lnTo>
                      <a:pt x="1198" y="868"/>
                    </a:lnTo>
                    <a:lnTo>
                      <a:pt x="1202" y="866"/>
                    </a:lnTo>
                    <a:lnTo>
                      <a:pt x="1204" y="866"/>
                    </a:lnTo>
                    <a:lnTo>
                      <a:pt x="1206" y="866"/>
                    </a:lnTo>
                    <a:lnTo>
                      <a:pt x="1208" y="866"/>
                    </a:lnTo>
                    <a:lnTo>
                      <a:pt x="1208" y="866"/>
                    </a:lnTo>
                    <a:lnTo>
                      <a:pt x="1208" y="864"/>
                    </a:lnTo>
                    <a:lnTo>
                      <a:pt x="1208" y="864"/>
                    </a:lnTo>
                    <a:lnTo>
                      <a:pt x="1208" y="864"/>
                    </a:lnTo>
                    <a:lnTo>
                      <a:pt x="1210" y="864"/>
                    </a:lnTo>
                    <a:lnTo>
                      <a:pt x="1210" y="862"/>
                    </a:lnTo>
                    <a:lnTo>
                      <a:pt x="1210" y="862"/>
                    </a:lnTo>
                    <a:lnTo>
                      <a:pt x="1210" y="862"/>
                    </a:lnTo>
                    <a:lnTo>
                      <a:pt x="1210" y="860"/>
                    </a:lnTo>
                    <a:lnTo>
                      <a:pt x="1210" y="860"/>
                    </a:lnTo>
                    <a:lnTo>
                      <a:pt x="1210" y="858"/>
                    </a:lnTo>
                    <a:lnTo>
                      <a:pt x="1208" y="858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10" y="852"/>
                    </a:lnTo>
                    <a:lnTo>
                      <a:pt x="1214" y="850"/>
                    </a:lnTo>
                    <a:lnTo>
                      <a:pt x="1220" y="842"/>
                    </a:lnTo>
                    <a:lnTo>
                      <a:pt x="1222" y="840"/>
                    </a:lnTo>
                    <a:lnTo>
                      <a:pt x="1224" y="838"/>
                    </a:lnTo>
                    <a:lnTo>
                      <a:pt x="1224" y="838"/>
                    </a:lnTo>
                    <a:lnTo>
                      <a:pt x="1224" y="840"/>
                    </a:lnTo>
                    <a:lnTo>
                      <a:pt x="1228" y="842"/>
                    </a:lnTo>
                    <a:lnTo>
                      <a:pt x="1230" y="844"/>
                    </a:lnTo>
                    <a:lnTo>
                      <a:pt x="1230" y="844"/>
                    </a:lnTo>
                    <a:lnTo>
                      <a:pt x="1230" y="844"/>
                    </a:lnTo>
                    <a:lnTo>
                      <a:pt x="1232" y="844"/>
                    </a:lnTo>
                    <a:lnTo>
                      <a:pt x="1232" y="844"/>
                    </a:lnTo>
                    <a:lnTo>
                      <a:pt x="1232" y="844"/>
                    </a:lnTo>
                    <a:lnTo>
                      <a:pt x="1234" y="844"/>
                    </a:lnTo>
                    <a:lnTo>
                      <a:pt x="1234" y="846"/>
                    </a:lnTo>
                    <a:lnTo>
                      <a:pt x="1234" y="848"/>
                    </a:lnTo>
                    <a:lnTo>
                      <a:pt x="1232" y="850"/>
                    </a:lnTo>
                    <a:lnTo>
                      <a:pt x="1228" y="852"/>
                    </a:lnTo>
                    <a:lnTo>
                      <a:pt x="1228" y="852"/>
                    </a:lnTo>
                    <a:lnTo>
                      <a:pt x="1228" y="852"/>
                    </a:lnTo>
                    <a:lnTo>
                      <a:pt x="1226" y="854"/>
                    </a:lnTo>
                    <a:lnTo>
                      <a:pt x="1224" y="856"/>
                    </a:lnTo>
                    <a:lnTo>
                      <a:pt x="1222" y="858"/>
                    </a:lnTo>
                    <a:lnTo>
                      <a:pt x="1222" y="858"/>
                    </a:lnTo>
                    <a:lnTo>
                      <a:pt x="1222" y="858"/>
                    </a:lnTo>
                    <a:lnTo>
                      <a:pt x="1220" y="860"/>
                    </a:lnTo>
                    <a:lnTo>
                      <a:pt x="1220" y="860"/>
                    </a:lnTo>
                    <a:lnTo>
                      <a:pt x="1220" y="862"/>
                    </a:lnTo>
                    <a:lnTo>
                      <a:pt x="1220" y="864"/>
                    </a:lnTo>
                    <a:lnTo>
                      <a:pt x="1220" y="866"/>
                    </a:lnTo>
                    <a:lnTo>
                      <a:pt x="1218" y="874"/>
                    </a:lnTo>
                    <a:lnTo>
                      <a:pt x="1218" y="880"/>
                    </a:lnTo>
                    <a:lnTo>
                      <a:pt x="1216" y="888"/>
                    </a:lnTo>
                    <a:lnTo>
                      <a:pt x="1214" y="894"/>
                    </a:lnTo>
                    <a:lnTo>
                      <a:pt x="1212" y="896"/>
                    </a:lnTo>
                    <a:lnTo>
                      <a:pt x="1212" y="898"/>
                    </a:lnTo>
                    <a:lnTo>
                      <a:pt x="1210" y="900"/>
                    </a:lnTo>
                    <a:lnTo>
                      <a:pt x="1208" y="902"/>
                    </a:lnTo>
                    <a:lnTo>
                      <a:pt x="1206" y="902"/>
                    </a:lnTo>
                    <a:lnTo>
                      <a:pt x="1202" y="904"/>
                    </a:lnTo>
                    <a:lnTo>
                      <a:pt x="1202" y="904"/>
                    </a:lnTo>
                    <a:lnTo>
                      <a:pt x="1202" y="904"/>
                    </a:lnTo>
                    <a:lnTo>
                      <a:pt x="1200" y="904"/>
                    </a:lnTo>
                    <a:lnTo>
                      <a:pt x="1200" y="904"/>
                    </a:lnTo>
                    <a:lnTo>
                      <a:pt x="1200" y="906"/>
                    </a:lnTo>
                    <a:lnTo>
                      <a:pt x="1200" y="906"/>
                    </a:lnTo>
                    <a:lnTo>
                      <a:pt x="1200" y="906"/>
                    </a:lnTo>
                    <a:lnTo>
                      <a:pt x="1198" y="906"/>
                    </a:lnTo>
                    <a:lnTo>
                      <a:pt x="1198" y="908"/>
                    </a:lnTo>
                    <a:lnTo>
                      <a:pt x="1198" y="908"/>
                    </a:lnTo>
                    <a:lnTo>
                      <a:pt x="1198" y="910"/>
                    </a:lnTo>
                    <a:lnTo>
                      <a:pt x="1198" y="912"/>
                    </a:lnTo>
                    <a:lnTo>
                      <a:pt x="1198" y="912"/>
                    </a:lnTo>
                    <a:lnTo>
                      <a:pt x="1198" y="912"/>
                    </a:lnTo>
                    <a:lnTo>
                      <a:pt x="1198" y="914"/>
                    </a:lnTo>
                    <a:lnTo>
                      <a:pt x="1200" y="914"/>
                    </a:lnTo>
                    <a:lnTo>
                      <a:pt x="1200" y="914"/>
                    </a:lnTo>
                    <a:lnTo>
                      <a:pt x="1198" y="914"/>
                    </a:lnTo>
                    <a:lnTo>
                      <a:pt x="1198" y="916"/>
                    </a:lnTo>
                    <a:lnTo>
                      <a:pt x="1198" y="916"/>
                    </a:lnTo>
                    <a:lnTo>
                      <a:pt x="1196" y="918"/>
                    </a:lnTo>
                    <a:lnTo>
                      <a:pt x="1196" y="918"/>
                    </a:lnTo>
                    <a:lnTo>
                      <a:pt x="1194" y="920"/>
                    </a:lnTo>
                    <a:lnTo>
                      <a:pt x="1194" y="922"/>
                    </a:lnTo>
                    <a:lnTo>
                      <a:pt x="1196" y="924"/>
                    </a:lnTo>
                    <a:lnTo>
                      <a:pt x="1196" y="924"/>
                    </a:lnTo>
                    <a:lnTo>
                      <a:pt x="1196" y="924"/>
                    </a:lnTo>
                    <a:lnTo>
                      <a:pt x="1198" y="926"/>
                    </a:lnTo>
                    <a:lnTo>
                      <a:pt x="1198" y="926"/>
                    </a:lnTo>
                    <a:lnTo>
                      <a:pt x="1198" y="926"/>
                    </a:lnTo>
                    <a:lnTo>
                      <a:pt x="1200" y="928"/>
                    </a:lnTo>
                    <a:lnTo>
                      <a:pt x="1200" y="928"/>
                    </a:lnTo>
                    <a:lnTo>
                      <a:pt x="1202" y="928"/>
                    </a:lnTo>
                    <a:lnTo>
                      <a:pt x="1204" y="928"/>
                    </a:lnTo>
                    <a:lnTo>
                      <a:pt x="1204" y="928"/>
                    </a:lnTo>
                    <a:lnTo>
                      <a:pt x="1204" y="928"/>
                    </a:lnTo>
                    <a:lnTo>
                      <a:pt x="1210" y="928"/>
                    </a:lnTo>
                    <a:lnTo>
                      <a:pt x="1210" y="928"/>
                    </a:lnTo>
                    <a:lnTo>
                      <a:pt x="1210" y="928"/>
                    </a:lnTo>
                    <a:lnTo>
                      <a:pt x="1214" y="928"/>
                    </a:lnTo>
                    <a:lnTo>
                      <a:pt x="1220" y="928"/>
                    </a:lnTo>
                    <a:lnTo>
                      <a:pt x="1224" y="928"/>
                    </a:lnTo>
                    <a:lnTo>
                      <a:pt x="1224" y="928"/>
                    </a:lnTo>
                    <a:lnTo>
                      <a:pt x="1226" y="928"/>
                    </a:lnTo>
                    <a:lnTo>
                      <a:pt x="1228" y="930"/>
                    </a:lnTo>
                    <a:lnTo>
                      <a:pt x="1230" y="930"/>
                    </a:lnTo>
                    <a:lnTo>
                      <a:pt x="1230" y="932"/>
                    </a:lnTo>
                    <a:lnTo>
                      <a:pt x="1232" y="936"/>
                    </a:lnTo>
                    <a:lnTo>
                      <a:pt x="1232" y="936"/>
                    </a:lnTo>
                    <a:lnTo>
                      <a:pt x="1232" y="936"/>
                    </a:lnTo>
                    <a:lnTo>
                      <a:pt x="1234" y="940"/>
                    </a:lnTo>
                    <a:lnTo>
                      <a:pt x="1234" y="940"/>
                    </a:lnTo>
                    <a:lnTo>
                      <a:pt x="1236" y="942"/>
                    </a:lnTo>
                    <a:lnTo>
                      <a:pt x="1238" y="946"/>
                    </a:lnTo>
                    <a:lnTo>
                      <a:pt x="1240" y="948"/>
                    </a:lnTo>
                    <a:lnTo>
                      <a:pt x="1244" y="950"/>
                    </a:lnTo>
                    <a:lnTo>
                      <a:pt x="1244" y="950"/>
                    </a:lnTo>
                    <a:lnTo>
                      <a:pt x="1246" y="950"/>
                    </a:lnTo>
                    <a:lnTo>
                      <a:pt x="1250" y="948"/>
                    </a:lnTo>
                    <a:lnTo>
                      <a:pt x="1252" y="946"/>
                    </a:lnTo>
                    <a:lnTo>
                      <a:pt x="1254" y="944"/>
                    </a:lnTo>
                    <a:lnTo>
                      <a:pt x="1256" y="944"/>
                    </a:lnTo>
                    <a:lnTo>
                      <a:pt x="1258" y="942"/>
                    </a:lnTo>
                    <a:lnTo>
                      <a:pt x="1260" y="942"/>
                    </a:lnTo>
                    <a:lnTo>
                      <a:pt x="1262" y="940"/>
                    </a:lnTo>
                    <a:lnTo>
                      <a:pt x="1266" y="940"/>
                    </a:lnTo>
                    <a:lnTo>
                      <a:pt x="1266" y="940"/>
                    </a:lnTo>
                    <a:lnTo>
                      <a:pt x="1266" y="940"/>
                    </a:lnTo>
                    <a:lnTo>
                      <a:pt x="1268" y="938"/>
                    </a:lnTo>
                    <a:lnTo>
                      <a:pt x="1268" y="938"/>
                    </a:lnTo>
                    <a:lnTo>
                      <a:pt x="1270" y="938"/>
                    </a:lnTo>
                    <a:lnTo>
                      <a:pt x="1270" y="940"/>
                    </a:lnTo>
                    <a:lnTo>
                      <a:pt x="1270" y="942"/>
                    </a:lnTo>
                    <a:lnTo>
                      <a:pt x="1272" y="948"/>
                    </a:lnTo>
                    <a:lnTo>
                      <a:pt x="1272" y="948"/>
                    </a:lnTo>
                    <a:lnTo>
                      <a:pt x="1272" y="950"/>
                    </a:lnTo>
                    <a:lnTo>
                      <a:pt x="1274" y="950"/>
                    </a:lnTo>
                    <a:lnTo>
                      <a:pt x="1282" y="950"/>
                    </a:lnTo>
                    <a:lnTo>
                      <a:pt x="1288" y="950"/>
                    </a:lnTo>
                    <a:lnTo>
                      <a:pt x="1288" y="950"/>
                    </a:lnTo>
                    <a:lnTo>
                      <a:pt x="1288" y="950"/>
                    </a:lnTo>
                    <a:lnTo>
                      <a:pt x="1292" y="950"/>
                    </a:lnTo>
                    <a:lnTo>
                      <a:pt x="1292" y="950"/>
                    </a:lnTo>
                    <a:lnTo>
                      <a:pt x="1294" y="948"/>
                    </a:lnTo>
                    <a:lnTo>
                      <a:pt x="1296" y="948"/>
                    </a:lnTo>
                    <a:lnTo>
                      <a:pt x="1296" y="948"/>
                    </a:lnTo>
                    <a:lnTo>
                      <a:pt x="1296" y="946"/>
                    </a:lnTo>
                    <a:lnTo>
                      <a:pt x="1298" y="946"/>
                    </a:lnTo>
                    <a:lnTo>
                      <a:pt x="1298" y="946"/>
                    </a:lnTo>
                    <a:lnTo>
                      <a:pt x="1298" y="944"/>
                    </a:lnTo>
                    <a:lnTo>
                      <a:pt x="1298" y="942"/>
                    </a:lnTo>
                    <a:lnTo>
                      <a:pt x="1298" y="940"/>
                    </a:lnTo>
                    <a:lnTo>
                      <a:pt x="1300" y="938"/>
                    </a:lnTo>
                    <a:lnTo>
                      <a:pt x="1300" y="938"/>
                    </a:lnTo>
                    <a:lnTo>
                      <a:pt x="1300" y="936"/>
                    </a:lnTo>
                    <a:lnTo>
                      <a:pt x="1302" y="936"/>
                    </a:lnTo>
                    <a:lnTo>
                      <a:pt x="1302" y="936"/>
                    </a:lnTo>
                    <a:lnTo>
                      <a:pt x="1304" y="934"/>
                    </a:lnTo>
                    <a:lnTo>
                      <a:pt x="1304" y="932"/>
                    </a:lnTo>
                    <a:lnTo>
                      <a:pt x="1304" y="932"/>
                    </a:lnTo>
                    <a:close/>
                    <a:moveTo>
                      <a:pt x="748" y="432"/>
                    </a:moveTo>
                    <a:lnTo>
                      <a:pt x="752" y="432"/>
                    </a:lnTo>
                    <a:lnTo>
                      <a:pt x="758" y="432"/>
                    </a:lnTo>
                    <a:lnTo>
                      <a:pt x="762" y="434"/>
                    </a:lnTo>
                    <a:lnTo>
                      <a:pt x="768" y="434"/>
                    </a:lnTo>
                    <a:lnTo>
                      <a:pt x="768" y="434"/>
                    </a:lnTo>
                    <a:lnTo>
                      <a:pt x="770" y="436"/>
                    </a:lnTo>
                    <a:lnTo>
                      <a:pt x="772" y="436"/>
                    </a:lnTo>
                    <a:lnTo>
                      <a:pt x="774" y="438"/>
                    </a:lnTo>
                    <a:lnTo>
                      <a:pt x="776" y="442"/>
                    </a:lnTo>
                    <a:lnTo>
                      <a:pt x="778" y="444"/>
                    </a:lnTo>
                    <a:lnTo>
                      <a:pt x="780" y="448"/>
                    </a:lnTo>
                    <a:lnTo>
                      <a:pt x="780" y="448"/>
                    </a:lnTo>
                    <a:lnTo>
                      <a:pt x="776" y="446"/>
                    </a:lnTo>
                    <a:lnTo>
                      <a:pt x="772" y="446"/>
                    </a:lnTo>
                    <a:lnTo>
                      <a:pt x="768" y="444"/>
                    </a:lnTo>
                    <a:lnTo>
                      <a:pt x="766" y="442"/>
                    </a:lnTo>
                    <a:lnTo>
                      <a:pt x="760" y="440"/>
                    </a:lnTo>
                    <a:lnTo>
                      <a:pt x="756" y="438"/>
                    </a:lnTo>
                    <a:lnTo>
                      <a:pt x="750" y="434"/>
                    </a:lnTo>
                    <a:lnTo>
                      <a:pt x="746" y="432"/>
                    </a:lnTo>
                    <a:lnTo>
                      <a:pt x="746" y="432"/>
                    </a:lnTo>
                    <a:lnTo>
                      <a:pt x="748" y="432"/>
                    </a:lnTo>
                    <a:close/>
                    <a:moveTo>
                      <a:pt x="710" y="500"/>
                    </a:moveTo>
                    <a:lnTo>
                      <a:pt x="714" y="500"/>
                    </a:lnTo>
                    <a:lnTo>
                      <a:pt x="716" y="500"/>
                    </a:lnTo>
                    <a:lnTo>
                      <a:pt x="720" y="500"/>
                    </a:lnTo>
                    <a:lnTo>
                      <a:pt x="716" y="500"/>
                    </a:lnTo>
                    <a:lnTo>
                      <a:pt x="710" y="500"/>
                    </a:lnTo>
                    <a:lnTo>
                      <a:pt x="708" y="500"/>
                    </a:lnTo>
                    <a:lnTo>
                      <a:pt x="710" y="500"/>
                    </a:lnTo>
                    <a:close/>
                    <a:moveTo>
                      <a:pt x="504" y="126"/>
                    </a:moveTo>
                    <a:lnTo>
                      <a:pt x="504" y="126"/>
                    </a:lnTo>
                    <a:lnTo>
                      <a:pt x="506" y="126"/>
                    </a:lnTo>
                    <a:lnTo>
                      <a:pt x="508" y="126"/>
                    </a:lnTo>
                    <a:lnTo>
                      <a:pt x="510" y="128"/>
                    </a:lnTo>
                    <a:lnTo>
                      <a:pt x="510" y="128"/>
                    </a:lnTo>
                    <a:lnTo>
                      <a:pt x="512" y="130"/>
                    </a:lnTo>
                    <a:lnTo>
                      <a:pt x="514" y="134"/>
                    </a:lnTo>
                    <a:lnTo>
                      <a:pt x="516" y="136"/>
                    </a:lnTo>
                    <a:lnTo>
                      <a:pt x="516" y="138"/>
                    </a:lnTo>
                    <a:lnTo>
                      <a:pt x="514" y="136"/>
                    </a:lnTo>
                    <a:lnTo>
                      <a:pt x="512" y="134"/>
                    </a:lnTo>
                    <a:lnTo>
                      <a:pt x="510" y="134"/>
                    </a:lnTo>
                    <a:lnTo>
                      <a:pt x="508" y="132"/>
                    </a:lnTo>
                    <a:lnTo>
                      <a:pt x="506" y="130"/>
                    </a:lnTo>
                    <a:lnTo>
                      <a:pt x="506" y="130"/>
                    </a:lnTo>
                    <a:lnTo>
                      <a:pt x="504" y="126"/>
                    </a:lnTo>
                    <a:lnTo>
                      <a:pt x="504" y="124"/>
                    </a:lnTo>
                    <a:lnTo>
                      <a:pt x="504" y="126"/>
                    </a:lnTo>
                    <a:close/>
                    <a:moveTo>
                      <a:pt x="1152" y="962"/>
                    </a:moveTo>
                    <a:lnTo>
                      <a:pt x="1154" y="964"/>
                    </a:lnTo>
                    <a:lnTo>
                      <a:pt x="1150" y="962"/>
                    </a:lnTo>
                    <a:lnTo>
                      <a:pt x="1146" y="960"/>
                    </a:lnTo>
                    <a:lnTo>
                      <a:pt x="1152" y="962"/>
                    </a:lnTo>
                    <a:close/>
                    <a:moveTo>
                      <a:pt x="1238" y="832"/>
                    </a:moveTo>
                    <a:lnTo>
                      <a:pt x="1238" y="834"/>
                    </a:lnTo>
                    <a:lnTo>
                      <a:pt x="1236" y="834"/>
                    </a:lnTo>
                    <a:lnTo>
                      <a:pt x="1236" y="834"/>
                    </a:lnTo>
                    <a:lnTo>
                      <a:pt x="1234" y="836"/>
                    </a:lnTo>
                    <a:lnTo>
                      <a:pt x="1232" y="836"/>
                    </a:lnTo>
                    <a:lnTo>
                      <a:pt x="1232" y="836"/>
                    </a:lnTo>
                    <a:lnTo>
                      <a:pt x="1232" y="836"/>
                    </a:lnTo>
                    <a:lnTo>
                      <a:pt x="1230" y="836"/>
                    </a:lnTo>
                    <a:lnTo>
                      <a:pt x="1226" y="836"/>
                    </a:lnTo>
                    <a:lnTo>
                      <a:pt x="1226" y="836"/>
                    </a:lnTo>
                    <a:lnTo>
                      <a:pt x="1226" y="836"/>
                    </a:lnTo>
                    <a:lnTo>
                      <a:pt x="1228" y="834"/>
                    </a:lnTo>
                    <a:lnTo>
                      <a:pt x="1230" y="830"/>
                    </a:lnTo>
                    <a:lnTo>
                      <a:pt x="1232" y="830"/>
                    </a:lnTo>
                    <a:lnTo>
                      <a:pt x="1232" y="830"/>
                    </a:lnTo>
                    <a:lnTo>
                      <a:pt x="1234" y="830"/>
                    </a:lnTo>
                    <a:lnTo>
                      <a:pt x="1236" y="830"/>
                    </a:lnTo>
                    <a:lnTo>
                      <a:pt x="1238" y="830"/>
                    </a:lnTo>
                    <a:lnTo>
                      <a:pt x="1238" y="830"/>
                    </a:lnTo>
                    <a:lnTo>
                      <a:pt x="1238" y="830"/>
                    </a:lnTo>
                    <a:lnTo>
                      <a:pt x="1240" y="830"/>
                    </a:lnTo>
                    <a:lnTo>
                      <a:pt x="1238" y="832"/>
                    </a:lnTo>
                    <a:close/>
                    <a:moveTo>
                      <a:pt x="156" y="818"/>
                    </a:moveTo>
                    <a:lnTo>
                      <a:pt x="152" y="816"/>
                    </a:lnTo>
                    <a:lnTo>
                      <a:pt x="150" y="814"/>
                    </a:lnTo>
                    <a:lnTo>
                      <a:pt x="148" y="814"/>
                    </a:lnTo>
                    <a:lnTo>
                      <a:pt x="148" y="814"/>
                    </a:lnTo>
                    <a:lnTo>
                      <a:pt x="148" y="812"/>
                    </a:lnTo>
                    <a:lnTo>
                      <a:pt x="148" y="810"/>
                    </a:lnTo>
                    <a:lnTo>
                      <a:pt x="148" y="806"/>
                    </a:lnTo>
                    <a:lnTo>
                      <a:pt x="148" y="804"/>
                    </a:lnTo>
                    <a:lnTo>
                      <a:pt x="148" y="800"/>
                    </a:lnTo>
                    <a:lnTo>
                      <a:pt x="148" y="800"/>
                    </a:lnTo>
                    <a:lnTo>
                      <a:pt x="148" y="800"/>
                    </a:lnTo>
                    <a:lnTo>
                      <a:pt x="146" y="796"/>
                    </a:lnTo>
                    <a:lnTo>
                      <a:pt x="146" y="794"/>
                    </a:lnTo>
                    <a:lnTo>
                      <a:pt x="144" y="792"/>
                    </a:lnTo>
                    <a:lnTo>
                      <a:pt x="144" y="788"/>
                    </a:lnTo>
                    <a:lnTo>
                      <a:pt x="146" y="782"/>
                    </a:lnTo>
                    <a:lnTo>
                      <a:pt x="148" y="776"/>
                    </a:lnTo>
                    <a:lnTo>
                      <a:pt x="148" y="776"/>
                    </a:lnTo>
                    <a:lnTo>
                      <a:pt x="146" y="772"/>
                    </a:lnTo>
                    <a:lnTo>
                      <a:pt x="146" y="772"/>
                    </a:lnTo>
                    <a:lnTo>
                      <a:pt x="146" y="772"/>
                    </a:lnTo>
                    <a:lnTo>
                      <a:pt x="144" y="770"/>
                    </a:lnTo>
                    <a:lnTo>
                      <a:pt x="142" y="770"/>
                    </a:lnTo>
                    <a:lnTo>
                      <a:pt x="142" y="770"/>
                    </a:lnTo>
                    <a:lnTo>
                      <a:pt x="140" y="770"/>
                    </a:lnTo>
                    <a:lnTo>
                      <a:pt x="138" y="770"/>
                    </a:lnTo>
                    <a:lnTo>
                      <a:pt x="134" y="770"/>
                    </a:lnTo>
                    <a:lnTo>
                      <a:pt x="126" y="772"/>
                    </a:lnTo>
                    <a:lnTo>
                      <a:pt x="124" y="774"/>
                    </a:lnTo>
                    <a:lnTo>
                      <a:pt x="120" y="774"/>
                    </a:lnTo>
                    <a:lnTo>
                      <a:pt x="120" y="774"/>
                    </a:lnTo>
                    <a:lnTo>
                      <a:pt x="118" y="774"/>
                    </a:lnTo>
                    <a:lnTo>
                      <a:pt x="116" y="776"/>
                    </a:lnTo>
                    <a:lnTo>
                      <a:pt x="116" y="776"/>
                    </a:lnTo>
                    <a:lnTo>
                      <a:pt x="116" y="778"/>
                    </a:lnTo>
                    <a:lnTo>
                      <a:pt x="114" y="780"/>
                    </a:lnTo>
                    <a:lnTo>
                      <a:pt x="114" y="780"/>
                    </a:lnTo>
                    <a:lnTo>
                      <a:pt x="114" y="782"/>
                    </a:lnTo>
                    <a:lnTo>
                      <a:pt x="114" y="784"/>
                    </a:lnTo>
                    <a:lnTo>
                      <a:pt x="114" y="784"/>
                    </a:lnTo>
                    <a:lnTo>
                      <a:pt x="114" y="784"/>
                    </a:lnTo>
                    <a:lnTo>
                      <a:pt x="114" y="788"/>
                    </a:lnTo>
                    <a:lnTo>
                      <a:pt x="116" y="790"/>
                    </a:lnTo>
                    <a:lnTo>
                      <a:pt x="116" y="794"/>
                    </a:lnTo>
                    <a:lnTo>
                      <a:pt x="118" y="796"/>
                    </a:lnTo>
                    <a:lnTo>
                      <a:pt x="118" y="800"/>
                    </a:lnTo>
                    <a:lnTo>
                      <a:pt x="118" y="800"/>
                    </a:lnTo>
                    <a:lnTo>
                      <a:pt x="118" y="802"/>
                    </a:lnTo>
                    <a:lnTo>
                      <a:pt x="120" y="804"/>
                    </a:lnTo>
                    <a:lnTo>
                      <a:pt x="120" y="804"/>
                    </a:lnTo>
                    <a:lnTo>
                      <a:pt x="122" y="808"/>
                    </a:lnTo>
                    <a:lnTo>
                      <a:pt x="124" y="812"/>
                    </a:lnTo>
                    <a:lnTo>
                      <a:pt x="124" y="816"/>
                    </a:lnTo>
                    <a:lnTo>
                      <a:pt x="124" y="816"/>
                    </a:lnTo>
                    <a:lnTo>
                      <a:pt x="126" y="818"/>
                    </a:lnTo>
                    <a:lnTo>
                      <a:pt x="128" y="818"/>
                    </a:lnTo>
                    <a:lnTo>
                      <a:pt x="130" y="818"/>
                    </a:lnTo>
                    <a:lnTo>
                      <a:pt x="130" y="820"/>
                    </a:lnTo>
                    <a:lnTo>
                      <a:pt x="132" y="820"/>
                    </a:lnTo>
                    <a:lnTo>
                      <a:pt x="132" y="822"/>
                    </a:lnTo>
                    <a:lnTo>
                      <a:pt x="132" y="824"/>
                    </a:lnTo>
                    <a:lnTo>
                      <a:pt x="132" y="826"/>
                    </a:lnTo>
                    <a:lnTo>
                      <a:pt x="132" y="826"/>
                    </a:lnTo>
                    <a:lnTo>
                      <a:pt x="132" y="826"/>
                    </a:lnTo>
                    <a:lnTo>
                      <a:pt x="134" y="830"/>
                    </a:lnTo>
                    <a:lnTo>
                      <a:pt x="134" y="830"/>
                    </a:lnTo>
                    <a:lnTo>
                      <a:pt x="134" y="830"/>
                    </a:lnTo>
                    <a:lnTo>
                      <a:pt x="136" y="832"/>
                    </a:lnTo>
                    <a:lnTo>
                      <a:pt x="136" y="832"/>
                    </a:lnTo>
                    <a:lnTo>
                      <a:pt x="136" y="832"/>
                    </a:lnTo>
                    <a:lnTo>
                      <a:pt x="138" y="834"/>
                    </a:lnTo>
                    <a:lnTo>
                      <a:pt x="138" y="834"/>
                    </a:lnTo>
                    <a:lnTo>
                      <a:pt x="138" y="834"/>
                    </a:lnTo>
                    <a:lnTo>
                      <a:pt x="140" y="834"/>
                    </a:lnTo>
                    <a:lnTo>
                      <a:pt x="140" y="834"/>
                    </a:lnTo>
                    <a:lnTo>
                      <a:pt x="140" y="834"/>
                    </a:lnTo>
                    <a:lnTo>
                      <a:pt x="146" y="836"/>
                    </a:lnTo>
                    <a:lnTo>
                      <a:pt x="148" y="836"/>
                    </a:lnTo>
                    <a:lnTo>
                      <a:pt x="148" y="836"/>
                    </a:lnTo>
                    <a:lnTo>
                      <a:pt x="148" y="836"/>
                    </a:lnTo>
                    <a:lnTo>
                      <a:pt x="150" y="836"/>
                    </a:lnTo>
                    <a:lnTo>
                      <a:pt x="150" y="836"/>
                    </a:lnTo>
                    <a:lnTo>
                      <a:pt x="152" y="836"/>
                    </a:lnTo>
                    <a:lnTo>
                      <a:pt x="154" y="834"/>
                    </a:lnTo>
                    <a:lnTo>
                      <a:pt x="154" y="834"/>
                    </a:lnTo>
                    <a:lnTo>
                      <a:pt x="154" y="834"/>
                    </a:lnTo>
                    <a:lnTo>
                      <a:pt x="156" y="832"/>
                    </a:lnTo>
                    <a:lnTo>
                      <a:pt x="156" y="832"/>
                    </a:lnTo>
                    <a:lnTo>
                      <a:pt x="156" y="832"/>
                    </a:lnTo>
                    <a:lnTo>
                      <a:pt x="156" y="828"/>
                    </a:lnTo>
                    <a:lnTo>
                      <a:pt x="156" y="826"/>
                    </a:lnTo>
                    <a:lnTo>
                      <a:pt x="156" y="820"/>
                    </a:lnTo>
                    <a:lnTo>
                      <a:pt x="156" y="820"/>
                    </a:lnTo>
                    <a:lnTo>
                      <a:pt x="156" y="818"/>
                    </a:lnTo>
                    <a:lnTo>
                      <a:pt x="156" y="818"/>
                    </a:lnTo>
                    <a:close/>
                    <a:moveTo>
                      <a:pt x="632" y="94"/>
                    </a:moveTo>
                    <a:lnTo>
                      <a:pt x="628" y="94"/>
                    </a:lnTo>
                    <a:lnTo>
                      <a:pt x="624" y="94"/>
                    </a:lnTo>
                    <a:lnTo>
                      <a:pt x="620" y="96"/>
                    </a:lnTo>
                    <a:lnTo>
                      <a:pt x="616" y="96"/>
                    </a:lnTo>
                    <a:lnTo>
                      <a:pt x="610" y="98"/>
                    </a:lnTo>
                    <a:lnTo>
                      <a:pt x="608" y="98"/>
                    </a:lnTo>
                    <a:lnTo>
                      <a:pt x="604" y="98"/>
                    </a:lnTo>
                    <a:lnTo>
                      <a:pt x="600" y="100"/>
                    </a:lnTo>
                    <a:lnTo>
                      <a:pt x="598" y="100"/>
                    </a:lnTo>
                    <a:lnTo>
                      <a:pt x="596" y="100"/>
                    </a:lnTo>
                    <a:lnTo>
                      <a:pt x="594" y="100"/>
                    </a:lnTo>
                    <a:lnTo>
                      <a:pt x="594" y="100"/>
                    </a:lnTo>
                    <a:lnTo>
                      <a:pt x="594" y="100"/>
                    </a:lnTo>
                    <a:lnTo>
                      <a:pt x="592" y="102"/>
                    </a:lnTo>
                    <a:lnTo>
                      <a:pt x="592" y="102"/>
                    </a:lnTo>
                    <a:lnTo>
                      <a:pt x="592" y="104"/>
                    </a:lnTo>
                    <a:lnTo>
                      <a:pt x="596" y="122"/>
                    </a:lnTo>
                    <a:lnTo>
                      <a:pt x="598" y="142"/>
                    </a:lnTo>
                    <a:lnTo>
                      <a:pt x="598" y="144"/>
                    </a:lnTo>
                    <a:lnTo>
                      <a:pt x="598" y="146"/>
                    </a:lnTo>
                    <a:lnTo>
                      <a:pt x="596" y="146"/>
                    </a:lnTo>
                    <a:lnTo>
                      <a:pt x="596" y="148"/>
                    </a:lnTo>
                    <a:lnTo>
                      <a:pt x="590" y="152"/>
                    </a:lnTo>
                    <a:lnTo>
                      <a:pt x="588" y="154"/>
                    </a:lnTo>
                    <a:lnTo>
                      <a:pt x="588" y="154"/>
                    </a:lnTo>
                    <a:lnTo>
                      <a:pt x="586" y="152"/>
                    </a:lnTo>
                    <a:lnTo>
                      <a:pt x="586" y="150"/>
                    </a:lnTo>
                    <a:lnTo>
                      <a:pt x="586" y="150"/>
                    </a:lnTo>
                    <a:lnTo>
                      <a:pt x="584" y="146"/>
                    </a:lnTo>
                    <a:lnTo>
                      <a:pt x="584" y="144"/>
                    </a:lnTo>
                    <a:lnTo>
                      <a:pt x="582" y="142"/>
                    </a:lnTo>
                    <a:lnTo>
                      <a:pt x="582" y="142"/>
                    </a:lnTo>
                    <a:lnTo>
                      <a:pt x="582" y="140"/>
                    </a:lnTo>
                    <a:lnTo>
                      <a:pt x="582" y="138"/>
                    </a:lnTo>
                    <a:lnTo>
                      <a:pt x="582" y="138"/>
                    </a:lnTo>
                    <a:lnTo>
                      <a:pt x="582" y="138"/>
                    </a:lnTo>
                    <a:lnTo>
                      <a:pt x="580" y="136"/>
                    </a:lnTo>
                    <a:lnTo>
                      <a:pt x="580" y="136"/>
                    </a:lnTo>
                    <a:lnTo>
                      <a:pt x="578" y="136"/>
                    </a:lnTo>
                    <a:lnTo>
                      <a:pt x="574" y="134"/>
                    </a:lnTo>
                    <a:lnTo>
                      <a:pt x="572" y="132"/>
                    </a:lnTo>
                    <a:lnTo>
                      <a:pt x="570" y="132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66" y="132"/>
                    </a:lnTo>
                    <a:lnTo>
                      <a:pt x="566" y="132"/>
                    </a:lnTo>
                    <a:lnTo>
                      <a:pt x="566" y="134"/>
                    </a:lnTo>
                    <a:lnTo>
                      <a:pt x="566" y="142"/>
                    </a:lnTo>
                    <a:lnTo>
                      <a:pt x="566" y="150"/>
                    </a:lnTo>
                    <a:lnTo>
                      <a:pt x="568" y="158"/>
                    </a:lnTo>
                    <a:lnTo>
                      <a:pt x="570" y="164"/>
                    </a:lnTo>
                    <a:lnTo>
                      <a:pt x="570" y="164"/>
                    </a:lnTo>
                    <a:lnTo>
                      <a:pt x="572" y="166"/>
                    </a:lnTo>
                    <a:lnTo>
                      <a:pt x="574" y="172"/>
                    </a:lnTo>
                    <a:lnTo>
                      <a:pt x="574" y="172"/>
                    </a:lnTo>
                    <a:lnTo>
                      <a:pt x="576" y="172"/>
                    </a:lnTo>
                    <a:lnTo>
                      <a:pt x="578" y="174"/>
                    </a:lnTo>
                    <a:lnTo>
                      <a:pt x="580" y="178"/>
                    </a:lnTo>
                    <a:lnTo>
                      <a:pt x="584" y="180"/>
                    </a:lnTo>
                    <a:lnTo>
                      <a:pt x="584" y="180"/>
                    </a:lnTo>
                    <a:lnTo>
                      <a:pt x="584" y="180"/>
                    </a:lnTo>
                    <a:lnTo>
                      <a:pt x="588" y="182"/>
                    </a:lnTo>
                    <a:lnTo>
                      <a:pt x="592" y="184"/>
                    </a:lnTo>
                    <a:lnTo>
                      <a:pt x="596" y="184"/>
                    </a:lnTo>
                    <a:lnTo>
                      <a:pt x="598" y="186"/>
                    </a:lnTo>
                    <a:lnTo>
                      <a:pt x="600" y="188"/>
                    </a:lnTo>
                    <a:lnTo>
                      <a:pt x="602" y="190"/>
                    </a:lnTo>
                    <a:lnTo>
                      <a:pt x="602" y="190"/>
                    </a:lnTo>
                    <a:lnTo>
                      <a:pt x="602" y="192"/>
                    </a:lnTo>
                    <a:lnTo>
                      <a:pt x="604" y="194"/>
                    </a:lnTo>
                    <a:lnTo>
                      <a:pt x="604" y="198"/>
                    </a:lnTo>
                    <a:lnTo>
                      <a:pt x="606" y="200"/>
                    </a:lnTo>
                    <a:lnTo>
                      <a:pt x="608" y="206"/>
                    </a:lnTo>
                    <a:lnTo>
                      <a:pt x="608" y="206"/>
                    </a:lnTo>
                    <a:lnTo>
                      <a:pt x="608" y="206"/>
                    </a:lnTo>
                    <a:lnTo>
                      <a:pt x="608" y="208"/>
                    </a:lnTo>
                    <a:lnTo>
                      <a:pt x="608" y="210"/>
                    </a:lnTo>
                    <a:lnTo>
                      <a:pt x="608" y="210"/>
                    </a:lnTo>
                    <a:lnTo>
                      <a:pt x="610" y="210"/>
                    </a:lnTo>
                    <a:lnTo>
                      <a:pt x="610" y="212"/>
                    </a:lnTo>
                    <a:lnTo>
                      <a:pt x="612" y="214"/>
                    </a:lnTo>
                    <a:lnTo>
                      <a:pt x="616" y="218"/>
                    </a:lnTo>
                    <a:lnTo>
                      <a:pt x="620" y="220"/>
                    </a:lnTo>
                    <a:lnTo>
                      <a:pt x="620" y="220"/>
                    </a:lnTo>
                    <a:lnTo>
                      <a:pt x="622" y="222"/>
                    </a:lnTo>
                    <a:lnTo>
                      <a:pt x="628" y="220"/>
                    </a:lnTo>
                    <a:lnTo>
                      <a:pt x="628" y="220"/>
                    </a:lnTo>
                    <a:lnTo>
                      <a:pt x="628" y="220"/>
                    </a:lnTo>
                    <a:lnTo>
                      <a:pt x="630" y="220"/>
                    </a:lnTo>
                    <a:lnTo>
                      <a:pt x="630" y="220"/>
                    </a:lnTo>
                    <a:lnTo>
                      <a:pt x="632" y="220"/>
                    </a:lnTo>
                    <a:lnTo>
                      <a:pt x="634" y="218"/>
                    </a:lnTo>
                    <a:lnTo>
                      <a:pt x="634" y="218"/>
                    </a:lnTo>
                    <a:lnTo>
                      <a:pt x="634" y="218"/>
                    </a:lnTo>
                    <a:lnTo>
                      <a:pt x="634" y="216"/>
                    </a:lnTo>
                    <a:lnTo>
                      <a:pt x="634" y="216"/>
                    </a:lnTo>
                    <a:lnTo>
                      <a:pt x="636" y="214"/>
                    </a:lnTo>
                    <a:lnTo>
                      <a:pt x="636" y="212"/>
                    </a:lnTo>
                    <a:lnTo>
                      <a:pt x="636" y="212"/>
                    </a:lnTo>
                    <a:lnTo>
                      <a:pt x="636" y="212"/>
                    </a:lnTo>
                    <a:lnTo>
                      <a:pt x="634" y="210"/>
                    </a:lnTo>
                    <a:lnTo>
                      <a:pt x="638" y="210"/>
                    </a:lnTo>
                    <a:lnTo>
                      <a:pt x="642" y="21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8" y="208"/>
                    </a:lnTo>
                    <a:lnTo>
                      <a:pt x="648" y="208"/>
                    </a:lnTo>
                    <a:lnTo>
                      <a:pt x="648" y="208"/>
                    </a:lnTo>
                    <a:lnTo>
                      <a:pt x="650" y="208"/>
                    </a:lnTo>
                    <a:lnTo>
                      <a:pt x="650" y="208"/>
                    </a:lnTo>
                    <a:lnTo>
                      <a:pt x="652" y="206"/>
                    </a:lnTo>
                    <a:lnTo>
                      <a:pt x="652" y="206"/>
                    </a:lnTo>
                    <a:lnTo>
                      <a:pt x="652" y="206"/>
                    </a:lnTo>
                    <a:lnTo>
                      <a:pt x="654" y="204"/>
                    </a:lnTo>
                    <a:lnTo>
                      <a:pt x="654" y="202"/>
                    </a:lnTo>
                    <a:lnTo>
                      <a:pt x="656" y="198"/>
                    </a:lnTo>
                    <a:lnTo>
                      <a:pt x="656" y="198"/>
                    </a:lnTo>
                    <a:lnTo>
                      <a:pt x="658" y="196"/>
                    </a:lnTo>
                    <a:lnTo>
                      <a:pt x="656" y="190"/>
                    </a:lnTo>
                    <a:lnTo>
                      <a:pt x="656" y="184"/>
                    </a:lnTo>
                    <a:lnTo>
                      <a:pt x="656" y="178"/>
                    </a:lnTo>
                    <a:lnTo>
                      <a:pt x="656" y="172"/>
                    </a:lnTo>
                    <a:lnTo>
                      <a:pt x="656" y="166"/>
                    </a:lnTo>
                    <a:lnTo>
                      <a:pt x="656" y="162"/>
                    </a:lnTo>
                    <a:lnTo>
                      <a:pt x="656" y="158"/>
                    </a:lnTo>
                    <a:lnTo>
                      <a:pt x="654" y="154"/>
                    </a:lnTo>
                    <a:lnTo>
                      <a:pt x="654" y="154"/>
                    </a:lnTo>
                    <a:lnTo>
                      <a:pt x="654" y="154"/>
                    </a:lnTo>
                    <a:lnTo>
                      <a:pt x="652" y="150"/>
                    </a:lnTo>
                    <a:lnTo>
                      <a:pt x="652" y="150"/>
                    </a:lnTo>
                    <a:lnTo>
                      <a:pt x="652" y="150"/>
                    </a:lnTo>
                    <a:lnTo>
                      <a:pt x="650" y="148"/>
                    </a:lnTo>
                    <a:lnTo>
                      <a:pt x="650" y="148"/>
                    </a:lnTo>
                    <a:lnTo>
                      <a:pt x="650" y="146"/>
                    </a:lnTo>
                    <a:lnTo>
                      <a:pt x="648" y="144"/>
                    </a:lnTo>
                    <a:lnTo>
                      <a:pt x="648" y="144"/>
                    </a:lnTo>
                    <a:lnTo>
                      <a:pt x="648" y="144"/>
                    </a:lnTo>
                    <a:lnTo>
                      <a:pt x="644" y="142"/>
                    </a:lnTo>
                    <a:lnTo>
                      <a:pt x="644" y="142"/>
                    </a:lnTo>
                    <a:lnTo>
                      <a:pt x="644" y="142"/>
                    </a:lnTo>
                    <a:lnTo>
                      <a:pt x="640" y="140"/>
                    </a:lnTo>
                    <a:lnTo>
                      <a:pt x="634" y="138"/>
                    </a:lnTo>
                    <a:lnTo>
                      <a:pt x="628" y="138"/>
                    </a:lnTo>
                    <a:lnTo>
                      <a:pt x="624" y="136"/>
                    </a:lnTo>
                    <a:lnTo>
                      <a:pt x="626" y="136"/>
                    </a:lnTo>
                    <a:lnTo>
                      <a:pt x="626" y="134"/>
                    </a:lnTo>
                    <a:lnTo>
                      <a:pt x="626" y="134"/>
                    </a:lnTo>
                    <a:lnTo>
                      <a:pt x="628" y="132"/>
                    </a:lnTo>
                    <a:lnTo>
                      <a:pt x="628" y="132"/>
                    </a:lnTo>
                    <a:lnTo>
                      <a:pt x="630" y="130"/>
                    </a:lnTo>
                    <a:lnTo>
                      <a:pt x="634" y="128"/>
                    </a:lnTo>
                    <a:lnTo>
                      <a:pt x="634" y="128"/>
                    </a:lnTo>
                    <a:lnTo>
                      <a:pt x="634" y="128"/>
                    </a:lnTo>
                    <a:lnTo>
                      <a:pt x="636" y="126"/>
                    </a:lnTo>
                    <a:lnTo>
                      <a:pt x="638" y="124"/>
                    </a:lnTo>
                    <a:lnTo>
                      <a:pt x="640" y="122"/>
                    </a:lnTo>
                    <a:lnTo>
                      <a:pt x="640" y="122"/>
                    </a:lnTo>
                    <a:lnTo>
                      <a:pt x="640" y="122"/>
                    </a:lnTo>
                    <a:lnTo>
                      <a:pt x="642" y="120"/>
                    </a:lnTo>
                    <a:lnTo>
                      <a:pt x="642" y="120"/>
                    </a:lnTo>
                    <a:lnTo>
                      <a:pt x="642" y="118"/>
                    </a:lnTo>
                    <a:lnTo>
                      <a:pt x="642" y="116"/>
                    </a:lnTo>
                    <a:lnTo>
                      <a:pt x="642" y="114"/>
                    </a:lnTo>
                    <a:lnTo>
                      <a:pt x="642" y="112"/>
                    </a:lnTo>
                    <a:lnTo>
                      <a:pt x="642" y="112"/>
                    </a:lnTo>
                    <a:lnTo>
                      <a:pt x="644" y="110"/>
                    </a:lnTo>
                    <a:lnTo>
                      <a:pt x="644" y="108"/>
                    </a:lnTo>
                    <a:lnTo>
                      <a:pt x="646" y="106"/>
                    </a:lnTo>
                    <a:lnTo>
                      <a:pt x="646" y="106"/>
                    </a:lnTo>
                    <a:lnTo>
                      <a:pt x="646" y="104"/>
                    </a:lnTo>
                    <a:lnTo>
                      <a:pt x="646" y="100"/>
                    </a:lnTo>
                    <a:lnTo>
                      <a:pt x="646" y="98"/>
                    </a:lnTo>
                    <a:lnTo>
                      <a:pt x="646" y="96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2"/>
                    </a:lnTo>
                    <a:lnTo>
                      <a:pt x="642" y="92"/>
                    </a:lnTo>
                    <a:lnTo>
                      <a:pt x="642" y="92"/>
                    </a:lnTo>
                    <a:lnTo>
                      <a:pt x="642" y="92"/>
                    </a:lnTo>
                    <a:lnTo>
                      <a:pt x="640" y="92"/>
                    </a:lnTo>
                    <a:lnTo>
                      <a:pt x="640" y="92"/>
                    </a:lnTo>
                    <a:lnTo>
                      <a:pt x="640" y="92"/>
                    </a:lnTo>
                    <a:lnTo>
                      <a:pt x="638" y="92"/>
                    </a:lnTo>
                    <a:lnTo>
                      <a:pt x="636" y="92"/>
                    </a:lnTo>
                    <a:lnTo>
                      <a:pt x="634" y="92"/>
                    </a:lnTo>
                    <a:lnTo>
                      <a:pt x="632" y="94"/>
                    </a:lnTo>
                    <a:close/>
                    <a:moveTo>
                      <a:pt x="698" y="80"/>
                    </a:moveTo>
                    <a:lnTo>
                      <a:pt x="690" y="80"/>
                    </a:lnTo>
                    <a:lnTo>
                      <a:pt x="686" y="80"/>
                    </a:lnTo>
                    <a:lnTo>
                      <a:pt x="686" y="80"/>
                    </a:lnTo>
                    <a:lnTo>
                      <a:pt x="686" y="80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78" y="82"/>
                    </a:lnTo>
                    <a:lnTo>
                      <a:pt x="678" y="82"/>
                    </a:lnTo>
                    <a:lnTo>
                      <a:pt x="678" y="84"/>
                    </a:lnTo>
                    <a:lnTo>
                      <a:pt x="676" y="84"/>
                    </a:lnTo>
                    <a:lnTo>
                      <a:pt x="676" y="84"/>
                    </a:lnTo>
                    <a:lnTo>
                      <a:pt x="676" y="84"/>
                    </a:lnTo>
                    <a:lnTo>
                      <a:pt x="674" y="86"/>
                    </a:lnTo>
                    <a:lnTo>
                      <a:pt x="674" y="86"/>
                    </a:lnTo>
                    <a:lnTo>
                      <a:pt x="674" y="90"/>
                    </a:lnTo>
                    <a:lnTo>
                      <a:pt x="676" y="94"/>
                    </a:lnTo>
                    <a:lnTo>
                      <a:pt x="678" y="96"/>
                    </a:lnTo>
                    <a:lnTo>
                      <a:pt x="680" y="98"/>
                    </a:lnTo>
                    <a:lnTo>
                      <a:pt x="682" y="100"/>
                    </a:lnTo>
                    <a:lnTo>
                      <a:pt x="680" y="100"/>
                    </a:lnTo>
                    <a:lnTo>
                      <a:pt x="680" y="102"/>
                    </a:lnTo>
                    <a:lnTo>
                      <a:pt x="678" y="102"/>
                    </a:lnTo>
                    <a:lnTo>
                      <a:pt x="678" y="104"/>
                    </a:lnTo>
                    <a:lnTo>
                      <a:pt x="676" y="104"/>
                    </a:lnTo>
                    <a:lnTo>
                      <a:pt x="676" y="104"/>
                    </a:lnTo>
                    <a:lnTo>
                      <a:pt x="674" y="102"/>
                    </a:lnTo>
                    <a:lnTo>
                      <a:pt x="672" y="100"/>
                    </a:lnTo>
                    <a:lnTo>
                      <a:pt x="672" y="100"/>
                    </a:lnTo>
                    <a:lnTo>
                      <a:pt x="668" y="100"/>
                    </a:lnTo>
                    <a:lnTo>
                      <a:pt x="668" y="100"/>
                    </a:lnTo>
                    <a:lnTo>
                      <a:pt x="666" y="102"/>
                    </a:lnTo>
                    <a:lnTo>
                      <a:pt x="666" y="104"/>
                    </a:lnTo>
                    <a:lnTo>
                      <a:pt x="668" y="106"/>
                    </a:lnTo>
                    <a:lnTo>
                      <a:pt x="668" y="108"/>
                    </a:lnTo>
                    <a:lnTo>
                      <a:pt x="668" y="112"/>
                    </a:lnTo>
                    <a:lnTo>
                      <a:pt x="668" y="116"/>
                    </a:lnTo>
                    <a:lnTo>
                      <a:pt x="668" y="122"/>
                    </a:lnTo>
                    <a:lnTo>
                      <a:pt x="668" y="130"/>
                    </a:lnTo>
                    <a:lnTo>
                      <a:pt x="668" y="138"/>
                    </a:lnTo>
                    <a:lnTo>
                      <a:pt x="670" y="144"/>
                    </a:lnTo>
                    <a:lnTo>
                      <a:pt x="670" y="152"/>
                    </a:lnTo>
                    <a:lnTo>
                      <a:pt x="670" y="160"/>
                    </a:lnTo>
                    <a:lnTo>
                      <a:pt x="672" y="166"/>
                    </a:lnTo>
                    <a:lnTo>
                      <a:pt x="672" y="172"/>
                    </a:lnTo>
                    <a:lnTo>
                      <a:pt x="674" y="178"/>
                    </a:lnTo>
                    <a:lnTo>
                      <a:pt x="676" y="182"/>
                    </a:lnTo>
                    <a:lnTo>
                      <a:pt x="676" y="184"/>
                    </a:lnTo>
                    <a:lnTo>
                      <a:pt x="676" y="184"/>
                    </a:lnTo>
                    <a:lnTo>
                      <a:pt x="676" y="184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80" y="188"/>
                    </a:lnTo>
                    <a:lnTo>
                      <a:pt x="680" y="188"/>
                    </a:lnTo>
                    <a:lnTo>
                      <a:pt x="680" y="188"/>
                    </a:lnTo>
                    <a:lnTo>
                      <a:pt x="682" y="188"/>
                    </a:lnTo>
                    <a:lnTo>
                      <a:pt x="684" y="188"/>
                    </a:lnTo>
                    <a:lnTo>
                      <a:pt x="686" y="188"/>
                    </a:lnTo>
                    <a:lnTo>
                      <a:pt x="690" y="186"/>
                    </a:lnTo>
                    <a:lnTo>
                      <a:pt x="690" y="186"/>
                    </a:lnTo>
                    <a:lnTo>
                      <a:pt x="690" y="186"/>
                    </a:lnTo>
                    <a:lnTo>
                      <a:pt x="692" y="184"/>
                    </a:lnTo>
                    <a:lnTo>
                      <a:pt x="692" y="184"/>
                    </a:lnTo>
                    <a:lnTo>
                      <a:pt x="694" y="184"/>
                    </a:lnTo>
                    <a:lnTo>
                      <a:pt x="694" y="182"/>
                    </a:lnTo>
                    <a:lnTo>
                      <a:pt x="694" y="182"/>
                    </a:lnTo>
                    <a:lnTo>
                      <a:pt x="694" y="182"/>
                    </a:lnTo>
                    <a:lnTo>
                      <a:pt x="696" y="180"/>
                    </a:lnTo>
                    <a:lnTo>
                      <a:pt x="696" y="176"/>
                    </a:lnTo>
                    <a:lnTo>
                      <a:pt x="698" y="174"/>
                    </a:lnTo>
                    <a:lnTo>
                      <a:pt x="700" y="170"/>
                    </a:lnTo>
                    <a:lnTo>
                      <a:pt x="700" y="170"/>
                    </a:lnTo>
                    <a:lnTo>
                      <a:pt x="700" y="170"/>
                    </a:lnTo>
                    <a:lnTo>
                      <a:pt x="700" y="166"/>
                    </a:lnTo>
                    <a:lnTo>
                      <a:pt x="700" y="164"/>
                    </a:lnTo>
                    <a:lnTo>
                      <a:pt x="700" y="164"/>
                    </a:lnTo>
                    <a:lnTo>
                      <a:pt x="700" y="164"/>
                    </a:lnTo>
                    <a:lnTo>
                      <a:pt x="698" y="160"/>
                    </a:lnTo>
                    <a:lnTo>
                      <a:pt x="698" y="160"/>
                    </a:lnTo>
                    <a:lnTo>
                      <a:pt x="698" y="158"/>
                    </a:lnTo>
                    <a:lnTo>
                      <a:pt x="698" y="156"/>
                    </a:lnTo>
                    <a:lnTo>
                      <a:pt x="696" y="154"/>
                    </a:lnTo>
                    <a:lnTo>
                      <a:pt x="696" y="154"/>
                    </a:lnTo>
                    <a:lnTo>
                      <a:pt x="696" y="154"/>
                    </a:lnTo>
                    <a:lnTo>
                      <a:pt x="696" y="152"/>
                    </a:lnTo>
                    <a:lnTo>
                      <a:pt x="696" y="152"/>
                    </a:lnTo>
                    <a:lnTo>
                      <a:pt x="700" y="150"/>
                    </a:lnTo>
                    <a:lnTo>
                      <a:pt x="704" y="150"/>
                    </a:lnTo>
                    <a:lnTo>
                      <a:pt x="708" y="148"/>
                    </a:lnTo>
                    <a:lnTo>
                      <a:pt x="716" y="148"/>
                    </a:lnTo>
                    <a:lnTo>
                      <a:pt x="726" y="148"/>
                    </a:lnTo>
                    <a:lnTo>
                      <a:pt x="726" y="148"/>
                    </a:lnTo>
                    <a:lnTo>
                      <a:pt x="728" y="146"/>
                    </a:lnTo>
                    <a:lnTo>
                      <a:pt x="728" y="144"/>
                    </a:lnTo>
                    <a:lnTo>
                      <a:pt x="730" y="140"/>
                    </a:lnTo>
                    <a:lnTo>
                      <a:pt x="730" y="136"/>
                    </a:lnTo>
                    <a:lnTo>
                      <a:pt x="730" y="132"/>
                    </a:lnTo>
                    <a:lnTo>
                      <a:pt x="730" y="128"/>
                    </a:lnTo>
                    <a:lnTo>
                      <a:pt x="732" y="126"/>
                    </a:lnTo>
                    <a:lnTo>
                      <a:pt x="734" y="124"/>
                    </a:lnTo>
                    <a:lnTo>
                      <a:pt x="736" y="122"/>
                    </a:lnTo>
                    <a:lnTo>
                      <a:pt x="736" y="122"/>
                    </a:lnTo>
                    <a:lnTo>
                      <a:pt x="740" y="120"/>
                    </a:lnTo>
                    <a:lnTo>
                      <a:pt x="740" y="120"/>
                    </a:lnTo>
                    <a:lnTo>
                      <a:pt x="740" y="118"/>
                    </a:lnTo>
                    <a:lnTo>
                      <a:pt x="742" y="114"/>
                    </a:lnTo>
                    <a:lnTo>
                      <a:pt x="744" y="108"/>
                    </a:lnTo>
                    <a:lnTo>
                      <a:pt x="742" y="110"/>
                    </a:lnTo>
                    <a:lnTo>
                      <a:pt x="746" y="106"/>
                    </a:lnTo>
                    <a:lnTo>
                      <a:pt x="746" y="106"/>
                    </a:lnTo>
                    <a:lnTo>
                      <a:pt x="746" y="104"/>
                    </a:lnTo>
                    <a:lnTo>
                      <a:pt x="748" y="102"/>
                    </a:lnTo>
                    <a:lnTo>
                      <a:pt x="748" y="102"/>
                    </a:lnTo>
                    <a:lnTo>
                      <a:pt x="750" y="102"/>
                    </a:lnTo>
                    <a:lnTo>
                      <a:pt x="750" y="98"/>
                    </a:lnTo>
                    <a:lnTo>
                      <a:pt x="750" y="98"/>
                    </a:lnTo>
                    <a:lnTo>
                      <a:pt x="750" y="98"/>
                    </a:lnTo>
                    <a:lnTo>
                      <a:pt x="752" y="96"/>
                    </a:lnTo>
                    <a:lnTo>
                      <a:pt x="752" y="96"/>
                    </a:lnTo>
                    <a:lnTo>
                      <a:pt x="752" y="94"/>
                    </a:lnTo>
                    <a:lnTo>
                      <a:pt x="750" y="94"/>
                    </a:lnTo>
                    <a:lnTo>
                      <a:pt x="750" y="94"/>
                    </a:lnTo>
                    <a:lnTo>
                      <a:pt x="750" y="92"/>
                    </a:lnTo>
                    <a:lnTo>
                      <a:pt x="750" y="92"/>
                    </a:lnTo>
                    <a:lnTo>
                      <a:pt x="750" y="92"/>
                    </a:lnTo>
                    <a:lnTo>
                      <a:pt x="748" y="90"/>
                    </a:lnTo>
                    <a:lnTo>
                      <a:pt x="746" y="90"/>
                    </a:lnTo>
                    <a:lnTo>
                      <a:pt x="746" y="90"/>
                    </a:lnTo>
                    <a:lnTo>
                      <a:pt x="746" y="90"/>
                    </a:lnTo>
                    <a:lnTo>
                      <a:pt x="744" y="90"/>
                    </a:lnTo>
                    <a:lnTo>
                      <a:pt x="740" y="88"/>
                    </a:lnTo>
                    <a:lnTo>
                      <a:pt x="740" y="88"/>
                    </a:lnTo>
                    <a:lnTo>
                      <a:pt x="738" y="88"/>
                    </a:lnTo>
                    <a:lnTo>
                      <a:pt x="734" y="88"/>
                    </a:lnTo>
                    <a:lnTo>
                      <a:pt x="728" y="88"/>
                    </a:lnTo>
                    <a:lnTo>
                      <a:pt x="722" y="88"/>
                    </a:lnTo>
                    <a:lnTo>
                      <a:pt x="716" y="90"/>
                    </a:lnTo>
                    <a:lnTo>
                      <a:pt x="716" y="90"/>
                    </a:lnTo>
                    <a:lnTo>
                      <a:pt x="716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2" y="90"/>
                    </a:lnTo>
                    <a:lnTo>
                      <a:pt x="712" y="88"/>
                    </a:lnTo>
                    <a:lnTo>
                      <a:pt x="710" y="82"/>
                    </a:lnTo>
                    <a:lnTo>
                      <a:pt x="710" y="82"/>
                    </a:lnTo>
                    <a:lnTo>
                      <a:pt x="710" y="82"/>
                    </a:lnTo>
                    <a:lnTo>
                      <a:pt x="710" y="80"/>
                    </a:lnTo>
                    <a:lnTo>
                      <a:pt x="710" y="80"/>
                    </a:lnTo>
                    <a:lnTo>
                      <a:pt x="708" y="80"/>
                    </a:lnTo>
                    <a:lnTo>
                      <a:pt x="708" y="78"/>
                    </a:lnTo>
                    <a:lnTo>
                      <a:pt x="708" y="78"/>
                    </a:lnTo>
                    <a:lnTo>
                      <a:pt x="704" y="78"/>
                    </a:lnTo>
                    <a:lnTo>
                      <a:pt x="700" y="78"/>
                    </a:lnTo>
                    <a:lnTo>
                      <a:pt x="698" y="80"/>
                    </a:lnTo>
                    <a:close/>
                    <a:moveTo>
                      <a:pt x="904" y="98"/>
                    </a:moveTo>
                    <a:lnTo>
                      <a:pt x="902" y="98"/>
                    </a:lnTo>
                    <a:lnTo>
                      <a:pt x="900" y="98"/>
                    </a:lnTo>
                    <a:lnTo>
                      <a:pt x="896" y="98"/>
                    </a:lnTo>
                    <a:lnTo>
                      <a:pt x="892" y="96"/>
                    </a:lnTo>
                    <a:lnTo>
                      <a:pt x="892" y="96"/>
                    </a:lnTo>
                    <a:lnTo>
                      <a:pt x="890" y="98"/>
                    </a:lnTo>
                    <a:lnTo>
                      <a:pt x="890" y="98"/>
                    </a:lnTo>
                    <a:lnTo>
                      <a:pt x="888" y="100"/>
                    </a:lnTo>
                    <a:lnTo>
                      <a:pt x="888" y="102"/>
                    </a:lnTo>
                    <a:lnTo>
                      <a:pt x="888" y="104"/>
                    </a:lnTo>
                    <a:lnTo>
                      <a:pt x="890" y="108"/>
                    </a:lnTo>
                    <a:lnTo>
                      <a:pt x="890" y="110"/>
                    </a:lnTo>
                    <a:lnTo>
                      <a:pt x="890" y="118"/>
                    </a:lnTo>
                    <a:lnTo>
                      <a:pt x="890" y="126"/>
                    </a:lnTo>
                    <a:lnTo>
                      <a:pt x="892" y="132"/>
                    </a:lnTo>
                    <a:lnTo>
                      <a:pt x="894" y="140"/>
                    </a:lnTo>
                    <a:lnTo>
                      <a:pt x="894" y="142"/>
                    </a:lnTo>
                    <a:lnTo>
                      <a:pt x="896" y="146"/>
                    </a:lnTo>
                    <a:lnTo>
                      <a:pt x="896" y="146"/>
                    </a:lnTo>
                    <a:lnTo>
                      <a:pt x="896" y="146"/>
                    </a:lnTo>
                    <a:lnTo>
                      <a:pt x="898" y="148"/>
                    </a:lnTo>
                    <a:lnTo>
                      <a:pt x="898" y="148"/>
                    </a:lnTo>
                    <a:lnTo>
                      <a:pt x="898" y="148"/>
                    </a:lnTo>
                    <a:lnTo>
                      <a:pt x="900" y="150"/>
                    </a:lnTo>
                    <a:lnTo>
                      <a:pt x="900" y="150"/>
                    </a:lnTo>
                    <a:lnTo>
                      <a:pt x="902" y="150"/>
                    </a:lnTo>
                    <a:lnTo>
                      <a:pt x="908" y="148"/>
                    </a:lnTo>
                    <a:lnTo>
                      <a:pt x="912" y="146"/>
                    </a:lnTo>
                    <a:lnTo>
                      <a:pt x="916" y="146"/>
                    </a:lnTo>
                    <a:lnTo>
                      <a:pt x="922" y="146"/>
                    </a:lnTo>
                    <a:lnTo>
                      <a:pt x="932" y="146"/>
                    </a:lnTo>
                    <a:lnTo>
                      <a:pt x="942" y="144"/>
                    </a:lnTo>
                    <a:lnTo>
                      <a:pt x="942" y="144"/>
                    </a:lnTo>
                    <a:lnTo>
                      <a:pt x="944" y="144"/>
                    </a:lnTo>
                    <a:lnTo>
                      <a:pt x="946" y="144"/>
                    </a:lnTo>
                    <a:lnTo>
                      <a:pt x="948" y="142"/>
                    </a:lnTo>
                    <a:lnTo>
                      <a:pt x="948" y="142"/>
                    </a:lnTo>
                    <a:lnTo>
                      <a:pt x="948" y="142"/>
                    </a:lnTo>
                    <a:lnTo>
                      <a:pt x="948" y="140"/>
                    </a:lnTo>
                    <a:lnTo>
                      <a:pt x="948" y="140"/>
                    </a:lnTo>
                    <a:lnTo>
                      <a:pt x="950" y="140"/>
                    </a:lnTo>
                    <a:lnTo>
                      <a:pt x="950" y="138"/>
                    </a:lnTo>
                    <a:lnTo>
                      <a:pt x="950" y="138"/>
                    </a:lnTo>
                    <a:lnTo>
                      <a:pt x="950" y="138"/>
                    </a:lnTo>
                    <a:lnTo>
                      <a:pt x="950" y="134"/>
                    </a:lnTo>
                    <a:lnTo>
                      <a:pt x="950" y="134"/>
                    </a:lnTo>
                    <a:lnTo>
                      <a:pt x="950" y="134"/>
                    </a:lnTo>
                    <a:lnTo>
                      <a:pt x="948" y="130"/>
                    </a:lnTo>
                    <a:lnTo>
                      <a:pt x="948" y="130"/>
                    </a:lnTo>
                    <a:lnTo>
                      <a:pt x="948" y="130"/>
                    </a:lnTo>
                    <a:lnTo>
                      <a:pt x="946" y="128"/>
                    </a:lnTo>
                    <a:lnTo>
                      <a:pt x="946" y="128"/>
                    </a:lnTo>
                    <a:lnTo>
                      <a:pt x="946" y="128"/>
                    </a:lnTo>
                    <a:lnTo>
                      <a:pt x="944" y="124"/>
                    </a:lnTo>
                    <a:lnTo>
                      <a:pt x="942" y="122"/>
                    </a:lnTo>
                    <a:lnTo>
                      <a:pt x="938" y="122"/>
                    </a:lnTo>
                    <a:lnTo>
                      <a:pt x="938" y="118"/>
                    </a:lnTo>
                    <a:lnTo>
                      <a:pt x="936" y="116"/>
                    </a:lnTo>
                    <a:lnTo>
                      <a:pt x="932" y="114"/>
                    </a:lnTo>
                    <a:lnTo>
                      <a:pt x="930" y="112"/>
                    </a:lnTo>
                    <a:lnTo>
                      <a:pt x="930" y="112"/>
                    </a:lnTo>
                    <a:lnTo>
                      <a:pt x="930" y="110"/>
                    </a:lnTo>
                    <a:lnTo>
                      <a:pt x="924" y="108"/>
                    </a:lnTo>
                    <a:lnTo>
                      <a:pt x="924" y="108"/>
                    </a:lnTo>
                    <a:lnTo>
                      <a:pt x="924" y="108"/>
                    </a:lnTo>
                    <a:lnTo>
                      <a:pt x="918" y="106"/>
                    </a:lnTo>
                    <a:lnTo>
                      <a:pt x="918" y="106"/>
                    </a:lnTo>
                    <a:lnTo>
                      <a:pt x="916" y="104"/>
                    </a:lnTo>
                    <a:lnTo>
                      <a:pt x="916" y="102"/>
                    </a:lnTo>
                    <a:lnTo>
                      <a:pt x="916" y="102"/>
                    </a:lnTo>
                    <a:lnTo>
                      <a:pt x="914" y="102"/>
                    </a:lnTo>
                    <a:lnTo>
                      <a:pt x="914" y="100"/>
                    </a:lnTo>
                    <a:lnTo>
                      <a:pt x="914" y="100"/>
                    </a:lnTo>
                    <a:lnTo>
                      <a:pt x="912" y="100"/>
                    </a:lnTo>
                    <a:lnTo>
                      <a:pt x="912" y="98"/>
                    </a:lnTo>
                    <a:lnTo>
                      <a:pt x="912" y="98"/>
                    </a:lnTo>
                    <a:lnTo>
                      <a:pt x="910" y="98"/>
                    </a:lnTo>
                    <a:lnTo>
                      <a:pt x="908" y="98"/>
                    </a:lnTo>
                    <a:lnTo>
                      <a:pt x="906" y="98"/>
                    </a:lnTo>
                    <a:lnTo>
                      <a:pt x="904" y="98"/>
                    </a:lnTo>
                    <a:close/>
                    <a:moveTo>
                      <a:pt x="938" y="358"/>
                    </a:moveTo>
                    <a:lnTo>
                      <a:pt x="936" y="362"/>
                    </a:lnTo>
                    <a:lnTo>
                      <a:pt x="934" y="366"/>
                    </a:lnTo>
                    <a:lnTo>
                      <a:pt x="934" y="366"/>
                    </a:lnTo>
                    <a:lnTo>
                      <a:pt x="934" y="366"/>
                    </a:lnTo>
                    <a:lnTo>
                      <a:pt x="932" y="370"/>
                    </a:lnTo>
                    <a:lnTo>
                      <a:pt x="932" y="370"/>
                    </a:lnTo>
                    <a:lnTo>
                      <a:pt x="932" y="370"/>
                    </a:lnTo>
                    <a:lnTo>
                      <a:pt x="932" y="374"/>
                    </a:lnTo>
                    <a:lnTo>
                      <a:pt x="932" y="374"/>
                    </a:lnTo>
                    <a:lnTo>
                      <a:pt x="932" y="376"/>
                    </a:lnTo>
                    <a:lnTo>
                      <a:pt x="932" y="378"/>
                    </a:lnTo>
                    <a:lnTo>
                      <a:pt x="932" y="378"/>
                    </a:lnTo>
                    <a:lnTo>
                      <a:pt x="932" y="378"/>
                    </a:lnTo>
                    <a:lnTo>
                      <a:pt x="932" y="380"/>
                    </a:lnTo>
                    <a:lnTo>
                      <a:pt x="932" y="380"/>
                    </a:lnTo>
                    <a:lnTo>
                      <a:pt x="932" y="380"/>
                    </a:lnTo>
                    <a:lnTo>
                      <a:pt x="934" y="382"/>
                    </a:lnTo>
                    <a:lnTo>
                      <a:pt x="934" y="382"/>
                    </a:lnTo>
                    <a:lnTo>
                      <a:pt x="934" y="382"/>
                    </a:lnTo>
                    <a:lnTo>
                      <a:pt x="934" y="386"/>
                    </a:lnTo>
                    <a:lnTo>
                      <a:pt x="934" y="386"/>
                    </a:lnTo>
                    <a:lnTo>
                      <a:pt x="936" y="386"/>
                    </a:lnTo>
                    <a:lnTo>
                      <a:pt x="938" y="388"/>
                    </a:lnTo>
                    <a:lnTo>
                      <a:pt x="938" y="388"/>
                    </a:lnTo>
                    <a:lnTo>
                      <a:pt x="938" y="388"/>
                    </a:lnTo>
                    <a:lnTo>
                      <a:pt x="940" y="388"/>
                    </a:lnTo>
                    <a:lnTo>
                      <a:pt x="940" y="388"/>
                    </a:lnTo>
                    <a:lnTo>
                      <a:pt x="942" y="388"/>
                    </a:lnTo>
                    <a:lnTo>
                      <a:pt x="944" y="390"/>
                    </a:lnTo>
                    <a:lnTo>
                      <a:pt x="944" y="390"/>
                    </a:lnTo>
                    <a:lnTo>
                      <a:pt x="944" y="390"/>
                    </a:lnTo>
                    <a:lnTo>
                      <a:pt x="948" y="390"/>
                    </a:lnTo>
                    <a:lnTo>
                      <a:pt x="954" y="388"/>
                    </a:lnTo>
                    <a:lnTo>
                      <a:pt x="956" y="388"/>
                    </a:lnTo>
                    <a:lnTo>
                      <a:pt x="960" y="388"/>
                    </a:lnTo>
                    <a:lnTo>
                      <a:pt x="960" y="388"/>
                    </a:lnTo>
                    <a:lnTo>
                      <a:pt x="962" y="388"/>
                    </a:lnTo>
                    <a:lnTo>
                      <a:pt x="962" y="386"/>
                    </a:lnTo>
                    <a:lnTo>
                      <a:pt x="962" y="386"/>
                    </a:lnTo>
                    <a:lnTo>
                      <a:pt x="962" y="386"/>
                    </a:lnTo>
                    <a:lnTo>
                      <a:pt x="964" y="384"/>
                    </a:lnTo>
                    <a:lnTo>
                      <a:pt x="964" y="382"/>
                    </a:lnTo>
                    <a:lnTo>
                      <a:pt x="966" y="380"/>
                    </a:lnTo>
                    <a:lnTo>
                      <a:pt x="966" y="378"/>
                    </a:lnTo>
                    <a:lnTo>
                      <a:pt x="968" y="374"/>
                    </a:lnTo>
                    <a:lnTo>
                      <a:pt x="970" y="368"/>
                    </a:lnTo>
                    <a:lnTo>
                      <a:pt x="972" y="360"/>
                    </a:lnTo>
                    <a:lnTo>
                      <a:pt x="972" y="358"/>
                    </a:lnTo>
                    <a:lnTo>
                      <a:pt x="972" y="354"/>
                    </a:lnTo>
                    <a:lnTo>
                      <a:pt x="972" y="352"/>
                    </a:lnTo>
                    <a:lnTo>
                      <a:pt x="972" y="352"/>
                    </a:lnTo>
                    <a:lnTo>
                      <a:pt x="972" y="350"/>
                    </a:lnTo>
                    <a:lnTo>
                      <a:pt x="972" y="350"/>
                    </a:lnTo>
                    <a:lnTo>
                      <a:pt x="970" y="348"/>
                    </a:lnTo>
                    <a:lnTo>
                      <a:pt x="970" y="348"/>
                    </a:lnTo>
                    <a:lnTo>
                      <a:pt x="970" y="348"/>
                    </a:lnTo>
                    <a:lnTo>
                      <a:pt x="970" y="346"/>
                    </a:lnTo>
                    <a:lnTo>
                      <a:pt x="968" y="346"/>
                    </a:lnTo>
                    <a:lnTo>
                      <a:pt x="968" y="346"/>
                    </a:lnTo>
                    <a:lnTo>
                      <a:pt x="966" y="346"/>
                    </a:lnTo>
                    <a:lnTo>
                      <a:pt x="960" y="344"/>
                    </a:lnTo>
                    <a:lnTo>
                      <a:pt x="954" y="344"/>
                    </a:lnTo>
                    <a:lnTo>
                      <a:pt x="950" y="344"/>
                    </a:lnTo>
                    <a:lnTo>
                      <a:pt x="944" y="344"/>
                    </a:lnTo>
                    <a:lnTo>
                      <a:pt x="944" y="344"/>
                    </a:lnTo>
                    <a:lnTo>
                      <a:pt x="942" y="344"/>
                    </a:lnTo>
                    <a:lnTo>
                      <a:pt x="942" y="344"/>
                    </a:lnTo>
                    <a:lnTo>
                      <a:pt x="940" y="346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50"/>
                    </a:lnTo>
                    <a:lnTo>
                      <a:pt x="942" y="350"/>
                    </a:lnTo>
                    <a:lnTo>
                      <a:pt x="942" y="352"/>
                    </a:lnTo>
                    <a:lnTo>
                      <a:pt x="942" y="352"/>
                    </a:lnTo>
                    <a:lnTo>
                      <a:pt x="940" y="354"/>
                    </a:lnTo>
                    <a:lnTo>
                      <a:pt x="938" y="358"/>
                    </a:lnTo>
                    <a:close/>
                    <a:moveTo>
                      <a:pt x="870" y="536"/>
                    </a:moveTo>
                    <a:lnTo>
                      <a:pt x="870" y="534"/>
                    </a:lnTo>
                    <a:lnTo>
                      <a:pt x="870" y="534"/>
                    </a:lnTo>
                    <a:lnTo>
                      <a:pt x="870" y="534"/>
                    </a:lnTo>
                    <a:lnTo>
                      <a:pt x="868" y="534"/>
                    </a:lnTo>
                    <a:lnTo>
                      <a:pt x="868" y="534"/>
                    </a:lnTo>
                    <a:lnTo>
                      <a:pt x="868" y="532"/>
                    </a:lnTo>
                    <a:lnTo>
                      <a:pt x="866" y="532"/>
                    </a:lnTo>
                    <a:lnTo>
                      <a:pt x="866" y="532"/>
                    </a:lnTo>
                    <a:lnTo>
                      <a:pt x="866" y="532"/>
                    </a:lnTo>
                    <a:lnTo>
                      <a:pt x="864" y="532"/>
                    </a:lnTo>
                    <a:lnTo>
                      <a:pt x="860" y="532"/>
                    </a:lnTo>
                    <a:lnTo>
                      <a:pt x="856" y="532"/>
                    </a:lnTo>
                    <a:lnTo>
                      <a:pt x="850" y="532"/>
                    </a:lnTo>
                    <a:lnTo>
                      <a:pt x="848" y="532"/>
                    </a:lnTo>
                    <a:lnTo>
                      <a:pt x="844" y="532"/>
                    </a:lnTo>
                    <a:lnTo>
                      <a:pt x="842" y="534"/>
                    </a:lnTo>
                    <a:lnTo>
                      <a:pt x="842" y="534"/>
                    </a:lnTo>
                    <a:lnTo>
                      <a:pt x="840" y="534"/>
                    </a:lnTo>
                    <a:lnTo>
                      <a:pt x="836" y="540"/>
                    </a:lnTo>
                    <a:lnTo>
                      <a:pt x="836" y="544"/>
                    </a:lnTo>
                    <a:lnTo>
                      <a:pt x="836" y="546"/>
                    </a:lnTo>
                    <a:lnTo>
                      <a:pt x="836" y="546"/>
                    </a:lnTo>
                    <a:lnTo>
                      <a:pt x="836" y="546"/>
                    </a:lnTo>
                    <a:lnTo>
                      <a:pt x="836" y="550"/>
                    </a:lnTo>
                    <a:lnTo>
                      <a:pt x="836" y="550"/>
                    </a:lnTo>
                    <a:lnTo>
                      <a:pt x="836" y="550"/>
                    </a:lnTo>
                    <a:lnTo>
                      <a:pt x="836" y="552"/>
                    </a:lnTo>
                    <a:lnTo>
                      <a:pt x="836" y="552"/>
                    </a:lnTo>
                    <a:lnTo>
                      <a:pt x="838" y="554"/>
                    </a:lnTo>
                    <a:lnTo>
                      <a:pt x="840" y="554"/>
                    </a:lnTo>
                    <a:lnTo>
                      <a:pt x="840" y="554"/>
                    </a:lnTo>
                    <a:lnTo>
                      <a:pt x="840" y="554"/>
                    </a:lnTo>
                    <a:lnTo>
                      <a:pt x="844" y="556"/>
                    </a:lnTo>
                    <a:lnTo>
                      <a:pt x="844" y="556"/>
                    </a:lnTo>
                    <a:lnTo>
                      <a:pt x="844" y="556"/>
                    </a:lnTo>
                    <a:lnTo>
                      <a:pt x="846" y="556"/>
                    </a:lnTo>
                    <a:lnTo>
                      <a:pt x="850" y="556"/>
                    </a:lnTo>
                    <a:lnTo>
                      <a:pt x="854" y="556"/>
                    </a:lnTo>
                    <a:lnTo>
                      <a:pt x="858" y="556"/>
                    </a:lnTo>
                    <a:lnTo>
                      <a:pt x="860" y="554"/>
                    </a:lnTo>
                    <a:lnTo>
                      <a:pt x="860" y="554"/>
                    </a:lnTo>
                    <a:lnTo>
                      <a:pt x="862" y="554"/>
                    </a:lnTo>
                    <a:lnTo>
                      <a:pt x="864" y="554"/>
                    </a:lnTo>
                    <a:lnTo>
                      <a:pt x="864" y="554"/>
                    </a:lnTo>
                    <a:lnTo>
                      <a:pt x="864" y="554"/>
                    </a:lnTo>
                    <a:lnTo>
                      <a:pt x="866" y="552"/>
                    </a:lnTo>
                    <a:lnTo>
                      <a:pt x="866" y="552"/>
                    </a:lnTo>
                    <a:lnTo>
                      <a:pt x="868" y="550"/>
                    </a:lnTo>
                    <a:lnTo>
                      <a:pt x="870" y="548"/>
                    </a:lnTo>
                    <a:lnTo>
                      <a:pt x="870" y="548"/>
                    </a:lnTo>
                    <a:lnTo>
                      <a:pt x="870" y="548"/>
                    </a:lnTo>
                    <a:lnTo>
                      <a:pt x="872" y="544"/>
                    </a:lnTo>
                    <a:lnTo>
                      <a:pt x="872" y="544"/>
                    </a:lnTo>
                    <a:lnTo>
                      <a:pt x="872" y="542"/>
                    </a:lnTo>
                    <a:lnTo>
                      <a:pt x="872" y="542"/>
                    </a:lnTo>
                    <a:lnTo>
                      <a:pt x="872" y="542"/>
                    </a:lnTo>
                    <a:lnTo>
                      <a:pt x="872" y="540"/>
                    </a:lnTo>
                    <a:lnTo>
                      <a:pt x="872" y="538"/>
                    </a:lnTo>
                    <a:lnTo>
                      <a:pt x="872" y="538"/>
                    </a:lnTo>
                    <a:lnTo>
                      <a:pt x="872" y="538"/>
                    </a:lnTo>
                    <a:lnTo>
                      <a:pt x="872" y="536"/>
                    </a:lnTo>
                    <a:lnTo>
                      <a:pt x="872" y="536"/>
                    </a:lnTo>
                    <a:lnTo>
                      <a:pt x="870" y="536"/>
                    </a:lnTo>
                    <a:lnTo>
                      <a:pt x="870" y="536"/>
                    </a:lnTo>
                    <a:close/>
                    <a:moveTo>
                      <a:pt x="890" y="574"/>
                    </a:moveTo>
                    <a:lnTo>
                      <a:pt x="890" y="574"/>
                    </a:lnTo>
                    <a:lnTo>
                      <a:pt x="892" y="574"/>
                    </a:lnTo>
                    <a:lnTo>
                      <a:pt x="892" y="574"/>
                    </a:lnTo>
                    <a:lnTo>
                      <a:pt x="892" y="574"/>
                    </a:lnTo>
                    <a:lnTo>
                      <a:pt x="894" y="574"/>
                    </a:lnTo>
                    <a:lnTo>
                      <a:pt x="896" y="576"/>
                    </a:lnTo>
                    <a:lnTo>
                      <a:pt x="898" y="576"/>
                    </a:lnTo>
                    <a:lnTo>
                      <a:pt x="898" y="576"/>
                    </a:lnTo>
                    <a:lnTo>
                      <a:pt x="900" y="576"/>
                    </a:lnTo>
                    <a:lnTo>
                      <a:pt x="902" y="576"/>
                    </a:lnTo>
                    <a:lnTo>
                      <a:pt x="902" y="576"/>
                    </a:lnTo>
                    <a:lnTo>
                      <a:pt x="902" y="576"/>
                    </a:lnTo>
                    <a:lnTo>
                      <a:pt x="904" y="574"/>
                    </a:lnTo>
                    <a:lnTo>
                      <a:pt x="904" y="574"/>
                    </a:lnTo>
                    <a:lnTo>
                      <a:pt x="906" y="574"/>
                    </a:lnTo>
                    <a:lnTo>
                      <a:pt x="908" y="570"/>
                    </a:lnTo>
                    <a:lnTo>
                      <a:pt x="908" y="570"/>
                    </a:lnTo>
                    <a:lnTo>
                      <a:pt x="910" y="570"/>
                    </a:lnTo>
                    <a:lnTo>
                      <a:pt x="910" y="566"/>
                    </a:lnTo>
                    <a:lnTo>
                      <a:pt x="910" y="566"/>
                    </a:lnTo>
                    <a:lnTo>
                      <a:pt x="910" y="564"/>
                    </a:lnTo>
                    <a:lnTo>
                      <a:pt x="912" y="560"/>
                    </a:lnTo>
                    <a:lnTo>
                      <a:pt x="912" y="560"/>
                    </a:lnTo>
                    <a:lnTo>
                      <a:pt x="912" y="560"/>
                    </a:lnTo>
                    <a:lnTo>
                      <a:pt x="910" y="556"/>
                    </a:lnTo>
                    <a:lnTo>
                      <a:pt x="910" y="556"/>
                    </a:lnTo>
                    <a:lnTo>
                      <a:pt x="910" y="554"/>
                    </a:lnTo>
                    <a:lnTo>
                      <a:pt x="908" y="550"/>
                    </a:lnTo>
                    <a:lnTo>
                      <a:pt x="908" y="550"/>
                    </a:lnTo>
                    <a:lnTo>
                      <a:pt x="908" y="550"/>
                    </a:lnTo>
                    <a:lnTo>
                      <a:pt x="904" y="546"/>
                    </a:lnTo>
                    <a:lnTo>
                      <a:pt x="904" y="546"/>
                    </a:lnTo>
                    <a:lnTo>
                      <a:pt x="904" y="546"/>
                    </a:lnTo>
                    <a:lnTo>
                      <a:pt x="902" y="544"/>
                    </a:lnTo>
                    <a:lnTo>
                      <a:pt x="902" y="544"/>
                    </a:lnTo>
                    <a:lnTo>
                      <a:pt x="902" y="544"/>
                    </a:lnTo>
                    <a:lnTo>
                      <a:pt x="898" y="544"/>
                    </a:lnTo>
                    <a:lnTo>
                      <a:pt x="898" y="544"/>
                    </a:lnTo>
                    <a:lnTo>
                      <a:pt x="896" y="544"/>
                    </a:lnTo>
                    <a:lnTo>
                      <a:pt x="896" y="544"/>
                    </a:lnTo>
                    <a:lnTo>
                      <a:pt x="896" y="546"/>
                    </a:lnTo>
                    <a:lnTo>
                      <a:pt x="894" y="548"/>
                    </a:lnTo>
                    <a:lnTo>
                      <a:pt x="894" y="550"/>
                    </a:lnTo>
                    <a:lnTo>
                      <a:pt x="894" y="552"/>
                    </a:lnTo>
                    <a:lnTo>
                      <a:pt x="892" y="554"/>
                    </a:lnTo>
                    <a:lnTo>
                      <a:pt x="892" y="554"/>
                    </a:lnTo>
                    <a:lnTo>
                      <a:pt x="892" y="556"/>
                    </a:lnTo>
                    <a:lnTo>
                      <a:pt x="892" y="560"/>
                    </a:lnTo>
                    <a:lnTo>
                      <a:pt x="892" y="562"/>
                    </a:lnTo>
                    <a:lnTo>
                      <a:pt x="892" y="562"/>
                    </a:lnTo>
                    <a:lnTo>
                      <a:pt x="890" y="564"/>
                    </a:lnTo>
                    <a:lnTo>
                      <a:pt x="890" y="566"/>
                    </a:lnTo>
                    <a:lnTo>
                      <a:pt x="890" y="566"/>
                    </a:lnTo>
                    <a:lnTo>
                      <a:pt x="890" y="566"/>
                    </a:lnTo>
                    <a:lnTo>
                      <a:pt x="890" y="568"/>
                    </a:lnTo>
                    <a:lnTo>
                      <a:pt x="890" y="568"/>
                    </a:lnTo>
                    <a:lnTo>
                      <a:pt x="888" y="570"/>
                    </a:lnTo>
                    <a:lnTo>
                      <a:pt x="890" y="570"/>
                    </a:lnTo>
                    <a:lnTo>
                      <a:pt x="890" y="570"/>
                    </a:lnTo>
                    <a:lnTo>
                      <a:pt x="890" y="572"/>
                    </a:lnTo>
                    <a:lnTo>
                      <a:pt x="890" y="574"/>
                    </a:lnTo>
                    <a:close/>
                    <a:moveTo>
                      <a:pt x="884" y="626"/>
                    </a:moveTo>
                    <a:lnTo>
                      <a:pt x="884" y="626"/>
                    </a:lnTo>
                    <a:lnTo>
                      <a:pt x="884" y="626"/>
                    </a:lnTo>
                    <a:lnTo>
                      <a:pt x="882" y="628"/>
                    </a:lnTo>
                    <a:lnTo>
                      <a:pt x="882" y="628"/>
                    </a:lnTo>
                    <a:lnTo>
                      <a:pt x="882" y="628"/>
                    </a:lnTo>
                    <a:lnTo>
                      <a:pt x="880" y="632"/>
                    </a:lnTo>
                    <a:lnTo>
                      <a:pt x="880" y="632"/>
                    </a:lnTo>
                    <a:lnTo>
                      <a:pt x="880" y="632"/>
                    </a:lnTo>
                    <a:lnTo>
                      <a:pt x="880" y="634"/>
                    </a:lnTo>
                    <a:lnTo>
                      <a:pt x="880" y="634"/>
                    </a:lnTo>
                    <a:lnTo>
                      <a:pt x="880" y="636"/>
                    </a:lnTo>
                    <a:lnTo>
                      <a:pt x="880" y="638"/>
                    </a:lnTo>
                    <a:lnTo>
                      <a:pt x="880" y="642"/>
                    </a:lnTo>
                    <a:lnTo>
                      <a:pt x="882" y="646"/>
                    </a:lnTo>
                    <a:lnTo>
                      <a:pt x="882" y="650"/>
                    </a:lnTo>
                    <a:lnTo>
                      <a:pt x="882" y="650"/>
                    </a:lnTo>
                    <a:lnTo>
                      <a:pt x="884" y="652"/>
                    </a:lnTo>
                    <a:lnTo>
                      <a:pt x="884" y="652"/>
                    </a:lnTo>
                    <a:lnTo>
                      <a:pt x="886" y="652"/>
                    </a:lnTo>
                    <a:lnTo>
                      <a:pt x="890" y="652"/>
                    </a:lnTo>
                    <a:lnTo>
                      <a:pt x="890" y="652"/>
                    </a:lnTo>
                    <a:lnTo>
                      <a:pt x="892" y="652"/>
                    </a:lnTo>
                    <a:lnTo>
                      <a:pt x="894" y="648"/>
                    </a:lnTo>
                    <a:lnTo>
                      <a:pt x="894" y="648"/>
                    </a:lnTo>
                    <a:lnTo>
                      <a:pt x="896" y="648"/>
                    </a:lnTo>
                    <a:lnTo>
                      <a:pt x="896" y="646"/>
                    </a:lnTo>
                    <a:lnTo>
                      <a:pt x="896" y="646"/>
                    </a:lnTo>
                    <a:lnTo>
                      <a:pt x="898" y="644"/>
                    </a:lnTo>
                    <a:lnTo>
                      <a:pt x="898" y="640"/>
                    </a:lnTo>
                    <a:lnTo>
                      <a:pt x="898" y="640"/>
                    </a:lnTo>
                    <a:lnTo>
                      <a:pt x="898" y="640"/>
                    </a:lnTo>
                    <a:lnTo>
                      <a:pt x="898" y="636"/>
                    </a:lnTo>
                    <a:lnTo>
                      <a:pt x="898" y="636"/>
                    </a:lnTo>
                    <a:lnTo>
                      <a:pt x="898" y="636"/>
                    </a:lnTo>
                    <a:lnTo>
                      <a:pt x="896" y="632"/>
                    </a:lnTo>
                    <a:lnTo>
                      <a:pt x="896" y="632"/>
                    </a:lnTo>
                    <a:lnTo>
                      <a:pt x="896" y="632"/>
                    </a:lnTo>
                    <a:lnTo>
                      <a:pt x="894" y="628"/>
                    </a:lnTo>
                    <a:lnTo>
                      <a:pt x="894" y="628"/>
                    </a:lnTo>
                    <a:lnTo>
                      <a:pt x="894" y="628"/>
                    </a:lnTo>
                    <a:lnTo>
                      <a:pt x="892" y="624"/>
                    </a:lnTo>
                    <a:lnTo>
                      <a:pt x="892" y="624"/>
                    </a:lnTo>
                    <a:lnTo>
                      <a:pt x="890" y="622"/>
                    </a:lnTo>
                    <a:lnTo>
                      <a:pt x="890" y="622"/>
                    </a:lnTo>
                    <a:lnTo>
                      <a:pt x="888" y="622"/>
                    </a:lnTo>
                    <a:lnTo>
                      <a:pt x="884" y="626"/>
                    </a:lnTo>
                    <a:close/>
                    <a:moveTo>
                      <a:pt x="892" y="732"/>
                    </a:moveTo>
                    <a:lnTo>
                      <a:pt x="892" y="734"/>
                    </a:lnTo>
                    <a:lnTo>
                      <a:pt x="892" y="736"/>
                    </a:lnTo>
                    <a:lnTo>
                      <a:pt x="892" y="738"/>
                    </a:lnTo>
                    <a:lnTo>
                      <a:pt x="892" y="738"/>
                    </a:lnTo>
                    <a:lnTo>
                      <a:pt x="894" y="740"/>
                    </a:lnTo>
                    <a:lnTo>
                      <a:pt x="898" y="742"/>
                    </a:lnTo>
                    <a:lnTo>
                      <a:pt x="902" y="744"/>
                    </a:lnTo>
                    <a:lnTo>
                      <a:pt x="904" y="744"/>
                    </a:lnTo>
                    <a:lnTo>
                      <a:pt x="904" y="744"/>
                    </a:lnTo>
                    <a:lnTo>
                      <a:pt x="906" y="744"/>
                    </a:lnTo>
                    <a:lnTo>
                      <a:pt x="908" y="746"/>
                    </a:lnTo>
                    <a:lnTo>
                      <a:pt x="908" y="746"/>
                    </a:lnTo>
                    <a:lnTo>
                      <a:pt x="908" y="744"/>
                    </a:lnTo>
                    <a:lnTo>
                      <a:pt x="910" y="744"/>
                    </a:lnTo>
                    <a:lnTo>
                      <a:pt x="910" y="744"/>
                    </a:lnTo>
                    <a:lnTo>
                      <a:pt x="912" y="742"/>
                    </a:lnTo>
                    <a:lnTo>
                      <a:pt x="912" y="740"/>
                    </a:lnTo>
                    <a:lnTo>
                      <a:pt x="912" y="740"/>
                    </a:lnTo>
                    <a:lnTo>
                      <a:pt x="912" y="740"/>
                    </a:lnTo>
                    <a:lnTo>
                      <a:pt x="914" y="736"/>
                    </a:lnTo>
                    <a:lnTo>
                      <a:pt x="914" y="734"/>
                    </a:lnTo>
                    <a:lnTo>
                      <a:pt x="914" y="732"/>
                    </a:lnTo>
                    <a:lnTo>
                      <a:pt x="916" y="732"/>
                    </a:lnTo>
                    <a:lnTo>
                      <a:pt x="918" y="730"/>
                    </a:lnTo>
                    <a:lnTo>
                      <a:pt x="920" y="728"/>
                    </a:lnTo>
                    <a:lnTo>
                      <a:pt x="924" y="726"/>
                    </a:lnTo>
                    <a:lnTo>
                      <a:pt x="928" y="722"/>
                    </a:lnTo>
                    <a:lnTo>
                      <a:pt x="930" y="720"/>
                    </a:lnTo>
                    <a:lnTo>
                      <a:pt x="932" y="718"/>
                    </a:lnTo>
                    <a:lnTo>
                      <a:pt x="932" y="716"/>
                    </a:lnTo>
                    <a:lnTo>
                      <a:pt x="932" y="716"/>
                    </a:lnTo>
                    <a:lnTo>
                      <a:pt x="934" y="714"/>
                    </a:lnTo>
                    <a:lnTo>
                      <a:pt x="934" y="714"/>
                    </a:lnTo>
                    <a:lnTo>
                      <a:pt x="934" y="714"/>
                    </a:lnTo>
                    <a:lnTo>
                      <a:pt x="934" y="712"/>
                    </a:lnTo>
                    <a:lnTo>
                      <a:pt x="934" y="710"/>
                    </a:lnTo>
                    <a:lnTo>
                      <a:pt x="934" y="710"/>
                    </a:lnTo>
                    <a:lnTo>
                      <a:pt x="934" y="710"/>
                    </a:lnTo>
                    <a:lnTo>
                      <a:pt x="934" y="708"/>
                    </a:lnTo>
                    <a:lnTo>
                      <a:pt x="934" y="708"/>
                    </a:lnTo>
                    <a:lnTo>
                      <a:pt x="932" y="708"/>
                    </a:lnTo>
                    <a:lnTo>
                      <a:pt x="932" y="706"/>
                    </a:lnTo>
                    <a:lnTo>
                      <a:pt x="932" y="706"/>
                    </a:lnTo>
                    <a:lnTo>
                      <a:pt x="930" y="706"/>
                    </a:lnTo>
                    <a:lnTo>
                      <a:pt x="928" y="704"/>
                    </a:lnTo>
                    <a:lnTo>
                      <a:pt x="928" y="704"/>
                    </a:lnTo>
                    <a:lnTo>
                      <a:pt x="928" y="704"/>
                    </a:lnTo>
                    <a:lnTo>
                      <a:pt x="920" y="704"/>
                    </a:lnTo>
                    <a:lnTo>
                      <a:pt x="912" y="704"/>
                    </a:lnTo>
                    <a:lnTo>
                      <a:pt x="904" y="704"/>
                    </a:lnTo>
                    <a:lnTo>
                      <a:pt x="898" y="704"/>
                    </a:lnTo>
                    <a:lnTo>
                      <a:pt x="898" y="704"/>
                    </a:lnTo>
                    <a:lnTo>
                      <a:pt x="896" y="704"/>
                    </a:lnTo>
                    <a:lnTo>
                      <a:pt x="894" y="706"/>
                    </a:lnTo>
                    <a:lnTo>
                      <a:pt x="894" y="710"/>
                    </a:lnTo>
                    <a:lnTo>
                      <a:pt x="894" y="714"/>
                    </a:lnTo>
                    <a:lnTo>
                      <a:pt x="894" y="718"/>
                    </a:lnTo>
                    <a:lnTo>
                      <a:pt x="892" y="720"/>
                    </a:lnTo>
                    <a:lnTo>
                      <a:pt x="892" y="722"/>
                    </a:lnTo>
                    <a:lnTo>
                      <a:pt x="892" y="724"/>
                    </a:lnTo>
                    <a:lnTo>
                      <a:pt x="892" y="726"/>
                    </a:lnTo>
                    <a:lnTo>
                      <a:pt x="892" y="728"/>
                    </a:lnTo>
                    <a:lnTo>
                      <a:pt x="892" y="730"/>
                    </a:lnTo>
                    <a:lnTo>
                      <a:pt x="892" y="732"/>
                    </a:lnTo>
                    <a:close/>
                    <a:moveTo>
                      <a:pt x="1166" y="894"/>
                    </a:moveTo>
                    <a:lnTo>
                      <a:pt x="1166" y="894"/>
                    </a:lnTo>
                    <a:lnTo>
                      <a:pt x="1166" y="894"/>
                    </a:lnTo>
                    <a:lnTo>
                      <a:pt x="1164" y="894"/>
                    </a:lnTo>
                    <a:lnTo>
                      <a:pt x="1164" y="894"/>
                    </a:lnTo>
                    <a:lnTo>
                      <a:pt x="1162" y="894"/>
                    </a:lnTo>
                    <a:lnTo>
                      <a:pt x="1162" y="892"/>
                    </a:lnTo>
                    <a:lnTo>
                      <a:pt x="1162" y="892"/>
                    </a:lnTo>
                    <a:lnTo>
                      <a:pt x="1160" y="892"/>
                    </a:lnTo>
                    <a:lnTo>
                      <a:pt x="1158" y="890"/>
                    </a:lnTo>
                    <a:lnTo>
                      <a:pt x="1156" y="888"/>
                    </a:lnTo>
                    <a:lnTo>
                      <a:pt x="1154" y="886"/>
                    </a:lnTo>
                    <a:lnTo>
                      <a:pt x="1152" y="884"/>
                    </a:lnTo>
                    <a:lnTo>
                      <a:pt x="1150" y="882"/>
                    </a:lnTo>
                    <a:lnTo>
                      <a:pt x="1148" y="880"/>
                    </a:lnTo>
                    <a:lnTo>
                      <a:pt x="1144" y="876"/>
                    </a:lnTo>
                    <a:lnTo>
                      <a:pt x="1144" y="876"/>
                    </a:lnTo>
                    <a:lnTo>
                      <a:pt x="1144" y="876"/>
                    </a:lnTo>
                    <a:lnTo>
                      <a:pt x="1142" y="876"/>
                    </a:lnTo>
                    <a:lnTo>
                      <a:pt x="1142" y="876"/>
                    </a:lnTo>
                    <a:lnTo>
                      <a:pt x="1140" y="876"/>
                    </a:lnTo>
                    <a:lnTo>
                      <a:pt x="1138" y="874"/>
                    </a:lnTo>
                    <a:lnTo>
                      <a:pt x="1138" y="874"/>
                    </a:lnTo>
                    <a:lnTo>
                      <a:pt x="1138" y="874"/>
                    </a:lnTo>
                    <a:lnTo>
                      <a:pt x="1134" y="876"/>
                    </a:lnTo>
                    <a:lnTo>
                      <a:pt x="1132" y="876"/>
                    </a:lnTo>
                    <a:lnTo>
                      <a:pt x="1130" y="878"/>
                    </a:lnTo>
                    <a:lnTo>
                      <a:pt x="1128" y="878"/>
                    </a:lnTo>
                    <a:lnTo>
                      <a:pt x="1124" y="880"/>
                    </a:lnTo>
                    <a:lnTo>
                      <a:pt x="1124" y="880"/>
                    </a:lnTo>
                    <a:lnTo>
                      <a:pt x="1124" y="882"/>
                    </a:lnTo>
                    <a:lnTo>
                      <a:pt x="1124" y="882"/>
                    </a:lnTo>
                    <a:lnTo>
                      <a:pt x="1124" y="884"/>
                    </a:lnTo>
                    <a:lnTo>
                      <a:pt x="1128" y="888"/>
                    </a:lnTo>
                    <a:lnTo>
                      <a:pt x="1130" y="890"/>
                    </a:lnTo>
                    <a:lnTo>
                      <a:pt x="1136" y="894"/>
                    </a:lnTo>
                    <a:lnTo>
                      <a:pt x="1138" y="894"/>
                    </a:lnTo>
                    <a:lnTo>
                      <a:pt x="1138" y="896"/>
                    </a:lnTo>
                    <a:lnTo>
                      <a:pt x="1138" y="896"/>
                    </a:lnTo>
                    <a:lnTo>
                      <a:pt x="1138" y="896"/>
                    </a:lnTo>
                    <a:lnTo>
                      <a:pt x="1140" y="898"/>
                    </a:lnTo>
                    <a:lnTo>
                      <a:pt x="1140" y="898"/>
                    </a:lnTo>
                    <a:lnTo>
                      <a:pt x="1140" y="898"/>
                    </a:lnTo>
                    <a:lnTo>
                      <a:pt x="1142" y="900"/>
                    </a:lnTo>
                    <a:lnTo>
                      <a:pt x="1142" y="900"/>
                    </a:lnTo>
                    <a:lnTo>
                      <a:pt x="1142" y="900"/>
                    </a:lnTo>
                    <a:lnTo>
                      <a:pt x="1146" y="900"/>
                    </a:lnTo>
                    <a:lnTo>
                      <a:pt x="1148" y="900"/>
                    </a:lnTo>
                    <a:lnTo>
                      <a:pt x="1150" y="902"/>
                    </a:lnTo>
                    <a:lnTo>
                      <a:pt x="1150" y="902"/>
                    </a:lnTo>
                    <a:lnTo>
                      <a:pt x="1150" y="902"/>
                    </a:lnTo>
                    <a:lnTo>
                      <a:pt x="1158" y="902"/>
                    </a:lnTo>
                    <a:lnTo>
                      <a:pt x="1164" y="900"/>
                    </a:lnTo>
                    <a:lnTo>
                      <a:pt x="1164" y="900"/>
                    </a:lnTo>
                    <a:lnTo>
                      <a:pt x="1166" y="900"/>
                    </a:lnTo>
                    <a:lnTo>
                      <a:pt x="1166" y="898"/>
                    </a:lnTo>
                    <a:lnTo>
                      <a:pt x="1166" y="898"/>
                    </a:lnTo>
                    <a:lnTo>
                      <a:pt x="1168" y="898"/>
                    </a:lnTo>
                    <a:lnTo>
                      <a:pt x="1168" y="896"/>
                    </a:lnTo>
                    <a:lnTo>
                      <a:pt x="1166" y="896"/>
                    </a:lnTo>
                    <a:lnTo>
                      <a:pt x="1166" y="896"/>
                    </a:lnTo>
                    <a:lnTo>
                      <a:pt x="1166" y="894"/>
                    </a:lnTo>
                    <a:lnTo>
                      <a:pt x="1166" y="89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51" name="Freeform 27">
                <a:extLst>
                  <a:ext uri="{FF2B5EF4-FFF2-40B4-BE49-F238E27FC236}">
                    <a16:creationId xmlns:a16="http://schemas.microsoft.com/office/drawing/2014/main" id="{5DE1E369-4062-4DF6-948F-5B7061A357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63" y="1761332"/>
                <a:ext cx="2694475" cy="1976436"/>
              </a:xfrm>
              <a:custGeom>
                <a:avLst/>
                <a:gdLst>
                  <a:gd name="T0" fmla="*/ 300 w 1672"/>
                  <a:gd name="T1" fmla="*/ 1176 h 1238"/>
                  <a:gd name="T2" fmla="*/ 310 w 1672"/>
                  <a:gd name="T3" fmla="*/ 1196 h 1238"/>
                  <a:gd name="T4" fmla="*/ 356 w 1672"/>
                  <a:gd name="T5" fmla="*/ 1236 h 1238"/>
                  <a:gd name="T6" fmla="*/ 1656 w 1672"/>
                  <a:gd name="T7" fmla="*/ 728 h 1238"/>
                  <a:gd name="T8" fmla="*/ 1628 w 1672"/>
                  <a:gd name="T9" fmla="*/ 750 h 1238"/>
                  <a:gd name="T10" fmla="*/ 1532 w 1672"/>
                  <a:gd name="T11" fmla="*/ 788 h 1238"/>
                  <a:gd name="T12" fmla="*/ 1432 w 1672"/>
                  <a:gd name="T13" fmla="*/ 848 h 1238"/>
                  <a:gd name="T14" fmla="*/ 1432 w 1672"/>
                  <a:gd name="T15" fmla="*/ 796 h 1238"/>
                  <a:gd name="T16" fmla="*/ 1410 w 1672"/>
                  <a:gd name="T17" fmla="*/ 758 h 1238"/>
                  <a:gd name="T18" fmla="*/ 1366 w 1672"/>
                  <a:gd name="T19" fmla="*/ 840 h 1238"/>
                  <a:gd name="T20" fmla="*/ 1400 w 1672"/>
                  <a:gd name="T21" fmla="*/ 746 h 1238"/>
                  <a:gd name="T22" fmla="*/ 1324 w 1672"/>
                  <a:gd name="T23" fmla="*/ 722 h 1238"/>
                  <a:gd name="T24" fmla="*/ 1238 w 1672"/>
                  <a:gd name="T25" fmla="*/ 702 h 1238"/>
                  <a:gd name="T26" fmla="*/ 860 w 1672"/>
                  <a:gd name="T27" fmla="*/ 704 h 1238"/>
                  <a:gd name="T28" fmla="*/ 814 w 1672"/>
                  <a:gd name="T29" fmla="*/ 738 h 1238"/>
                  <a:gd name="T30" fmla="*/ 886 w 1672"/>
                  <a:gd name="T31" fmla="*/ 992 h 1238"/>
                  <a:gd name="T32" fmla="*/ 954 w 1672"/>
                  <a:gd name="T33" fmla="*/ 1004 h 1238"/>
                  <a:gd name="T34" fmla="*/ 1052 w 1672"/>
                  <a:gd name="T35" fmla="*/ 1034 h 1238"/>
                  <a:gd name="T36" fmla="*/ 1130 w 1672"/>
                  <a:gd name="T37" fmla="*/ 1068 h 1238"/>
                  <a:gd name="T38" fmla="*/ 1184 w 1672"/>
                  <a:gd name="T39" fmla="*/ 1116 h 1238"/>
                  <a:gd name="T40" fmla="*/ 1246 w 1672"/>
                  <a:gd name="T41" fmla="*/ 1072 h 1238"/>
                  <a:gd name="T42" fmla="*/ 1350 w 1672"/>
                  <a:gd name="T43" fmla="*/ 1056 h 1238"/>
                  <a:gd name="T44" fmla="*/ 1412 w 1672"/>
                  <a:gd name="T45" fmla="*/ 1056 h 1238"/>
                  <a:gd name="T46" fmla="*/ 1466 w 1672"/>
                  <a:gd name="T47" fmla="*/ 1138 h 1238"/>
                  <a:gd name="T48" fmla="*/ 1452 w 1672"/>
                  <a:gd name="T49" fmla="*/ 1036 h 1238"/>
                  <a:gd name="T50" fmla="*/ 1546 w 1672"/>
                  <a:gd name="T51" fmla="*/ 912 h 1238"/>
                  <a:gd name="T52" fmla="*/ 1632 w 1672"/>
                  <a:gd name="T53" fmla="*/ 848 h 1238"/>
                  <a:gd name="T54" fmla="*/ 1640 w 1672"/>
                  <a:gd name="T55" fmla="*/ 796 h 1238"/>
                  <a:gd name="T56" fmla="*/ 678 w 1672"/>
                  <a:gd name="T57" fmla="*/ 506 h 1238"/>
                  <a:gd name="T58" fmla="*/ 622 w 1672"/>
                  <a:gd name="T59" fmla="*/ 436 h 1238"/>
                  <a:gd name="T60" fmla="*/ 582 w 1672"/>
                  <a:gd name="T61" fmla="*/ 430 h 1238"/>
                  <a:gd name="T62" fmla="*/ 572 w 1672"/>
                  <a:gd name="T63" fmla="*/ 324 h 1238"/>
                  <a:gd name="T64" fmla="*/ 576 w 1672"/>
                  <a:gd name="T65" fmla="*/ 66 h 1238"/>
                  <a:gd name="T66" fmla="*/ 458 w 1672"/>
                  <a:gd name="T67" fmla="*/ 38 h 1238"/>
                  <a:gd name="T68" fmla="*/ 388 w 1672"/>
                  <a:gd name="T69" fmla="*/ 22 h 1238"/>
                  <a:gd name="T70" fmla="*/ 356 w 1672"/>
                  <a:gd name="T71" fmla="*/ 2 h 1238"/>
                  <a:gd name="T72" fmla="*/ 300 w 1672"/>
                  <a:gd name="T73" fmla="*/ 26 h 1238"/>
                  <a:gd name="T74" fmla="*/ 256 w 1672"/>
                  <a:gd name="T75" fmla="*/ 54 h 1238"/>
                  <a:gd name="T76" fmla="*/ 194 w 1672"/>
                  <a:gd name="T77" fmla="*/ 118 h 1238"/>
                  <a:gd name="T78" fmla="*/ 228 w 1672"/>
                  <a:gd name="T79" fmla="*/ 180 h 1238"/>
                  <a:gd name="T80" fmla="*/ 238 w 1672"/>
                  <a:gd name="T81" fmla="*/ 222 h 1238"/>
                  <a:gd name="T82" fmla="*/ 166 w 1672"/>
                  <a:gd name="T83" fmla="*/ 236 h 1238"/>
                  <a:gd name="T84" fmla="*/ 204 w 1672"/>
                  <a:gd name="T85" fmla="*/ 276 h 1238"/>
                  <a:gd name="T86" fmla="*/ 274 w 1672"/>
                  <a:gd name="T87" fmla="*/ 306 h 1238"/>
                  <a:gd name="T88" fmla="*/ 206 w 1672"/>
                  <a:gd name="T89" fmla="*/ 378 h 1238"/>
                  <a:gd name="T90" fmla="*/ 210 w 1672"/>
                  <a:gd name="T91" fmla="*/ 406 h 1238"/>
                  <a:gd name="T92" fmla="*/ 252 w 1672"/>
                  <a:gd name="T93" fmla="*/ 448 h 1238"/>
                  <a:gd name="T94" fmla="*/ 304 w 1672"/>
                  <a:gd name="T95" fmla="*/ 464 h 1238"/>
                  <a:gd name="T96" fmla="*/ 274 w 1672"/>
                  <a:gd name="T97" fmla="*/ 516 h 1238"/>
                  <a:gd name="T98" fmla="*/ 160 w 1672"/>
                  <a:gd name="T99" fmla="*/ 580 h 1238"/>
                  <a:gd name="T100" fmla="*/ 28 w 1672"/>
                  <a:gd name="T101" fmla="*/ 616 h 1238"/>
                  <a:gd name="T102" fmla="*/ 116 w 1672"/>
                  <a:gd name="T103" fmla="*/ 614 h 1238"/>
                  <a:gd name="T104" fmla="*/ 196 w 1672"/>
                  <a:gd name="T105" fmla="*/ 594 h 1238"/>
                  <a:gd name="T106" fmla="*/ 386 w 1672"/>
                  <a:gd name="T107" fmla="*/ 442 h 1238"/>
                  <a:gd name="T108" fmla="*/ 382 w 1672"/>
                  <a:gd name="T109" fmla="*/ 474 h 1238"/>
                  <a:gd name="T110" fmla="*/ 488 w 1672"/>
                  <a:gd name="T111" fmla="*/ 414 h 1238"/>
                  <a:gd name="T112" fmla="*/ 538 w 1672"/>
                  <a:gd name="T113" fmla="*/ 418 h 1238"/>
                  <a:gd name="T114" fmla="*/ 598 w 1672"/>
                  <a:gd name="T115" fmla="*/ 466 h 1238"/>
                  <a:gd name="T116" fmla="*/ 624 w 1672"/>
                  <a:gd name="T117" fmla="*/ 510 h 1238"/>
                  <a:gd name="T118" fmla="*/ 634 w 1672"/>
                  <a:gd name="T119" fmla="*/ 482 h 1238"/>
                  <a:gd name="T120" fmla="*/ 642 w 1672"/>
                  <a:gd name="T121" fmla="*/ 510 h 1238"/>
                  <a:gd name="T122" fmla="*/ 648 w 1672"/>
                  <a:gd name="T123" fmla="*/ 548 h 1238"/>
                  <a:gd name="T124" fmla="*/ 688 w 1672"/>
                  <a:gd name="T125" fmla="*/ 520 h 1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2" h="1238">
                    <a:moveTo>
                      <a:pt x="370" y="1220"/>
                    </a:moveTo>
                    <a:lnTo>
                      <a:pt x="366" y="1216"/>
                    </a:lnTo>
                    <a:lnTo>
                      <a:pt x="364" y="1212"/>
                    </a:lnTo>
                    <a:lnTo>
                      <a:pt x="362" y="1210"/>
                    </a:lnTo>
                    <a:lnTo>
                      <a:pt x="360" y="1208"/>
                    </a:lnTo>
                    <a:lnTo>
                      <a:pt x="358" y="1204"/>
                    </a:lnTo>
                    <a:lnTo>
                      <a:pt x="356" y="1200"/>
                    </a:lnTo>
                    <a:lnTo>
                      <a:pt x="354" y="1194"/>
                    </a:lnTo>
                    <a:lnTo>
                      <a:pt x="354" y="1194"/>
                    </a:lnTo>
                    <a:lnTo>
                      <a:pt x="352" y="1192"/>
                    </a:lnTo>
                    <a:lnTo>
                      <a:pt x="348" y="1190"/>
                    </a:lnTo>
                    <a:lnTo>
                      <a:pt x="342" y="1188"/>
                    </a:lnTo>
                    <a:lnTo>
                      <a:pt x="338" y="1186"/>
                    </a:lnTo>
                    <a:lnTo>
                      <a:pt x="332" y="1186"/>
                    </a:lnTo>
                    <a:lnTo>
                      <a:pt x="328" y="1186"/>
                    </a:lnTo>
                    <a:lnTo>
                      <a:pt x="322" y="1186"/>
                    </a:lnTo>
                    <a:lnTo>
                      <a:pt x="316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2"/>
                    </a:lnTo>
                    <a:lnTo>
                      <a:pt x="308" y="1182"/>
                    </a:lnTo>
                    <a:lnTo>
                      <a:pt x="308" y="1182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6" y="1178"/>
                    </a:lnTo>
                    <a:lnTo>
                      <a:pt x="306" y="1178"/>
                    </a:lnTo>
                    <a:lnTo>
                      <a:pt x="306" y="1178"/>
                    </a:lnTo>
                    <a:lnTo>
                      <a:pt x="304" y="1178"/>
                    </a:lnTo>
                    <a:lnTo>
                      <a:pt x="304" y="1178"/>
                    </a:lnTo>
                    <a:lnTo>
                      <a:pt x="304" y="1176"/>
                    </a:lnTo>
                    <a:lnTo>
                      <a:pt x="300" y="1176"/>
                    </a:lnTo>
                    <a:lnTo>
                      <a:pt x="300" y="1176"/>
                    </a:lnTo>
                    <a:lnTo>
                      <a:pt x="298" y="1176"/>
                    </a:lnTo>
                    <a:lnTo>
                      <a:pt x="294" y="1176"/>
                    </a:lnTo>
                    <a:lnTo>
                      <a:pt x="294" y="1176"/>
                    </a:lnTo>
                    <a:lnTo>
                      <a:pt x="292" y="1176"/>
                    </a:lnTo>
                    <a:lnTo>
                      <a:pt x="290" y="1178"/>
                    </a:lnTo>
                    <a:lnTo>
                      <a:pt x="286" y="1180"/>
                    </a:lnTo>
                    <a:lnTo>
                      <a:pt x="284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78" y="1182"/>
                    </a:lnTo>
                    <a:lnTo>
                      <a:pt x="278" y="1182"/>
                    </a:lnTo>
                    <a:lnTo>
                      <a:pt x="278" y="1182"/>
                    </a:lnTo>
                    <a:lnTo>
                      <a:pt x="278" y="1184"/>
                    </a:lnTo>
                    <a:lnTo>
                      <a:pt x="278" y="1184"/>
                    </a:lnTo>
                    <a:lnTo>
                      <a:pt x="278" y="1184"/>
                    </a:lnTo>
                    <a:lnTo>
                      <a:pt x="278" y="1186"/>
                    </a:lnTo>
                    <a:lnTo>
                      <a:pt x="276" y="1188"/>
                    </a:lnTo>
                    <a:lnTo>
                      <a:pt x="276" y="1188"/>
                    </a:lnTo>
                    <a:lnTo>
                      <a:pt x="278" y="1192"/>
                    </a:lnTo>
                    <a:lnTo>
                      <a:pt x="278" y="1192"/>
                    </a:lnTo>
                    <a:lnTo>
                      <a:pt x="280" y="1192"/>
                    </a:lnTo>
                    <a:lnTo>
                      <a:pt x="286" y="1192"/>
                    </a:lnTo>
                    <a:lnTo>
                      <a:pt x="292" y="1192"/>
                    </a:lnTo>
                    <a:lnTo>
                      <a:pt x="298" y="1192"/>
                    </a:lnTo>
                    <a:lnTo>
                      <a:pt x="304" y="1190"/>
                    </a:lnTo>
                    <a:lnTo>
                      <a:pt x="304" y="1190"/>
                    </a:lnTo>
                    <a:lnTo>
                      <a:pt x="304" y="1190"/>
                    </a:lnTo>
                    <a:lnTo>
                      <a:pt x="306" y="1190"/>
                    </a:lnTo>
                    <a:lnTo>
                      <a:pt x="306" y="1190"/>
                    </a:lnTo>
                    <a:lnTo>
                      <a:pt x="308" y="1190"/>
                    </a:lnTo>
                    <a:lnTo>
                      <a:pt x="308" y="1188"/>
                    </a:lnTo>
                    <a:lnTo>
                      <a:pt x="308" y="1192"/>
                    </a:lnTo>
                    <a:lnTo>
                      <a:pt x="310" y="1194"/>
                    </a:lnTo>
                    <a:lnTo>
                      <a:pt x="310" y="1196"/>
                    </a:lnTo>
                    <a:lnTo>
                      <a:pt x="310" y="1196"/>
                    </a:lnTo>
                    <a:lnTo>
                      <a:pt x="310" y="1196"/>
                    </a:lnTo>
                    <a:lnTo>
                      <a:pt x="312" y="1198"/>
                    </a:lnTo>
                    <a:lnTo>
                      <a:pt x="312" y="1198"/>
                    </a:lnTo>
                    <a:lnTo>
                      <a:pt x="312" y="1198"/>
                    </a:lnTo>
                    <a:lnTo>
                      <a:pt x="314" y="1200"/>
                    </a:lnTo>
                    <a:lnTo>
                      <a:pt x="314" y="1200"/>
                    </a:lnTo>
                    <a:lnTo>
                      <a:pt x="314" y="1200"/>
                    </a:lnTo>
                    <a:lnTo>
                      <a:pt x="316" y="1202"/>
                    </a:lnTo>
                    <a:lnTo>
                      <a:pt x="318" y="1202"/>
                    </a:lnTo>
                    <a:lnTo>
                      <a:pt x="322" y="1204"/>
                    </a:lnTo>
                    <a:lnTo>
                      <a:pt x="322" y="1204"/>
                    </a:lnTo>
                    <a:lnTo>
                      <a:pt x="322" y="1204"/>
                    </a:lnTo>
                    <a:lnTo>
                      <a:pt x="324" y="1204"/>
                    </a:lnTo>
                    <a:lnTo>
                      <a:pt x="326" y="1206"/>
                    </a:lnTo>
                    <a:lnTo>
                      <a:pt x="330" y="1206"/>
                    </a:lnTo>
                    <a:lnTo>
                      <a:pt x="332" y="1208"/>
                    </a:lnTo>
                    <a:lnTo>
                      <a:pt x="334" y="1208"/>
                    </a:lnTo>
                    <a:lnTo>
                      <a:pt x="336" y="1210"/>
                    </a:lnTo>
                    <a:lnTo>
                      <a:pt x="336" y="1210"/>
                    </a:lnTo>
                    <a:lnTo>
                      <a:pt x="336" y="1212"/>
                    </a:lnTo>
                    <a:lnTo>
                      <a:pt x="338" y="1212"/>
                    </a:lnTo>
                    <a:lnTo>
                      <a:pt x="340" y="1214"/>
                    </a:lnTo>
                    <a:lnTo>
                      <a:pt x="342" y="1214"/>
                    </a:lnTo>
                    <a:lnTo>
                      <a:pt x="342" y="1216"/>
                    </a:lnTo>
                    <a:lnTo>
                      <a:pt x="344" y="1218"/>
                    </a:lnTo>
                    <a:lnTo>
                      <a:pt x="344" y="1222"/>
                    </a:lnTo>
                    <a:lnTo>
                      <a:pt x="344" y="1226"/>
                    </a:lnTo>
                    <a:lnTo>
                      <a:pt x="346" y="1230"/>
                    </a:lnTo>
                    <a:lnTo>
                      <a:pt x="346" y="1232"/>
                    </a:lnTo>
                    <a:lnTo>
                      <a:pt x="346" y="1232"/>
                    </a:lnTo>
                    <a:lnTo>
                      <a:pt x="348" y="1234"/>
                    </a:lnTo>
                    <a:lnTo>
                      <a:pt x="350" y="1236"/>
                    </a:lnTo>
                    <a:lnTo>
                      <a:pt x="350" y="1236"/>
                    </a:lnTo>
                    <a:lnTo>
                      <a:pt x="352" y="1238"/>
                    </a:lnTo>
                    <a:lnTo>
                      <a:pt x="352" y="1238"/>
                    </a:lnTo>
                    <a:lnTo>
                      <a:pt x="354" y="1238"/>
                    </a:lnTo>
                    <a:lnTo>
                      <a:pt x="356" y="1236"/>
                    </a:lnTo>
                    <a:lnTo>
                      <a:pt x="358" y="1234"/>
                    </a:lnTo>
                    <a:lnTo>
                      <a:pt x="362" y="1232"/>
                    </a:lnTo>
                    <a:lnTo>
                      <a:pt x="362" y="1232"/>
                    </a:lnTo>
                    <a:lnTo>
                      <a:pt x="364" y="1230"/>
                    </a:lnTo>
                    <a:lnTo>
                      <a:pt x="366" y="1230"/>
                    </a:lnTo>
                    <a:lnTo>
                      <a:pt x="368" y="1230"/>
                    </a:lnTo>
                    <a:lnTo>
                      <a:pt x="372" y="1228"/>
                    </a:lnTo>
                    <a:lnTo>
                      <a:pt x="372" y="1228"/>
                    </a:lnTo>
                    <a:lnTo>
                      <a:pt x="374" y="1226"/>
                    </a:lnTo>
                    <a:lnTo>
                      <a:pt x="374" y="1226"/>
                    </a:lnTo>
                    <a:lnTo>
                      <a:pt x="374" y="1224"/>
                    </a:lnTo>
                    <a:lnTo>
                      <a:pt x="370" y="1220"/>
                    </a:lnTo>
                    <a:close/>
                    <a:moveTo>
                      <a:pt x="1672" y="778"/>
                    </a:moveTo>
                    <a:lnTo>
                      <a:pt x="1672" y="778"/>
                    </a:lnTo>
                    <a:lnTo>
                      <a:pt x="1672" y="776"/>
                    </a:lnTo>
                    <a:lnTo>
                      <a:pt x="1670" y="774"/>
                    </a:lnTo>
                    <a:lnTo>
                      <a:pt x="1670" y="774"/>
                    </a:lnTo>
                    <a:lnTo>
                      <a:pt x="1670" y="774"/>
                    </a:lnTo>
                    <a:lnTo>
                      <a:pt x="1668" y="774"/>
                    </a:lnTo>
                    <a:lnTo>
                      <a:pt x="1666" y="772"/>
                    </a:lnTo>
                    <a:lnTo>
                      <a:pt x="1662" y="770"/>
                    </a:lnTo>
                    <a:lnTo>
                      <a:pt x="1662" y="768"/>
                    </a:lnTo>
                    <a:lnTo>
                      <a:pt x="1660" y="766"/>
                    </a:lnTo>
                    <a:lnTo>
                      <a:pt x="1660" y="764"/>
                    </a:lnTo>
                    <a:lnTo>
                      <a:pt x="1660" y="762"/>
                    </a:lnTo>
                    <a:lnTo>
                      <a:pt x="1660" y="754"/>
                    </a:lnTo>
                    <a:lnTo>
                      <a:pt x="1660" y="748"/>
                    </a:lnTo>
                    <a:lnTo>
                      <a:pt x="1660" y="744"/>
                    </a:lnTo>
                    <a:lnTo>
                      <a:pt x="1660" y="742"/>
                    </a:lnTo>
                    <a:lnTo>
                      <a:pt x="1660" y="738"/>
                    </a:lnTo>
                    <a:lnTo>
                      <a:pt x="1658" y="732"/>
                    </a:lnTo>
                    <a:lnTo>
                      <a:pt x="1658" y="730"/>
                    </a:lnTo>
                    <a:lnTo>
                      <a:pt x="1658" y="730"/>
                    </a:lnTo>
                    <a:lnTo>
                      <a:pt x="1658" y="730"/>
                    </a:lnTo>
                    <a:lnTo>
                      <a:pt x="1658" y="728"/>
                    </a:lnTo>
                    <a:lnTo>
                      <a:pt x="1656" y="728"/>
                    </a:lnTo>
                    <a:lnTo>
                      <a:pt x="1656" y="728"/>
                    </a:lnTo>
                    <a:lnTo>
                      <a:pt x="1656" y="726"/>
                    </a:lnTo>
                    <a:lnTo>
                      <a:pt x="1656" y="726"/>
                    </a:lnTo>
                    <a:lnTo>
                      <a:pt x="1656" y="726"/>
                    </a:lnTo>
                    <a:lnTo>
                      <a:pt x="1654" y="726"/>
                    </a:lnTo>
                    <a:lnTo>
                      <a:pt x="1652" y="726"/>
                    </a:lnTo>
                    <a:lnTo>
                      <a:pt x="1652" y="726"/>
                    </a:lnTo>
                    <a:lnTo>
                      <a:pt x="1652" y="726"/>
                    </a:lnTo>
                    <a:lnTo>
                      <a:pt x="1650" y="726"/>
                    </a:lnTo>
                    <a:lnTo>
                      <a:pt x="1650" y="726"/>
                    </a:lnTo>
                    <a:lnTo>
                      <a:pt x="1650" y="726"/>
                    </a:lnTo>
                    <a:lnTo>
                      <a:pt x="1648" y="728"/>
                    </a:lnTo>
                    <a:lnTo>
                      <a:pt x="1646" y="728"/>
                    </a:lnTo>
                    <a:lnTo>
                      <a:pt x="1644" y="730"/>
                    </a:lnTo>
                    <a:lnTo>
                      <a:pt x="1642" y="732"/>
                    </a:lnTo>
                    <a:lnTo>
                      <a:pt x="1642" y="732"/>
                    </a:lnTo>
                    <a:lnTo>
                      <a:pt x="1642" y="732"/>
                    </a:lnTo>
                    <a:lnTo>
                      <a:pt x="1640" y="730"/>
                    </a:lnTo>
                    <a:lnTo>
                      <a:pt x="1638" y="730"/>
                    </a:lnTo>
                    <a:lnTo>
                      <a:pt x="1636" y="728"/>
                    </a:lnTo>
                    <a:lnTo>
                      <a:pt x="1634" y="728"/>
                    </a:lnTo>
                    <a:lnTo>
                      <a:pt x="1634" y="728"/>
                    </a:lnTo>
                    <a:lnTo>
                      <a:pt x="1634" y="728"/>
                    </a:lnTo>
                    <a:lnTo>
                      <a:pt x="1632" y="728"/>
                    </a:lnTo>
                    <a:lnTo>
                      <a:pt x="1632" y="728"/>
                    </a:lnTo>
                    <a:lnTo>
                      <a:pt x="1630" y="728"/>
                    </a:lnTo>
                    <a:lnTo>
                      <a:pt x="1630" y="730"/>
                    </a:lnTo>
                    <a:lnTo>
                      <a:pt x="1630" y="730"/>
                    </a:lnTo>
                    <a:lnTo>
                      <a:pt x="1628" y="730"/>
                    </a:lnTo>
                    <a:lnTo>
                      <a:pt x="1628" y="732"/>
                    </a:lnTo>
                    <a:lnTo>
                      <a:pt x="1628" y="732"/>
                    </a:lnTo>
                    <a:lnTo>
                      <a:pt x="1628" y="732"/>
                    </a:lnTo>
                    <a:lnTo>
                      <a:pt x="1628" y="734"/>
                    </a:lnTo>
                    <a:lnTo>
                      <a:pt x="1628" y="738"/>
                    </a:lnTo>
                    <a:lnTo>
                      <a:pt x="1628" y="740"/>
                    </a:lnTo>
                    <a:lnTo>
                      <a:pt x="1628" y="746"/>
                    </a:lnTo>
                    <a:lnTo>
                      <a:pt x="1628" y="748"/>
                    </a:lnTo>
                    <a:lnTo>
                      <a:pt x="1628" y="750"/>
                    </a:lnTo>
                    <a:lnTo>
                      <a:pt x="1626" y="752"/>
                    </a:lnTo>
                    <a:lnTo>
                      <a:pt x="1626" y="752"/>
                    </a:lnTo>
                    <a:lnTo>
                      <a:pt x="1622" y="756"/>
                    </a:lnTo>
                    <a:lnTo>
                      <a:pt x="1618" y="758"/>
                    </a:lnTo>
                    <a:lnTo>
                      <a:pt x="1616" y="760"/>
                    </a:lnTo>
                    <a:lnTo>
                      <a:pt x="1614" y="762"/>
                    </a:lnTo>
                    <a:lnTo>
                      <a:pt x="1614" y="762"/>
                    </a:lnTo>
                    <a:lnTo>
                      <a:pt x="1614" y="762"/>
                    </a:lnTo>
                    <a:lnTo>
                      <a:pt x="1612" y="766"/>
                    </a:lnTo>
                    <a:lnTo>
                      <a:pt x="1608" y="772"/>
                    </a:lnTo>
                    <a:lnTo>
                      <a:pt x="1606" y="776"/>
                    </a:lnTo>
                    <a:lnTo>
                      <a:pt x="1606" y="776"/>
                    </a:lnTo>
                    <a:lnTo>
                      <a:pt x="1604" y="778"/>
                    </a:lnTo>
                    <a:lnTo>
                      <a:pt x="1602" y="778"/>
                    </a:lnTo>
                    <a:lnTo>
                      <a:pt x="1600" y="780"/>
                    </a:lnTo>
                    <a:lnTo>
                      <a:pt x="1596" y="780"/>
                    </a:lnTo>
                    <a:lnTo>
                      <a:pt x="1592" y="780"/>
                    </a:lnTo>
                    <a:lnTo>
                      <a:pt x="1584" y="780"/>
                    </a:lnTo>
                    <a:lnTo>
                      <a:pt x="1580" y="780"/>
                    </a:lnTo>
                    <a:lnTo>
                      <a:pt x="1578" y="780"/>
                    </a:lnTo>
                    <a:lnTo>
                      <a:pt x="1570" y="778"/>
                    </a:lnTo>
                    <a:lnTo>
                      <a:pt x="1564" y="778"/>
                    </a:lnTo>
                    <a:lnTo>
                      <a:pt x="1558" y="778"/>
                    </a:lnTo>
                    <a:lnTo>
                      <a:pt x="1554" y="778"/>
                    </a:lnTo>
                    <a:lnTo>
                      <a:pt x="1550" y="778"/>
                    </a:lnTo>
                    <a:lnTo>
                      <a:pt x="1548" y="778"/>
                    </a:lnTo>
                    <a:lnTo>
                      <a:pt x="1546" y="778"/>
                    </a:lnTo>
                    <a:lnTo>
                      <a:pt x="1542" y="780"/>
                    </a:lnTo>
                    <a:lnTo>
                      <a:pt x="1542" y="780"/>
                    </a:lnTo>
                    <a:lnTo>
                      <a:pt x="1542" y="780"/>
                    </a:lnTo>
                    <a:lnTo>
                      <a:pt x="1538" y="782"/>
                    </a:lnTo>
                    <a:lnTo>
                      <a:pt x="1538" y="784"/>
                    </a:lnTo>
                    <a:lnTo>
                      <a:pt x="1536" y="786"/>
                    </a:lnTo>
                    <a:lnTo>
                      <a:pt x="1534" y="786"/>
                    </a:lnTo>
                    <a:lnTo>
                      <a:pt x="1534" y="788"/>
                    </a:lnTo>
                    <a:lnTo>
                      <a:pt x="1534" y="788"/>
                    </a:lnTo>
                    <a:lnTo>
                      <a:pt x="1532" y="788"/>
                    </a:lnTo>
                    <a:lnTo>
                      <a:pt x="1532" y="792"/>
                    </a:lnTo>
                    <a:lnTo>
                      <a:pt x="1530" y="794"/>
                    </a:lnTo>
                    <a:lnTo>
                      <a:pt x="1528" y="798"/>
                    </a:lnTo>
                    <a:lnTo>
                      <a:pt x="1526" y="802"/>
                    </a:lnTo>
                    <a:lnTo>
                      <a:pt x="1526" y="804"/>
                    </a:lnTo>
                    <a:lnTo>
                      <a:pt x="1524" y="808"/>
                    </a:lnTo>
                    <a:lnTo>
                      <a:pt x="1522" y="808"/>
                    </a:lnTo>
                    <a:lnTo>
                      <a:pt x="1518" y="810"/>
                    </a:lnTo>
                    <a:lnTo>
                      <a:pt x="1516" y="812"/>
                    </a:lnTo>
                    <a:lnTo>
                      <a:pt x="1508" y="812"/>
                    </a:lnTo>
                    <a:lnTo>
                      <a:pt x="1506" y="812"/>
                    </a:lnTo>
                    <a:lnTo>
                      <a:pt x="1502" y="814"/>
                    </a:lnTo>
                    <a:lnTo>
                      <a:pt x="1498" y="814"/>
                    </a:lnTo>
                    <a:lnTo>
                      <a:pt x="1496" y="814"/>
                    </a:lnTo>
                    <a:lnTo>
                      <a:pt x="1496" y="814"/>
                    </a:lnTo>
                    <a:lnTo>
                      <a:pt x="1496" y="814"/>
                    </a:lnTo>
                    <a:lnTo>
                      <a:pt x="1494" y="816"/>
                    </a:lnTo>
                    <a:lnTo>
                      <a:pt x="1492" y="816"/>
                    </a:lnTo>
                    <a:lnTo>
                      <a:pt x="1492" y="816"/>
                    </a:lnTo>
                    <a:lnTo>
                      <a:pt x="1490" y="816"/>
                    </a:lnTo>
                    <a:lnTo>
                      <a:pt x="1488" y="818"/>
                    </a:lnTo>
                    <a:lnTo>
                      <a:pt x="1488" y="820"/>
                    </a:lnTo>
                    <a:lnTo>
                      <a:pt x="1486" y="820"/>
                    </a:lnTo>
                    <a:lnTo>
                      <a:pt x="1484" y="822"/>
                    </a:lnTo>
                    <a:lnTo>
                      <a:pt x="1482" y="824"/>
                    </a:lnTo>
                    <a:lnTo>
                      <a:pt x="1480" y="826"/>
                    </a:lnTo>
                    <a:lnTo>
                      <a:pt x="1476" y="828"/>
                    </a:lnTo>
                    <a:lnTo>
                      <a:pt x="1468" y="836"/>
                    </a:lnTo>
                    <a:lnTo>
                      <a:pt x="1464" y="838"/>
                    </a:lnTo>
                    <a:lnTo>
                      <a:pt x="1460" y="842"/>
                    </a:lnTo>
                    <a:lnTo>
                      <a:pt x="1456" y="844"/>
                    </a:lnTo>
                    <a:lnTo>
                      <a:pt x="1452" y="846"/>
                    </a:lnTo>
                    <a:lnTo>
                      <a:pt x="1450" y="846"/>
                    </a:lnTo>
                    <a:lnTo>
                      <a:pt x="1444" y="848"/>
                    </a:lnTo>
                    <a:lnTo>
                      <a:pt x="1440" y="848"/>
                    </a:lnTo>
                    <a:lnTo>
                      <a:pt x="1436" y="848"/>
                    </a:lnTo>
                    <a:lnTo>
                      <a:pt x="1432" y="848"/>
                    </a:lnTo>
                    <a:lnTo>
                      <a:pt x="1428" y="848"/>
                    </a:lnTo>
                    <a:lnTo>
                      <a:pt x="1426" y="848"/>
                    </a:lnTo>
                    <a:lnTo>
                      <a:pt x="1426" y="846"/>
                    </a:lnTo>
                    <a:lnTo>
                      <a:pt x="1426" y="846"/>
                    </a:lnTo>
                    <a:lnTo>
                      <a:pt x="1426" y="846"/>
                    </a:lnTo>
                    <a:lnTo>
                      <a:pt x="1426" y="844"/>
                    </a:lnTo>
                    <a:lnTo>
                      <a:pt x="1426" y="844"/>
                    </a:lnTo>
                    <a:lnTo>
                      <a:pt x="1428" y="840"/>
                    </a:lnTo>
                    <a:lnTo>
                      <a:pt x="1430" y="836"/>
                    </a:lnTo>
                    <a:lnTo>
                      <a:pt x="1434" y="830"/>
                    </a:lnTo>
                    <a:lnTo>
                      <a:pt x="1436" y="826"/>
                    </a:lnTo>
                    <a:lnTo>
                      <a:pt x="1438" y="822"/>
                    </a:lnTo>
                    <a:lnTo>
                      <a:pt x="1440" y="818"/>
                    </a:lnTo>
                    <a:lnTo>
                      <a:pt x="1440" y="818"/>
                    </a:lnTo>
                    <a:lnTo>
                      <a:pt x="1440" y="818"/>
                    </a:lnTo>
                    <a:lnTo>
                      <a:pt x="1442" y="812"/>
                    </a:lnTo>
                    <a:lnTo>
                      <a:pt x="1442" y="812"/>
                    </a:lnTo>
                    <a:lnTo>
                      <a:pt x="1442" y="806"/>
                    </a:lnTo>
                    <a:lnTo>
                      <a:pt x="1442" y="806"/>
                    </a:lnTo>
                    <a:lnTo>
                      <a:pt x="1442" y="806"/>
                    </a:lnTo>
                    <a:lnTo>
                      <a:pt x="1440" y="802"/>
                    </a:lnTo>
                    <a:lnTo>
                      <a:pt x="1440" y="802"/>
                    </a:lnTo>
                    <a:lnTo>
                      <a:pt x="1440" y="802"/>
                    </a:lnTo>
                    <a:lnTo>
                      <a:pt x="1440" y="800"/>
                    </a:lnTo>
                    <a:lnTo>
                      <a:pt x="1440" y="800"/>
                    </a:lnTo>
                    <a:lnTo>
                      <a:pt x="1440" y="800"/>
                    </a:lnTo>
                    <a:lnTo>
                      <a:pt x="1438" y="798"/>
                    </a:lnTo>
                    <a:lnTo>
                      <a:pt x="1438" y="798"/>
                    </a:lnTo>
                    <a:lnTo>
                      <a:pt x="1438" y="798"/>
                    </a:lnTo>
                    <a:lnTo>
                      <a:pt x="1436" y="796"/>
                    </a:lnTo>
                    <a:lnTo>
                      <a:pt x="1436" y="796"/>
                    </a:lnTo>
                    <a:lnTo>
                      <a:pt x="1436" y="796"/>
                    </a:lnTo>
                    <a:lnTo>
                      <a:pt x="1434" y="796"/>
                    </a:lnTo>
                    <a:lnTo>
                      <a:pt x="1434" y="796"/>
                    </a:lnTo>
                    <a:lnTo>
                      <a:pt x="1434" y="796"/>
                    </a:lnTo>
                    <a:lnTo>
                      <a:pt x="1432" y="796"/>
                    </a:lnTo>
                    <a:lnTo>
                      <a:pt x="1432" y="796"/>
                    </a:lnTo>
                    <a:lnTo>
                      <a:pt x="1432" y="798"/>
                    </a:lnTo>
                    <a:lnTo>
                      <a:pt x="1428" y="798"/>
                    </a:lnTo>
                    <a:lnTo>
                      <a:pt x="1424" y="802"/>
                    </a:lnTo>
                    <a:lnTo>
                      <a:pt x="1422" y="804"/>
                    </a:lnTo>
                    <a:lnTo>
                      <a:pt x="1418" y="806"/>
                    </a:lnTo>
                    <a:lnTo>
                      <a:pt x="1416" y="808"/>
                    </a:lnTo>
                    <a:lnTo>
                      <a:pt x="1418" y="804"/>
                    </a:lnTo>
                    <a:lnTo>
                      <a:pt x="1420" y="800"/>
                    </a:lnTo>
                    <a:lnTo>
                      <a:pt x="1422" y="796"/>
                    </a:lnTo>
                    <a:lnTo>
                      <a:pt x="1424" y="792"/>
                    </a:lnTo>
                    <a:lnTo>
                      <a:pt x="1424" y="786"/>
                    </a:lnTo>
                    <a:lnTo>
                      <a:pt x="1426" y="782"/>
                    </a:lnTo>
                    <a:lnTo>
                      <a:pt x="1426" y="782"/>
                    </a:lnTo>
                    <a:lnTo>
                      <a:pt x="1426" y="782"/>
                    </a:lnTo>
                    <a:lnTo>
                      <a:pt x="1426" y="780"/>
                    </a:lnTo>
                    <a:lnTo>
                      <a:pt x="1426" y="776"/>
                    </a:lnTo>
                    <a:lnTo>
                      <a:pt x="1426" y="776"/>
                    </a:lnTo>
                    <a:lnTo>
                      <a:pt x="1426" y="776"/>
                    </a:lnTo>
                    <a:lnTo>
                      <a:pt x="1424" y="770"/>
                    </a:lnTo>
                    <a:lnTo>
                      <a:pt x="1424" y="770"/>
                    </a:lnTo>
                    <a:lnTo>
                      <a:pt x="1424" y="770"/>
                    </a:lnTo>
                    <a:lnTo>
                      <a:pt x="1422" y="766"/>
                    </a:lnTo>
                    <a:lnTo>
                      <a:pt x="1422" y="766"/>
                    </a:lnTo>
                    <a:lnTo>
                      <a:pt x="1422" y="766"/>
                    </a:lnTo>
                    <a:lnTo>
                      <a:pt x="1420" y="764"/>
                    </a:lnTo>
                    <a:lnTo>
                      <a:pt x="1420" y="764"/>
                    </a:lnTo>
                    <a:lnTo>
                      <a:pt x="1420" y="764"/>
                    </a:lnTo>
                    <a:lnTo>
                      <a:pt x="1418" y="762"/>
                    </a:lnTo>
                    <a:lnTo>
                      <a:pt x="1418" y="762"/>
                    </a:lnTo>
                    <a:lnTo>
                      <a:pt x="1418" y="762"/>
                    </a:lnTo>
                    <a:lnTo>
                      <a:pt x="1416" y="760"/>
                    </a:lnTo>
                    <a:lnTo>
                      <a:pt x="1416" y="760"/>
                    </a:lnTo>
                    <a:lnTo>
                      <a:pt x="1416" y="760"/>
                    </a:lnTo>
                    <a:lnTo>
                      <a:pt x="1414" y="760"/>
                    </a:lnTo>
                    <a:lnTo>
                      <a:pt x="1414" y="760"/>
                    </a:lnTo>
                    <a:lnTo>
                      <a:pt x="1414" y="760"/>
                    </a:lnTo>
                    <a:lnTo>
                      <a:pt x="1410" y="758"/>
                    </a:lnTo>
                    <a:lnTo>
                      <a:pt x="1410" y="758"/>
                    </a:lnTo>
                    <a:lnTo>
                      <a:pt x="1408" y="758"/>
                    </a:lnTo>
                    <a:lnTo>
                      <a:pt x="1404" y="758"/>
                    </a:lnTo>
                    <a:lnTo>
                      <a:pt x="1404" y="758"/>
                    </a:lnTo>
                    <a:lnTo>
                      <a:pt x="1404" y="758"/>
                    </a:lnTo>
                    <a:lnTo>
                      <a:pt x="1400" y="758"/>
                    </a:lnTo>
                    <a:lnTo>
                      <a:pt x="1400" y="758"/>
                    </a:lnTo>
                    <a:lnTo>
                      <a:pt x="1400" y="758"/>
                    </a:lnTo>
                    <a:lnTo>
                      <a:pt x="1398" y="758"/>
                    </a:lnTo>
                    <a:lnTo>
                      <a:pt x="1398" y="758"/>
                    </a:lnTo>
                    <a:lnTo>
                      <a:pt x="1398" y="758"/>
                    </a:lnTo>
                    <a:lnTo>
                      <a:pt x="1394" y="760"/>
                    </a:lnTo>
                    <a:lnTo>
                      <a:pt x="1394" y="760"/>
                    </a:lnTo>
                    <a:lnTo>
                      <a:pt x="1394" y="762"/>
                    </a:lnTo>
                    <a:lnTo>
                      <a:pt x="1390" y="764"/>
                    </a:lnTo>
                    <a:lnTo>
                      <a:pt x="1390" y="764"/>
                    </a:lnTo>
                    <a:lnTo>
                      <a:pt x="1390" y="764"/>
                    </a:lnTo>
                    <a:lnTo>
                      <a:pt x="1388" y="768"/>
                    </a:lnTo>
                    <a:lnTo>
                      <a:pt x="1384" y="772"/>
                    </a:lnTo>
                    <a:lnTo>
                      <a:pt x="1382" y="776"/>
                    </a:lnTo>
                    <a:lnTo>
                      <a:pt x="1382" y="780"/>
                    </a:lnTo>
                    <a:lnTo>
                      <a:pt x="1378" y="786"/>
                    </a:lnTo>
                    <a:lnTo>
                      <a:pt x="1376" y="794"/>
                    </a:lnTo>
                    <a:lnTo>
                      <a:pt x="1374" y="798"/>
                    </a:lnTo>
                    <a:lnTo>
                      <a:pt x="1374" y="802"/>
                    </a:lnTo>
                    <a:lnTo>
                      <a:pt x="1374" y="808"/>
                    </a:lnTo>
                    <a:lnTo>
                      <a:pt x="1374" y="812"/>
                    </a:lnTo>
                    <a:lnTo>
                      <a:pt x="1376" y="820"/>
                    </a:lnTo>
                    <a:lnTo>
                      <a:pt x="1376" y="826"/>
                    </a:lnTo>
                    <a:lnTo>
                      <a:pt x="1378" y="828"/>
                    </a:lnTo>
                    <a:lnTo>
                      <a:pt x="1376" y="832"/>
                    </a:lnTo>
                    <a:lnTo>
                      <a:pt x="1376" y="834"/>
                    </a:lnTo>
                    <a:lnTo>
                      <a:pt x="1376" y="836"/>
                    </a:lnTo>
                    <a:lnTo>
                      <a:pt x="1374" y="838"/>
                    </a:lnTo>
                    <a:lnTo>
                      <a:pt x="1372" y="838"/>
                    </a:lnTo>
                    <a:lnTo>
                      <a:pt x="1370" y="840"/>
                    </a:lnTo>
                    <a:lnTo>
                      <a:pt x="1366" y="840"/>
                    </a:lnTo>
                    <a:lnTo>
                      <a:pt x="1366" y="842"/>
                    </a:lnTo>
                    <a:lnTo>
                      <a:pt x="1364" y="840"/>
                    </a:lnTo>
                    <a:lnTo>
                      <a:pt x="1364" y="840"/>
                    </a:lnTo>
                    <a:lnTo>
                      <a:pt x="1362" y="838"/>
                    </a:lnTo>
                    <a:lnTo>
                      <a:pt x="1362" y="836"/>
                    </a:lnTo>
                    <a:lnTo>
                      <a:pt x="1360" y="832"/>
                    </a:lnTo>
                    <a:lnTo>
                      <a:pt x="1360" y="828"/>
                    </a:lnTo>
                    <a:lnTo>
                      <a:pt x="1358" y="822"/>
                    </a:lnTo>
                    <a:lnTo>
                      <a:pt x="1358" y="816"/>
                    </a:lnTo>
                    <a:lnTo>
                      <a:pt x="1358" y="812"/>
                    </a:lnTo>
                    <a:lnTo>
                      <a:pt x="1358" y="808"/>
                    </a:lnTo>
                    <a:lnTo>
                      <a:pt x="1358" y="798"/>
                    </a:lnTo>
                    <a:lnTo>
                      <a:pt x="1360" y="790"/>
                    </a:lnTo>
                    <a:lnTo>
                      <a:pt x="1360" y="790"/>
                    </a:lnTo>
                    <a:lnTo>
                      <a:pt x="1362" y="782"/>
                    </a:lnTo>
                    <a:lnTo>
                      <a:pt x="1364" y="780"/>
                    </a:lnTo>
                    <a:lnTo>
                      <a:pt x="1366" y="776"/>
                    </a:lnTo>
                    <a:lnTo>
                      <a:pt x="1368" y="774"/>
                    </a:lnTo>
                    <a:lnTo>
                      <a:pt x="1372" y="770"/>
                    </a:lnTo>
                    <a:lnTo>
                      <a:pt x="1376" y="768"/>
                    </a:lnTo>
                    <a:lnTo>
                      <a:pt x="1380" y="766"/>
                    </a:lnTo>
                    <a:lnTo>
                      <a:pt x="1384" y="764"/>
                    </a:lnTo>
                    <a:lnTo>
                      <a:pt x="1388" y="762"/>
                    </a:lnTo>
                    <a:lnTo>
                      <a:pt x="1392" y="760"/>
                    </a:lnTo>
                    <a:lnTo>
                      <a:pt x="1392" y="760"/>
                    </a:lnTo>
                    <a:lnTo>
                      <a:pt x="1392" y="758"/>
                    </a:lnTo>
                    <a:lnTo>
                      <a:pt x="1394" y="756"/>
                    </a:lnTo>
                    <a:lnTo>
                      <a:pt x="1394" y="756"/>
                    </a:lnTo>
                    <a:lnTo>
                      <a:pt x="1396" y="756"/>
                    </a:lnTo>
                    <a:lnTo>
                      <a:pt x="1398" y="754"/>
                    </a:lnTo>
                    <a:lnTo>
                      <a:pt x="1398" y="752"/>
                    </a:lnTo>
                    <a:lnTo>
                      <a:pt x="1398" y="752"/>
                    </a:lnTo>
                    <a:lnTo>
                      <a:pt x="1398" y="750"/>
                    </a:lnTo>
                    <a:lnTo>
                      <a:pt x="1400" y="748"/>
                    </a:lnTo>
                    <a:lnTo>
                      <a:pt x="1400" y="748"/>
                    </a:lnTo>
                    <a:lnTo>
                      <a:pt x="1400" y="748"/>
                    </a:lnTo>
                    <a:lnTo>
                      <a:pt x="1400" y="746"/>
                    </a:lnTo>
                    <a:lnTo>
                      <a:pt x="1400" y="746"/>
                    </a:lnTo>
                    <a:lnTo>
                      <a:pt x="1400" y="744"/>
                    </a:lnTo>
                    <a:lnTo>
                      <a:pt x="1400" y="742"/>
                    </a:lnTo>
                    <a:lnTo>
                      <a:pt x="1400" y="742"/>
                    </a:lnTo>
                    <a:lnTo>
                      <a:pt x="1400" y="742"/>
                    </a:lnTo>
                    <a:lnTo>
                      <a:pt x="1400" y="740"/>
                    </a:lnTo>
                    <a:lnTo>
                      <a:pt x="1400" y="740"/>
                    </a:lnTo>
                    <a:lnTo>
                      <a:pt x="1400" y="738"/>
                    </a:lnTo>
                    <a:lnTo>
                      <a:pt x="1398" y="736"/>
                    </a:lnTo>
                    <a:lnTo>
                      <a:pt x="1398" y="736"/>
                    </a:lnTo>
                    <a:lnTo>
                      <a:pt x="1398" y="736"/>
                    </a:lnTo>
                    <a:lnTo>
                      <a:pt x="1396" y="736"/>
                    </a:lnTo>
                    <a:lnTo>
                      <a:pt x="1396" y="736"/>
                    </a:lnTo>
                    <a:lnTo>
                      <a:pt x="1394" y="734"/>
                    </a:lnTo>
                    <a:lnTo>
                      <a:pt x="1392" y="734"/>
                    </a:lnTo>
                    <a:lnTo>
                      <a:pt x="1386" y="732"/>
                    </a:lnTo>
                    <a:lnTo>
                      <a:pt x="1382" y="732"/>
                    </a:lnTo>
                    <a:lnTo>
                      <a:pt x="1376" y="732"/>
                    </a:lnTo>
                    <a:lnTo>
                      <a:pt x="1368" y="732"/>
                    </a:lnTo>
                    <a:lnTo>
                      <a:pt x="1362" y="732"/>
                    </a:lnTo>
                    <a:lnTo>
                      <a:pt x="1356" y="732"/>
                    </a:lnTo>
                    <a:lnTo>
                      <a:pt x="1348" y="732"/>
                    </a:lnTo>
                    <a:lnTo>
                      <a:pt x="1342" y="732"/>
                    </a:lnTo>
                    <a:lnTo>
                      <a:pt x="1334" y="732"/>
                    </a:lnTo>
                    <a:lnTo>
                      <a:pt x="1326" y="734"/>
                    </a:lnTo>
                    <a:lnTo>
                      <a:pt x="1320" y="736"/>
                    </a:lnTo>
                    <a:lnTo>
                      <a:pt x="1312" y="736"/>
                    </a:lnTo>
                    <a:lnTo>
                      <a:pt x="1308" y="736"/>
                    </a:lnTo>
                    <a:lnTo>
                      <a:pt x="1306" y="736"/>
                    </a:lnTo>
                    <a:lnTo>
                      <a:pt x="1304" y="736"/>
                    </a:lnTo>
                    <a:lnTo>
                      <a:pt x="1302" y="736"/>
                    </a:lnTo>
                    <a:lnTo>
                      <a:pt x="1304" y="736"/>
                    </a:lnTo>
                    <a:lnTo>
                      <a:pt x="1306" y="734"/>
                    </a:lnTo>
                    <a:lnTo>
                      <a:pt x="1308" y="732"/>
                    </a:lnTo>
                    <a:lnTo>
                      <a:pt x="1314" y="728"/>
                    </a:lnTo>
                    <a:lnTo>
                      <a:pt x="1318" y="724"/>
                    </a:lnTo>
                    <a:lnTo>
                      <a:pt x="1324" y="722"/>
                    </a:lnTo>
                    <a:lnTo>
                      <a:pt x="1326" y="720"/>
                    </a:lnTo>
                    <a:lnTo>
                      <a:pt x="1328" y="718"/>
                    </a:lnTo>
                    <a:lnTo>
                      <a:pt x="1328" y="716"/>
                    </a:lnTo>
                    <a:lnTo>
                      <a:pt x="1328" y="716"/>
                    </a:lnTo>
                    <a:lnTo>
                      <a:pt x="1330" y="716"/>
                    </a:lnTo>
                    <a:lnTo>
                      <a:pt x="1330" y="714"/>
                    </a:lnTo>
                    <a:lnTo>
                      <a:pt x="1330" y="714"/>
                    </a:lnTo>
                    <a:lnTo>
                      <a:pt x="1330" y="712"/>
                    </a:lnTo>
                    <a:lnTo>
                      <a:pt x="1330" y="710"/>
                    </a:lnTo>
                    <a:lnTo>
                      <a:pt x="1330" y="710"/>
                    </a:lnTo>
                    <a:lnTo>
                      <a:pt x="1328" y="710"/>
                    </a:lnTo>
                    <a:lnTo>
                      <a:pt x="1326" y="708"/>
                    </a:lnTo>
                    <a:lnTo>
                      <a:pt x="1326" y="708"/>
                    </a:lnTo>
                    <a:lnTo>
                      <a:pt x="1326" y="708"/>
                    </a:lnTo>
                    <a:lnTo>
                      <a:pt x="1322" y="706"/>
                    </a:lnTo>
                    <a:lnTo>
                      <a:pt x="1318" y="706"/>
                    </a:lnTo>
                    <a:lnTo>
                      <a:pt x="1314" y="706"/>
                    </a:lnTo>
                    <a:lnTo>
                      <a:pt x="1310" y="706"/>
                    </a:lnTo>
                    <a:lnTo>
                      <a:pt x="1306" y="704"/>
                    </a:lnTo>
                    <a:lnTo>
                      <a:pt x="1302" y="704"/>
                    </a:lnTo>
                    <a:lnTo>
                      <a:pt x="1296" y="704"/>
                    </a:lnTo>
                    <a:lnTo>
                      <a:pt x="1292" y="704"/>
                    </a:lnTo>
                    <a:lnTo>
                      <a:pt x="1282" y="704"/>
                    </a:lnTo>
                    <a:lnTo>
                      <a:pt x="1272" y="704"/>
                    </a:lnTo>
                    <a:lnTo>
                      <a:pt x="1260" y="704"/>
                    </a:lnTo>
                    <a:lnTo>
                      <a:pt x="1258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4" y="704"/>
                    </a:lnTo>
                    <a:lnTo>
                      <a:pt x="1254" y="704"/>
                    </a:lnTo>
                    <a:lnTo>
                      <a:pt x="1252" y="704"/>
                    </a:lnTo>
                    <a:lnTo>
                      <a:pt x="1250" y="704"/>
                    </a:lnTo>
                    <a:lnTo>
                      <a:pt x="1248" y="702"/>
                    </a:lnTo>
                    <a:lnTo>
                      <a:pt x="1244" y="702"/>
                    </a:lnTo>
                    <a:lnTo>
                      <a:pt x="1238" y="702"/>
                    </a:lnTo>
                    <a:lnTo>
                      <a:pt x="1232" y="702"/>
                    </a:lnTo>
                    <a:lnTo>
                      <a:pt x="1210" y="702"/>
                    </a:lnTo>
                    <a:lnTo>
                      <a:pt x="1206" y="702"/>
                    </a:lnTo>
                    <a:lnTo>
                      <a:pt x="1192" y="702"/>
                    </a:lnTo>
                    <a:lnTo>
                      <a:pt x="1180" y="702"/>
                    </a:lnTo>
                    <a:lnTo>
                      <a:pt x="1164" y="702"/>
                    </a:lnTo>
                    <a:lnTo>
                      <a:pt x="1148" y="702"/>
                    </a:lnTo>
                    <a:lnTo>
                      <a:pt x="1132" y="702"/>
                    </a:lnTo>
                    <a:lnTo>
                      <a:pt x="1116" y="702"/>
                    </a:lnTo>
                    <a:lnTo>
                      <a:pt x="1100" y="702"/>
                    </a:lnTo>
                    <a:lnTo>
                      <a:pt x="1084" y="702"/>
                    </a:lnTo>
                    <a:lnTo>
                      <a:pt x="1068" y="702"/>
                    </a:lnTo>
                    <a:lnTo>
                      <a:pt x="1052" y="702"/>
                    </a:lnTo>
                    <a:lnTo>
                      <a:pt x="1038" y="702"/>
                    </a:lnTo>
                    <a:lnTo>
                      <a:pt x="1026" y="702"/>
                    </a:lnTo>
                    <a:lnTo>
                      <a:pt x="1020" y="702"/>
                    </a:lnTo>
                    <a:lnTo>
                      <a:pt x="932" y="702"/>
                    </a:lnTo>
                    <a:lnTo>
                      <a:pt x="916" y="702"/>
                    </a:lnTo>
                    <a:lnTo>
                      <a:pt x="910" y="702"/>
                    </a:lnTo>
                    <a:lnTo>
                      <a:pt x="902" y="702"/>
                    </a:lnTo>
                    <a:lnTo>
                      <a:pt x="896" y="704"/>
                    </a:lnTo>
                    <a:lnTo>
                      <a:pt x="890" y="704"/>
                    </a:lnTo>
                    <a:lnTo>
                      <a:pt x="886" y="704"/>
                    </a:lnTo>
                    <a:lnTo>
                      <a:pt x="880" y="704"/>
                    </a:lnTo>
                    <a:lnTo>
                      <a:pt x="876" y="704"/>
                    </a:lnTo>
                    <a:lnTo>
                      <a:pt x="872" y="704"/>
                    </a:lnTo>
                    <a:lnTo>
                      <a:pt x="870" y="704"/>
                    </a:lnTo>
                    <a:lnTo>
                      <a:pt x="868" y="704"/>
                    </a:lnTo>
                    <a:lnTo>
                      <a:pt x="866" y="702"/>
                    </a:lnTo>
                    <a:lnTo>
                      <a:pt x="866" y="702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2" y="704"/>
                    </a:lnTo>
                    <a:lnTo>
                      <a:pt x="860" y="704"/>
                    </a:lnTo>
                    <a:lnTo>
                      <a:pt x="860" y="704"/>
                    </a:lnTo>
                    <a:lnTo>
                      <a:pt x="860" y="704"/>
                    </a:lnTo>
                    <a:lnTo>
                      <a:pt x="858" y="706"/>
                    </a:lnTo>
                    <a:lnTo>
                      <a:pt x="858" y="706"/>
                    </a:lnTo>
                    <a:lnTo>
                      <a:pt x="858" y="708"/>
                    </a:lnTo>
                    <a:lnTo>
                      <a:pt x="858" y="710"/>
                    </a:lnTo>
                    <a:lnTo>
                      <a:pt x="858" y="710"/>
                    </a:lnTo>
                    <a:lnTo>
                      <a:pt x="860" y="710"/>
                    </a:lnTo>
                    <a:lnTo>
                      <a:pt x="860" y="714"/>
                    </a:lnTo>
                    <a:lnTo>
                      <a:pt x="862" y="718"/>
                    </a:lnTo>
                    <a:lnTo>
                      <a:pt x="864" y="722"/>
                    </a:lnTo>
                    <a:lnTo>
                      <a:pt x="866" y="728"/>
                    </a:lnTo>
                    <a:lnTo>
                      <a:pt x="868" y="732"/>
                    </a:lnTo>
                    <a:lnTo>
                      <a:pt x="868" y="734"/>
                    </a:lnTo>
                    <a:lnTo>
                      <a:pt x="868" y="736"/>
                    </a:lnTo>
                    <a:lnTo>
                      <a:pt x="868" y="738"/>
                    </a:lnTo>
                    <a:lnTo>
                      <a:pt x="868" y="738"/>
                    </a:lnTo>
                    <a:lnTo>
                      <a:pt x="866" y="740"/>
                    </a:lnTo>
                    <a:lnTo>
                      <a:pt x="866" y="740"/>
                    </a:lnTo>
                    <a:lnTo>
                      <a:pt x="862" y="742"/>
                    </a:lnTo>
                    <a:lnTo>
                      <a:pt x="856" y="742"/>
                    </a:lnTo>
                    <a:lnTo>
                      <a:pt x="854" y="742"/>
                    </a:lnTo>
                    <a:lnTo>
                      <a:pt x="850" y="740"/>
                    </a:lnTo>
                    <a:lnTo>
                      <a:pt x="844" y="740"/>
                    </a:lnTo>
                    <a:lnTo>
                      <a:pt x="840" y="738"/>
                    </a:lnTo>
                    <a:lnTo>
                      <a:pt x="834" y="736"/>
                    </a:lnTo>
                    <a:lnTo>
                      <a:pt x="828" y="734"/>
                    </a:lnTo>
                    <a:lnTo>
                      <a:pt x="824" y="734"/>
                    </a:lnTo>
                    <a:lnTo>
                      <a:pt x="824" y="734"/>
                    </a:lnTo>
                    <a:lnTo>
                      <a:pt x="824" y="734"/>
                    </a:lnTo>
                    <a:lnTo>
                      <a:pt x="820" y="734"/>
                    </a:lnTo>
                    <a:lnTo>
                      <a:pt x="820" y="734"/>
                    </a:lnTo>
                    <a:lnTo>
                      <a:pt x="820" y="734"/>
                    </a:lnTo>
                    <a:lnTo>
                      <a:pt x="818" y="734"/>
                    </a:lnTo>
                    <a:lnTo>
                      <a:pt x="818" y="734"/>
                    </a:lnTo>
                    <a:lnTo>
                      <a:pt x="816" y="736"/>
                    </a:lnTo>
                    <a:lnTo>
                      <a:pt x="814" y="736"/>
                    </a:lnTo>
                    <a:lnTo>
                      <a:pt x="814" y="736"/>
                    </a:lnTo>
                    <a:lnTo>
                      <a:pt x="814" y="738"/>
                    </a:lnTo>
                    <a:lnTo>
                      <a:pt x="814" y="740"/>
                    </a:lnTo>
                    <a:lnTo>
                      <a:pt x="814" y="740"/>
                    </a:lnTo>
                    <a:lnTo>
                      <a:pt x="814" y="740"/>
                    </a:lnTo>
                    <a:lnTo>
                      <a:pt x="812" y="742"/>
                    </a:lnTo>
                    <a:lnTo>
                      <a:pt x="812" y="746"/>
                    </a:lnTo>
                    <a:lnTo>
                      <a:pt x="812" y="750"/>
                    </a:lnTo>
                    <a:lnTo>
                      <a:pt x="814" y="754"/>
                    </a:lnTo>
                    <a:lnTo>
                      <a:pt x="814" y="758"/>
                    </a:lnTo>
                    <a:lnTo>
                      <a:pt x="814" y="764"/>
                    </a:lnTo>
                    <a:lnTo>
                      <a:pt x="816" y="770"/>
                    </a:lnTo>
                    <a:lnTo>
                      <a:pt x="816" y="778"/>
                    </a:lnTo>
                    <a:lnTo>
                      <a:pt x="818" y="786"/>
                    </a:lnTo>
                    <a:lnTo>
                      <a:pt x="820" y="802"/>
                    </a:lnTo>
                    <a:lnTo>
                      <a:pt x="820" y="810"/>
                    </a:lnTo>
                    <a:lnTo>
                      <a:pt x="822" y="818"/>
                    </a:lnTo>
                    <a:lnTo>
                      <a:pt x="822" y="824"/>
                    </a:lnTo>
                    <a:lnTo>
                      <a:pt x="822" y="832"/>
                    </a:lnTo>
                    <a:lnTo>
                      <a:pt x="822" y="844"/>
                    </a:lnTo>
                    <a:lnTo>
                      <a:pt x="822" y="852"/>
                    </a:lnTo>
                    <a:lnTo>
                      <a:pt x="822" y="858"/>
                    </a:lnTo>
                    <a:lnTo>
                      <a:pt x="822" y="866"/>
                    </a:lnTo>
                    <a:lnTo>
                      <a:pt x="824" y="872"/>
                    </a:lnTo>
                    <a:lnTo>
                      <a:pt x="828" y="886"/>
                    </a:lnTo>
                    <a:lnTo>
                      <a:pt x="832" y="902"/>
                    </a:lnTo>
                    <a:lnTo>
                      <a:pt x="838" y="916"/>
                    </a:lnTo>
                    <a:lnTo>
                      <a:pt x="840" y="922"/>
                    </a:lnTo>
                    <a:lnTo>
                      <a:pt x="844" y="930"/>
                    </a:lnTo>
                    <a:lnTo>
                      <a:pt x="848" y="938"/>
                    </a:lnTo>
                    <a:lnTo>
                      <a:pt x="854" y="946"/>
                    </a:lnTo>
                    <a:lnTo>
                      <a:pt x="858" y="956"/>
                    </a:lnTo>
                    <a:lnTo>
                      <a:pt x="864" y="964"/>
                    </a:lnTo>
                    <a:lnTo>
                      <a:pt x="870" y="972"/>
                    </a:lnTo>
                    <a:lnTo>
                      <a:pt x="876" y="980"/>
                    </a:lnTo>
                    <a:lnTo>
                      <a:pt x="882" y="986"/>
                    </a:lnTo>
                    <a:lnTo>
                      <a:pt x="884" y="990"/>
                    </a:lnTo>
                    <a:lnTo>
                      <a:pt x="886" y="992"/>
                    </a:lnTo>
                    <a:lnTo>
                      <a:pt x="886" y="992"/>
                    </a:lnTo>
                    <a:lnTo>
                      <a:pt x="886" y="992"/>
                    </a:lnTo>
                    <a:lnTo>
                      <a:pt x="892" y="996"/>
                    </a:lnTo>
                    <a:lnTo>
                      <a:pt x="892" y="996"/>
                    </a:lnTo>
                    <a:lnTo>
                      <a:pt x="892" y="996"/>
                    </a:lnTo>
                    <a:lnTo>
                      <a:pt x="896" y="998"/>
                    </a:lnTo>
                    <a:lnTo>
                      <a:pt x="896" y="998"/>
                    </a:lnTo>
                    <a:lnTo>
                      <a:pt x="898" y="998"/>
                    </a:lnTo>
                    <a:lnTo>
                      <a:pt x="902" y="1000"/>
                    </a:lnTo>
                    <a:lnTo>
                      <a:pt x="906" y="1002"/>
                    </a:lnTo>
                    <a:lnTo>
                      <a:pt x="912" y="1002"/>
                    </a:lnTo>
                    <a:lnTo>
                      <a:pt x="916" y="1002"/>
                    </a:lnTo>
                    <a:lnTo>
                      <a:pt x="918" y="1002"/>
                    </a:lnTo>
                    <a:lnTo>
                      <a:pt x="922" y="1004"/>
                    </a:lnTo>
                    <a:lnTo>
                      <a:pt x="924" y="1004"/>
                    </a:lnTo>
                    <a:lnTo>
                      <a:pt x="926" y="1006"/>
                    </a:lnTo>
                    <a:lnTo>
                      <a:pt x="926" y="1008"/>
                    </a:lnTo>
                    <a:lnTo>
                      <a:pt x="928" y="1010"/>
                    </a:lnTo>
                    <a:lnTo>
                      <a:pt x="930" y="1010"/>
                    </a:lnTo>
                    <a:lnTo>
                      <a:pt x="930" y="1010"/>
                    </a:lnTo>
                    <a:lnTo>
                      <a:pt x="930" y="1012"/>
                    </a:lnTo>
                    <a:lnTo>
                      <a:pt x="932" y="1012"/>
                    </a:lnTo>
                    <a:lnTo>
                      <a:pt x="932" y="1012"/>
                    </a:lnTo>
                    <a:lnTo>
                      <a:pt x="932" y="1012"/>
                    </a:lnTo>
                    <a:lnTo>
                      <a:pt x="934" y="1014"/>
                    </a:lnTo>
                    <a:lnTo>
                      <a:pt x="934" y="1014"/>
                    </a:lnTo>
                    <a:lnTo>
                      <a:pt x="934" y="1014"/>
                    </a:lnTo>
                    <a:lnTo>
                      <a:pt x="936" y="1014"/>
                    </a:lnTo>
                    <a:lnTo>
                      <a:pt x="936" y="1014"/>
                    </a:lnTo>
                    <a:lnTo>
                      <a:pt x="938" y="1014"/>
                    </a:lnTo>
                    <a:lnTo>
                      <a:pt x="940" y="1014"/>
                    </a:lnTo>
                    <a:lnTo>
                      <a:pt x="940" y="1014"/>
                    </a:lnTo>
                    <a:lnTo>
                      <a:pt x="940" y="1014"/>
                    </a:lnTo>
                    <a:lnTo>
                      <a:pt x="942" y="1012"/>
                    </a:lnTo>
                    <a:lnTo>
                      <a:pt x="946" y="1010"/>
                    </a:lnTo>
                    <a:lnTo>
                      <a:pt x="948" y="1008"/>
                    </a:lnTo>
                    <a:lnTo>
                      <a:pt x="952" y="1006"/>
                    </a:lnTo>
                    <a:lnTo>
                      <a:pt x="954" y="1004"/>
                    </a:lnTo>
                    <a:lnTo>
                      <a:pt x="956" y="1004"/>
                    </a:lnTo>
                    <a:lnTo>
                      <a:pt x="956" y="1004"/>
                    </a:lnTo>
                    <a:lnTo>
                      <a:pt x="958" y="1004"/>
                    </a:lnTo>
                    <a:lnTo>
                      <a:pt x="958" y="1004"/>
                    </a:lnTo>
                    <a:lnTo>
                      <a:pt x="958" y="1006"/>
                    </a:lnTo>
                    <a:lnTo>
                      <a:pt x="960" y="1006"/>
                    </a:lnTo>
                    <a:lnTo>
                      <a:pt x="960" y="1008"/>
                    </a:lnTo>
                    <a:lnTo>
                      <a:pt x="962" y="1010"/>
                    </a:lnTo>
                    <a:lnTo>
                      <a:pt x="964" y="1012"/>
                    </a:lnTo>
                    <a:lnTo>
                      <a:pt x="964" y="1012"/>
                    </a:lnTo>
                    <a:lnTo>
                      <a:pt x="964" y="1014"/>
                    </a:lnTo>
                    <a:lnTo>
                      <a:pt x="966" y="1016"/>
                    </a:lnTo>
                    <a:lnTo>
                      <a:pt x="970" y="1018"/>
                    </a:lnTo>
                    <a:lnTo>
                      <a:pt x="974" y="1020"/>
                    </a:lnTo>
                    <a:lnTo>
                      <a:pt x="980" y="1022"/>
                    </a:lnTo>
                    <a:lnTo>
                      <a:pt x="984" y="1024"/>
                    </a:lnTo>
                    <a:lnTo>
                      <a:pt x="994" y="1028"/>
                    </a:lnTo>
                    <a:lnTo>
                      <a:pt x="998" y="1030"/>
                    </a:lnTo>
                    <a:lnTo>
                      <a:pt x="1002" y="1032"/>
                    </a:lnTo>
                    <a:lnTo>
                      <a:pt x="1004" y="1032"/>
                    </a:lnTo>
                    <a:lnTo>
                      <a:pt x="1008" y="1034"/>
                    </a:lnTo>
                    <a:lnTo>
                      <a:pt x="1010" y="1034"/>
                    </a:lnTo>
                    <a:lnTo>
                      <a:pt x="1012" y="1034"/>
                    </a:lnTo>
                    <a:lnTo>
                      <a:pt x="1016" y="1036"/>
                    </a:lnTo>
                    <a:lnTo>
                      <a:pt x="1018" y="1036"/>
                    </a:lnTo>
                    <a:lnTo>
                      <a:pt x="1020" y="1036"/>
                    </a:lnTo>
                    <a:lnTo>
                      <a:pt x="1024" y="1036"/>
                    </a:lnTo>
                    <a:lnTo>
                      <a:pt x="1028" y="1036"/>
                    </a:lnTo>
                    <a:lnTo>
                      <a:pt x="1036" y="1036"/>
                    </a:lnTo>
                    <a:lnTo>
                      <a:pt x="1040" y="1036"/>
                    </a:lnTo>
                    <a:lnTo>
                      <a:pt x="1044" y="1036"/>
                    </a:lnTo>
                    <a:lnTo>
                      <a:pt x="1048" y="1034"/>
                    </a:lnTo>
                    <a:lnTo>
                      <a:pt x="1048" y="1034"/>
                    </a:lnTo>
                    <a:lnTo>
                      <a:pt x="1050" y="1034"/>
                    </a:lnTo>
                    <a:lnTo>
                      <a:pt x="1052" y="1034"/>
                    </a:lnTo>
                    <a:lnTo>
                      <a:pt x="1052" y="1034"/>
                    </a:lnTo>
                    <a:lnTo>
                      <a:pt x="1052" y="1034"/>
                    </a:lnTo>
                    <a:lnTo>
                      <a:pt x="1054" y="1032"/>
                    </a:lnTo>
                    <a:lnTo>
                      <a:pt x="1054" y="1032"/>
                    </a:lnTo>
                    <a:lnTo>
                      <a:pt x="1056" y="1030"/>
                    </a:lnTo>
                    <a:lnTo>
                      <a:pt x="1056" y="1028"/>
                    </a:lnTo>
                    <a:lnTo>
                      <a:pt x="1056" y="1028"/>
                    </a:lnTo>
                    <a:lnTo>
                      <a:pt x="1056" y="1028"/>
                    </a:lnTo>
                    <a:lnTo>
                      <a:pt x="1056" y="1026"/>
                    </a:lnTo>
                    <a:lnTo>
                      <a:pt x="1056" y="1026"/>
                    </a:lnTo>
                    <a:lnTo>
                      <a:pt x="1056" y="1026"/>
                    </a:lnTo>
                    <a:lnTo>
                      <a:pt x="1056" y="1022"/>
                    </a:lnTo>
                    <a:lnTo>
                      <a:pt x="1058" y="1020"/>
                    </a:lnTo>
                    <a:lnTo>
                      <a:pt x="1058" y="1020"/>
                    </a:lnTo>
                    <a:lnTo>
                      <a:pt x="1058" y="1020"/>
                    </a:lnTo>
                    <a:lnTo>
                      <a:pt x="1060" y="1020"/>
                    </a:lnTo>
                    <a:lnTo>
                      <a:pt x="1062" y="1022"/>
                    </a:lnTo>
                    <a:lnTo>
                      <a:pt x="1066" y="1024"/>
                    </a:lnTo>
                    <a:lnTo>
                      <a:pt x="1068" y="1026"/>
                    </a:lnTo>
                    <a:lnTo>
                      <a:pt x="1072" y="1028"/>
                    </a:lnTo>
                    <a:lnTo>
                      <a:pt x="1080" y="1034"/>
                    </a:lnTo>
                    <a:lnTo>
                      <a:pt x="1084" y="1036"/>
                    </a:lnTo>
                    <a:lnTo>
                      <a:pt x="1088" y="1040"/>
                    </a:lnTo>
                    <a:lnTo>
                      <a:pt x="1094" y="1046"/>
                    </a:lnTo>
                    <a:lnTo>
                      <a:pt x="1100" y="1050"/>
                    </a:lnTo>
                    <a:lnTo>
                      <a:pt x="1106" y="1056"/>
                    </a:lnTo>
                    <a:lnTo>
                      <a:pt x="1112" y="1060"/>
                    </a:lnTo>
                    <a:lnTo>
                      <a:pt x="1116" y="1064"/>
                    </a:lnTo>
                    <a:lnTo>
                      <a:pt x="1122" y="1066"/>
                    </a:lnTo>
                    <a:lnTo>
                      <a:pt x="1122" y="1066"/>
                    </a:lnTo>
                    <a:lnTo>
                      <a:pt x="1122" y="1066"/>
                    </a:lnTo>
                    <a:lnTo>
                      <a:pt x="1124" y="1068"/>
                    </a:lnTo>
                    <a:lnTo>
                      <a:pt x="1124" y="1068"/>
                    </a:lnTo>
                    <a:lnTo>
                      <a:pt x="1124" y="1068"/>
                    </a:lnTo>
                    <a:lnTo>
                      <a:pt x="1126" y="1068"/>
                    </a:lnTo>
                    <a:lnTo>
                      <a:pt x="1126" y="1068"/>
                    </a:lnTo>
                    <a:lnTo>
                      <a:pt x="1126" y="1068"/>
                    </a:lnTo>
                    <a:lnTo>
                      <a:pt x="1130" y="1068"/>
                    </a:lnTo>
                    <a:lnTo>
                      <a:pt x="1130" y="1068"/>
                    </a:lnTo>
                    <a:lnTo>
                      <a:pt x="1130" y="1068"/>
                    </a:lnTo>
                    <a:lnTo>
                      <a:pt x="1132" y="1066"/>
                    </a:lnTo>
                    <a:lnTo>
                      <a:pt x="1132" y="1066"/>
                    </a:lnTo>
                    <a:lnTo>
                      <a:pt x="1134" y="1066"/>
                    </a:lnTo>
                    <a:lnTo>
                      <a:pt x="1136" y="1064"/>
                    </a:lnTo>
                    <a:lnTo>
                      <a:pt x="1138" y="1062"/>
                    </a:lnTo>
                    <a:lnTo>
                      <a:pt x="1140" y="1062"/>
                    </a:lnTo>
                    <a:lnTo>
                      <a:pt x="1140" y="1060"/>
                    </a:lnTo>
                    <a:lnTo>
                      <a:pt x="1142" y="1060"/>
                    </a:lnTo>
                    <a:lnTo>
                      <a:pt x="1146" y="1062"/>
                    </a:lnTo>
                    <a:lnTo>
                      <a:pt x="1148" y="1064"/>
                    </a:lnTo>
                    <a:lnTo>
                      <a:pt x="1152" y="1066"/>
                    </a:lnTo>
                    <a:lnTo>
                      <a:pt x="1156" y="1068"/>
                    </a:lnTo>
                    <a:lnTo>
                      <a:pt x="1160" y="1070"/>
                    </a:lnTo>
                    <a:lnTo>
                      <a:pt x="1164" y="1072"/>
                    </a:lnTo>
                    <a:lnTo>
                      <a:pt x="1166" y="1076"/>
                    </a:lnTo>
                    <a:lnTo>
                      <a:pt x="1168" y="1078"/>
                    </a:lnTo>
                    <a:lnTo>
                      <a:pt x="1170" y="1080"/>
                    </a:lnTo>
                    <a:lnTo>
                      <a:pt x="1172" y="1082"/>
                    </a:lnTo>
                    <a:lnTo>
                      <a:pt x="1172" y="1082"/>
                    </a:lnTo>
                    <a:lnTo>
                      <a:pt x="1172" y="1086"/>
                    </a:lnTo>
                    <a:lnTo>
                      <a:pt x="1172" y="1090"/>
                    </a:lnTo>
                    <a:lnTo>
                      <a:pt x="1172" y="1096"/>
                    </a:lnTo>
                    <a:lnTo>
                      <a:pt x="1174" y="1100"/>
                    </a:lnTo>
                    <a:lnTo>
                      <a:pt x="1174" y="1100"/>
                    </a:lnTo>
                    <a:lnTo>
                      <a:pt x="1174" y="1100"/>
                    </a:lnTo>
                    <a:lnTo>
                      <a:pt x="1174" y="1102"/>
                    </a:lnTo>
                    <a:lnTo>
                      <a:pt x="1174" y="1102"/>
                    </a:lnTo>
                    <a:lnTo>
                      <a:pt x="1174" y="1104"/>
                    </a:lnTo>
                    <a:lnTo>
                      <a:pt x="1176" y="1108"/>
                    </a:lnTo>
                    <a:lnTo>
                      <a:pt x="1176" y="1108"/>
                    </a:lnTo>
                    <a:lnTo>
                      <a:pt x="1178" y="1108"/>
                    </a:lnTo>
                    <a:lnTo>
                      <a:pt x="1180" y="1112"/>
                    </a:lnTo>
                    <a:lnTo>
                      <a:pt x="1180" y="1112"/>
                    </a:lnTo>
                    <a:lnTo>
                      <a:pt x="1180" y="1114"/>
                    </a:lnTo>
                    <a:lnTo>
                      <a:pt x="1184" y="1116"/>
                    </a:lnTo>
                    <a:lnTo>
                      <a:pt x="1184" y="1116"/>
                    </a:lnTo>
                    <a:lnTo>
                      <a:pt x="1186" y="1118"/>
                    </a:lnTo>
                    <a:lnTo>
                      <a:pt x="1188" y="1118"/>
                    </a:lnTo>
                    <a:lnTo>
                      <a:pt x="1190" y="1120"/>
                    </a:lnTo>
                    <a:lnTo>
                      <a:pt x="1190" y="1120"/>
                    </a:lnTo>
                    <a:lnTo>
                      <a:pt x="1190" y="1120"/>
                    </a:lnTo>
                    <a:lnTo>
                      <a:pt x="1192" y="1120"/>
                    </a:lnTo>
                    <a:lnTo>
                      <a:pt x="1196" y="1120"/>
                    </a:lnTo>
                    <a:lnTo>
                      <a:pt x="1204" y="1120"/>
                    </a:lnTo>
                    <a:lnTo>
                      <a:pt x="1206" y="1120"/>
                    </a:lnTo>
                    <a:lnTo>
                      <a:pt x="1210" y="1118"/>
                    </a:lnTo>
                    <a:lnTo>
                      <a:pt x="1214" y="1118"/>
                    </a:lnTo>
                    <a:lnTo>
                      <a:pt x="1214" y="1118"/>
                    </a:lnTo>
                    <a:lnTo>
                      <a:pt x="1214" y="1118"/>
                    </a:lnTo>
                    <a:lnTo>
                      <a:pt x="1216" y="1116"/>
                    </a:lnTo>
                    <a:lnTo>
                      <a:pt x="1216" y="1116"/>
                    </a:lnTo>
                    <a:lnTo>
                      <a:pt x="1216" y="1116"/>
                    </a:lnTo>
                    <a:lnTo>
                      <a:pt x="1218" y="1114"/>
                    </a:lnTo>
                    <a:lnTo>
                      <a:pt x="1218" y="1114"/>
                    </a:lnTo>
                    <a:lnTo>
                      <a:pt x="1218" y="1112"/>
                    </a:lnTo>
                    <a:lnTo>
                      <a:pt x="1218" y="1112"/>
                    </a:lnTo>
                    <a:lnTo>
                      <a:pt x="1218" y="1112"/>
                    </a:lnTo>
                    <a:lnTo>
                      <a:pt x="1218" y="1110"/>
                    </a:lnTo>
                    <a:lnTo>
                      <a:pt x="1218" y="1108"/>
                    </a:lnTo>
                    <a:lnTo>
                      <a:pt x="1218" y="1106"/>
                    </a:lnTo>
                    <a:lnTo>
                      <a:pt x="1218" y="1104"/>
                    </a:lnTo>
                    <a:lnTo>
                      <a:pt x="1216" y="1102"/>
                    </a:lnTo>
                    <a:lnTo>
                      <a:pt x="1216" y="1100"/>
                    </a:lnTo>
                    <a:lnTo>
                      <a:pt x="1218" y="1098"/>
                    </a:lnTo>
                    <a:lnTo>
                      <a:pt x="1218" y="1096"/>
                    </a:lnTo>
                    <a:lnTo>
                      <a:pt x="1220" y="1094"/>
                    </a:lnTo>
                    <a:lnTo>
                      <a:pt x="1224" y="1088"/>
                    </a:lnTo>
                    <a:lnTo>
                      <a:pt x="1228" y="1082"/>
                    </a:lnTo>
                    <a:lnTo>
                      <a:pt x="1232" y="1080"/>
                    </a:lnTo>
                    <a:lnTo>
                      <a:pt x="1234" y="1078"/>
                    </a:lnTo>
                    <a:lnTo>
                      <a:pt x="1238" y="1076"/>
                    </a:lnTo>
                    <a:lnTo>
                      <a:pt x="1242" y="1074"/>
                    </a:lnTo>
                    <a:lnTo>
                      <a:pt x="1246" y="1072"/>
                    </a:lnTo>
                    <a:lnTo>
                      <a:pt x="1252" y="1068"/>
                    </a:lnTo>
                    <a:lnTo>
                      <a:pt x="1256" y="1066"/>
                    </a:lnTo>
                    <a:lnTo>
                      <a:pt x="1262" y="1066"/>
                    </a:lnTo>
                    <a:lnTo>
                      <a:pt x="1266" y="1064"/>
                    </a:lnTo>
                    <a:lnTo>
                      <a:pt x="1272" y="1062"/>
                    </a:lnTo>
                    <a:lnTo>
                      <a:pt x="1276" y="1062"/>
                    </a:lnTo>
                    <a:lnTo>
                      <a:pt x="1282" y="1062"/>
                    </a:lnTo>
                    <a:lnTo>
                      <a:pt x="1286" y="1064"/>
                    </a:lnTo>
                    <a:lnTo>
                      <a:pt x="1292" y="1064"/>
                    </a:lnTo>
                    <a:lnTo>
                      <a:pt x="1298" y="1066"/>
                    </a:lnTo>
                    <a:lnTo>
                      <a:pt x="1302" y="1066"/>
                    </a:lnTo>
                    <a:lnTo>
                      <a:pt x="1308" y="1068"/>
                    </a:lnTo>
                    <a:lnTo>
                      <a:pt x="1312" y="1068"/>
                    </a:lnTo>
                    <a:lnTo>
                      <a:pt x="1316" y="1070"/>
                    </a:lnTo>
                    <a:lnTo>
                      <a:pt x="1320" y="1070"/>
                    </a:lnTo>
                    <a:lnTo>
                      <a:pt x="1322" y="1072"/>
                    </a:lnTo>
                    <a:lnTo>
                      <a:pt x="1324" y="1072"/>
                    </a:lnTo>
                    <a:lnTo>
                      <a:pt x="1328" y="1072"/>
                    </a:lnTo>
                    <a:lnTo>
                      <a:pt x="1330" y="1074"/>
                    </a:lnTo>
                    <a:lnTo>
                      <a:pt x="1332" y="1074"/>
                    </a:lnTo>
                    <a:lnTo>
                      <a:pt x="1332" y="1074"/>
                    </a:lnTo>
                    <a:lnTo>
                      <a:pt x="1334" y="1074"/>
                    </a:lnTo>
                    <a:lnTo>
                      <a:pt x="1336" y="1072"/>
                    </a:lnTo>
                    <a:lnTo>
                      <a:pt x="1336" y="1072"/>
                    </a:lnTo>
                    <a:lnTo>
                      <a:pt x="1336" y="1072"/>
                    </a:lnTo>
                    <a:lnTo>
                      <a:pt x="1338" y="1072"/>
                    </a:lnTo>
                    <a:lnTo>
                      <a:pt x="1338" y="1072"/>
                    </a:lnTo>
                    <a:lnTo>
                      <a:pt x="1340" y="1070"/>
                    </a:lnTo>
                    <a:lnTo>
                      <a:pt x="1340" y="1068"/>
                    </a:lnTo>
                    <a:lnTo>
                      <a:pt x="1340" y="1068"/>
                    </a:lnTo>
                    <a:lnTo>
                      <a:pt x="1342" y="1068"/>
                    </a:lnTo>
                    <a:lnTo>
                      <a:pt x="1342" y="1066"/>
                    </a:lnTo>
                    <a:lnTo>
                      <a:pt x="1344" y="1064"/>
                    </a:lnTo>
                    <a:lnTo>
                      <a:pt x="1346" y="1060"/>
                    </a:lnTo>
                    <a:lnTo>
                      <a:pt x="1348" y="1058"/>
                    </a:lnTo>
                    <a:lnTo>
                      <a:pt x="1348" y="1056"/>
                    </a:lnTo>
                    <a:lnTo>
                      <a:pt x="1350" y="1056"/>
                    </a:lnTo>
                    <a:lnTo>
                      <a:pt x="1352" y="1054"/>
                    </a:lnTo>
                    <a:lnTo>
                      <a:pt x="1356" y="1054"/>
                    </a:lnTo>
                    <a:lnTo>
                      <a:pt x="1360" y="1054"/>
                    </a:lnTo>
                    <a:lnTo>
                      <a:pt x="1364" y="1054"/>
                    </a:lnTo>
                    <a:lnTo>
                      <a:pt x="1368" y="1054"/>
                    </a:lnTo>
                    <a:lnTo>
                      <a:pt x="1372" y="1054"/>
                    </a:lnTo>
                    <a:lnTo>
                      <a:pt x="1376" y="1054"/>
                    </a:lnTo>
                    <a:lnTo>
                      <a:pt x="1378" y="1054"/>
                    </a:lnTo>
                    <a:lnTo>
                      <a:pt x="1380" y="1054"/>
                    </a:lnTo>
                    <a:lnTo>
                      <a:pt x="1382" y="1054"/>
                    </a:lnTo>
                    <a:lnTo>
                      <a:pt x="1382" y="1056"/>
                    </a:lnTo>
                    <a:lnTo>
                      <a:pt x="1384" y="1056"/>
                    </a:lnTo>
                    <a:lnTo>
                      <a:pt x="1384" y="1058"/>
                    </a:lnTo>
                    <a:lnTo>
                      <a:pt x="1384" y="1058"/>
                    </a:lnTo>
                    <a:lnTo>
                      <a:pt x="1386" y="1058"/>
                    </a:lnTo>
                    <a:lnTo>
                      <a:pt x="1386" y="1058"/>
                    </a:lnTo>
                    <a:lnTo>
                      <a:pt x="1386" y="1058"/>
                    </a:lnTo>
                    <a:lnTo>
                      <a:pt x="1388" y="1058"/>
                    </a:lnTo>
                    <a:lnTo>
                      <a:pt x="1388" y="1058"/>
                    </a:lnTo>
                    <a:lnTo>
                      <a:pt x="1392" y="1060"/>
                    </a:lnTo>
                    <a:lnTo>
                      <a:pt x="1394" y="1060"/>
                    </a:lnTo>
                    <a:lnTo>
                      <a:pt x="1398" y="1060"/>
                    </a:lnTo>
                    <a:lnTo>
                      <a:pt x="1398" y="1060"/>
                    </a:lnTo>
                    <a:lnTo>
                      <a:pt x="1398" y="1060"/>
                    </a:lnTo>
                    <a:lnTo>
                      <a:pt x="1402" y="1060"/>
                    </a:lnTo>
                    <a:lnTo>
                      <a:pt x="1402" y="1060"/>
                    </a:lnTo>
                    <a:lnTo>
                      <a:pt x="1402" y="1060"/>
                    </a:lnTo>
                    <a:lnTo>
                      <a:pt x="1404" y="1060"/>
                    </a:lnTo>
                    <a:lnTo>
                      <a:pt x="1404" y="1060"/>
                    </a:lnTo>
                    <a:lnTo>
                      <a:pt x="1404" y="1060"/>
                    </a:lnTo>
                    <a:lnTo>
                      <a:pt x="1406" y="1058"/>
                    </a:lnTo>
                    <a:lnTo>
                      <a:pt x="1408" y="1056"/>
                    </a:lnTo>
                    <a:lnTo>
                      <a:pt x="1410" y="1054"/>
                    </a:lnTo>
                    <a:lnTo>
                      <a:pt x="1410" y="1054"/>
                    </a:lnTo>
                    <a:lnTo>
                      <a:pt x="1410" y="1054"/>
                    </a:lnTo>
                    <a:lnTo>
                      <a:pt x="1412" y="1056"/>
                    </a:lnTo>
                    <a:lnTo>
                      <a:pt x="1412" y="1056"/>
                    </a:lnTo>
                    <a:lnTo>
                      <a:pt x="1414" y="1058"/>
                    </a:lnTo>
                    <a:lnTo>
                      <a:pt x="1416" y="1060"/>
                    </a:lnTo>
                    <a:lnTo>
                      <a:pt x="1420" y="1064"/>
                    </a:lnTo>
                    <a:lnTo>
                      <a:pt x="1424" y="1070"/>
                    </a:lnTo>
                    <a:lnTo>
                      <a:pt x="1428" y="1076"/>
                    </a:lnTo>
                    <a:lnTo>
                      <a:pt x="1432" y="1080"/>
                    </a:lnTo>
                    <a:lnTo>
                      <a:pt x="1434" y="1086"/>
                    </a:lnTo>
                    <a:lnTo>
                      <a:pt x="1436" y="1088"/>
                    </a:lnTo>
                    <a:lnTo>
                      <a:pt x="1438" y="1092"/>
                    </a:lnTo>
                    <a:lnTo>
                      <a:pt x="1438" y="1094"/>
                    </a:lnTo>
                    <a:lnTo>
                      <a:pt x="1438" y="1098"/>
                    </a:lnTo>
                    <a:lnTo>
                      <a:pt x="1436" y="1100"/>
                    </a:lnTo>
                    <a:lnTo>
                      <a:pt x="1436" y="1102"/>
                    </a:lnTo>
                    <a:lnTo>
                      <a:pt x="1436" y="1106"/>
                    </a:lnTo>
                    <a:lnTo>
                      <a:pt x="1436" y="1106"/>
                    </a:lnTo>
                    <a:lnTo>
                      <a:pt x="1436" y="1106"/>
                    </a:lnTo>
                    <a:lnTo>
                      <a:pt x="1436" y="1108"/>
                    </a:lnTo>
                    <a:lnTo>
                      <a:pt x="1436" y="1108"/>
                    </a:lnTo>
                    <a:lnTo>
                      <a:pt x="1436" y="1108"/>
                    </a:lnTo>
                    <a:lnTo>
                      <a:pt x="1436" y="1112"/>
                    </a:lnTo>
                    <a:lnTo>
                      <a:pt x="1436" y="1112"/>
                    </a:lnTo>
                    <a:lnTo>
                      <a:pt x="1436" y="1112"/>
                    </a:lnTo>
                    <a:lnTo>
                      <a:pt x="1438" y="1116"/>
                    </a:lnTo>
                    <a:lnTo>
                      <a:pt x="1440" y="1118"/>
                    </a:lnTo>
                    <a:lnTo>
                      <a:pt x="1444" y="1126"/>
                    </a:lnTo>
                    <a:lnTo>
                      <a:pt x="1448" y="1128"/>
                    </a:lnTo>
                    <a:lnTo>
                      <a:pt x="1450" y="1132"/>
                    </a:lnTo>
                    <a:lnTo>
                      <a:pt x="1452" y="1134"/>
                    </a:lnTo>
                    <a:lnTo>
                      <a:pt x="1456" y="1136"/>
                    </a:lnTo>
                    <a:lnTo>
                      <a:pt x="1456" y="1136"/>
                    </a:lnTo>
                    <a:lnTo>
                      <a:pt x="1456" y="1136"/>
                    </a:lnTo>
                    <a:lnTo>
                      <a:pt x="1460" y="1138"/>
                    </a:lnTo>
                    <a:lnTo>
                      <a:pt x="1460" y="1138"/>
                    </a:lnTo>
                    <a:lnTo>
                      <a:pt x="1462" y="1138"/>
                    </a:lnTo>
                    <a:lnTo>
                      <a:pt x="1464" y="1138"/>
                    </a:lnTo>
                    <a:lnTo>
                      <a:pt x="1466" y="1138"/>
                    </a:lnTo>
                    <a:lnTo>
                      <a:pt x="1466" y="1138"/>
                    </a:lnTo>
                    <a:lnTo>
                      <a:pt x="1468" y="1138"/>
                    </a:lnTo>
                    <a:lnTo>
                      <a:pt x="1470" y="1138"/>
                    </a:lnTo>
                    <a:lnTo>
                      <a:pt x="1470" y="1138"/>
                    </a:lnTo>
                    <a:lnTo>
                      <a:pt x="1470" y="1138"/>
                    </a:lnTo>
                    <a:lnTo>
                      <a:pt x="1472" y="1136"/>
                    </a:lnTo>
                    <a:lnTo>
                      <a:pt x="1472" y="1136"/>
                    </a:lnTo>
                    <a:lnTo>
                      <a:pt x="1472" y="1136"/>
                    </a:lnTo>
                    <a:lnTo>
                      <a:pt x="1474" y="1134"/>
                    </a:lnTo>
                    <a:lnTo>
                      <a:pt x="1474" y="1134"/>
                    </a:lnTo>
                    <a:lnTo>
                      <a:pt x="1474" y="1132"/>
                    </a:lnTo>
                    <a:lnTo>
                      <a:pt x="1476" y="1130"/>
                    </a:lnTo>
                    <a:lnTo>
                      <a:pt x="1476" y="1130"/>
                    </a:lnTo>
                    <a:lnTo>
                      <a:pt x="1476" y="1130"/>
                    </a:lnTo>
                    <a:lnTo>
                      <a:pt x="1476" y="1128"/>
                    </a:lnTo>
                    <a:lnTo>
                      <a:pt x="1476" y="1126"/>
                    </a:lnTo>
                    <a:lnTo>
                      <a:pt x="1478" y="1120"/>
                    </a:lnTo>
                    <a:lnTo>
                      <a:pt x="1478" y="1114"/>
                    </a:lnTo>
                    <a:lnTo>
                      <a:pt x="1478" y="1106"/>
                    </a:lnTo>
                    <a:lnTo>
                      <a:pt x="1476" y="1100"/>
                    </a:lnTo>
                    <a:lnTo>
                      <a:pt x="1476" y="1094"/>
                    </a:lnTo>
                    <a:lnTo>
                      <a:pt x="1476" y="1086"/>
                    </a:lnTo>
                    <a:lnTo>
                      <a:pt x="1474" y="1082"/>
                    </a:lnTo>
                    <a:lnTo>
                      <a:pt x="1474" y="1082"/>
                    </a:lnTo>
                    <a:lnTo>
                      <a:pt x="1474" y="1080"/>
                    </a:lnTo>
                    <a:lnTo>
                      <a:pt x="1472" y="1076"/>
                    </a:lnTo>
                    <a:lnTo>
                      <a:pt x="1470" y="1072"/>
                    </a:lnTo>
                    <a:lnTo>
                      <a:pt x="1466" y="1066"/>
                    </a:lnTo>
                    <a:lnTo>
                      <a:pt x="1462" y="1064"/>
                    </a:lnTo>
                    <a:lnTo>
                      <a:pt x="1460" y="1060"/>
                    </a:lnTo>
                    <a:lnTo>
                      <a:pt x="1458" y="1056"/>
                    </a:lnTo>
                    <a:lnTo>
                      <a:pt x="1456" y="1052"/>
                    </a:lnTo>
                    <a:lnTo>
                      <a:pt x="1454" y="1050"/>
                    </a:lnTo>
                    <a:lnTo>
                      <a:pt x="1452" y="1046"/>
                    </a:lnTo>
                    <a:lnTo>
                      <a:pt x="1452" y="1044"/>
                    </a:lnTo>
                    <a:lnTo>
                      <a:pt x="1452" y="1040"/>
                    </a:lnTo>
                    <a:lnTo>
                      <a:pt x="1452" y="1038"/>
                    </a:lnTo>
                    <a:lnTo>
                      <a:pt x="1452" y="1036"/>
                    </a:lnTo>
                    <a:lnTo>
                      <a:pt x="1452" y="1034"/>
                    </a:lnTo>
                    <a:lnTo>
                      <a:pt x="1454" y="1030"/>
                    </a:lnTo>
                    <a:lnTo>
                      <a:pt x="1458" y="1026"/>
                    </a:lnTo>
                    <a:lnTo>
                      <a:pt x="1460" y="1024"/>
                    </a:lnTo>
                    <a:lnTo>
                      <a:pt x="1462" y="1022"/>
                    </a:lnTo>
                    <a:lnTo>
                      <a:pt x="1464" y="1020"/>
                    </a:lnTo>
                    <a:lnTo>
                      <a:pt x="1468" y="1018"/>
                    </a:lnTo>
                    <a:lnTo>
                      <a:pt x="1474" y="1014"/>
                    </a:lnTo>
                    <a:lnTo>
                      <a:pt x="1482" y="1008"/>
                    </a:lnTo>
                    <a:lnTo>
                      <a:pt x="1490" y="1002"/>
                    </a:lnTo>
                    <a:lnTo>
                      <a:pt x="1498" y="998"/>
                    </a:lnTo>
                    <a:lnTo>
                      <a:pt x="1504" y="992"/>
                    </a:lnTo>
                    <a:lnTo>
                      <a:pt x="1508" y="990"/>
                    </a:lnTo>
                    <a:lnTo>
                      <a:pt x="1510" y="988"/>
                    </a:lnTo>
                    <a:lnTo>
                      <a:pt x="1516" y="984"/>
                    </a:lnTo>
                    <a:lnTo>
                      <a:pt x="1520" y="982"/>
                    </a:lnTo>
                    <a:lnTo>
                      <a:pt x="1526" y="978"/>
                    </a:lnTo>
                    <a:lnTo>
                      <a:pt x="1530" y="976"/>
                    </a:lnTo>
                    <a:lnTo>
                      <a:pt x="1534" y="972"/>
                    </a:lnTo>
                    <a:lnTo>
                      <a:pt x="1538" y="968"/>
                    </a:lnTo>
                    <a:lnTo>
                      <a:pt x="1540" y="964"/>
                    </a:lnTo>
                    <a:lnTo>
                      <a:pt x="1540" y="964"/>
                    </a:lnTo>
                    <a:lnTo>
                      <a:pt x="1542" y="964"/>
                    </a:lnTo>
                    <a:lnTo>
                      <a:pt x="1544" y="960"/>
                    </a:lnTo>
                    <a:lnTo>
                      <a:pt x="1544" y="960"/>
                    </a:lnTo>
                    <a:lnTo>
                      <a:pt x="1544" y="958"/>
                    </a:lnTo>
                    <a:lnTo>
                      <a:pt x="1546" y="954"/>
                    </a:lnTo>
                    <a:lnTo>
                      <a:pt x="1546" y="954"/>
                    </a:lnTo>
                    <a:lnTo>
                      <a:pt x="1546" y="954"/>
                    </a:lnTo>
                    <a:lnTo>
                      <a:pt x="1546" y="948"/>
                    </a:lnTo>
                    <a:lnTo>
                      <a:pt x="1546" y="942"/>
                    </a:lnTo>
                    <a:lnTo>
                      <a:pt x="1546" y="936"/>
                    </a:lnTo>
                    <a:lnTo>
                      <a:pt x="1546" y="928"/>
                    </a:lnTo>
                    <a:lnTo>
                      <a:pt x="1544" y="922"/>
                    </a:lnTo>
                    <a:lnTo>
                      <a:pt x="1544" y="916"/>
                    </a:lnTo>
                    <a:lnTo>
                      <a:pt x="1544" y="918"/>
                    </a:lnTo>
                    <a:lnTo>
                      <a:pt x="1546" y="912"/>
                    </a:lnTo>
                    <a:lnTo>
                      <a:pt x="1548" y="906"/>
                    </a:lnTo>
                    <a:lnTo>
                      <a:pt x="1550" y="902"/>
                    </a:lnTo>
                    <a:lnTo>
                      <a:pt x="1552" y="896"/>
                    </a:lnTo>
                    <a:lnTo>
                      <a:pt x="1556" y="892"/>
                    </a:lnTo>
                    <a:lnTo>
                      <a:pt x="1560" y="888"/>
                    </a:lnTo>
                    <a:lnTo>
                      <a:pt x="1562" y="884"/>
                    </a:lnTo>
                    <a:lnTo>
                      <a:pt x="1566" y="880"/>
                    </a:lnTo>
                    <a:lnTo>
                      <a:pt x="1570" y="876"/>
                    </a:lnTo>
                    <a:lnTo>
                      <a:pt x="1572" y="874"/>
                    </a:lnTo>
                    <a:lnTo>
                      <a:pt x="1574" y="872"/>
                    </a:lnTo>
                    <a:lnTo>
                      <a:pt x="1578" y="872"/>
                    </a:lnTo>
                    <a:lnTo>
                      <a:pt x="1580" y="870"/>
                    </a:lnTo>
                    <a:lnTo>
                      <a:pt x="1586" y="870"/>
                    </a:lnTo>
                    <a:lnTo>
                      <a:pt x="1590" y="868"/>
                    </a:lnTo>
                    <a:lnTo>
                      <a:pt x="1594" y="866"/>
                    </a:lnTo>
                    <a:lnTo>
                      <a:pt x="1598" y="866"/>
                    </a:lnTo>
                    <a:lnTo>
                      <a:pt x="1604" y="864"/>
                    </a:lnTo>
                    <a:lnTo>
                      <a:pt x="1608" y="862"/>
                    </a:lnTo>
                    <a:lnTo>
                      <a:pt x="1614" y="862"/>
                    </a:lnTo>
                    <a:lnTo>
                      <a:pt x="1620" y="860"/>
                    </a:lnTo>
                    <a:lnTo>
                      <a:pt x="1624" y="858"/>
                    </a:lnTo>
                    <a:lnTo>
                      <a:pt x="1628" y="856"/>
                    </a:lnTo>
                    <a:lnTo>
                      <a:pt x="1628" y="856"/>
                    </a:lnTo>
                    <a:lnTo>
                      <a:pt x="1628" y="856"/>
                    </a:lnTo>
                    <a:lnTo>
                      <a:pt x="1630" y="856"/>
                    </a:lnTo>
                    <a:lnTo>
                      <a:pt x="1630" y="856"/>
                    </a:lnTo>
                    <a:lnTo>
                      <a:pt x="1630" y="856"/>
                    </a:lnTo>
                    <a:lnTo>
                      <a:pt x="1632" y="854"/>
                    </a:lnTo>
                    <a:lnTo>
                      <a:pt x="1632" y="854"/>
                    </a:lnTo>
                    <a:lnTo>
                      <a:pt x="1632" y="854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0"/>
                    </a:lnTo>
                    <a:lnTo>
                      <a:pt x="1632" y="848"/>
                    </a:lnTo>
                    <a:lnTo>
                      <a:pt x="1632" y="848"/>
                    </a:lnTo>
                    <a:lnTo>
                      <a:pt x="1632" y="846"/>
                    </a:lnTo>
                    <a:lnTo>
                      <a:pt x="1630" y="844"/>
                    </a:lnTo>
                    <a:lnTo>
                      <a:pt x="1630" y="844"/>
                    </a:lnTo>
                    <a:lnTo>
                      <a:pt x="1630" y="844"/>
                    </a:lnTo>
                    <a:lnTo>
                      <a:pt x="1628" y="842"/>
                    </a:lnTo>
                    <a:lnTo>
                      <a:pt x="1626" y="840"/>
                    </a:lnTo>
                    <a:lnTo>
                      <a:pt x="1624" y="838"/>
                    </a:lnTo>
                    <a:lnTo>
                      <a:pt x="1622" y="836"/>
                    </a:lnTo>
                    <a:lnTo>
                      <a:pt x="1622" y="836"/>
                    </a:lnTo>
                    <a:lnTo>
                      <a:pt x="1622" y="834"/>
                    </a:lnTo>
                    <a:lnTo>
                      <a:pt x="1622" y="830"/>
                    </a:lnTo>
                    <a:lnTo>
                      <a:pt x="1622" y="824"/>
                    </a:lnTo>
                    <a:lnTo>
                      <a:pt x="1622" y="822"/>
                    </a:lnTo>
                    <a:lnTo>
                      <a:pt x="1622" y="820"/>
                    </a:lnTo>
                    <a:lnTo>
                      <a:pt x="1624" y="816"/>
                    </a:lnTo>
                    <a:lnTo>
                      <a:pt x="1624" y="816"/>
                    </a:lnTo>
                    <a:lnTo>
                      <a:pt x="1624" y="816"/>
                    </a:lnTo>
                    <a:lnTo>
                      <a:pt x="1624" y="814"/>
                    </a:lnTo>
                    <a:lnTo>
                      <a:pt x="1626" y="814"/>
                    </a:lnTo>
                    <a:lnTo>
                      <a:pt x="1630" y="814"/>
                    </a:lnTo>
                    <a:lnTo>
                      <a:pt x="1630" y="814"/>
                    </a:lnTo>
                    <a:lnTo>
                      <a:pt x="1630" y="814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4" y="810"/>
                    </a:lnTo>
                    <a:lnTo>
                      <a:pt x="1634" y="810"/>
                    </a:lnTo>
                    <a:lnTo>
                      <a:pt x="1634" y="810"/>
                    </a:lnTo>
                    <a:lnTo>
                      <a:pt x="1634" y="808"/>
                    </a:lnTo>
                    <a:lnTo>
                      <a:pt x="1636" y="808"/>
                    </a:lnTo>
                    <a:lnTo>
                      <a:pt x="1636" y="802"/>
                    </a:lnTo>
                    <a:lnTo>
                      <a:pt x="1638" y="798"/>
                    </a:lnTo>
                    <a:lnTo>
                      <a:pt x="1638" y="798"/>
                    </a:lnTo>
                    <a:lnTo>
                      <a:pt x="1640" y="796"/>
                    </a:lnTo>
                    <a:lnTo>
                      <a:pt x="1640" y="796"/>
                    </a:lnTo>
                    <a:lnTo>
                      <a:pt x="1640" y="796"/>
                    </a:lnTo>
                    <a:lnTo>
                      <a:pt x="1644" y="796"/>
                    </a:lnTo>
                    <a:lnTo>
                      <a:pt x="1648" y="796"/>
                    </a:lnTo>
                    <a:lnTo>
                      <a:pt x="1652" y="796"/>
                    </a:lnTo>
                    <a:lnTo>
                      <a:pt x="1652" y="796"/>
                    </a:lnTo>
                    <a:lnTo>
                      <a:pt x="1652" y="796"/>
                    </a:lnTo>
                    <a:lnTo>
                      <a:pt x="1654" y="796"/>
                    </a:lnTo>
                    <a:lnTo>
                      <a:pt x="1654" y="796"/>
                    </a:lnTo>
                    <a:lnTo>
                      <a:pt x="1654" y="796"/>
                    </a:lnTo>
                    <a:lnTo>
                      <a:pt x="1656" y="794"/>
                    </a:lnTo>
                    <a:lnTo>
                      <a:pt x="1660" y="794"/>
                    </a:lnTo>
                    <a:lnTo>
                      <a:pt x="1664" y="790"/>
                    </a:lnTo>
                    <a:lnTo>
                      <a:pt x="1666" y="788"/>
                    </a:lnTo>
                    <a:lnTo>
                      <a:pt x="1670" y="784"/>
                    </a:lnTo>
                    <a:lnTo>
                      <a:pt x="1670" y="782"/>
                    </a:lnTo>
                    <a:lnTo>
                      <a:pt x="1670" y="782"/>
                    </a:lnTo>
                    <a:lnTo>
                      <a:pt x="1672" y="782"/>
                    </a:lnTo>
                    <a:lnTo>
                      <a:pt x="1672" y="780"/>
                    </a:lnTo>
                    <a:lnTo>
                      <a:pt x="1672" y="780"/>
                    </a:lnTo>
                    <a:lnTo>
                      <a:pt x="1672" y="780"/>
                    </a:lnTo>
                    <a:lnTo>
                      <a:pt x="1672" y="778"/>
                    </a:lnTo>
                    <a:close/>
                    <a:moveTo>
                      <a:pt x="688" y="518"/>
                    </a:moveTo>
                    <a:lnTo>
                      <a:pt x="688" y="516"/>
                    </a:lnTo>
                    <a:lnTo>
                      <a:pt x="688" y="516"/>
                    </a:lnTo>
                    <a:lnTo>
                      <a:pt x="688" y="516"/>
                    </a:lnTo>
                    <a:lnTo>
                      <a:pt x="686" y="514"/>
                    </a:lnTo>
                    <a:lnTo>
                      <a:pt x="686" y="514"/>
                    </a:lnTo>
                    <a:lnTo>
                      <a:pt x="686" y="514"/>
                    </a:lnTo>
                    <a:lnTo>
                      <a:pt x="684" y="512"/>
                    </a:lnTo>
                    <a:lnTo>
                      <a:pt x="684" y="512"/>
                    </a:lnTo>
                    <a:lnTo>
                      <a:pt x="682" y="512"/>
                    </a:lnTo>
                    <a:lnTo>
                      <a:pt x="682" y="512"/>
                    </a:lnTo>
                    <a:lnTo>
                      <a:pt x="682" y="512"/>
                    </a:lnTo>
                    <a:lnTo>
                      <a:pt x="680" y="510"/>
                    </a:lnTo>
                    <a:lnTo>
                      <a:pt x="678" y="508"/>
                    </a:lnTo>
                    <a:lnTo>
                      <a:pt x="678" y="506"/>
                    </a:lnTo>
                    <a:lnTo>
                      <a:pt x="678" y="506"/>
                    </a:lnTo>
                    <a:lnTo>
                      <a:pt x="676" y="506"/>
                    </a:lnTo>
                    <a:lnTo>
                      <a:pt x="672" y="504"/>
                    </a:lnTo>
                    <a:lnTo>
                      <a:pt x="670" y="504"/>
                    </a:lnTo>
                    <a:lnTo>
                      <a:pt x="668" y="504"/>
                    </a:lnTo>
                    <a:lnTo>
                      <a:pt x="668" y="504"/>
                    </a:lnTo>
                    <a:lnTo>
                      <a:pt x="666" y="502"/>
                    </a:lnTo>
                    <a:lnTo>
                      <a:pt x="666" y="502"/>
                    </a:lnTo>
                    <a:lnTo>
                      <a:pt x="664" y="502"/>
                    </a:lnTo>
                    <a:lnTo>
                      <a:pt x="664" y="500"/>
                    </a:lnTo>
                    <a:lnTo>
                      <a:pt x="664" y="498"/>
                    </a:lnTo>
                    <a:lnTo>
                      <a:pt x="662" y="494"/>
                    </a:lnTo>
                    <a:lnTo>
                      <a:pt x="662" y="494"/>
                    </a:lnTo>
                    <a:lnTo>
                      <a:pt x="662" y="492"/>
                    </a:lnTo>
                    <a:lnTo>
                      <a:pt x="660" y="490"/>
                    </a:lnTo>
                    <a:lnTo>
                      <a:pt x="658" y="490"/>
                    </a:lnTo>
                    <a:lnTo>
                      <a:pt x="656" y="484"/>
                    </a:lnTo>
                    <a:lnTo>
                      <a:pt x="656" y="484"/>
                    </a:lnTo>
                    <a:lnTo>
                      <a:pt x="656" y="484"/>
                    </a:lnTo>
                    <a:lnTo>
                      <a:pt x="652" y="482"/>
                    </a:lnTo>
                    <a:lnTo>
                      <a:pt x="650" y="478"/>
                    </a:lnTo>
                    <a:lnTo>
                      <a:pt x="648" y="476"/>
                    </a:lnTo>
                    <a:lnTo>
                      <a:pt x="646" y="472"/>
                    </a:lnTo>
                    <a:lnTo>
                      <a:pt x="646" y="472"/>
                    </a:lnTo>
                    <a:lnTo>
                      <a:pt x="646" y="470"/>
                    </a:lnTo>
                    <a:lnTo>
                      <a:pt x="644" y="466"/>
                    </a:lnTo>
                    <a:lnTo>
                      <a:pt x="642" y="462"/>
                    </a:lnTo>
                    <a:lnTo>
                      <a:pt x="640" y="456"/>
                    </a:lnTo>
                    <a:lnTo>
                      <a:pt x="638" y="452"/>
                    </a:lnTo>
                    <a:lnTo>
                      <a:pt x="638" y="452"/>
                    </a:lnTo>
                    <a:lnTo>
                      <a:pt x="638" y="452"/>
                    </a:lnTo>
                    <a:lnTo>
                      <a:pt x="632" y="446"/>
                    </a:lnTo>
                    <a:lnTo>
                      <a:pt x="628" y="440"/>
                    </a:lnTo>
                    <a:lnTo>
                      <a:pt x="628" y="440"/>
                    </a:lnTo>
                    <a:lnTo>
                      <a:pt x="628" y="440"/>
                    </a:lnTo>
                    <a:lnTo>
                      <a:pt x="624" y="438"/>
                    </a:lnTo>
                    <a:lnTo>
                      <a:pt x="622" y="436"/>
                    </a:lnTo>
                    <a:lnTo>
                      <a:pt x="620" y="436"/>
                    </a:lnTo>
                    <a:lnTo>
                      <a:pt x="620" y="434"/>
                    </a:lnTo>
                    <a:lnTo>
                      <a:pt x="620" y="434"/>
                    </a:lnTo>
                    <a:lnTo>
                      <a:pt x="620" y="434"/>
                    </a:lnTo>
                    <a:lnTo>
                      <a:pt x="618" y="432"/>
                    </a:lnTo>
                    <a:lnTo>
                      <a:pt x="616" y="430"/>
                    </a:lnTo>
                    <a:lnTo>
                      <a:pt x="614" y="428"/>
                    </a:lnTo>
                    <a:lnTo>
                      <a:pt x="614" y="428"/>
                    </a:lnTo>
                    <a:lnTo>
                      <a:pt x="614" y="428"/>
                    </a:lnTo>
                    <a:lnTo>
                      <a:pt x="610" y="428"/>
                    </a:lnTo>
                    <a:lnTo>
                      <a:pt x="610" y="428"/>
                    </a:lnTo>
                    <a:lnTo>
                      <a:pt x="610" y="428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8"/>
                    </a:lnTo>
                    <a:lnTo>
                      <a:pt x="604" y="428"/>
                    </a:lnTo>
                    <a:lnTo>
                      <a:pt x="602" y="430"/>
                    </a:lnTo>
                    <a:lnTo>
                      <a:pt x="602" y="430"/>
                    </a:lnTo>
                    <a:lnTo>
                      <a:pt x="602" y="430"/>
                    </a:lnTo>
                    <a:lnTo>
                      <a:pt x="600" y="432"/>
                    </a:lnTo>
                    <a:lnTo>
                      <a:pt x="600" y="432"/>
                    </a:lnTo>
                    <a:lnTo>
                      <a:pt x="600" y="432"/>
                    </a:lnTo>
                    <a:lnTo>
                      <a:pt x="600" y="434"/>
                    </a:lnTo>
                    <a:lnTo>
                      <a:pt x="600" y="434"/>
                    </a:lnTo>
                    <a:lnTo>
                      <a:pt x="600" y="436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598" y="440"/>
                    </a:lnTo>
                    <a:lnTo>
                      <a:pt x="594" y="440"/>
                    </a:lnTo>
                    <a:lnTo>
                      <a:pt x="594" y="440"/>
                    </a:lnTo>
                    <a:lnTo>
                      <a:pt x="592" y="440"/>
                    </a:lnTo>
                    <a:lnTo>
                      <a:pt x="592" y="438"/>
                    </a:lnTo>
                    <a:lnTo>
                      <a:pt x="590" y="436"/>
                    </a:lnTo>
                    <a:lnTo>
                      <a:pt x="590" y="436"/>
                    </a:lnTo>
                    <a:lnTo>
                      <a:pt x="590" y="436"/>
                    </a:lnTo>
                    <a:lnTo>
                      <a:pt x="586" y="434"/>
                    </a:lnTo>
                    <a:lnTo>
                      <a:pt x="582" y="430"/>
                    </a:lnTo>
                    <a:lnTo>
                      <a:pt x="580" y="428"/>
                    </a:lnTo>
                    <a:lnTo>
                      <a:pt x="578" y="422"/>
                    </a:lnTo>
                    <a:lnTo>
                      <a:pt x="578" y="422"/>
                    </a:lnTo>
                    <a:lnTo>
                      <a:pt x="578" y="420"/>
                    </a:lnTo>
                    <a:lnTo>
                      <a:pt x="578" y="418"/>
                    </a:lnTo>
                    <a:lnTo>
                      <a:pt x="578" y="418"/>
                    </a:lnTo>
                    <a:lnTo>
                      <a:pt x="576" y="416"/>
                    </a:lnTo>
                    <a:lnTo>
                      <a:pt x="576" y="416"/>
                    </a:lnTo>
                    <a:lnTo>
                      <a:pt x="576" y="416"/>
                    </a:lnTo>
                    <a:lnTo>
                      <a:pt x="576" y="414"/>
                    </a:lnTo>
                    <a:lnTo>
                      <a:pt x="574" y="414"/>
                    </a:lnTo>
                    <a:lnTo>
                      <a:pt x="574" y="414"/>
                    </a:lnTo>
                    <a:lnTo>
                      <a:pt x="574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4" y="408"/>
                    </a:lnTo>
                    <a:lnTo>
                      <a:pt x="574" y="406"/>
                    </a:lnTo>
                    <a:lnTo>
                      <a:pt x="574" y="404"/>
                    </a:lnTo>
                    <a:lnTo>
                      <a:pt x="574" y="400"/>
                    </a:lnTo>
                    <a:lnTo>
                      <a:pt x="574" y="396"/>
                    </a:lnTo>
                    <a:lnTo>
                      <a:pt x="574" y="394"/>
                    </a:lnTo>
                    <a:lnTo>
                      <a:pt x="572" y="392"/>
                    </a:lnTo>
                    <a:lnTo>
                      <a:pt x="572" y="390"/>
                    </a:lnTo>
                    <a:lnTo>
                      <a:pt x="572" y="386"/>
                    </a:lnTo>
                    <a:lnTo>
                      <a:pt x="572" y="382"/>
                    </a:lnTo>
                    <a:lnTo>
                      <a:pt x="572" y="378"/>
                    </a:lnTo>
                    <a:lnTo>
                      <a:pt x="572" y="372"/>
                    </a:lnTo>
                    <a:lnTo>
                      <a:pt x="572" y="364"/>
                    </a:lnTo>
                    <a:lnTo>
                      <a:pt x="572" y="358"/>
                    </a:lnTo>
                    <a:lnTo>
                      <a:pt x="572" y="348"/>
                    </a:lnTo>
                    <a:lnTo>
                      <a:pt x="572" y="338"/>
                    </a:lnTo>
                    <a:lnTo>
                      <a:pt x="572" y="330"/>
                    </a:lnTo>
                    <a:lnTo>
                      <a:pt x="572" y="324"/>
                    </a:lnTo>
                    <a:lnTo>
                      <a:pt x="572" y="316"/>
                    </a:lnTo>
                    <a:lnTo>
                      <a:pt x="572" y="310"/>
                    </a:lnTo>
                    <a:lnTo>
                      <a:pt x="572" y="302"/>
                    </a:lnTo>
                    <a:lnTo>
                      <a:pt x="572" y="292"/>
                    </a:lnTo>
                    <a:lnTo>
                      <a:pt x="572" y="276"/>
                    </a:lnTo>
                    <a:lnTo>
                      <a:pt x="572" y="256"/>
                    </a:lnTo>
                    <a:lnTo>
                      <a:pt x="572" y="238"/>
                    </a:lnTo>
                    <a:lnTo>
                      <a:pt x="572" y="218"/>
                    </a:lnTo>
                    <a:lnTo>
                      <a:pt x="572" y="200"/>
                    </a:lnTo>
                    <a:lnTo>
                      <a:pt x="572" y="180"/>
                    </a:lnTo>
                    <a:lnTo>
                      <a:pt x="572" y="162"/>
                    </a:lnTo>
                    <a:lnTo>
                      <a:pt x="572" y="144"/>
                    </a:lnTo>
                    <a:lnTo>
                      <a:pt x="572" y="136"/>
                    </a:lnTo>
                    <a:lnTo>
                      <a:pt x="572" y="130"/>
                    </a:lnTo>
                    <a:lnTo>
                      <a:pt x="572" y="122"/>
                    </a:lnTo>
                    <a:lnTo>
                      <a:pt x="572" y="114"/>
                    </a:lnTo>
                    <a:lnTo>
                      <a:pt x="572" y="108"/>
                    </a:lnTo>
                    <a:lnTo>
                      <a:pt x="574" y="102"/>
                    </a:lnTo>
                    <a:lnTo>
                      <a:pt x="574" y="88"/>
                    </a:lnTo>
                    <a:lnTo>
                      <a:pt x="574" y="86"/>
                    </a:lnTo>
                    <a:lnTo>
                      <a:pt x="574" y="82"/>
                    </a:lnTo>
                    <a:lnTo>
                      <a:pt x="574" y="80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6" y="74"/>
                    </a:lnTo>
                    <a:lnTo>
                      <a:pt x="576" y="74"/>
                    </a:lnTo>
                    <a:lnTo>
                      <a:pt x="576" y="72"/>
                    </a:lnTo>
                    <a:lnTo>
                      <a:pt x="576" y="72"/>
                    </a:lnTo>
                    <a:lnTo>
                      <a:pt x="576" y="72"/>
                    </a:lnTo>
                    <a:lnTo>
                      <a:pt x="576" y="70"/>
                    </a:lnTo>
                    <a:lnTo>
                      <a:pt x="576" y="68"/>
                    </a:lnTo>
                    <a:lnTo>
                      <a:pt x="576" y="68"/>
                    </a:lnTo>
                    <a:lnTo>
                      <a:pt x="576" y="68"/>
                    </a:lnTo>
                    <a:lnTo>
                      <a:pt x="576" y="66"/>
                    </a:lnTo>
                    <a:lnTo>
                      <a:pt x="576" y="66"/>
                    </a:lnTo>
                    <a:lnTo>
                      <a:pt x="576" y="66"/>
                    </a:lnTo>
                    <a:lnTo>
                      <a:pt x="576" y="64"/>
                    </a:lnTo>
                    <a:lnTo>
                      <a:pt x="576" y="64"/>
                    </a:lnTo>
                    <a:lnTo>
                      <a:pt x="574" y="64"/>
                    </a:lnTo>
                    <a:lnTo>
                      <a:pt x="574" y="64"/>
                    </a:lnTo>
                    <a:lnTo>
                      <a:pt x="574" y="64"/>
                    </a:lnTo>
                    <a:lnTo>
                      <a:pt x="570" y="64"/>
                    </a:lnTo>
                    <a:lnTo>
                      <a:pt x="570" y="66"/>
                    </a:lnTo>
                    <a:lnTo>
                      <a:pt x="570" y="66"/>
                    </a:lnTo>
                    <a:lnTo>
                      <a:pt x="570" y="66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68" y="68"/>
                    </a:lnTo>
                    <a:lnTo>
                      <a:pt x="566" y="68"/>
                    </a:lnTo>
                    <a:lnTo>
                      <a:pt x="560" y="66"/>
                    </a:lnTo>
                    <a:lnTo>
                      <a:pt x="554" y="66"/>
                    </a:lnTo>
                    <a:lnTo>
                      <a:pt x="546" y="66"/>
                    </a:lnTo>
                    <a:lnTo>
                      <a:pt x="538" y="66"/>
                    </a:lnTo>
                    <a:lnTo>
                      <a:pt x="532" y="68"/>
                    </a:lnTo>
                    <a:lnTo>
                      <a:pt x="524" y="68"/>
                    </a:lnTo>
                    <a:lnTo>
                      <a:pt x="518" y="66"/>
                    </a:lnTo>
                    <a:lnTo>
                      <a:pt x="508" y="66"/>
                    </a:lnTo>
                    <a:lnTo>
                      <a:pt x="498" y="64"/>
                    </a:lnTo>
                    <a:lnTo>
                      <a:pt x="490" y="62"/>
                    </a:lnTo>
                    <a:lnTo>
                      <a:pt x="486" y="60"/>
                    </a:lnTo>
                    <a:lnTo>
                      <a:pt x="482" y="60"/>
                    </a:lnTo>
                    <a:lnTo>
                      <a:pt x="478" y="56"/>
                    </a:lnTo>
                    <a:lnTo>
                      <a:pt x="478" y="58"/>
                    </a:lnTo>
                    <a:lnTo>
                      <a:pt x="474" y="54"/>
                    </a:lnTo>
                    <a:lnTo>
                      <a:pt x="470" y="50"/>
                    </a:lnTo>
                    <a:lnTo>
                      <a:pt x="464" y="44"/>
                    </a:lnTo>
                    <a:lnTo>
                      <a:pt x="460" y="40"/>
                    </a:lnTo>
                    <a:lnTo>
                      <a:pt x="460" y="40"/>
                    </a:lnTo>
                    <a:lnTo>
                      <a:pt x="460" y="40"/>
                    </a:lnTo>
                    <a:lnTo>
                      <a:pt x="458" y="38"/>
                    </a:lnTo>
                    <a:lnTo>
                      <a:pt x="458" y="38"/>
                    </a:lnTo>
                    <a:lnTo>
                      <a:pt x="456" y="38"/>
                    </a:lnTo>
                    <a:lnTo>
                      <a:pt x="452" y="38"/>
                    </a:lnTo>
                    <a:lnTo>
                      <a:pt x="452" y="38"/>
                    </a:lnTo>
                    <a:lnTo>
                      <a:pt x="452" y="38"/>
                    </a:lnTo>
                    <a:lnTo>
                      <a:pt x="448" y="38"/>
                    </a:lnTo>
                    <a:lnTo>
                      <a:pt x="448" y="38"/>
                    </a:lnTo>
                    <a:lnTo>
                      <a:pt x="448" y="38"/>
                    </a:lnTo>
                    <a:lnTo>
                      <a:pt x="444" y="38"/>
                    </a:lnTo>
                    <a:lnTo>
                      <a:pt x="444" y="38"/>
                    </a:lnTo>
                    <a:lnTo>
                      <a:pt x="444" y="40"/>
                    </a:lnTo>
                    <a:lnTo>
                      <a:pt x="440" y="42"/>
                    </a:lnTo>
                    <a:lnTo>
                      <a:pt x="436" y="44"/>
                    </a:lnTo>
                    <a:lnTo>
                      <a:pt x="434" y="46"/>
                    </a:lnTo>
                    <a:lnTo>
                      <a:pt x="430" y="48"/>
                    </a:lnTo>
                    <a:lnTo>
                      <a:pt x="428" y="50"/>
                    </a:lnTo>
                    <a:lnTo>
                      <a:pt x="426" y="50"/>
                    </a:lnTo>
                    <a:lnTo>
                      <a:pt x="424" y="50"/>
                    </a:lnTo>
                    <a:lnTo>
                      <a:pt x="422" y="50"/>
                    </a:lnTo>
                    <a:lnTo>
                      <a:pt x="420" y="50"/>
                    </a:lnTo>
                    <a:lnTo>
                      <a:pt x="420" y="50"/>
                    </a:lnTo>
                    <a:lnTo>
                      <a:pt x="418" y="46"/>
                    </a:lnTo>
                    <a:lnTo>
                      <a:pt x="414" y="44"/>
                    </a:lnTo>
                    <a:lnTo>
                      <a:pt x="412" y="42"/>
                    </a:lnTo>
                    <a:lnTo>
                      <a:pt x="412" y="40"/>
                    </a:lnTo>
                    <a:lnTo>
                      <a:pt x="408" y="36"/>
                    </a:lnTo>
                    <a:lnTo>
                      <a:pt x="406" y="32"/>
                    </a:lnTo>
                    <a:lnTo>
                      <a:pt x="404" y="30"/>
                    </a:lnTo>
                    <a:lnTo>
                      <a:pt x="402" y="28"/>
                    </a:lnTo>
                    <a:lnTo>
                      <a:pt x="400" y="26"/>
                    </a:lnTo>
                    <a:lnTo>
                      <a:pt x="400" y="26"/>
                    </a:lnTo>
                    <a:lnTo>
                      <a:pt x="398" y="26"/>
                    </a:lnTo>
                    <a:lnTo>
                      <a:pt x="396" y="24"/>
                    </a:lnTo>
                    <a:lnTo>
                      <a:pt x="396" y="24"/>
                    </a:lnTo>
                    <a:lnTo>
                      <a:pt x="396" y="24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0"/>
                    </a:lnTo>
                    <a:lnTo>
                      <a:pt x="382" y="20"/>
                    </a:lnTo>
                    <a:lnTo>
                      <a:pt x="382" y="20"/>
                    </a:lnTo>
                    <a:lnTo>
                      <a:pt x="380" y="20"/>
                    </a:lnTo>
                    <a:lnTo>
                      <a:pt x="376" y="20"/>
                    </a:lnTo>
                    <a:lnTo>
                      <a:pt x="376" y="20"/>
                    </a:lnTo>
                    <a:lnTo>
                      <a:pt x="376" y="20"/>
                    </a:lnTo>
                    <a:lnTo>
                      <a:pt x="374" y="20"/>
                    </a:lnTo>
                    <a:lnTo>
                      <a:pt x="370" y="22"/>
                    </a:lnTo>
                    <a:lnTo>
                      <a:pt x="368" y="24"/>
                    </a:lnTo>
                    <a:lnTo>
                      <a:pt x="364" y="26"/>
                    </a:lnTo>
                    <a:lnTo>
                      <a:pt x="360" y="28"/>
                    </a:lnTo>
                    <a:lnTo>
                      <a:pt x="358" y="30"/>
                    </a:lnTo>
                    <a:lnTo>
                      <a:pt x="354" y="34"/>
                    </a:lnTo>
                    <a:lnTo>
                      <a:pt x="352" y="36"/>
                    </a:lnTo>
                    <a:lnTo>
                      <a:pt x="350" y="36"/>
                    </a:lnTo>
                    <a:lnTo>
                      <a:pt x="350" y="36"/>
                    </a:lnTo>
                    <a:lnTo>
                      <a:pt x="352" y="30"/>
                    </a:lnTo>
                    <a:lnTo>
                      <a:pt x="352" y="26"/>
                    </a:lnTo>
                    <a:lnTo>
                      <a:pt x="354" y="24"/>
                    </a:lnTo>
                    <a:lnTo>
                      <a:pt x="354" y="22"/>
                    </a:lnTo>
                    <a:lnTo>
                      <a:pt x="358" y="16"/>
                    </a:lnTo>
                    <a:lnTo>
                      <a:pt x="360" y="14"/>
                    </a:lnTo>
                    <a:lnTo>
                      <a:pt x="360" y="12"/>
                    </a:lnTo>
                    <a:lnTo>
                      <a:pt x="360" y="12"/>
                    </a:lnTo>
                    <a:lnTo>
                      <a:pt x="360" y="10"/>
                    </a:lnTo>
                    <a:lnTo>
                      <a:pt x="362" y="8"/>
                    </a:lnTo>
                    <a:lnTo>
                      <a:pt x="362" y="8"/>
                    </a:lnTo>
                    <a:lnTo>
                      <a:pt x="362" y="8"/>
                    </a:lnTo>
                    <a:lnTo>
                      <a:pt x="360" y="6"/>
                    </a:lnTo>
                    <a:lnTo>
                      <a:pt x="360" y="6"/>
                    </a:lnTo>
                    <a:lnTo>
                      <a:pt x="360" y="4"/>
                    </a:lnTo>
                    <a:lnTo>
                      <a:pt x="358" y="4"/>
                    </a:lnTo>
                    <a:lnTo>
                      <a:pt x="358" y="4"/>
                    </a:lnTo>
                    <a:lnTo>
                      <a:pt x="358" y="4"/>
                    </a:lnTo>
                    <a:lnTo>
                      <a:pt x="356" y="2"/>
                    </a:lnTo>
                    <a:lnTo>
                      <a:pt x="356" y="2"/>
                    </a:lnTo>
                    <a:lnTo>
                      <a:pt x="356" y="2"/>
                    </a:lnTo>
                    <a:lnTo>
                      <a:pt x="354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46" y="0"/>
                    </a:lnTo>
                    <a:lnTo>
                      <a:pt x="344" y="0"/>
                    </a:lnTo>
                    <a:lnTo>
                      <a:pt x="344" y="0"/>
                    </a:lnTo>
                    <a:lnTo>
                      <a:pt x="344" y="0"/>
                    </a:lnTo>
                    <a:lnTo>
                      <a:pt x="342" y="0"/>
                    </a:lnTo>
                    <a:lnTo>
                      <a:pt x="342" y="0"/>
                    </a:lnTo>
                    <a:lnTo>
                      <a:pt x="340" y="2"/>
                    </a:lnTo>
                    <a:lnTo>
                      <a:pt x="338" y="2"/>
                    </a:lnTo>
                    <a:lnTo>
                      <a:pt x="338" y="2"/>
                    </a:lnTo>
                    <a:lnTo>
                      <a:pt x="338" y="4"/>
                    </a:lnTo>
                    <a:lnTo>
                      <a:pt x="336" y="6"/>
                    </a:lnTo>
                    <a:lnTo>
                      <a:pt x="336" y="6"/>
                    </a:lnTo>
                    <a:lnTo>
                      <a:pt x="336" y="6"/>
                    </a:lnTo>
                    <a:lnTo>
                      <a:pt x="336" y="8"/>
                    </a:lnTo>
                    <a:lnTo>
                      <a:pt x="334" y="12"/>
                    </a:lnTo>
                    <a:lnTo>
                      <a:pt x="334" y="16"/>
                    </a:lnTo>
                    <a:lnTo>
                      <a:pt x="334" y="20"/>
                    </a:lnTo>
                    <a:lnTo>
                      <a:pt x="332" y="22"/>
                    </a:lnTo>
                    <a:lnTo>
                      <a:pt x="332" y="24"/>
                    </a:lnTo>
                    <a:lnTo>
                      <a:pt x="330" y="26"/>
                    </a:lnTo>
                    <a:lnTo>
                      <a:pt x="328" y="26"/>
                    </a:lnTo>
                    <a:lnTo>
                      <a:pt x="326" y="26"/>
                    </a:lnTo>
                    <a:lnTo>
                      <a:pt x="322" y="26"/>
                    </a:lnTo>
                    <a:lnTo>
                      <a:pt x="318" y="26"/>
                    </a:lnTo>
                    <a:lnTo>
                      <a:pt x="312" y="26"/>
                    </a:lnTo>
                    <a:lnTo>
                      <a:pt x="308" y="26"/>
                    </a:lnTo>
                    <a:lnTo>
                      <a:pt x="304" y="24"/>
                    </a:lnTo>
                    <a:lnTo>
                      <a:pt x="304" y="24"/>
                    </a:lnTo>
                    <a:lnTo>
                      <a:pt x="304" y="24"/>
                    </a:lnTo>
                    <a:lnTo>
                      <a:pt x="302" y="26"/>
                    </a:lnTo>
                    <a:lnTo>
                      <a:pt x="302" y="26"/>
                    </a:lnTo>
                    <a:lnTo>
                      <a:pt x="300" y="26"/>
                    </a:lnTo>
                    <a:lnTo>
                      <a:pt x="298" y="26"/>
                    </a:lnTo>
                    <a:lnTo>
                      <a:pt x="298" y="26"/>
                    </a:lnTo>
                    <a:lnTo>
                      <a:pt x="298" y="28"/>
                    </a:lnTo>
                    <a:lnTo>
                      <a:pt x="296" y="28"/>
                    </a:lnTo>
                    <a:lnTo>
                      <a:pt x="296" y="28"/>
                    </a:lnTo>
                    <a:lnTo>
                      <a:pt x="296" y="30"/>
                    </a:lnTo>
                    <a:lnTo>
                      <a:pt x="296" y="30"/>
                    </a:lnTo>
                    <a:lnTo>
                      <a:pt x="296" y="30"/>
                    </a:lnTo>
                    <a:lnTo>
                      <a:pt x="296" y="32"/>
                    </a:lnTo>
                    <a:lnTo>
                      <a:pt x="294" y="34"/>
                    </a:lnTo>
                    <a:lnTo>
                      <a:pt x="294" y="34"/>
                    </a:lnTo>
                    <a:lnTo>
                      <a:pt x="294" y="34"/>
                    </a:lnTo>
                    <a:lnTo>
                      <a:pt x="294" y="38"/>
                    </a:lnTo>
                    <a:lnTo>
                      <a:pt x="294" y="42"/>
                    </a:lnTo>
                    <a:lnTo>
                      <a:pt x="292" y="44"/>
                    </a:lnTo>
                    <a:lnTo>
                      <a:pt x="294" y="46"/>
                    </a:lnTo>
                    <a:lnTo>
                      <a:pt x="294" y="52"/>
                    </a:lnTo>
                    <a:lnTo>
                      <a:pt x="294" y="54"/>
                    </a:lnTo>
                    <a:lnTo>
                      <a:pt x="294" y="54"/>
                    </a:lnTo>
                    <a:lnTo>
                      <a:pt x="292" y="54"/>
                    </a:lnTo>
                    <a:lnTo>
                      <a:pt x="290" y="52"/>
                    </a:lnTo>
                    <a:lnTo>
                      <a:pt x="286" y="52"/>
                    </a:lnTo>
                    <a:lnTo>
                      <a:pt x="284" y="50"/>
                    </a:lnTo>
                    <a:lnTo>
                      <a:pt x="282" y="50"/>
                    </a:lnTo>
                    <a:lnTo>
                      <a:pt x="280" y="50"/>
                    </a:lnTo>
                    <a:lnTo>
                      <a:pt x="272" y="50"/>
                    </a:lnTo>
                    <a:lnTo>
                      <a:pt x="270" y="48"/>
                    </a:lnTo>
                    <a:lnTo>
                      <a:pt x="266" y="50"/>
                    </a:lnTo>
                    <a:lnTo>
                      <a:pt x="266" y="50"/>
                    </a:lnTo>
                    <a:lnTo>
                      <a:pt x="266" y="50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0" y="52"/>
                    </a:lnTo>
                    <a:lnTo>
                      <a:pt x="260" y="52"/>
                    </a:lnTo>
                    <a:lnTo>
                      <a:pt x="258" y="52"/>
                    </a:lnTo>
                    <a:lnTo>
                      <a:pt x="256" y="54"/>
                    </a:lnTo>
                    <a:lnTo>
                      <a:pt x="252" y="56"/>
                    </a:lnTo>
                    <a:lnTo>
                      <a:pt x="250" y="58"/>
                    </a:lnTo>
                    <a:lnTo>
                      <a:pt x="248" y="62"/>
                    </a:lnTo>
                    <a:lnTo>
                      <a:pt x="244" y="68"/>
                    </a:lnTo>
                    <a:lnTo>
                      <a:pt x="242" y="72"/>
                    </a:lnTo>
                    <a:lnTo>
                      <a:pt x="242" y="74"/>
                    </a:lnTo>
                    <a:lnTo>
                      <a:pt x="240" y="78"/>
                    </a:lnTo>
                    <a:lnTo>
                      <a:pt x="240" y="80"/>
                    </a:lnTo>
                    <a:lnTo>
                      <a:pt x="240" y="80"/>
                    </a:lnTo>
                    <a:lnTo>
                      <a:pt x="240" y="80"/>
                    </a:lnTo>
                    <a:lnTo>
                      <a:pt x="240" y="86"/>
                    </a:lnTo>
                    <a:lnTo>
                      <a:pt x="240" y="90"/>
                    </a:lnTo>
                    <a:lnTo>
                      <a:pt x="240" y="92"/>
                    </a:lnTo>
                    <a:lnTo>
                      <a:pt x="240" y="94"/>
                    </a:lnTo>
                    <a:lnTo>
                      <a:pt x="240" y="94"/>
                    </a:lnTo>
                    <a:lnTo>
                      <a:pt x="238" y="94"/>
                    </a:lnTo>
                    <a:lnTo>
                      <a:pt x="236" y="96"/>
                    </a:lnTo>
                    <a:lnTo>
                      <a:pt x="232" y="96"/>
                    </a:lnTo>
                    <a:lnTo>
                      <a:pt x="230" y="98"/>
                    </a:lnTo>
                    <a:lnTo>
                      <a:pt x="230" y="98"/>
                    </a:lnTo>
                    <a:lnTo>
                      <a:pt x="230" y="98"/>
                    </a:lnTo>
                    <a:lnTo>
                      <a:pt x="228" y="98"/>
                    </a:lnTo>
                    <a:lnTo>
                      <a:pt x="228" y="98"/>
                    </a:lnTo>
                    <a:lnTo>
                      <a:pt x="228" y="98"/>
                    </a:lnTo>
                    <a:lnTo>
                      <a:pt x="224" y="102"/>
                    </a:lnTo>
                    <a:lnTo>
                      <a:pt x="222" y="104"/>
                    </a:lnTo>
                    <a:lnTo>
                      <a:pt x="218" y="108"/>
                    </a:lnTo>
                    <a:lnTo>
                      <a:pt x="214" y="110"/>
                    </a:lnTo>
                    <a:lnTo>
                      <a:pt x="214" y="110"/>
                    </a:lnTo>
                    <a:lnTo>
                      <a:pt x="212" y="112"/>
                    </a:lnTo>
                    <a:lnTo>
                      <a:pt x="206" y="112"/>
                    </a:lnTo>
                    <a:lnTo>
                      <a:pt x="200" y="114"/>
                    </a:lnTo>
                    <a:lnTo>
                      <a:pt x="198" y="114"/>
                    </a:lnTo>
                    <a:lnTo>
                      <a:pt x="196" y="116"/>
                    </a:lnTo>
                    <a:lnTo>
                      <a:pt x="196" y="116"/>
                    </a:lnTo>
                    <a:lnTo>
                      <a:pt x="196" y="116"/>
                    </a:lnTo>
                    <a:lnTo>
                      <a:pt x="194" y="118"/>
                    </a:lnTo>
                    <a:lnTo>
                      <a:pt x="194" y="118"/>
                    </a:lnTo>
                    <a:lnTo>
                      <a:pt x="194" y="120"/>
                    </a:lnTo>
                    <a:lnTo>
                      <a:pt x="192" y="122"/>
                    </a:lnTo>
                    <a:lnTo>
                      <a:pt x="192" y="122"/>
                    </a:lnTo>
                    <a:lnTo>
                      <a:pt x="190" y="122"/>
                    </a:lnTo>
                    <a:lnTo>
                      <a:pt x="190" y="126"/>
                    </a:lnTo>
                    <a:lnTo>
                      <a:pt x="190" y="126"/>
                    </a:lnTo>
                    <a:lnTo>
                      <a:pt x="190" y="126"/>
                    </a:lnTo>
                    <a:lnTo>
                      <a:pt x="190" y="130"/>
                    </a:lnTo>
                    <a:lnTo>
                      <a:pt x="190" y="130"/>
                    </a:lnTo>
                    <a:lnTo>
                      <a:pt x="190" y="130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90" y="138"/>
                    </a:lnTo>
                    <a:lnTo>
                      <a:pt x="190" y="138"/>
                    </a:lnTo>
                    <a:lnTo>
                      <a:pt x="190" y="138"/>
                    </a:lnTo>
                    <a:lnTo>
                      <a:pt x="192" y="140"/>
                    </a:lnTo>
                    <a:lnTo>
                      <a:pt x="192" y="140"/>
                    </a:lnTo>
                    <a:lnTo>
                      <a:pt x="192" y="140"/>
                    </a:lnTo>
                    <a:lnTo>
                      <a:pt x="194" y="142"/>
                    </a:lnTo>
                    <a:lnTo>
                      <a:pt x="196" y="144"/>
                    </a:lnTo>
                    <a:lnTo>
                      <a:pt x="198" y="146"/>
                    </a:lnTo>
                    <a:lnTo>
                      <a:pt x="202" y="148"/>
                    </a:lnTo>
                    <a:lnTo>
                      <a:pt x="206" y="150"/>
                    </a:lnTo>
                    <a:lnTo>
                      <a:pt x="212" y="156"/>
                    </a:lnTo>
                    <a:lnTo>
                      <a:pt x="216" y="158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6" y="166"/>
                    </a:lnTo>
                    <a:lnTo>
                      <a:pt x="228" y="168"/>
                    </a:lnTo>
                    <a:lnTo>
                      <a:pt x="228" y="170"/>
                    </a:lnTo>
                    <a:lnTo>
                      <a:pt x="228" y="172"/>
                    </a:lnTo>
                    <a:lnTo>
                      <a:pt x="228" y="174"/>
                    </a:lnTo>
                    <a:lnTo>
                      <a:pt x="228" y="178"/>
                    </a:lnTo>
                    <a:lnTo>
                      <a:pt x="228" y="180"/>
                    </a:lnTo>
                    <a:lnTo>
                      <a:pt x="228" y="180"/>
                    </a:lnTo>
                    <a:lnTo>
                      <a:pt x="230" y="180"/>
                    </a:lnTo>
                    <a:lnTo>
                      <a:pt x="230" y="182"/>
                    </a:lnTo>
                    <a:lnTo>
                      <a:pt x="230" y="182"/>
                    </a:lnTo>
                    <a:lnTo>
                      <a:pt x="230" y="184"/>
                    </a:lnTo>
                    <a:lnTo>
                      <a:pt x="232" y="186"/>
                    </a:lnTo>
                    <a:lnTo>
                      <a:pt x="232" y="186"/>
                    </a:lnTo>
                    <a:lnTo>
                      <a:pt x="232" y="186"/>
                    </a:lnTo>
                    <a:lnTo>
                      <a:pt x="234" y="186"/>
                    </a:lnTo>
                    <a:lnTo>
                      <a:pt x="234" y="186"/>
                    </a:lnTo>
                    <a:lnTo>
                      <a:pt x="236" y="188"/>
                    </a:lnTo>
                    <a:lnTo>
                      <a:pt x="238" y="188"/>
                    </a:lnTo>
                    <a:lnTo>
                      <a:pt x="242" y="188"/>
                    </a:lnTo>
                    <a:lnTo>
                      <a:pt x="246" y="188"/>
                    </a:lnTo>
                    <a:lnTo>
                      <a:pt x="252" y="188"/>
                    </a:lnTo>
                    <a:lnTo>
                      <a:pt x="254" y="188"/>
                    </a:lnTo>
                    <a:lnTo>
                      <a:pt x="258" y="188"/>
                    </a:lnTo>
                    <a:lnTo>
                      <a:pt x="262" y="190"/>
                    </a:lnTo>
                    <a:lnTo>
                      <a:pt x="266" y="192"/>
                    </a:lnTo>
                    <a:lnTo>
                      <a:pt x="270" y="196"/>
                    </a:lnTo>
                    <a:lnTo>
                      <a:pt x="272" y="198"/>
                    </a:lnTo>
                    <a:lnTo>
                      <a:pt x="272" y="200"/>
                    </a:lnTo>
                    <a:lnTo>
                      <a:pt x="274" y="202"/>
                    </a:lnTo>
                    <a:lnTo>
                      <a:pt x="274" y="204"/>
                    </a:lnTo>
                    <a:lnTo>
                      <a:pt x="274" y="208"/>
                    </a:lnTo>
                    <a:lnTo>
                      <a:pt x="274" y="206"/>
                    </a:lnTo>
                    <a:lnTo>
                      <a:pt x="276" y="210"/>
                    </a:lnTo>
                    <a:lnTo>
                      <a:pt x="274" y="212"/>
                    </a:lnTo>
                    <a:lnTo>
                      <a:pt x="274" y="212"/>
                    </a:lnTo>
                    <a:lnTo>
                      <a:pt x="272" y="214"/>
                    </a:lnTo>
                    <a:lnTo>
                      <a:pt x="272" y="214"/>
                    </a:lnTo>
                    <a:lnTo>
                      <a:pt x="270" y="216"/>
                    </a:lnTo>
                    <a:lnTo>
                      <a:pt x="266" y="218"/>
                    </a:lnTo>
                    <a:lnTo>
                      <a:pt x="260" y="218"/>
                    </a:lnTo>
                    <a:lnTo>
                      <a:pt x="254" y="220"/>
                    </a:lnTo>
                    <a:lnTo>
                      <a:pt x="248" y="222"/>
                    </a:lnTo>
                    <a:lnTo>
                      <a:pt x="242" y="222"/>
                    </a:lnTo>
                    <a:lnTo>
                      <a:pt x="238" y="222"/>
                    </a:lnTo>
                    <a:lnTo>
                      <a:pt x="236" y="222"/>
                    </a:lnTo>
                    <a:lnTo>
                      <a:pt x="236" y="222"/>
                    </a:lnTo>
                    <a:lnTo>
                      <a:pt x="234" y="220"/>
                    </a:lnTo>
                    <a:lnTo>
                      <a:pt x="236" y="218"/>
                    </a:lnTo>
                    <a:lnTo>
                      <a:pt x="236" y="214"/>
                    </a:lnTo>
                    <a:lnTo>
                      <a:pt x="238" y="210"/>
                    </a:lnTo>
                    <a:lnTo>
                      <a:pt x="238" y="210"/>
                    </a:lnTo>
                    <a:lnTo>
                      <a:pt x="238" y="210"/>
                    </a:lnTo>
                    <a:lnTo>
                      <a:pt x="238" y="206"/>
                    </a:lnTo>
                    <a:lnTo>
                      <a:pt x="238" y="206"/>
                    </a:lnTo>
                    <a:lnTo>
                      <a:pt x="238" y="206"/>
                    </a:lnTo>
                    <a:lnTo>
                      <a:pt x="236" y="204"/>
                    </a:lnTo>
                    <a:lnTo>
                      <a:pt x="236" y="204"/>
                    </a:lnTo>
                    <a:lnTo>
                      <a:pt x="236" y="204"/>
                    </a:lnTo>
                    <a:lnTo>
                      <a:pt x="236" y="202"/>
                    </a:lnTo>
                    <a:lnTo>
                      <a:pt x="236" y="202"/>
                    </a:lnTo>
                    <a:lnTo>
                      <a:pt x="234" y="202"/>
                    </a:lnTo>
                    <a:lnTo>
                      <a:pt x="232" y="202"/>
                    </a:lnTo>
                    <a:lnTo>
                      <a:pt x="232" y="202"/>
                    </a:lnTo>
                    <a:lnTo>
                      <a:pt x="232" y="202"/>
                    </a:lnTo>
                    <a:lnTo>
                      <a:pt x="230" y="202"/>
                    </a:lnTo>
                    <a:lnTo>
                      <a:pt x="230" y="202"/>
                    </a:lnTo>
                    <a:lnTo>
                      <a:pt x="230" y="202"/>
                    </a:lnTo>
                    <a:lnTo>
                      <a:pt x="226" y="202"/>
                    </a:lnTo>
                    <a:lnTo>
                      <a:pt x="224" y="204"/>
                    </a:lnTo>
                    <a:lnTo>
                      <a:pt x="220" y="206"/>
                    </a:lnTo>
                    <a:lnTo>
                      <a:pt x="216" y="208"/>
                    </a:lnTo>
                    <a:lnTo>
                      <a:pt x="208" y="212"/>
                    </a:lnTo>
                    <a:lnTo>
                      <a:pt x="198" y="216"/>
                    </a:lnTo>
                    <a:lnTo>
                      <a:pt x="188" y="222"/>
                    </a:lnTo>
                    <a:lnTo>
                      <a:pt x="184" y="224"/>
                    </a:lnTo>
                    <a:lnTo>
                      <a:pt x="180" y="226"/>
                    </a:lnTo>
                    <a:lnTo>
                      <a:pt x="176" y="228"/>
                    </a:lnTo>
                    <a:lnTo>
                      <a:pt x="172" y="230"/>
                    </a:lnTo>
                    <a:lnTo>
                      <a:pt x="170" y="232"/>
                    </a:lnTo>
                    <a:lnTo>
                      <a:pt x="168" y="234"/>
                    </a:lnTo>
                    <a:lnTo>
                      <a:pt x="166" y="236"/>
                    </a:lnTo>
                    <a:lnTo>
                      <a:pt x="166" y="236"/>
                    </a:lnTo>
                    <a:lnTo>
                      <a:pt x="166" y="236"/>
                    </a:lnTo>
                    <a:lnTo>
                      <a:pt x="166" y="238"/>
                    </a:lnTo>
                    <a:lnTo>
                      <a:pt x="166" y="238"/>
                    </a:lnTo>
                    <a:lnTo>
                      <a:pt x="166" y="238"/>
                    </a:lnTo>
                    <a:lnTo>
                      <a:pt x="166" y="240"/>
                    </a:lnTo>
                    <a:lnTo>
                      <a:pt x="166" y="240"/>
                    </a:lnTo>
                    <a:lnTo>
                      <a:pt x="166" y="240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8" y="242"/>
                    </a:lnTo>
                    <a:lnTo>
                      <a:pt x="180" y="244"/>
                    </a:lnTo>
                    <a:lnTo>
                      <a:pt x="182" y="244"/>
                    </a:lnTo>
                    <a:lnTo>
                      <a:pt x="182" y="246"/>
                    </a:lnTo>
                    <a:lnTo>
                      <a:pt x="184" y="248"/>
                    </a:lnTo>
                    <a:lnTo>
                      <a:pt x="186" y="252"/>
                    </a:lnTo>
                    <a:lnTo>
                      <a:pt x="188" y="256"/>
                    </a:lnTo>
                    <a:lnTo>
                      <a:pt x="188" y="260"/>
                    </a:lnTo>
                    <a:lnTo>
                      <a:pt x="190" y="264"/>
                    </a:lnTo>
                    <a:lnTo>
                      <a:pt x="192" y="266"/>
                    </a:lnTo>
                    <a:lnTo>
                      <a:pt x="194" y="270"/>
                    </a:lnTo>
                    <a:lnTo>
                      <a:pt x="194" y="270"/>
                    </a:lnTo>
                    <a:lnTo>
                      <a:pt x="194" y="270"/>
                    </a:lnTo>
                    <a:lnTo>
                      <a:pt x="196" y="272"/>
                    </a:lnTo>
                    <a:lnTo>
                      <a:pt x="196" y="272"/>
                    </a:lnTo>
                    <a:lnTo>
                      <a:pt x="196" y="272"/>
                    </a:lnTo>
                    <a:lnTo>
                      <a:pt x="198" y="272"/>
                    </a:lnTo>
                    <a:lnTo>
                      <a:pt x="200" y="274"/>
                    </a:lnTo>
                    <a:lnTo>
                      <a:pt x="200" y="274"/>
                    </a:lnTo>
                    <a:lnTo>
                      <a:pt x="200" y="274"/>
                    </a:lnTo>
                    <a:lnTo>
                      <a:pt x="202" y="276"/>
                    </a:lnTo>
                    <a:lnTo>
                      <a:pt x="204" y="276"/>
                    </a:lnTo>
                    <a:lnTo>
                      <a:pt x="206" y="276"/>
                    </a:lnTo>
                    <a:lnTo>
                      <a:pt x="210" y="276"/>
                    </a:lnTo>
                    <a:lnTo>
                      <a:pt x="214" y="276"/>
                    </a:lnTo>
                    <a:lnTo>
                      <a:pt x="218" y="276"/>
                    </a:lnTo>
                    <a:lnTo>
                      <a:pt x="222" y="276"/>
                    </a:lnTo>
                    <a:lnTo>
                      <a:pt x="226" y="278"/>
                    </a:lnTo>
                    <a:lnTo>
                      <a:pt x="232" y="276"/>
                    </a:lnTo>
                    <a:lnTo>
                      <a:pt x="236" y="276"/>
                    </a:lnTo>
                    <a:lnTo>
                      <a:pt x="240" y="276"/>
                    </a:lnTo>
                    <a:lnTo>
                      <a:pt x="242" y="276"/>
                    </a:lnTo>
                    <a:lnTo>
                      <a:pt x="246" y="276"/>
                    </a:lnTo>
                    <a:lnTo>
                      <a:pt x="246" y="276"/>
                    </a:lnTo>
                    <a:lnTo>
                      <a:pt x="246" y="276"/>
                    </a:lnTo>
                    <a:lnTo>
                      <a:pt x="248" y="274"/>
                    </a:lnTo>
                    <a:lnTo>
                      <a:pt x="248" y="274"/>
                    </a:lnTo>
                    <a:lnTo>
                      <a:pt x="248" y="274"/>
                    </a:lnTo>
                    <a:lnTo>
                      <a:pt x="250" y="274"/>
                    </a:lnTo>
                    <a:lnTo>
                      <a:pt x="250" y="272"/>
                    </a:lnTo>
                    <a:lnTo>
                      <a:pt x="252" y="270"/>
                    </a:lnTo>
                    <a:lnTo>
                      <a:pt x="252" y="270"/>
                    </a:lnTo>
                    <a:lnTo>
                      <a:pt x="254" y="270"/>
                    </a:lnTo>
                    <a:lnTo>
                      <a:pt x="256" y="270"/>
                    </a:lnTo>
                    <a:lnTo>
                      <a:pt x="260" y="270"/>
                    </a:lnTo>
                    <a:lnTo>
                      <a:pt x="266" y="272"/>
                    </a:lnTo>
                    <a:lnTo>
                      <a:pt x="268" y="272"/>
                    </a:lnTo>
                    <a:lnTo>
                      <a:pt x="270" y="272"/>
                    </a:lnTo>
                    <a:lnTo>
                      <a:pt x="272" y="274"/>
                    </a:lnTo>
                    <a:lnTo>
                      <a:pt x="274" y="276"/>
                    </a:lnTo>
                    <a:lnTo>
                      <a:pt x="274" y="278"/>
                    </a:lnTo>
                    <a:lnTo>
                      <a:pt x="276" y="280"/>
                    </a:lnTo>
                    <a:lnTo>
                      <a:pt x="276" y="284"/>
                    </a:lnTo>
                    <a:lnTo>
                      <a:pt x="278" y="288"/>
                    </a:lnTo>
                    <a:lnTo>
                      <a:pt x="278" y="294"/>
                    </a:lnTo>
                    <a:lnTo>
                      <a:pt x="278" y="298"/>
                    </a:lnTo>
                    <a:lnTo>
                      <a:pt x="276" y="300"/>
                    </a:lnTo>
                    <a:lnTo>
                      <a:pt x="276" y="304"/>
                    </a:lnTo>
                    <a:lnTo>
                      <a:pt x="274" y="306"/>
                    </a:lnTo>
                    <a:lnTo>
                      <a:pt x="272" y="306"/>
                    </a:lnTo>
                    <a:lnTo>
                      <a:pt x="270" y="308"/>
                    </a:lnTo>
                    <a:lnTo>
                      <a:pt x="266" y="310"/>
                    </a:lnTo>
                    <a:lnTo>
                      <a:pt x="258" y="312"/>
                    </a:lnTo>
                    <a:lnTo>
                      <a:pt x="254" y="312"/>
                    </a:lnTo>
                    <a:lnTo>
                      <a:pt x="252" y="314"/>
                    </a:lnTo>
                    <a:lnTo>
                      <a:pt x="248" y="316"/>
                    </a:lnTo>
                    <a:lnTo>
                      <a:pt x="244" y="316"/>
                    </a:lnTo>
                    <a:lnTo>
                      <a:pt x="236" y="318"/>
                    </a:lnTo>
                    <a:lnTo>
                      <a:pt x="228" y="320"/>
                    </a:lnTo>
                    <a:lnTo>
                      <a:pt x="224" y="322"/>
                    </a:lnTo>
                    <a:lnTo>
                      <a:pt x="220" y="324"/>
                    </a:lnTo>
                    <a:lnTo>
                      <a:pt x="218" y="326"/>
                    </a:lnTo>
                    <a:lnTo>
                      <a:pt x="214" y="328"/>
                    </a:lnTo>
                    <a:lnTo>
                      <a:pt x="214" y="328"/>
                    </a:lnTo>
                    <a:lnTo>
                      <a:pt x="214" y="328"/>
                    </a:lnTo>
                    <a:lnTo>
                      <a:pt x="210" y="334"/>
                    </a:lnTo>
                    <a:lnTo>
                      <a:pt x="210" y="334"/>
                    </a:lnTo>
                    <a:lnTo>
                      <a:pt x="210" y="334"/>
                    </a:lnTo>
                    <a:lnTo>
                      <a:pt x="206" y="340"/>
                    </a:lnTo>
                    <a:lnTo>
                      <a:pt x="204" y="348"/>
                    </a:lnTo>
                    <a:lnTo>
                      <a:pt x="202" y="354"/>
                    </a:lnTo>
                    <a:lnTo>
                      <a:pt x="200" y="360"/>
                    </a:lnTo>
                    <a:lnTo>
                      <a:pt x="200" y="364"/>
                    </a:lnTo>
                    <a:lnTo>
                      <a:pt x="200" y="366"/>
                    </a:lnTo>
                    <a:lnTo>
                      <a:pt x="200" y="366"/>
                    </a:lnTo>
                    <a:lnTo>
                      <a:pt x="200" y="366"/>
                    </a:lnTo>
                    <a:lnTo>
                      <a:pt x="200" y="370"/>
                    </a:lnTo>
                    <a:lnTo>
                      <a:pt x="200" y="370"/>
                    </a:lnTo>
                    <a:lnTo>
                      <a:pt x="200" y="370"/>
                    </a:lnTo>
                    <a:lnTo>
                      <a:pt x="202" y="372"/>
                    </a:lnTo>
                    <a:lnTo>
                      <a:pt x="202" y="372"/>
                    </a:lnTo>
                    <a:lnTo>
                      <a:pt x="202" y="374"/>
                    </a:lnTo>
                    <a:lnTo>
                      <a:pt x="204" y="376"/>
                    </a:lnTo>
                    <a:lnTo>
                      <a:pt x="204" y="376"/>
                    </a:lnTo>
                    <a:lnTo>
                      <a:pt x="204" y="376"/>
                    </a:lnTo>
                    <a:lnTo>
                      <a:pt x="206" y="378"/>
                    </a:lnTo>
                    <a:lnTo>
                      <a:pt x="206" y="378"/>
                    </a:lnTo>
                    <a:lnTo>
                      <a:pt x="206" y="378"/>
                    </a:lnTo>
                    <a:lnTo>
                      <a:pt x="208" y="380"/>
                    </a:lnTo>
                    <a:lnTo>
                      <a:pt x="212" y="382"/>
                    </a:lnTo>
                    <a:lnTo>
                      <a:pt x="218" y="384"/>
                    </a:lnTo>
                    <a:lnTo>
                      <a:pt x="220" y="386"/>
                    </a:lnTo>
                    <a:lnTo>
                      <a:pt x="222" y="388"/>
                    </a:lnTo>
                    <a:lnTo>
                      <a:pt x="224" y="390"/>
                    </a:lnTo>
                    <a:lnTo>
                      <a:pt x="228" y="392"/>
                    </a:lnTo>
                    <a:lnTo>
                      <a:pt x="230" y="394"/>
                    </a:lnTo>
                    <a:lnTo>
                      <a:pt x="234" y="396"/>
                    </a:lnTo>
                    <a:lnTo>
                      <a:pt x="234" y="396"/>
                    </a:lnTo>
                    <a:lnTo>
                      <a:pt x="234" y="396"/>
                    </a:lnTo>
                    <a:lnTo>
                      <a:pt x="230" y="396"/>
                    </a:lnTo>
                    <a:lnTo>
                      <a:pt x="224" y="394"/>
                    </a:lnTo>
                    <a:lnTo>
                      <a:pt x="218" y="394"/>
                    </a:lnTo>
                    <a:lnTo>
                      <a:pt x="214" y="394"/>
                    </a:lnTo>
                    <a:lnTo>
                      <a:pt x="212" y="394"/>
                    </a:lnTo>
                    <a:lnTo>
                      <a:pt x="210" y="394"/>
                    </a:lnTo>
                    <a:lnTo>
                      <a:pt x="210" y="394"/>
                    </a:lnTo>
                    <a:lnTo>
                      <a:pt x="210" y="394"/>
                    </a:lnTo>
                    <a:lnTo>
                      <a:pt x="208" y="394"/>
                    </a:lnTo>
                    <a:lnTo>
                      <a:pt x="208" y="394"/>
                    </a:lnTo>
                    <a:lnTo>
                      <a:pt x="206" y="394"/>
                    </a:lnTo>
                    <a:lnTo>
                      <a:pt x="206" y="394"/>
                    </a:lnTo>
                    <a:lnTo>
                      <a:pt x="206" y="394"/>
                    </a:lnTo>
                    <a:lnTo>
                      <a:pt x="206" y="396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206" y="400"/>
                    </a:lnTo>
                    <a:lnTo>
                      <a:pt x="206" y="400"/>
                    </a:lnTo>
                    <a:lnTo>
                      <a:pt x="206" y="400"/>
                    </a:lnTo>
                    <a:lnTo>
                      <a:pt x="206" y="402"/>
                    </a:lnTo>
                    <a:lnTo>
                      <a:pt x="206" y="402"/>
                    </a:lnTo>
                    <a:lnTo>
                      <a:pt x="206" y="404"/>
                    </a:lnTo>
                    <a:lnTo>
                      <a:pt x="210" y="406"/>
                    </a:lnTo>
                    <a:lnTo>
                      <a:pt x="212" y="410"/>
                    </a:lnTo>
                    <a:lnTo>
                      <a:pt x="216" y="414"/>
                    </a:lnTo>
                    <a:lnTo>
                      <a:pt x="218" y="418"/>
                    </a:lnTo>
                    <a:lnTo>
                      <a:pt x="222" y="420"/>
                    </a:lnTo>
                    <a:lnTo>
                      <a:pt x="224" y="422"/>
                    </a:lnTo>
                    <a:lnTo>
                      <a:pt x="224" y="422"/>
                    </a:lnTo>
                    <a:lnTo>
                      <a:pt x="224" y="424"/>
                    </a:lnTo>
                    <a:lnTo>
                      <a:pt x="228" y="424"/>
                    </a:lnTo>
                    <a:lnTo>
                      <a:pt x="228" y="424"/>
                    </a:lnTo>
                    <a:lnTo>
                      <a:pt x="228" y="424"/>
                    </a:lnTo>
                    <a:lnTo>
                      <a:pt x="230" y="424"/>
                    </a:lnTo>
                    <a:lnTo>
                      <a:pt x="230" y="424"/>
                    </a:lnTo>
                    <a:lnTo>
                      <a:pt x="230" y="426"/>
                    </a:lnTo>
                    <a:lnTo>
                      <a:pt x="232" y="426"/>
                    </a:lnTo>
                    <a:lnTo>
                      <a:pt x="234" y="424"/>
                    </a:lnTo>
                    <a:lnTo>
                      <a:pt x="234" y="424"/>
                    </a:lnTo>
                    <a:lnTo>
                      <a:pt x="236" y="424"/>
                    </a:lnTo>
                    <a:lnTo>
                      <a:pt x="240" y="422"/>
                    </a:lnTo>
                    <a:lnTo>
                      <a:pt x="244" y="422"/>
                    </a:lnTo>
                    <a:lnTo>
                      <a:pt x="246" y="420"/>
                    </a:lnTo>
                    <a:lnTo>
                      <a:pt x="248" y="418"/>
                    </a:lnTo>
                    <a:lnTo>
                      <a:pt x="254" y="414"/>
                    </a:lnTo>
                    <a:lnTo>
                      <a:pt x="256" y="412"/>
                    </a:lnTo>
                    <a:lnTo>
                      <a:pt x="256" y="412"/>
                    </a:lnTo>
                    <a:lnTo>
                      <a:pt x="256" y="412"/>
                    </a:lnTo>
                    <a:lnTo>
                      <a:pt x="256" y="416"/>
                    </a:lnTo>
                    <a:lnTo>
                      <a:pt x="254" y="420"/>
                    </a:lnTo>
                    <a:lnTo>
                      <a:pt x="254" y="426"/>
                    </a:lnTo>
                    <a:lnTo>
                      <a:pt x="252" y="432"/>
                    </a:lnTo>
                    <a:lnTo>
                      <a:pt x="252" y="438"/>
                    </a:lnTo>
                    <a:lnTo>
                      <a:pt x="250" y="442"/>
                    </a:lnTo>
                    <a:lnTo>
                      <a:pt x="250" y="442"/>
                    </a:lnTo>
                    <a:lnTo>
                      <a:pt x="250" y="442"/>
                    </a:lnTo>
                    <a:lnTo>
                      <a:pt x="252" y="444"/>
                    </a:lnTo>
                    <a:lnTo>
                      <a:pt x="252" y="446"/>
                    </a:lnTo>
                    <a:lnTo>
                      <a:pt x="252" y="446"/>
                    </a:lnTo>
                    <a:lnTo>
                      <a:pt x="252" y="448"/>
                    </a:lnTo>
                    <a:lnTo>
                      <a:pt x="252" y="450"/>
                    </a:lnTo>
                    <a:lnTo>
                      <a:pt x="252" y="450"/>
                    </a:lnTo>
                    <a:lnTo>
                      <a:pt x="254" y="450"/>
                    </a:lnTo>
                    <a:lnTo>
                      <a:pt x="254" y="452"/>
                    </a:lnTo>
                    <a:lnTo>
                      <a:pt x="254" y="452"/>
                    </a:lnTo>
                    <a:lnTo>
                      <a:pt x="256" y="454"/>
                    </a:lnTo>
                    <a:lnTo>
                      <a:pt x="258" y="454"/>
                    </a:lnTo>
                    <a:lnTo>
                      <a:pt x="258" y="454"/>
                    </a:lnTo>
                    <a:lnTo>
                      <a:pt x="258" y="454"/>
                    </a:lnTo>
                    <a:lnTo>
                      <a:pt x="260" y="456"/>
                    </a:lnTo>
                    <a:lnTo>
                      <a:pt x="260" y="456"/>
                    </a:lnTo>
                    <a:lnTo>
                      <a:pt x="260" y="456"/>
                    </a:lnTo>
                    <a:lnTo>
                      <a:pt x="266" y="458"/>
                    </a:lnTo>
                    <a:lnTo>
                      <a:pt x="270" y="458"/>
                    </a:lnTo>
                    <a:lnTo>
                      <a:pt x="272" y="458"/>
                    </a:lnTo>
                    <a:lnTo>
                      <a:pt x="272" y="458"/>
                    </a:lnTo>
                    <a:lnTo>
                      <a:pt x="274" y="458"/>
                    </a:lnTo>
                    <a:lnTo>
                      <a:pt x="274" y="458"/>
                    </a:lnTo>
                    <a:lnTo>
                      <a:pt x="274" y="458"/>
                    </a:lnTo>
                    <a:lnTo>
                      <a:pt x="278" y="458"/>
                    </a:lnTo>
                    <a:lnTo>
                      <a:pt x="284" y="456"/>
                    </a:lnTo>
                    <a:lnTo>
                      <a:pt x="288" y="456"/>
                    </a:lnTo>
                    <a:lnTo>
                      <a:pt x="290" y="454"/>
                    </a:lnTo>
                    <a:lnTo>
                      <a:pt x="292" y="454"/>
                    </a:lnTo>
                    <a:lnTo>
                      <a:pt x="292" y="456"/>
                    </a:lnTo>
                    <a:lnTo>
                      <a:pt x="294" y="456"/>
                    </a:lnTo>
                    <a:lnTo>
                      <a:pt x="294" y="458"/>
                    </a:lnTo>
                    <a:lnTo>
                      <a:pt x="296" y="460"/>
                    </a:lnTo>
                    <a:lnTo>
                      <a:pt x="298" y="462"/>
                    </a:lnTo>
                    <a:lnTo>
                      <a:pt x="300" y="462"/>
                    </a:lnTo>
                    <a:lnTo>
                      <a:pt x="300" y="462"/>
                    </a:lnTo>
                    <a:lnTo>
                      <a:pt x="300" y="464"/>
                    </a:lnTo>
                    <a:lnTo>
                      <a:pt x="302" y="464"/>
                    </a:lnTo>
                    <a:lnTo>
                      <a:pt x="302" y="464"/>
                    </a:lnTo>
                    <a:lnTo>
                      <a:pt x="302" y="464"/>
                    </a:lnTo>
                    <a:lnTo>
                      <a:pt x="304" y="464"/>
                    </a:lnTo>
                    <a:lnTo>
                      <a:pt x="304" y="464"/>
                    </a:lnTo>
                    <a:lnTo>
                      <a:pt x="306" y="464"/>
                    </a:lnTo>
                    <a:lnTo>
                      <a:pt x="306" y="464"/>
                    </a:lnTo>
                    <a:lnTo>
                      <a:pt x="306" y="464"/>
                    </a:lnTo>
                    <a:lnTo>
                      <a:pt x="308" y="462"/>
                    </a:lnTo>
                    <a:lnTo>
                      <a:pt x="310" y="462"/>
                    </a:lnTo>
                    <a:lnTo>
                      <a:pt x="310" y="462"/>
                    </a:lnTo>
                    <a:lnTo>
                      <a:pt x="310" y="460"/>
                    </a:lnTo>
                    <a:lnTo>
                      <a:pt x="310" y="458"/>
                    </a:lnTo>
                    <a:lnTo>
                      <a:pt x="312" y="456"/>
                    </a:lnTo>
                    <a:lnTo>
                      <a:pt x="312" y="454"/>
                    </a:lnTo>
                    <a:lnTo>
                      <a:pt x="314" y="452"/>
                    </a:lnTo>
                    <a:lnTo>
                      <a:pt x="314" y="450"/>
                    </a:lnTo>
                    <a:lnTo>
                      <a:pt x="316" y="448"/>
                    </a:lnTo>
                    <a:lnTo>
                      <a:pt x="318" y="448"/>
                    </a:lnTo>
                    <a:lnTo>
                      <a:pt x="316" y="448"/>
                    </a:lnTo>
                    <a:lnTo>
                      <a:pt x="318" y="448"/>
                    </a:lnTo>
                    <a:lnTo>
                      <a:pt x="322" y="446"/>
                    </a:lnTo>
                    <a:lnTo>
                      <a:pt x="324" y="446"/>
                    </a:lnTo>
                    <a:lnTo>
                      <a:pt x="324" y="446"/>
                    </a:lnTo>
                    <a:lnTo>
                      <a:pt x="326" y="448"/>
                    </a:lnTo>
                    <a:lnTo>
                      <a:pt x="326" y="448"/>
                    </a:lnTo>
                    <a:lnTo>
                      <a:pt x="326" y="448"/>
                    </a:lnTo>
                    <a:lnTo>
                      <a:pt x="326" y="450"/>
                    </a:lnTo>
                    <a:lnTo>
                      <a:pt x="326" y="454"/>
                    </a:lnTo>
                    <a:lnTo>
                      <a:pt x="326" y="456"/>
                    </a:lnTo>
                    <a:lnTo>
                      <a:pt x="324" y="464"/>
                    </a:lnTo>
                    <a:lnTo>
                      <a:pt x="322" y="468"/>
                    </a:lnTo>
                    <a:lnTo>
                      <a:pt x="322" y="470"/>
                    </a:lnTo>
                    <a:lnTo>
                      <a:pt x="318" y="476"/>
                    </a:lnTo>
                    <a:lnTo>
                      <a:pt x="316" y="482"/>
                    </a:lnTo>
                    <a:lnTo>
                      <a:pt x="310" y="488"/>
                    </a:lnTo>
                    <a:lnTo>
                      <a:pt x="306" y="492"/>
                    </a:lnTo>
                    <a:lnTo>
                      <a:pt x="300" y="498"/>
                    </a:lnTo>
                    <a:lnTo>
                      <a:pt x="294" y="502"/>
                    </a:lnTo>
                    <a:lnTo>
                      <a:pt x="288" y="508"/>
                    </a:lnTo>
                    <a:lnTo>
                      <a:pt x="280" y="512"/>
                    </a:lnTo>
                    <a:lnTo>
                      <a:pt x="274" y="516"/>
                    </a:lnTo>
                    <a:lnTo>
                      <a:pt x="266" y="520"/>
                    </a:lnTo>
                    <a:lnTo>
                      <a:pt x="260" y="522"/>
                    </a:lnTo>
                    <a:lnTo>
                      <a:pt x="252" y="526"/>
                    </a:lnTo>
                    <a:lnTo>
                      <a:pt x="246" y="530"/>
                    </a:lnTo>
                    <a:lnTo>
                      <a:pt x="240" y="532"/>
                    </a:lnTo>
                    <a:lnTo>
                      <a:pt x="232" y="536"/>
                    </a:lnTo>
                    <a:lnTo>
                      <a:pt x="232" y="536"/>
                    </a:lnTo>
                    <a:lnTo>
                      <a:pt x="232" y="536"/>
                    </a:lnTo>
                    <a:lnTo>
                      <a:pt x="226" y="540"/>
                    </a:lnTo>
                    <a:lnTo>
                      <a:pt x="226" y="540"/>
                    </a:lnTo>
                    <a:lnTo>
                      <a:pt x="226" y="540"/>
                    </a:lnTo>
                    <a:lnTo>
                      <a:pt x="224" y="542"/>
                    </a:lnTo>
                    <a:lnTo>
                      <a:pt x="224" y="542"/>
                    </a:lnTo>
                    <a:lnTo>
                      <a:pt x="224" y="544"/>
                    </a:lnTo>
                    <a:lnTo>
                      <a:pt x="222" y="546"/>
                    </a:lnTo>
                    <a:lnTo>
                      <a:pt x="222" y="546"/>
                    </a:lnTo>
                    <a:lnTo>
                      <a:pt x="222" y="546"/>
                    </a:lnTo>
                    <a:lnTo>
                      <a:pt x="218" y="552"/>
                    </a:lnTo>
                    <a:lnTo>
                      <a:pt x="218" y="556"/>
                    </a:lnTo>
                    <a:lnTo>
                      <a:pt x="216" y="558"/>
                    </a:lnTo>
                    <a:lnTo>
                      <a:pt x="214" y="560"/>
                    </a:lnTo>
                    <a:lnTo>
                      <a:pt x="212" y="562"/>
                    </a:lnTo>
                    <a:lnTo>
                      <a:pt x="210" y="562"/>
                    </a:lnTo>
                    <a:lnTo>
                      <a:pt x="208" y="562"/>
                    </a:lnTo>
                    <a:lnTo>
                      <a:pt x="200" y="564"/>
                    </a:lnTo>
                    <a:lnTo>
                      <a:pt x="192" y="564"/>
                    </a:lnTo>
                    <a:lnTo>
                      <a:pt x="188" y="564"/>
                    </a:lnTo>
                    <a:lnTo>
                      <a:pt x="186" y="564"/>
                    </a:lnTo>
                    <a:lnTo>
                      <a:pt x="182" y="566"/>
                    </a:lnTo>
                    <a:lnTo>
                      <a:pt x="180" y="566"/>
                    </a:lnTo>
                    <a:lnTo>
                      <a:pt x="176" y="568"/>
                    </a:lnTo>
                    <a:lnTo>
                      <a:pt x="174" y="570"/>
                    </a:lnTo>
                    <a:lnTo>
                      <a:pt x="170" y="574"/>
                    </a:lnTo>
                    <a:lnTo>
                      <a:pt x="166" y="576"/>
                    </a:lnTo>
                    <a:lnTo>
                      <a:pt x="162" y="578"/>
                    </a:lnTo>
                    <a:lnTo>
                      <a:pt x="160" y="580"/>
                    </a:lnTo>
                    <a:lnTo>
                      <a:pt x="160" y="580"/>
                    </a:lnTo>
                    <a:lnTo>
                      <a:pt x="160" y="580"/>
                    </a:lnTo>
                    <a:lnTo>
                      <a:pt x="156" y="584"/>
                    </a:lnTo>
                    <a:lnTo>
                      <a:pt x="156" y="584"/>
                    </a:lnTo>
                    <a:lnTo>
                      <a:pt x="156" y="584"/>
                    </a:lnTo>
                    <a:lnTo>
                      <a:pt x="154" y="586"/>
                    </a:lnTo>
                    <a:lnTo>
                      <a:pt x="154" y="586"/>
                    </a:lnTo>
                    <a:lnTo>
                      <a:pt x="154" y="586"/>
                    </a:lnTo>
                    <a:lnTo>
                      <a:pt x="154" y="588"/>
                    </a:lnTo>
                    <a:lnTo>
                      <a:pt x="152" y="594"/>
                    </a:lnTo>
                    <a:lnTo>
                      <a:pt x="152" y="596"/>
                    </a:lnTo>
                    <a:lnTo>
                      <a:pt x="150" y="598"/>
                    </a:lnTo>
                    <a:lnTo>
                      <a:pt x="150" y="600"/>
                    </a:lnTo>
                    <a:lnTo>
                      <a:pt x="146" y="600"/>
                    </a:lnTo>
                    <a:lnTo>
                      <a:pt x="144" y="602"/>
                    </a:lnTo>
                    <a:lnTo>
                      <a:pt x="140" y="602"/>
                    </a:lnTo>
                    <a:lnTo>
                      <a:pt x="134" y="602"/>
                    </a:lnTo>
                    <a:lnTo>
                      <a:pt x="128" y="602"/>
                    </a:lnTo>
                    <a:lnTo>
                      <a:pt x="116" y="602"/>
                    </a:lnTo>
                    <a:lnTo>
                      <a:pt x="110" y="604"/>
                    </a:lnTo>
                    <a:lnTo>
                      <a:pt x="106" y="604"/>
                    </a:lnTo>
                    <a:lnTo>
                      <a:pt x="100" y="606"/>
                    </a:lnTo>
                    <a:lnTo>
                      <a:pt x="96" y="608"/>
                    </a:lnTo>
                    <a:lnTo>
                      <a:pt x="94" y="608"/>
                    </a:lnTo>
                    <a:lnTo>
                      <a:pt x="90" y="610"/>
                    </a:lnTo>
                    <a:lnTo>
                      <a:pt x="88" y="612"/>
                    </a:lnTo>
                    <a:lnTo>
                      <a:pt x="86" y="612"/>
                    </a:lnTo>
                    <a:lnTo>
                      <a:pt x="76" y="616"/>
                    </a:lnTo>
                    <a:lnTo>
                      <a:pt x="72" y="616"/>
                    </a:lnTo>
                    <a:lnTo>
                      <a:pt x="66" y="616"/>
                    </a:lnTo>
                    <a:lnTo>
                      <a:pt x="60" y="616"/>
                    </a:lnTo>
                    <a:lnTo>
                      <a:pt x="54" y="616"/>
                    </a:lnTo>
                    <a:lnTo>
                      <a:pt x="46" y="614"/>
                    </a:lnTo>
                    <a:lnTo>
                      <a:pt x="40" y="614"/>
                    </a:lnTo>
                    <a:lnTo>
                      <a:pt x="32" y="616"/>
                    </a:lnTo>
                    <a:lnTo>
                      <a:pt x="28" y="616"/>
                    </a:lnTo>
                    <a:lnTo>
                      <a:pt x="28" y="616"/>
                    </a:lnTo>
                    <a:lnTo>
                      <a:pt x="28" y="616"/>
                    </a:lnTo>
                    <a:lnTo>
                      <a:pt x="22" y="618"/>
                    </a:lnTo>
                    <a:lnTo>
                      <a:pt x="16" y="620"/>
                    </a:lnTo>
                    <a:lnTo>
                      <a:pt x="12" y="622"/>
                    </a:lnTo>
                    <a:lnTo>
                      <a:pt x="8" y="624"/>
                    </a:lnTo>
                    <a:lnTo>
                      <a:pt x="4" y="628"/>
                    </a:lnTo>
                    <a:lnTo>
                      <a:pt x="2" y="630"/>
                    </a:lnTo>
                    <a:lnTo>
                      <a:pt x="0" y="632"/>
                    </a:lnTo>
                    <a:lnTo>
                      <a:pt x="0" y="632"/>
                    </a:lnTo>
                    <a:lnTo>
                      <a:pt x="0" y="632"/>
                    </a:lnTo>
                    <a:lnTo>
                      <a:pt x="0" y="634"/>
                    </a:lnTo>
                    <a:lnTo>
                      <a:pt x="0" y="634"/>
                    </a:lnTo>
                    <a:lnTo>
                      <a:pt x="0" y="636"/>
                    </a:lnTo>
                    <a:lnTo>
                      <a:pt x="0" y="636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4" y="638"/>
                    </a:lnTo>
                    <a:lnTo>
                      <a:pt x="6" y="636"/>
                    </a:lnTo>
                    <a:lnTo>
                      <a:pt x="10" y="636"/>
                    </a:lnTo>
                    <a:lnTo>
                      <a:pt x="14" y="634"/>
                    </a:lnTo>
                    <a:lnTo>
                      <a:pt x="18" y="632"/>
                    </a:lnTo>
                    <a:lnTo>
                      <a:pt x="24" y="632"/>
                    </a:lnTo>
                    <a:lnTo>
                      <a:pt x="28" y="630"/>
                    </a:lnTo>
                    <a:lnTo>
                      <a:pt x="32" y="630"/>
                    </a:lnTo>
                    <a:lnTo>
                      <a:pt x="40" y="628"/>
                    </a:lnTo>
                    <a:lnTo>
                      <a:pt x="48" y="626"/>
                    </a:lnTo>
                    <a:lnTo>
                      <a:pt x="58" y="626"/>
                    </a:lnTo>
                    <a:lnTo>
                      <a:pt x="66" y="624"/>
                    </a:lnTo>
                    <a:lnTo>
                      <a:pt x="72" y="622"/>
                    </a:lnTo>
                    <a:lnTo>
                      <a:pt x="78" y="622"/>
                    </a:lnTo>
                    <a:lnTo>
                      <a:pt x="84" y="620"/>
                    </a:lnTo>
                    <a:lnTo>
                      <a:pt x="88" y="620"/>
                    </a:lnTo>
                    <a:lnTo>
                      <a:pt x="90" y="618"/>
                    </a:lnTo>
                    <a:lnTo>
                      <a:pt x="100" y="616"/>
                    </a:lnTo>
                    <a:lnTo>
                      <a:pt x="110" y="614"/>
                    </a:lnTo>
                    <a:lnTo>
                      <a:pt x="116" y="614"/>
                    </a:lnTo>
                    <a:lnTo>
                      <a:pt x="122" y="612"/>
                    </a:lnTo>
                    <a:lnTo>
                      <a:pt x="134" y="612"/>
                    </a:lnTo>
                    <a:lnTo>
                      <a:pt x="140" y="612"/>
                    </a:lnTo>
                    <a:lnTo>
                      <a:pt x="146" y="612"/>
                    </a:lnTo>
                    <a:lnTo>
                      <a:pt x="152" y="612"/>
                    </a:lnTo>
                    <a:lnTo>
                      <a:pt x="156" y="612"/>
                    </a:lnTo>
                    <a:lnTo>
                      <a:pt x="160" y="610"/>
                    </a:lnTo>
                    <a:lnTo>
                      <a:pt x="160" y="610"/>
                    </a:lnTo>
                    <a:lnTo>
                      <a:pt x="160" y="610"/>
                    </a:lnTo>
                    <a:lnTo>
                      <a:pt x="164" y="610"/>
                    </a:lnTo>
                    <a:lnTo>
                      <a:pt x="164" y="610"/>
                    </a:lnTo>
                    <a:lnTo>
                      <a:pt x="164" y="608"/>
                    </a:lnTo>
                    <a:lnTo>
                      <a:pt x="168" y="608"/>
                    </a:lnTo>
                    <a:lnTo>
                      <a:pt x="170" y="606"/>
                    </a:lnTo>
                    <a:lnTo>
                      <a:pt x="174" y="602"/>
                    </a:lnTo>
                    <a:lnTo>
                      <a:pt x="176" y="600"/>
                    </a:lnTo>
                    <a:lnTo>
                      <a:pt x="176" y="600"/>
                    </a:lnTo>
                    <a:lnTo>
                      <a:pt x="176" y="600"/>
                    </a:lnTo>
                    <a:lnTo>
                      <a:pt x="178" y="600"/>
                    </a:lnTo>
                    <a:lnTo>
                      <a:pt x="180" y="600"/>
                    </a:lnTo>
                    <a:lnTo>
                      <a:pt x="182" y="600"/>
                    </a:lnTo>
                    <a:lnTo>
                      <a:pt x="184" y="602"/>
                    </a:lnTo>
                    <a:lnTo>
                      <a:pt x="184" y="602"/>
                    </a:lnTo>
                    <a:lnTo>
                      <a:pt x="184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88" y="602"/>
                    </a:lnTo>
                    <a:lnTo>
                      <a:pt x="188" y="602"/>
                    </a:lnTo>
                    <a:lnTo>
                      <a:pt x="190" y="600"/>
                    </a:lnTo>
                    <a:lnTo>
                      <a:pt x="192" y="600"/>
                    </a:lnTo>
                    <a:lnTo>
                      <a:pt x="192" y="600"/>
                    </a:lnTo>
                    <a:lnTo>
                      <a:pt x="192" y="600"/>
                    </a:lnTo>
                    <a:lnTo>
                      <a:pt x="194" y="596"/>
                    </a:lnTo>
                    <a:lnTo>
                      <a:pt x="194" y="596"/>
                    </a:lnTo>
                    <a:lnTo>
                      <a:pt x="194" y="596"/>
                    </a:lnTo>
                    <a:lnTo>
                      <a:pt x="196" y="594"/>
                    </a:lnTo>
                    <a:lnTo>
                      <a:pt x="198" y="590"/>
                    </a:lnTo>
                    <a:lnTo>
                      <a:pt x="200" y="586"/>
                    </a:lnTo>
                    <a:lnTo>
                      <a:pt x="204" y="582"/>
                    </a:lnTo>
                    <a:lnTo>
                      <a:pt x="206" y="578"/>
                    </a:lnTo>
                    <a:lnTo>
                      <a:pt x="210" y="574"/>
                    </a:lnTo>
                    <a:lnTo>
                      <a:pt x="216" y="570"/>
                    </a:lnTo>
                    <a:lnTo>
                      <a:pt x="218" y="568"/>
                    </a:lnTo>
                    <a:lnTo>
                      <a:pt x="222" y="566"/>
                    </a:lnTo>
                    <a:lnTo>
                      <a:pt x="230" y="562"/>
                    </a:lnTo>
                    <a:lnTo>
                      <a:pt x="238" y="558"/>
                    </a:lnTo>
                    <a:lnTo>
                      <a:pt x="248" y="554"/>
                    </a:lnTo>
                    <a:lnTo>
                      <a:pt x="258" y="548"/>
                    </a:lnTo>
                    <a:lnTo>
                      <a:pt x="268" y="544"/>
                    </a:lnTo>
                    <a:lnTo>
                      <a:pt x="278" y="540"/>
                    </a:lnTo>
                    <a:lnTo>
                      <a:pt x="286" y="534"/>
                    </a:lnTo>
                    <a:lnTo>
                      <a:pt x="302" y="526"/>
                    </a:lnTo>
                    <a:lnTo>
                      <a:pt x="316" y="518"/>
                    </a:lnTo>
                    <a:lnTo>
                      <a:pt x="330" y="510"/>
                    </a:lnTo>
                    <a:lnTo>
                      <a:pt x="338" y="504"/>
                    </a:lnTo>
                    <a:lnTo>
                      <a:pt x="344" y="500"/>
                    </a:lnTo>
                    <a:lnTo>
                      <a:pt x="350" y="494"/>
                    </a:lnTo>
                    <a:lnTo>
                      <a:pt x="356" y="486"/>
                    </a:lnTo>
                    <a:lnTo>
                      <a:pt x="362" y="478"/>
                    </a:lnTo>
                    <a:lnTo>
                      <a:pt x="368" y="472"/>
                    </a:lnTo>
                    <a:lnTo>
                      <a:pt x="374" y="464"/>
                    </a:lnTo>
                    <a:lnTo>
                      <a:pt x="378" y="458"/>
                    </a:lnTo>
                    <a:lnTo>
                      <a:pt x="382" y="452"/>
                    </a:lnTo>
                    <a:lnTo>
                      <a:pt x="384" y="450"/>
                    </a:lnTo>
                    <a:lnTo>
                      <a:pt x="384" y="448"/>
                    </a:lnTo>
                    <a:lnTo>
                      <a:pt x="386" y="446"/>
                    </a:lnTo>
                    <a:lnTo>
                      <a:pt x="386" y="446"/>
                    </a:lnTo>
                    <a:lnTo>
                      <a:pt x="386" y="444"/>
                    </a:lnTo>
                    <a:lnTo>
                      <a:pt x="386" y="444"/>
                    </a:lnTo>
                    <a:lnTo>
                      <a:pt x="386" y="444"/>
                    </a:lnTo>
                    <a:lnTo>
                      <a:pt x="386" y="442"/>
                    </a:lnTo>
                    <a:lnTo>
                      <a:pt x="386" y="442"/>
                    </a:lnTo>
                    <a:lnTo>
                      <a:pt x="386" y="442"/>
                    </a:lnTo>
                    <a:lnTo>
                      <a:pt x="386" y="440"/>
                    </a:lnTo>
                    <a:lnTo>
                      <a:pt x="384" y="440"/>
                    </a:lnTo>
                    <a:lnTo>
                      <a:pt x="384" y="440"/>
                    </a:lnTo>
                    <a:lnTo>
                      <a:pt x="390" y="440"/>
                    </a:lnTo>
                    <a:lnTo>
                      <a:pt x="396" y="440"/>
                    </a:lnTo>
                    <a:lnTo>
                      <a:pt x="398" y="440"/>
                    </a:lnTo>
                    <a:lnTo>
                      <a:pt x="400" y="440"/>
                    </a:lnTo>
                    <a:lnTo>
                      <a:pt x="402" y="440"/>
                    </a:lnTo>
                    <a:lnTo>
                      <a:pt x="404" y="440"/>
                    </a:lnTo>
                    <a:lnTo>
                      <a:pt x="404" y="440"/>
                    </a:lnTo>
                    <a:lnTo>
                      <a:pt x="402" y="442"/>
                    </a:lnTo>
                    <a:lnTo>
                      <a:pt x="400" y="444"/>
                    </a:lnTo>
                    <a:lnTo>
                      <a:pt x="398" y="446"/>
                    </a:lnTo>
                    <a:lnTo>
                      <a:pt x="396" y="450"/>
                    </a:lnTo>
                    <a:lnTo>
                      <a:pt x="394" y="452"/>
                    </a:lnTo>
                    <a:lnTo>
                      <a:pt x="388" y="458"/>
                    </a:lnTo>
                    <a:lnTo>
                      <a:pt x="380" y="464"/>
                    </a:lnTo>
                    <a:lnTo>
                      <a:pt x="378" y="468"/>
                    </a:lnTo>
                    <a:lnTo>
                      <a:pt x="376" y="470"/>
                    </a:lnTo>
                    <a:lnTo>
                      <a:pt x="374" y="472"/>
                    </a:lnTo>
                    <a:lnTo>
                      <a:pt x="372" y="474"/>
                    </a:lnTo>
                    <a:lnTo>
                      <a:pt x="370" y="474"/>
                    </a:lnTo>
                    <a:lnTo>
                      <a:pt x="370" y="474"/>
                    </a:lnTo>
                    <a:lnTo>
                      <a:pt x="370" y="476"/>
                    </a:lnTo>
                    <a:lnTo>
                      <a:pt x="370" y="476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70" y="478"/>
                    </a:lnTo>
                    <a:lnTo>
                      <a:pt x="372" y="480"/>
                    </a:lnTo>
                    <a:lnTo>
                      <a:pt x="372" y="480"/>
                    </a:lnTo>
                    <a:lnTo>
                      <a:pt x="372" y="480"/>
                    </a:lnTo>
                    <a:lnTo>
                      <a:pt x="374" y="480"/>
                    </a:lnTo>
                    <a:lnTo>
                      <a:pt x="374" y="480"/>
                    </a:lnTo>
                    <a:lnTo>
                      <a:pt x="376" y="478"/>
                    </a:lnTo>
                    <a:lnTo>
                      <a:pt x="378" y="478"/>
                    </a:lnTo>
                    <a:lnTo>
                      <a:pt x="380" y="476"/>
                    </a:lnTo>
                    <a:lnTo>
                      <a:pt x="382" y="474"/>
                    </a:lnTo>
                    <a:lnTo>
                      <a:pt x="388" y="470"/>
                    </a:lnTo>
                    <a:lnTo>
                      <a:pt x="394" y="464"/>
                    </a:lnTo>
                    <a:lnTo>
                      <a:pt x="400" y="460"/>
                    </a:lnTo>
                    <a:lnTo>
                      <a:pt x="406" y="456"/>
                    </a:lnTo>
                    <a:lnTo>
                      <a:pt x="408" y="454"/>
                    </a:lnTo>
                    <a:lnTo>
                      <a:pt x="410" y="452"/>
                    </a:lnTo>
                    <a:lnTo>
                      <a:pt x="418" y="446"/>
                    </a:lnTo>
                    <a:lnTo>
                      <a:pt x="424" y="442"/>
                    </a:lnTo>
                    <a:lnTo>
                      <a:pt x="430" y="438"/>
                    </a:lnTo>
                    <a:lnTo>
                      <a:pt x="436" y="432"/>
                    </a:lnTo>
                    <a:lnTo>
                      <a:pt x="442" y="428"/>
                    </a:lnTo>
                    <a:lnTo>
                      <a:pt x="448" y="424"/>
                    </a:lnTo>
                    <a:lnTo>
                      <a:pt x="454" y="422"/>
                    </a:lnTo>
                    <a:lnTo>
                      <a:pt x="456" y="420"/>
                    </a:lnTo>
                    <a:lnTo>
                      <a:pt x="456" y="420"/>
                    </a:lnTo>
                    <a:lnTo>
                      <a:pt x="458" y="420"/>
                    </a:lnTo>
                    <a:lnTo>
                      <a:pt x="458" y="420"/>
                    </a:lnTo>
                    <a:lnTo>
                      <a:pt x="460" y="422"/>
                    </a:lnTo>
                    <a:lnTo>
                      <a:pt x="460" y="422"/>
                    </a:lnTo>
                    <a:lnTo>
                      <a:pt x="460" y="422"/>
                    </a:lnTo>
                    <a:lnTo>
                      <a:pt x="462" y="422"/>
                    </a:lnTo>
                    <a:lnTo>
                      <a:pt x="462" y="422"/>
                    </a:lnTo>
                    <a:lnTo>
                      <a:pt x="462" y="424"/>
                    </a:lnTo>
                    <a:lnTo>
                      <a:pt x="464" y="424"/>
                    </a:lnTo>
                    <a:lnTo>
                      <a:pt x="464" y="424"/>
                    </a:lnTo>
                    <a:lnTo>
                      <a:pt x="468" y="424"/>
                    </a:lnTo>
                    <a:lnTo>
                      <a:pt x="472" y="424"/>
                    </a:lnTo>
                    <a:lnTo>
                      <a:pt x="474" y="422"/>
                    </a:lnTo>
                    <a:lnTo>
                      <a:pt x="474" y="422"/>
                    </a:lnTo>
                    <a:lnTo>
                      <a:pt x="476" y="422"/>
                    </a:lnTo>
                    <a:lnTo>
                      <a:pt x="478" y="422"/>
                    </a:lnTo>
                    <a:lnTo>
                      <a:pt x="478" y="422"/>
                    </a:lnTo>
                    <a:lnTo>
                      <a:pt x="478" y="422"/>
                    </a:lnTo>
                    <a:lnTo>
                      <a:pt x="480" y="420"/>
                    </a:lnTo>
                    <a:lnTo>
                      <a:pt x="482" y="420"/>
                    </a:lnTo>
                    <a:lnTo>
                      <a:pt x="484" y="418"/>
                    </a:lnTo>
                    <a:lnTo>
                      <a:pt x="488" y="414"/>
                    </a:lnTo>
                    <a:lnTo>
                      <a:pt x="492" y="410"/>
                    </a:lnTo>
                    <a:lnTo>
                      <a:pt x="492" y="408"/>
                    </a:lnTo>
                    <a:lnTo>
                      <a:pt x="494" y="406"/>
                    </a:lnTo>
                    <a:lnTo>
                      <a:pt x="494" y="406"/>
                    </a:lnTo>
                    <a:lnTo>
                      <a:pt x="496" y="406"/>
                    </a:lnTo>
                    <a:lnTo>
                      <a:pt x="496" y="406"/>
                    </a:lnTo>
                    <a:lnTo>
                      <a:pt x="496" y="406"/>
                    </a:lnTo>
                    <a:lnTo>
                      <a:pt x="498" y="406"/>
                    </a:lnTo>
                    <a:lnTo>
                      <a:pt x="500" y="404"/>
                    </a:lnTo>
                    <a:lnTo>
                      <a:pt x="502" y="404"/>
                    </a:lnTo>
                    <a:lnTo>
                      <a:pt x="506" y="402"/>
                    </a:lnTo>
                    <a:lnTo>
                      <a:pt x="510" y="400"/>
                    </a:lnTo>
                    <a:lnTo>
                      <a:pt x="512" y="400"/>
                    </a:lnTo>
                    <a:lnTo>
                      <a:pt x="512" y="400"/>
                    </a:lnTo>
                    <a:lnTo>
                      <a:pt x="512" y="400"/>
                    </a:lnTo>
                    <a:lnTo>
                      <a:pt x="512" y="404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0" y="414"/>
                    </a:lnTo>
                    <a:lnTo>
                      <a:pt x="510" y="414"/>
                    </a:lnTo>
                    <a:lnTo>
                      <a:pt x="510" y="414"/>
                    </a:lnTo>
                    <a:lnTo>
                      <a:pt x="510" y="418"/>
                    </a:lnTo>
                    <a:lnTo>
                      <a:pt x="510" y="418"/>
                    </a:lnTo>
                    <a:lnTo>
                      <a:pt x="510" y="418"/>
                    </a:lnTo>
                    <a:lnTo>
                      <a:pt x="512" y="420"/>
                    </a:lnTo>
                    <a:lnTo>
                      <a:pt x="512" y="420"/>
                    </a:lnTo>
                    <a:lnTo>
                      <a:pt x="514" y="422"/>
                    </a:lnTo>
                    <a:lnTo>
                      <a:pt x="516" y="422"/>
                    </a:lnTo>
                    <a:lnTo>
                      <a:pt x="516" y="422"/>
                    </a:lnTo>
                    <a:lnTo>
                      <a:pt x="516" y="422"/>
                    </a:lnTo>
                    <a:lnTo>
                      <a:pt x="518" y="422"/>
                    </a:lnTo>
                    <a:lnTo>
                      <a:pt x="520" y="422"/>
                    </a:lnTo>
                    <a:lnTo>
                      <a:pt x="522" y="422"/>
                    </a:lnTo>
                    <a:lnTo>
                      <a:pt x="526" y="420"/>
                    </a:lnTo>
                    <a:lnTo>
                      <a:pt x="532" y="418"/>
                    </a:lnTo>
                    <a:lnTo>
                      <a:pt x="536" y="418"/>
                    </a:lnTo>
                    <a:lnTo>
                      <a:pt x="538" y="418"/>
                    </a:lnTo>
                    <a:lnTo>
                      <a:pt x="540" y="418"/>
                    </a:lnTo>
                    <a:lnTo>
                      <a:pt x="542" y="418"/>
                    </a:lnTo>
                    <a:lnTo>
                      <a:pt x="546" y="420"/>
                    </a:lnTo>
                    <a:lnTo>
                      <a:pt x="548" y="422"/>
                    </a:lnTo>
                    <a:lnTo>
                      <a:pt x="550" y="422"/>
                    </a:lnTo>
                    <a:lnTo>
                      <a:pt x="550" y="422"/>
                    </a:lnTo>
                    <a:lnTo>
                      <a:pt x="550" y="422"/>
                    </a:lnTo>
                    <a:lnTo>
                      <a:pt x="552" y="424"/>
                    </a:lnTo>
                    <a:lnTo>
                      <a:pt x="552" y="424"/>
                    </a:lnTo>
                    <a:lnTo>
                      <a:pt x="552" y="424"/>
                    </a:lnTo>
                    <a:lnTo>
                      <a:pt x="554" y="424"/>
                    </a:lnTo>
                    <a:lnTo>
                      <a:pt x="554" y="424"/>
                    </a:lnTo>
                    <a:lnTo>
                      <a:pt x="556" y="422"/>
                    </a:lnTo>
                    <a:lnTo>
                      <a:pt x="560" y="422"/>
                    </a:lnTo>
                    <a:lnTo>
                      <a:pt x="560" y="422"/>
                    </a:lnTo>
                    <a:lnTo>
                      <a:pt x="560" y="424"/>
                    </a:lnTo>
                    <a:lnTo>
                      <a:pt x="560" y="426"/>
                    </a:lnTo>
                    <a:lnTo>
                      <a:pt x="560" y="428"/>
                    </a:lnTo>
                    <a:lnTo>
                      <a:pt x="560" y="430"/>
                    </a:lnTo>
                    <a:lnTo>
                      <a:pt x="560" y="430"/>
                    </a:lnTo>
                    <a:lnTo>
                      <a:pt x="560" y="430"/>
                    </a:lnTo>
                    <a:lnTo>
                      <a:pt x="560" y="434"/>
                    </a:lnTo>
                    <a:lnTo>
                      <a:pt x="564" y="436"/>
                    </a:lnTo>
                    <a:lnTo>
                      <a:pt x="568" y="438"/>
                    </a:lnTo>
                    <a:lnTo>
                      <a:pt x="576" y="444"/>
                    </a:lnTo>
                    <a:lnTo>
                      <a:pt x="578" y="448"/>
                    </a:lnTo>
                    <a:lnTo>
                      <a:pt x="582" y="452"/>
                    </a:lnTo>
                    <a:lnTo>
                      <a:pt x="584" y="456"/>
                    </a:lnTo>
                    <a:lnTo>
                      <a:pt x="586" y="458"/>
                    </a:lnTo>
                    <a:lnTo>
                      <a:pt x="586" y="458"/>
                    </a:lnTo>
                    <a:lnTo>
                      <a:pt x="588" y="460"/>
                    </a:lnTo>
                    <a:lnTo>
                      <a:pt x="590" y="462"/>
                    </a:lnTo>
                    <a:lnTo>
                      <a:pt x="590" y="462"/>
                    </a:lnTo>
                    <a:lnTo>
                      <a:pt x="592" y="464"/>
                    </a:lnTo>
                    <a:lnTo>
                      <a:pt x="594" y="466"/>
                    </a:lnTo>
                    <a:lnTo>
                      <a:pt x="594" y="466"/>
                    </a:lnTo>
                    <a:lnTo>
                      <a:pt x="598" y="466"/>
                    </a:lnTo>
                    <a:lnTo>
                      <a:pt x="600" y="466"/>
                    </a:lnTo>
                    <a:lnTo>
                      <a:pt x="600" y="466"/>
                    </a:lnTo>
                    <a:lnTo>
                      <a:pt x="600" y="466"/>
                    </a:lnTo>
                    <a:lnTo>
                      <a:pt x="598" y="468"/>
                    </a:lnTo>
                    <a:lnTo>
                      <a:pt x="598" y="470"/>
                    </a:lnTo>
                    <a:lnTo>
                      <a:pt x="598" y="470"/>
                    </a:lnTo>
                    <a:lnTo>
                      <a:pt x="598" y="470"/>
                    </a:lnTo>
                    <a:lnTo>
                      <a:pt x="598" y="474"/>
                    </a:lnTo>
                    <a:lnTo>
                      <a:pt x="600" y="478"/>
                    </a:lnTo>
                    <a:lnTo>
                      <a:pt x="600" y="478"/>
                    </a:lnTo>
                    <a:lnTo>
                      <a:pt x="602" y="478"/>
                    </a:lnTo>
                    <a:lnTo>
                      <a:pt x="602" y="480"/>
                    </a:lnTo>
                    <a:lnTo>
                      <a:pt x="604" y="482"/>
                    </a:lnTo>
                    <a:lnTo>
                      <a:pt x="606" y="486"/>
                    </a:lnTo>
                    <a:lnTo>
                      <a:pt x="606" y="486"/>
                    </a:lnTo>
                    <a:lnTo>
                      <a:pt x="606" y="486"/>
                    </a:lnTo>
                    <a:lnTo>
                      <a:pt x="610" y="490"/>
                    </a:lnTo>
                    <a:lnTo>
                      <a:pt x="612" y="494"/>
                    </a:lnTo>
                    <a:lnTo>
                      <a:pt x="614" y="498"/>
                    </a:lnTo>
                    <a:lnTo>
                      <a:pt x="614" y="502"/>
                    </a:lnTo>
                    <a:lnTo>
                      <a:pt x="614" y="502"/>
                    </a:lnTo>
                    <a:lnTo>
                      <a:pt x="614" y="504"/>
                    </a:lnTo>
                    <a:lnTo>
                      <a:pt x="614" y="504"/>
                    </a:lnTo>
                    <a:lnTo>
                      <a:pt x="614" y="504"/>
                    </a:lnTo>
                    <a:lnTo>
                      <a:pt x="616" y="508"/>
                    </a:lnTo>
                    <a:lnTo>
                      <a:pt x="618" y="508"/>
                    </a:lnTo>
                    <a:lnTo>
                      <a:pt x="618" y="508"/>
                    </a:lnTo>
                    <a:lnTo>
                      <a:pt x="618" y="508"/>
                    </a:lnTo>
                    <a:lnTo>
                      <a:pt x="618" y="510"/>
                    </a:lnTo>
                    <a:lnTo>
                      <a:pt x="618" y="510"/>
                    </a:lnTo>
                    <a:lnTo>
                      <a:pt x="620" y="510"/>
                    </a:lnTo>
                    <a:lnTo>
                      <a:pt x="620" y="510"/>
                    </a:lnTo>
                    <a:lnTo>
                      <a:pt x="620" y="510"/>
                    </a:lnTo>
                    <a:lnTo>
                      <a:pt x="622" y="510"/>
                    </a:lnTo>
                    <a:lnTo>
                      <a:pt x="622" y="510"/>
                    </a:lnTo>
                    <a:lnTo>
                      <a:pt x="622" y="510"/>
                    </a:lnTo>
                    <a:lnTo>
                      <a:pt x="624" y="510"/>
                    </a:lnTo>
                    <a:lnTo>
                      <a:pt x="624" y="510"/>
                    </a:lnTo>
                    <a:lnTo>
                      <a:pt x="624" y="510"/>
                    </a:lnTo>
                    <a:lnTo>
                      <a:pt x="626" y="508"/>
                    </a:lnTo>
                    <a:lnTo>
                      <a:pt x="626" y="508"/>
                    </a:lnTo>
                    <a:lnTo>
                      <a:pt x="626" y="508"/>
                    </a:lnTo>
                    <a:lnTo>
                      <a:pt x="626" y="506"/>
                    </a:lnTo>
                    <a:lnTo>
                      <a:pt x="628" y="504"/>
                    </a:lnTo>
                    <a:lnTo>
                      <a:pt x="628" y="504"/>
                    </a:lnTo>
                    <a:lnTo>
                      <a:pt x="628" y="502"/>
                    </a:lnTo>
                    <a:lnTo>
                      <a:pt x="628" y="500"/>
                    </a:lnTo>
                    <a:lnTo>
                      <a:pt x="628" y="500"/>
                    </a:lnTo>
                    <a:lnTo>
                      <a:pt x="628" y="498"/>
                    </a:lnTo>
                    <a:lnTo>
                      <a:pt x="626" y="496"/>
                    </a:lnTo>
                    <a:lnTo>
                      <a:pt x="626" y="494"/>
                    </a:lnTo>
                    <a:lnTo>
                      <a:pt x="624" y="492"/>
                    </a:lnTo>
                    <a:lnTo>
                      <a:pt x="624" y="490"/>
                    </a:lnTo>
                    <a:lnTo>
                      <a:pt x="626" y="490"/>
                    </a:lnTo>
                    <a:lnTo>
                      <a:pt x="626" y="490"/>
                    </a:lnTo>
                    <a:lnTo>
                      <a:pt x="628" y="490"/>
                    </a:lnTo>
                    <a:lnTo>
                      <a:pt x="630" y="490"/>
                    </a:lnTo>
                    <a:lnTo>
                      <a:pt x="630" y="490"/>
                    </a:lnTo>
                    <a:lnTo>
                      <a:pt x="630" y="488"/>
                    </a:lnTo>
                    <a:lnTo>
                      <a:pt x="632" y="486"/>
                    </a:lnTo>
                    <a:lnTo>
                      <a:pt x="632" y="486"/>
                    </a:lnTo>
                    <a:lnTo>
                      <a:pt x="632" y="484"/>
                    </a:lnTo>
                    <a:lnTo>
                      <a:pt x="632" y="482"/>
                    </a:lnTo>
                    <a:lnTo>
                      <a:pt x="632" y="482"/>
                    </a:lnTo>
                    <a:lnTo>
                      <a:pt x="632" y="482"/>
                    </a:lnTo>
                    <a:lnTo>
                      <a:pt x="632" y="480"/>
                    </a:lnTo>
                    <a:lnTo>
                      <a:pt x="630" y="478"/>
                    </a:lnTo>
                    <a:lnTo>
                      <a:pt x="630" y="474"/>
                    </a:lnTo>
                    <a:lnTo>
                      <a:pt x="630" y="472"/>
                    </a:lnTo>
                    <a:lnTo>
                      <a:pt x="630" y="470"/>
                    </a:lnTo>
                    <a:lnTo>
                      <a:pt x="630" y="472"/>
                    </a:lnTo>
                    <a:lnTo>
                      <a:pt x="632" y="472"/>
                    </a:lnTo>
                    <a:lnTo>
                      <a:pt x="634" y="476"/>
                    </a:lnTo>
                    <a:lnTo>
                      <a:pt x="634" y="482"/>
                    </a:lnTo>
                    <a:lnTo>
                      <a:pt x="636" y="488"/>
                    </a:lnTo>
                    <a:lnTo>
                      <a:pt x="636" y="488"/>
                    </a:lnTo>
                    <a:lnTo>
                      <a:pt x="638" y="490"/>
                    </a:lnTo>
                    <a:lnTo>
                      <a:pt x="640" y="490"/>
                    </a:lnTo>
                    <a:lnTo>
                      <a:pt x="644" y="492"/>
                    </a:lnTo>
                    <a:lnTo>
                      <a:pt x="644" y="494"/>
                    </a:lnTo>
                    <a:lnTo>
                      <a:pt x="644" y="494"/>
                    </a:lnTo>
                    <a:lnTo>
                      <a:pt x="644" y="492"/>
                    </a:lnTo>
                    <a:lnTo>
                      <a:pt x="640" y="492"/>
                    </a:lnTo>
                    <a:lnTo>
                      <a:pt x="638" y="492"/>
                    </a:lnTo>
                    <a:lnTo>
                      <a:pt x="638" y="492"/>
                    </a:lnTo>
                    <a:lnTo>
                      <a:pt x="638" y="492"/>
                    </a:lnTo>
                    <a:lnTo>
                      <a:pt x="634" y="492"/>
                    </a:lnTo>
                    <a:lnTo>
                      <a:pt x="634" y="492"/>
                    </a:lnTo>
                    <a:lnTo>
                      <a:pt x="634" y="492"/>
                    </a:lnTo>
                    <a:lnTo>
                      <a:pt x="632" y="492"/>
                    </a:lnTo>
                    <a:lnTo>
                      <a:pt x="632" y="492"/>
                    </a:lnTo>
                    <a:lnTo>
                      <a:pt x="632" y="492"/>
                    </a:lnTo>
                    <a:lnTo>
                      <a:pt x="630" y="494"/>
                    </a:lnTo>
                    <a:lnTo>
                      <a:pt x="630" y="494"/>
                    </a:lnTo>
                    <a:lnTo>
                      <a:pt x="630" y="494"/>
                    </a:lnTo>
                    <a:lnTo>
                      <a:pt x="628" y="496"/>
                    </a:lnTo>
                    <a:lnTo>
                      <a:pt x="628" y="496"/>
                    </a:lnTo>
                    <a:lnTo>
                      <a:pt x="628" y="496"/>
                    </a:lnTo>
                    <a:lnTo>
                      <a:pt x="628" y="498"/>
                    </a:lnTo>
                    <a:lnTo>
                      <a:pt x="628" y="498"/>
                    </a:lnTo>
                    <a:lnTo>
                      <a:pt x="628" y="498"/>
                    </a:lnTo>
                    <a:lnTo>
                      <a:pt x="628" y="500"/>
                    </a:lnTo>
                    <a:lnTo>
                      <a:pt x="630" y="504"/>
                    </a:lnTo>
                    <a:lnTo>
                      <a:pt x="630" y="504"/>
                    </a:lnTo>
                    <a:lnTo>
                      <a:pt x="632" y="506"/>
                    </a:lnTo>
                    <a:lnTo>
                      <a:pt x="632" y="506"/>
                    </a:lnTo>
                    <a:lnTo>
                      <a:pt x="634" y="506"/>
                    </a:lnTo>
                    <a:lnTo>
                      <a:pt x="634" y="508"/>
                    </a:lnTo>
                    <a:lnTo>
                      <a:pt x="636" y="508"/>
                    </a:lnTo>
                    <a:lnTo>
                      <a:pt x="640" y="508"/>
                    </a:lnTo>
                    <a:lnTo>
                      <a:pt x="642" y="510"/>
                    </a:lnTo>
                    <a:lnTo>
                      <a:pt x="642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6" y="512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2" y="512"/>
                    </a:lnTo>
                    <a:lnTo>
                      <a:pt x="642" y="512"/>
                    </a:lnTo>
                    <a:lnTo>
                      <a:pt x="640" y="514"/>
                    </a:lnTo>
                    <a:lnTo>
                      <a:pt x="640" y="518"/>
                    </a:lnTo>
                    <a:lnTo>
                      <a:pt x="640" y="520"/>
                    </a:lnTo>
                    <a:lnTo>
                      <a:pt x="640" y="522"/>
                    </a:lnTo>
                    <a:lnTo>
                      <a:pt x="640" y="524"/>
                    </a:lnTo>
                    <a:lnTo>
                      <a:pt x="640" y="528"/>
                    </a:lnTo>
                    <a:lnTo>
                      <a:pt x="640" y="530"/>
                    </a:lnTo>
                    <a:lnTo>
                      <a:pt x="640" y="530"/>
                    </a:lnTo>
                    <a:lnTo>
                      <a:pt x="640" y="532"/>
                    </a:lnTo>
                    <a:lnTo>
                      <a:pt x="640" y="534"/>
                    </a:lnTo>
                    <a:lnTo>
                      <a:pt x="640" y="536"/>
                    </a:lnTo>
                    <a:lnTo>
                      <a:pt x="640" y="538"/>
                    </a:lnTo>
                    <a:lnTo>
                      <a:pt x="642" y="540"/>
                    </a:lnTo>
                    <a:lnTo>
                      <a:pt x="642" y="540"/>
                    </a:lnTo>
                    <a:lnTo>
                      <a:pt x="642" y="542"/>
                    </a:lnTo>
                    <a:lnTo>
                      <a:pt x="644" y="544"/>
                    </a:lnTo>
                    <a:lnTo>
                      <a:pt x="644" y="544"/>
                    </a:lnTo>
                    <a:lnTo>
                      <a:pt x="644" y="544"/>
                    </a:lnTo>
                    <a:lnTo>
                      <a:pt x="646" y="546"/>
                    </a:lnTo>
                    <a:lnTo>
                      <a:pt x="646" y="546"/>
                    </a:lnTo>
                    <a:lnTo>
                      <a:pt x="646" y="546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50" y="548"/>
                    </a:lnTo>
                    <a:lnTo>
                      <a:pt x="650" y="548"/>
                    </a:lnTo>
                    <a:lnTo>
                      <a:pt x="652" y="548"/>
                    </a:lnTo>
                    <a:lnTo>
                      <a:pt x="654" y="546"/>
                    </a:lnTo>
                    <a:lnTo>
                      <a:pt x="656" y="546"/>
                    </a:lnTo>
                    <a:lnTo>
                      <a:pt x="656" y="546"/>
                    </a:lnTo>
                    <a:lnTo>
                      <a:pt x="658" y="544"/>
                    </a:lnTo>
                    <a:lnTo>
                      <a:pt x="662" y="542"/>
                    </a:lnTo>
                    <a:lnTo>
                      <a:pt x="664" y="542"/>
                    </a:lnTo>
                    <a:lnTo>
                      <a:pt x="666" y="540"/>
                    </a:lnTo>
                    <a:lnTo>
                      <a:pt x="668" y="540"/>
                    </a:lnTo>
                    <a:lnTo>
                      <a:pt x="668" y="540"/>
                    </a:lnTo>
                    <a:lnTo>
                      <a:pt x="670" y="542"/>
                    </a:lnTo>
                    <a:lnTo>
                      <a:pt x="672" y="542"/>
                    </a:lnTo>
                    <a:lnTo>
                      <a:pt x="672" y="542"/>
                    </a:lnTo>
                    <a:lnTo>
                      <a:pt x="674" y="542"/>
                    </a:lnTo>
                    <a:lnTo>
                      <a:pt x="674" y="542"/>
                    </a:lnTo>
                    <a:lnTo>
                      <a:pt x="674" y="542"/>
                    </a:lnTo>
                    <a:lnTo>
                      <a:pt x="676" y="542"/>
                    </a:lnTo>
                    <a:lnTo>
                      <a:pt x="678" y="544"/>
                    </a:lnTo>
                    <a:lnTo>
                      <a:pt x="678" y="544"/>
                    </a:lnTo>
                    <a:lnTo>
                      <a:pt x="678" y="544"/>
                    </a:lnTo>
                    <a:lnTo>
                      <a:pt x="680" y="546"/>
                    </a:lnTo>
                    <a:lnTo>
                      <a:pt x="680" y="546"/>
                    </a:lnTo>
                    <a:lnTo>
                      <a:pt x="682" y="546"/>
                    </a:lnTo>
                    <a:lnTo>
                      <a:pt x="682" y="546"/>
                    </a:lnTo>
                    <a:lnTo>
                      <a:pt x="682" y="546"/>
                    </a:lnTo>
                    <a:lnTo>
                      <a:pt x="684" y="544"/>
                    </a:lnTo>
                    <a:lnTo>
                      <a:pt x="686" y="544"/>
                    </a:lnTo>
                    <a:lnTo>
                      <a:pt x="686" y="544"/>
                    </a:lnTo>
                    <a:lnTo>
                      <a:pt x="686" y="542"/>
                    </a:lnTo>
                    <a:lnTo>
                      <a:pt x="686" y="540"/>
                    </a:lnTo>
                    <a:lnTo>
                      <a:pt x="688" y="538"/>
                    </a:lnTo>
                    <a:lnTo>
                      <a:pt x="688" y="534"/>
                    </a:lnTo>
                    <a:lnTo>
                      <a:pt x="688" y="530"/>
                    </a:lnTo>
                    <a:lnTo>
                      <a:pt x="688" y="524"/>
                    </a:lnTo>
                    <a:lnTo>
                      <a:pt x="688" y="520"/>
                    </a:lnTo>
                    <a:lnTo>
                      <a:pt x="688" y="520"/>
                    </a:lnTo>
                    <a:lnTo>
                      <a:pt x="688" y="520"/>
                    </a:lnTo>
                    <a:lnTo>
                      <a:pt x="688" y="518"/>
                    </a:lnTo>
                    <a:lnTo>
                      <a:pt x="688" y="518"/>
                    </a:lnTo>
                    <a:lnTo>
                      <a:pt x="688" y="518"/>
                    </a:lnTo>
                    <a:lnTo>
                      <a:pt x="688" y="518"/>
                    </a:lnTo>
                    <a:close/>
                    <a:moveTo>
                      <a:pt x="294" y="54"/>
                    </a:moveTo>
                    <a:lnTo>
                      <a:pt x="294" y="54"/>
                    </a:lnTo>
                    <a:lnTo>
                      <a:pt x="294" y="54"/>
                    </a:lnTo>
                    <a:lnTo>
                      <a:pt x="294" y="54"/>
                    </a:lnTo>
                    <a:close/>
                    <a:moveTo>
                      <a:pt x="606" y="460"/>
                    </a:move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0"/>
                    </a:lnTo>
                    <a:lnTo>
                      <a:pt x="604" y="458"/>
                    </a:lnTo>
                    <a:lnTo>
                      <a:pt x="604" y="458"/>
                    </a:lnTo>
                    <a:lnTo>
                      <a:pt x="606" y="458"/>
                    </a:lnTo>
                    <a:lnTo>
                      <a:pt x="608" y="460"/>
                    </a:lnTo>
                    <a:lnTo>
                      <a:pt x="606" y="460"/>
                    </a:lnTo>
                    <a:close/>
                    <a:moveTo>
                      <a:pt x="654" y="516"/>
                    </a:moveTo>
                    <a:lnTo>
                      <a:pt x="654" y="516"/>
                    </a:lnTo>
                    <a:lnTo>
                      <a:pt x="652" y="516"/>
                    </a:lnTo>
                    <a:lnTo>
                      <a:pt x="650" y="514"/>
                    </a:lnTo>
                    <a:lnTo>
                      <a:pt x="648" y="514"/>
                    </a:lnTo>
                    <a:lnTo>
                      <a:pt x="648" y="514"/>
                    </a:lnTo>
                    <a:lnTo>
                      <a:pt x="648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2" y="514"/>
                    </a:lnTo>
                    <a:lnTo>
                      <a:pt x="654" y="516"/>
                    </a:lnTo>
                    <a:lnTo>
                      <a:pt x="654" y="516"/>
                    </a:lnTo>
                    <a:lnTo>
                      <a:pt x="654" y="51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52" name="Freeform 24">
                <a:extLst>
                  <a:ext uri="{FF2B5EF4-FFF2-40B4-BE49-F238E27FC236}">
                    <a16:creationId xmlns:a16="http://schemas.microsoft.com/office/drawing/2014/main" id="{69AA63A2-4AC6-4947-BFE7-4478265D4EC2}"/>
                  </a:ext>
                </a:extLst>
              </p:cNvPr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gray">
              <a:xfrm>
                <a:off x="2578959" y="4737100"/>
                <a:ext cx="426179" cy="1007062"/>
              </a:xfrm>
              <a:custGeom>
                <a:avLst/>
                <a:gdLst/>
                <a:ahLst/>
                <a:cxnLst/>
                <a:rect l="l" t="t" r="r" b="b"/>
                <a:pathLst>
                  <a:path w="426179" h="1007062">
                    <a:moveTo>
                      <a:pt x="295614" y="854662"/>
                    </a:moveTo>
                    <a:cubicBezTo>
                      <a:pt x="328952" y="856209"/>
                      <a:pt x="348002" y="856209"/>
                      <a:pt x="376577" y="862396"/>
                    </a:cubicBezTo>
                    <a:cubicBezTo>
                      <a:pt x="371815" y="876317"/>
                      <a:pt x="363877" y="879411"/>
                      <a:pt x="349590" y="882505"/>
                    </a:cubicBezTo>
                    <a:cubicBezTo>
                      <a:pt x="341652" y="896426"/>
                      <a:pt x="336890" y="897973"/>
                      <a:pt x="321014" y="901066"/>
                    </a:cubicBezTo>
                    <a:cubicBezTo>
                      <a:pt x="303552" y="914987"/>
                      <a:pt x="297202" y="897973"/>
                      <a:pt x="278152" y="894879"/>
                    </a:cubicBezTo>
                    <a:cubicBezTo>
                      <a:pt x="270214" y="882505"/>
                      <a:pt x="274977" y="874771"/>
                      <a:pt x="287677" y="868583"/>
                    </a:cubicBezTo>
                    <a:cubicBezTo>
                      <a:pt x="294027" y="860849"/>
                      <a:pt x="290852" y="865490"/>
                      <a:pt x="295614" y="854662"/>
                    </a:cubicBezTo>
                    <a:close/>
                    <a:moveTo>
                      <a:pt x="167429" y="363"/>
                    </a:moveTo>
                    <a:cubicBezTo>
                      <a:pt x="170608" y="1534"/>
                      <a:pt x="180528" y="5044"/>
                      <a:pt x="225759" y="3518"/>
                    </a:cubicBezTo>
                    <a:cubicBezTo>
                      <a:pt x="233704" y="8199"/>
                      <a:pt x="252747" y="9725"/>
                      <a:pt x="259094" y="17561"/>
                    </a:cubicBezTo>
                    <a:cubicBezTo>
                      <a:pt x="274984" y="23768"/>
                      <a:pt x="306722" y="40863"/>
                      <a:pt x="314667" y="53380"/>
                    </a:cubicBezTo>
                    <a:cubicBezTo>
                      <a:pt x="333709" y="67422"/>
                      <a:pt x="349599" y="78310"/>
                      <a:pt x="363892" y="97034"/>
                    </a:cubicBezTo>
                    <a:cubicBezTo>
                      <a:pt x="362294" y="106396"/>
                      <a:pt x="359099" y="110975"/>
                      <a:pt x="354349" y="118810"/>
                    </a:cubicBezTo>
                    <a:cubicBezTo>
                      <a:pt x="359099" y="126646"/>
                      <a:pt x="362294" y="129699"/>
                      <a:pt x="371794" y="132853"/>
                    </a:cubicBezTo>
                    <a:cubicBezTo>
                      <a:pt x="386086" y="134380"/>
                      <a:pt x="408324" y="140587"/>
                      <a:pt x="421019" y="134380"/>
                    </a:cubicBezTo>
                    <a:cubicBezTo>
                      <a:pt x="428964" y="137534"/>
                      <a:pt x="425769" y="145268"/>
                      <a:pt x="424214" y="151577"/>
                    </a:cubicBezTo>
                    <a:cubicBezTo>
                      <a:pt x="414671" y="156258"/>
                      <a:pt x="411519" y="160939"/>
                      <a:pt x="406726" y="170199"/>
                    </a:cubicBezTo>
                    <a:cubicBezTo>
                      <a:pt x="398781" y="176508"/>
                      <a:pt x="395629" y="181189"/>
                      <a:pt x="390879" y="188922"/>
                    </a:cubicBezTo>
                    <a:cubicBezTo>
                      <a:pt x="381336" y="196758"/>
                      <a:pt x="374989" y="206119"/>
                      <a:pt x="368642" y="217008"/>
                    </a:cubicBezTo>
                    <a:cubicBezTo>
                      <a:pt x="344806" y="234103"/>
                      <a:pt x="354349" y="287119"/>
                      <a:pt x="354349" y="302688"/>
                    </a:cubicBezTo>
                    <a:cubicBezTo>
                      <a:pt x="357544" y="316731"/>
                      <a:pt x="360696" y="327619"/>
                      <a:pt x="367044" y="340136"/>
                    </a:cubicBezTo>
                    <a:cubicBezTo>
                      <a:pt x="387684" y="355705"/>
                      <a:pt x="382934" y="358757"/>
                      <a:pt x="387684" y="386843"/>
                    </a:cubicBezTo>
                    <a:cubicBezTo>
                      <a:pt x="386086" y="397731"/>
                      <a:pt x="378184" y="397731"/>
                      <a:pt x="376587" y="408619"/>
                    </a:cubicBezTo>
                    <a:cubicBezTo>
                      <a:pt x="367044" y="427343"/>
                      <a:pt x="352751" y="446066"/>
                      <a:pt x="333709" y="455428"/>
                    </a:cubicBezTo>
                    <a:cubicBezTo>
                      <a:pt x="325764" y="456955"/>
                      <a:pt x="270234" y="469471"/>
                      <a:pt x="268637" y="470997"/>
                    </a:cubicBezTo>
                    <a:cubicBezTo>
                      <a:pt x="257496" y="478833"/>
                      <a:pt x="260692" y="494402"/>
                      <a:pt x="257496" y="506816"/>
                    </a:cubicBezTo>
                    <a:cubicBezTo>
                      <a:pt x="246399" y="508445"/>
                      <a:pt x="244801" y="513024"/>
                      <a:pt x="240052" y="522385"/>
                    </a:cubicBezTo>
                    <a:cubicBezTo>
                      <a:pt x="190827" y="525540"/>
                      <a:pt x="190827" y="519333"/>
                      <a:pt x="197174" y="553625"/>
                    </a:cubicBezTo>
                    <a:cubicBezTo>
                      <a:pt x="217814" y="555152"/>
                      <a:pt x="228954" y="559833"/>
                      <a:pt x="224161" y="581609"/>
                    </a:cubicBezTo>
                    <a:cubicBezTo>
                      <a:pt x="198772" y="583237"/>
                      <a:pt x="187674" y="580083"/>
                      <a:pt x="192424" y="606540"/>
                    </a:cubicBezTo>
                    <a:cubicBezTo>
                      <a:pt x="190827" y="617530"/>
                      <a:pt x="187674" y="623737"/>
                      <a:pt x="182881" y="633099"/>
                    </a:cubicBezTo>
                    <a:cubicBezTo>
                      <a:pt x="171784" y="640833"/>
                      <a:pt x="173382" y="650194"/>
                      <a:pt x="168632" y="661083"/>
                    </a:cubicBezTo>
                    <a:cubicBezTo>
                      <a:pt x="136852" y="662711"/>
                      <a:pt x="136852" y="658030"/>
                      <a:pt x="133700" y="686013"/>
                    </a:cubicBezTo>
                    <a:cubicBezTo>
                      <a:pt x="140047" y="695375"/>
                      <a:pt x="144797" y="706263"/>
                      <a:pt x="154340" y="712572"/>
                    </a:cubicBezTo>
                    <a:cubicBezTo>
                      <a:pt x="173382" y="715625"/>
                      <a:pt x="171784" y="723461"/>
                      <a:pt x="176534" y="740556"/>
                    </a:cubicBezTo>
                    <a:cubicBezTo>
                      <a:pt x="171784" y="746865"/>
                      <a:pt x="170187" y="754599"/>
                      <a:pt x="163839" y="760806"/>
                    </a:cubicBezTo>
                    <a:cubicBezTo>
                      <a:pt x="149547" y="774849"/>
                      <a:pt x="138449" y="776477"/>
                      <a:pt x="133700" y="796727"/>
                    </a:cubicBezTo>
                    <a:cubicBezTo>
                      <a:pt x="140047" y="806089"/>
                      <a:pt x="141645" y="810668"/>
                      <a:pt x="135297" y="820030"/>
                    </a:cubicBezTo>
                    <a:cubicBezTo>
                      <a:pt x="100365" y="821658"/>
                      <a:pt x="105114" y="823184"/>
                      <a:pt x="101919" y="859003"/>
                    </a:cubicBezTo>
                    <a:cubicBezTo>
                      <a:pt x="105114" y="866839"/>
                      <a:pt x="109864" y="871520"/>
                      <a:pt x="111462" y="880881"/>
                    </a:cubicBezTo>
                    <a:cubicBezTo>
                      <a:pt x="124157" y="897977"/>
                      <a:pt x="119407" y="910493"/>
                      <a:pt x="121005" y="933796"/>
                    </a:cubicBezTo>
                    <a:cubicBezTo>
                      <a:pt x="130504" y="936950"/>
                      <a:pt x="133700" y="940105"/>
                      <a:pt x="138449" y="947839"/>
                    </a:cubicBezTo>
                    <a:cubicBezTo>
                      <a:pt x="151144" y="957200"/>
                      <a:pt x="155894" y="971243"/>
                      <a:pt x="163839" y="983658"/>
                    </a:cubicBezTo>
                    <a:cubicBezTo>
                      <a:pt x="171784" y="988339"/>
                      <a:pt x="189272" y="999227"/>
                      <a:pt x="197174" y="1002381"/>
                    </a:cubicBezTo>
                    <a:lnTo>
                      <a:pt x="187674" y="1007062"/>
                    </a:lnTo>
                    <a:cubicBezTo>
                      <a:pt x="190827" y="986812"/>
                      <a:pt x="130504" y="991493"/>
                      <a:pt x="116212" y="988339"/>
                    </a:cubicBezTo>
                    <a:cubicBezTo>
                      <a:pt x="109065" y="986812"/>
                      <a:pt x="107090" y="987982"/>
                      <a:pt x="106102" y="988567"/>
                    </a:cubicBezTo>
                    <a:lnTo>
                      <a:pt x="101919" y="985286"/>
                    </a:lnTo>
                    <a:cubicBezTo>
                      <a:pt x="95572" y="977450"/>
                      <a:pt x="84474" y="955674"/>
                      <a:pt x="76529" y="943158"/>
                    </a:cubicBezTo>
                    <a:cubicBezTo>
                      <a:pt x="68584" y="930743"/>
                      <a:pt x="57487" y="921381"/>
                      <a:pt x="49542" y="913546"/>
                    </a:cubicBezTo>
                    <a:cubicBezTo>
                      <a:pt x="41597" y="905812"/>
                      <a:pt x="25750" y="904184"/>
                      <a:pt x="24152" y="894822"/>
                    </a:cubicBezTo>
                    <a:cubicBezTo>
                      <a:pt x="22554" y="885562"/>
                      <a:pt x="38445" y="866839"/>
                      <a:pt x="35249" y="854322"/>
                    </a:cubicBezTo>
                    <a:cubicBezTo>
                      <a:pt x="32097" y="841908"/>
                      <a:pt x="3512" y="835599"/>
                      <a:pt x="360" y="821658"/>
                    </a:cubicBezTo>
                    <a:cubicBezTo>
                      <a:pt x="-2836" y="807615"/>
                      <a:pt x="16207" y="790418"/>
                      <a:pt x="20957" y="773322"/>
                    </a:cubicBezTo>
                    <a:cubicBezTo>
                      <a:pt x="25750" y="756125"/>
                      <a:pt x="28902" y="742184"/>
                      <a:pt x="33695" y="718780"/>
                    </a:cubicBezTo>
                    <a:cubicBezTo>
                      <a:pt x="38445" y="695375"/>
                      <a:pt x="51139" y="656402"/>
                      <a:pt x="49542" y="629944"/>
                    </a:cubicBezTo>
                    <a:cubicBezTo>
                      <a:pt x="47944" y="603487"/>
                      <a:pt x="25750" y="578556"/>
                      <a:pt x="24152" y="559833"/>
                    </a:cubicBezTo>
                    <a:cubicBezTo>
                      <a:pt x="22554" y="541109"/>
                      <a:pt x="32097" y="538056"/>
                      <a:pt x="35249" y="520859"/>
                    </a:cubicBezTo>
                    <a:cubicBezTo>
                      <a:pt x="38445" y="503764"/>
                      <a:pt x="44792" y="481885"/>
                      <a:pt x="47944" y="460109"/>
                    </a:cubicBezTo>
                    <a:cubicBezTo>
                      <a:pt x="51139" y="438231"/>
                      <a:pt x="52737" y="411774"/>
                      <a:pt x="59085" y="389997"/>
                    </a:cubicBezTo>
                    <a:cubicBezTo>
                      <a:pt x="63834" y="377481"/>
                      <a:pt x="84474" y="341662"/>
                      <a:pt x="86072" y="324465"/>
                    </a:cubicBezTo>
                    <a:cubicBezTo>
                      <a:pt x="76529" y="302688"/>
                      <a:pt x="76529" y="270024"/>
                      <a:pt x="73377" y="244991"/>
                    </a:cubicBezTo>
                    <a:cubicBezTo>
                      <a:pt x="76529" y="218534"/>
                      <a:pt x="70182" y="185869"/>
                      <a:pt x="87670" y="165518"/>
                    </a:cubicBezTo>
                    <a:cubicBezTo>
                      <a:pt x="94017" y="149949"/>
                      <a:pt x="106712" y="154629"/>
                      <a:pt x="111462" y="146896"/>
                    </a:cubicBezTo>
                    <a:cubicBezTo>
                      <a:pt x="116212" y="139060"/>
                      <a:pt x="121005" y="128172"/>
                      <a:pt x="121005" y="118810"/>
                    </a:cubicBezTo>
                    <a:cubicBezTo>
                      <a:pt x="121005" y="109449"/>
                      <a:pt x="113060" y="101715"/>
                      <a:pt x="116212" y="90725"/>
                    </a:cubicBezTo>
                    <a:cubicBezTo>
                      <a:pt x="122559" y="76784"/>
                      <a:pt x="121005" y="67422"/>
                      <a:pt x="130504" y="54906"/>
                    </a:cubicBezTo>
                    <a:cubicBezTo>
                      <a:pt x="144797" y="51853"/>
                      <a:pt x="147992" y="23768"/>
                      <a:pt x="149547" y="11251"/>
                    </a:cubicBezTo>
                    <a:cubicBezTo>
                      <a:pt x="167812" y="363"/>
                      <a:pt x="164249" y="-807"/>
                      <a:pt x="167429" y="36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53" name="Freeform 21">
                <a:extLst>
                  <a:ext uri="{FF2B5EF4-FFF2-40B4-BE49-F238E27FC236}">
                    <a16:creationId xmlns:a16="http://schemas.microsoft.com/office/drawing/2014/main" id="{293152B6-0B52-4BF3-8199-58ED03278B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0125" y="1279525"/>
                <a:ext cx="4076700" cy="1876425"/>
              </a:xfrm>
              <a:custGeom>
                <a:avLst/>
                <a:gdLst>
                  <a:gd name="T0" fmla="*/ 550 w 2568"/>
                  <a:gd name="T1" fmla="*/ 246 h 1182"/>
                  <a:gd name="T2" fmla="*/ 746 w 2568"/>
                  <a:gd name="T3" fmla="*/ 24 h 1182"/>
                  <a:gd name="T4" fmla="*/ 602 w 2568"/>
                  <a:gd name="T5" fmla="*/ 80 h 1182"/>
                  <a:gd name="T6" fmla="*/ 514 w 2568"/>
                  <a:gd name="T7" fmla="*/ 210 h 1182"/>
                  <a:gd name="T8" fmla="*/ 0 w 2568"/>
                  <a:gd name="T9" fmla="*/ 880 h 1182"/>
                  <a:gd name="T10" fmla="*/ 2398 w 2568"/>
                  <a:gd name="T11" fmla="*/ 330 h 1182"/>
                  <a:gd name="T12" fmla="*/ 2492 w 2568"/>
                  <a:gd name="T13" fmla="*/ 480 h 1182"/>
                  <a:gd name="T14" fmla="*/ 2246 w 2568"/>
                  <a:gd name="T15" fmla="*/ 404 h 1182"/>
                  <a:gd name="T16" fmla="*/ 2142 w 2568"/>
                  <a:gd name="T17" fmla="*/ 402 h 1182"/>
                  <a:gd name="T18" fmla="*/ 1968 w 2568"/>
                  <a:gd name="T19" fmla="*/ 284 h 1182"/>
                  <a:gd name="T20" fmla="*/ 1802 w 2568"/>
                  <a:gd name="T21" fmla="*/ 308 h 1182"/>
                  <a:gd name="T22" fmla="*/ 1658 w 2568"/>
                  <a:gd name="T23" fmla="*/ 286 h 1182"/>
                  <a:gd name="T24" fmla="*/ 1562 w 2568"/>
                  <a:gd name="T25" fmla="*/ 232 h 1182"/>
                  <a:gd name="T26" fmla="*/ 1420 w 2568"/>
                  <a:gd name="T27" fmla="*/ 182 h 1182"/>
                  <a:gd name="T28" fmla="*/ 1380 w 2568"/>
                  <a:gd name="T29" fmla="*/ 190 h 1182"/>
                  <a:gd name="T30" fmla="*/ 1344 w 2568"/>
                  <a:gd name="T31" fmla="*/ 206 h 1182"/>
                  <a:gd name="T32" fmla="*/ 1386 w 2568"/>
                  <a:gd name="T33" fmla="*/ 28 h 1182"/>
                  <a:gd name="T34" fmla="*/ 1232 w 2568"/>
                  <a:gd name="T35" fmla="*/ 36 h 1182"/>
                  <a:gd name="T36" fmla="*/ 1096 w 2568"/>
                  <a:gd name="T37" fmla="*/ 94 h 1182"/>
                  <a:gd name="T38" fmla="*/ 928 w 2568"/>
                  <a:gd name="T39" fmla="*/ 210 h 1182"/>
                  <a:gd name="T40" fmla="*/ 896 w 2568"/>
                  <a:gd name="T41" fmla="*/ 264 h 1182"/>
                  <a:gd name="T42" fmla="*/ 838 w 2568"/>
                  <a:gd name="T43" fmla="*/ 234 h 1182"/>
                  <a:gd name="T44" fmla="*/ 826 w 2568"/>
                  <a:gd name="T45" fmla="*/ 444 h 1182"/>
                  <a:gd name="T46" fmla="*/ 796 w 2568"/>
                  <a:gd name="T47" fmla="*/ 308 h 1182"/>
                  <a:gd name="T48" fmla="*/ 622 w 2568"/>
                  <a:gd name="T49" fmla="*/ 388 h 1182"/>
                  <a:gd name="T50" fmla="*/ 534 w 2568"/>
                  <a:gd name="T51" fmla="*/ 444 h 1182"/>
                  <a:gd name="T52" fmla="*/ 388 w 2568"/>
                  <a:gd name="T53" fmla="*/ 484 h 1182"/>
                  <a:gd name="T54" fmla="*/ 328 w 2568"/>
                  <a:gd name="T55" fmla="*/ 534 h 1182"/>
                  <a:gd name="T56" fmla="*/ 268 w 2568"/>
                  <a:gd name="T57" fmla="*/ 612 h 1182"/>
                  <a:gd name="T58" fmla="*/ 324 w 2568"/>
                  <a:gd name="T59" fmla="*/ 496 h 1182"/>
                  <a:gd name="T60" fmla="*/ 144 w 2568"/>
                  <a:gd name="T61" fmla="*/ 466 h 1182"/>
                  <a:gd name="T62" fmla="*/ 136 w 2568"/>
                  <a:gd name="T63" fmla="*/ 722 h 1182"/>
                  <a:gd name="T64" fmla="*/ 160 w 2568"/>
                  <a:gd name="T65" fmla="*/ 860 h 1182"/>
                  <a:gd name="T66" fmla="*/ 282 w 2568"/>
                  <a:gd name="T67" fmla="*/ 988 h 1182"/>
                  <a:gd name="T68" fmla="*/ 310 w 2568"/>
                  <a:gd name="T69" fmla="*/ 1134 h 1182"/>
                  <a:gd name="T70" fmla="*/ 432 w 2568"/>
                  <a:gd name="T71" fmla="*/ 1088 h 1182"/>
                  <a:gd name="T72" fmla="*/ 432 w 2568"/>
                  <a:gd name="T73" fmla="*/ 994 h 1182"/>
                  <a:gd name="T74" fmla="*/ 628 w 2568"/>
                  <a:gd name="T75" fmla="*/ 962 h 1182"/>
                  <a:gd name="T76" fmla="*/ 806 w 2568"/>
                  <a:gd name="T77" fmla="*/ 890 h 1182"/>
                  <a:gd name="T78" fmla="*/ 956 w 2568"/>
                  <a:gd name="T79" fmla="*/ 978 h 1182"/>
                  <a:gd name="T80" fmla="*/ 1188 w 2568"/>
                  <a:gd name="T81" fmla="*/ 998 h 1182"/>
                  <a:gd name="T82" fmla="*/ 1464 w 2568"/>
                  <a:gd name="T83" fmla="*/ 998 h 1182"/>
                  <a:gd name="T84" fmla="*/ 1658 w 2568"/>
                  <a:gd name="T85" fmla="*/ 1010 h 1182"/>
                  <a:gd name="T86" fmla="*/ 1690 w 2568"/>
                  <a:gd name="T87" fmla="*/ 1148 h 1182"/>
                  <a:gd name="T88" fmla="*/ 1796 w 2568"/>
                  <a:gd name="T89" fmla="*/ 890 h 1182"/>
                  <a:gd name="T90" fmla="*/ 1850 w 2568"/>
                  <a:gd name="T91" fmla="*/ 770 h 1182"/>
                  <a:gd name="T92" fmla="*/ 2000 w 2568"/>
                  <a:gd name="T93" fmla="*/ 766 h 1182"/>
                  <a:gd name="T94" fmla="*/ 2144 w 2568"/>
                  <a:gd name="T95" fmla="*/ 706 h 1182"/>
                  <a:gd name="T96" fmla="*/ 2048 w 2568"/>
                  <a:gd name="T97" fmla="*/ 878 h 1182"/>
                  <a:gd name="T98" fmla="*/ 2120 w 2568"/>
                  <a:gd name="T99" fmla="*/ 902 h 1182"/>
                  <a:gd name="T100" fmla="*/ 2156 w 2568"/>
                  <a:gd name="T101" fmla="*/ 794 h 1182"/>
                  <a:gd name="T102" fmla="*/ 2222 w 2568"/>
                  <a:gd name="T103" fmla="*/ 734 h 1182"/>
                  <a:gd name="T104" fmla="*/ 2420 w 2568"/>
                  <a:gd name="T105" fmla="*/ 640 h 1182"/>
                  <a:gd name="T106" fmla="*/ 2460 w 2568"/>
                  <a:gd name="T107" fmla="*/ 560 h 1182"/>
                  <a:gd name="T108" fmla="*/ 2566 w 2568"/>
                  <a:gd name="T109" fmla="*/ 538 h 1182"/>
                  <a:gd name="T110" fmla="*/ 856 w 2568"/>
                  <a:gd name="T111" fmla="*/ 302 h 1182"/>
                  <a:gd name="T112" fmla="*/ 1752 w 2568"/>
                  <a:gd name="T113" fmla="*/ 90 h 1182"/>
                  <a:gd name="T114" fmla="*/ 1762 w 2568"/>
                  <a:gd name="T115" fmla="*/ 200 h 1182"/>
                  <a:gd name="T116" fmla="*/ 1860 w 2568"/>
                  <a:gd name="T117" fmla="*/ 150 h 1182"/>
                  <a:gd name="T118" fmla="*/ 1830 w 2568"/>
                  <a:gd name="T119" fmla="*/ 68 h 1182"/>
                  <a:gd name="T120" fmla="*/ 1972 w 2568"/>
                  <a:gd name="T121" fmla="*/ 146 h 1182"/>
                  <a:gd name="T122" fmla="*/ 1870 w 2568"/>
                  <a:gd name="T123" fmla="*/ 202 h 1182"/>
                  <a:gd name="T124" fmla="*/ 2222 w 2568"/>
                  <a:gd name="T125" fmla="*/ 860 h 1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68" h="1182">
                    <a:moveTo>
                      <a:pt x="486" y="312"/>
                    </a:moveTo>
                    <a:lnTo>
                      <a:pt x="486" y="318"/>
                    </a:lnTo>
                    <a:lnTo>
                      <a:pt x="486" y="318"/>
                    </a:lnTo>
                    <a:lnTo>
                      <a:pt x="486" y="318"/>
                    </a:lnTo>
                    <a:lnTo>
                      <a:pt x="488" y="320"/>
                    </a:lnTo>
                    <a:lnTo>
                      <a:pt x="488" y="320"/>
                    </a:lnTo>
                    <a:lnTo>
                      <a:pt x="488" y="320"/>
                    </a:lnTo>
                    <a:lnTo>
                      <a:pt x="490" y="320"/>
                    </a:lnTo>
                    <a:lnTo>
                      <a:pt x="490" y="320"/>
                    </a:lnTo>
                    <a:lnTo>
                      <a:pt x="490" y="320"/>
                    </a:lnTo>
                    <a:lnTo>
                      <a:pt x="494" y="320"/>
                    </a:lnTo>
                    <a:lnTo>
                      <a:pt x="496" y="320"/>
                    </a:lnTo>
                    <a:lnTo>
                      <a:pt x="496" y="320"/>
                    </a:lnTo>
                    <a:lnTo>
                      <a:pt x="496" y="320"/>
                    </a:lnTo>
                    <a:lnTo>
                      <a:pt x="500" y="326"/>
                    </a:lnTo>
                    <a:lnTo>
                      <a:pt x="502" y="330"/>
                    </a:lnTo>
                    <a:lnTo>
                      <a:pt x="502" y="334"/>
                    </a:lnTo>
                    <a:lnTo>
                      <a:pt x="502" y="336"/>
                    </a:lnTo>
                    <a:lnTo>
                      <a:pt x="502" y="336"/>
                    </a:lnTo>
                    <a:lnTo>
                      <a:pt x="502" y="338"/>
                    </a:lnTo>
                    <a:lnTo>
                      <a:pt x="502" y="338"/>
                    </a:lnTo>
                    <a:lnTo>
                      <a:pt x="500" y="338"/>
                    </a:lnTo>
                    <a:lnTo>
                      <a:pt x="500" y="338"/>
                    </a:lnTo>
                    <a:lnTo>
                      <a:pt x="498" y="340"/>
                    </a:lnTo>
                    <a:lnTo>
                      <a:pt x="498" y="340"/>
                    </a:lnTo>
                    <a:lnTo>
                      <a:pt x="498" y="340"/>
                    </a:lnTo>
                    <a:lnTo>
                      <a:pt x="498" y="342"/>
                    </a:lnTo>
                    <a:lnTo>
                      <a:pt x="500" y="342"/>
                    </a:lnTo>
                    <a:lnTo>
                      <a:pt x="500" y="344"/>
                    </a:lnTo>
                    <a:lnTo>
                      <a:pt x="502" y="344"/>
                    </a:lnTo>
                    <a:lnTo>
                      <a:pt x="504" y="346"/>
                    </a:lnTo>
                    <a:lnTo>
                      <a:pt x="506" y="346"/>
                    </a:lnTo>
                    <a:lnTo>
                      <a:pt x="506" y="348"/>
                    </a:lnTo>
                    <a:lnTo>
                      <a:pt x="506" y="348"/>
                    </a:lnTo>
                    <a:lnTo>
                      <a:pt x="506" y="350"/>
                    </a:lnTo>
                    <a:lnTo>
                      <a:pt x="508" y="352"/>
                    </a:lnTo>
                    <a:lnTo>
                      <a:pt x="508" y="352"/>
                    </a:lnTo>
                    <a:lnTo>
                      <a:pt x="508" y="352"/>
                    </a:lnTo>
                    <a:lnTo>
                      <a:pt x="510" y="356"/>
                    </a:lnTo>
                    <a:lnTo>
                      <a:pt x="510" y="356"/>
                    </a:lnTo>
                    <a:lnTo>
                      <a:pt x="510" y="356"/>
                    </a:lnTo>
                    <a:lnTo>
                      <a:pt x="514" y="358"/>
                    </a:lnTo>
                    <a:lnTo>
                      <a:pt x="514" y="358"/>
                    </a:lnTo>
                    <a:lnTo>
                      <a:pt x="514" y="358"/>
                    </a:lnTo>
                    <a:lnTo>
                      <a:pt x="520" y="360"/>
                    </a:lnTo>
                    <a:lnTo>
                      <a:pt x="520" y="360"/>
                    </a:lnTo>
                    <a:lnTo>
                      <a:pt x="520" y="360"/>
                    </a:lnTo>
                    <a:lnTo>
                      <a:pt x="526" y="364"/>
                    </a:lnTo>
                    <a:lnTo>
                      <a:pt x="526" y="364"/>
                    </a:lnTo>
                    <a:lnTo>
                      <a:pt x="528" y="364"/>
                    </a:lnTo>
                    <a:lnTo>
                      <a:pt x="538" y="362"/>
                    </a:lnTo>
                    <a:lnTo>
                      <a:pt x="550" y="364"/>
                    </a:lnTo>
                    <a:lnTo>
                      <a:pt x="560" y="362"/>
                    </a:lnTo>
                    <a:lnTo>
                      <a:pt x="566" y="362"/>
                    </a:lnTo>
                    <a:lnTo>
                      <a:pt x="570" y="362"/>
                    </a:lnTo>
                    <a:lnTo>
                      <a:pt x="570" y="362"/>
                    </a:lnTo>
                    <a:lnTo>
                      <a:pt x="572" y="360"/>
                    </a:lnTo>
                    <a:lnTo>
                      <a:pt x="574" y="360"/>
                    </a:lnTo>
                    <a:lnTo>
                      <a:pt x="574" y="360"/>
                    </a:lnTo>
                    <a:lnTo>
                      <a:pt x="574" y="358"/>
                    </a:lnTo>
                    <a:lnTo>
                      <a:pt x="574" y="356"/>
                    </a:lnTo>
                    <a:lnTo>
                      <a:pt x="574" y="356"/>
                    </a:lnTo>
                    <a:lnTo>
                      <a:pt x="574" y="356"/>
                    </a:lnTo>
                    <a:lnTo>
                      <a:pt x="574" y="354"/>
                    </a:lnTo>
                    <a:lnTo>
                      <a:pt x="574" y="354"/>
                    </a:lnTo>
                    <a:lnTo>
                      <a:pt x="574" y="354"/>
                    </a:lnTo>
                    <a:lnTo>
                      <a:pt x="572" y="352"/>
                    </a:lnTo>
                    <a:lnTo>
                      <a:pt x="570" y="348"/>
                    </a:lnTo>
                    <a:lnTo>
                      <a:pt x="568" y="346"/>
                    </a:lnTo>
                    <a:lnTo>
                      <a:pt x="568" y="346"/>
                    </a:lnTo>
                    <a:lnTo>
                      <a:pt x="566" y="340"/>
                    </a:lnTo>
                    <a:lnTo>
                      <a:pt x="564" y="336"/>
                    </a:lnTo>
                    <a:lnTo>
                      <a:pt x="562" y="328"/>
                    </a:lnTo>
                    <a:lnTo>
                      <a:pt x="560" y="322"/>
                    </a:lnTo>
                    <a:lnTo>
                      <a:pt x="558" y="318"/>
                    </a:lnTo>
                    <a:lnTo>
                      <a:pt x="558" y="318"/>
                    </a:lnTo>
                    <a:lnTo>
                      <a:pt x="558" y="318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50" y="310"/>
                    </a:lnTo>
                    <a:lnTo>
                      <a:pt x="550" y="308"/>
                    </a:lnTo>
                    <a:lnTo>
                      <a:pt x="550" y="306"/>
                    </a:lnTo>
                    <a:lnTo>
                      <a:pt x="548" y="304"/>
                    </a:lnTo>
                    <a:lnTo>
                      <a:pt x="548" y="304"/>
                    </a:lnTo>
                    <a:lnTo>
                      <a:pt x="548" y="302"/>
                    </a:lnTo>
                    <a:lnTo>
                      <a:pt x="546" y="300"/>
                    </a:lnTo>
                    <a:lnTo>
                      <a:pt x="546" y="300"/>
                    </a:lnTo>
                    <a:lnTo>
                      <a:pt x="548" y="298"/>
                    </a:lnTo>
                    <a:lnTo>
                      <a:pt x="548" y="296"/>
                    </a:lnTo>
                    <a:lnTo>
                      <a:pt x="548" y="294"/>
                    </a:lnTo>
                    <a:lnTo>
                      <a:pt x="548" y="292"/>
                    </a:lnTo>
                    <a:lnTo>
                      <a:pt x="548" y="290"/>
                    </a:lnTo>
                    <a:lnTo>
                      <a:pt x="548" y="288"/>
                    </a:lnTo>
                    <a:lnTo>
                      <a:pt x="550" y="284"/>
                    </a:lnTo>
                    <a:lnTo>
                      <a:pt x="548" y="278"/>
                    </a:lnTo>
                    <a:lnTo>
                      <a:pt x="548" y="268"/>
                    </a:lnTo>
                    <a:lnTo>
                      <a:pt x="548" y="260"/>
                    </a:lnTo>
                    <a:lnTo>
                      <a:pt x="548" y="254"/>
                    </a:lnTo>
                    <a:lnTo>
                      <a:pt x="548" y="248"/>
                    </a:lnTo>
                    <a:lnTo>
                      <a:pt x="550" y="246"/>
                    </a:lnTo>
                    <a:lnTo>
                      <a:pt x="550" y="246"/>
                    </a:lnTo>
                    <a:lnTo>
                      <a:pt x="550" y="242"/>
                    </a:lnTo>
                    <a:lnTo>
                      <a:pt x="552" y="240"/>
                    </a:lnTo>
                    <a:lnTo>
                      <a:pt x="554" y="238"/>
                    </a:lnTo>
                    <a:lnTo>
                      <a:pt x="556" y="236"/>
                    </a:lnTo>
                    <a:lnTo>
                      <a:pt x="560" y="234"/>
                    </a:lnTo>
                    <a:lnTo>
                      <a:pt x="560" y="234"/>
                    </a:lnTo>
                    <a:lnTo>
                      <a:pt x="562" y="232"/>
                    </a:lnTo>
                    <a:lnTo>
                      <a:pt x="562" y="228"/>
                    </a:lnTo>
                    <a:lnTo>
                      <a:pt x="562" y="226"/>
                    </a:lnTo>
                    <a:lnTo>
                      <a:pt x="564" y="220"/>
                    </a:lnTo>
                    <a:lnTo>
                      <a:pt x="564" y="218"/>
                    </a:lnTo>
                    <a:lnTo>
                      <a:pt x="566" y="216"/>
                    </a:lnTo>
                    <a:lnTo>
                      <a:pt x="568" y="214"/>
                    </a:lnTo>
                    <a:lnTo>
                      <a:pt x="570" y="212"/>
                    </a:lnTo>
                    <a:lnTo>
                      <a:pt x="570" y="212"/>
                    </a:lnTo>
                    <a:lnTo>
                      <a:pt x="572" y="210"/>
                    </a:lnTo>
                    <a:lnTo>
                      <a:pt x="574" y="202"/>
                    </a:lnTo>
                    <a:lnTo>
                      <a:pt x="578" y="194"/>
                    </a:lnTo>
                    <a:lnTo>
                      <a:pt x="582" y="186"/>
                    </a:lnTo>
                    <a:lnTo>
                      <a:pt x="584" y="182"/>
                    </a:lnTo>
                    <a:lnTo>
                      <a:pt x="586" y="178"/>
                    </a:lnTo>
                    <a:lnTo>
                      <a:pt x="586" y="178"/>
                    </a:lnTo>
                    <a:lnTo>
                      <a:pt x="586" y="178"/>
                    </a:lnTo>
                    <a:lnTo>
                      <a:pt x="586" y="174"/>
                    </a:lnTo>
                    <a:lnTo>
                      <a:pt x="586" y="170"/>
                    </a:lnTo>
                    <a:lnTo>
                      <a:pt x="588" y="166"/>
                    </a:lnTo>
                    <a:lnTo>
                      <a:pt x="588" y="166"/>
                    </a:lnTo>
                    <a:lnTo>
                      <a:pt x="588" y="166"/>
                    </a:lnTo>
                    <a:lnTo>
                      <a:pt x="590" y="164"/>
                    </a:lnTo>
                    <a:lnTo>
                      <a:pt x="594" y="164"/>
                    </a:lnTo>
                    <a:lnTo>
                      <a:pt x="598" y="164"/>
                    </a:lnTo>
                    <a:lnTo>
                      <a:pt x="602" y="164"/>
                    </a:lnTo>
                    <a:lnTo>
                      <a:pt x="602" y="164"/>
                    </a:lnTo>
                    <a:lnTo>
                      <a:pt x="602" y="164"/>
                    </a:lnTo>
                    <a:lnTo>
                      <a:pt x="606" y="162"/>
                    </a:lnTo>
                    <a:lnTo>
                      <a:pt x="606" y="162"/>
                    </a:lnTo>
                    <a:lnTo>
                      <a:pt x="606" y="162"/>
                    </a:lnTo>
                    <a:lnTo>
                      <a:pt x="608" y="160"/>
                    </a:lnTo>
                    <a:lnTo>
                      <a:pt x="608" y="160"/>
                    </a:lnTo>
                    <a:lnTo>
                      <a:pt x="608" y="158"/>
                    </a:lnTo>
                    <a:lnTo>
                      <a:pt x="610" y="156"/>
                    </a:lnTo>
                    <a:lnTo>
                      <a:pt x="610" y="154"/>
                    </a:lnTo>
                    <a:lnTo>
                      <a:pt x="612" y="154"/>
                    </a:lnTo>
                    <a:lnTo>
                      <a:pt x="612" y="152"/>
                    </a:lnTo>
                    <a:lnTo>
                      <a:pt x="614" y="150"/>
                    </a:lnTo>
                    <a:lnTo>
                      <a:pt x="616" y="150"/>
                    </a:lnTo>
                    <a:lnTo>
                      <a:pt x="616" y="150"/>
                    </a:lnTo>
                    <a:lnTo>
                      <a:pt x="618" y="148"/>
                    </a:lnTo>
                    <a:lnTo>
                      <a:pt x="618" y="144"/>
                    </a:lnTo>
                    <a:lnTo>
                      <a:pt x="620" y="142"/>
                    </a:lnTo>
                    <a:lnTo>
                      <a:pt x="622" y="134"/>
                    </a:lnTo>
                    <a:lnTo>
                      <a:pt x="622" y="130"/>
                    </a:lnTo>
                    <a:lnTo>
                      <a:pt x="624" y="128"/>
                    </a:lnTo>
                    <a:lnTo>
                      <a:pt x="626" y="124"/>
                    </a:lnTo>
                    <a:lnTo>
                      <a:pt x="626" y="124"/>
                    </a:lnTo>
                    <a:lnTo>
                      <a:pt x="630" y="122"/>
                    </a:lnTo>
                    <a:lnTo>
                      <a:pt x="632" y="122"/>
                    </a:lnTo>
                    <a:lnTo>
                      <a:pt x="638" y="120"/>
                    </a:lnTo>
                    <a:lnTo>
                      <a:pt x="642" y="118"/>
                    </a:lnTo>
                    <a:lnTo>
                      <a:pt x="644" y="118"/>
                    </a:lnTo>
                    <a:lnTo>
                      <a:pt x="646" y="118"/>
                    </a:lnTo>
                    <a:lnTo>
                      <a:pt x="646" y="118"/>
                    </a:lnTo>
                    <a:lnTo>
                      <a:pt x="646" y="118"/>
                    </a:lnTo>
                    <a:lnTo>
                      <a:pt x="648" y="118"/>
                    </a:lnTo>
                    <a:lnTo>
                      <a:pt x="652" y="114"/>
                    </a:lnTo>
                    <a:lnTo>
                      <a:pt x="654" y="110"/>
                    </a:lnTo>
                    <a:lnTo>
                      <a:pt x="656" y="108"/>
                    </a:lnTo>
                    <a:lnTo>
                      <a:pt x="658" y="106"/>
                    </a:lnTo>
                    <a:lnTo>
                      <a:pt x="660" y="102"/>
                    </a:lnTo>
                    <a:lnTo>
                      <a:pt x="662" y="100"/>
                    </a:lnTo>
                    <a:lnTo>
                      <a:pt x="662" y="100"/>
                    </a:lnTo>
                    <a:lnTo>
                      <a:pt x="664" y="100"/>
                    </a:lnTo>
                    <a:lnTo>
                      <a:pt x="666" y="98"/>
                    </a:lnTo>
                    <a:lnTo>
                      <a:pt x="668" y="98"/>
                    </a:lnTo>
                    <a:lnTo>
                      <a:pt x="670" y="98"/>
                    </a:lnTo>
                    <a:lnTo>
                      <a:pt x="674" y="98"/>
                    </a:lnTo>
                    <a:lnTo>
                      <a:pt x="678" y="96"/>
                    </a:lnTo>
                    <a:lnTo>
                      <a:pt x="684" y="96"/>
                    </a:lnTo>
                    <a:lnTo>
                      <a:pt x="684" y="96"/>
                    </a:lnTo>
                    <a:lnTo>
                      <a:pt x="686" y="96"/>
                    </a:lnTo>
                    <a:lnTo>
                      <a:pt x="692" y="92"/>
                    </a:lnTo>
                    <a:lnTo>
                      <a:pt x="696" y="90"/>
                    </a:lnTo>
                    <a:lnTo>
                      <a:pt x="708" y="84"/>
                    </a:lnTo>
                    <a:lnTo>
                      <a:pt x="718" y="78"/>
                    </a:lnTo>
                    <a:lnTo>
                      <a:pt x="724" y="74"/>
                    </a:lnTo>
                    <a:lnTo>
                      <a:pt x="728" y="70"/>
                    </a:lnTo>
                    <a:lnTo>
                      <a:pt x="734" y="66"/>
                    </a:lnTo>
                    <a:lnTo>
                      <a:pt x="738" y="62"/>
                    </a:lnTo>
                    <a:lnTo>
                      <a:pt x="746" y="54"/>
                    </a:lnTo>
                    <a:lnTo>
                      <a:pt x="750" y="50"/>
                    </a:lnTo>
                    <a:lnTo>
                      <a:pt x="752" y="46"/>
                    </a:lnTo>
                    <a:lnTo>
                      <a:pt x="754" y="42"/>
                    </a:lnTo>
                    <a:lnTo>
                      <a:pt x="758" y="40"/>
                    </a:lnTo>
                    <a:lnTo>
                      <a:pt x="754" y="38"/>
                    </a:lnTo>
                    <a:lnTo>
                      <a:pt x="754" y="38"/>
                    </a:lnTo>
                    <a:lnTo>
                      <a:pt x="756" y="34"/>
                    </a:lnTo>
                    <a:lnTo>
                      <a:pt x="758" y="32"/>
                    </a:lnTo>
                    <a:lnTo>
                      <a:pt x="756" y="30"/>
                    </a:lnTo>
                    <a:lnTo>
                      <a:pt x="754" y="28"/>
                    </a:lnTo>
                    <a:lnTo>
                      <a:pt x="750" y="26"/>
                    </a:lnTo>
                    <a:lnTo>
                      <a:pt x="746" y="24"/>
                    </a:lnTo>
                    <a:lnTo>
                      <a:pt x="742" y="20"/>
                    </a:lnTo>
                    <a:lnTo>
                      <a:pt x="740" y="18"/>
                    </a:lnTo>
                    <a:lnTo>
                      <a:pt x="736" y="16"/>
                    </a:lnTo>
                    <a:lnTo>
                      <a:pt x="732" y="14"/>
                    </a:lnTo>
                    <a:lnTo>
                      <a:pt x="732" y="14"/>
                    </a:lnTo>
                    <a:lnTo>
                      <a:pt x="732" y="14"/>
                    </a:lnTo>
                    <a:lnTo>
                      <a:pt x="728" y="12"/>
                    </a:lnTo>
                    <a:lnTo>
                      <a:pt x="724" y="12"/>
                    </a:lnTo>
                    <a:lnTo>
                      <a:pt x="718" y="12"/>
                    </a:lnTo>
                    <a:lnTo>
                      <a:pt x="718" y="12"/>
                    </a:lnTo>
                    <a:lnTo>
                      <a:pt x="718" y="12"/>
                    </a:lnTo>
                    <a:lnTo>
                      <a:pt x="712" y="12"/>
                    </a:lnTo>
                    <a:lnTo>
                      <a:pt x="712" y="12"/>
                    </a:lnTo>
                    <a:lnTo>
                      <a:pt x="712" y="12"/>
                    </a:lnTo>
                    <a:lnTo>
                      <a:pt x="706" y="14"/>
                    </a:lnTo>
                    <a:lnTo>
                      <a:pt x="706" y="14"/>
                    </a:lnTo>
                    <a:lnTo>
                      <a:pt x="704" y="16"/>
                    </a:lnTo>
                    <a:lnTo>
                      <a:pt x="702" y="18"/>
                    </a:lnTo>
                    <a:lnTo>
                      <a:pt x="700" y="20"/>
                    </a:lnTo>
                    <a:lnTo>
                      <a:pt x="696" y="26"/>
                    </a:lnTo>
                    <a:lnTo>
                      <a:pt x="694" y="30"/>
                    </a:lnTo>
                    <a:lnTo>
                      <a:pt x="694" y="32"/>
                    </a:lnTo>
                    <a:lnTo>
                      <a:pt x="692" y="34"/>
                    </a:lnTo>
                    <a:lnTo>
                      <a:pt x="692" y="34"/>
                    </a:lnTo>
                    <a:lnTo>
                      <a:pt x="692" y="34"/>
                    </a:lnTo>
                    <a:lnTo>
                      <a:pt x="692" y="36"/>
                    </a:lnTo>
                    <a:lnTo>
                      <a:pt x="692" y="38"/>
                    </a:lnTo>
                    <a:lnTo>
                      <a:pt x="692" y="40"/>
                    </a:lnTo>
                    <a:lnTo>
                      <a:pt x="692" y="42"/>
                    </a:lnTo>
                    <a:lnTo>
                      <a:pt x="692" y="42"/>
                    </a:lnTo>
                    <a:lnTo>
                      <a:pt x="690" y="42"/>
                    </a:lnTo>
                    <a:lnTo>
                      <a:pt x="688" y="44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82" y="44"/>
                    </a:lnTo>
                    <a:lnTo>
                      <a:pt x="680" y="46"/>
                    </a:lnTo>
                    <a:lnTo>
                      <a:pt x="678" y="46"/>
                    </a:lnTo>
                    <a:lnTo>
                      <a:pt x="678" y="46"/>
                    </a:lnTo>
                    <a:lnTo>
                      <a:pt x="678" y="46"/>
                    </a:lnTo>
                    <a:lnTo>
                      <a:pt x="676" y="48"/>
                    </a:lnTo>
                    <a:lnTo>
                      <a:pt x="676" y="48"/>
                    </a:lnTo>
                    <a:lnTo>
                      <a:pt x="676" y="48"/>
                    </a:lnTo>
                    <a:lnTo>
                      <a:pt x="676" y="50"/>
                    </a:lnTo>
                    <a:lnTo>
                      <a:pt x="676" y="50"/>
                    </a:lnTo>
                    <a:lnTo>
                      <a:pt x="676" y="50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2" y="52"/>
                    </a:lnTo>
                    <a:lnTo>
                      <a:pt x="668" y="54"/>
                    </a:lnTo>
                    <a:lnTo>
                      <a:pt x="666" y="54"/>
                    </a:lnTo>
                    <a:lnTo>
                      <a:pt x="664" y="54"/>
                    </a:lnTo>
                    <a:lnTo>
                      <a:pt x="662" y="56"/>
                    </a:lnTo>
                    <a:lnTo>
                      <a:pt x="658" y="56"/>
                    </a:lnTo>
                    <a:lnTo>
                      <a:pt x="656" y="56"/>
                    </a:lnTo>
                    <a:lnTo>
                      <a:pt x="656" y="56"/>
                    </a:lnTo>
                    <a:lnTo>
                      <a:pt x="654" y="56"/>
                    </a:lnTo>
                    <a:lnTo>
                      <a:pt x="652" y="58"/>
                    </a:lnTo>
                    <a:lnTo>
                      <a:pt x="650" y="58"/>
                    </a:lnTo>
                    <a:lnTo>
                      <a:pt x="648" y="58"/>
                    </a:lnTo>
                    <a:lnTo>
                      <a:pt x="646" y="58"/>
                    </a:lnTo>
                    <a:lnTo>
                      <a:pt x="642" y="58"/>
                    </a:lnTo>
                    <a:lnTo>
                      <a:pt x="638" y="58"/>
                    </a:lnTo>
                    <a:lnTo>
                      <a:pt x="634" y="58"/>
                    </a:lnTo>
                    <a:lnTo>
                      <a:pt x="630" y="56"/>
                    </a:lnTo>
                    <a:lnTo>
                      <a:pt x="630" y="56"/>
                    </a:lnTo>
                    <a:lnTo>
                      <a:pt x="630" y="56"/>
                    </a:lnTo>
                    <a:lnTo>
                      <a:pt x="628" y="56"/>
                    </a:lnTo>
                    <a:lnTo>
                      <a:pt x="626" y="54"/>
                    </a:lnTo>
                    <a:lnTo>
                      <a:pt x="626" y="54"/>
                    </a:lnTo>
                    <a:lnTo>
                      <a:pt x="624" y="54"/>
                    </a:lnTo>
                    <a:lnTo>
                      <a:pt x="624" y="54"/>
                    </a:lnTo>
                    <a:lnTo>
                      <a:pt x="624" y="54"/>
                    </a:lnTo>
                    <a:lnTo>
                      <a:pt x="622" y="54"/>
                    </a:lnTo>
                    <a:lnTo>
                      <a:pt x="622" y="56"/>
                    </a:lnTo>
                    <a:lnTo>
                      <a:pt x="622" y="56"/>
                    </a:lnTo>
                    <a:lnTo>
                      <a:pt x="620" y="56"/>
                    </a:lnTo>
                    <a:lnTo>
                      <a:pt x="618" y="60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6" y="66"/>
                    </a:lnTo>
                    <a:lnTo>
                      <a:pt x="616" y="66"/>
                    </a:lnTo>
                    <a:lnTo>
                      <a:pt x="616" y="66"/>
                    </a:lnTo>
                    <a:lnTo>
                      <a:pt x="616" y="68"/>
                    </a:lnTo>
                    <a:lnTo>
                      <a:pt x="616" y="68"/>
                    </a:lnTo>
                    <a:lnTo>
                      <a:pt x="616" y="68"/>
                    </a:lnTo>
                    <a:lnTo>
                      <a:pt x="616" y="70"/>
                    </a:lnTo>
                    <a:lnTo>
                      <a:pt x="616" y="70"/>
                    </a:lnTo>
                    <a:lnTo>
                      <a:pt x="614" y="70"/>
                    </a:lnTo>
                    <a:lnTo>
                      <a:pt x="608" y="70"/>
                    </a:lnTo>
                    <a:lnTo>
                      <a:pt x="608" y="70"/>
                    </a:lnTo>
                    <a:lnTo>
                      <a:pt x="606" y="72"/>
                    </a:lnTo>
                    <a:lnTo>
                      <a:pt x="606" y="76"/>
                    </a:lnTo>
                    <a:lnTo>
                      <a:pt x="604" y="78"/>
                    </a:lnTo>
                    <a:lnTo>
                      <a:pt x="604" y="76"/>
                    </a:lnTo>
                    <a:lnTo>
                      <a:pt x="604" y="78"/>
                    </a:lnTo>
                    <a:lnTo>
                      <a:pt x="602" y="80"/>
                    </a:lnTo>
                    <a:lnTo>
                      <a:pt x="600" y="80"/>
                    </a:lnTo>
                    <a:lnTo>
                      <a:pt x="598" y="82"/>
                    </a:lnTo>
                    <a:lnTo>
                      <a:pt x="596" y="82"/>
                    </a:lnTo>
                    <a:lnTo>
                      <a:pt x="592" y="82"/>
                    </a:lnTo>
                    <a:lnTo>
                      <a:pt x="592" y="82"/>
                    </a:lnTo>
                    <a:lnTo>
                      <a:pt x="590" y="84"/>
                    </a:lnTo>
                    <a:lnTo>
                      <a:pt x="588" y="86"/>
                    </a:lnTo>
                    <a:lnTo>
                      <a:pt x="586" y="88"/>
                    </a:lnTo>
                    <a:lnTo>
                      <a:pt x="582" y="92"/>
                    </a:lnTo>
                    <a:lnTo>
                      <a:pt x="578" y="94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4" y="98"/>
                    </a:lnTo>
                    <a:lnTo>
                      <a:pt x="572" y="102"/>
                    </a:lnTo>
                    <a:lnTo>
                      <a:pt x="570" y="104"/>
                    </a:lnTo>
                    <a:lnTo>
                      <a:pt x="570" y="108"/>
                    </a:lnTo>
                    <a:lnTo>
                      <a:pt x="568" y="108"/>
                    </a:lnTo>
                    <a:lnTo>
                      <a:pt x="568" y="110"/>
                    </a:lnTo>
                    <a:lnTo>
                      <a:pt x="566" y="110"/>
                    </a:lnTo>
                    <a:lnTo>
                      <a:pt x="566" y="110"/>
                    </a:lnTo>
                    <a:lnTo>
                      <a:pt x="566" y="110"/>
                    </a:lnTo>
                    <a:lnTo>
                      <a:pt x="564" y="112"/>
                    </a:lnTo>
                    <a:lnTo>
                      <a:pt x="562" y="112"/>
                    </a:lnTo>
                    <a:lnTo>
                      <a:pt x="560" y="112"/>
                    </a:lnTo>
                    <a:lnTo>
                      <a:pt x="560" y="112"/>
                    </a:lnTo>
                    <a:lnTo>
                      <a:pt x="558" y="114"/>
                    </a:lnTo>
                    <a:lnTo>
                      <a:pt x="558" y="114"/>
                    </a:lnTo>
                    <a:lnTo>
                      <a:pt x="558" y="116"/>
                    </a:lnTo>
                    <a:lnTo>
                      <a:pt x="558" y="118"/>
                    </a:lnTo>
                    <a:lnTo>
                      <a:pt x="560" y="120"/>
                    </a:lnTo>
                    <a:lnTo>
                      <a:pt x="560" y="120"/>
                    </a:lnTo>
                    <a:lnTo>
                      <a:pt x="558" y="120"/>
                    </a:lnTo>
                    <a:lnTo>
                      <a:pt x="554" y="122"/>
                    </a:lnTo>
                    <a:lnTo>
                      <a:pt x="552" y="122"/>
                    </a:lnTo>
                    <a:lnTo>
                      <a:pt x="552" y="122"/>
                    </a:lnTo>
                    <a:lnTo>
                      <a:pt x="550" y="122"/>
                    </a:lnTo>
                    <a:lnTo>
                      <a:pt x="550" y="122"/>
                    </a:lnTo>
                    <a:lnTo>
                      <a:pt x="550" y="122"/>
                    </a:lnTo>
                    <a:lnTo>
                      <a:pt x="548" y="124"/>
                    </a:lnTo>
                    <a:lnTo>
                      <a:pt x="546" y="128"/>
                    </a:lnTo>
                    <a:lnTo>
                      <a:pt x="546" y="128"/>
                    </a:lnTo>
                    <a:lnTo>
                      <a:pt x="544" y="128"/>
                    </a:lnTo>
                    <a:lnTo>
                      <a:pt x="544" y="134"/>
                    </a:lnTo>
                    <a:lnTo>
                      <a:pt x="542" y="138"/>
                    </a:lnTo>
                    <a:lnTo>
                      <a:pt x="542" y="144"/>
                    </a:lnTo>
                    <a:lnTo>
                      <a:pt x="542" y="154"/>
                    </a:lnTo>
                    <a:lnTo>
                      <a:pt x="540" y="158"/>
                    </a:lnTo>
                    <a:lnTo>
                      <a:pt x="540" y="162"/>
                    </a:lnTo>
                    <a:lnTo>
                      <a:pt x="540" y="162"/>
                    </a:lnTo>
                    <a:lnTo>
                      <a:pt x="540" y="166"/>
                    </a:lnTo>
                    <a:lnTo>
                      <a:pt x="540" y="166"/>
                    </a:lnTo>
                    <a:lnTo>
                      <a:pt x="538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4" y="168"/>
                    </a:lnTo>
                    <a:lnTo>
                      <a:pt x="534" y="168"/>
                    </a:lnTo>
                    <a:lnTo>
                      <a:pt x="534" y="170"/>
                    </a:lnTo>
                    <a:lnTo>
                      <a:pt x="534" y="174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2" y="176"/>
                    </a:lnTo>
                    <a:lnTo>
                      <a:pt x="532" y="176"/>
                    </a:lnTo>
                    <a:lnTo>
                      <a:pt x="532" y="176"/>
                    </a:lnTo>
                    <a:lnTo>
                      <a:pt x="530" y="176"/>
                    </a:lnTo>
                    <a:lnTo>
                      <a:pt x="530" y="176"/>
                    </a:lnTo>
                    <a:lnTo>
                      <a:pt x="528" y="176"/>
                    </a:lnTo>
                    <a:lnTo>
                      <a:pt x="528" y="176"/>
                    </a:lnTo>
                    <a:lnTo>
                      <a:pt x="528" y="176"/>
                    </a:lnTo>
                    <a:lnTo>
                      <a:pt x="526" y="176"/>
                    </a:lnTo>
                    <a:lnTo>
                      <a:pt x="526" y="178"/>
                    </a:lnTo>
                    <a:lnTo>
                      <a:pt x="526" y="178"/>
                    </a:lnTo>
                    <a:lnTo>
                      <a:pt x="526" y="178"/>
                    </a:lnTo>
                    <a:lnTo>
                      <a:pt x="526" y="180"/>
                    </a:lnTo>
                    <a:lnTo>
                      <a:pt x="526" y="180"/>
                    </a:lnTo>
                    <a:lnTo>
                      <a:pt x="526" y="180"/>
                    </a:lnTo>
                    <a:lnTo>
                      <a:pt x="526" y="182"/>
                    </a:lnTo>
                    <a:lnTo>
                      <a:pt x="526" y="184"/>
                    </a:lnTo>
                    <a:lnTo>
                      <a:pt x="526" y="186"/>
                    </a:lnTo>
                    <a:lnTo>
                      <a:pt x="524" y="188"/>
                    </a:lnTo>
                    <a:lnTo>
                      <a:pt x="522" y="192"/>
                    </a:lnTo>
                    <a:lnTo>
                      <a:pt x="520" y="194"/>
                    </a:lnTo>
                    <a:lnTo>
                      <a:pt x="518" y="196"/>
                    </a:lnTo>
                    <a:lnTo>
                      <a:pt x="516" y="198"/>
                    </a:lnTo>
                    <a:lnTo>
                      <a:pt x="514" y="198"/>
                    </a:lnTo>
                    <a:lnTo>
                      <a:pt x="514" y="198"/>
                    </a:lnTo>
                    <a:lnTo>
                      <a:pt x="514" y="198"/>
                    </a:lnTo>
                    <a:lnTo>
                      <a:pt x="512" y="200"/>
                    </a:lnTo>
                    <a:lnTo>
                      <a:pt x="512" y="204"/>
                    </a:lnTo>
                    <a:lnTo>
                      <a:pt x="512" y="204"/>
                    </a:lnTo>
                    <a:lnTo>
                      <a:pt x="512" y="204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12" y="208"/>
                    </a:lnTo>
                    <a:lnTo>
                      <a:pt x="514" y="210"/>
                    </a:lnTo>
                    <a:lnTo>
                      <a:pt x="514" y="210"/>
                    </a:lnTo>
                    <a:lnTo>
                      <a:pt x="514" y="210"/>
                    </a:lnTo>
                    <a:lnTo>
                      <a:pt x="516" y="212"/>
                    </a:lnTo>
                    <a:lnTo>
                      <a:pt x="516" y="212"/>
                    </a:lnTo>
                    <a:lnTo>
                      <a:pt x="516" y="212"/>
                    </a:lnTo>
                    <a:lnTo>
                      <a:pt x="518" y="212"/>
                    </a:lnTo>
                    <a:lnTo>
                      <a:pt x="520" y="212"/>
                    </a:lnTo>
                    <a:lnTo>
                      <a:pt x="520" y="214"/>
                    </a:lnTo>
                    <a:lnTo>
                      <a:pt x="518" y="216"/>
                    </a:lnTo>
                    <a:lnTo>
                      <a:pt x="516" y="218"/>
                    </a:lnTo>
                    <a:lnTo>
                      <a:pt x="516" y="218"/>
                    </a:lnTo>
                    <a:lnTo>
                      <a:pt x="516" y="218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2" y="226"/>
                    </a:lnTo>
                    <a:lnTo>
                      <a:pt x="508" y="226"/>
                    </a:lnTo>
                    <a:lnTo>
                      <a:pt x="506" y="226"/>
                    </a:lnTo>
                    <a:lnTo>
                      <a:pt x="500" y="228"/>
                    </a:lnTo>
                    <a:lnTo>
                      <a:pt x="500" y="228"/>
                    </a:lnTo>
                    <a:lnTo>
                      <a:pt x="498" y="230"/>
                    </a:lnTo>
                    <a:lnTo>
                      <a:pt x="498" y="232"/>
                    </a:lnTo>
                    <a:lnTo>
                      <a:pt x="500" y="234"/>
                    </a:lnTo>
                    <a:lnTo>
                      <a:pt x="500" y="236"/>
                    </a:lnTo>
                    <a:lnTo>
                      <a:pt x="500" y="240"/>
                    </a:lnTo>
                    <a:lnTo>
                      <a:pt x="500" y="240"/>
                    </a:lnTo>
                    <a:lnTo>
                      <a:pt x="500" y="244"/>
                    </a:lnTo>
                    <a:lnTo>
                      <a:pt x="498" y="244"/>
                    </a:lnTo>
                    <a:lnTo>
                      <a:pt x="498" y="246"/>
                    </a:lnTo>
                    <a:lnTo>
                      <a:pt x="496" y="248"/>
                    </a:lnTo>
                    <a:lnTo>
                      <a:pt x="492" y="250"/>
                    </a:lnTo>
                    <a:lnTo>
                      <a:pt x="488" y="252"/>
                    </a:lnTo>
                    <a:lnTo>
                      <a:pt x="488" y="252"/>
                    </a:lnTo>
                    <a:lnTo>
                      <a:pt x="486" y="254"/>
                    </a:lnTo>
                    <a:lnTo>
                      <a:pt x="486" y="256"/>
                    </a:lnTo>
                    <a:lnTo>
                      <a:pt x="488" y="258"/>
                    </a:lnTo>
                    <a:lnTo>
                      <a:pt x="490" y="260"/>
                    </a:lnTo>
                    <a:lnTo>
                      <a:pt x="490" y="260"/>
                    </a:lnTo>
                    <a:lnTo>
                      <a:pt x="490" y="262"/>
                    </a:lnTo>
                    <a:lnTo>
                      <a:pt x="490" y="262"/>
                    </a:lnTo>
                    <a:lnTo>
                      <a:pt x="492" y="264"/>
                    </a:lnTo>
                    <a:lnTo>
                      <a:pt x="496" y="266"/>
                    </a:lnTo>
                    <a:lnTo>
                      <a:pt x="496" y="268"/>
                    </a:lnTo>
                    <a:lnTo>
                      <a:pt x="494" y="268"/>
                    </a:lnTo>
                    <a:lnTo>
                      <a:pt x="494" y="268"/>
                    </a:lnTo>
                    <a:lnTo>
                      <a:pt x="494" y="268"/>
                    </a:lnTo>
                    <a:lnTo>
                      <a:pt x="492" y="270"/>
                    </a:lnTo>
                    <a:lnTo>
                      <a:pt x="492" y="270"/>
                    </a:lnTo>
                    <a:lnTo>
                      <a:pt x="492" y="270"/>
                    </a:lnTo>
                    <a:lnTo>
                      <a:pt x="490" y="270"/>
                    </a:lnTo>
                    <a:lnTo>
                      <a:pt x="490" y="270"/>
                    </a:lnTo>
                    <a:lnTo>
                      <a:pt x="490" y="272"/>
                    </a:lnTo>
                    <a:lnTo>
                      <a:pt x="488" y="274"/>
                    </a:lnTo>
                    <a:lnTo>
                      <a:pt x="488" y="274"/>
                    </a:lnTo>
                    <a:lnTo>
                      <a:pt x="488" y="274"/>
                    </a:lnTo>
                    <a:lnTo>
                      <a:pt x="486" y="276"/>
                    </a:lnTo>
                    <a:lnTo>
                      <a:pt x="486" y="278"/>
                    </a:lnTo>
                    <a:lnTo>
                      <a:pt x="484" y="282"/>
                    </a:lnTo>
                    <a:lnTo>
                      <a:pt x="484" y="282"/>
                    </a:lnTo>
                    <a:lnTo>
                      <a:pt x="484" y="282"/>
                    </a:lnTo>
                    <a:lnTo>
                      <a:pt x="484" y="286"/>
                    </a:lnTo>
                    <a:lnTo>
                      <a:pt x="484" y="292"/>
                    </a:lnTo>
                    <a:lnTo>
                      <a:pt x="484" y="300"/>
                    </a:lnTo>
                    <a:lnTo>
                      <a:pt x="484" y="304"/>
                    </a:lnTo>
                    <a:lnTo>
                      <a:pt x="484" y="308"/>
                    </a:lnTo>
                    <a:lnTo>
                      <a:pt x="486" y="312"/>
                    </a:lnTo>
                    <a:close/>
                    <a:moveTo>
                      <a:pt x="52" y="880"/>
                    </a:moveTo>
                    <a:lnTo>
                      <a:pt x="52" y="876"/>
                    </a:lnTo>
                    <a:lnTo>
                      <a:pt x="52" y="874"/>
                    </a:lnTo>
                    <a:lnTo>
                      <a:pt x="52" y="874"/>
                    </a:lnTo>
                    <a:lnTo>
                      <a:pt x="52" y="874"/>
                    </a:lnTo>
                    <a:lnTo>
                      <a:pt x="50" y="870"/>
                    </a:lnTo>
                    <a:lnTo>
                      <a:pt x="50" y="870"/>
                    </a:lnTo>
                    <a:lnTo>
                      <a:pt x="50" y="870"/>
                    </a:lnTo>
                    <a:lnTo>
                      <a:pt x="46" y="868"/>
                    </a:lnTo>
                    <a:lnTo>
                      <a:pt x="46" y="868"/>
                    </a:lnTo>
                    <a:lnTo>
                      <a:pt x="46" y="868"/>
                    </a:lnTo>
                    <a:lnTo>
                      <a:pt x="42" y="866"/>
                    </a:lnTo>
                    <a:lnTo>
                      <a:pt x="42" y="866"/>
                    </a:lnTo>
                    <a:lnTo>
                      <a:pt x="42" y="866"/>
                    </a:lnTo>
                    <a:lnTo>
                      <a:pt x="38" y="864"/>
                    </a:lnTo>
                    <a:lnTo>
                      <a:pt x="32" y="862"/>
                    </a:lnTo>
                    <a:lnTo>
                      <a:pt x="26" y="862"/>
                    </a:lnTo>
                    <a:lnTo>
                      <a:pt x="26" y="862"/>
                    </a:lnTo>
                    <a:lnTo>
                      <a:pt x="24" y="862"/>
                    </a:lnTo>
                    <a:lnTo>
                      <a:pt x="20" y="864"/>
                    </a:lnTo>
                    <a:lnTo>
                      <a:pt x="16" y="866"/>
                    </a:lnTo>
                    <a:lnTo>
                      <a:pt x="10" y="868"/>
                    </a:lnTo>
                    <a:lnTo>
                      <a:pt x="6" y="872"/>
                    </a:lnTo>
                    <a:lnTo>
                      <a:pt x="2" y="874"/>
                    </a:lnTo>
                    <a:lnTo>
                      <a:pt x="2" y="874"/>
                    </a:lnTo>
                    <a:lnTo>
                      <a:pt x="2" y="874"/>
                    </a:lnTo>
                    <a:lnTo>
                      <a:pt x="0" y="876"/>
                    </a:lnTo>
                    <a:lnTo>
                      <a:pt x="0" y="878"/>
                    </a:lnTo>
                    <a:lnTo>
                      <a:pt x="0" y="878"/>
                    </a:lnTo>
                    <a:lnTo>
                      <a:pt x="0" y="878"/>
                    </a:lnTo>
                    <a:lnTo>
                      <a:pt x="0" y="880"/>
                    </a:lnTo>
                    <a:lnTo>
                      <a:pt x="0" y="880"/>
                    </a:lnTo>
                    <a:lnTo>
                      <a:pt x="0" y="880"/>
                    </a:lnTo>
                    <a:lnTo>
                      <a:pt x="0" y="882"/>
                    </a:lnTo>
                    <a:lnTo>
                      <a:pt x="0" y="882"/>
                    </a:lnTo>
                    <a:lnTo>
                      <a:pt x="0" y="882"/>
                    </a:lnTo>
                    <a:lnTo>
                      <a:pt x="0" y="884"/>
                    </a:lnTo>
                    <a:lnTo>
                      <a:pt x="0" y="884"/>
                    </a:lnTo>
                    <a:lnTo>
                      <a:pt x="2" y="884"/>
                    </a:lnTo>
                    <a:lnTo>
                      <a:pt x="4" y="886"/>
                    </a:lnTo>
                    <a:lnTo>
                      <a:pt x="4" y="886"/>
                    </a:lnTo>
                    <a:lnTo>
                      <a:pt x="4" y="886"/>
                    </a:lnTo>
                    <a:lnTo>
                      <a:pt x="10" y="886"/>
                    </a:lnTo>
                    <a:lnTo>
                      <a:pt x="16" y="888"/>
                    </a:lnTo>
                    <a:lnTo>
                      <a:pt x="26" y="888"/>
                    </a:lnTo>
                    <a:lnTo>
                      <a:pt x="38" y="888"/>
                    </a:lnTo>
                    <a:lnTo>
                      <a:pt x="50" y="888"/>
                    </a:lnTo>
                    <a:lnTo>
                      <a:pt x="50" y="888"/>
                    </a:lnTo>
                    <a:lnTo>
                      <a:pt x="52" y="888"/>
                    </a:lnTo>
                    <a:lnTo>
                      <a:pt x="52" y="888"/>
                    </a:lnTo>
                    <a:lnTo>
                      <a:pt x="52" y="886"/>
                    </a:lnTo>
                    <a:lnTo>
                      <a:pt x="52" y="882"/>
                    </a:lnTo>
                    <a:lnTo>
                      <a:pt x="52" y="880"/>
                    </a:lnTo>
                    <a:close/>
                    <a:moveTo>
                      <a:pt x="2398" y="340"/>
                    </a:moveTo>
                    <a:lnTo>
                      <a:pt x="2398" y="340"/>
                    </a:lnTo>
                    <a:lnTo>
                      <a:pt x="2398" y="342"/>
                    </a:lnTo>
                    <a:lnTo>
                      <a:pt x="2398" y="342"/>
                    </a:lnTo>
                    <a:lnTo>
                      <a:pt x="2398" y="342"/>
                    </a:lnTo>
                    <a:lnTo>
                      <a:pt x="2398" y="344"/>
                    </a:lnTo>
                    <a:lnTo>
                      <a:pt x="2400" y="346"/>
                    </a:lnTo>
                    <a:lnTo>
                      <a:pt x="2400" y="346"/>
                    </a:lnTo>
                    <a:lnTo>
                      <a:pt x="2402" y="346"/>
                    </a:lnTo>
                    <a:lnTo>
                      <a:pt x="2402" y="346"/>
                    </a:lnTo>
                    <a:lnTo>
                      <a:pt x="2402" y="346"/>
                    </a:lnTo>
                    <a:lnTo>
                      <a:pt x="2404" y="346"/>
                    </a:lnTo>
                    <a:lnTo>
                      <a:pt x="2406" y="348"/>
                    </a:lnTo>
                    <a:lnTo>
                      <a:pt x="2410" y="348"/>
                    </a:lnTo>
                    <a:lnTo>
                      <a:pt x="2414" y="348"/>
                    </a:lnTo>
                    <a:lnTo>
                      <a:pt x="2420" y="346"/>
                    </a:lnTo>
                    <a:lnTo>
                      <a:pt x="2422" y="346"/>
                    </a:lnTo>
                    <a:lnTo>
                      <a:pt x="2426" y="346"/>
                    </a:lnTo>
                    <a:lnTo>
                      <a:pt x="2428" y="344"/>
                    </a:lnTo>
                    <a:lnTo>
                      <a:pt x="2428" y="344"/>
                    </a:lnTo>
                    <a:lnTo>
                      <a:pt x="2430" y="344"/>
                    </a:lnTo>
                    <a:lnTo>
                      <a:pt x="2432" y="342"/>
                    </a:lnTo>
                    <a:lnTo>
                      <a:pt x="2434" y="342"/>
                    </a:lnTo>
                    <a:lnTo>
                      <a:pt x="2438" y="340"/>
                    </a:lnTo>
                    <a:lnTo>
                      <a:pt x="2436" y="340"/>
                    </a:lnTo>
                    <a:lnTo>
                      <a:pt x="2438" y="338"/>
                    </a:lnTo>
                    <a:lnTo>
                      <a:pt x="2440" y="338"/>
                    </a:lnTo>
                    <a:lnTo>
                      <a:pt x="2446" y="336"/>
                    </a:lnTo>
                    <a:lnTo>
                      <a:pt x="2448" y="334"/>
                    </a:lnTo>
                    <a:lnTo>
                      <a:pt x="2450" y="334"/>
                    </a:lnTo>
                    <a:lnTo>
                      <a:pt x="2450" y="334"/>
                    </a:lnTo>
                    <a:lnTo>
                      <a:pt x="2452" y="334"/>
                    </a:lnTo>
                    <a:lnTo>
                      <a:pt x="2452" y="332"/>
                    </a:lnTo>
                    <a:lnTo>
                      <a:pt x="2452" y="332"/>
                    </a:lnTo>
                    <a:lnTo>
                      <a:pt x="2454" y="332"/>
                    </a:lnTo>
                    <a:lnTo>
                      <a:pt x="2454" y="330"/>
                    </a:lnTo>
                    <a:lnTo>
                      <a:pt x="2454" y="330"/>
                    </a:lnTo>
                    <a:lnTo>
                      <a:pt x="2454" y="330"/>
                    </a:lnTo>
                    <a:lnTo>
                      <a:pt x="2454" y="328"/>
                    </a:lnTo>
                    <a:lnTo>
                      <a:pt x="2454" y="328"/>
                    </a:lnTo>
                    <a:lnTo>
                      <a:pt x="2454" y="328"/>
                    </a:lnTo>
                    <a:lnTo>
                      <a:pt x="2454" y="326"/>
                    </a:lnTo>
                    <a:lnTo>
                      <a:pt x="2454" y="326"/>
                    </a:lnTo>
                    <a:lnTo>
                      <a:pt x="2454" y="324"/>
                    </a:lnTo>
                    <a:lnTo>
                      <a:pt x="2454" y="322"/>
                    </a:lnTo>
                    <a:lnTo>
                      <a:pt x="2454" y="322"/>
                    </a:lnTo>
                    <a:lnTo>
                      <a:pt x="2452" y="320"/>
                    </a:lnTo>
                    <a:lnTo>
                      <a:pt x="2450" y="318"/>
                    </a:lnTo>
                    <a:lnTo>
                      <a:pt x="2450" y="318"/>
                    </a:lnTo>
                    <a:lnTo>
                      <a:pt x="2450" y="316"/>
                    </a:lnTo>
                    <a:lnTo>
                      <a:pt x="2448" y="316"/>
                    </a:lnTo>
                    <a:lnTo>
                      <a:pt x="2446" y="314"/>
                    </a:lnTo>
                    <a:lnTo>
                      <a:pt x="2446" y="314"/>
                    </a:lnTo>
                    <a:lnTo>
                      <a:pt x="2446" y="314"/>
                    </a:lnTo>
                    <a:lnTo>
                      <a:pt x="2444" y="312"/>
                    </a:lnTo>
                    <a:lnTo>
                      <a:pt x="2442" y="310"/>
                    </a:lnTo>
                    <a:lnTo>
                      <a:pt x="2438" y="310"/>
                    </a:lnTo>
                    <a:lnTo>
                      <a:pt x="2436" y="308"/>
                    </a:lnTo>
                    <a:lnTo>
                      <a:pt x="2432" y="308"/>
                    </a:lnTo>
                    <a:lnTo>
                      <a:pt x="2428" y="306"/>
                    </a:lnTo>
                    <a:lnTo>
                      <a:pt x="2428" y="306"/>
                    </a:lnTo>
                    <a:lnTo>
                      <a:pt x="2428" y="306"/>
                    </a:lnTo>
                    <a:lnTo>
                      <a:pt x="2424" y="306"/>
                    </a:lnTo>
                    <a:lnTo>
                      <a:pt x="2422" y="306"/>
                    </a:lnTo>
                    <a:lnTo>
                      <a:pt x="2422" y="306"/>
                    </a:lnTo>
                    <a:lnTo>
                      <a:pt x="2420" y="308"/>
                    </a:lnTo>
                    <a:lnTo>
                      <a:pt x="2418" y="308"/>
                    </a:lnTo>
                    <a:lnTo>
                      <a:pt x="2418" y="308"/>
                    </a:lnTo>
                    <a:lnTo>
                      <a:pt x="2418" y="308"/>
                    </a:lnTo>
                    <a:lnTo>
                      <a:pt x="2414" y="310"/>
                    </a:lnTo>
                    <a:lnTo>
                      <a:pt x="2412" y="312"/>
                    </a:lnTo>
                    <a:lnTo>
                      <a:pt x="2408" y="314"/>
                    </a:lnTo>
                    <a:lnTo>
                      <a:pt x="2406" y="318"/>
                    </a:lnTo>
                    <a:lnTo>
                      <a:pt x="2404" y="320"/>
                    </a:lnTo>
                    <a:lnTo>
                      <a:pt x="2402" y="322"/>
                    </a:lnTo>
                    <a:lnTo>
                      <a:pt x="2400" y="324"/>
                    </a:lnTo>
                    <a:lnTo>
                      <a:pt x="2398" y="326"/>
                    </a:lnTo>
                    <a:lnTo>
                      <a:pt x="2398" y="330"/>
                    </a:lnTo>
                    <a:lnTo>
                      <a:pt x="2398" y="330"/>
                    </a:lnTo>
                    <a:lnTo>
                      <a:pt x="2398" y="330"/>
                    </a:lnTo>
                    <a:lnTo>
                      <a:pt x="2396" y="334"/>
                    </a:lnTo>
                    <a:lnTo>
                      <a:pt x="2396" y="336"/>
                    </a:lnTo>
                    <a:lnTo>
                      <a:pt x="2396" y="338"/>
                    </a:lnTo>
                    <a:lnTo>
                      <a:pt x="2398" y="340"/>
                    </a:lnTo>
                    <a:close/>
                    <a:moveTo>
                      <a:pt x="2568" y="530"/>
                    </a:moveTo>
                    <a:lnTo>
                      <a:pt x="2568" y="530"/>
                    </a:lnTo>
                    <a:lnTo>
                      <a:pt x="2566" y="530"/>
                    </a:lnTo>
                    <a:lnTo>
                      <a:pt x="2566" y="528"/>
                    </a:lnTo>
                    <a:lnTo>
                      <a:pt x="2566" y="528"/>
                    </a:lnTo>
                    <a:lnTo>
                      <a:pt x="2566" y="528"/>
                    </a:lnTo>
                    <a:lnTo>
                      <a:pt x="2564" y="526"/>
                    </a:lnTo>
                    <a:lnTo>
                      <a:pt x="2564" y="526"/>
                    </a:lnTo>
                    <a:lnTo>
                      <a:pt x="2562" y="526"/>
                    </a:lnTo>
                    <a:lnTo>
                      <a:pt x="2560" y="524"/>
                    </a:lnTo>
                    <a:lnTo>
                      <a:pt x="2558" y="522"/>
                    </a:lnTo>
                    <a:lnTo>
                      <a:pt x="2554" y="520"/>
                    </a:lnTo>
                    <a:lnTo>
                      <a:pt x="2552" y="520"/>
                    </a:lnTo>
                    <a:lnTo>
                      <a:pt x="2550" y="518"/>
                    </a:lnTo>
                    <a:lnTo>
                      <a:pt x="2550" y="518"/>
                    </a:lnTo>
                    <a:lnTo>
                      <a:pt x="2550" y="516"/>
                    </a:lnTo>
                    <a:lnTo>
                      <a:pt x="2548" y="514"/>
                    </a:lnTo>
                    <a:lnTo>
                      <a:pt x="2548" y="516"/>
                    </a:lnTo>
                    <a:lnTo>
                      <a:pt x="2548" y="512"/>
                    </a:lnTo>
                    <a:lnTo>
                      <a:pt x="2548" y="508"/>
                    </a:lnTo>
                    <a:lnTo>
                      <a:pt x="2548" y="506"/>
                    </a:lnTo>
                    <a:lnTo>
                      <a:pt x="2548" y="506"/>
                    </a:lnTo>
                    <a:lnTo>
                      <a:pt x="2548" y="506"/>
                    </a:lnTo>
                    <a:lnTo>
                      <a:pt x="2546" y="504"/>
                    </a:lnTo>
                    <a:lnTo>
                      <a:pt x="2546" y="504"/>
                    </a:lnTo>
                    <a:lnTo>
                      <a:pt x="2546" y="504"/>
                    </a:lnTo>
                    <a:lnTo>
                      <a:pt x="2546" y="502"/>
                    </a:lnTo>
                    <a:lnTo>
                      <a:pt x="2546" y="502"/>
                    </a:lnTo>
                    <a:lnTo>
                      <a:pt x="2544" y="502"/>
                    </a:lnTo>
                    <a:lnTo>
                      <a:pt x="2542" y="500"/>
                    </a:lnTo>
                    <a:lnTo>
                      <a:pt x="2542" y="500"/>
                    </a:lnTo>
                    <a:lnTo>
                      <a:pt x="2542" y="498"/>
                    </a:lnTo>
                    <a:lnTo>
                      <a:pt x="2538" y="498"/>
                    </a:lnTo>
                    <a:lnTo>
                      <a:pt x="2538" y="498"/>
                    </a:lnTo>
                    <a:lnTo>
                      <a:pt x="2538" y="498"/>
                    </a:lnTo>
                    <a:lnTo>
                      <a:pt x="2536" y="496"/>
                    </a:lnTo>
                    <a:lnTo>
                      <a:pt x="2534" y="496"/>
                    </a:lnTo>
                    <a:lnTo>
                      <a:pt x="2530" y="496"/>
                    </a:lnTo>
                    <a:lnTo>
                      <a:pt x="2528" y="496"/>
                    </a:lnTo>
                    <a:lnTo>
                      <a:pt x="2524" y="496"/>
                    </a:lnTo>
                    <a:lnTo>
                      <a:pt x="2520" y="496"/>
                    </a:lnTo>
                    <a:lnTo>
                      <a:pt x="2516" y="496"/>
                    </a:lnTo>
                    <a:lnTo>
                      <a:pt x="2512" y="498"/>
                    </a:lnTo>
                    <a:lnTo>
                      <a:pt x="2508" y="498"/>
                    </a:lnTo>
                    <a:lnTo>
                      <a:pt x="2508" y="498"/>
                    </a:lnTo>
                    <a:lnTo>
                      <a:pt x="2508" y="498"/>
                    </a:lnTo>
                    <a:lnTo>
                      <a:pt x="2506" y="498"/>
                    </a:lnTo>
                    <a:lnTo>
                      <a:pt x="2506" y="498"/>
                    </a:lnTo>
                    <a:lnTo>
                      <a:pt x="2506" y="500"/>
                    </a:lnTo>
                    <a:lnTo>
                      <a:pt x="2504" y="500"/>
                    </a:lnTo>
                    <a:lnTo>
                      <a:pt x="2504" y="500"/>
                    </a:lnTo>
                    <a:lnTo>
                      <a:pt x="2504" y="502"/>
                    </a:lnTo>
                    <a:lnTo>
                      <a:pt x="2502" y="502"/>
                    </a:lnTo>
                    <a:lnTo>
                      <a:pt x="2502" y="502"/>
                    </a:lnTo>
                    <a:lnTo>
                      <a:pt x="2502" y="504"/>
                    </a:lnTo>
                    <a:lnTo>
                      <a:pt x="2502" y="504"/>
                    </a:lnTo>
                    <a:lnTo>
                      <a:pt x="2502" y="504"/>
                    </a:lnTo>
                    <a:lnTo>
                      <a:pt x="2502" y="506"/>
                    </a:lnTo>
                    <a:lnTo>
                      <a:pt x="2502" y="508"/>
                    </a:lnTo>
                    <a:lnTo>
                      <a:pt x="2504" y="510"/>
                    </a:lnTo>
                    <a:lnTo>
                      <a:pt x="2504" y="512"/>
                    </a:lnTo>
                    <a:lnTo>
                      <a:pt x="2504" y="514"/>
                    </a:lnTo>
                    <a:lnTo>
                      <a:pt x="2504" y="516"/>
                    </a:lnTo>
                    <a:lnTo>
                      <a:pt x="2504" y="518"/>
                    </a:lnTo>
                    <a:lnTo>
                      <a:pt x="2504" y="522"/>
                    </a:lnTo>
                    <a:lnTo>
                      <a:pt x="2504" y="522"/>
                    </a:lnTo>
                    <a:lnTo>
                      <a:pt x="2504" y="522"/>
                    </a:lnTo>
                    <a:lnTo>
                      <a:pt x="2502" y="520"/>
                    </a:lnTo>
                    <a:lnTo>
                      <a:pt x="2498" y="518"/>
                    </a:lnTo>
                    <a:lnTo>
                      <a:pt x="2498" y="516"/>
                    </a:lnTo>
                    <a:lnTo>
                      <a:pt x="2496" y="514"/>
                    </a:lnTo>
                    <a:lnTo>
                      <a:pt x="2496" y="516"/>
                    </a:lnTo>
                    <a:lnTo>
                      <a:pt x="2496" y="514"/>
                    </a:lnTo>
                    <a:lnTo>
                      <a:pt x="2496" y="514"/>
                    </a:lnTo>
                    <a:lnTo>
                      <a:pt x="2496" y="512"/>
                    </a:lnTo>
                    <a:lnTo>
                      <a:pt x="2496" y="508"/>
                    </a:lnTo>
                    <a:lnTo>
                      <a:pt x="2498" y="504"/>
                    </a:lnTo>
                    <a:lnTo>
                      <a:pt x="2498" y="504"/>
                    </a:lnTo>
                    <a:lnTo>
                      <a:pt x="2498" y="504"/>
                    </a:lnTo>
                    <a:lnTo>
                      <a:pt x="2498" y="502"/>
                    </a:lnTo>
                    <a:lnTo>
                      <a:pt x="2500" y="500"/>
                    </a:lnTo>
                    <a:lnTo>
                      <a:pt x="2500" y="500"/>
                    </a:lnTo>
                    <a:lnTo>
                      <a:pt x="2500" y="500"/>
                    </a:lnTo>
                    <a:lnTo>
                      <a:pt x="2500" y="498"/>
                    </a:lnTo>
                    <a:lnTo>
                      <a:pt x="2502" y="496"/>
                    </a:lnTo>
                    <a:lnTo>
                      <a:pt x="2502" y="496"/>
                    </a:lnTo>
                    <a:lnTo>
                      <a:pt x="2502" y="496"/>
                    </a:lnTo>
                    <a:lnTo>
                      <a:pt x="2502" y="494"/>
                    </a:lnTo>
                    <a:lnTo>
                      <a:pt x="2502" y="494"/>
                    </a:lnTo>
                    <a:lnTo>
                      <a:pt x="2502" y="492"/>
                    </a:lnTo>
                    <a:lnTo>
                      <a:pt x="2502" y="490"/>
                    </a:lnTo>
                    <a:lnTo>
                      <a:pt x="2500" y="490"/>
                    </a:lnTo>
                    <a:lnTo>
                      <a:pt x="2500" y="488"/>
                    </a:lnTo>
                    <a:lnTo>
                      <a:pt x="2498" y="486"/>
                    </a:lnTo>
                    <a:lnTo>
                      <a:pt x="2496" y="484"/>
                    </a:lnTo>
                    <a:lnTo>
                      <a:pt x="2492" y="480"/>
                    </a:lnTo>
                    <a:lnTo>
                      <a:pt x="2490" y="478"/>
                    </a:lnTo>
                    <a:lnTo>
                      <a:pt x="2486" y="476"/>
                    </a:lnTo>
                    <a:lnTo>
                      <a:pt x="2480" y="470"/>
                    </a:lnTo>
                    <a:lnTo>
                      <a:pt x="2472" y="464"/>
                    </a:lnTo>
                    <a:lnTo>
                      <a:pt x="2462" y="456"/>
                    </a:lnTo>
                    <a:lnTo>
                      <a:pt x="2454" y="450"/>
                    </a:lnTo>
                    <a:lnTo>
                      <a:pt x="2448" y="446"/>
                    </a:lnTo>
                    <a:lnTo>
                      <a:pt x="2444" y="442"/>
                    </a:lnTo>
                    <a:lnTo>
                      <a:pt x="2442" y="440"/>
                    </a:lnTo>
                    <a:lnTo>
                      <a:pt x="2438" y="436"/>
                    </a:lnTo>
                    <a:lnTo>
                      <a:pt x="2434" y="432"/>
                    </a:lnTo>
                    <a:lnTo>
                      <a:pt x="2432" y="430"/>
                    </a:lnTo>
                    <a:lnTo>
                      <a:pt x="2430" y="426"/>
                    </a:lnTo>
                    <a:lnTo>
                      <a:pt x="2424" y="420"/>
                    </a:lnTo>
                    <a:lnTo>
                      <a:pt x="2422" y="418"/>
                    </a:lnTo>
                    <a:lnTo>
                      <a:pt x="2418" y="414"/>
                    </a:lnTo>
                    <a:lnTo>
                      <a:pt x="2414" y="412"/>
                    </a:lnTo>
                    <a:lnTo>
                      <a:pt x="2408" y="410"/>
                    </a:lnTo>
                    <a:lnTo>
                      <a:pt x="2398" y="404"/>
                    </a:lnTo>
                    <a:lnTo>
                      <a:pt x="2392" y="402"/>
                    </a:lnTo>
                    <a:lnTo>
                      <a:pt x="2388" y="398"/>
                    </a:lnTo>
                    <a:lnTo>
                      <a:pt x="2384" y="396"/>
                    </a:lnTo>
                    <a:lnTo>
                      <a:pt x="2380" y="394"/>
                    </a:lnTo>
                    <a:lnTo>
                      <a:pt x="2376" y="394"/>
                    </a:lnTo>
                    <a:lnTo>
                      <a:pt x="2374" y="392"/>
                    </a:lnTo>
                    <a:lnTo>
                      <a:pt x="2372" y="392"/>
                    </a:lnTo>
                    <a:lnTo>
                      <a:pt x="2370" y="390"/>
                    </a:lnTo>
                    <a:lnTo>
                      <a:pt x="2368" y="388"/>
                    </a:lnTo>
                    <a:lnTo>
                      <a:pt x="2368" y="388"/>
                    </a:lnTo>
                    <a:lnTo>
                      <a:pt x="2368" y="388"/>
                    </a:lnTo>
                    <a:lnTo>
                      <a:pt x="2366" y="388"/>
                    </a:lnTo>
                    <a:lnTo>
                      <a:pt x="2364" y="388"/>
                    </a:lnTo>
                    <a:lnTo>
                      <a:pt x="2364" y="388"/>
                    </a:lnTo>
                    <a:lnTo>
                      <a:pt x="2358" y="388"/>
                    </a:lnTo>
                    <a:lnTo>
                      <a:pt x="2352" y="388"/>
                    </a:lnTo>
                    <a:lnTo>
                      <a:pt x="2348" y="388"/>
                    </a:lnTo>
                    <a:lnTo>
                      <a:pt x="2342" y="388"/>
                    </a:lnTo>
                    <a:lnTo>
                      <a:pt x="2340" y="388"/>
                    </a:lnTo>
                    <a:lnTo>
                      <a:pt x="2336" y="386"/>
                    </a:lnTo>
                    <a:lnTo>
                      <a:pt x="2330" y="386"/>
                    </a:lnTo>
                    <a:lnTo>
                      <a:pt x="2324" y="384"/>
                    </a:lnTo>
                    <a:lnTo>
                      <a:pt x="2322" y="384"/>
                    </a:lnTo>
                    <a:lnTo>
                      <a:pt x="2318" y="382"/>
                    </a:lnTo>
                    <a:lnTo>
                      <a:pt x="2316" y="382"/>
                    </a:lnTo>
                    <a:lnTo>
                      <a:pt x="2316" y="382"/>
                    </a:lnTo>
                    <a:lnTo>
                      <a:pt x="2312" y="382"/>
                    </a:lnTo>
                    <a:lnTo>
                      <a:pt x="2310" y="380"/>
                    </a:lnTo>
                    <a:lnTo>
                      <a:pt x="2308" y="380"/>
                    </a:lnTo>
                    <a:lnTo>
                      <a:pt x="2306" y="380"/>
                    </a:lnTo>
                    <a:lnTo>
                      <a:pt x="2304" y="380"/>
                    </a:lnTo>
                    <a:lnTo>
                      <a:pt x="2300" y="378"/>
                    </a:lnTo>
                    <a:lnTo>
                      <a:pt x="2294" y="376"/>
                    </a:lnTo>
                    <a:lnTo>
                      <a:pt x="2290" y="376"/>
                    </a:lnTo>
                    <a:lnTo>
                      <a:pt x="2288" y="376"/>
                    </a:lnTo>
                    <a:lnTo>
                      <a:pt x="2286" y="376"/>
                    </a:lnTo>
                    <a:lnTo>
                      <a:pt x="2284" y="376"/>
                    </a:lnTo>
                    <a:lnTo>
                      <a:pt x="2282" y="376"/>
                    </a:lnTo>
                    <a:lnTo>
                      <a:pt x="2282" y="376"/>
                    </a:lnTo>
                    <a:lnTo>
                      <a:pt x="2282" y="376"/>
                    </a:lnTo>
                    <a:lnTo>
                      <a:pt x="2280" y="376"/>
                    </a:lnTo>
                    <a:lnTo>
                      <a:pt x="2280" y="376"/>
                    </a:lnTo>
                    <a:lnTo>
                      <a:pt x="2280" y="376"/>
                    </a:lnTo>
                    <a:lnTo>
                      <a:pt x="2278" y="378"/>
                    </a:lnTo>
                    <a:lnTo>
                      <a:pt x="2278" y="378"/>
                    </a:lnTo>
                    <a:lnTo>
                      <a:pt x="2278" y="378"/>
                    </a:lnTo>
                    <a:lnTo>
                      <a:pt x="2276" y="382"/>
                    </a:lnTo>
                    <a:lnTo>
                      <a:pt x="2276" y="382"/>
                    </a:lnTo>
                    <a:lnTo>
                      <a:pt x="2276" y="382"/>
                    </a:lnTo>
                    <a:lnTo>
                      <a:pt x="2274" y="386"/>
                    </a:lnTo>
                    <a:lnTo>
                      <a:pt x="2274" y="386"/>
                    </a:lnTo>
                    <a:lnTo>
                      <a:pt x="2274" y="392"/>
                    </a:lnTo>
                    <a:lnTo>
                      <a:pt x="2274" y="392"/>
                    </a:lnTo>
                    <a:lnTo>
                      <a:pt x="2274" y="392"/>
                    </a:lnTo>
                    <a:lnTo>
                      <a:pt x="2274" y="394"/>
                    </a:lnTo>
                    <a:lnTo>
                      <a:pt x="2274" y="394"/>
                    </a:lnTo>
                    <a:lnTo>
                      <a:pt x="2276" y="396"/>
                    </a:lnTo>
                    <a:lnTo>
                      <a:pt x="2276" y="400"/>
                    </a:lnTo>
                    <a:lnTo>
                      <a:pt x="2278" y="404"/>
                    </a:lnTo>
                    <a:lnTo>
                      <a:pt x="2280" y="408"/>
                    </a:lnTo>
                    <a:lnTo>
                      <a:pt x="2282" y="412"/>
                    </a:lnTo>
                    <a:lnTo>
                      <a:pt x="2282" y="416"/>
                    </a:lnTo>
                    <a:lnTo>
                      <a:pt x="2284" y="420"/>
                    </a:lnTo>
                    <a:lnTo>
                      <a:pt x="2284" y="420"/>
                    </a:lnTo>
                    <a:lnTo>
                      <a:pt x="2284" y="420"/>
                    </a:lnTo>
                    <a:lnTo>
                      <a:pt x="2282" y="420"/>
                    </a:lnTo>
                    <a:lnTo>
                      <a:pt x="2280" y="420"/>
                    </a:lnTo>
                    <a:lnTo>
                      <a:pt x="2276" y="420"/>
                    </a:lnTo>
                    <a:lnTo>
                      <a:pt x="2272" y="420"/>
                    </a:lnTo>
                    <a:lnTo>
                      <a:pt x="2268" y="418"/>
                    </a:lnTo>
                    <a:lnTo>
                      <a:pt x="2266" y="418"/>
                    </a:lnTo>
                    <a:lnTo>
                      <a:pt x="2262" y="418"/>
                    </a:lnTo>
                    <a:lnTo>
                      <a:pt x="2258" y="416"/>
                    </a:lnTo>
                    <a:lnTo>
                      <a:pt x="2254" y="416"/>
                    </a:lnTo>
                    <a:lnTo>
                      <a:pt x="2250" y="414"/>
                    </a:lnTo>
                    <a:lnTo>
                      <a:pt x="2252" y="416"/>
                    </a:lnTo>
                    <a:lnTo>
                      <a:pt x="2250" y="414"/>
                    </a:lnTo>
                    <a:lnTo>
                      <a:pt x="2250" y="414"/>
                    </a:lnTo>
                    <a:lnTo>
                      <a:pt x="2248" y="412"/>
                    </a:lnTo>
                    <a:lnTo>
                      <a:pt x="2248" y="410"/>
                    </a:lnTo>
                    <a:lnTo>
                      <a:pt x="2248" y="408"/>
                    </a:lnTo>
                    <a:lnTo>
                      <a:pt x="2246" y="404"/>
                    </a:lnTo>
                    <a:lnTo>
                      <a:pt x="2246" y="402"/>
                    </a:lnTo>
                    <a:lnTo>
                      <a:pt x="2246" y="398"/>
                    </a:lnTo>
                    <a:lnTo>
                      <a:pt x="2246" y="400"/>
                    </a:lnTo>
                    <a:lnTo>
                      <a:pt x="2248" y="398"/>
                    </a:lnTo>
                    <a:lnTo>
                      <a:pt x="2248" y="396"/>
                    </a:lnTo>
                    <a:lnTo>
                      <a:pt x="2248" y="396"/>
                    </a:lnTo>
                    <a:lnTo>
                      <a:pt x="2250" y="394"/>
                    </a:lnTo>
                    <a:lnTo>
                      <a:pt x="2252" y="394"/>
                    </a:lnTo>
                    <a:lnTo>
                      <a:pt x="2256" y="394"/>
                    </a:lnTo>
                    <a:lnTo>
                      <a:pt x="2258" y="394"/>
                    </a:lnTo>
                    <a:lnTo>
                      <a:pt x="2262" y="392"/>
                    </a:lnTo>
                    <a:lnTo>
                      <a:pt x="2264" y="392"/>
                    </a:lnTo>
                    <a:lnTo>
                      <a:pt x="2264" y="392"/>
                    </a:lnTo>
                    <a:lnTo>
                      <a:pt x="2264" y="392"/>
                    </a:lnTo>
                    <a:lnTo>
                      <a:pt x="2266" y="390"/>
                    </a:lnTo>
                    <a:lnTo>
                      <a:pt x="2266" y="390"/>
                    </a:lnTo>
                    <a:lnTo>
                      <a:pt x="2266" y="388"/>
                    </a:lnTo>
                    <a:lnTo>
                      <a:pt x="2266" y="386"/>
                    </a:lnTo>
                    <a:lnTo>
                      <a:pt x="2266" y="386"/>
                    </a:lnTo>
                    <a:lnTo>
                      <a:pt x="2264" y="386"/>
                    </a:lnTo>
                    <a:lnTo>
                      <a:pt x="2264" y="384"/>
                    </a:lnTo>
                    <a:lnTo>
                      <a:pt x="2262" y="382"/>
                    </a:lnTo>
                    <a:lnTo>
                      <a:pt x="2258" y="380"/>
                    </a:lnTo>
                    <a:lnTo>
                      <a:pt x="2256" y="378"/>
                    </a:lnTo>
                    <a:lnTo>
                      <a:pt x="2254" y="378"/>
                    </a:lnTo>
                    <a:lnTo>
                      <a:pt x="2254" y="378"/>
                    </a:lnTo>
                    <a:lnTo>
                      <a:pt x="2254" y="378"/>
                    </a:lnTo>
                    <a:lnTo>
                      <a:pt x="2250" y="376"/>
                    </a:lnTo>
                    <a:lnTo>
                      <a:pt x="2250" y="376"/>
                    </a:lnTo>
                    <a:lnTo>
                      <a:pt x="2250" y="376"/>
                    </a:lnTo>
                    <a:lnTo>
                      <a:pt x="2248" y="376"/>
                    </a:lnTo>
                    <a:lnTo>
                      <a:pt x="2248" y="376"/>
                    </a:lnTo>
                    <a:lnTo>
                      <a:pt x="2248" y="376"/>
                    </a:lnTo>
                    <a:lnTo>
                      <a:pt x="2246" y="378"/>
                    </a:lnTo>
                    <a:lnTo>
                      <a:pt x="2246" y="378"/>
                    </a:lnTo>
                    <a:lnTo>
                      <a:pt x="2244" y="378"/>
                    </a:lnTo>
                    <a:lnTo>
                      <a:pt x="2244" y="380"/>
                    </a:lnTo>
                    <a:lnTo>
                      <a:pt x="2244" y="380"/>
                    </a:lnTo>
                    <a:lnTo>
                      <a:pt x="2244" y="380"/>
                    </a:lnTo>
                    <a:lnTo>
                      <a:pt x="2242" y="382"/>
                    </a:lnTo>
                    <a:lnTo>
                      <a:pt x="2240" y="386"/>
                    </a:lnTo>
                    <a:lnTo>
                      <a:pt x="2238" y="390"/>
                    </a:lnTo>
                    <a:lnTo>
                      <a:pt x="2236" y="392"/>
                    </a:lnTo>
                    <a:lnTo>
                      <a:pt x="2234" y="394"/>
                    </a:lnTo>
                    <a:lnTo>
                      <a:pt x="2230" y="398"/>
                    </a:lnTo>
                    <a:lnTo>
                      <a:pt x="2230" y="400"/>
                    </a:lnTo>
                    <a:lnTo>
                      <a:pt x="2228" y="402"/>
                    </a:lnTo>
                    <a:lnTo>
                      <a:pt x="2226" y="402"/>
                    </a:lnTo>
                    <a:lnTo>
                      <a:pt x="2226" y="402"/>
                    </a:lnTo>
                    <a:lnTo>
                      <a:pt x="2226" y="402"/>
                    </a:lnTo>
                    <a:lnTo>
                      <a:pt x="2224" y="402"/>
                    </a:lnTo>
                    <a:lnTo>
                      <a:pt x="2224" y="402"/>
                    </a:lnTo>
                    <a:lnTo>
                      <a:pt x="2222" y="400"/>
                    </a:lnTo>
                    <a:lnTo>
                      <a:pt x="2220" y="398"/>
                    </a:lnTo>
                    <a:lnTo>
                      <a:pt x="2220" y="398"/>
                    </a:lnTo>
                    <a:lnTo>
                      <a:pt x="2220" y="398"/>
                    </a:lnTo>
                    <a:lnTo>
                      <a:pt x="2218" y="398"/>
                    </a:lnTo>
                    <a:lnTo>
                      <a:pt x="2218" y="398"/>
                    </a:lnTo>
                    <a:lnTo>
                      <a:pt x="2216" y="398"/>
                    </a:lnTo>
                    <a:lnTo>
                      <a:pt x="2216" y="396"/>
                    </a:lnTo>
                    <a:lnTo>
                      <a:pt x="2216" y="396"/>
                    </a:lnTo>
                    <a:lnTo>
                      <a:pt x="2214" y="396"/>
                    </a:lnTo>
                    <a:lnTo>
                      <a:pt x="2212" y="396"/>
                    </a:lnTo>
                    <a:lnTo>
                      <a:pt x="2210" y="396"/>
                    </a:lnTo>
                    <a:lnTo>
                      <a:pt x="2204" y="398"/>
                    </a:lnTo>
                    <a:lnTo>
                      <a:pt x="2198" y="398"/>
                    </a:lnTo>
                    <a:lnTo>
                      <a:pt x="2196" y="398"/>
                    </a:lnTo>
                    <a:lnTo>
                      <a:pt x="2194" y="398"/>
                    </a:lnTo>
                    <a:lnTo>
                      <a:pt x="2194" y="398"/>
                    </a:lnTo>
                    <a:lnTo>
                      <a:pt x="2192" y="396"/>
                    </a:lnTo>
                    <a:lnTo>
                      <a:pt x="2192" y="394"/>
                    </a:lnTo>
                    <a:lnTo>
                      <a:pt x="2190" y="390"/>
                    </a:lnTo>
                    <a:lnTo>
                      <a:pt x="2190" y="390"/>
                    </a:lnTo>
                    <a:lnTo>
                      <a:pt x="2190" y="390"/>
                    </a:lnTo>
                    <a:lnTo>
                      <a:pt x="2188" y="390"/>
                    </a:lnTo>
                    <a:lnTo>
                      <a:pt x="2188" y="390"/>
                    </a:lnTo>
                    <a:lnTo>
                      <a:pt x="2186" y="388"/>
                    </a:lnTo>
                    <a:lnTo>
                      <a:pt x="2186" y="388"/>
                    </a:lnTo>
                    <a:lnTo>
                      <a:pt x="2186" y="388"/>
                    </a:lnTo>
                    <a:lnTo>
                      <a:pt x="2184" y="388"/>
                    </a:lnTo>
                    <a:lnTo>
                      <a:pt x="2182" y="388"/>
                    </a:lnTo>
                    <a:lnTo>
                      <a:pt x="2178" y="388"/>
                    </a:lnTo>
                    <a:lnTo>
                      <a:pt x="2176" y="388"/>
                    </a:lnTo>
                    <a:lnTo>
                      <a:pt x="2172" y="388"/>
                    </a:lnTo>
                    <a:lnTo>
                      <a:pt x="2164" y="388"/>
                    </a:lnTo>
                    <a:lnTo>
                      <a:pt x="2162" y="388"/>
                    </a:lnTo>
                    <a:lnTo>
                      <a:pt x="2158" y="388"/>
                    </a:lnTo>
                    <a:lnTo>
                      <a:pt x="2156" y="390"/>
                    </a:lnTo>
                    <a:lnTo>
                      <a:pt x="2154" y="390"/>
                    </a:lnTo>
                    <a:lnTo>
                      <a:pt x="2154" y="390"/>
                    </a:lnTo>
                    <a:lnTo>
                      <a:pt x="2154" y="390"/>
                    </a:lnTo>
                    <a:lnTo>
                      <a:pt x="2150" y="392"/>
                    </a:lnTo>
                    <a:lnTo>
                      <a:pt x="2150" y="392"/>
                    </a:lnTo>
                    <a:lnTo>
                      <a:pt x="2150" y="392"/>
                    </a:lnTo>
                    <a:lnTo>
                      <a:pt x="2148" y="394"/>
                    </a:lnTo>
                    <a:lnTo>
                      <a:pt x="2144" y="398"/>
                    </a:lnTo>
                    <a:lnTo>
                      <a:pt x="2144" y="400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0" y="402"/>
                    </a:lnTo>
                    <a:lnTo>
                      <a:pt x="2140" y="400"/>
                    </a:lnTo>
                    <a:lnTo>
                      <a:pt x="2140" y="400"/>
                    </a:lnTo>
                    <a:lnTo>
                      <a:pt x="2140" y="400"/>
                    </a:lnTo>
                    <a:lnTo>
                      <a:pt x="2138" y="398"/>
                    </a:lnTo>
                    <a:lnTo>
                      <a:pt x="2138" y="398"/>
                    </a:lnTo>
                    <a:lnTo>
                      <a:pt x="2138" y="398"/>
                    </a:lnTo>
                    <a:lnTo>
                      <a:pt x="2136" y="396"/>
                    </a:lnTo>
                    <a:lnTo>
                      <a:pt x="2132" y="394"/>
                    </a:lnTo>
                    <a:lnTo>
                      <a:pt x="2130" y="390"/>
                    </a:lnTo>
                    <a:lnTo>
                      <a:pt x="2128" y="390"/>
                    </a:lnTo>
                    <a:lnTo>
                      <a:pt x="2128" y="390"/>
                    </a:lnTo>
                    <a:lnTo>
                      <a:pt x="2128" y="390"/>
                    </a:lnTo>
                    <a:lnTo>
                      <a:pt x="2126" y="388"/>
                    </a:lnTo>
                    <a:lnTo>
                      <a:pt x="2120" y="388"/>
                    </a:lnTo>
                    <a:lnTo>
                      <a:pt x="2118" y="388"/>
                    </a:lnTo>
                    <a:lnTo>
                      <a:pt x="2118" y="386"/>
                    </a:lnTo>
                    <a:lnTo>
                      <a:pt x="2118" y="386"/>
                    </a:lnTo>
                    <a:lnTo>
                      <a:pt x="2120" y="384"/>
                    </a:lnTo>
                    <a:lnTo>
                      <a:pt x="2124" y="382"/>
                    </a:lnTo>
                    <a:lnTo>
                      <a:pt x="2124" y="382"/>
                    </a:lnTo>
                    <a:lnTo>
                      <a:pt x="2124" y="380"/>
                    </a:lnTo>
                    <a:lnTo>
                      <a:pt x="2124" y="378"/>
                    </a:lnTo>
                    <a:lnTo>
                      <a:pt x="2124" y="378"/>
                    </a:lnTo>
                    <a:lnTo>
                      <a:pt x="2126" y="378"/>
                    </a:lnTo>
                    <a:lnTo>
                      <a:pt x="2126" y="376"/>
                    </a:lnTo>
                    <a:lnTo>
                      <a:pt x="2126" y="376"/>
                    </a:lnTo>
                    <a:lnTo>
                      <a:pt x="2126" y="376"/>
                    </a:lnTo>
                    <a:lnTo>
                      <a:pt x="2126" y="372"/>
                    </a:lnTo>
                    <a:lnTo>
                      <a:pt x="2126" y="372"/>
                    </a:lnTo>
                    <a:lnTo>
                      <a:pt x="2126" y="368"/>
                    </a:lnTo>
                    <a:lnTo>
                      <a:pt x="2126" y="366"/>
                    </a:lnTo>
                    <a:lnTo>
                      <a:pt x="2126" y="362"/>
                    </a:lnTo>
                    <a:lnTo>
                      <a:pt x="2124" y="358"/>
                    </a:lnTo>
                    <a:lnTo>
                      <a:pt x="2122" y="356"/>
                    </a:lnTo>
                    <a:lnTo>
                      <a:pt x="2120" y="354"/>
                    </a:lnTo>
                    <a:lnTo>
                      <a:pt x="2120" y="350"/>
                    </a:lnTo>
                    <a:lnTo>
                      <a:pt x="2116" y="346"/>
                    </a:lnTo>
                    <a:lnTo>
                      <a:pt x="2114" y="342"/>
                    </a:lnTo>
                    <a:lnTo>
                      <a:pt x="2112" y="340"/>
                    </a:lnTo>
                    <a:lnTo>
                      <a:pt x="2108" y="336"/>
                    </a:lnTo>
                    <a:lnTo>
                      <a:pt x="2108" y="336"/>
                    </a:lnTo>
                    <a:lnTo>
                      <a:pt x="2108" y="336"/>
                    </a:lnTo>
                    <a:lnTo>
                      <a:pt x="2104" y="334"/>
                    </a:lnTo>
                    <a:lnTo>
                      <a:pt x="2104" y="334"/>
                    </a:lnTo>
                    <a:lnTo>
                      <a:pt x="2104" y="334"/>
                    </a:lnTo>
                    <a:lnTo>
                      <a:pt x="2098" y="332"/>
                    </a:lnTo>
                    <a:lnTo>
                      <a:pt x="2094" y="330"/>
                    </a:lnTo>
                    <a:lnTo>
                      <a:pt x="2088" y="330"/>
                    </a:lnTo>
                    <a:lnTo>
                      <a:pt x="2082" y="328"/>
                    </a:lnTo>
                    <a:lnTo>
                      <a:pt x="2076" y="328"/>
                    </a:lnTo>
                    <a:lnTo>
                      <a:pt x="2068" y="328"/>
                    </a:lnTo>
                    <a:lnTo>
                      <a:pt x="2062" y="328"/>
                    </a:lnTo>
                    <a:lnTo>
                      <a:pt x="2056" y="328"/>
                    </a:lnTo>
                    <a:lnTo>
                      <a:pt x="2052" y="328"/>
                    </a:lnTo>
                    <a:lnTo>
                      <a:pt x="2048" y="328"/>
                    </a:lnTo>
                    <a:lnTo>
                      <a:pt x="2048" y="328"/>
                    </a:lnTo>
                    <a:lnTo>
                      <a:pt x="2046" y="328"/>
                    </a:lnTo>
                    <a:lnTo>
                      <a:pt x="2044" y="330"/>
                    </a:lnTo>
                    <a:lnTo>
                      <a:pt x="2044" y="330"/>
                    </a:lnTo>
                    <a:lnTo>
                      <a:pt x="2044" y="330"/>
                    </a:lnTo>
                    <a:lnTo>
                      <a:pt x="2042" y="332"/>
                    </a:lnTo>
                    <a:lnTo>
                      <a:pt x="2042" y="332"/>
                    </a:lnTo>
                    <a:lnTo>
                      <a:pt x="2040" y="332"/>
                    </a:lnTo>
                    <a:lnTo>
                      <a:pt x="2038" y="334"/>
                    </a:lnTo>
                    <a:lnTo>
                      <a:pt x="2038" y="336"/>
                    </a:lnTo>
                    <a:lnTo>
                      <a:pt x="2036" y="338"/>
                    </a:lnTo>
                    <a:lnTo>
                      <a:pt x="2036" y="338"/>
                    </a:lnTo>
                    <a:lnTo>
                      <a:pt x="2034" y="340"/>
                    </a:lnTo>
                    <a:lnTo>
                      <a:pt x="2032" y="340"/>
                    </a:lnTo>
                    <a:lnTo>
                      <a:pt x="2030" y="340"/>
                    </a:lnTo>
                    <a:lnTo>
                      <a:pt x="2026" y="340"/>
                    </a:lnTo>
                    <a:lnTo>
                      <a:pt x="2018" y="338"/>
                    </a:lnTo>
                    <a:lnTo>
                      <a:pt x="2014" y="336"/>
                    </a:lnTo>
                    <a:lnTo>
                      <a:pt x="2010" y="336"/>
                    </a:lnTo>
                    <a:lnTo>
                      <a:pt x="2006" y="334"/>
                    </a:lnTo>
                    <a:lnTo>
                      <a:pt x="2004" y="334"/>
                    </a:lnTo>
                    <a:lnTo>
                      <a:pt x="2002" y="332"/>
                    </a:lnTo>
                    <a:lnTo>
                      <a:pt x="2002" y="334"/>
                    </a:lnTo>
                    <a:lnTo>
                      <a:pt x="2000" y="332"/>
                    </a:lnTo>
                    <a:lnTo>
                      <a:pt x="2000" y="332"/>
                    </a:lnTo>
                    <a:lnTo>
                      <a:pt x="2000" y="332"/>
                    </a:lnTo>
                    <a:lnTo>
                      <a:pt x="1998" y="330"/>
                    </a:lnTo>
                    <a:lnTo>
                      <a:pt x="1996" y="328"/>
                    </a:lnTo>
                    <a:lnTo>
                      <a:pt x="1994" y="326"/>
                    </a:lnTo>
                    <a:lnTo>
                      <a:pt x="1992" y="326"/>
                    </a:lnTo>
                    <a:lnTo>
                      <a:pt x="1988" y="322"/>
                    </a:lnTo>
                    <a:lnTo>
                      <a:pt x="1984" y="318"/>
                    </a:lnTo>
                    <a:lnTo>
                      <a:pt x="1980" y="314"/>
                    </a:lnTo>
                    <a:lnTo>
                      <a:pt x="1978" y="310"/>
                    </a:lnTo>
                    <a:lnTo>
                      <a:pt x="1974" y="306"/>
                    </a:lnTo>
                    <a:lnTo>
                      <a:pt x="1972" y="304"/>
                    </a:lnTo>
                    <a:lnTo>
                      <a:pt x="1968" y="300"/>
                    </a:lnTo>
                    <a:lnTo>
                      <a:pt x="1966" y="296"/>
                    </a:lnTo>
                    <a:lnTo>
                      <a:pt x="1966" y="296"/>
                    </a:lnTo>
                    <a:lnTo>
                      <a:pt x="1966" y="294"/>
                    </a:lnTo>
                    <a:lnTo>
                      <a:pt x="1966" y="290"/>
                    </a:lnTo>
                    <a:lnTo>
                      <a:pt x="1968" y="286"/>
                    </a:lnTo>
                    <a:lnTo>
                      <a:pt x="1968" y="284"/>
                    </a:lnTo>
                    <a:lnTo>
                      <a:pt x="1968" y="284"/>
                    </a:lnTo>
                    <a:lnTo>
                      <a:pt x="1968" y="284"/>
                    </a:lnTo>
                    <a:lnTo>
                      <a:pt x="1966" y="282"/>
                    </a:lnTo>
                    <a:lnTo>
                      <a:pt x="1966" y="282"/>
                    </a:lnTo>
                    <a:lnTo>
                      <a:pt x="1966" y="280"/>
                    </a:lnTo>
                    <a:lnTo>
                      <a:pt x="1964" y="278"/>
                    </a:lnTo>
                    <a:lnTo>
                      <a:pt x="1964" y="278"/>
                    </a:lnTo>
                    <a:lnTo>
                      <a:pt x="1964" y="278"/>
                    </a:lnTo>
                    <a:lnTo>
                      <a:pt x="1962" y="276"/>
                    </a:lnTo>
                    <a:lnTo>
                      <a:pt x="1962" y="276"/>
                    </a:lnTo>
                    <a:lnTo>
                      <a:pt x="1962" y="276"/>
                    </a:lnTo>
                    <a:lnTo>
                      <a:pt x="1960" y="274"/>
                    </a:lnTo>
                    <a:lnTo>
                      <a:pt x="1958" y="274"/>
                    </a:lnTo>
                    <a:lnTo>
                      <a:pt x="1954" y="272"/>
                    </a:lnTo>
                    <a:lnTo>
                      <a:pt x="1952" y="270"/>
                    </a:lnTo>
                    <a:lnTo>
                      <a:pt x="1948" y="270"/>
                    </a:lnTo>
                    <a:lnTo>
                      <a:pt x="1944" y="268"/>
                    </a:lnTo>
                    <a:lnTo>
                      <a:pt x="1940" y="268"/>
                    </a:lnTo>
                    <a:lnTo>
                      <a:pt x="1934" y="268"/>
                    </a:lnTo>
                    <a:lnTo>
                      <a:pt x="1924" y="266"/>
                    </a:lnTo>
                    <a:lnTo>
                      <a:pt x="1920" y="266"/>
                    </a:lnTo>
                    <a:lnTo>
                      <a:pt x="1916" y="264"/>
                    </a:lnTo>
                    <a:lnTo>
                      <a:pt x="1914" y="264"/>
                    </a:lnTo>
                    <a:lnTo>
                      <a:pt x="1910" y="262"/>
                    </a:lnTo>
                    <a:lnTo>
                      <a:pt x="1906" y="260"/>
                    </a:lnTo>
                    <a:lnTo>
                      <a:pt x="1900" y="256"/>
                    </a:lnTo>
                    <a:lnTo>
                      <a:pt x="1896" y="254"/>
                    </a:lnTo>
                    <a:lnTo>
                      <a:pt x="1890" y="252"/>
                    </a:lnTo>
                    <a:lnTo>
                      <a:pt x="1884" y="250"/>
                    </a:lnTo>
                    <a:lnTo>
                      <a:pt x="1876" y="248"/>
                    </a:lnTo>
                    <a:lnTo>
                      <a:pt x="1870" y="248"/>
                    </a:lnTo>
                    <a:lnTo>
                      <a:pt x="1870" y="248"/>
                    </a:lnTo>
                    <a:lnTo>
                      <a:pt x="1866" y="248"/>
                    </a:lnTo>
                    <a:lnTo>
                      <a:pt x="1862" y="248"/>
                    </a:lnTo>
                    <a:lnTo>
                      <a:pt x="1852" y="250"/>
                    </a:lnTo>
                    <a:lnTo>
                      <a:pt x="1848" y="252"/>
                    </a:lnTo>
                    <a:lnTo>
                      <a:pt x="1844" y="254"/>
                    </a:lnTo>
                    <a:lnTo>
                      <a:pt x="1840" y="254"/>
                    </a:lnTo>
                    <a:lnTo>
                      <a:pt x="1836" y="256"/>
                    </a:lnTo>
                    <a:lnTo>
                      <a:pt x="1832" y="258"/>
                    </a:lnTo>
                    <a:lnTo>
                      <a:pt x="1828" y="260"/>
                    </a:lnTo>
                    <a:lnTo>
                      <a:pt x="1828" y="260"/>
                    </a:lnTo>
                    <a:lnTo>
                      <a:pt x="1828" y="260"/>
                    </a:lnTo>
                    <a:lnTo>
                      <a:pt x="1824" y="264"/>
                    </a:lnTo>
                    <a:lnTo>
                      <a:pt x="1824" y="264"/>
                    </a:lnTo>
                    <a:lnTo>
                      <a:pt x="1824" y="264"/>
                    </a:lnTo>
                    <a:lnTo>
                      <a:pt x="1822" y="266"/>
                    </a:lnTo>
                    <a:lnTo>
                      <a:pt x="1822" y="266"/>
                    </a:lnTo>
                    <a:lnTo>
                      <a:pt x="1822" y="268"/>
                    </a:lnTo>
                    <a:lnTo>
                      <a:pt x="1820" y="270"/>
                    </a:lnTo>
                    <a:lnTo>
                      <a:pt x="1820" y="274"/>
                    </a:lnTo>
                    <a:lnTo>
                      <a:pt x="1818" y="274"/>
                    </a:lnTo>
                    <a:lnTo>
                      <a:pt x="1818" y="274"/>
                    </a:lnTo>
                    <a:lnTo>
                      <a:pt x="1818" y="270"/>
                    </a:lnTo>
                    <a:lnTo>
                      <a:pt x="1818" y="266"/>
                    </a:lnTo>
                    <a:lnTo>
                      <a:pt x="1818" y="264"/>
                    </a:lnTo>
                    <a:lnTo>
                      <a:pt x="1818" y="262"/>
                    </a:lnTo>
                    <a:lnTo>
                      <a:pt x="1818" y="262"/>
                    </a:lnTo>
                    <a:lnTo>
                      <a:pt x="1818" y="262"/>
                    </a:lnTo>
                    <a:lnTo>
                      <a:pt x="1816" y="262"/>
                    </a:lnTo>
                    <a:lnTo>
                      <a:pt x="1816" y="260"/>
                    </a:lnTo>
                    <a:lnTo>
                      <a:pt x="1816" y="260"/>
                    </a:lnTo>
                    <a:lnTo>
                      <a:pt x="1814" y="260"/>
                    </a:lnTo>
                    <a:lnTo>
                      <a:pt x="1814" y="260"/>
                    </a:lnTo>
                    <a:lnTo>
                      <a:pt x="1814" y="260"/>
                    </a:lnTo>
                    <a:lnTo>
                      <a:pt x="1812" y="260"/>
                    </a:lnTo>
                    <a:lnTo>
                      <a:pt x="1812" y="260"/>
                    </a:lnTo>
                    <a:lnTo>
                      <a:pt x="1812" y="260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08" y="266"/>
                    </a:lnTo>
                    <a:lnTo>
                      <a:pt x="1806" y="268"/>
                    </a:lnTo>
                    <a:lnTo>
                      <a:pt x="1806" y="272"/>
                    </a:lnTo>
                    <a:lnTo>
                      <a:pt x="1804" y="276"/>
                    </a:lnTo>
                    <a:lnTo>
                      <a:pt x="1804" y="278"/>
                    </a:lnTo>
                    <a:lnTo>
                      <a:pt x="1804" y="280"/>
                    </a:lnTo>
                    <a:lnTo>
                      <a:pt x="1804" y="280"/>
                    </a:lnTo>
                    <a:lnTo>
                      <a:pt x="1804" y="282"/>
                    </a:lnTo>
                    <a:lnTo>
                      <a:pt x="1804" y="282"/>
                    </a:lnTo>
                    <a:lnTo>
                      <a:pt x="1804" y="282"/>
                    </a:lnTo>
                    <a:lnTo>
                      <a:pt x="1804" y="284"/>
                    </a:lnTo>
                    <a:lnTo>
                      <a:pt x="1806" y="284"/>
                    </a:lnTo>
                    <a:lnTo>
                      <a:pt x="1806" y="284"/>
                    </a:lnTo>
                    <a:lnTo>
                      <a:pt x="1806" y="286"/>
                    </a:lnTo>
                    <a:lnTo>
                      <a:pt x="1808" y="286"/>
                    </a:lnTo>
                    <a:lnTo>
                      <a:pt x="1810" y="286"/>
                    </a:lnTo>
                    <a:lnTo>
                      <a:pt x="1812" y="288"/>
                    </a:lnTo>
                    <a:lnTo>
                      <a:pt x="1814" y="288"/>
                    </a:lnTo>
                    <a:lnTo>
                      <a:pt x="1814" y="290"/>
                    </a:lnTo>
                    <a:lnTo>
                      <a:pt x="1814" y="292"/>
                    </a:lnTo>
                    <a:lnTo>
                      <a:pt x="1816" y="294"/>
                    </a:lnTo>
                    <a:lnTo>
                      <a:pt x="1816" y="298"/>
                    </a:lnTo>
                    <a:lnTo>
                      <a:pt x="1816" y="302"/>
                    </a:lnTo>
                    <a:lnTo>
                      <a:pt x="1816" y="304"/>
                    </a:lnTo>
                    <a:lnTo>
                      <a:pt x="1816" y="308"/>
                    </a:lnTo>
                    <a:lnTo>
                      <a:pt x="1816" y="310"/>
                    </a:lnTo>
                    <a:lnTo>
                      <a:pt x="1814" y="310"/>
                    </a:lnTo>
                    <a:lnTo>
                      <a:pt x="1814" y="310"/>
                    </a:lnTo>
                    <a:lnTo>
                      <a:pt x="1812" y="310"/>
                    </a:lnTo>
                    <a:lnTo>
                      <a:pt x="1808" y="310"/>
                    </a:lnTo>
                    <a:lnTo>
                      <a:pt x="1802" y="308"/>
                    </a:lnTo>
                    <a:lnTo>
                      <a:pt x="1800" y="306"/>
                    </a:lnTo>
                    <a:lnTo>
                      <a:pt x="1798" y="306"/>
                    </a:lnTo>
                    <a:lnTo>
                      <a:pt x="1798" y="306"/>
                    </a:lnTo>
                    <a:lnTo>
                      <a:pt x="1796" y="306"/>
                    </a:lnTo>
                    <a:lnTo>
                      <a:pt x="1794" y="306"/>
                    </a:lnTo>
                    <a:lnTo>
                      <a:pt x="1794" y="306"/>
                    </a:lnTo>
                    <a:lnTo>
                      <a:pt x="1792" y="308"/>
                    </a:lnTo>
                    <a:lnTo>
                      <a:pt x="1790" y="308"/>
                    </a:lnTo>
                    <a:lnTo>
                      <a:pt x="1790" y="308"/>
                    </a:lnTo>
                    <a:lnTo>
                      <a:pt x="1788" y="308"/>
                    </a:lnTo>
                    <a:lnTo>
                      <a:pt x="1786" y="308"/>
                    </a:lnTo>
                    <a:lnTo>
                      <a:pt x="1782" y="308"/>
                    </a:lnTo>
                    <a:lnTo>
                      <a:pt x="1780" y="308"/>
                    </a:lnTo>
                    <a:lnTo>
                      <a:pt x="1774" y="308"/>
                    </a:lnTo>
                    <a:lnTo>
                      <a:pt x="1770" y="308"/>
                    </a:lnTo>
                    <a:lnTo>
                      <a:pt x="1766" y="308"/>
                    </a:lnTo>
                    <a:lnTo>
                      <a:pt x="1760" y="308"/>
                    </a:lnTo>
                    <a:lnTo>
                      <a:pt x="1756" y="308"/>
                    </a:lnTo>
                    <a:lnTo>
                      <a:pt x="1754" y="308"/>
                    </a:lnTo>
                    <a:lnTo>
                      <a:pt x="1752" y="308"/>
                    </a:lnTo>
                    <a:lnTo>
                      <a:pt x="1752" y="308"/>
                    </a:lnTo>
                    <a:lnTo>
                      <a:pt x="1750" y="308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6" y="310"/>
                    </a:lnTo>
                    <a:lnTo>
                      <a:pt x="1746" y="312"/>
                    </a:lnTo>
                    <a:lnTo>
                      <a:pt x="1744" y="314"/>
                    </a:lnTo>
                    <a:lnTo>
                      <a:pt x="1744" y="314"/>
                    </a:lnTo>
                    <a:lnTo>
                      <a:pt x="1742" y="314"/>
                    </a:lnTo>
                    <a:lnTo>
                      <a:pt x="1742" y="314"/>
                    </a:lnTo>
                    <a:lnTo>
                      <a:pt x="1740" y="314"/>
                    </a:lnTo>
                    <a:lnTo>
                      <a:pt x="1734" y="316"/>
                    </a:lnTo>
                    <a:lnTo>
                      <a:pt x="1730" y="316"/>
                    </a:lnTo>
                    <a:lnTo>
                      <a:pt x="1728" y="316"/>
                    </a:lnTo>
                    <a:lnTo>
                      <a:pt x="1728" y="316"/>
                    </a:lnTo>
                    <a:lnTo>
                      <a:pt x="1726" y="314"/>
                    </a:lnTo>
                    <a:lnTo>
                      <a:pt x="1722" y="312"/>
                    </a:lnTo>
                    <a:lnTo>
                      <a:pt x="1724" y="312"/>
                    </a:lnTo>
                    <a:lnTo>
                      <a:pt x="1722" y="310"/>
                    </a:lnTo>
                    <a:lnTo>
                      <a:pt x="1720" y="306"/>
                    </a:lnTo>
                    <a:lnTo>
                      <a:pt x="1720" y="306"/>
                    </a:lnTo>
                    <a:lnTo>
                      <a:pt x="1720" y="304"/>
                    </a:lnTo>
                    <a:lnTo>
                      <a:pt x="1718" y="302"/>
                    </a:lnTo>
                    <a:lnTo>
                      <a:pt x="1718" y="296"/>
                    </a:lnTo>
                    <a:lnTo>
                      <a:pt x="1718" y="294"/>
                    </a:lnTo>
                    <a:lnTo>
                      <a:pt x="1718" y="292"/>
                    </a:lnTo>
                    <a:lnTo>
                      <a:pt x="1718" y="290"/>
                    </a:lnTo>
                    <a:lnTo>
                      <a:pt x="1718" y="290"/>
                    </a:lnTo>
                    <a:lnTo>
                      <a:pt x="1716" y="288"/>
                    </a:lnTo>
                    <a:lnTo>
                      <a:pt x="1716" y="288"/>
                    </a:lnTo>
                    <a:lnTo>
                      <a:pt x="1716" y="288"/>
                    </a:lnTo>
                    <a:lnTo>
                      <a:pt x="1714" y="286"/>
                    </a:lnTo>
                    <a:lnTo>
                      <a:pt x="1714" y="286"/>
                    </a:lnTo>
                    <a:lnTo>
                      <a:pt x="1714" y="286"/>
                    </a:lnTo>
                    <a:lnTo>
                      <a:pt x="1712" y="288"/>
                    </a:lnTo>
                    <a:lnTo>
                      <a:pt x="1710" y="288"/>
                    </a:lnTo>
                    <a:lnTo>
                      <a:pt x="1710" y="288"/>
                    </a:lnTo>
                    <a:lnTo>
                      <a:pt x="1710" y="288"/>
                    </a:lnTo>
                    <a:lnTo>
                      <a:pt x="1708" y="290"/>
                    </a:lnTo>
                    <a:lnTo>
                      <a:pt x="1706" y="292"/>
                    </a:lnTo>
                    <a:lnTo>
                      <a:pt x="1704" y="296"/>
                    </a:lnTo>
                    <a:lnTo>
                      <a:pt x="1702" y="298"/>
                    </a:lnTo>
                    <a:lnTo>
                      <a:pt x="1702" y="300"/>
                    </a:lnTo>
                    <a:lnTo>
                      <a:pt x="1700" y="302"/>
                    </a:lnTo>
                    <a:lnTo>
                      <a:pt x="1700" y="302"/>
                    </a:lnTo>
                    <a:lnTo>
                      <a:pt x="1700" y="304"/>
                    </a:lnTo>
                    <a:lnTo>
                      <a:pt x="1700" y="306"/>
                    </a:lnTo>
                    <a:lnTo>
                      <a:pt x="1700" y="308"/>
                    </a:lnTo>
                    <a:lnTo>
                      <a:pt x="1700" y="312"/>
                    </a:lnTo>
                    <a:lnTo>
                      <a:pt x="1700" y="316"/>
                    </a:lnTo>
                    <a:lnTo>
                      <a:pt x="1700" y="318"/>
                    </a:lnTo>
                    <a:lnTo>
                      <a:pt x="1698" y="322"/>
                    </a:lnTo>
                    <a:lnTo>
                      <a:pt x="1696" y="326"/>
                    </a:lnTo>
                    <a:lnTo>
                      <a:pt x="1696" y="330"/>
                    </a:lnTo>
                    <a:lnTo>
                      <a:pt x="1694" y="334"/>
                    </a:lnTo>
                    <a:lnTo>
                      <a:pt x="1692" y="338"/>
                    </a:lnTo>
                    <a:lnTo>
                      <a:pt x="1690" y="342"/>
                    </a:lnTo>
                    <a:lnTo>
                      <a:pt x="1688" y="344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4" y="344"/>
                    </a:lnTo>
                    <a:lnTo>
                      <a:pt x="1682" y="342"/>
                    </a:lnTo>
                    <a:lnTo>
                      <a:pt x="1680" y="340"/>
                    </a:lnTo>
                    <a:lnTo>
                      <a:pt x="1678" y="336"/>
                    </a:lnTo>
                    <a:lnTo>
                      <a:pt x="1674" y="334"/>
                    </a:lnTo>
                    <a:lnTo>
                      <a:pt x="1672" y="330"/>
                    </a:lnTo>
                    <a:lnTo>
                      <a:pt x="1668" y="326"/>
                    </a:lnTo>
                    <a:lnTo>
                      <a:pt x="1666" y="322"/>
                    </a:lnTo>
                    <a:lnTo>
                      <a:pt x="1664" y="318"/>
                    </a:lnTo>
                    <a:lnTo>
                      <a:pt x="1662" y="314"/>
                    </a:lnTo>
                    <a:lnTo>
                      <a:pt x="1660" y="312"/>
                    </a:lnTo>
                    <a:lnTo>
                      <a:pt x="1660" y="308"/>
                    </a:lnTo>
                    <a:lnTo>
                      <a:pt x="1658" y="302"/>
                    </a:lnTo>
                    <a:lnTo>
                      <a:pt x="1658" y="294"/>
                    </a:lnTo>
                    <a:lnTo>
                      <a:pt x="1658" y="288"/>
                    </a:lnTo>
                    <a:lnTo>
                      <a:pt x="1658" y="286"/>
                    </a:lnTo>
                    <a:lnTo>
                      <a:pt x="1658" y="284"/>
                    </a:lnTo>
                    <a:lnTo>
                      <a:pt x="1658" y="284"/>
                    </a:lnTo>
                    <a:lnTo>
                      <a:pt x="1660" y="280"/>
                    </a:lnTo>
                    <a:lnTo>
                      <a:pt x="1662" y="276"/>
                    </a:lnTo>
                    <a:lnTo>
                      <a:pt x="1664" y="274"/>
                    </a:lnTo>
                    <a:lnTo>
                      <a:pt x="1664" y="274"/>
                    </a:lnTo>
                    <a:lnTo>
                      <a:pt x="1664" y="274"/>
                    </a:lnTo>
                    <a:lnTo>
                      <a:pt x="1664" y="272"/>
                    </a:lnTo>
                    <a:lnTo>
                      <a:pt x="1664" y="268"/>
                    </a:lnTo>
                    <a:lnTo>
                      <a:pt x="1664" y="264"/>
                    </a:lnTo>
                    <a:lnTo>
                      <a:pt x="1664" y="258"/>
                    </a:lnTo>
                    <a:lnTo>
                      <a:pt x="1664" y="250"/>
                    </a:lnTo>
                    <a:lnTo>
                      <a:pt x="1664" y="244"/>
                    </a:lnTo>
                    <a:lnTo>
                      <a:pt x="1664" y="244"/>
                    </a:lnTo>
                    <a:lnTo>
                      <a:pt x="1664" y="244"/>
                    </a:lnTo>
                    <a:lnTo>
                      <a:pt x="1662" y="240"/>
                    </a:lnTo>
                    <a:lnTo>
                      <a:pt x="1662" y="238"/>
                    </a:lnTo>
                    <a:lnTo>
                      <a:pt x="1658" y="232"/>
                    </a:lnTo>
                    <a:lnTo>
                      <a:pt x="1658" y="232"/>
                    </a:lnTo>
                    <a:lnTo>
                      <a:pt x="1658" y="232"/>
                    </a:lnTo>
                    <a:lnTo>
                      <a:pt x="1654" y="226"/>
                    </a:lnTo>
                    <a:lnTo>
                      <a:pt x="1648" y="222"/>
                    </a:lnTo>
                    <a:lnTo>
                      <a:pt x="1648" y="222"/>
                    </a:lnTo>
                    <a:lnTo>
                      <a:pt x="1648" y="222"/>
                    </a:lnTo>
                    <a:lnTo>
                      <a:pt x="1646" y="220"/>
                    </a:lnTo>
                    <a:lnTo>
                      <a:pt x="1646" y="220"/>
                    </a:lnTo>
                    <a:lnTo>
                      <a:pt x="1646" y="220"/>
                    </a:lnTo>
                    <a:lnTo>
                      <a:pt x="1642" y="218"/>
                    </a:lnTo>
                    <a:lnTo>
                      <a:pt x="1642" y="218"/>
                    </a:lnTo>
                    <a:lnTo>
                      <a:pt x="1642" y="218"/>
                    </a:lnTo>
                    <a:lnTo>
                      <a:pt x="1636" y="216"/>
                    </a:lnTo>
                    <a:lnTo>
                      <a:pt x="1630" y="216"/>
                    </a:lnTo>
                    <a:lnTo>
                      <a:pt x="1626" y="216"/>
                    </a:lnTo>
                    <a:lnTo>
                      <a:pt x="1624" y="214"/>
                    </a:lnTo>
                    <a:lnTo>
                      <a:pt x="1618" y="214"/>
                    </a:lnTo>
                    <a:lnTo>
                      <a:pt x="1614" y="212"/>
                    </a:lnTo>
                    <a:lnTo>
                      <a:pt x="1610" y="210"/>
                    </a:lnTo>
                    <a:lnTo>
                      <a:pt x="1606" y="210"/>
                    </a:lnTo>
                    <a:lnTo>
                      <a:pt x="1606" y="210"/>
                    </a:lnTo>
                    <a:lnTo>
                      <a:pt x="1604" y="208"/>
                    </a:lnTo>
                    <a:lnTo>
                      <a:pt x="1604" y="208"/>
                    </a:lnTo>
                    <a:lnTo>
                      <a:pt x="1602" y="206"/>
                    </a:lnTo>
                    <a:lnTo>
                      <a:pt x="1600" y="204"/>
                    </a:lnTo>
                    <a:lnTo>
                      <a:pt x="1598" y="202"/>
                    </a:lnTo>
                    <a:lnTo>
                      <a:pt x="1596" y="200"/>
                    </a:lnTo>
                    <a:lnTo>
                      <a:pt x="1596" y="200"/>
                    </a:lnTo>
                    <a:lnTo>
                      <a:pt x="1596" y="200"/>
                    </a:lnTo>
                    <a:lnTo>
                      <a:pt x="1594" y="198"/>
                    </a:lnTo>
                    <a:lnTo>
                      <a:pt x="1594" y="198"/>
                    </a:lnTo>
                    <a:lnTo>
                      <a:pt x="1594" y="198"/>
                    </a:lnTo>
                    <a:lnTo>
                      <a:pt x="1592" y="196"/>
                    </a:lnTo>
                    <a:lnTo>
                      <a:pt x="1592" y="196"/>
                    </a:lnTo>
                    <a:lnTo>
                      <a:pt x="1592" y="196"/>
                    </a:lnTo>
                    <a:lnTo>
                      <a:pt x="1586" y="196"/>
                    </a:lnTo>
                    <a:lnTo>
                      <a:pt x="1586" y="196"/>
                    </a:lnTo>
                    <a:lnTo>
                      <a:pt x="1582" y="198"/>
                    </a:lnTo>
                    <a:lnTo>
                      <a:pt x="1582" y="198"/>
                    </a:lnTo>
                    <a:lnTo>
                      <a:pt x="1582" y="198"/>
                    </a:lnTo>
                    <a:lnTo>
                      <a:pt x="1578" y="198"/>
                    </a:lnTo>
                    <a:lnTo>
                      <a:pt x="1578" y="198"/>
                    </a:lnTo>
                    <a:lnTo>
                      <a:pt x="1578" y="198"/>
                    </a:lnTo>
                    <a:lnTo>
                      <a:pt x="1576" y="200"/>
                    </a:lnTo>
                    <a:lnTo>
                      <a:pt x="1574" y="200"/>
                    </a:lnTo>
                    <a:lnTo>
                      <a:pt x="1574" y="200"/>
                    </a:lnTo>
                    <a:lnTo>
                      <a:pt x="1574" y="200"/>
                    </a:lnTo>
                    <a:lnTo>
                      <a:pt x="1572" y="202"/>
                    </a:lnTo>
                    <a:lnTo>
                      <a:pt x="1572" y="202"/>
                    </a:lnTo>
                    <a:lnTo>
                      <a:pt x="1572" y="204"/>
                    </a:lnTo>
                    <a:lnTo>
                      <a:pt x="1570" y="206"/>
                    </a:lnTo>
                    <a:lnTo>
                      <a:pt x="1570" y="206"/>
                    </a:lnTo>
                    <a:lnTo>
                      <a:pt x="1570" y="206"/>
                    </a:lnTo>
                    <a:lnTo>
                      <a:pt x="1568" y="210"/>
                    </a:lnTo>
                    <a:lnTo>
                      <a:pt x="1568" y="210"/>
                    </a:lnTo>
                    <a:lnTo>
                      <a:pt x="1568" y="210"/>
                    </a:lnTo>
                    <a:lnTo>
                      <a:pt x="1568" y="214"/>
                    </a:lnTo>
                    <a:lnTo>
                      <a:pt x="1568" y="214"/>
                    </a:lnTo>
                    <a:lnTo>
                      <a:pt x="1568" y="216"/>
                    </a:lnTo>
                    <a:lnTo>
                      <a:pt x="1568" y="216"/>
                    </a:lnTo>
                    <a:lnTo>
                      <a:pt x="1568" y="216"/>
                    </a:lnTo>
                    <a:lnTo>
                      <a:pt x="1570" y="220"/>
                    </a:lnTo>
                    <a:lnTo>
                      <a:pt x="1570" y="222"/>
                    </a:lnTo>
                    <a:lnTo>
                      <a:pt x="1572" y="224"/>
                    </a:lnTo>
                    <a:lnTo>
                      <a:pt x="1574" y="226"/>
                    </a:lnTo>
                    <a:lnTo>
                      <a:pt x="1574" y="228"/>
                    </a:lnTo>
                    <a:lnTo>
                      <a:pt x="1576" y="230"/>
                    </a:lnTo>
                    <a:lnTo>
                      <a:pt x="1576" y="232"/>
                    </a:lnTo>
                    <a:lnTo>
                      <a:pt x="1576" y="232"/>
                    </a:lnTo>
                    <a:lnTo>
                      <a:pt x="1576" y="234"/>
                    </a:lnTo>
                    <a:lnTo>
                      <a:pt x="1574" y="236"/>
                    </a:lnTo>
                    <a:lnTo>
                      <a:pt x="1570" y="238"/>
                    </a:lnTo>
                    <a:lnTo>
                      <a:pt x="1572" y="238"/>
                    </a:lnTo>
                    <a:lnTo>
                      <a:pt x="1570" y="238"/>
                    </a:lnTo>
                    <a:lnTo>
                      <a:pt x="1570" y="238"/>
                    </a:lnTo>
                    <a:lnTo>
                      <a:pt x="1568" y="236"/>
                    </a:lnTo>
                    <a:lnTo>
                      <a:pt x="1566" y="234"/>
                    </a:lnTo>
                    <a:lnTo>
                      <a:pt x="1566" y="234"/>
                    </a:lnTo>
                    <a:lnTo>
                      <a:pt x="1566" y="234"/>
                    </a:lnTo>
                    <a:lnTo>
                      <a:pt x="1564" y="234"/>
                    </a:lnTo>
                    <a:lnTo>
                      <a:pt x="1564" y="234"/>
                    </a:lnTo>
                    <a:lnTo>
                      <a:pt x="1564" y="234"/>
                    </a:lnTo>
                    <a:lnTo>
                      <a:pt x="1562" y="232"/>
                    </a:lnTo>
                    <a:lnTo>
                      <a:pt x="1560" y="232"/>
                    </a:lnTo>
                    <a:lnTo>
                      <a:pt x="1558" y="234"/>
                    </a:lnTo>
                    <a:lnTo>
                      <a:pt x="1556" y="234"/>
                    </a:lnTo>
                    <a:lnTo>
                      <a:pt x="1550" y="234"/>
                    </a:lnTo>
                    <a:lnTo>
                      <a:pt x="1544" y="236"/>
                    </a:lnTo>
                    <a:lnTo>
                      <a:pt x="1542" y="238"/>
                    </a:lnTo>
                    <a:lnTo>
                      <a:pt x="1540" y="238"/>
                    </a:lnTo>
                    <a:lnTo>
                      <a:pt x="1534" y="238"/>
                    </a:lnTo>
                    <a:lnTo>
                      <a:pt x="1530" y="238"/>
                    </a:lnTo>
                    <a:lnTo>
                      <a:pt x="1526" y="238"/>
                    </a:lnTo>
                    <a:lnTo>
                      <a:pt x="1526" y="238"/>
                    </a:lnTo>
                    <a:lnTo>
                      <a:pt x="1524" y="238"/>
                    </a:lnTo>
                    <a:lnTo>
                      <a:pt x="1524" y="238"/>
                    </a:lnTo>
                    <a:lnTo>
                      <a:pt x="1524" y="238"/>
                    </a:lnTo>
                    <a:lnTo>
                      <a:pt x="1522" y="236"/>
                    </a:lnTo>
                    <a:lnTo>
                      <a:pt x="1524" y="238"/>
                    </a:lnTo>
                    <a:lnTo>
                      <a:pt x="1522" y="234"/>
                    </a:lnTo>
                    <a:lnTo>
                      <a:pt x="1522" y="232"/>
                    </a:lnTo>
                    <a:lnTo>
                      <a:pt x="1522" y="230"/>
                    </a:lnTo>
                    <a:lnTo>
                      <a:pt x="1522" y="230"/>
                    </a:lnTo>
                    <a:lnTo>
                      <a:pt x="1522" y="230"/>
                    </a:lnTo>
                    <a:lnTo>
                      <a:pt x="1522" y="228"/>
                    </a:lnTo>
                    <a:lnTo>
                      <a:pt x="1522" y="228"/>
                    </a:lnTo>
                    <a:lnTo>
                      <a:pt x="1520" y="228"/>
                    </a:lnTo>
                    <a:lnTo>
                      <a:pt x="1520" y="228"/>
                    </a:lnTo>
                    <a:lnTo>
                      <a:pt x="1520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4" y="228"/>
                    </a:lnTo>
                    <a:lnTo>
                      <a:pt x="1512" y="230"/>
                    </a:lnTo>
                    <a:lnTo>
                      <a:pt x="1512" y="232"/>
                    </a:lnTo>
                    <a:lnTo>
                      <a:pt x="1510" y="234"/>
                    </a:lnTo>
                    <a:lnTo>
                      <a:pt x="1510" y="234"/>
                    </a:lnTo>
                    <a:lnTo>
                      <a:pt x="1508" y="234"/>
                    </a:lnTo>
                    <a:lnTo>
                      <a:pt x="1508" y="234"/>
                    </a:lnTo>
                    <a:lnTo>
                      <a:pt x="1508" y="234"/>
                    </a:lnTo>
                    <a:lnTo>
                      <a:pt x="1506" y="232"/>
                    </a:lnTo>
                    <a:lnTo>
                      <a:pt x="1504" y="230"/>
                    </a:lnTo>
                    <a:lnTo>
                      <a:pt x="1504" y="228"/>
                    </a:lnTo>
                    <a:lnTo>
                      <a:pt x="1504" y="228"/>
                    </a:lnTo>
                    <a:lnTo>
                      <a:pt x="1504" y="226"/>
                    </a:lnTo>
                    <a:lnTo>
                      <a:pt x="1506" y="220"/>
                    </a:lnTo>
                    <a:lnTo>
                      <a:pt x="1506" y="218"/>
                    </a:lnTo>
                    <a:lnTo>
                      <a:pt x="1506" y="218"/>
                    </a:lnTo>
                    <a:lnTo>
                      <a:pt x="1508" y="218"/>
                    </a:lnTo>
                    <a:lnTo>
                      <a:pt x="1508" y="216"/>
                    </a:lnTo>
                    <a:lnTo>
                      <a:pt x="1508" y="214"/>
                    </a:lnTo>
                    <a:lnTo>
                      <a:pt x="1508" y="212"/>
                    </a:lnTo>
                    <a:lnTo>
                      <a:pt x="1508" y="212"/>
                    </a:lnTo>
                    <a:lnTo>
                      <a:pt x="1506" y="210"/>
                    </a:lnTo>
                    <a:lnTo>
                      <a:pt x="1506" y="208"/>
                    </a:lnTo>
                    <a:lnTo>
                      <a:pt x="1506" y="208"/>
                    </a:lnTo>
                    <a:lnTo>
                      <a:pt x="1504" y="208"/>
                    </a:lnTo>
                    <a:lnTo>
                      <a:pt x="1502" y="206"/>
                    </a:lnTo>
                    <a:lnTo>
                      <a:pt x="1502" y="206"/>
                    </a:lnTo>
                    <a:lnTo>
                      <a:pt x="1502" y="206"/>
                    </a:lnTo>
                    <a:lnTo>
                      <a:pt x="1498" y="206"/>
                    </a:lnTo>
                    <a:lnTo>
                      <a:pt x="1494" y="204"/>
                    </a:lnTo>
                    <a:lnTo>
                      <a:pt x="1488" y="204"/>
                    </a:lnTo>
                    <a:lnTo>
                      <a:pt x="1480" y="204"/>
                    </a:lnTo>
                    <a:lnTo>
                      <a:pt x="1476" y="204"/>
                    </a:lnTo>
                    <a:lnTo>
                      <a:pt x="1472" y="202"/>
                    </a:lnTo>
                    <a:lnTo>
                      <a:pt x="1466" y="202"/>
                    </a:lnTo>
                    <a:lnTo>
                      <a:pt x="1458" y="202"/>
                    </a:lnTo>
                    <a:lnTo>
                      <a:pt x="1452" y="202"/>
                    </a:lnTo>
                    <a:lnTo>
                      <a:pt x="1446" y="202"/>
                    </a:lnTo>
                    <a:lnTo>
                      <a:pt x="1442" y="204"/>
                    </a:lnTo>
                    <a:lnTo>
                      <a:pt x="1438" y="204"/>
                    </a:lnTo>
                    <a:lnTo>
                      <a:pt x="1432" y="204"/>
                    </a:lnTo>
                    <a:lnTo>
                      <a:pt x="1428" y="204"/>
                    </a:lnTo>
                    <a:lnTo>
                      <a:pt x="1424" y="204"/>
                    </a:lnTo>
                    <a:lnTo>
                      <a:pt x="1424" y="204"/>
                    </a:lnTo>
                    <a:lnTo>
                      <a:pt x="1424" y="204"/>
                    </a:lnTo>
                    <a:lnTo>
                      <a:pt x="1422" y="204"/>
                    </a:lnTo>
                    <a:lnTo>
                      <a:pt x="1422" y="204"/>
                    </a:lnTo>
                    <a:lnTo>
                      <a:pt x="1420" y="206"/>
                    </a:lnTo>
                    <a:lnTo>
                      <a:pt x="1420" y="206"/>
                    </a:lnTo>
                    <a:lnTo>
                      <a:pt x="1418" y="202"/>
                    </a:lnTo>
                    <a:lnTo>
                      <a:pt x="1418" y="198"/>
                    </a:lnTo>
                    <a:lnTo>
                      <a:pt x="1416" y="194"/>
                    </a:lnTo>
                    <a:lnTo>
                      <a:pt x="1416" y="194"/>
                    </a:lnTo>
                    <a:lnTo>
                      <a:pt x="1416" y="194"/>
                    </a:lnTo>
                    <a:lnTo>
                      <a:pt x="1416" y="192"/>
                    </a:lnTo>
                    <a:lnTo>
                      <a:pt x="1416" y="192"/>
                    </a:lnTo>
                    <a:lnTo>
                      <a:pt x="1416" y="192"/>
                    </a:lnTo>
                    <a:lnTo>
                      <a:pt x="1414" y="190"/>
                    </a:lnTo>
                    <a:lnTo>
                      <a:pt x="1414" y="190"/>
                    </a:lnTo>
                    <a:lnTo>
                      <a:pt x="1414" y="190"/>
                    </a:lnTo>
                    <a:lnTo>
                      <a:pt x="1414" y="188"/>
                    </a:lnTo>
                    <a:lnTo>
                      <a:pt x="1414" y="188"/>
                    </a:lnTo>
                    <a:lnTo>
                      <a:pt x="1414" y="186"/>
                    </a:lnTo>
                    <a:lnTo>
                      <a:pt x="1414" y="186"/>
                    </a:lnTo>
                    <a:lnTo>
                      <a:pt x="1416" y="186"/>
                    </a:lnTo>
                    <a:lnTo>
                      <a:pt x="1416" y="186"/>
                    </a:lnTo>
                    <a:lnTo>
                      <a:pt x="1416" y="186"/>
                    </a:lnTo>
                    <a:lnTo>
                      <a:pt x="1418" y="184"/>
                    </a:lnTo>
                    <a:lnTo>
                      <a:pt x="1418" y="184"/>
                    </a:lnTo>
                    <a:lnTo>
                      <a:pt x="1420" y="184"/>
                    </a:lnTo>
                    <a:lnTo>
                      <a:pt x="1420" y="182"/>
                    </a:lnTo>
                    <a:lnTo>
                      <a:pt x="1420" y="182"/>
                    </a:lnTo>
                    <a:lnTo>
                      <a:pt x="1420" y="180"/>
                    </a:lnTo>
                    <a:lnTo>
                      <a:pt x="1420" y="178"/>
                    </a:lnTo>
                    <a:lnTo>
                      <a:pt x="1418" y="176"/>
                    </a:lnTo>
                    <a:lnTo>
                      <a:pt x="1418" y="172"/>
                    </a:lnTo>
                    <a:lnTo>
                      <a:pt x="1416" y="168"/>
                    </a:lnTo>
                    <a:lnTo>
                      <a:pt x="1416" y="166"/>
                    </a:lnTo>
                    <a:lnTo>
                      <a:pt x="1414" y="162"/>
                    </a:lnTo>
                    <a:lnTo>
                      <a:pt x="1412" y="160"/>
                    </a:lnTo>
                    <a:lnTo>
                      <a:pt x="1412" y="160"/>
                    </a:lnTo>
                    <a:lnTo>
                      <a:pt x="1412" y="160"/>
                    </a:lnTo>
                    <a:lnTo>
                      <a:pt x="1410" y="158"/>
                    </a:lnTo>
                    <a:lnTo>
                      <a:pt x="1410" y="158"/>
                    </a:lnTo>
                    <a:lnTo>
                      <a:pt x="1410" y="158"/>
                    </a:lnTo>
                    <a:lnTo>
                      <a:pt x="1408" y="156"/>
                    </a:lnTo>
                    <a:lnTo>
                      <a:pt x="1408" y="156"/>
                    </a:lnTo>
                    <a:lnTo>
                      <a:pt x="1408" y="156"/>
                    </a:lnTo>
                    <a:lnTo>
                      <a:pt x="1406" y="156"/>
                    </a:lnTo>
                    <a:lnTo>
                      <a:pt x="1406" y="156"/>
                    </a:lnTo>
                    <a:lnTo>
                      <a:pt x="1406" y="156"/>
                    </a:lnTo>
                    <a:lnTo>
                      <a:pt x="1400" y="156"/>
                    </a:lnTo>
                    <a:lnTo>
                      <a:pt x="1400" y="156"/>
                    </a:lnTo>
                    <a:lnTo>
                      <a:pt x="1398" y="156"/>
                    </a:lnTo>
                    <a:lnTo>
                      <a:pt x="1398" y="156"/>
                    </a:lnTo>
                    <a:lnTo>
                      <a:pt x="1398" y="156"/>
                    </a:lnTo>
                    <a:lnTo>
                      <a:pt x="1396" y="156"/>
                    </a:lnTo>
                    <a:lnTo>
                      <a:pt x="1396" y="156"/>
                    </a:lnTo>
                    <a:lnTo>
                      <a:pt x="1396" y="156"/>
                    </a:lnTo>
                    <a:lnTo>
                      <a:pt x="1394" y="158"/>
                    </a:lnTo>
                    <a:lnTo>
                      <a:pt x="1394" y="158"/>
                    </a:lnTo>
                    <a:lnTo>
                      <a:pt x="1392" y="158"/>
                    </a:lnTo>
                    <a:lnTo>
                      <a:pt x="1392" y="158"/>
                    </a:lnTo>
                    <a:lnTo>
                      <a:pt x="1392" y="158"/>
                    </a:lnTo>
                    <a:lnTo>
                      <a:pt x="1392" y="160"/>
                    </a:lnTo>
                    <a:lnTo>
                      <a:pt x="1390" y="162"/>
                    </a:lnTo>
                    <a:lnTo>
                      <a:pt x="1390" y="162"/>
                    </a:lnTo>
                    <a:lnTo>
                      <a:pt x="1390" y="162"/>
                    </a:lnTo>
                    <a:lnTo>
                      <a:pt x="1390" y="164"/>
                    </a:lnTo>
                    <a:lnTo>
                      <a:pt x="1390" y="164"/>
                    </a:lnTo>
                    <a:lnTo>
                      <a:pt x="1390" y="170"/>
                    </a:lnTo>
                    <a:lnTo>
                      <a:pt x="1390" y="170"/>
                    </a:lnTo>
                    <a:lnTo>
                      <a:pt x="1390" y="170"/>
                    </a:lnTo>
                    <a:lnTo>
                      <a:pt x="1392" y="174"/>
                    </a:lnTo>
                    <a:lnTo>
                      <a:pt x="1392" y="174"/>
                    </a:lnTo>
                    <a:lnTo>
                      <a:pt x="1392" y="176"/>
                    </a:lnTo>
                    <a:lnTo>
                      <a:pt x="1394" y="178"/>
                    </a:lnTo>
                    <a:lnTo>
                      <a:pt x="1394" y="180"/>
                    </a:lnTo>
                    <a:lnTo>
                      <a:pt x="1394" y="180"/>
                    </a:lnTo>
                    <a:lnTo>
                      <a:pt x="1394" y="180"/>
                    </a:lnTo>
                    <a:lnTo>
                      <a:pt x="1396" y="182"/>
                    </a:lnTo>
                    <a:lnTo>
                      <a:pt x="1396" y="182"/>
                    </a:lnTo>
                    <a:lnTo>
                      <a:pt x="1396" y="182"/>
                    </a:lnTo>
                    <a:lnTo>
                      <a:pt x="1398" y="182"/>
                    </a:lnTo>
                    <a:lnTo>
                      <a:pt x="1398" y="182"/>
                    </a:lnTo>
                    <a:lnTo>
                      <a:pt x="1398" y="182"/>
                    </a:lnTo>
                    <a:lnTo>
                      <a:pt x="1404" y="184"/>
                    </a:lnTo>
                    <a:lnTo>
                      <a:pt x="1404" y="184"/>
                    </a:lnTo>
                    <a:lnTo>
                      <a:pt x="1404" y="184"/>
                    </a:lnTo>
                    <a:lnTo>
                      <a:pt x="1404" y="188"/>
                    </a:lnTo>
                    <a:lnTo>
                      <a:pt x="1404" y="188"/>
                    </a:lnTo>
                    <a:lnTo>
                      <a:pt x="1404" y="188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8" y="192"/>
                    </a:lnTo>
                    <a:lnTo>
                      <a:pt x="1408" y="194"/>
                    </a:lnTo>
                    <a:lnTo>
                      <a:pt x="1408" y="196"/>
                    </a:lnTo>
                    <a:lnTo>
                      <a:pt x="1406" y="200"/>
                    </a:lnTo>
                    <a:lnTo>
                      <a:pt x="1406" y="202"/>
                    </a:lnTo>
                    <a:lnTo>
                      <a:pt x="1404" y="204"/>
                    </a:lnTo>
                    <a:lnTo>
                      <a:pt x="1404" y="204"/>
                    </a:lnTo>
                    <a:lnTo>
                      <a:pt x="1402" y="200"/>
                    </a:lnTo>
                    <a:lnTo>
                      <a:pt x="1402" y="196"/>
                    </a:lnTo>
                    <a:lnTo>
                      <a:pt x="1400" y="192"/>
                    </a:lnTo>
                    <a:lnTo>
                      <a:pt x="1396" y="188"/>
                    </a:lnTo>
                    <a:lnTo>
                      <a:pt x="1394" y="186"/>
                    </a:lnTo>
                    <a:lnTo>
                      <a:pt x="1394" y="186"/>
                    </a:lnTo>
                    <a:lnTo>
                      <a:pt x="1394" y="186"/>
                    </a:lnTo>
                    <a:lnTo>
                      <a:pt x="1394" y="184"/>
                    </a:lnTo>
                    <a:lnTo>
                      <a:pt x="1394" y="184"/>
                    </a:lnTo>
                    <a:lnTo>
                      <a:pt x="1392" y="184"/>
                    </a:lnTo>
                    <a:lnTo>
                      <a:pt x="1392" y="184"/>
                    </a:lnTo>
                    <a:lnTo>
                      <a:pt x="1392" y="184"/>
                    </a:lnTo>
                    <a:lnTo>
                      <a:pt x="1390" y="184"/>
                    </a:lnTo>
                    <a:lnTo>
                      <a:pt x="1390" y="184"/>
                    </a:lnTo>
                    <a:lnTo>
                      <a:pt x="1390" y="184"/>
                    </a:lnTo>
                    <a:lnTo>
                      <a:pt x="1388" y="184"/>
                    </a:lnTo>
                    <a:lnTo>
                      <a:pt x="1388" y="184"/>
                    </a:lnTo>
                    <a:lnTo>
                      <a:pt x="1388" y="184"/>
                    </a:lnTo>
                    <a:lnTo>
                      <a:pt x="1386" y="184"/>
                    </a:lnTo>
                    <a:lnTo>
                      <a:pt x="1384" y="186"/>
                    </a:lnTo>
                    <a:lnTo>
                      <a:pt x="1384" y="186"/>
                    </a:lnTo>
                    <a:lnTo>
                      <a:pt x="1384" y="188"/>
                    </a:lnTo>
                    <a:lnTo>
                      <a:pt x="1382" y="190"/>
                    </a:lnTo>
                    <a:lnTo>
                      <a:pt x="1382" y="192"/>
                    </a:lnTo>
                    <a:lnTo>
                      <a:pt x="1382" y="192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78" y="190"/>
                    </a:lnTo>
                    <a:lnTo>
                      <a:pt x="1378" y="190"/>
                    </a:lnTo>
                    <a:lnTo>
                      <a:pt x="1376" y="190"/>
                    </a:lnTo>
                    <a:lnTo>
                      <a:pt x="1374" y="190"/>
                    </a:lnTo>
                    <a:lnTo>
                      <a:pt x="1370" y="188"/>
                    </a:lnTo>
                    <a:lnTo>
                      <a:pt x="1368" y="190"/>
                    </a:lnTo>
                    <a:lnTo>
                      <a:pt x="1364" y="190"/>
                    </a:lnTo>
                    <a:lnTo>
                      <a:pt x="1362" y="190"/>
                    </a:lnTo>
                    <a:lnTo>
                      <a:pt x="1362" y="190"/>
                    </a:lnTo>
                    <a:lnTo>
                      <a:pt x="1362" y="190"/>
                    </a:lnTo>
                    <a:lnTo>
                      <a:pt x="1362" y="192"/>
                    </a:lnTo>
                    <a:lnTo>
                      <a:pt x="1362" y="192"/>
                    </a:lnTo>
                    <a:lnTo>
                      <a:pt x="1360" y="192"/>
                    </a:lnTo>
                    <a:lnTo>
                      <a:pt x="1360" y="192"/>
                    </a:lnTo>
                    <a:lnTo>
                      <a:pt x="1360" y="192"/>
                    </a:lnTo>
                    <a:lnTo>
                      <a:pt x="1360" y="194"/>
                    </a:lnTo>
                    <a:lnTo>
                      <a:pt x="1360" y="196"/>
                    </a:lnTo>
                    <a:lnTo>
                      <a:pt x="1360" y="196"/>
                    </a:lnTo>
                    <a:lnTo>
                      <a:pt x="1360" y="196"/>
                    </a:lnTo>
                    <a:lnTo>
                      <a:pt x="1362" y="198"/>
                    </a:lnTo>
                    <a:lnTo>
                      <a:pt x="1364" y="200"/>
                    </a:lnTo>
                    <a:lnTo>
                      <a:pt x="1366" y="202"/>
                    </a:lnTo>
                    <a:lnTo>
                      <a:pt x="1368" y="204"/>
                    </a:lnTo>
                    <a:lnTo>
                      <a:pt x="1370" y="206"/>
                    </a:lnTo>
                    <a:lnTo>
                      <a:pt x="1368" y="206"/>
                    </a:lnTo>
                    <a:lnTo>
                      <a:pt x="1366" y="208"/>
                    </a:lnTo>
                    <a:lnTo>
                      <a:pt x="1366" y="210"/>
                    </a:lnTo>
                    <a:lnTo>
                      <a:pt x="1362" y="212"/>
                    </a:lnTo>
                    <a:lnTo>
                      <a:pt x="1356" y="214"/>
                    </a:lnTo>
                    <a:lnTo>
                      <a:pt x="1352" y="216"/>
                    </a:lnTo>
                    <a:lnTo>
                      <a:pt x="1352" y="216"/>
                    </a:lnTo>
                    <a:lnTo>
                      <a:pt x="1352" y="216"/>
                    </a:lnTo>
                    <a:lnTo>
                      <a:pt x="1348" y="218"/>
                    </a:lnTo>
                    <a:lnTo>
                      <a:pt x="1348" y="218"/>
                    </a:lnTo>
                    <a:lnTo>
                      <a:pt x="1348" y="218"/>
                    </a:lnTo>
                    <a:lnTo>
                      <a:pt x="1346" y="218"/>
                    </a:lnTo>
                    <a:lnTo>
                      <a:pt x="1346" y="218"/>
                    </a:lnTo>
                    <a:lnTo>
                      <a:pt x="1346" y="220"/>
                    </a:lnTo>
                    <a:lnTo>
                      <a:pt x="1344" y="222"/>
                    </a:lnTo>
                    <a:lnTo>
                      <a:pt x="1344" y="222"/>
                    </a:lnTo>
                    <a:lnTo>
                      <a:pt x="1344" y="222"/>
                    </a:lnTo>
                    <a:lnTo>
                      <a:pt x="1342" y="226"/>
                    </a:lnTo>
                    <a:lnTo>
                      <a:pt x="1342" y="228"/>
                    </a:lnTo>
                    <a:lnTo>
                      <a:pt x="1340" y="230"/>
                    </a:lnTo>
                    <a:lnTo>
                      <a:pt x="1340" y="230"/>
                    </a:lnTo>
                    <a:lnTo>
                      <a:pt x="1338" y="230"/>
                    </a:lnTo>
                    <a:lnTo>
                      <a:pt x="1336" y="232"/>
                    </a:lnTo>
                    <a:lnTo>
                      <a:pt x="1332" y="232"/>
                    </a:lnTo>
                    <a:lnTo>
                      <a:pt x="1330" y="232"/>
                    </a:lnTo>
                    <a:lnTo>
                      <a:pt x="1330" y="232"/>
                    </a:lnTo>
                    <a:lnTo>
                      <a:pt x="1328" y="232"/>
                    </a:lnTo>
                    <a:lnTo>
                      <a:pt x="1326" y="232"/>
                    </a:lnTo>
                    <a:lnTo>
                      <a:pt x="1324" y="234"/>
                    </a:lnTo>
                    <a:lnTo>
                      <a:pt x="1322" y="234"/>
                    </a:lnTo>
                    <a:lnTo>
                      <a:pt x="1320" y="236"/>
                    </a:lnTo>
                    <a:lnTo>
                      <a:pt x="1318" y="238"/>
                    </a:lnTo>
                    <a:lnTo>
                      <a:pt x="1314" y="240"/>
                    </a:lnTo>
                    <a:lnTo>
                      <a:pt x="1310" y="242"/>
                    </a:lnTo>
                    <a:lnTo>
                      <a:pt x="1306" y="244"/>
                    </a:lnTo>
                    <a:lnTo>
                      <a:pt x="1306" y="244"/>
                    </a:lnTo>
                    <a:lnTo>
                      <a:pt x="1306" y="244"/>
                    </a:lnTo>
                    <a:lnTo>
                      <a:pt x="1310" y="238"/>
                    </a:lnTo>
                    <a:lnTo>
                      <a:pt x="1312" y="236"/>
                    </a:lnTo>
                    <a:lnTo>
                      <a:pt x="1314" y="234"/>
                    </a:lnTo>
                    <a:lnTo>
                      <a:pt x="1314" y="232"/>
                    </a:lnTo>
                    <a:lnTo>
                      <a:pt x="1316" y="230"/>
                    </a:lnTo>
                    <a:lnTo>
                      <a:pt x="1318" y="226"/>
                    </a:lnTo>
                    <a:lnTo>
                      <a:pt x="1320" y="224"/>
                    </a:lnTo>
                    <a:lnTo>
                      <a:pt x="1322" y="222"/>
                    </a:lnTo>
                    <a:lnTo>
                      <a:pt x="1322" y="222"/>
                    </a:lnTo>
                    <a:lnTo>
                      <a:pt x="1322" y="222"/>
                    </a:lnTo>
                    <a:lnTo>
                      <a:pt x="1322" y="220"/>
                    </a:lnTo>
                    <a:lnTo>
                      <a:pt x="1322" y="220"/>
                    </a:lnTo>
                    <a:lnTo>
                      <a:pt x="1324" y="220"/>
                    </a:lnTo>
                    <a:lnTo>
                      <a:pt x="1324" y="218"/>
                    </a:lnTo>
                    <a:lnTo>
                      <a:pt x="1324" y="218"/>
                    </a:lnTo>
                    <a:lnTo>
                      <a:pt x="1324" y="216"/>
                    </a:lnTo>
                    <a:lnTo>
                      <a:pt x="1324" y="216"/>
                    </a:lnTo>
                    <a:lnTo>
                      <a:pt x="1324" y="216"/>
                    </a:lnTo>
                    <a:lnTo>
                      <a:pt x="1322" y="214"/>
                    </a:lnTo>
                    <a:lnTo>
                      <a:pt x="1322" y="212"/>
                    </a:lnTo>
                    <a:lnTo>
                      <a:pt x="1322" y="214"/>
                    </a:lnTo>
                    <a:lnTo>
                      <a:pt x="1322" y="214"/>
                    </a:lnTo>
                    <a:lnTo>
                      <a:pt x="1324" y="214"/>
                    </a:lnTo>
                    <a:lnTo>
                      <a:pt x="1326" y="214"/>
                    </a:lnTo>
                    <a:lnTo>
                      <a:pt x="1326" y="214"/>
                    </a:lnTo>
                    <a:lnTo>
                      <a:pt x="1326" y="214"/>
                    </a:lnTo>
                    <a:lnTo>
                      <a:pt x="1330" y="214"/>
                    </a:lnTo>
                    <a:lnTo>
                      <a:pt x="1330" y="214"/>
                    </a:lnTo>
                    <a:lnTo>
                      <a:pt x="1334" y="212"/>
                    </a:lnTo>
                    <a:lnTo>
                      <a:pt x="1334" y="212"/>
                    </a:lnTo>
                    <a:lnTo>
                      <a:pt x="1334" y="212"/>
                    </a:lnTo>
                    <a:lnTo>
                      <a:pt x="1338" y="210"/>
                    </a:lnTo>
                    <a:lnTo>
                      <a:pt x="1338" y="210"/>
                    </a:lnTo>
                    <a:lnTo>
                      <a:pt x="1338" y="210"/>
                    </a:lnTo>
                    <a:lnTo>
                      <a:pt x="1342" y="208"/>
                    </a:lnTo>
                    <a:lnTo>
                      <a:pt x="1342" y="208"/>
                    </a:lnTo>
                    <a:lnTo>
                      <a:pt x="1342" y="208"/>
                    </a:lnTo>
                    <a:lnTo>
                      <a:pt x="1344" y="206"/>
                    </a:lnTo>
                    <a:lnTo>
                      <a:pt x="1344" y="206"/>
                    </a:lnTo>
                    <a:lnTo>
                      <a:pt x="1344" y="206"/>
                    </a:lnTo>
                    <a:lnTo>
                      <a:pt x="1346" y="204"/>
                    </a:lnTo>
                    <a:lnTo>
                      <a:pt x="1348" y="200"/>
                    </a:lnTo>
                    <a:lnTo>
                      <a:pt x="1352" y="196"/>
                    </a:lnTo>
                    <a:lnTo>
                      <a:pt x="1354" y="192"/>
                    </a:lnTo>
                    <a:lnTo>
                      <a:pt x="1356" y="188"/>
                    </a:lnTo>
                    <a:lnTo>
                      <a:pt x="1358" y="184"/>
                    </a:lnTo>
                    <a:lnTo>
                      <a:pt x="1360" y="180"/>
                    </a:lnTo>
                    <a:lnTo>
                      <a:pt x="1364" y="176"/>
                    </a:lnTo>
                    <a:lnTo>
                      <a:pt x="1366" y="174"/>
                    </a:lnTo>
                    <a:lnTo>
                      <a:pt x="1368" y="172"/>
                    </a:lnTo>
                    <a:lnTo>
                      <a:pt x="1374" y="166"/>
                    </a:lnTo>
                    <a:lnTo>
                      <a:pt x="1378" y="160"/>
                    </a:lnTo>
                    <a:lnTo>
                      <a:pt x="1380" y="158"/>
                    </a:lnTo>
                    <a:lnTo>
                      <a:pt x="1384" y="156"/>
                    </a:lnTo>
                    <a:lnTo>
                      <a:pt x="1386" y="154"/>
                    </a:lnTo>
                    <a:lnTo>
                      <a:pt x="1388" y="154"/>
                    </a:lnTo>
                    <a:lnTo>
                      <a:pt x="1394" y="152"/>
                    </a:lnTo>
                    <a:lnTo>
                      <a:pt x="1396" y="150"/>
                    </a:lnTo>
                    <a:lnTo>
                      <a:pt x="1400" y="148"/>
                    </a:lnTo>
                    <a:lnTo>
                      <a:pt x="1402" y="146"/>
                    </a:lnTo>
                    <a:lnTo>
                      <a:pt x="1404" y="144"/>
                    </a:lnTo>
                    <a:lnTo>
                      <a:pt x="1408" y="140"/>
                    </a:lnTo>
                    <a:lnTo>
                      <a:pt x="1412" y="138"/>
                    </a:lnTo>
                    <a:lnTo>
                      <a:pt x="1414" y="134"/>
                    </a:lnTo>
                    <a:lnTo>
                      <a:pt x="1418" y="130"/>
                    </a:lnTo>
                    <a:lnTo>
                      <a:pt x="1422" y="124"/>
                    </a:lnTo>
                    <a:lnTo>
                      <a:pt x="1424" y="120"/>
                    </a:lnTo>
                    <a:lnTo>
                      <a:pt x="1426" y="118"/>
                    </a:lnTo>
                    <a:lnTo>
                      <a:pt x="1428" y="114"/>
                    </a:lnTo>
                    <a:lnTo>
                      <a:pt x="1430" y="112"/>
                    </a:lnTo>
                    <a:lnTo>
                      <a:pt x="1430" y="112"/>
                    </a:lnTo>
                    <a:lnTo>
                      <a:pt x="1430" y="110"/>
                    </a:lnTo>
                    <a:lnTo>
                      <a:pt x="1430" y="108"/>
                    </a:lnTo>
                    <a:lnTo>
                      <a:pt x="1430" y="108"/>
                    </a:lnTo>
                    <a:lnTo>
                      <a:pt x="1430" y="108"/>
                    </a:lnTo>
                    <a:lnTo>
                      <a:pt x="1430" y="106"/>
                    </a:lnTo>
                    <a:lnTo>
                      <a:pt x="1430" y="106"/>
                    </a:lnTo>
                    <a:lnTo>
                      <a:pt x="1428" y="104"/>
                    </a:lnTo>
                    <a:lnTo>
                      <a:pt x="1428" y="102"/>
                    </a:lnTo>
                    <a:lnTo>
                      <a:pt x="1426" y="98"/>
                    </a:lnTo>
                    <a:lnTo>
                      <a:pt x="1426" y="100"/>
                    </a:lnTo>
                    <a:lnTo>
                      <a:pt x="1426" y="98"/>
                    </a:lnTo>
                    <a:lnTo>
                      <a:pt x="1426" y="98"/>
                    </a:lnTo>
                    <a:lnTo>
                      <a:pt x="1426" y="98"/>
                    </a:lnTo>
                    <a:lnTo>
                      <a:pt x="1426" y="96"/>
                    </a:lnTo>
                    <a:lnTo>
                      <a:pt x="1430" y="94"/>
                    </a:lnTo>
                    <a:lnTo>
                      <a:pt x="1432" y="92"/>
                    </a:lnTo>
                    <a:lnTo>
                      <a:pt x="1432" y="92"/>
                    </a:lnTo>
                    <a:lnTo>
                      <a:pt x="1432" y="90"/>
                    </a:lnTo>
                    <a:lnTo>
                      <a:pt x="1434" y="90"/>
                    </a:lnTo>
                    <a:lnTo>
                      <a:pt x="1434" y="90"/>
                    </a:lnTo>
                    <a:lnTo>
                      <a:pt x="1434" y="88"/>
                    </a:lnTo>
                    <a:lnTo>
                      <a:pt x="1434" y="86"/>
                    </a:lnTo>
                    <a:lnTo>
                      <a:pt x="1434" y="86"/>
                    </a:lnTo>
                    <a:lnTo>
                      <a:pt x="1434" y="84"/>
                    </a:lnTo>
                    <a:lnTo>
                      <a:pt x="1434" y="84"/>
                    </a:lnTo>
                    <a:lnTo>
                      <a:pt x="1434" y="82"/>
                    </a:lnTo>
                    <a:lnTo>
                      <a:pt x="1432" y="80"/>
                    </a:lnTo>
                    <a:lnTo>
                      <a:pt x="1430" y="76"/>
                    </a:lnTo>
                    <a:lnTo>
                      <a:pt x="1428" y="70"/>
                    </a:lnTo>
                    <a:lnTo>
                      <a:pt x="1426" y="68"/>
                    </a:lnTo>
                    <a:lnTo>
                      <a:pt x="1426" y="66"/>
                    </a:lnTo>
                    <a:lnTo>
                      <a:pt x="1426" y="66"/>
                    </a:lnTo>
                    <a:lnTo>
                      <a:pt x="1426" y="64"/>
                    </a:lnTo>
                    <a:lnTo>
                      <a:pt x="1426" y="62"/>
                    </a:lnTo>
                    <a:lnTo>
                      <a:pt x="1426" y="56"/>
                    </a:lnTo>
                    <a:lnTo>
                      <a:pt x="1426" y="54"/>
                    </a:lnTo>
                    <a:lnTo>
                      <a:pt x="1428" y="52"/>
                    </a:lnTo>
                    <a:lnTo>
                      <a:pt x="1428" y="50"/>
                    </a:lnTo>
                    <a:lnTo>
                      <a:pt x="1428" y="50"/>
                    </a:lnTo>
                    <a:lnTo>
                      <a:pt x="1426" y="48"/>
                    </a:lnTo>
                    <a:lnTo>
                      <a:pt x="1426" y="48"/>
                    </a:lnTo>
                    <a:lnTo>
                      <a:pt x="1426" y="48"/>
                    </a:lnTo>
                    <a:lnTo>
                      <a:pt x="1424" y="46"/>
                    </a:lnTo>
                    <a:lnTo>
                      <a:pt x="1424" y="46"/>
                    </a:lnTo>
                    <a:lnTo>
                      <a:pt x="1424" y="46"/>
                    </a:lnTo>
                    <a:lnTo>
                      <a:pt x="1422" y="46"/>
                    </a:lnTo>
                    <a:lnTo>
                      <a:pt x="1420" y="46"/>
                    </a:lnTo>
                    <a:lnTo>
                      <a:pt x="1418" y="46"/>
                    </a:lnTo>
                    <a:lnTo>
                      <a:pt x="1416" y="48"/>
                    </a:lnTo>
                    <a:lnTo>
                      <a:pt x="1410" y="48"/>
                    </a:lnTo>
                    <a:lnTo>
                      <a:pt x="1408" y="50"/>
                    </a:lnTo>
                    <a:lnTo>
                      <a:pt x="1408" y="50"/>
                    </a:lnTo>
                    <a:lnTo>
                      <a:pt x="1408" y="48"/>
                    </a:lnTo>
                    <a:lnTo>
                      <a:pt x="1408" y="46"/>
                    </a:lnTo>
                    <a:lnTo>
                      <a:pt x="1408" y="42"/>
                    </a:lnTo>
                    <a:lnTo>
                      <a:pt x="1408" y="42"/>
                    </a:lnTo>
                    <a:lnTo>
                      <a:pt x="1408" y="42"/>
                    </a:lnTo>
                    <a:lnTo>
                      <a:pt x="1406" y="42"/>
                    </a:lnTo>
                    <a:lnTo>
                      <a:pt x="1406" y="42"/>
                    </a:lnTo>
                    <a:lnTo>
                      <a:pt x="1406" y="40"/>
                    </a:lnTo>
                    <a:lnTo>
                      <a:pt x="1404" y="38"/>
                    </a:lnTo>
                    <a:lnTo>
                      <a:pt x="1402" y="36"/>
                    </a:lnTo>
                    <a:lnTo>
                      <a:pt x="1400" y="34"/>
                    </a:lnTo>
                    <a:lnTo>
                      <a:pt x="1400" y="34"/>
                    </a:lnTo>
                    <a:lnTo>
                      <a:pt x="1400" y="34"/>
                    </a:lnTo>
                    <a:lnTo>
                      <a:pt x="1398" y="32"/>
                    </a:lnTo>
                    <a:lnTo>
                      <a:pt x="1394" y="32"/>
                    </a:lnTo>
                    <a:lnTo>
                      <a:pt x="1392" y="30"/>
                    </a:lnTo>
                    <a:lnTo>
                      <a:pt x="1388" y="30"/>
                    </a:lnTo>
                    <a:lnTo>
                      <a:pt x="1386" y="28"/>
                    </a:lnTo>
                    <a:lnTo>
                      <a:pt x="1384" y="28"/>
                    </a:lnTo>
                    <a:lnTo>
                      <a:pt x="1378" y="28"/>
                    </a:lnTo>
                    <a:lnTo>
                      <a:pt x="1372" y="26"/>
                    </a:lnTo>
                    <a:lnTo>
                      <a:pt x="1366" y="26"/>
                    </a:lnTo>
                    <a:lnTo>
                      <a:pt x="1358" y="26"/>
                    </a:lnTo>
                    <a:lnTo>
                      <a:pt x="1352" y="26"/>
                    </a:lnTo>
                    <a:lnTo>
                      <a:pt x="1348" y="24"/>
                    </a:lnTo>
                    <a:lnTo>
                      <a:pt x="1346" y="26"/>
                    </a:lnTo>
                    <a:lnTo>
                      <a:pt x="1344" y="26"/>
                    </a:lnTo>
                    <a:lnTo>
                      <a:pt x="1344" y="26"/>
                    </a:lnTo>
                    <a:lnTo>
                      <a:pt x="1340" y="26"/>
                    </a:lnTo>
                    <a:lnTo>
                      <a:pt x="1340" y="26"/>
                    </a:lnTo>
                    <a:lnTo>
                      <a:pt x="1340" y="26"/>
                    </a:lnTo>
                    <a:lnTo>
                      <a:pt x="1338" y="28"/>
                    </a:lnTo>
                    <a:lnTo>
                      <a:pt x="1338" y="28"/>
                    </a:lnTo>
                    <a:lnTo>
                      <a:pt x="1338" y="28"/>
                    </a:lnTo>
                    <a:lnTo>
                      <a:pt x="1336" y="30"/>
                    </a:lnTo>
                    <a:lnTo>
                      <a:pt x="1336" y="30"/>
                    </a:lnTo>
                    <a:lnTo>
                      <a:pt x="1336" y="30"/>
                    </a:lnTo>
                    <a:lnTo>
                      <a:pt x="1336" y="32"/>
                    </a:lnTo>
                    <a:lnTo>
                      <a:pt x="1336" y="32"/>
                    </a:lnTo>
                    <a:lnTo>
                      <a:pt x="1336" y="32"/>
                    </a:lnTo>
                    <a:lnTo>
                      <a:pt x="1336" y="34"/>
                    </a:lnTo>
                    <a:lnTo>
                      <a:pt x="1336" y="34"/>
                    </a:lnTo>
                    <a:lnTo>
                      <a:pt x="1336" y="34"/>
                    </a:lnTo>
                    <a:lnTo>
                      <a:pt x="1334" y="36"/>
                    </a:lnTo>
                    <a:lnTo>
                      <a:pt x="1332" y="36"/>
                    </a:lnTo>
                    <a:lnTo>
                      <a:pt x="1326" y="38"/>
                    </a:lnTo>
                    <a:lnTo>
                      <a:pt x="1326" y="38"/>
                    </a:lnTo>
                    <a:lnTo>
                      <a:pt x="1322" y="38"/>
                    </a:lnTo>
                    <a:lnTo>
                      <a:pt x="1322" y="38"/>
                    </a:lnTo>
                    <a:lnTo>
                      <a:pt x="1322" y="38"/>
                    </a:lnTo>
                    <a:lnTo>
                      <a:pt x="1322" y="36"/>
                    </a:lnTo>
                    <a:lnTo>
                      <a:pt x="1324" y="36"/>
                    </a:lnTo>
                    <a:lnTo>
                      <a:pt x="1324" y="36"/>
                    </a:lnTo>
                    <a:lnTo>
                      <a:pt x="1324" y="36"/>
                    </a:lnTo>
                    <a:lnTo>
                      <a:pt x="1326" y="34"/>
                    </a:lnTo>
                    <a:lnTo>
                      <a:pt x="1326" y="30"/>
                    </a:lnTo>
                    <a:lnTo>
                      <a:pt x="1328" y="28"/>
                    </a:lnTo>
                    <a:lnTo>
                      <a:pt x="1330" y="24"/>
                    </a:lnTo>
                    <a:lnTo>
                      <a:pt x="1330" y="20"/>
                    </a:lnTo>
                    <a:lnTo>
                      <a:pt x="1332" y="16"/>
                    </a:lnTo>
                    <a:lnTo>
                      <a:pt x="1332" y="12"/>
                    </a:lnTo>
                    <a:lnTo>
                      <a:pt x="1332" y="10"/>
                    </a:lnTo>
                    <a:lnTo>
                      <a:pt x="1332" y="10"/>
                    </a:lnTo>
                    <a:lnTo>
                      <a:pt x="1332" y="8"/>
                    </a:lnTo>
                    <a:lnTo>
                      <a:pt x="1332" y="6"/>
                    </a:lnTo>
                    <a:lnTo>
                      <a:pt x="1332" y="6"/>
                    </a:lnTo>
                    <a:lnTo>
                      <a:pt x="1332" y="6"/>
                    </a:lnTo>
                    <a:lnTo>
                      <a:pt x="1330" y="4"/>
                    </a:lnTo>
                    <a:lnTo>
                      <a:pt x="1330" y="4"/>
                    </a:lnTo>
                    <a:lnTo>
                      <a:pt x="1330" y="2"/>
                    </a:lnTo>
                    <a:lnTo>
                      <a:pt x="1328" y="2"/>
                    </a:lnTo>
                    <a:lnTo>
                      <a:pt x="1328" y="2"/>
                    </a:lnTo>
                    <a:lnTo>
                      <a:pt x="1326" y="2"/>
                    </a:lnTo>
                    <a:lnTo>
                      <a:pt x="1324" y="0"/>
                    </a:lnTo>
                    <a:lnTo>
                      <a:pt x="1324" y="0"/>
                    </a:lnTo>
                    <a:lnTo>
                      <a:pt x="1322" y="0"/>
                    </a:lnTo>
                    <a:lnTo>
                      <a:pt x="1318" y="0"/>
                    </a:lnTo>
                    <a:lnTo>
                      <a:pt x="1314" y="0"/>
                    </a:lnTo>
                    <a:lnTo>
                      <a:pt x="1310" y="0"/>
                    </a:lnTo>
                    <a:lnTo>
                      <a:pt x="1304" y="0"/>
                    </a:lnTo>
                    <a:lnTo>
                      <a:pt x="1302" y="0"/>
                    </a:lnTo>
                    <a:lnTo>
                      <a:pt x="1298" y="0"/>
                    </a:lnTo>
                    <a:lnTo>
                      <a:pt x="1294" y="0"/>
                    </a:lnTo>
                    <a:lnTo>
                      <a:pt x="1290" y="0"/>
                    </a:lnTo>
                    <a:lnTo>
                      <a:pt x="1280" y="0"/>
                    </a:lnTo>
                    <a:lnTo>
                      <a:pt x="1270" y="0"/>
                    </a:lnTo>
                    <a:lnTo>
                      <a:pt x="1260" y="0"/>
                    </a:lnTo>
                    <a:lnTo>
                      <a:pt x="1250" y="0"/>
                    </a:lnTo>
                    <a:lnTo>
                      <a:pt x="1246" y="0"/>
                    </a:lnTo>
                    <a:lnTo>
                      <a:pt x="1242" y="0"/>
                    </a:lnTo>
                    <a:lnTo>
                      <a:pt x="1240" y="0"/>
                    </a:lnTo>
                    <a:lnTo>
                      <a:pt x="1236" y="0"/>
                    </a:lnTo>
                    <a:lnTo>
                      <a:pt x="1234" y="0"/>
                    </a:lnTo>
                    <a:lnTo>
                      <a:pt x="1232" y="0"/>
                    </a:lnTo>
                    <a:lnTo>
                      <a:pt x="1232" y="0"/>
                    </a:lnTo>
                    <a:lnTo>
                      <a:pt x="1232" y="0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28" y="2"/>
                    </a:lnTo>
                    <a:lnTo>
                      <a:pt x="1228" y="2"/>
                    </a:lnTo>
                    <a:lnTo>
                      <a:pt x="1228" y="6"/>
                    </a:lnTo>
                    <a:lnTo>
                      <a:pt x="1228" y="6"/>
                    </a:lnTo>
                    <a:lnTo>
                      <a:pt x="1228" y="6"/>
                    </a:lnTo>
                    <a:lnTo>
                      <a:pt x="1228" y="8"/>
                    </a:lnTo>
                    <a:lnTo>
                      <a:pt x="1230" y="8"/>
                    </a:lnTo>
                    <a:lnTo>
                      <a:pt x="1230" y="10"/>
                    </a:lnTo>
                    <a:lnTo>
                      <a:pt x="1230" y="10"/>
                    </a:lnTo>
                    <a:lnTo>
                      <a:pt x="1230" y="12"/>
                    </a:lnTo>
                    <a:lnTo>
                      <a:pt x="1230" y="14"/>
                    </a:lnTo>
                    <a:lnTo>
                      <a:pt x="1232" y="16"/>
                    </a:lnTo>
                    <a:lnTo>
                      <a:pt x="1232" y="20"/>
                    </a:lnTo>
                    <a:lnTo>
                      <a:pt x="1234" y="24"/>
                    </a:lnTo>
                    <a:lnTo>
                      <a:pt x="1234" y="26"/>
                    </a:lnTo>
                    <a:lnTo>
                      <a:pt x="1234" y="28"/>
                    </a:lnTo>
                    <a:lnTo>
                      <a:pt x="1234" y="28"/>
                    </a:lnTo>
                    <a:lnTo>
                      <a:pt x="1232" y="30"/>
                    </a:lnTo>
                    <a:lnTo>
                      <a:pt x="1232" y="36"/>
                    </a:lnTo>
                    <a:lnTo>
                      <a:pt x="1232" y="34"/>
                    </a:lnTo>
                    <a:lnTo>
                      <a:pt x="1228" y="38"/>
                    </a:lnTo>
                    <a:lnTo>
                      <a:pt x="1230" y="38"/>
                    </a:lnTo>
                    <a:lnTo>
                      <a:pt x="1228" y="40"/>
                    </a:lnTo>
                    <a:lnTo>
                      <a:pt x="1228" y="40"/>
                    </a:lnTo>
                    <a:lnTo>
                      <a:pt x="1226" y="40"/>
                    </a:lnTo>
                    <a:lnTo>
                      <a:pt x="1224" y="42"/>
                    </a:lnTo>
                    <a:lnTo>
                      <a:pt x="1216" y="42"/>
                    </a:lnTo>
                    <a:lnTo>
                      <a:pt x="1214" y="42"/>
                    </a:lnTo>
                    <a:lnTo>
                      <a:pt x="1214" y="42"/>
                    </a:lnTo>
                    <a:lnTo>
                      <a:pt x="1212" y="42"/>
                    </a:lnTo>
                    <a:lnTo>
                      <a:pt x="1210" y="42"/>
                    </a:lnTo>
                    <a:lnTo>
                      <a:pt x="1210" y="42"/>
                    </a:lnTo>
                    <a:lnTo>
                      <a:pt x="1210" y="42"/>
                    </a:lnTo>
                    <a:lnTo>
                      <a:pt x="1208" y="44"/>
                    </a:lnTo>
                    <a:lnTo>
                      <a:pt x="1208" y="44"/>
                    </a:lnTo>
                    <a:lnTo>
                      <a:pt x="1206" y="44"/>
                    </a:lnTo>
                    <a:lnTo>
                      <a:pt x="1206" y="46"/>
                    </a:lnTo>
                    <a:lnTo>
                      <a:pt x="1206" y="46"/>
                    </a:lnTo>
                    <a:lnTo>
                      <a:pt x="1206" y="48"/>
                    </a:lnTo>
                    <a:lnTo>
                      <a:pt x="1206" y="50"/>
                    </a:lnTo>
                    <a:lnTo>
                      <a:pt x="1206" y="50"/>
                    </a:lnTo>
                    <a:lnTo>
                      <a:pt x="1206" y="52"/>
                    </a:lnTo>
                    <a:lnTo>
                      <a:pt x="1208" y="54"/>
                    </a:lnTo>
                    <a:lnTo>
                      <a:pt x="1208" y="58"/>
                    </a:lnTo>
                    <a:lnTo>
                      <a:pt x="1210" y="60"/>
                    </a:lnTo>
                    <a:lnTo>
                      <a:pt x="1210" y="60"/>
                    </a:lnTo>
                    <a:lnTo>
                      <a:pt x="1208" y="60"/>
                    </a:lnTo>
                    <a:lnTo>
                      <a:pt x="1204" y="58"/>
                    </a:lnTo>
                    <a:lnTo>
                      <a:pt x="1204" y="58"/>
                    </a:lnTo>
                    <a:lnTo>
                      <a:pt x="1204" y="58"/>
                    </a:lnTo>
                    <a:lnTo>
                      <a:pt x="1202" y="56"/>
                    </a:lnTo>
                    <a:lnTo>
                      <a:pt x="1202" y="56"/>
                    </a:lnTo>
                    <a:lnTo>
                      <a:pt x="1202" y="56"/>
                    </a:lnTo>
                    <a:lnTo>
                      <a:pt x="1200" y="56"/>
                    </a:lnTo>
                    <a:lnTo>
                      <a:pt x="1198" y="56"/>
                    </a:lnTo>
                    <a:lnTo>
                      <a:pt x="1196" y="56"/>
                    </a:lnTo>
                    <a:lnTo>
                      <a:pt x="1192" y="56"/>
                    </a:lnTo>
                    <a:lnTo>
                      <a:pt x="1188" y="58"/>
                    </a:lnTo>
                    <a:lnTo>
                      <a:pt x="1182" y="62"/>
                    </a:lnTo>
                    <a:lnTo>
                      <a:pt x="1176" y="64"/>
                    </a:lnTo>
                    <a:lnTo>
                      <a:pt x="1176" y="64"/>
                    </a:lnTo>
                    <a:lnTo>
                      <a:pt x="1174" y="64"/>
                    </a:lnTo>
                    <a:lnTo>
                      <a:pt x="1172" y="66"/>
                    </a:lnTo>
                    <a:lnTo>
                      <a:pt x="1170" y="70"/>
                    </a:lnTo>
                    <a:lnTo>
                      <a:pt x="1166" y="74"/>
                    </a:lnTo>
                    <a:lnTo>
                      <a:pt x="1164" y="76"/>
                    </a:lnTo>
                    <a:lnTo>
                      <a:pt x="1162" y="78"/>
                    </a:lnTo>
                    <a:lnTo>
                      <a:pt x="1160" y="78"/>
                    </a:lnTo>
                    <a:lnTo>
                      <a:pt x="1160" y="78"/>
                    </a:lnTo>
                    <a:lnTo>
                      <a:pt x="1158" y="78"/>
                    </a:lnTo>
                    <a:lnTo>
                      <a:pt x="1158" y="78"/>
                    </a:lnTo>
                    <a:lnTo>
                      <a:pt x="1158" y="78"/>
                    </a:lnTo>
                    <a:lnTo>
                      <a:pt x="1156" y="76"/>
                    </a:lnTo>
                    <a:lnTo>
                      <a:pt x="1152" y="72"/>
                    </a:lnTo>
                    <a:lnTo>
                      <a:pt x="1150" y="70"/>
                    </a:lnTo>
                    <a:lnTo>
                      <a:pt x="1148" y="66"/>
                    </a:lnTo>
                    <a:lnTo>
                      <a:pt x="1144" y="62"/>
                    </a:lnTo>
                    <a:lnTo>
                      <a:pt x="1142" y="58"/>
                    </a:lnTo>
                    <a:lnTo>
                      <a:pt x="1142" y="58"/>
                    </a:lnTo>
                    <a:lnTo>
                      <a:pt x="1142" y="58"/>
                    </a:lnTo>
                    <a:lnTo>
                      <a:pt x="1140" y="58"/>
                    </a:lnTo>
                    <a:lnTo>
                      <a:pt x="1140" y="58"/>
                    </a:lnTo>
                    <a:lnTo>
                      <a:pt x="1140" y="58"/>
                    </a:lnTo>
                    <a:lnTo>
                      <a:pt x="1140" y="56"/>
                    </a:lnTo>
                    <a:lnTo>
                      <a:pt x="1140" y="56"/>
                    </a:lnTo>
                    <a:lnTo>
                      <a:pt x="1138" y="56"/>
                    </a:lnTo>
                    <a:lnTo>
                      <a:pt x="1136" y="56"/>
                    </a:lnTo>
                    <a:lnTo>
                      <a:pt x="1136" y="56"/>
                    </a:lnTo>
                    <a:lnTo>
                      <a:pt x="1136" y="56"/>
                    </a:lnTo>
                    <a:lnTo>
                      <a:pt x="1134" y="56"/>
                    </a:lnTo>
                    <a:lnTo>
                      <a:pt x="1134" y="56"/>
                    </a:lnTo>
                    <a:lnTo>
                      <a:pt x="1132" y="56"/>
                    </a:lnTo>
                    <a:lnTo>
                      <a:pt x="1132" y="58"/>
                    </a:lnTo>
                    <a:lnTo>
                      <a:pt x="1132" y="58"/>
                    </a:lnTo>
                    <a:lnTo>
                      <a:pt x="1130" y="58"/>
                    </a:lnTo>
                    <a:lnTo>
                      <a:pt x="1130" y="60"/>
                    </a:lnTo>
                    <a:lnTo>
                      <a:pt x="1130" y="60"/>
                    </a:lnTo>
                    <a:lnTo>
                      <a:pt x="1130" y="60"/>
                    </a:lnTo>
                    <a:lnTo>
                      <a:pt x="1126" y="62"/>
                    </a:lnTo>
                    <a:lnTo>
                      <a:pt x="1124" y="66"/>
                    </a:lnTo>
                    <a:lnTo>
                      <a:pt x="1120" y="70"/>
                    </a:lnTo>
                    <a:lnTo>
                      <a:pt x="1118" y="74"/>
                    </a:lnTo>
                    <a:lnTo>
                      <a:pt x="1114" y="78"/>
                    </a:lnTo>
                    <a:lnTo>
                      <a:pt x="1112" y="82"/>
                    </a:lnTo>
                    <a:lnTo>
                      <a:pt x="1112" y="82"/>
                    </a:lnTo>
                    <a:lnTo>
                      <a:pt x="1112" y="82"/>
                    </a:lnTo>
                    <a:lnTo>
                      <a:pt x="1112" y="84"/>
                    </a:lnTo>
                    <a:lnTo>
                      <a:pt x="1112" y="84"/>
                    </a:lnTo>
                    <a:lnTo>
                      <a:pt x="1112" y="84"/>
                    </a:lnTo>
                    <a:lnTo>
                      <a:pt x="1112" y="86"/>
                    </a:lnTo>
                    <a:lnTo>
                      <a:pt x="1112" y="86"/>
                    </a:lnTo>
                    <a:lnTo>
                      <a:pt x="1112" y="90"/>
                    </a:lnTo>
                    <a:lnTo>
                      <a:pt x="1112" y="92"/>
                    </a:lnTo>
                    <a:lnTo>
                      <a:pt x="1112" y="92"/>
                    </a:lnTo>
                    <a:lnTo>
                      <a:pt x="1112" y="92"/>
                    </a:lnTo>
                    <a:lnTo>
                      <a:pt x="1110" y="92"/>
                    </a:lnTo>
                    <a:lnTo>
                      <a:pt x="1108" y="94"/>
                    </a:lnTo>
                    <a:lnTo>
                      <a:pt x="1106" y="94"/>
                    </a:lnTo>
                    <a:lnTo>
                      <a:pt x="1102" y="94"/>
                    </a:lnTo>
                    <a:lnTo>
                      <a:pt x="1096" y="94"/>
                    </a:lnTo>
                    <a:lnTo>
                      <a:pt x="1086" y="94"/>
                    </a:lnTo>
                    <a:lnTo>
                      <a:pt x="1084" y="94"/>
                    </a:lnTo>
                    <a:lnTo>
                      <a:pt x="1080" y="94"/>
                    </a:lnTo>
                    <a:lnTo>
                      <a:pt x="1076" y="94"/>
                    </a:lnTo>
                    <a:lnTo>
                      <a:pt x="1072" y="94"/>
                    </a:lnTo>
                    <a:lnTo>
                      <a:pt x="1070" y="94"/>
                    </a:lnTo>
                    <a:lnTo>
                      <a:pt x="1064" y="96"/>
                    </a:lnTo>
                    <a:lnTo>
                      <a:pt x="1056" y="98"/>
                    </a:lnTo>
                    <a:lnTo>
                      <a:pt x="1054" y="98"/>
                    </a:lnTo>
                    <a:lnTo>
                      <a:pt x="1050" y="100"/>
                    </a:lnTo>
                    <a:lnTo>
                      <a:pt x="1050" y="100"/>
                    </a:lnTo>
                    <a:lnTo>
                      <a:pt x="1050" y="100"/>
                    </a:lnTo>
                    <a:lnTo>
                      <a:pt x="1048" y="102"/>
                    </a:lnTo>
                    <a:lnTo>
                      <a:pt x="1048" y="102"/>
                    </a:lnTo>
                    <a:lnTo>
                      <a:pt x="1048" y="102"/>
                    </a:lnTo>
                    <a:lnTo>
                      <a:pt x="1046" y="106"/>
                    </a:lnTo>
                    <a:lnTo>
                      <a:pt x="1042" y="110"/>
                    </a:lnTo>
                    <a:lnTo>
                      <a:pt x="1040" y="116"/>
                    </a:lnTo>
                    <a:lnTo>
                      <a:pt x="1038" y="118"/>
                    </a:lnTo>
                    <a:lnTo>
                      <a:pt x="1038" y="118"/>
                    </a:lnTo>
                    <a:lnTo>
                      <a:pt x="1036" y="120"/>
                    </a:lnTo>
                    <a:lnTo>
                      <a:pt x="1036" y="120"/>
                    </a:lnTo>
                    <a:lnTo>
                      <a:pt x="1032" y="122"/>
                    </a:lnTo>
                    <a:lnTo>
                      <a:pt x="1028" y="122"/>
                    </a:lnTo>
                    <a:lnTo>
                      <a:pt x="1028" y="122"/>
                    </a:lnTo>
                    <a:lnTo>
                      <a:pt x="1028" y="124"/>
                    </a:lnTo>
                    <a:lnTo>
                      <a:pt x="1026" y="124"/>
                    </a:lnTo>
                    <a:lnTo>
                      <a:pt x="1026" y="124"/>
                    </a:lnTo>
                    <a:lnTo>
                      <a:pt x="1026" y="124"/>
                    </a:lnTo>
                    <a:lnTo>
                      <a:pt x="1024" y="126"/>
                    </a:lnTo>
                    <a:lnTo>
                      <a:pt x="1024" y="126"/>
                    </a:lnTo>
                    <a:lnTo>
                      <a:pt x="1024" y="126"/>
                    </a:lnTo>
                    <a:lnTo>
                      <a:pt x="1024" y="128"/>
                    </a:lnTo>
                    <a:lnTo>
                      <a:pt x="1024" y="128"/>
                    </a:lnTo>
                    <a:lnTo>
                      <a:pt x="1024" y="130"/>
                    </a:lnTo>
                    <a:lnTo>
                      <a:pt x="1022" y="132"/>
                    </a:lnTo>
                    <a:lnTo>
                      <a:pt x="1024" y="136"/>
                    </a:lnTo>
                    <a:lnTo>
                      <a:pt x="1024" y="138"/>
                    </a:lnTo>
                    <a:lnTo>
                      <a:pt x="1024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18" y="140"/>
                    </a:lnTo>
                    <a:lnTo>
                      <a:pt x="1016" y="140"/>
                    </a:lnTo>
                    <a:lnTo>
                      <a:pt x="1012" y="140"/>
                    </a:lnTo>
                    <a:lnTo>
                      <a:pt x="1010" y="140"/>
                    </a:lnTo>
                    <a:lnTo>
                      <a:pt x="1010" y="140"/>
                    </a:lnTo>
                    <a:lnTo>
                      <a:pt x="1008" y="140"/>
                    </a:lnTo>
                    <a:lnTo>
                      <a:pt x="1008" y="140"/>
                    </a:lnTo>
                    <a:lnTo>
                      <a:pt x="1006" y="140"/>
                    </a:lnTo>
                    <a:lnTo>
                      <a:pt x="1006" y="140"/>
                    </a:lnTo>
                    <a:lnTo>
                      <a:pt x="1006" y="140"/>
                    </a:lnTo>
                    <a:lnTo>
                      <a:pt x="1004" y="142"/>
                    </a:lnTo>
                    <a:lnTo>
                      <a:pt x="1004" y="142"/>
                    </a:lnTo>
                    <a:lnTo>
                      <a:pt x="1004" y="142"/>
                    </a:lnTo>
                    <a:lnTo>
                      <a:pt x="1004" y="144"/>
                    </a:lnTo>
                    <a:lnTo>
                      <a:pt x="1004" y="146"/>
                    </a:lnTo>
                    <a:lnTo>
                      <a:pt x="1004" y="146"/>
                    </a:lnTo>
                    <a:lnTo>
                      <a:pt x="1004" y="146"/>
                    </a:lnTo>
                    <a:lnTo>
                      <a:pt x="1004" y="148"/>
                    </a:lnTo>
                    <a:lnTo>
                      <a:pt x="1006" y="150"/>
                    </a:lnTo>
                    <a:lnTo>
                      <a:pt x="1008" y="154"/>
                    </a:lnTo>
                    <a:lnTo>
                      <a:pt x="1010" y="156"/>
                    </a:lnTo>
                    <a:lnTo>
                      <a:pt x="1010" y="158"/>
                    </a:lnTo>
                    <a:lnTo>
                      <a:pt x="1012" y="162"/>
                    </a:lnTo>
                    <a:lnTo>
                      <a:pt x="1014" y="166"/>
                    </a:lnTo>
                    <a:lnTo>
                      <a:pt x="1016" y="172"/>
                    </a:lnTo>
                    <a:lnTo>
                      <a:pt x="1018" y="176"/>
                    </a:lnTo>
                    <a:lnTo>
                      <a:pt x="1020" y="180"/>
                    </a:lnTo>
                    <a:lnTo>
                      <a:pt x="1022" y="184"/>
                    </a:lnTo>
                    <a:lnTo>
                      <a:pt x="1022" y="184"/>
                    </a:lnTo>
                    <a:lnTo>
                      <a:pt x="1022" y="186"/>
                    </a:lnTo>
                    <a:lnTo>
                      <a:pt x="1022" y="188"/>
                    </a:lnTo>
                    <a:lnTo>
                      <a:pt x="1022" y="188"/>
                    </a:lnTo>
                    <a:lnTo>
                      <a:pt x="1020" y="190"/>
                    </a:lnTo>
                    <a:lnTo>
                      <a:pt x="1020" y="188"/>
                    </a:lnTo>
                    <a:lnTo>
                      <a:pt x="1018" y="190"/>
                    </a:lnTo>
                    <a:lnTo>
                      <a:pt x="1016" y="192"/>
                    </a:lnTo>
                    <a:lnTo>
                      <a:pt x="1014" y="192"/>
                    </a:lnTo>
                    <a:lnTo>
                      <a:pt x="1008" y="194"/>
                    </a:lnTo>
                    <a:lnTo>
                      <a:pt x="1004" y="196"/>
                    </a:lnTo>
                    <a:lnTo>
                      <a:pt x="1002" y="196"/>
                    </a:lnTo>
                    <a:lnTo>
                      <a:pt x="996" y="198"/>
                    </a:lnTo>
                    <a:lnTo>
                      <a:pt x="990" y="198"/>
                    </a:lnTo>
                    <a:lnTo>
                      <a:pt x="984" y="200"/>
                    </a:lnTo>
                    <a:lnTo>
                      <a:pt x="978" y="202"/>
                    </a:lnTo>
                    <a:lnTo>
                      <a:pt x="972" y="204"/>
                    </a:lnTo>
                    <a:lnTo>
                      <a:pt x="968" y="206"/>
                    </a:lnTo>
                    <a:lnTo>
                      <a:pt x="964" y="208"/>
                    </a:lnTo>
                    <a:lnTo>
                      <a:pt x="962" y="208"/>
                    </a:lnTo>
                    <a:lnTo>
                      <a:pt x="960" y="208"/>
                    </a:lnTo>
                    <a:lnTo>
                      <a:pt x="956" y="208"/>
                    </a:lnTo>
                    <a:lnTo>
                      <a:pt x="952" y="208"/>
                    </a:lnTo>
                    <a:lnTo>
                      <a:pt x="944" y="208"/>
                    </a:lnTo>
                    <a:lnTo>
                      <a:pt x="940" y="208"/>
                    </a:lnTo>
                    <a:lnTo>
                      <a:pt x="936" y="208"/>
                    </a:lnTo>
                    <a:lnTo>
                      <a:pt x="932" y="208"/>
                    </a:lnTo>
                    <a:lnTo>
                      <a:pt x="928" y="208"/>
                    </a:lnTo>
                    <a:lnTo>
                      <a:pt x="928" y="208"/>
                    </a:lnTo>
                    <a:lnTo>
                      <a:pt x="928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4" y="210"/>
                    </a:lnTo>
                    <a:lnTo>
                      <a:pt x="924" y="212"/>
                    </a:lnTo>
                    <a:lnTo>
                      <a:pt x="924" y="212"/>
                    </a:lnTo>
                    <a:lnTo>
                      <a:pt x="922" y="212"/>
                    </a:lnTo>
                    <a:lnTo>
                      <a:pt x="920" y="216"/>
                    </a:lnTo>
                    <a:lnTo>
                      <a:pt x="920" y="216"/>
                    </a:lnTo>
                    <a:lnTo>
                      <a:pt x="920" y="216"/>
                    </a:lnTo>
                    <a:lnTo>
                      <a:pt x="918" y="220"/>
                    </a:lnTo>
                    <a:lnTo>
                      <a:pt x="918" y="220"/>
                    </a:lnTo>
                    <a:lnTo>
                      <a:pt x="918" y="220"/>
                    </a:lnTo>
                    <a:lnTo>
                      <a:pt x="918" y="224"/>
                    </a:lnTo>
                    <a:lnTo>
                      <a:pt x="918" y="224"/>
                    </a:lnTo>
                    <a:lnTo>
                      <a:pt x="918" y="226"/>
                    </a:lnTo>
                    <a:lnTo>
                      <a:pt x="918" y="226"/>
                    </a:lnTo>
                    <a:lnTo>
                      <a:pt x="918" y="226"/>
                    </a:lnTo>
                    <a:lnTo>
                      <a:pt x="920" y="228"/>
                    </a:lnTo>
                    <a:lnTo>
                      <a:pt x="920" y="228"/>
                    </a:lnTo>
                    <a:lnTo>
                      <a:pt x="920" y="228"/>
                    </a:lnTo>
                    <a:lnTo>
                      <a:pt x="922" y="232"/>
                    </a:lnTo>
                    <a:lnTo>
                      <a:pt x="924" y="234"/>
                    </a:lnTo>
                    <a:lnTo>
                      <a:pt x="924" y="234"/>
                    </a:lnTo>
                    <a:lnTo>
                      <a:pt x="926" y="234"/>
                    </a:lnTo>
                    <a:lnTo>
                      <a:pt x="926" y="236"/>
                    </a:lnTo>
                    <a:lnTo>
                      <a:pt x="926" y="236"/>
                    </a:lnTo>
                    <a:lnTo>
                      <a:pt x="926" y="238"/>
                    </a:lnTo>
                    <a:lnTo>
                      <a:pt x="926" y="236"/>
                    </a:lnTo>
                    <a:lnTo>
                      <a:pt x="926" y="240"/>
                    </a:lnTo>
                    <a:lnTo>
                      <a:pt x="924" y="244"/>
                    </a:lnTo>
                    <a:lnTo>
                      <a:pt x="924" y="248"/>
                    </a:lnTo>
                    <a:lnTo>
                      <a:pt x="924" y="252"/>
                    </a:lnTo>
                    <a:lnTo>
                      <a:pt x="924" y="256"/>
                    </a:lnTo>
                    <a:lnTo>
                      <a:pt x="924" y="260"/>
                    </a:lnTo>
                    <a:lnTo>
                      <a:pt x="924" y="262"/>
                    </a:lnTo>
                    <a:lnTo>
                      <a:pt x="924" y="262"/>
                    </a:lnTo>
                    <a:lnTo>
                      <a:pt x="924" y="262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8" y="268"/>
                    </a:lnTo>
                    <a:lnTo>
                      <a:pt x="928" y="268"/>
                    </a:lnTo>
                    <a:lnTo>
                      <a:pt x="930" y="268"/>
                    </a:lnTo>
                    <a:lnTo>
                      <a:pt x="932" y="270"/>
                    </a:lnTo>
                    <a:lnTo>
                      <a:pt x="934" y="272"/>
                    </a:lnTo>
                    <a:lnTo>
                      <a:pt x="938" y="272"/>
                    </a:lnTo>
                    <a:lnTo>
                      <a:pt x="940" y="274"/>
                    </a:lnTo>
                    <a:lnTo>
                      <a:pt x="944" y="274"/>
                    </a:lnTo>
                    <a:lnTo>
                      <a:pt x="946" y="274"/>
                    </a:lnTo>
                    <a:lnTo>
                      <a:pt x="946" y="276"/>
                    </a:lnTo>
                    <a:lnTo>
                      <a:pt x="946" y="276"/>
                    </a:lnTo>
                    <a:lnTo>
                      <a:pt x="948" y="278"/>
                    </a:lnTo>
                    <a:lnTo>
                      <a:pt x="948" y="278"/>
                    </a:lnTo>
                    <a:lnTo>
                      <a:pt x="948" y="282"/>
                    </a:lnTo>
                    <a:lnTo>
                      <a:pt x="948" y="282"/>
                    </a:lnTo>
                    <a:lnTo>
                      <a:pt x="948" y="282"/>
                    </a:lnTo>
                    <a:lnTo>
                      <a:pt x="948" y="284"/>
                    </a:lnTo>
                    <a:lnTo>
                      <a:pt x="948" y="284"/>
                    </a:lnTo>
                    <a:lnTo>
                      <a:pt x="948" y="284"/>
                    </a:lnTo>
                    <a:lnTo>
                      <a:pt x="948" y="288"/>
                    </a:lnTo>
                    <a:lnTo>
                      <a:pt x="948" y="288"/>
                    </a:lnTo>
                    <a:lnTo>
                      <a:pt x="950" y="288"/>
                    </a:lnTo>
                    <a:lnTo>
                      <a:pt x="952" y="290"/>
                    </a:lnTo>
                    <a:lnTo>
                      <a:pt x="954" y="292"/>
                    </a:lnTo>
                    <a:lnTo>
                      <a:pt x="954" y="292"/>
                    </a:lnTo>
                    <a:lnTo>
                      <a:pt x="954" y="292"/>
                    </a:lnTo>
                    <a:lnTo>
                      <a:pt x="956" y="294"/>
                    </a:lnTo>
                    <a:lnTo>
                      <a:pt x="956" y="294"/>
                    </a:lnTo>
                    <a:lnTo>
                      <a:pt x="956" y="296"/>
                    </a:lnTo>
                    <a:lnTo>
                      <a:pt x="958" y="296"/>
                    </a:lnTo>
                    <a:lnTo>
                      <a:pt x="958" y="296"/>
                    </a:lnTo>
                    <a:lnTo>
                      <a:pt x="956" y="298"/>
                    </a:lnTo>
                    <a:lnTo>
                      <a:pt x="954" y="298"/>
                    </a:lnTo>
                    <a:lnTo>
                      <a:pt x="948" y="300"/>
                    </a:lnTo>
                    <a:lnTo>
                      <a:pt x="946" y="302"/>
                    </a:lnTo>
                    <a:lnTo>
                      <a:pt x="944" y="302"/>
                    </a:lnTo>
                    <a:lnTo>
                      <a:pt x="944" y="302"/>
                    </a:lnTo>
                    <a:lnTo>
                      <a:pt x="944" y="302"/>
                    </a:lnTo>
                    <a:lnTo>
                      <a:pt x="942" y="300"/>
                    </a:lnTo>
                    <a:lnTo>
                      <a:pt x="940" y="298"/>
                    </a:lnTo>
                    <a:lnTo>
                      <a:pt x="938" y="296"/>
                    </a:lnTo>
                    <a:lnTo>
                      <a:pt x="936" y="296"/>
                    </a:lnTo>
                    <a:lnTo>
                      <a:pt x="934" y="294"/>
                    </a:lnTo>
                    <a:lnTo>
                      <a:pt x="932" y="292"/>
                    </a:lnTo>
                    <a:lnTo>
                      <a:pt x="928" y="288"/>
                    </a:lnTo>
                    <a:lnTo>
                      <a:pt x="926" y="284"/>
                    </a:lnTo>
                    <a:lnTo>
                      <a:pt x="922" y="282"/>
                    </a:lnTo>
                    <a:lnTo>
                      <a:pt x="918" y="278"/>
                    </a:lnTo>
                    <a:lnTo>
                      <a:pt x="914" y="274"/>
                    </a:lnTo>
                    <a:lnTo>
                      <a:pt x="910" y="272"/>
                    </a:lnTo>
                    <a:lnTo>
                      <a:pt x="908" y="270"/>
                    </a:lnTo>
                    <a:lnTo>
                      <a:pt x="904" y="268"/>
                    </a:lnTo>
                    <a:lnTo>
                      <a:pt x="902" y="266"/>
                    </a:lnTo>
                    <a:lnTo>
                      <a:pt x="900" y="266"/>
                    </a:lnTo>
                    <a:lnTo>
                      <a:pt x="900" y="266"/>
                    </a:lnTo>
                    <a:lnTo>
                      <a:pt x="900" y="266"/>
                    </a:lnTo>
                    <a:lnTo>
                      <a:pt x="898" y="264"/>
                    </a:lnTo>
                    <a:lnTo>
                      <a:pt x="896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0" y="262"/>
                    </a:lnTo>
                    <a:lnTo>
                      <a:pt x="888" y="260"/>
                    </a:lnTo>
                    <a:lnTo>
                      <a:pt x="886" y="258"/>
                    </a:lnTo>
                    <a:lnTo>
                      <a:pt x="886" y="258"/>
                    </a:lnTo>
                    <a:lnTo>
                      <a:pt x="886" y="258"/>
                    </a:lnTo>
                    <a:lnTo>
                      <a:pt x="884" y="258"/>
                    </a:lnTo>
                    <a:lnTo>
                      <a:pt x="884" y="256"/>
                    </a:lnTo>
                    <a:lnTo>
                      <a:pt x="884" y="256"/>
                    </a:lnTo>
                    <a:lnTo>
                      <a:pt x="882" y="256"/>
                    </a:lnTo>
                    <a:lnTo>
                      <a:pt x="882" y="256"/>
                    </a:lnTo>
                    <a:lnTo>
                      <a:pt x="882" y="256"/>
                    </a:lnTo>
                    <a:lnTo>
                      <a:pt x="880" y="256"/>
                    </a:lnTo>
                    <a:lnTo>
                      <a:pt x="878" y="256"/>
                    </a:lnTo>
                    <a:lnTo>
                      <a:pt x="878" y="256"/>
                    </a:lnTo>
                    <a:lnTo>
                      <a:pt x="878" y="256"/>
                    </a:lnTo>
                    <a:lnTo>
                      <a:pt x="876" y="258"/>
                    </a:lnTo>
                    <a:lnTo>
                      <a:pt x="874" y="258"/>
                    </a:lnTo>
                    <a:lnTo>
                      <a:pt x="872" y="260"/>
                    </a:lnTo>
                    <a:lnTo>
                      <a:pt x="870" y="262"/>
                    </a:lnTo>
                    <a:lnTo>
                      <a:pt x="868" y="264"/>
                    </a:lnTo>
                    <a:lnTo>
                      <a:pt x="866" y="266"/>
                    </a:lnTo>
                    <a:lnTo>
                      <a:pt x="866" y="266"/>
                    </a:lnTo>
                    <a:lnTo>
                      <a:pt x="866" y="266"/>
                    </a:lnTo>
                    <a:lnTo>
                      <a:pt x="866" y="268"/>
                    </a:lnTo>
                    <a:lnTo>
                      <a:pt x="866" y="268"/>
                    </a:lnTo>
                    <a:lnTo>
                      <a:pt x="866" y="268"/>
                    </a:lnTo>
                    <a:lnTo>
                      <a:pt x="866" y="270"/>
                    </a:lnTo>
                    <a:lnTo>
                      <a:pt x="866" y="270"/>
                    </a:lnTo>
                    <a:lnTo>
                      <a:pt x="866" y="272"/>
                    </a:lnTo>
                    <a:lnTo>
                      <a:pt x="866" y="272"/>
                    </a:lnTo>
                    <a:lnTo>
                      <a:pt x="866" y="272"/>
                    </a:lnTo>
                    <a:lnTo>
                      <a:pt x="868" y="272"/>
                    </a:lnTo>
                    <a:lnTo>
                      <a:pt x="868" y="274"/>
                    </a:lnTo>
                    <a:lnTo>
                      <a:pt x="868" y="274"/>
                    </a:lnTo>
                    <a:lnTo>
                      <a:pt x="870" y="274"/>
                    </a:lnTo>
                    <a:lnTo>
                      <a:pt x="870" y="274"/>
                    </a:lnTo>
                    <a:lnTo>
                      <a:pt x="874" y="276"/>
                    </a:lnTo>
                    <a:lnTo>
                      <a:pt x="876" y="276"/>
                    </a:lnTo>
                    <a:lnTo>
                      <a:pt x="876" y="278"/>
                    </a:lnTo>
                    <a:lnTo>
                      <a:pt x="878" y="278"/>
                    </a:lnTo>
                    <a:lnTo>
                      <a:pt x="880" y="280"/>
                    </a:lnTo>
                    <a:lnTo>
                      <a:pt x="882" y="284"/>
                    </a:lnTo>
                    <a:lnTo>
                      <a:pt x="882" y="284"/>
                    </a:lnTo>
                    <a:lnTo>
                      <a:pt x="882" y="286"/>
                    </a:lnTo>
                    <a:lnTo>
                      <a:pt x="882" y="286"/>
                    </a:lnTo>
                    <a:lnTo>
                      <a:pt x="882" y="286"/>
                    </a:lnTo>
                    <a:lnTo>
                      <a:pt x="882" y="290"/>
                    </a:lnTo>
                    <a:lnTo>
                      <a:pt x="882" y="290"/>
                    </a:lnTo>
                    <a:lnTo>
                      <a:pt x="882" y="292"/>
                    </a:lnTo>
                    <a:lnTo>
                      <a:pt x="882" y="292"/>
                    </a:lnTo>
                    <a:lnTo>
                      <a:pt x="880" y="292"/>
                    </a:lnTo>
                    <a:lnTo>
                      <a:pt x="878" y="290"/>
                    </a:lnTo>
                    <a:lnTo>
                      <a:pt x="878" y="288"/>
                    </a:lnTo>
                    <a:lnTo>
                      <a:pt x="874" y="286"/>
                    </a:lnTo>
                    <a:lnTo>
                      <a:pt x="872" y="284"/>
                    </a:lnTo>
                    <a:lnTo>
                      <a:pt x="870" y="282"/>
                    </a:lnTo>
                    <a:lnTo>
                      <a:pt x="870" y="282"/>
                    </a:lnTo>
                    <a:lnTo>
                      <a:pt x="870" y="282"/>
                    </a:lnTo>
                    <a:lnTo>
                      <a:pt x="868" y="280"/>
                    </a:lnTo>
                    <a:lnTo>
                      <a:pt x="868" y="280"/>
                    </a:lnTo>
                    <a:lnTo>
                      <a:pt x="868" y="280"/>
                    </a:lnTo>
                    <a:lnTo>
                      <a:pt x="866" y="280"/>
                    </a:lnTo>
                    <a:lnTo>
                      <a:pt x="866" y="280"/>
                    </a:lnTo>
                    <a:lnTo>
                      <a:pt x="866" y="280"/>
                    </a:lnTo>
                    <a:lnTo>
                      <a:pt x="864" y="282"/>
                    </a:lnTo>
                    <a:lnTo>
                      <a:pt x="864" y="282"/>
                    </a:lnTo>
                    <a:lnTo>
                      <a:pt x="864" y="282"/>
                    </a:lnTo>
                    <a:lnTo>
                      <a:pt x="862" y="282"/>
                    </a:lnTo>
                    <a:lnTo>
                      <a:pt x="862" y="282"/>
                    </a:lnTo>
                    <a:lnTo>
                      <a:pt x="862" y="282"/>
                    </a:lnTo>
                    <a:lnTo>
                      <a:pt x="860" y="284"/>
                    </a:lnTo>
                    <a:lnTo>
                      <a:pt x="860" y="284"/>
                    </a:lnTo>
                    <a:lnTo>
                      <a:pt x="858" y="286"/>
                    </a:lnTo>
                    <a:lnTo>
                      <a:pt x="858" y="286"/>
                    </a:lnTo>
                    <a:lnTo>
                      <a:pt x="858" y="288"/>
                    </a:lnTo>
                    <a:lnTo>
                      <a:pt x="856" y="290"/>
                    </a:lnTo>
                    <a:lnTo>
                      <a:pt x="856" y="290"/>
                    </a:lnTo>
                    <a:lnTo>
                      <a:pt x="856" y="288"/>
                    </a:lnTo>
                    <a:lnTo>
                      <a:pt x="856" y="286"/>
                    </a:lnTo>
                    <a:lnTo>
                      <a:pt x="856" y="282"/>
                    </a:lnTo>
                    <a:lnTo>
                      <a:pt x="856" y="278"/>
                    </a:lnTo>
                    <a:lnTo>
                      <a:pt x="856" y="274"/>
                    </a:lnTo>
                    <a:lnTo>
                      <a:pt x="856" y="268"/>
                    </a:lnTo>
                    <a:lnTo>
                      <a:pt x="854" y="264"/>
                    </a:lnTo>
                    <a:lnTo>
                      <a:pt x="854" y="260"/>
                    </a:lnTo>
                    <a:lnTo>
                      <a:pt x="854" y="256"/>
                    </a:lnTo>
                    <a:lnTo>
                      <a:pt x="852" y="252"/>
                    </a:lnTo>
                    <a:lnTo>
                      <a:pt x="850" y="250"/>
                    </a:lnTo>
                    <a:lnTo>
                      <a:pt x="848" y="244"/>
                    </a:lnTo>
                    <a:lnTo>
                      <a:pt x="846" y="240"/>
                    </a:lnTo>
                    <a:lnTo>
                      <a:pt x="844" y="238"/>
                    </a:lnTo>
                    <a:lnTo>
                      <a:pt x="842" y="236"/>
                    </a:lnTo>
                    <a:lnTo>
                      <a:pt x="840" y="236"/>
                    </a:lnTo>
                    <a:lnTo>
                      <a:pt x="840" y="236"/>
                    </a:lnTo>
                    <a:lnTo>
                      <a:pt x="840" y="234"/>
                    </a:lnTo>
                    <a:lnTo>
                      <a:pt x="838" y="234"/>
                    </a:lnTo>
                    <a:lnTo>
                      <a:pt x="838" y="234"/>
                    </a:lnTo>
                    <a:lnTo>
                      <a:pt x="836" y="234"/>
                    </a:lnTo>
                    <a:lnTo>
                      <a:pt x="836" y="234"/>
                    </a:lnTo>
                    <a:lnTo>
                      <a:pt x="836" y="234"/>
                    </a:lnTo>
                    <a:lnTo>
                      <a:pt x="834" y="236"/>
                    </a:lnTo>
                    <a:lnTo>
                      <a:pt x="834" y="236"/>
                    </a:lnTo>
                    <a:lnTo>
                      <a:pt x="834" y="236"/>
                    </a:lnTo>
                    <a:lnTo>
                      <a:pt x="832" y="236"/>
                    </a:lnTo>
                    <a:lnTo>
                      <a:pt x="832" y="238"/>
                    </a:lnTo>
                    <a:lnTo>
                      <a:pt x="832" y="238"/>
                    </a:lnTo>
                    <a:lnTo>
                      <a:pt x="832" y="238"/>
                    </a:lnTo>
                    <a:lnTo>
                      <a:pt x="830" y="242"/>
                    </a:lnTo>
                    <a:lnTo>
                      <a:pt x="830" y="242"/>
                    </a:lnTo>
                    <a:lnTo>
                      <a:pt x="830" y="242"/>
                    </a:lnTo>
                    <a:lnTo>
                      <a:pt x="830" y="244"/>
                    </a:lnTo>
                    <a:lnTo>
                      <a:pt x="830" y="244"/>
                    </a:lnTo>
                    <a:lnTo>
                      <a:pt x="830" y="246"/>
                    </a:lnTo>
                    <a:lnTo>
                      <a:pt x="830" y="246"/>
                    </a:lnTo>
                    <a:lnTo>
                      <a:pt x="830" y="246"/>
                    </a:lnTo>
                    <a:lnTo>
                      <a:pt x="830" y="248"/>
                    </a:lnTo>
                    <a:lnTo>
                      <a:pt x="830" y="250"/>
                    </a:lnTo>
                    <a:lnTo>
                      <a:pt x="830" y="250"/>
                    </a:lnTo>
                    <a:lnTo>
                      <a:pt x="832" y="250"/>
                    </a:lnTo>
                    <a:lnTo>
                      <a:pt x="834" y="252"/>
                    </a:lnTo>
                    <a:lnTo>
                      <a:pt x="836" y="254"/>
                    </a:lnTo>
                    <a:lnTo>
                      <a:pt x="838" y="256"/>
                    </a:lnTo>
                    <a:lnTo>
                      <a:pt x="840" y="256"/>
                    </a:lnTo>
                    <a:lnTo>
                      <a:pt x="842" y="258"/>
                    </a:lnTo>
                    <a:lnTo>
                      <a:pt x="842" y="258"/>
                    </a:lnTo>
                    <a:lnTo>
                      <a:pt x="844" y="260"/>
                    </a:lnTo>
                    <a:lnTo>
                      <a:pt x="844" y="262"/>
                    </a:lnTo>
                    <a:lnTo>
                      <a:pt x="844" y="264"/>
                    </a:lnTo>
                    <a:lnTo>
                      <a:pt x="844" y="266"/>
                    </a:lnTo>
                    <a:lnTo>
                      <a:pt x="842" y="270"/>
                    </a:lnTo>
                    <a:lnTo>
                      <a:pt x="840" y="274"/>
                    </a:lnTo>
                    <a:lnTo>
                      <a:pt x="836" y="280"/>
                    </a:lnTo>
                    <a:lnTo>
                      <a:pt x="834" y="282"/>
                    </a:lnTo>
                    <a:lnTo>
                      <a:pt x="834" y="284"/>
                    </a:lnTo>
                    <a:lnTo>
                      <a:pt x="832" y="286"/>
                    </a:lnTo>
                    <a:lnTo>
                      <a:pt x="832" y="286"/>
                    </a:lnTo>
                    <a:lnTo>
                      <a:pt x="830" y="286"/>
                    </a:lnTo>
                    <a:lnTo>
                      <a:pt x="828" y="286"/>
                    </a:lnTo>
                    <a:lnTo>
                      <a:pt x="828" y="286"/>
                    </a:lnTo>
                    <a:lnTo>
                      <a:pt x="828" y="286"/>
                    </a:lnTo>
                    <a:lnTo>
                      <a:pt x="826" y="286"/>
                    </a:lnTo>
                    <a:lnTo>
                      <a:pt x="826" y="286"/>
                    </a:lnTo>
                    <a:lnTo>
                      <a:pt x="824" y="288"/>
                    </a:lnTo>
                    <a:lnTo>
                      <a:pt x="824" y="288"/>
                    </a:lnTo>
                    <a:lnTo>
                      <a:pt x="824" y="288"/>
                    </a:lnTo>
                    <a:lnTo>
                      <a:pt x="822" y="290"/>
                    </a:lnTo>
                    <a:lnTo>
                      <a:pt x="822" y="290"/>
                    </a:lnTo>
                    <a:lnTo>
                      <a:pt x="820" y="292"/>
                    </a:lnTo>
                    <a:lnTo>
                      <a:pt x="820" y="292"/>
                    </a:lnTo>
                    <a:lnTo>
                      <a:pt x="820" y="292"/>
                    </a:lnTo>
                    <a:lnTo>
                      <a:pt x="820" y="294"/>
                    </a:lnTo>
                    <a:lnTo>
                      <a:pt x="820" y="298"/>
                    </a:lnTo>
                    <a:lnTo>
                      <a:pt x="820" y="300"/>
                    </a:lnTo>
                    <a:lnTo>
                      <a:pt x="820" y="304"/>
                    </a:lnTo>
                    <a:lnTo>
                      <a:pt x="818" y="308"/>
                    </a:lnTo>
                    <a:lnTo>
                      <a:pt x="818" y="318"/>
                    </a:lnTo>
                    <a:lnTo>
                      <a:pt x="820" y="324"/>
                    </a:lnTo>
                    <a:lnTo>
                      <a:pt x="820" y="334"/>
                    </a:lnTo>
                    <a:lnTo>
                      <a:pt x="820" y="346"/>
                    </a:lnTo>
                    <a:lnTo>
                      <a:pt x="820" y="356"/>
                    </a:lnTo>
                    <a:lnTo>
                      <a:pt x="820" y="360"/>
                    </a:lnTo>
                    <a:lnTo>
                      <a:pt x="820" y="364"/>
                    </a:lnTo>
                    <a:lnTo>
                      <a:pt x="820" y="370"/>
                    </a:lnTo>
                    <a:lnTo>
                      <a:pt x="820" y="372"/>
                    </a:lnTo>
                    <a:lnTo>
                      <a:pt x="820" y="378"/>
                    </a:lnTo>
                    <a:lnTo>
                      <a:pt x="820" y="382"/>
                    </a:lnTo>
                    <a:lnTo>
                      <a:pt x="820" y="386"/>
                    </a:lnTo>
                    <a:lnTo>
                      <a:pt x="820" y="390"/>
                    </a:lnTo>
                    <a:lnTo>
                      <a:pt x="818" y="392"/>
                    </a:lnTo>
                    <a:lnTo>
                      <a:pt x="818" y="394"/>
                    </a:lnTo>
                    <a:lnTo>
                      <a:pt x="818" y="396"/>
                    </a:lnTo>
                    <a:lnTo>
                      <a:pt x="818" y="400"/>
                    </a:lnTo>
                    <a:lnTo>
                      <a:pt x="818" y="404"/>
                    </a:lnTo>
                    <a:lnTo>
                      <a:pt x="816" y="410"/>
                    </a:lnTo>
                    <a:lnTo>
                      <a:pt x="818" y="412"/>
                    </a:lnTo>
                    <a:lnTo>
                      <a:pt x="818" y="412"/>
                    </a:lnTo>
                    <a:lnTo>
                      <a:pt x="818" y="414"/>
                    </a:lnTo>
                    <a:lnTo>
                      <a:pt x="818" y="416"/>
                    </a:lnTo>
                    <a:lnTo>
                      <a:pt x="818" y="416"/>
                    </a:lnTo>
                    <a:lnTo>
                      <a:pt x="818" y="416"/>
                    </a:lnTo>
                    <a:lnTo>
                      <a:pt x="820" y="418"/>
                    </a:lnTo>
                    <a:lnTo>
                      <a:pt x="820" y="418"/>
                    </a:lnTo>
                    <a:lnTo>
                      <a:pt x="820" y="418"/>
                    </a:lnTo>
                    <a:lnTo>
                      <a:pt x="822" y="420"/>
                    </a:lnTo>
                    <a:lnTo>
                      <a:pt x="822" y="420"/>
                    </a:lnTo>
                    <a:lnTo>
                      <a:pt x="824" y="420"/>
                    </a:lnTo>
                    <a:lnTo>
                      <a:pt x="826" y="420"/>
                    </a:lnTo>
                    <a:lnTo>
                      <a:pt x="826" y="420"/>
                    </a:lnTo>
                    <a:lnTo>
                      <a:pt x="826" y="420"/>
                    </a:lnTo>
                    <a:lnTo>
                      <a:pt x="830" y="420"/>
                    </a:lnTo>
                    <a:lnTo>
                      <a:pt x="836" y="420"/>
                    </a:lnTo>
                    <a:lnTo>
                      <a:pt x="834" y="422"/>
                    </a:lnTo>
                    <a:lnTo>
                      <a:pt x="832" y="426"/>
                    </a:lnTo>
                    <a:lnTo>
                      <a:pt x="830" y="430"/>
                    </a:lnTo>
                    <a:lnTo>
                      <a:pt x="828" y="434"/>
                    </a:lnTo>
                    <a:lnTo>
                      <a:pt x="828" y="438"/>
                    </a:lnTo>
                    <a:lnTo>
                      <a:pt x="826" y="442"/>
                    </a:lnTo>
                    <a:lnTo>
                      <a:pt x="826" y="444"/>
                    </a:lnTo>
                    <a:lnTo>
                      <a:pt x="826" y="444"/>
                    </a:lnTo>
                    <a:lnTo>
                      <a:pt x="826" y="446"/>
                    </a:lnTo>
                    <a:lnTo>
                      <a:pt x="826" y="446"/>
                    </a:lnTo>
                    <a:lnTo>
                      <a:pt x="826" y="448"/>
                    </a:lnTo>
                    <a:lnTo>
                      <a:pt x="828" y="450"/>
                    </a:lnTo>
                    <a:lnTo>
                      <a:pt x="828" y="450"/>
                    </a:lnTo>
                    <a:lnTo>
                      <a:pt x="828" y="450"/>
                    </a:lnTo>
                    <a:lnTo>
                      <a:pt x="828" y="452"/>
                    </a:lnTo>
                    <a:lnTo>
                      <a:pt x="828" y="454"/>
                    </a:lnTo>
                    <a:lnTo>
                      <a:pt x="828" y="454"/>
                    </a:lnTo>
                    <a:lnTo>
                      <a:pt x="828" y="456"/>
                    </a:lnTo>
                    <a:lnTo>
                      <a:pt x="828" y="460"/>
                    </a:lnTo>
                    <a:lnTo>
                      <a:pt x="828" y="462"/>
                    </a:lnTo>
                    <a:lnTo>
                      <a:pt x="828" y="466"/>
                    </a:lnTo>
                    <a:lnTo>
                      <a:pt x="828" y="470"/>
                    </a:lnTo>
                    <a:lnTo>
                      <a:pt x="826" y="476"/>
                    </a:lnTo>
                    <a:lnTo>
                      <a:pt x="826" y="482"/>
                    </a:lnTo>
                    <a:lnTo>
                      <a:pt x="824" y="486"/>
                    </a:lnTo>
                    <a:lnTo>
                      <a:pt x="824" y="488"/>
                    </a:lnTo>
                    <a:lnTo>
                      <a:pt x="822" y="490"/>
                    </a:lnTo>
                    <a:lnTo>
                      <a:pt x="820" y="492"/>
                    </a:lnTo>
                    <a:lnTo>
                      <a:pt x="820" y="492"/>
                    </a:lnTo>
                    <a:lnTo>
                      <a:pt x="818" y="494"/>
                    </a:lnTo>
                    <a:lnTo>
                      <a:pt x="818" y="494"/>
                    </a:lnTo>
                    <a:lnTo>
                      <a:pt x="816" y="496"/>
                    </a:lnTo>
                    <a:lnTo>
                      <a:pt x="814" y="496"/>
                    </a:lnTo>
                    <a:lnTo>
                      <a:pt x="812" y="498"/>
                    </a:lnTo>
                    <a:lnTo>
                      <a:pt x="806" y="500"/>
                    </a:lnTo>
                    <a:lnTo>
                      <a:pt x="802" y="502"/>
                    </a:lnTo>
                    <a:lnTo>
                      <a:pt x="796" y="506"/>
                    </a:lnTo>
                    <a:lnTo>
                      <a:pt x="790" y="508"/>
                    </a:lnTo>
                    <a:lnTo>
                      <a:pt x="788" y="510"/>
                    </a:lnTo>
                    <a:lnTo>
                      <a:pt x="790" y="508"/>
                    </a:lnTo>
                    <a:lnTo>
                      <a:pt x="792" y="504"/>
                    </a:lnTo>
                    <a:lnTo>
                      <a:pt x="796" y="500"/>
                    </a:lnTo>
                    <a:lnTo>
                      <a:pt x="798" y="496"/>
                    </a:lnTo>
                    <a:lnTo>
                      <a:pt x="800" y="494"/>
                    </a:lnTo>
                    <a:lnTo>
                      <a:pt x="800" y="494"/>
                    </a:lnTo>
                    <a:lnTo>
                      <a:pt x="800" y="494"/>
                    </a:lnTo>
                    <a:lnTo>
                      <a:pt x="800" y="492"/>
                    </a:lnTo>
                    <a:lnTo>
                      <a:pt x="800" y="492"/>
                    </a:lnTo>
                    <a:lnTo>
                      <a:pt x="802" y="490"/>
                    </a:lnTo>
                    <a:lnTo>
                      <a:pt x="802" y="488"/>
                    </a:lnTo>
                    <a:lnTo>
                      <a:pt x="802" y="488"/>
                    </a:lnTo>
                    <a:lnTo>
                      <a:pt x="802" y="488"/>
                    </a:lnTo>
                    <a:lnTo>
                      <a:pt x="802" y="484"/>
                    </a:lnTo>
                    <a:lnTo>
                      <a:pt x="800" y="480"/>
                    </a:lnTo>
                    <a:lnTo>
                      <a:pt x="800" y="476"/>
                    </a:lnTo>
                    <a:lnTo>
                      <a:pt x="800" y="472"/>
                    </a:lnTo>
                    <a:lnTo>
                      <a:pt x="800" y="470"/>
                    </a:lnTo>
                    <a:lnTo>
                      <a:pt x="800" y="470"/>
                    </a:lnTo>
                    <a:lnTo>
                      <a:pt x="800" y="468"/>
                    </a:lnTo>
                    <a:lnTo>
                      <a:pt x="800" y="466"/>
                    </a:lnTo>
                    <a:lnTo>
                      <a:pt x="800" y="462"/>
                    </a:lnTo>
                    <a:lnTo>
                      <a:pt x="800" y="458"/>
                    </a:lnTo>
                    <a:lnTo>
                      <a:pt x="800" y="454"/>
                    </a:lnTo>
                    <a:lnTo>
                      <a:pt x="800" y="452"/>
                    </a:lnTo>
                    <a:lnTo>
                      <a:pt x="800" y="448"/>
                    </a:lnTo>
                    <a:lnTo>
                      <a:pt x="800" y="442"/>
                    </a:lnTo>
                    <a:lnTo>
                      <a:pt x="800" y="436"/>
                    </a:lnTo>
                    <a:lnTo>
                      <a:pt x="800" y="430"/>
                    </a:lnTo>
                    <a:lnTo>
                      <a:pt x="800" y="424"/>
                    </a:lnTo>
                    <a:lnTo>
                      <a:pt x="802" y="418"/>
                    </a:lnTo>
                    <a:lnTo>
                      <a:pt x="802" y="402"/>
                    </a:lnTo>
                    <a:lnTo>
                      <a:pt x="802" y="388"/>
                    </a:lnTo>
                    <a:lnTo>
                      <a:pt x="804" y="382"/>
                    </a:lnTo>
                    <a:lnTo>
                      <a:pt x="804" y="376"/>
                    </a:lnTo>
                    <a:lnTo>
                      <a:pt x="804" y="370"/>
                    </a:lnTo>
                    <a:lnTo>
                      <a:pt x="804" y="364"/>
                    </a:lnTo>
                    <a:lnTo>
                      <a:pt x="804" y="360"/>
                    </a:lnTo>
                    <a:lnTo>
                      <a:pt x="804" y="354"/>
                    </a:lnTo>
                    <a:lnTo>
                      <a:pt x="804" y="352"/>
                    </a:lnTo>
                    <a:lnTo>
                      <a:pt x="804" y="350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2"/>
                    </a:lnTo>
                    <a:lnTo>
                      <a:pt x="802" y="338"/>
                    </a:lnTo>
                    <a:lnTo>
                      <a:pt x="802" y="332"/>
                    </a:lnTo>
                    <a:lnTo>
                      <a:pt x="802" y="326"/>
                    </a:lnTo>
                    <a:lnTo>
                      <a:pt x="802" y="320"/>
                    </a:lnTo>
                    <a:lnTo>
                      <a:pt x="802" y="320"/>
                    </a:lnTo>
                    <a:lnTo>
                      <a:pt x="802" y="316"/>
                    </a:lnTo>
                    <a:lnTo>
                      <a:pt x="802" y="316"/>
                    </a:lnTo>
                    <a:lnTo>
                      <a:pt x="802" y="314"/>
                    </a:lnTo>
                    <a:lnTo>
                      <a:pt x="802" y="312"/>
                    </a:lnTo>
                    <a:lnTo>
                      <a:pt x="802" y="312"/>
                    </a:lnTo>
                    <a:lnTo>
                      <a:pt x="800" y="312"/>
                    </a:lnTo>
                    <a:lnTo>
                      <a:pt x="800" y="310"/>
                    </a:lnTo>
                    <a:lnTo>
                      <a:pt x="800" y="310"/>
                    </a:lnTo>
                    <a:lnTo>
                      <a:pt x="800" y="310"/>
                    </a:lnTo>
                    <a:lnTo>
                      <a:pt x="798" y="310"/>
                    </a:lnTo>
                    <a:lnTo>
                      <a:pt x="798" y="310"/>
                    </a:lnTo>
                    <a:lnTo>
                      <a:pt x="798" y="308"/>
                    </a:lnTo>
                    <a:lnTo>
                      <a:pt x="796" y="308"/>
                    </a:lnTo>
                    <a:lnTo>
                      <a:pt x="796" y="308"/>
                    </a:lnTo>
                    <a:lnTo>
                      <a:pt x="796" y="308"/>
                    </a:lnTo>
                    <a:lnTo>
                      <a:pt x="792" y="308"/>
                    </a:lnTo>
                    <a:lnTo>
                      <a:pt x="790" y="306"/>
                    </a:lnTo>
                    <a:lnTo>
                      <a:pt x="784" y="306"/>
                    </a:lnTo>
                    <a:lnTo>
                      <a:pt x="778" y="306"/>
                    </a:lnTo>
                    <a:lnTo>
                      <a:pt x="770" y="308"/>
                    </a:lnTo>
                    <a:lnTo>
                      <a:pt x="764" y="310"/>
                    </a:lnTo>
                    <a:lnTo>
                      <a:pt x="762" y="310"/>
                    </a:lnTo>
                    <a:lnTo>
                      <a:pt x="762" y="310"/>
                    </a:lnTo>
                    <a:lnTo>
                      <a:pt x="762" y="310"/>
                    </a:lnTo>
                    <a:lnTo>
                      <a:pt x="760" y="312"/>
                    </a:lnTo>
                    <a:lnTo>
                      <a:pt x="758" y="312"/>
                    </a:lnTo>
                    <a:lnTo>
                      <a:pt x="758" y="312"/>
                    </a:lnTo>
                    <a:lnTo>
                      <a:pt x="758" y="314"/>
                    </a:lnTo>
                    <a:lnTo>
                      <a:pt x="756" y="314"/>
                    </a:lnTo>
                    <a:lnTo>
                      <a:pt x="756" y="314"/>
                    </a:lnTo>
                    <a:lnTo>
                      <a:pt x="756" y="316"/>
                    </a:lnTo>
                    <a:lnTo>
                      <a:pt x="756" y="318"/>
                    </a:lnTo>
                    <a:lnTo>
                      <a:pt x="756" y="318"/>
                    </a:lnTo>
                    <a:lnTo>
                      <a:pt x="754" y="318"/>
                    </a:lnTo>
                    <a:lnTo>
                      <a:pt x="754" y="320"/>
                    </a:lnTo>
                    <a:lnTo>
                      <a:pt x="754" y="320"/>
                    </a:lnTo>
                    <a:lnTo>
                      <a:pt x="754" y="322"/>
                    </a:lnTo>
                    <a:lnTo>
                      <a:pt x="754" y="322"/>
                    </a:lnTo>
                    <a:lnTo>
                      <a:pt x="754" y="322"/>
                    </a:lnTo>
                    <a:lnTo>
                      <a:pt x="756" y="326"/>
                    </a:lnTo>
                    <a:lnTo>
                      <a:pt x="758" y="330"/>
                    </a:lnTo>
                    <a:lnTo>
                      <a:pt x="760" y="336"/>
                    </a:lnTo>
                    <a:lnTo>
                      <a:pt x="762" y="342"/>
                    </a:lnTo>
                    <a:lnTo>
                      <a:pt x="764" y="348"/>
                    </a:lnTo>
                    <a:lnTo>
                      <a:pt x="766" y="354"/>
                    </a:lnTo>
                    <a:lnTo>
                      <a:pt x="766" y="356"/>
                    </a:lnTo>
                    <a:lnTo>
                      <a:pt x="766" y="358"/>
                    </a:lnTo>
                    <a:lnTo>
                      <a:pt x="766" y="370"/>
                    </a:lnTo>
                    <a:lnTo>
                      <a:pt x="764" y="380"/>
                    </a:lnTo>
                    <a:lnTo>
                      <a:pt x="762" y="392"/>
                    </a:lnTo>
                    <a:lnTo>
                      <a:pt x="760" y="398"/>
                    </a:lnTo>
                    <a:lnTo>
                      <a:pt x="758" y="404"/>
                    </a:lnTo>
                    <a:lnTo>
                      <a:pt x="758" y="408"/>
                    </a:lnTo>
                    <a:lnTo>
                      <a:pt x="756" y="412"/>
                    </a:lnTo>
                    <a:lnTo>
                      <a:pt x="754" y="420"/>
                    </a:lnTo>
                    <a:lnTo>
                      <a:pt x="750" y="430"/>
                    </a:lnTo>
                    <a:lnTo>
                      <a:pt x="746" y="440"/>
                    </a:lnTo>
                    <a:lnTo>
                      <a:pt x="742" y="450"/>
                    </a:lnTo>
                    <a:lnTo>
                      <a:pt x="740" y="454"/>
                    </a:lnTo>
                    <a:lnTo>
                      <a:pt x="740" y="458"/>
                    </a:lnTo>
                    <a:lnTo>
                      <a:pt x="738" y="460"/>
                    </a:lnTo>
                    <a:lnTo>
                      <a:pt x="736" y="462"/>
                    </a:lnTo>
                    <a:lnTo>
                      <a:pt x="736" y="452"/>
                    </a:lnTo>
                    <a:lnTo>
                      <a:pt x="736" y="448"/>
                    </a:lnTo>
                    <a:lnTo>
                      <a:pt x="736" y="446"/>
                    </a:lnTo>
                    <a:lnTo>
                      <a:pt x="736" y="442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4" y="438"/>
                    </a:lnTo>
                    <a:lnTo>
                      <a:pt x="734" y="436"/>
                    </a:lnTo>
                    <a:lnTo>
                      <a:pt x="734" y="436"/>
                    </a:lnTo>
                    <a:lnTo>
                      <a:pt x="732" y="436"/>
                    </a:lnTo>
                    <a:lnTo>
                      <a:pt x="730" y="436"/>
                    </a:lnTo>
                    <a:lnTo>
                      <a:pt x="730" y="436"/>
                    </a:lnTo>
                    <a:lnTo>
                      <a:pt x="730" y="434"/>
                    </a:lnTo>
                    <a:lnTo>
                      <a:pt x="728" y="434"/>
                    </a:lnTo>
                    <a:lnTo>
                      <a:pt x="728" y="434"/>
                    </a:lnTo>
                    <a:lnTo>
                      <a:pt x="726" y="434"/>
                    </a:lnTo>
                    <a:lnTo>
                      <a:pt x="722" y="434"/>
                    </a:lnTo>
                    <a:lnTo>
                      <a:pt x="722" y="434"/>
                    </a:lnTo>
                    <a:lnTo>
                      <a:pt x="722" y="434"/>
                    </a:lnTo>
                    <a:lnTo>
                      <a:pt x="720" y="434"/>
                    </a:lnTo>
                    <a:lnTo>
                      <a:pt x="718" y="434"/>
                    </a:lnTo>
                    <a:lnTo>
                      <a:pt x="716" y="434"/>
                    </a:lnTo>
                    <a:lnTo>
                      <a:pt x="716" y="432"/>
                    </a:lnTo>
                    <a:lnTo>
                      <a:pt x="716" y="432"/>
                    </a:lnTo>
                    <a:lnTo>
                      <a:pt x="716" y="432"/>
                    </a:lnTo>
                    <a:lnTo>
                      <a:pt x="716" y="430"/>
                    </a:lnTo>
                    <a:lnTo>
                      <a:pt x="714" y="428"/>
                    </a:lnTo>
                    <a:lnTo>
                      <a:pt x="710" y="428"/>
                    </a:lnTo>
                    <a:lnTo>
                      <a:pt x="708" y="426"/>
                    </a:lnTo>
                    <a:lnTo>
                      <a:pt x="702" y="424"/>
                    </a:lnTo>
                    <a:lnTo>
                      <a:pt x="698" y="422"/>
                    </a:lnTo>
                    <a:lnTo>
                      <a:pt x="694" y="418"/>
                    </a:lnTo>
                    <a:lnTo>
                      <a:pt x="690" y="412"/>
                    </a:lnTo>
                    <a:lnTo>
                      <a:pt x="684" y="408"/>
                    </a:lnTo>
                    <a:lnTo>
                      <a:pt x="680" y="402"/>
                    </a:lnTo>
                    <a:lnTo>
                      <a:pt x="674" y="398"/>
                    </a:lnTo>
                    <a:lnTo>
                      <a:pt x="674" y="398"/>
                    </a:lnTo>
                    <a:lnTo>
                      <a:pt x="672" y="398"/>
                    </a:lnTo>
                    <a:lnTo>
                      <a:pt x="670" y="398"/>
                    </a:lnTo>
                    <a:lnTo>
                      <a:pt x="666" y="398"/>
                    </a:lnTo>
                    <a:lnTo>
                      <a:pt x="662" y="396"/>
                    </a:lnTo>
                    <a:lnTo>
                      <a:pt x="656" y="392"/>
                    </a:lnTo>
                    <a:lnTo>
                      <a:pt x="654" y="392"/>
                    </a:lnTo>
                    <a:lnTo>
                      <a:pt x="650" y="390"/>
                    </a:lnTo>
                    <a:lnTo>
                      <a:pt x="650" y="390"/>
                    </a:lnTo>
                    <a:lnTo>
                      <a:pt x="650" y="390"/>
                    </a:lnTo>
                    <a:lnTo>
                      <a:pt x="638" y="390"/>
                    </a:lnTo>
                    <a:lnTo>
                      <a:pt x="626" y="388"/>
                    </a:lnTo>
                    <a:lnTo>
                      <a:pt x="622" y="388"/>
                    </a:lnTo>
                    <a:lnTo>
                      <a:pt x="620" y="386"/>
                    </a:lnTo>
                    <a:lnTo>
                      <a:pt x="616" y="384"/>
                    </a:lnTo>
                    <a:lnTo>
                      <a:pt x="614" y="380"/>
                    </a:lnTo>
                    <a:lnTo>
                      <a:pt x="610" y="374"/>
                    </a:lnTo>
                    <a:lnTo>
                      <a:pt x="606" y="372"/>
                    </a:lnTo>
                    <a:lnTo>
                      <a:pt x="606" y="372"/>
                    </a:lnTo>
                    <a:lnTo>
                      <a:pt x="606" y="372"/>
                    </a:lnTo>
                    <a:lnTo>
                      <a:pt x="604" y="368"/>
                    </a:lnTo>
                    <a:lnTo>
                      <a:pt x="602" y="368"/>
                    </a:lnTo>
                    <a:lnTo>
                      <a:pt x="602" y="368"/>
                    </a:lnTo>
                    <a:lnTo>
                      <a:pt x="600" y="368"/>
                    </a:lnTo>
                    <a:lnTo>
                      <a:pt x="600" y="366"/>
                    </a:lnTo>
                    <a:lnTo>
                      <a:pt x="600" y="366"/>
                    </a:lnTo>
                    <a:lnTo>
                      <a:pt x="598" y="366"/>
                    </a:lnTo>
                    <a:lnTo>
                      <a:pt x="596" y="366"/>
                    </a:lnTo>
                    <a:lnTo>
                      <a:pt x="596" y="366"/>
                    </a:lnTo>
                    <a:lnTo>
                      <a:pt x="596" y="366"/>
                    </a:lnTo>
                    <a:lnTo>
                      <a:pt x="594" y="366"/>
                    </a:lnTo>
                    <a:lnTo>
                      <a:pt x="594" y="366"/>
                    </a:lnTo>
                    <a:lnTo>
                      <a:pt x="594" y="368"/>
                    </a:lnTo>
                    <a:lnTo>
                      <a:pt x="592" y="368"/>
                    </a:lnTo>
                    <a:lnTo>
                      <a:pt x="592" y="368"/>
                    </a:lnTo>
                    <a:lnTo>
                      <a:pt x="592" y="368"/>
                    </a:lnTo>
                    <a:lnTo>
                      <a:pt x="592" y="370"/>
                    </a:lnTo>
                    <a:lnTo>
                      <a:pt x="590" y="372"/>
                    </a:lnTo>
                    <a:lnTo>
                      <a:pt x="590" y="372"/>
                    </a:lnTo>
                    <a:lnTo>
                      <a:pt x="590" y="376"/>
                    </a:lnTo>
                    <a:lnTo>
                      <a:pt x="592" y="380"/>
                    </a:lnTo>
                    <a:lnTo>
                      <a:pt x="594" y="382"/>
                    </a:lnTo>
                    <a:lnTo>
                      <a:pt x="594" y="386"/>
                    </a:lnTo>
                    <a:lnTo>
                      <a:pt x="596" y="388"/>
                    </a:lnTo>
                    <a:lnTo>
                      <a:pt x="596" y="388"/>
                    </a:lnTo>
                    <a:lnTo>
                      <a:pt x="598" y="390"/>
                    </a:lnTo>
                    <a:lnTo>
                      <a:pt x="600" y="392"/>
                    </a:lnTo>
                    <a:lnTo>
                      <a:pt x="602" y="396"/>
                    </a:lnTo>
                    <a:lnTo>
                      <a:pt x="606" y="398"/>
                    </a:lnTo>
                    <a:lnTo>
                      <a:pt x="610" y="402"/>
                    </a:lnTo>
                    <a:lnTo>
                      <a:pt x="614" y="406"/>
                    </a:lnTo>
                    <a:lnTo>
                      <a:pt x="616" y="408"/>
                    </a:lnTo>
                    <a:lnTo>
                      <a:pt x="618" y="412"/>
                    </a:lnTo>
                    <a:lnTo>
                      <a:pt x="620" y="414"/>
                    </a:lnTo>
                    <a:lnTo>
                      <a:pt x="620" y="418"/>
                    </a:lnTo>
                    <a:lnTo>
                      <a:pt x="622" y="422"/>
                    </a:lnTo>
                    <a:lnTo>
                      <a:pt x="622" y="422"/>
                    </a:lnTo>
                    <a:lnTo>
                      <a:pt x="622" y="424"/>
                    </a:lnTo>
                    <a:lnTo>
                      <a:pt x="622" y="424"/>
                    </a:lnTo>
                    <a:lnTo>
                      <a:pt x="620" y="424"/>
                    </a:lnTo>
                    <a:lnTo>
                      <a:pt x="618" y="426"/>
                    </a:lnTo>
                    <a:lnTo>
                      <a:pt x="616" y="426"/>
                    </a:lnTo>
                    <a:lnTo>
                      <a:pt x="614" y="426"/>
                    </a:lnTo>
                    <a:lnTo>
                      <a:pt x="610" y="426"/>
                    </a:lnTo>
                    <a:lnTo>
                      <a:pt x="608" y="426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2"/>
                    </a:lnTo>
                    <a:lnTo>
                      <a:pt x="604" y="422"/>
                    </a:lnTo>
                    <a:lnTo>
                      <a:pt x="604" y="422"/>
                    </a:lnTo>
                    <a:lnTo>
                      <a:pt x="604" y="420"/>
                    </a:lnTo>
                    <a:lnTo>
                      <a:pt x="602" y="416"/>
                    </a:lnTo>
                    <a:lnTo>
                      <a:pt x="600" y="414"/>
                    </a:lnTo>
                    <a:lnTo>
                      <a:pt x="598" y="412"/>
                    </a:lnTo>
                    <a:lnTo>
                      <a:pt x="598" y="412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4" y="410"/>
                    </a:lnTo>
                    <a:lnTo>
                      <a:pt x="592" y="410"/>
                    </a:lnTo>
                    <a:lnTo>
                      <a:pt x="592" y="410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4"/>
                    </a:lnTo>
                    <a:lnTo>
                      <a:pt x="590" y="414"/>
                    </a:lnTo>
                    <a:lnTo>
                      <a:pt x="590" y="414"/>
                    </a:lnTo>
                    <a:lnTo>
                      <a:pt x="590" y="416"/>
                    </a:lnTo>
                    <a:lnTo>
                      <a:pt x="588" y="418"/>
                    </a:lnTo>
                    <a:lnTo>
                      <a:pt x="588" y="422"/>
                    </a:lnTo>
                    <a:lnTo>
                      <a:pt x="588" y="426"/>
                    </a:lnTo>
                    <a:lnTo>
                      <a:pt x="588" y="430"/>
                    </a:lnTo>
                    <a:lnTo>
                      <a:pt x="586" y="432"/>
                    </a:lnTo>
                    <a:lnTo>
                      <a:pt x="582" y="434"/>
                    </a:lnTo>
                    <a:lnTo>
                      <a:pt x="576" y="436"/>
                    </a:lnTo>
                    <a:lnTo>
                      <a:pt x="572" y="440"/>
                    </a:lnTo>
                    <a:lnTo>
                      <a:pt x="568" y="440"/>
                    </a:lnTo>
                    <a:lnTo>
                      <a:pt x="562" y="438"/>
                    </a:lnTo>
                    <a:lnTo>
                      <a:pt x="556" y="438"/>
                    </a:lnTo>
                    <a:lnTo>
                      <a:pt x="550" y="438"/>
                    </a:lnTo>
                    <a:lnTo>
                      <a:pt x="544" y="438"/>
                    </a:lnTo>
                    <a:lnTo>
                      <a:pt x="544" y="438"/>
                    </a:lnTo>
                    <a:lnTo>
                      <a:pt x="544" y="438"/>
                    </a:lnTo>
                    <a:lnTo>
                      <a:pt x="540" y="440"/>
                    </a:lnTo>
                    <a:lnTo>
                      <a:pt x="540" y="440"/>
                    </a:lnTo>
                    <a:lnTo>
                      <a:pt x="538" y="440"/>
                    </a:lnTo>
                    <a:lnTo>
                      <a:pt x="534" y="442"/>
                    </a:lnTo>
                    <a:lnTo>
                      <a:pt x="534" y="442"/>
                    </a:lnTo>
                    <a:lnTo>
                      <a:pt x="534" y="444"/>
                    </a:lnTo>
                    <a:lnTo>
                      <a:pt x="532" y="444"/>
                    </a:lnTo>
                    <a:lnTo>
                      <a:pt x="532" y="444"/>
                    </a:lnTo>
                    <a:lnTo>
                      <a:pt x="532" y="446"/>
                    </a:lnTo>
                    <a:lnTo>
                      <a:pt x="530" y="446"/>
                    </a:lnTo>
                    <a:lnTo>
                      <a:pt x="528" y="446"/>
                    </a:lnTo>
                    <a:lnTo>
                      <a:pt x="524" y="448"/>
                    </a:lnTo>
                    <a:lnTo>
                      <a:pt x="522" y="448"/>
                    </a:lnTo>
                    <a:lnTo>
                      <a:pt x="520" y="448"/>
                    </a:lnTo>
                    <a:lnTo>
                      <a:pt x="520" y="448"/>
                    </a:lnTo>
                    <a:lnTo>
                      <a:pt x="520" y="448"/>
                    </a:lnTo>
                    <a:lnTo>
                      <a:pt x="518" y="446"/>
                    </a:lnTo>
                    <a:lnTo>
                      <a:pt x="520" y="442"/>
                    </a:lnTo>
                    <a:lnTo>
                      <a:pt x="520" y="442"/>
                    </a:lnTo>
                    <a:lnTo>
                      <a:pt x="520" y="440"/>
                    </a:lnTo>
                    <a:lnTo>
                      <a:pt x="522" y="438"/>
                    </a:lnTo>
                    <a:lnTo>
                      <a:pt x="524" y="436"/>
                    </a:lnTo>
                    <a:lnTo>
                      <a:pt x="524" y="436"/>
                    </a:lnTo>
                    <a:lnTo>
                      <a:pt x="524" y="434"/>
                    </a:lnTo>
                    <a:lnTo>
                      <a:pt x="524" y="434"/>
                    </a:lnTo>
                    <a:lnTo>
                      <a:pt x="524" y="434"/>
                    </a:lnTo>
                    <a:lnTo>
                      <a:pt x="524" y="432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0" y="430"/>
                    </a:lnTo>
                    <a:lnTo>
                      <a:pt x="520" y="430"/>
                    </a:lnTo>
                    <a:lnTo>
                      <a:pt x="518" y="430"/>
                    </a:lnTo>
                    <a:lnTo>
                      <a:pt x="516" y="430"/>
                    </a:lnTo>
                    <a:lnTo>
                      <a:pt x="514" y="430"/>
                    </a:lnTo>
                    <a:lnTo>
                      <a:pt x="510" y="428"/>
                    </a:lnTo>
                    <a:lnTo>
                      <a:pt x="506" y="428"/>
                    </a:lnTo>
                    <a:lnTo>
                      <a:pt x="506" y="428"/>
                    </a:lnTo>
                    <a:lnTo>
                      <a:pt x="504" y="428"/>
                    </a:lnTo>
                    <a:lnTo>
                      <a:pt x="498" y="434"/>
                    </a:lnTo>
                    <a:lnTo>
                      <a:pt x="494" y="436"/>
                    </a:lnTo>
                    <a:lnTo>
                      <a:pt x="490" y="438"/>
                    </a:lnTo>
                    <a:lnTo>
                      <a:pt x="490" y="438"/>
                    </a:lnTo>
                    <a:lnTo>
                      <a:pt x="486" y="438"/>
                    </a:lnTo>
                    <a:lnTo>
                      <a:pt x="484" y="438"/>
                    </a:lnTo>
                    <a:lnTo>
                      <a:pt x="476" y="440"/>
                    </a:lnTo>
                    <a:lnTo>
                      <a:pt x="474" y="442"/>
                    </a:lnTo>
                    <a:lnTo>
                      <a:pt x="474" y="442"/>
                    </a:lnTo>
                    <a:lnTo>
                      <a:pt x="474" y="442"/>
                    </a:lnTo>
                    <a:lnTo>
                      <a:pt x="472" y="442"/>
                    </a:lnTo>
                    <a:lnTo>
                      <a:pt x="472" y="442"/>
                    </a:lnTo>
                    <a:lnTo>
                      <a:pt x="470" y="444"/>
                    </a:lnTo>
                    <a:lnTo>
                      <a:pt x="468" y="446"/>
                    </a:lnTo>
                    <a:lnTo>
                      <a:pt x="468" y="446"/>
                    </a:lnTo>
                    <a:lnTo>
                      <a:pt x="468" y="446"/>
                    </a:lnTo>
                    <a:lnTo>
                      <a:pt x="466" y="448"/>
                    </a:lnTo>
                    <a:lnTo>
                      <a:pt x="462" y="454"/>
                    </a:lnTo>
                    <a:lnTo>
                      <a:pt x="460" y="460"/>
                    </a:lnTo>
                    <a:lnTo>
                      <a:pt x="458" y="462"/>
                    </a:lnTo>
                    <a:lnTo>
                      <a:pt x="456" y="464"/>
                    </a:lnTo>
                    <a:lnTo>
                      <a:pt x="452" y="464"/>
                    </a:lnTo>
                    <a:lnTo>
                      <a:pt x="452" y="464"/>
                    </a:lnTo>
                    <a:lnTo>
                      <a:pt x="452" y="464"/>
                    </a:lnTo>
                    <a:lnTo>
                      <a:pt x="446" y="466"/>
                    </a:lnTo>
                    <a:lnTo>
                      <a:pt x="446" y="466"/>
                    </a:lnTo>
                    <a:lnTo>
                      <a:pt x="446" y="466"/>
                    </a:lnTo>
                    <a:lnTo>
                      <a:pt x="442" y="470"/>
                    </a:lnTo>
                    <a:lnTo>
                      <a:pt x="438" y="472"/>
                    </a:lnTo>
                    <a:lnTo>
                      <a:pt x="434" y="476"/>
                    </a:lnTo>
                    <a:lnTo>
                      <a:pt x="430" y="480"/>
                    </a:lnTo>
                    <a:lnTo>
                      <a:pt x="424" y="488"/>
                    </a:lnTo>
                    <a:lnTo>
                      <a:pt x="422" y="490"/>
                    </a:lnTo>
                    <a:lnTo>
                      <a:pt x="420" y="492"/>
                    </a:lnTo>
                    <a:lnTo>
                      <a:pt x="420" y="492"/>
                    </a:lnTo>
                    <a:lnTo>
                      <a:pt x="420" y="492"/>
                    </a:lnTo>
                    <a:lnTo>
                      <a:pt x="418" y="494"/>
                    </a:lnTo>
                    <a:lnTo>
                      <a:pt x="418" y="494"/>
                    </a:lnTo>
                    <a:lnTo>
                      <a:pt x="418" y="494"/>
                    </a:lnTo>
                    <a:lnTo>
                      <a:pt x="416" y="496"/>
                    </a:lnTo>
                    <a:lnTo>
                      <a:pt x="416" y="496"/>
                    </a:lnTo>
                    <a:lnTo>
                      <a:pt x="416" y="496"/>
                    </a:lnTo>
                    <a:lnTo>
                      <a:pt x="416" y="498"/>
                    </a:lnTo>
                    <a:lnTo>
                      <a:pt x="416" y="498"/>
                    </a:lnTo>
                    <a:lnTo>
                      <a:pt x="416" y="498"/>
                    </a:lnTo>
                    <a:lnTo>
                      <a:pt x="416" y="500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2" y="504"/>
                    </a:lnTo>
                    <a:lnTo>
                      <a:pt x="408" y="504"/>
                    </a:lnTo>
                    <a:lnTo>
                      <a:pt x="404" y="504"/>
                    </a:lnTo>
                    <a:lnTo>
                      <a:pt x="400" y="506"/>
                    </a:lnTo>
                    <a:lnTo>
                      <a:pt x="398" y="504"/>
                    </a:lnTo>
                    <a:lnTo>
                      <a:pt x="396" y="502"/>
                    </a:lnTo>
                    <a:lnTo>
                      <a:pt x="392" y="502"/>
                    </a:lnTo>
                    <a:lnTo>
                      <a:pt x="390" y="500"/>
                    </a:lnTo>
                    <a:lnTo>
                      <a:pt x="388" y="498"/>
                    </a:lnTo>
                    <a:lnTo>
                      <a:pt x="388" y="496"/>
                    </a:lnTo>
                    <a:lnTo>
                      <a:pt x="388" y="494"/>
                    </a:lnTo>
                    <a:lnTo>
                      <a:pt x="388" y="490"/>
                    </a:lnTo>
                    <a:lnTo>
                      <a:pt x="388" y="488"/>
                    </a:lnTo>
                    <a:lnTo>
                      <a:pt x="388" y="486"/>
                    </a:lnTo>
                    <a:lnTo>
                      <a:pt x="388" y="484"/>
                    </a:lnTo>
                    <a:lnTo>
                      <a:pt x="388" y="482"/>
                    </a:lnTo>
                    <a:lnTo>
                      <a:pt x="390" y="480"/>
                    </a:lnTo>
                    <a:lnTo>
                      <a:pt x="396" y="476"/>
                    </a:lnTo>
                    <a:lnTo>
                      <a:pt x="398" y="474"/>
                    </a:lnTo>
                    <a:lnTo>
                      <a:pt x="400" y="472"/>
                    </a:lnTo>
                    <a:lnTo>
                      <a:pt x="400" y="472"/>
                    </a:lnTo>
                    <a:lnTo>
                      <a:pt x="402" y="472"/>
                    </a:lnTo>
                    <a:lnTo>
                      <a:pt x="404" y="468"/>
                    </a:lnTo>
                    <a:lnTo>
                      <a:pt x="404" y="468"/>
                    </a:lnTo>
                    <a:lnTo>
                      <a:pt x="404" y="468"/>
                    </a:lnTo>
                    <a:lnTo>
                      <a:pt x="406" y="464"/>
                    </a:lnTo>
                    <a:lnTo>
                      <a:pt x="406" y="464"/>
                    </a:lnTo>
                    <a:lnTo>
                      <a:pt x="406" y="462"/>
                    </a:lnTo>
                    <a:lnTo>
                      <a:pt x="404" y="460"/>
                    </a:lnTo>
                    <a:lnTo>
                      <a:pt x="402" y="460"/>
                    </a:lnTo>
                    <a:lnTo>
                      <a:pt x="402" y="460"/>
                    </a:lnTo>
                    <a:lnTo>
                      <a:pt x="400" y="458"/>
                    </a:lnTo>
                    <a:lnTo>
                      <a:pt x="400" y="458"/>
                    </a:lnTo>
                    <a:lnTo>
                      <a:pt x="400" y="454"/>
                    </a:lnTo>
                    <a:lnTo>
                      <a:pt x="400" y="454"/>
                    </a:lnTo>
                    <a:lnTo>
                      <a:pt x="400" y="454"/>
                    </a:lnTo>
                    <a:lnTo>
                      <a:pt x="398" y="452"/>
                    </a:lnTo>
                    <a:lnTo>
                      <a:pt x="396" y="450"/>
                    </a:lnTo>
                    <a:lnTo>
                      <a:pt x="396" y="450"/>
                    </a:lnTo>
                    <a:lnTo>
                      <a:pt x="396" y="448"/>
                    </a:lnTo>
                    <a:lnTo>
                      <a:pt x="394" y="448"/>
                    </a:lnTo>
                    <a:lnTo>
                      <a:pt x="394" y="448"/>
                    </a:lnTo>
                    <a:lnTo>
                      <a:pt x="392" y="448"/>
                    </a:lnTo>
                    <a:lnTo>
                      <a:pt x="390" y="446"/>
                    </a:lnTo>
                    <a:lnTo>
                      <a:pt x="384" y="446"/>
                    </a:lnTo>
                    <a:lnTo>
                      <a:pt x="378" y="444"/>
                    </a:lnTo>
                    <a:lnTo>
                      <a:pt x="376" y="444"/>
                    </a:lnTo>
                    <a:lnTo>
                      <a:pt x="372" y="444"/>
                    </a:lnTo>
                    <a:lnTo>
                      <a:pt x="370" y="442"/>
                    </a:lnTo>
                    <a:lnTo>
                      <a:pt x="368" y="442"/>
                    </a:lnTo>
                    <a:lnTo>
                      <a:pt x="368" y="440"/>
                    </a:lnTo>
                    <a:lnTo>
                      <a:pt x="366" y="438"/>
                    </a:lnTo>
                    <a:lnTo>
                      <a:pt x="364" y="438"/>
                    </a:lnTo>
                    <a:lnTo>
                      <a:pt x="364" y="438"/>
                    </a:lnTo>
                    <a:lnTo>
                      <a:pt x="362" y="438"/>
                    </a:lnTo>
                    <a:lnTo>
                      <a:pt x="362" y="438"/>
                    </a:lnTo>
                    <a:lnTo>
                      <a:pt x="362" y="438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58" y="442"/>
                    </a:lnTo>
                    <a:lnTo>
                      <a:pt x="358" y="442"/>
                    </a:lnTo>
                    <a:lnTo>
                      <a:pt x="358" y="444"/>
                    </a:lnTo>
                    <a:lnTo>
                      <a:pt x="358" y="444"/>
                    </a:lnTo>
                    <a:lnTo>
                      <a:pt x="358" y="446"/>
                    </a:lnTo>
                    <a:lnTo>
                      <a:pt x="358" y="446"/>
                    </a:lnTo>
                    <a:lnTo>
                      <a:pt x="358" y="448"/>
                    </a:lnTo>
                    <a:lnTo>
                      <a:pt x="360" y="448"/>
                    </a:lnTo>
                    <a:lnTo>
                      <a:pt x="360" y="452"/>
                    </a:lnTo>
                    <a:lnTo>
                      <a:pt x="362" y="454"/>
                    </a:lnTo>
                    <a:lnTo>
                      <a:pt x="364" y="458"/>
                    </a:lnTo>
                    <a:lnTo>
                      <a:pt x="366" y="462"/>
                    </a:lnTo>
                    <a:lnTo>
                      <a:pt x="366" y="464"/>
                    </a:lnTo>
                    <a:lnTo>
                      <a:pt x="368" y="466"/>
                    </a:lnTo>
                    <a:lnTo>
                      <a:pt x="368" y="470"/>
                    </a:lnTo>
                    <a:lnTo>
                      <a:pt x="368" y="474"/>
                    </a:lnTo>
                    <a:lnTo>
                      <a:pt x="366" y="476"/>
                    </a:lnTo>
                    <a:lnTo>
                      <a:pt x="366" y="478"/>
                    </a:lnTo>
                    <a:lnTo>
                      <a:pt x="364" y="480"/>
                    </a:lnTo>
                    <a:lnTo>
                      <a:pt x="362" y="482"/>
                    </a:lnTo>
                    <a:lnTo>
                      <a:pt x="362" y="482"/>
                    </a:lnTo>
                    <a:lnTo>
                      <a:pt x="362" y="482"/>
                    </a:lnTo>
                    <a:lnTo>
                      <a:pt x="360" y="486"/>
                    </a:lnTo>
                    <a:lnTo>
                      <a:pt x="360" y="486"/>
                    </a:lnTo>
                    <a:lnTo>
                      <a:pt x="360" y="486"/>
                    </a:lnTo>
                    <a:lnTo>
                      <a:pt x="360" y="490"/>
                    </a:lnTo>
                    <a:lnTo>
                      <a:pt x="360" y="490"/>
                    </a:lnTo>
                    <a:lnTo>
                      <a:pt x="360" y="492"/>
                    </a:lnTo>
                    <a:lnTo>
                      <a:pt x="362" y="496"/>
                    </a:lnTo>
                    <a:lnTo>
                      <a:pt x="364" y="500"/>
                    </a:lnTo>
                    <a:lnTo>
                      <a:pt x="366" y="502"/>
                    </a:lnTo>
                    <a:lnTo>
                      <a:pt x="368" y="504"/>
                    </a:lnTo>
                    <a:lnTo>
                      <a:pt x="368" y="506"/>
                    </a:lnTo>
                    <a:lnTo>
                      <a:pt x="370" y="510"/>
                    </a:lnTo>
                    <a:lnTo>
                      <a:pt x="370" y="514"/>
                    </a:lnTo>
                    <a:lnTo>
                      <a:pt x="370" y="518"/>
                    </a:lnTo>
                    <a:lnTo>
                      <a:pt x="370" y="520"/>
                    </a:lnTo>
                    <a:lnTo>
                      <a:pt x="368" y="524"/>
                    </a:lnTo>
                    <a:lnTo>
                      <a:pt x="368" y="528"/>
                    </a:lnTo>
                    <a:lnTo>
                      <a:pt x="366" y="530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58" y="530"/>
                    </a:lnTo>
                    <a:lnTo>
                      <a:pt x="354" y="530"/>
                    </a:lnTo>
                    <a:lnTo>
                      <a:pt x="352" y="530"/>
                    </a:lnTo>
                    <a:lnTo>
                      <a:pt x="348" y="530"/>
                    </a:lnTo>
                    <a:lnTo>
                      <a:pt x="344" y="530"/>
                    </a:lnTo>
                    <a:lnTo>
                      <a:pt x="338" y="530"/>
                    </a:lnTo>
                    <a:lnTo>
                      <a:pt x="338" y="530"/>
                    </a:lnTo>
                    <a:lnTo>
                      <a:pt x="338" y="530"/>
                    </a:lnTo>
                    <a:lnTo>
                      <a:pt x="334" y="530"/>
                    </a:lnTo>
                    <a:lnTo>
                      <a:pt x="332" y="530"/>
                    </a:lnTo>
                    <a:lnTo>
                      <a:pt x="332" y="530"/>
                    </a:lnTo>
                    <a:lnTo>
                      <a:pt x="332" y="530"/>
                    </a:lnTo>
                    <a:lnTo>
                      <a:pt x="328" y="534"/>
                    </a:lnTo>
                    <a:lnTo>
                      <a:pt x="324" y="536"/>
                    </a:lnTo>
                    <a:lnTo>
                      <a:pt x="320" y="538"/>
                    </a:lnTo>
                    <a:lnTo>
                      <a:pt x="316" y="538"/>
                    </a:lnTo>
                    <a:lnTo>
                      <a:pt x="314" y="540"/>
                    </a:lnTo>
                    <a:lnTo>
                      <a:pt x="314" y="540"/>
                    </a:lnTo>
                    <a:lnTo>
                      <a:pt x="314" y="540"/>
                    </a:lnTo>
                    <a:lnTo>
                      <a:pt x="312" y="542"/>
                    </a:lnTo>
                    <a:lnTo>
                      <a:pt x="312" y="542"/>
                    </a:lnTo>
                    <a:lnTo>
                      <a:pt x="310" y="542"/>
                    </a:lnTo>
                    <a:lnTo>
                      <a:pt x="308" y="544"/>
                    </a:lnTo>
                    <a:lnTo>
                      <a:pt x="306" y="546"/>
                    </a:lnTo>
                    <a:lnTo>
                      <a:pt x="306" y="548"/>
                    </a:lnTo>
                    <a:lnTo>
                      <a:pt x="302" y="548"/>
                    </a:lnTo>
                    <a:lnTo>
                      <a:pt x="302" y="548"/>
                    </a:lnTo>
                    <a:lnTo>
                      <a:pt x="302" y="548"/>
                    </a:ln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50"/>
                    </a:lnTo>
                    <a:lnTo>
                      <a:pt x="298" y="550"/>
                    </a:lnTo>
                    <a:lnTo>
                      <a:pt x="298" y="550"/>
                    </a:lnTo>
                    <a:lnTo>
                      <a:pt x="298" y="550"/>
                    </a:lnTo>
                    <a:lnTo>
                      <a:pt x="296" y="552"/>
                    </a:lnTo>
                    <a:lnTo>
                      <a:pt x="296" y="552"/>
                    </a:lnTo>
                    <a:lnTo>
                      <a:pt x="296" y="554"/>
                    </a:lnTo>
                    <a:lnTo>
                      <a:pt x="296" y="554"/>
                    </a:lnTo>
                    <a:lnTo>
                      <a:pt x="296" y="554"/>
                    </a:lnTo>
                    <a:lnTo>
                      <a:pt x="296" y="556"/>
                    </a:lnTo>
                    <a:lnTo>
                      <a:pt x="296" y="558"/>
                    </a:lnTo>
                    <a:lnTo>
                      <a:pt x="296" y="558"/>
                    </a:lnTo>
                    <a:lnTo>
                      <a:pt x="296" y="558"/>
                    </a:lnTo>
                    <a:lnTo>
                      <a:pt x="298" y="562"/>
                    </a:lnTo>
                    <a:lnTo>
                      <a:pt x="298" y="562"/>
                    </a:lnTo>
                    <a:lnTo>
                      <a:pt x="298" y="562"/>
                    </a:lnTo>
                    <a:lnTo>
                      <a:pt x="302" y="564"/>
                    </a:lnTo>
                    <a:lnTo>
                      <a:pt x="302" y="564"/>
                    </a:lnTo>
                    <a:lnTo>
                      <a:pt x="304" y="566"/>
                    </a:lnTo>
                    <a:lnTo>
                      <a:pt x="306" y="568"/>
                    </a:lnTo>
                    <a:lnTo>
                      <a:pt x="306" y="570"/>
                    </a:lnTo>
                    <a:lnTo>
                      <a:pt x="306" y="572"/>
                    </a:lnTo>
                    <a:lnTo>
                      <a:pt x="308" y="576"/>
                    </a:lnTo>
                    <a:lnTo>
                      <a:pt x="308" y="578"/>
                    </a:lnTo>
                    <a:lnTo>
                      <a:pt x="308" y="580"/>
                    </a:lnTo>
                    <a:lnTo>
                      <a:pt x="304" y="580"/>
                    </a:lnTo>
                    <a:lnTo>
                      <a:pt x="298" y="580"/>
                    </a:lnTo>
                    <a:lnTo>
                      <a:pt x="290" y="580"/>
                    </a:lnTo>
                    <a:lnTo>
                      <a:pt x="288" y="580"/>
                    </a:lnTo>
                    <a:lnTo>
                      <a:pt x="284" y="578"/>
                    </a:lnTo>
                    <a:lnTo>
                      <a:pt x="280" y="576"/>
                    </a:lnTo>
                    <a:lnTo>
                      <a:pt x="276" y="576"/>
                    </a:lnTo>
                    <a:lnTo>
                      <a:pt x="270" y="572"/>
                    </a:lnTo>
                    <a:lnTo>
                      <a:pt x="266" y="570"/>
                    </a:lnTo>
                    <a:lnTo>
                      <a:pt x="266" y="570"/>
                    </a:lnTo>
                    <a:lnTo>
                      <a:pt x="266" y="570"/>
                    </a:lnTo>
                    <a:lnTo>
                      <a:pt x="266" y="568"/>
                    </a:lnTo>
                    <a:lnTo>
                      <a:pt x="264" y="568"/>
                    </a:lnTo>
                    <a:lnTo>
                      <a:pt x="260" y="568"/>
                    </a:lnTo>
                    <a:lnTo>
                      <a:pt x="258" y="568"/>
                    </a:lnTo>
                    <a:lnTo>
                      <a:pt x="254" y="566"/>
                    </a:lnTo>
                    <a:lnTo>
                      <a:pt x="250" y="566"/>
                    </a:lnTo>
                    <a:lnTo>
                      <a:pt x="246" y="568"/>
                    </a:lnTo>
                    <a:lnTo>
                      <a:pt x="246" y="568"/>
                    </a:lnTo>
                    <a:lnTo>
                      <a:pt x="246" y="568"/>
                    </a:lnTo>
                    <a:lnTo>
                      <a:pt x="244" y="568"/>
                    </a:lnTo>
                    <a:lnTo>
                      <a:pt x="242" y="568"/>
                    </a:lnTo>
                    <a:lnTo>
                      <a:pt x="240" y="568"/>
                    </a:lnTo>
                    <a:lnTo>
                      <a:pt x="238" y="570"/>
                    </a:lnTo>
                    <a:lnTo>
                      <a:pt x="238" y="570"/>
                    </a:lnTo>
                    <a:lnTo>
                      <a:pt x="236" y="570"/>
                    </a:lnTo>
                    <a:lnTo>
                      <a:pt x="236" y="570"/>
                    </a:lnTo>
                    <a:lnTo>
                      <a:pt x="236" y="570"/>
                    </a:lnTo>
                    <a:lnTo>
                      <a:pt x="236" y="574"/>
                    </a:lnTo>
                    <a:lnTo>
                      <a:pt x="236" y="574"/>
                    </a:lnTo>
                    <a:lnTo>
                      <a:pt x="236" y="574"/>
                    </a:lnTo>
                    <a:lnTo>
                      <a:pt x="238" y="576"/>
                    </a:lnTo>
                    <a:lnTo>
                      <a:pt x="238" y="576"/>
                    </a:lnTo>
                    <a:lnTo>
                      <a:pt x="240" y="578"/>
                    </a:lnTo>
                    <a:lnTo>
                      <a:pt x="242" y="578"/>
                    </a:lnTo>
                    <a:lnTo>
                      <a:pt x="242" y="578"/>
                    </a:lnTo>
                    <a:lnTo>
                      <a:pt x="242" y="580"/>
                    </a:lnTo>
                    <a:lnTo>
                      <a:pt x="242" y="580"/>
                    </a:lnTo>
                    <a:lnTo>
                      <a:pt x="244" y="580"/>
                    </a:lnTo>
                    <a:lnTo>
                      <a:pt x="246" y="582"/>
                    </a:lnTo>
                    <a:lnTo>
                      <a:pt x="250" y="584"/>
                    </a:lnTo>
                    <a:lnTo>
                      <a:pt x="252" y="586"/>
                    </a:lnTo>
                    <a:lnTo>
                      <a:pt x="254" y="588"/>
                    </a:lnTo>
                    <a:lnTo>
                      <a:pt x="254" y="588"/>
                    </a:lnTo>
                    <a:lnTo>
                      <a:pt x="254" y="588"/>
                    </a:lnTo>
                    <a:lnTo>
                      <a:pt x="256" y="590"/>
                    </a:lnTo>
                    <a:lnTo>
                      <a:pt x="262" y="592"/>
                    </a:lnTo>
                    <a:lnTo>
                      <a:pt x="268" y="596"/>
                    </a:lnTo>
                    <a:lnTo>
                      <a:pt x="272" y="600"/>
                    </a:lnTo>
                    <a:lnTo>
                      <a:pt x="274" y="602"/>
                    </a:lnTo>
                    <a:lnTo>
                      <a:pt x="276" y="606"/>
                    </a:lnTo>
                    <a:lnTo>
                      <a:pt x="276" y="606"/>
                    </a:lnTo>
                    <a:lnTo>
                      <a:pt x="278" y="608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2" y="612"/>
                    </a:lnTo>
                    <a:lnTo>
                      <a:pt x="268" y="612"/>
                    </a:lnTo>
                    <a:lnTo>
                      <a:pt x="262" y="612"/>
                    </a:lnTo>
                    <a:lnTo>
                      <a:pt x="256" y="612"/>
                    </a:lnTo>
                    <a:lnTo>
                      <a:pt x="252" y="610"/>
                    </a:lnTo>
                    <a:lnTo>
                      <a:pt x="250" y="610"/>
                    </a:lnTo>
                    <a:lnTo>
                      <a:pt x="250" y="610"/>
                    </a:lnTo>
                    <a:lnTo>
                      <a:pt x="248" y="610"/>
                    </a:lnTo>
                    <a:lnTo>
                      <a:pt x="248" y="608"/>
                    </a:lnTo>
                    <a:lnTo>
                      <a:pt x="246" y="606"/>
                    </a:lnTo>
                    <a:lnTo>
                      <a:pt x="244" y="602"/>
                    </a:lnTo>
                    <a:lnTo>
                      <a:pt x="244" y="600"/>
                    </a:lnTo>
                    <a:lnTo>
                      <a:pt x="242" y="598"/>
                    </a:lnTo>
                    <a:lnTo>
                      <a:pt x="242" y="594"/>
                    </a:lnTo>
                    <a:lnTo>
                      <a:pt x="240" y="592"/>
                    </a:lnTo>
                    <a:lnTo>
                      <a:pt x="238" y="584"/>
                    </a:lnTo>
                    <a:lnTo>
                      <a:pt x="236" y="576"/>
                    </a:lnTo>
                    <a:lnTo>
                      <a:pt x="232" y="566"/>
                    </a:lnTo>
                    <a:lnTo>
                      <a:pt x="230" y="558"/>
                    </a:lnTo>
                    <a:lnTo>
                      <a:pt x="228" y="552"/>
                    </a:lnTo>
                    <a:lnTo>
                      <a:pt x="228" y="548"/>
                    </a:lnTo>
                    <a:lnTo>
                      <a:pt x="226" y="546"/>
                    </a:lnTo>
                    <a:lnTo>
                      <a:pt x="226" y="546"/>
                    </a:lnTo>
                    <a:lnTo>
                      <a:pt x="226" y="544"/>
                    </a:lnTo>
                    <a:lnTo>
                      <a:pt x="222" y="542"/>
                    </a:lnTo>
                    <a:lnTo>
                      <a:pt x="220" y="540"/>
                    </a:lnTo>
                    <a:lnTo>
                      <a:pt x="220" y="538"/>
                    </a:lnTo>
                    <a:lnTo>
                      <a:pt x="218" y="536"/>
                    </a:lnTo>
                    <a:lnTo>
                      <a:pt x="218" y="530"/>
                    </a:lnTo>
                    <a:lnTo>
                      <a:pt x="216" y="524"/>
                    </a:lnTo>
                    <a:lnTo>
                      <a:pt x="216" y="524"/>
                    </a:lnTo>
                    <a:lnTo>
                      <a:pt x="214" y="522"/>
                    </a:lnTo>
                    <a:lnTo>
                      <a:pt x="210" y="520"/>
                    </a:lnTo>
                    <a:lnTo>
                      <a:pt x="206" y="518"/>
                    </a:lnTo>
                    <a:lnTo>
                      <a:pt x="200" y="516"/>
                    </a:lnTo>
                    <a:lnTo>
                      <a:pt x="196" y="512"/>
                    </a:lnTo>
                    <a:lnTo>
                      <a:pt x="196" y="512"/>
                    </a:lnTo>
                    <a:lnTo>
                      <a:pt x="192" y="508"/>
                    </a:lnTo>
                    <a:lnTo>
                      <a:pt x="190" y="506"/>
                    </a:lnTo>
                    <a:lnTo>
                      <a:pt x="188" y="504"/>
                    </a:lnTo>
                    <a:lnTo>
                      <a:pt x="188" y="504"/>
                    </a:lnTo>
                    <a:lnTo>
                      <a:pt x="188" y="500"/>
                    </a:lnTo>
                    <a:lnTo>
                      <a:pt x="188" y="500"/>
                    </a:lnTo>
                    <a:lnTo>
                      <a:pt x="188" y="498"/>
                    </a:lnTo>
                    <a:lnTo>
                      <a:pt x="188" y="498"/>
                    </a:lnTo>
                    <a:lnTo>
                      <a:pt x="190" y="498"/>
                    </a:lnTo>
                    <a:lnTo>
                      <a:pt x="192" y="498"/>
                    </a:lnTo>
                    <a:lnTo>
                      <a:pt x="192" y="498"/>
                    </a:lnTo>
                    <a:lnTo>
                      <a:pt x="192" y="498"/>
                    </a:lnTo>
                    <a:lnTo>
                      <a:pt x="192" y="500"/>
                    </a:lnTo>
                    <a:lnTo>
                      <a:pt x="196" y="502"/>
                    </a:lnTo>
                    <a:lnTo>
                      <a:pt x="198" y="506"/>
                    </a:lnTo>
                    <a:lnTo>
                      <a:pt x="200" y="510"/>
                    </a:lnTo>
                    <a:lnTo>
                      <a:pt x="200" y="510"/>
                    </a:lnTo>
                    <a:lnTo>
                      <a:pt x="202" y="510"/>
                    </a:lnTo>
                    <a:lnTo>
                      <a:pt x="206" y="512"/>
                    </a:lnTo>
                    <a:lnTo>
                      <a:pt x="212" y="512"/>
                    </a:lnTo>
                    <a:lnTo>
                      <a:pt x="218" y="514"/>
                    </a:lnTo>
                    <a:lnTo>
                      <a:pt x="222" y="516"/>
                    </a:lnTo>
                    <a:lnTo>
                      <a:pt x="222" y="516"/>
                    </a:lnTo>
                    <a:lnTo>
                      <a:pt x="222" y="516"/>
                    </a:lnTo>
                    <a:lnTo>
                      <a:pt x="224" y="518"/>
                    </a:lnTo>
                    <a:lnTo>
                      <a:pt x="226" y="518"/>
                    </a:lnTo>
                    <a:lnTo>
                      <a:pt x="228" y="518"/>
                    </a:lnTo>
                    <a:lnTo>
                      <a:pt x="228" y="520"/>
                    </a:lnTo>
                    <a:lnTo>
                      <a:pt x="230" y="522"/>
                    </a:lnTo>
                    <a:lnTo>
                      <a:pt x="232" y="524"/>
                    </a:lnTo>
                    <a:lnTo>
                      <a:pt x="234" y="526"/>
                    </a:lnTo>
                    <a:lnTo>
                      <a:pt x="234" y="526"/>
                    </a:lnTo>
                    <a:lnTo>
                      <a:pt x="236" y="526"/>
                    </a:lnTo>
                    <a:lnTo>
                      <a:pt x="240" y="526"/>
                    </a:lnTo>
                    <a:lnTo>
                      <a:pt x="244" y="528"/>
                    </a:lnTo>
                    <a:lnTo>
                      <a:pt x="248" y="530"/>
                    </a:lnTo>
                    <a:lnTo>
                      <a:pt x="252" y="532"/>
                    </a:lnTo>
                    <a:lnTo>
                      <a:pt x="252" y="532"/>
                    </a:lnTo>
                    <a:lnTo>
                      <a:pt x="254" y="532"/>
                    </a:lnTo>
                    <a:lnTo>
                      <a:pt x="258" y="532"/>
                    </a:lnTo>
                    <a:lnTo>
                      <a:pt x="264" y="534"/>
                    </a:lnTo>
                    <a:lnTo>
                      <a:pt x="272" y="536"/>
                    </a:lnTo>
                    <a:lnTo>
                      <a:pt x="276" y="536"/>
                    </a:lnTo>
                    <a:lnTo>
                      <a:pt x="282" y="536"/>
                    </a:lnTo>
                    <a:lnTo>
                      <a:pt x="286" y="538"/>
                    </a:lnTo>
                    <a:lnTo>
                      <a:pt x="292" y="538"/>
                    </a:lnTo>
                    <a:lnTo>
                      <a:pt x="292" y="538"/>
                    </a:lnTo>
                    <a:lnTo>
                      <a:pt x="294" y="538"/>
                    </a:lnTo>
                    <a:lnTo>
                      <a:pt x="298" y="534"/>
                    </a:lnTo>
                    <a:lnTo>
                      <a:pt x="302" y="532"/>
                    </a:lnTo>
                    <a:lnTo>
                      <a:pt x="306" y="530"/>
                    </a:lnTo>
                    <a:lnTo>
                      <a:pt x="312" y="526"/>
                    </a:lnTo>
                    <a:lnTo>
                      <a:pt x="316" y="522"/>
                    </a:lnTo>
                    <a:lnTo>
                      <a:pt x="316" y="522"/>
                    </a:lnTo>
                    <a:lnTo>
                      <a:pt x="316" y="522"/>
                    </a:lnTo>
                    <a:lnTo>
                      <a:pt x="318" y="518"/>
                    </a:lnTo>
                    <a:lnTo>
                      <a:pt x="318" y="518"/>
                    </a:lnTo>
                    <a:lnTo>
                      <a:pt x="320" y="518"/>
                    </a:lnTo>
                    <a:lnTo>
                      <a:pt x="320" y="516"/>
                    </a:lnTo>
                    <a:lnTo>
                      <a:pt x="322" y="512"/>
                    </a:lnTo>
                    <a:lnTo>
                      <a:pt x="322" y="510"/>
                    </a:lnTo>
                    <a:lnTo>
                      <a:pt x="324" y="506"/>
                    </a:lnTo>
                    <a:lnTo>
                      <a:pt x="324" y="502"/>
                    </a:lnTo>
                    <a:lnTo>
                      <a:pt x="324" y="496"/>
                    </a:lnTo>
                    <a:lnTo>
                      <a:pt x="324" y="496"/>
                    </a:lnTo>
                    <a:lnTo>
                      <a:pt x="324" y="496"/>
                    </a:lnTo>
                    <a:lnTo>
                      <a:pt x="324" y="492"/>
                    </a:lnTo>
                    <a:lnTo>
                      <a:pt x="322" y="490"/>
                    </a:lnTo>
                    <a:lnTo>
                      <a:pt x="322" y="486"/>
                    </a:lnTo>
                    <a:lnTo>
                      <a:pt x="322" y="486"/>
                    </a:lnTo>
                    <a:lnTo>
                      <a:pt x="322" y="486"/>
                    </a:lnTo>
                    <a:lnTo>
                      <a:pt x="318" y="482"/>
                    </a:lnTo>
                    <a:lnTo>
                      <a:pt x="316" y="480"/>
                    </a:lnTo>
                    <a:lnTo>
                      <a:pt x="316" y="480"/>
                    </a:lnTo>
                    <a:lnTo>
                      <a:pt x="316" y="478"/>
                    </a:lnTo>
                    <a:lnTo>
                      <a:pt x="312" y="476"/>
                    </a:lnTo>
                    <a:lnTo>
                      <a:pt x="308" y="474"/>
                    </a:lnTo>
                    <a:lnTo>
                      <a:pt x="306" y="472"/>
                    </a:lnTo>
                    <a:lnTo>
                      <a:pt x="304" y="468"/>
                    </a:lnTo>
                    <a:lnTo>
                      <a:pt x="300" y="462"/>
                    </a:lnTo>
                    <a:lnTo>
                      <a:pt x="298" y="458"/>
                    </a:lnTo>
                    <a:lnTo>
                      <a:pt x="296" y="454"/>
                    </a:lnTo>
                    <a:lnTo>
                      <a:pt x="292" y="448"/>
                    </a:lnTo>
                    <a:lnTo>
                      <a:pt x="292" y="448"/>
                    </a:lnTo>
                    <a:lnTo>
                      <a:pt x="286" y="442"/>
                    </a:lnTo>
                    <a:lnTo>
                      <a:pt x="282" y="438"/>
                    </a:lnTo>
                    <a:lnTo>
                      <a:pt x="276" y="434"/>
                    </a:lnTo>
                    <a:lnTo>
                      <a:pt x="276" y="434"/>
                    </a:lnTo>
                    <a:lnTo>
                      <a:pt x="274" y="434"/>
                    </a:lnTo>
                    <a:lnTo>
                      <a:pt x="270" y="434"/>
                    </a:lnTo>
                    <a:lnTo>
                      <a:pt x="266" y="432"/>
                    </a:lnTo>
                    <a:lnTo>
                      <a:pt x="262" y="430"/>
                    </a:lnTo>
                    <a:lnTo>
                      <a:pt x="258" y="428"/>
                    </a:lnTo>
                    <a:lnTo>
                      <a:pt x="248" y="424"/>
                    </a:lnTo>
                    <a:lnTo>
                      <a:pt x="244" y="422"/>
                    </a:lnTo>
                    <a:lnTo>
                      <a:pt x="240" y="418"/>
                    </a:lnTo>
                    <a:lnTo>
                      <a:pt x="240" y="418"/>
                    </a:lnTo>
                    <a:lnTo>
                      <a:pt x="238" y="418"/>
                    </a:lnTo>
                    <a:lnTo>
                      <a:pt x="234" y="418"/>
                    </a:lnTo>
                    <a:lnTo>
                      <a:pt x="230" y="418"/>
                    </a:lnTo>
                    <a:lnTo>
                      <a:pt x="224" y="418"/>
                    </a:lnTo>
                    <a:lnTo>
                      <a:pt x="218" y="418"/>
                    </a:lnTo>
                    <a:lnTo>
                      <a:pt x="214" y="418"/>
                    </a:lnTo>
                    <a:lnTo>
                      <a:pt x="210" y="418"/>
                    </a:lnTo>
                    <a:lnTo>
                      <a:pt x="206" y="418"/>
                    </a:lnTo>
                    <a:lnTo>
                      <a:pt x="206" y="418"/>
                    </a:lnTo>
                    <a:lnTo>
                      <a:pt x="206" y="418"/>
                    </a:lnTo>
                    <a:lnTo>
                      <a:pt x="204" y="418"/>
                    </a:lnTo>
                    <a:lnTo>
                      <a:pt x="204" y="416"/>
                    </a:lnTo>
                    <a:lnTo>
                      <a:pt x="204" y="414"/>
                    </a:lnTo>
                    <a:lnTo>
                      <a:pt x="204" y="410"/>
                    </a:lnTo>
                    <a:lnTo>
                      <a:pt x="204" y="406"/>
                    </a:lnTo>
                    <a:lnTo>
                      <a:pt x="202" y="402"/>
                    </a:lnTo>
                    <a:lnTo>
                      <a:pt x="202" y="402"/>
                    </a:lnTo>
                    <a:lnTo>
                      <a:pt x="200" y="400"/>
                    </a:lnTo>
                    <a:lnTo>
                      <a:pt x="196" y="400"/>
                    </a:lnTo>
                    <a:lnTo>
                      <a:pt x="194" y="398"/>
                    </a:lnTo>
                    <a:lnTo>
                      <a:pt x="186" y="396"/>
                    </a:lnTo>
                    <a:lnTo>
                      <a:pt x="180" y="396"/>
                    </a:lnTo>
                    <a:lnTo>
                      <a:pt x="174" y="396"/>
                    </a:lnTo>
                    <a:lnTo>
                      <a:pt x="174" y="396"/>
                    </a:lnTo>
                    <a:lnTo>
                      <a:pt x="172" y="396"/>
                    </a:lnTo>
                    <a:lnTo>
                      <a:pt x="164" y="400"/>
                    </a:lnTo>
                    <a:lnTo>
                      <a:pt x="156" y="406"/>
                    </a:lnTo>
                    <a:lnTo>
                      <a:pt x="152" y="410"/>
                    </a:lnTo>
                    <a:lnTo>
                      <a:pt x="148" y="412"/>
                    </a:lnTo>
                    <a:lnTo>
                      <a:pt x="144" y="416"/>
                    </a:lnTo>
                    <a:lnTo>
                      <a:pt x="142" y="420"/>
                    </a:lnTo>
                    <a:lnTo>
                      <a:pt x="140" y="422"/>
                    </a:lnTo>
                    <a:lnTo>
                      <a:pt x="138" y="424"/>
                    </a:lnTo>
                    <a:lnTo>
                      <a:pt x="134" y="426"/>
                    </a:lnTo>
                    <a:lnTo>
                      <a:pt x="132" y="428"/>
                    </a:lnTo>
                    <a:lnTo>
                      <a:pt x="132" y="428"/>
                    </a:lnTo>
                    <a:lnTo>
                      <a:pt x="132" y="428"/>
                    </a:lnTo>
                    <a:lnTo>
                      <a:pt x="130" y="428"/>
                    </a:lnTo>
                    <a:lnTo>
                      <a:pt x="130" y="428"/>
                    </a:lnTo>
                    <a:lnTo>
                      <a:pt x="130" y="430"/>
                    </a:lnTo>
                    <a:lnTo>
                      <a:pt x="128" y="432"/>
                    </a:lnTo>
                    <a:lnTo>
                      <a:pt x="128" y="432"/>
                    </a:lnTo>
                    <a:lnTo>
                      <a:pt x="128" y="432"/>
                    </a:lnTo>
                    <a:lnTo>
                      <a:pt x="128" y="434"/>
                    </a:lnTo>
                    <a:lnTo>
                      <a:pt x="128" y="434"/>
                    </a:lnTo>
                    <a:lnTo>
                      <a:pt x="128" y="434"/>
                    </a:lnTo>
                    <a:lnTo>
                      <a:pt x="128" y="436"/>
                    </a:lnTo>
                    <a:lnTo>
                      <a:pt x="128" y="436"/>
                    </a:lnTo>
                    <a:lnTo>
                      <a:pt x="130" y="438"/>
                    </a:lnTo>
                    <a:lnTo>
                      <a:pt x="130" y="440"/>
                    </a:lnTo>
                    <a:lnTo>
                      <a:pt x="132" y="442"/>
                    </a:lnTo>
                    <a:lnTo>
                      <a:pt x="134" y="446"/>
                    </a:lnTo>
                    <a:lnTo>
                      <a:pt x="138" y="448"/>
                    </a:lnTo>
                    <a:lnTo>
                      <a:pt x="138" y="450"/>
                    </a:lnTo>
                    <a:lnTo>
                      <a:pt x="140" y="452"/>
                    </a:lnTo>
                    <a:lnTo>
                      <a:pt x="140" y="452"/>
                    </a:lnTo>
                    <a:lnTo>
                      <a:pt x="140" y="452"/>
                    </a:lnTo>
                    <a:lnTo>
                      <a:pt x="140" y="454"/>
                    </a:lnTo>
                    <a:lnTo>
                      <a:pt x="142" y="454"/>
                    </a:lnTo>
                    <a:lnTo>
                      <a:pt x="142" y="454"/>
                    </a:lnTo>
                    <a:lnTo>
                      <a:pt x="142" y="456"/>
                    </a:lnTo>
                    <a:lnTo>
                      <a:pt x="142" y="456"/>
                    </a:lnTo>
                    <a:lnTo>
                      <a:pt x="142" y="456"/>
                    </a:lnTo>
                    <a:lnTo>
                      <a:pt x="142" y="458"/>
                    </a:lnTo>
                    <a:lnTo>
                      <a:pt x="142" y="458"/>
                    </a:lnTo>
                    <a:lnTo>
                      <a:pt x="142" y="460"/>
                    </a:lnTo>
                    <a:lnTo>
                      <a:pt x="142" y="460"/>
                    </a:lnTo>
                    <a:lnTo>
                      <a:pt x="142" y="460"/>
                    </a:lnTo>
                    <a:lnTo>
                      <a:pt x="142" y="464"/>
                    </a:lnTo>
                    <a:lnTo>
                      <a:pt x="144" y="466"/>
                    </a:lnTo>
                    <a:lnTo>
                      <a:pt x="146" y="472"/>
                    </a:lnTo>
                    <a:lnTo>
                      <a:pt x="148" y="476"/>
                    </a:lnTo>
                    <a:lnTo>
                      <a:pt x="148" y="478"/>
                    </a:lnTo>
                    <a:lnTo>
                      <a:pt x="150" y="482"/>
                    </a:lnTo>
                    <a:lnTo>
                      <a:pt x="150" y="484"/>
                    </a:lnTo>
                    <a:lnTo>
                      <a:pt x="148" y="486"/>
                    </a:lnTo>
                    <a:lnTo>
                      <a:pt x="146" y="490"/>
                    </a:lnTo>
                    <a:lnTo>
                      <a:pt x="144" y="492"/>
                    </a:lnTo>
                    <a:lnTo>
                      <a:pt x="144" y="492"/>
                    </a:lnTo>
                    <a:lnTo>
                      <a:pt x="144" y="492"/>
                    </a:lnTo>
                    <a:lnTo>
                      <a:pt x="144" y="494"/>
                    </a:lnTo>
                    <a:lnTo>
                      <a:pt x="144" y="494"/>
                    </a:lnTo>
                    <a:lnTo>
                      <a:pt x="144" y="496"/>
                    </a:lnTo>
                    <a:lnTo>
                      <a:pt x="144" y="498"/>
                    </a:lnTo>
                    <a:lnTo>
                      <a:pt x="144" y="502"/>
                    </a:lnTo>
                    <a:lnTo>
                      <a:pt x="144" y="504"/>
                    </a:lnTo>
                    <a:lnTo>
                      <a:pt x="144" y="508"/>
                    </a:lnTo>
                    <a:lnTo>
                      <a:pt x="144" y="508"/>
                    </a:lnTo>
                    <a:lnTo>
                      <a:pt x="144" y="510"/>
                    </a:lnTo>
                    <a:lnTo>
                      <a:pt x="148" y="514"/>
                    </a:lnTo>
                    <a:lnTo>
                      <a:pt x="148" y="516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52" y="532"/>
                    </a:lnTo>
                    <a:lnTo>
                      <a:pt x="154" y="542"/>
                    </a:lnTo>
                    <a:lnTo>
                      <a:pt x="154" y="544"/>
                    </a:lnTo>
                    <a:lnTo>
                      <a:pt x="154" y="544"/>
                    </a:lnTo>
                    <a:lnTo>
                      <a:pt x="154" y="546"/>
                    </a:lnTo>
                    <a:lnTo>
                      <a:pt x="156" y="546"/>
                    </a:lnTo>
                    <a:lnTo>
                      <a:pt x="156" y="550"/>
                    </a:lnTo>
                    <a:lnTo>
                      <a:pt x="158" y="552"/>
                    </a:lnTo>
                    <a:lnTo>
                      <a:pt x="158" y="554"/>
                    </a:lnTo>
                    <a:lnTo>
                      <a:pt x="158" y="556"/>
                    </a:lnTo>
                    <a:lnTo>
                      <a:pt x="158" y="560"/>
                    </a:lnTo>
                    <a:lnTo>
                      <a:pt x="158" y="564"/>
                    </a:lnTo>
                    <a:lnTo>
                      <a:pt x="158" y="570"/>
                    </a:lnTo>
                    <a:lnTo>
                      <a:pt x="156" y="576"/>
                    </a:lnTo>
                    <a:lnTo>
                      <a:pt x="156" y="584"/>
                    </a:lnTo>
                    <a:lnTo>
                      <a:pt x="154" y="592"/>
                    </a:lnTo>
                    <a:lnTo>
                      <a:pt x="154" y="598"/>
                    </a:lnTo>
                    <a:lnTo>
                      <a:pt x="154" y="606"/>
                    </a:lnTo>
                    <a:lnTo>
                      <a:pt x="154" y="612"/>
                    </a:lnTo>
                    <a:lnTo>
                      <a:pt x="154" y="612"/>
                    </a:lnTo>
                    <a:lnTo>
                      <a:pt x="154" y="612"/>
                    </a:lnTo>
                    <a:lnTo>
                      <a:pt x="156" y="616"/>
                    </a:lnTo>
                    <a:lnTo>
                      <a:pt x="158" y="622"/>
                    </a:lnTo>
                    <a:lnTo>
                      <a:pt x="164" y="628"/>
                    </a:lnTo>
                    <a:lnTo>
                      <a:pt x="166" y="632"/>
                    </a:lnTo>
                    <a:lnTo>
                      <a:pt x="168" y="636"/>
                    </a:lnTo>
                    <a:lnTo>
                      <a:pt x="170" y="640"/>
                    </a:lnTo>
                    <a:lnTo>
                      <a:pt x="172" y="644"/>
                    </a:lnTo>
                    <a:lnTo>
                      <a:pt x="170" y="648"/>
                    </a:lnTo>
                    <a:lnTo>
                      <a:pt x="170" y="648"/>
                    </a:lnTo>
                    <a:lnTo>
                      <a:pt x="170" y="650"/>
                    </a:lnTo>
                    <a:lnTo>
                      <a:pt x="170" y="656"/>
                    </a:lnTo>
                    <a:lnTo>
                      <a:pt x="168" y="662"/>
                    </a:lnTo>
                    <a:lnTo>
                      <a:pt x="168" y="666"/>
                    </a:lnTo>
                    <a:lnTo>
                      <a:pt x="168" y="668"/>
                    </a:lnTo>
                    <a:lnTo>
                      <a:pt x="166" y="668"/>
                    </a:lnTo>
                    <a:lnTo>
                      <a:pt x="166" y="668"/>
                    </a:lnTo>
                    <a:lnTo>
                      <a:pt x="164" y="668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58" y="670"/>
                    </a:lnTo>
                    <a:lnTo>
                      <a:pt x="158" y="672"/>
                    </a:lnTo>
                    <a:lnTo>
                      <a:pt x="158" y="672"/>
                    </a:lnTo>
                    <a:lnTo>
                      <a:pt x="156" y="672"/>
                    </a:lnTo>
                    <a:lnTo>
                      <a:pt x="156" y="674"/>
                    </a:lnTo>
                    <a:lnTo>
                      <a:pt x="156" y="674"/>
                    </a:lnTo>
                    <a:lnTo>
                      <a:pt x="156" y="674"/>
                    </a:lnTo>
                    <a:lnTo>
                      <a:pt x="156" y="676"/>
                    </a:lnTo>
                    <a:lnTo>
                      <a:pt x="156" y="680"/>
                    </a:lnTo>
                    <a:lnTo>
                      <a:pt x="156" y="684"/>
                    </a:lnTo>
                    <a:lnTo>
                      <a:pt x="154" y="686"/>
                    </a:lnTo>
                    <a:lnTo>
                      <a:pt x="154" y="686"/>
                    </a:lnTo>
                    <a:lnTo>
                      <a:pt x="150" y="688"/>
                    </a:lnTo>
                    <a:lnTo>
                      <a:pt x="146" y="692"/>
                    </a:lnTo>
                    <a:lnTo>
                      <a:pt x="144" y="696"/>
                    </a:lnTo>
                    <a:lnTo>
                      <a:pt x="144" y="696"/>
                    </a:lnTo>
                    <a:lnTo>
                      <a:pt x="144" y="698"/>
                    </a:lnTo>
                    <a:lnTo>
                      <a:pt x="142" y="700"/>
                    </a:lnTo>
                    <a:lnTo>
                      <a:pt x="140" y="702"/>
                    </a:lnTo>
                    <a:lnTo>
                      <a:pt x="138" y="704"/>
                    </a:lnTo>
                    <a:lnTo>
                      <a:pt x="136" y="706"/>
                    </a:lnTo>
                    <a:lnTo>
                      <a:pt x="134" y="708"/>
                    </a:lnTo>
                    <a:lnTo>
                      <a:pt x="134" y="710"/>
                    </a:lnTo>
                    <a:lnTo>
                      <a:pt x="134" y="710"/>
                    </a:lnTo>
                    <a:lnTo>
                      <a:pt x="134" y="710"/>
                    </a:lnTo>
                    <a:lnTo>
                      <a:pt x="132" y="712"/>
                    </a:lnTo>
                    <a:lnTo>
                      <a:pt x="132" y="712"/>
                    </a:lnTo>
                    <a:lnTo>
                      <a:pt x="132" y="712"/>
                    </a:lnTo>
                    <a:lnTo>
                      <a:pt x="132" y="714"/>
                    </a:lnTo>
                    <a:lnTo>
                      <a:pt x="132" y="714"/>
                    </a:lnTo>
                    <a:lnTo>
                      <a:pt x="132" y="716"/>
                    </a:lnTo>
                    <a:lnTo>
                      <a:pt x="134" y="718"/>
                    </a:lnTo>
                    <a:lnTo>
                      <a:pt x="134" y="718"/>
                    </a:lnTo>
                    <a:lnTo>
                      <a:pt x="134" y="718"/>
                    </a:lnTo>
                    <a:lnTo>
                      <a:pt x="136" y="722"/>
                    </a:lnTo>
                    <a:lnTo>
                      <a:pt x="138" y="724"/>
                    </a:lnTo>
                    <a:lnTo>
                      <a:pt x="140" y="728"/>
                    </a:lnTo>
                    <a:lnTo>
                      <a:pt x="140" y="728"/>
                    </a:lnTo>
                    <a:lnTo>
                      <a:pt x="142" y="728"/>
                    </a:lnTo>
                    <a:lnTo>
                      <a:pt x="144" y="732"/>
                    </a:lnTo>
                    <a:lnTo>
                      <a:pt x="146" y="734"/>
                    </a:lnTo>
                    <a:lnTo>
                      <a:pt x="148" y="736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2" y="738"/>
                    </a:lnTo>
                    <a:lnTo>
                      <a:pt x="140" y="740"/>
                    </a:lnTo>
                    <a:lnTo>
                      <a:pt x="140" y="740"/>
                    </a:lnTo>
                    <a:lnTo>
                      <a:pt x="140" y="740"/>
                    </a:lnTo>
                    <a:lnTo>
                      <a:pt x="138" y="740"/>
                    </a:lnTo>
                    <a:lnTo>
                      <a:pt x="138" y="740"/>
                    </a:lnTo>
                    <a:lnTo>
                      <a:pt x="136" y="740"/>
                    </a:lnTo>
                    <a:lnTo>
                      <a:pt x="134" y="742"/>
                    </a:lnTo>
                    <a:lnTo>
                      <a:pt x="134" y="742"/>
                    </a:lnTo>
                    <a:lnTo>
                      <a:pt x="134" y="742"/>
                    </a:lnTo>
                    <a:lnTo>
                      <a:pt x="132" y="744"/>
                    </a:lnTo>
                    <a:lnTo>
                      <a:pt x="132" y="744"/>
                    </a:lnTo>
                    <a:lnTo>
                      <a:pt x="132" y="746"/>
                    </a:lnTo>
                    <a:lnTo>
                      <a:pt x="132" y="748"/>
                    </a:lnTo>
                    <a:lnTo>
                      <a:pt x="130" y="748"/>
                    </a:lnTo>
                    <a:lnTo>
                      <a:pt x="130" y="748"/>
                    </a:lnTo>
                    <a:lnTo>
                      <a:pt x="130" y="750"/>
                    </a:lnTo>
                    <a:lnTo>
                      <a:pt x="130" y="750"/>
                    </a:lnTo>
                    <a:lnTo>
                      <a:pt x="130" y="750"/>
                    </a:lnTo>
                    <a:lnTo>
                      <a:pt x="130" y="752"/>
                    </a:lnTo>
                    <a:lnTo>
                      <a:pt x="128" y="756"/>
                    </a:lnTo>
                    <a:lnTo>
                      <a:pt x="128" y="756"/>
                    </a:lnTo>
                    <a:lnTo>
                      <a:pt x="128" y="756"/>
                    </a:lnTo>
                    <a:lnTo>
                      <a:pt x="128" y="760"/>
                    </a:lnTo>
                    <a:lnTo>
                      <a:pt x="128" y="762"/>
                    </a:lnTo>
                    <a:lnTo>
                      <a:pt x="128" y="766"/>
                    </a:lnTo>
                    <a:lnTo>
                      <a:pt x="126" y="768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124" y="774"/>
                    </a:lnTo>
                    <a:lnTo>
                      <a:pt x="124" y="774"/>
                    </a:lnTo>
                    <a:lnTo>
                      <a:pt x="124" y="776"/>
                    </a:lnTo>
                    <a:lnTo>
                      <a:pt x="124" y="778"/>
                    </a:lnTo>
                    <a:lnTo>
                      <a:pt x="124" y="778"/>
                    </a:lnTo>
                    <a:lnTo>
                      <a:pt x="124" y="778"/>
                    </a:lnTo>
                    <a:lnTo>
                      <a:pt x="124" y="780"/>
                    </a:lnTo>
                    <a:lnTo>
                      <a:pt x="124" y="782"/>
                    </a:lnTo>
                    <a:lnTo>
                      <a:pt x="122" y="784"/>
                    </a:lnTo>
                    <a:lnTo>
                      <a:pt x="122" y="788"/>
                    </a:lnTo>
                    <a:lnTo>
                      <a:pt x="122" y="790"/>
                    </a:lnTo>
                    <a:lnTo>
                      <a:pt x="122" y="792"/>
                    </a:lnTo>
                    <a:lnTo>
                      <a:pt x="122" y="792"/>
                    </a:lnTo>
                    <a:lnTo>
                      <a:pt x="122" y="792"/>
                    </a:lnTo>
                    <a:lnTo>
                      <a:pt x="124" y="794"/>
                    </a:lnTo>
                    <a:lnTo>
                      <a:pt x="124" y="794"/>
                    </a:lnTo>
                    <a:lnTo>
                      <a:pt x="124" y="794"/>
                    </a:lnTo>
                    <a:lnTo>
                      <a:pt x="124" y="796"/>
                    </a:lnTo>
                    <a:lnTo>
                      <a:pt x="124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8" y="796"/>
                    </a:lnTo>
                    <a:lnTo>
                      <a:pt x="128" y="796"/>
                    </a:lnTo>
                    <a:lnTo>
                      <a:pt x="128" y="796"/>
                    </a:lnTo>
                    <a:lnTo>
                      <a:pt x="128" y="798"/>
                    </a:lnTo>
                    <a:lnTo>
                      <a:pt x="130" y="800"/>
                    </a:lnTo>
                    <a:lnTo>
                      <a:pt x="130" y="800"/>
                    </a:lnTo>
                    <a:lnTo>
                      <a:pt x="130" y="800"/>
                    </a:lnTo>
                    <a:lnTo>
                      <a:pt x="132" y="802"/>
                    </a:lnTo>
                    <a:lnTo>
                      <a:pt x="134" y="802"/>
                    </a:lnTo>
                    <a:lnTo>
                      <a:pt x="134" y="804"/>
                    </a:lnTo>
                    <a:lnTo>
                      <a:pt x="134" y="804"/>
                    </a:lnTo>
                    <a:lnTo>
                      <a:pt x="132" y="806"/>
                    </a:lnTo>
                    <a:lnTo>
                      <a:pt x="132" y="808"/>
                    </a:lnTo>
                    <a:lnTo>
                      <a:pt x="132" y="810"/>
                    </a:lnTo>
                    <a:lnTo>
                      <a:pt x="130" y="814"/>
                    </a:lnTo>
                    <a:lnTo>
                      <a:pt x="130" y="818"/>
                    </a:lnTo>
                    <a:lnTo>
                      <a:pt x="128" y="822"/>
                    </a:lnTo>
                    <a:lnTo>
                      <a:pt x="128" y="826"/>
                    </a:lnTo>
                    <a:lnTo>
                      <a:pt x="128" y="828"/>
                    </a:lnTo>
                    <a:lnTo>
                      <a:pt x="128" y="828"/>
                    </a:lnTo>
                    <a:lnTo>
                      <a:pt x="128" y="830"/>
                    </a:lnTo>
                    <a:lnTo>
                      <a:pt x="128" y="832"/>
                    </a:lnTo>
                    <a:lnTo>
                      <a:pt x="128" y="832"/>
                    </a:lnTo>
                    <a:lnTo>
                      <a:pt x="128" y="832"/>
                    </a:lnTo>
                    <a:lnTo>
                      <a:pt x="130" y="834"/>
                    </a:lnTo>
                    <a:lnTo>
                      <a:pt x="130" y="834"/>
                    </a:lnTo>
                    <a:lnTo>
                      <a:pt x="130" y="836"/>
                    </a:lnTo>
                    <a:lnTo>
                      <a:pt x="132" y="838"/>
                    </a:lnTo>
                    <a:lnTo>
                      <a:pt x="132" y="838"/>
                    </a:lnTo>
                    <a:lnTo>
                      <a:pt x="132" y="838"/>
                    </a:lnTo>
                    <a:lnTo>
                      <a:pt x="136" y="840"/>
                    </a:lnTo>
                    <a:lnTo>
                      <a:pt x="140" y="844"/>
                    </a:lnTo>
                    <a:lnTo>
                      <a:pt x="144" y="846"/>
                    </a:lnTo>
                    <a:lnTo>
                      <a:pt x="148" y="848"/>
                    </a:lnTo>
                    <a:lnTo>
                      <a:pt x="152" y="852"/>
                    </a:lnTo>
                    <a:lnTo>
                      <a:pt x="154" y="856"/>
                    </a:lnTo>
                    <a:lnTo>
                      <a:pt x="158" y="858"/>
                    </a:lnTo>
                    <a:lnTo>
                      <a:pt x="160" y="860"/>
                    </a:lnTo>
                    <a:lnTo>
                      <a:pt x="160" y="860"/>
                    </a:lnTo>
                    <a:lnTo>
                      <a:pt x="162" y="862"/>
                    </a:lnTo>
                    <a:lnTo>
                      <a:pt x="162" y="862"/>
                    </a:lnTo>
                    <a:lnTo>
                      <a:pt x="164" y="864"/>
                    </a:lnTo>
                    <a:lnTo>
                      <a:pt x="164" y="866"/>
                    </a:lnTo>
                    <a:lnTo>
                      <a:pt x="164" y="868"/>
                    </a:lnTo>
                    <a:lnTo>
                      <a:pt x="166" y="872"/>
                    </a:lnTo>
                    <a:lnTo>
                      <a:pt x="168" y="878"/>
                    </a:lnTo>
                    <a:lnTo>
                      <a:pt x="170" y="882"/>
                    </a:lnTo>
                    <a:lnTo>
                      <a:pt x="172" y="886"/>
                    </a:lnTo>
                    <a:lnTo>
                      <a:pt x="172" y="890"/>
                    </a:lnTo>
                    <a:lnTo>
                      <a:pt x="172" y="892"/>
                    </a:lnTo>
                    <a:lnTo>
                      <a:pt x="172" y="898"/>
                    </a:lnTo>
                    <a:lnTo>
                      <a:pt x="172" y="902"/>
                    </a:lnTo>
                    <a:lnTo>
                      <a:pt x="172" y="906"/>
                    </a:lnTo>
                    <a:lnTo>
                      <a:pt x="172" y="906"/>
                    </a:lnTo>
                    <a:lnTo>
                      <a:pt x="172" y="906"/>
                    </a:lnTo>
                    <a:lnTo>
                      <a:pt x="172" y="908"/>
                    </a:lnTo>
                    <a:lnTo>
                      <a:pt x="172" y="910"/>
                    </a:lnTo>
                    <a:lnTo>
                      <a:pt x="172" y="912"/>
                    </a:lnTo>
                    <a:lnTo>
                      <a:pt x="174" y="916"/>
                    </a:lnTo>
                    <a:lnTo>
                      <a:pt x="174" y="918"/>
                    </a:lnTo>
                    <a:lnTo>
                      <a:pt x="174" y="920"/>
                    </a:lnTo>
                    <a:lnTo>
                      <a:pt x="174" y="922"/>
                    </a:lnTo>
                    <a:lnTo>
                      <a:pt x="174" y="922"/>
                    </a:lnTo>
                    <a:lnTo>
                      <a:pt x="174" y="924"/>
                    </a:lnTo>
                    <a:lnTo>
                      <a:pt x="172" y="926"/>
                    </a:lnTo>
                    <a:lnTo>
                      <a:pt x="170" y="928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68" y="932"/>
                    </a:lnTo>
                    <a:lnTo>
                      <a:pt x="168" y="932"/>
                    </a:lnTo>
                    <a:lnTo>
                      <a:pt x="168" y="934"/>
                    </a:lnTo>
                    <a:lnTo>
                      <a:pt x="168" y="936"/>
                    </a:lnTo>
                    <a:lnTo>
                      <a:pt x="168" y="936"/>
                    </a:lnTo>
                    <a:lnTo>
                      <a:pt x="170" y="936"/>
                    </a:lnTo>
                    <a:lnTo>
                      <a:pt x="170" y="938"/>
                    </a:lnTo>
                    <a:lnTo>
                      <a:pt x="170" y="938"/>
                    </a:lnTo>
                    <a:lnTo>
                      <a:pt x="170" y="938"/>
                    </a:lnTo>
                    <a:lnTo>
                      <a:pt x="172" y="940"/>
                    </a:lnTo>
                    <a:lnTo>
                      <a:pt x="172" y="940"/>
                    </a:lnTo>
                    <a:lnTo>
                      <a:pt x="172" y="940"/>
                    </a:lnTo>
                    <a:lnTo>
                      <a:pt x="174" y="940"/>
                    </a:lnTo>
                    <a:lnTo>
                      <a:pt x="176" y="942"/>
                    </a:lnTo>
                    <a:lnTo>
                      <a:pt x="178" y="942"/>
                    </a:lnTo>
                    <a:lnTo>
                      <a:pt x="182" y="942"/>
                    </a:lnTo>
                    <a:lnTo>
                      <a:pt x="188" y="942"/>
                    </a:lnTo>
                    <a:lnTo>
                      <a:pt x="194" y="942"/>
                    </a:lnTo>
                    <a:lnTo>
                      <a:pt x="200" y="942"/>
                    </a:lnTo>
                    <a:lnTo>
                      <a:pt x="206" y="942"/>
                    </a:lnTo>
                    <a:lnTo>
                      <a:pt x="210" y="942"/>
                    </a:lnTo>
                    <a:lnTo>
                      <a:pt x="212" y="942"/>
                    </a:lnTo>
                    <a:lnTo>
                      <a:pt x="214" y="942"/>
                    </a:lnTo>
                    <a:lnTo>
                      <a:pt x="216" y="942"/>
                    </a:lnTo>
                    <a:lnTo>
                      <a:pt x="216" y="944"/>
                    </a:lnTo>
                    <a:lnTo>
                      <a:pt x="218" y="946"/>
                    </a:lnTo>
                    <a:lnTo>
                      <a:pt x="218" y="946"/>
                    </a:lnTo>
                    <a:lnTo>
                      <a:pt x="218" y="952"/>
                    </a:lnTo>
                    <a:lnTo>
                      <a:pt x="218" y="954"/>
                    </a:lnTo>
                    <a:lnTo>
                      <a:pt x="218" y="954"/>
                    </a:lnTo>
                    <a:lnTo>
                      <a:pt x="220" y="954"/>
                    </a:lnTo>
                    <a:lnTo>
                      <a:pt x="220" y="956"/>
                    </a:lnTo>
                    <a:lnTo>
                      <a:pt x="220" y="956"/>
                    </a:lnTo>
                    <a:lnTo>
                      <a:pt x="220" y="956"/>
                    </a:lnTo>
                    <a:lnTo>
                      <a:pt x="222" y="958"/>
                    </a:lnTo>
                    <a:lnTo>
                      <a:pt x="222" y="958"/>
                    </a:lnTo>
                    <a:lnTo>
                      <a:pt x="222" y="958"/>
                    </a:lnTo>
                    <a:lnTo>
                      <a:pt x="224" y="960"/>
                    </a:lnTo>
                    <a:lnTo>
                      <a:pt x="224" y="960"/>
                    </a:lnTo>
                    <a:lnTo>
                      <a:pt x="224" y="960"/>
                    </a:lnTo>
                    <a:lnTo>
                      <a:pt x="228" y="962"/>
                    </a:lnTo>
                    <a:lnTo>
                      <a:pt x="232" y="964"/>
                    </a:lnTo>
                    <a:lnTo>
                      <a:pt x="232" y="964"/>
                    </a:lnTo>
                    <a:lnTo>
                      <a:pt x="234" y="966"/>
                    </a:lnTo>
                    <a:lnTo>
                      <a:pt x="234" y="966"/>
                    </a:lnTo>
                    <a:lnTo>
                      <a:pt x="234" y="966"/>
                    </a:lnTo>
                    <a:lnTo>
                      <a:pt x="238" y="970"/>
                    </a:lnTo>
                    <a:lnTo>
                      <a:pt x="242" y="974"/>
                    </a:lnTo>
                    <a:lnTo>
                      <a:pt x="248" y="978"/>
                    </a:lnTo>
                    <a:lnTo>
                      <a:pt x="252" y="980"/>
                    </a:lnTo>
                    <a:lnTo>
                      <a:pt x="252" y="980"/>
                    </a:lnTo>
                    <a:lnTo>
                      <a:pt x="252" y="982"/>
                    </a:lnTo>
                    <a:lnTo>
                      <a:pt x="254" y="982"/>
                    </a:lnTo>
                    <a:lnTo>
                      <a:pt x="254" y="982"/>
                    </a:lnTo>
                    <a:lnTo>
                      <a:pt x="256" y="982"/>
                    </a:lnTo>
                    <a:lnTo>
                      <a:pt x="260" y="982"/>
                    </a:lnTo>
                    <a:lnTo>
                      <a:pt x="266" y="984"/>
                    </a:lnTo>
                    <a:lnTo>
                      <a:pt x="268" y="986"/>
                    </a:lnTo>
                    <a:lnTo>
                      <a:pt x="270" y="986"/>
                    </a:lnTo>
                    <a:lnTo>
                      <a:pt x="272" y="988"/>
                    </a:lnTo>
                    <a:lnTo>
                      <a:pt x="272" y="988"/>
                    </a:lnTo>
                    <a:lnTo>
                      <a:pt x="274" y="988"/>
                    </a:lnTo>
                    <a:lnTo>
                      <a:pt x="274" y="990"/>
                    </a:lnTo>
                    <a:lnTo>
                      <a:pt x="274" y="990"/>
                    </a:lnTo>
                    <a:lnTo>
                      <a:pt x="276" y="990"/>
                    </a:lnTo>
                    <a:lnTo>
                      <a:pt x="278" y="990"/>
                    </a:lnTo>
                    <a:lnTo>
                      <a:pt x="278" y="990"/>
                    </a:lnTo>
                    <a:lnTo>
                      <a:pt x="278" y="990"/>
                    </a:lnTo>
                    <a:lnTo>
                      <a:pt x="280" y="990"/>
                    </a:lnTo>
                    <a:lnTo>
                      <a:pt x="280" y="988"/>
                    </a:lnTo>
                    <a:lnTo>
                      <a:pt x="282" y="988"/>
                    </a:lnTo>
                    <a:lnTo>
                      <a:pt x="284" y="988"/>
                    </a:lnTo>
                    <a:lnTo>
                      <a:pt x="286" y="988"/>
                    </a:lnTo>
                    <a:lnTo>
                      <a:pt x="288" y="988"/>
                    </a:lnTo>
                    <a:lnTo>
                      <a:pt x="290" y="990"/>
                    </a:lnTo>
                    <a:lnTo>
                      <a:pt x="296" y="992"/>
                    </a:lnTo>
                    <a:lnTo>
                      <a:pt x="300" y="994"/>
                    </a:lnTo>
                    <a:lnTo>
                      <a:pt x="304" y="996"/>
                    </a:lnTo>
                    <a:lnTo>
                      <a:pt x="306" y="998"/>
                    </a:lnTo>
                    <a:lnTo>
                      <a:pt x="306" y="998"/>
                    </a:lnTo>
                    <a:lnTo>
                      <a:pt x="308" y="1000"/>
                    </a:lnTo>
                    <a:lnTo>
                      <a:pt x="308" y="1004"/>
                    </a:lnTo>
                    <a:lnTo>
                      <a:pt x="308" y="1004"/>
                    </a:lnTo>
                    <a:lnTo>
                      <a:pt x="310" y="1006"/>
                    </a:lnTo>
                    <a:lnTo>
                      <a:pt x="308" y="1008"/>
                    </a:lnTo>
                    <a:lnTo>
                      <a:pt x="308" y="1010"/>
                    </a:lnTo>
                    <a:lnTo>
                      <a:pt x="308" y="1014"/>
                    </a:lnTo>
                    <a:lnTo>
                      <a:pt x="306" y="1018"/>
                    </a:lnTo>
                    <a:lnTo>
                      <a:pt x="304" y="1024"/>
                    </a:lnTo>
                    <a:lnTo>
                      <a:pt x="302" y="1028"/>
                    </a:lnTo>
                    <a:lnTo>
                      <a:pt x="302" y="1030"/>
                    </a:lnTo>
                    <a:lnTo>
                      <a:pt x="298" y="1036"/>
                    </a:lnTo>
                    <a:lnTo>
                      <a:pt x="298" y="1036"/>
                    </a:lnTo>
                    <a:lnTo>
                      <a:pt x="296" y="1040"/>
                    </a:lnTo>
                    <a:lnTo>
                      <a:pt x="292" y="1042"/>
                    </a:lnTo>
                    <a:lnTo>
                      <a:pt x="290" y="1044"/>
                    </a:lnTo>
                    <a:lnTo>
                      <a:pt x="290" y="1044"/>
                    </a:lnTo>
                    <a:lnTo>
                      <a:pt x="288" y="1044"/>
                    </a:lnTo>
                    <a:lnTo>
                      <a:pt x="288" y="1044"/>
                    </a:lnTo>
                    <a:lnTo>
                      <a:pt x="286" y="1044"/>
                    </a:lnTo>
                    <a:lnTo>
                      <a:pt x="284" y="1042"/>
                    </a:lnTo>
                    <a:lnTo>
                      <a:pt x="284" y="1042"/>
                    </a:lnTo>
                    <a:lnTo>
                      <a:pt x="284" y="1042"/>
                    </a:lnTo>
                    <a:lnTo>
                      <a:pt x="282" y="1042"/>
                    </a:lnTo>
                    <a:lnTo>
                      <a:pt x="282" y="1042"/>
                    </a:lnTo>
                    <a:lnTo>
                      <a:pt x="280" y="1044"/>
                    </a:lnTo>
                    <a:lnTo>
                      <a:pt x="280" y="1044"/>
                    </a:lnTo>
                    <a:lnTo>
                      <a:pt x="280" y="1044"/>
                    </a:lnTo>
                    <a:lnTo>
                      <a:pt x="278" y="1046"/>
                    </a:lnTo>
                    <a:lnTo>
                      <a:pt x="278" y="1046"/>
                    </a:lnTo>
                    <a:lnTo>
                      <a:pt x="278" y="1046"/>
                    </a:lnTo>
                    <a:lnTo>
                      <a:pt x="278" y="1048"/>
                    </a:lnTo>
                    <a:lnTo>
                      <a:pt x="280" y="1050"/>
                    </a:lnTo>
                    <a:lnTo>
                      <a:pt x="284" y="1052"/>
                    </a:lnTo>
                    <a:lnTo>
                      <a:pt x="286" y="1052"/>
                    </a:lnTo>
                    <a:lnTo>
                      <a:pt x="286" y="1054"/>
                    </a:lnTo>
                    <a:lnTo>
                      <a:pt x="288" y="1056"/>
                    </a:lnTo>
                    <a:lnTo>
                      <a:pt x="288" y="1058"/>
                    </a:lnTo>
                    <a:lnTo>
                      <a:pt x="288" y="1058"/>
                    </a:lnTo>
                    <a:lnTo>
                      <a:pt x="288" y="1062"/>
                    </a:lnTo>
                    <a:lnTo>
                      <a:pt x="288" y="1064"/>
                    </a:lnTo>
                    <a:lnTo>
                      <a:pt x="288" y="1066"/>
                    </a:lnTo>
                    <a:lnTo>
                      <a:pt x="288" y="1066"/>
                    </a:lnTo>
                    <a:lnTo>
                      <a:pt x="286" y="1066"/>
                    </a:lnTo>
                    <a:lnTo>
                      <a:pt x="282" y="1066"/>
                    </a:lnTo>
                    <a:lnTo>
                      <a:pt x="282" y="1066"/>
                    </a:lnTo>
                    <a:lnTo>
                      <a:pt x="282" y="1066"/>
                    </a:lnTo>
                    <a:lnTo>
                      <a:pt x="280" y="1068"/>
                    </a:lnTo>
                    <a:lnTo>
                      <a:pt x="280" y="1068"/>
                    </a:lnTo>
                    <a:lnTo>
                      <a:pt x="280" y="1068"/>
                    </a:lnTo>
                    <a:lnTo>
                      <a:pt x="280" y="1070"/>
                    </a:lnTo>
                    <a:lnTo>
                      <a:pt x="280" y="1070"/>
                    </a:lnTo>
                    <a:lnTo>
                      <a:pt x="278" y="1070"/>
                    </a:lnTo>
                    <a:lnTo>
                      <a:pt x="278" y="1072"/>
                    </a:lnTo>
                    <a:lnTo>
                      <a:pt x="278" y="1078"/>
                    </a:lnTo>
                    <a:lnTo>
                      <a:pt x="278" y="1080"/>
                    </a:lnTo>
                    <a:lnTo>
                      <a:pt x="278" y="1082"/>
                    </a:lnTo>
                    <a:lnTo>
                      <a:pt x="278" y="1086"/>
                    </a:lnTo>
                    <a:lnTo>
                      <a:pt x="276" y="1090"/>
                    </a:lnTo>
                    <a:lnTo>
                      <a:pt x="276" y="1092"/>
                    </a:lnTo>
                    <a:lnTo>
                      <a:pt x="276" y="1092"/>
                    </a:lnTo>
                    <a:lnTo>
                      <a:pt x="276" y="1092"/>
                    </a:lnTo>
                    <a:lnTo>
                      <a:pt x="274" y="1092"/>
                    </a:lnTo>
                    <a:lnTo>
                      <a:pt x="272" y="1092"/>
                    </a:lnTo>
                    <a:lnTo>
                      <a:pt x="272" y="1092"/>
                    </a:lnTo>
                    <a:lnTo>
                      <a:pt x="272" y="1092"/>
                    </a:lnTo>
                    <a:lnTo>
                      <a:pt x="270" y="1094"/>
                    </a:lnTo>
                    <a:lnTo>
                      <a:pt x="270" y="1094"/>
                    </a:lnTo>
                    <a:lnTo>
                      <a:pt x="270" y="1094"/>
                    </a:lnTo>
                    <a:lnTo>
                      <a:pt x="268" y="1096"/>
                    </a:lnTo>
                    <a:lnTo>
                      <a:pt x="268" y="1096"/>
                    </a:lnTo>
                    <a:lnTo>
                      <a:pt x="268" y="1096"/>
                    </a:lnTo>
                    <a:lnTo>
                      <a:pt x="266" y="1098"/>
                    </a:lnTo>
                    <a:lnTo>
                      <a:pt x="266" y="1100"/>
                    </a:lnTo>
                    <a:lnTo>
                      <a:pt x="266" y="1102"/>
                    </a:lnTo>
                    <a:lnTo>
                      <a:pt x="266" y="1102"/>
                    </a:lnTo>
                    <a:lnTo>
                      <a:pt x="266" y="1104"/>
                    </a:lnTo>
                    <a:lnTo>
                      <a:pt x="266" y="1104"/>
                    </a:lnTo>
                    <a:lnTo>
                      <a:pt x="274" y="1108"/>
                    </a:lnTo>
                    <a:lnTo>
                      <a:pt x="280" y="1112"/>
                    </a:lnTo>
                    <a:lnTo>
                      <a:pt x="284" y="1116"/>
                    </a:lnTo>
                    <a:lnTo>
                      <a:pt x="286" y="1118"/>
                    </a:lnTo>
                    <a:lnTo>
                      <a:pt x="288" y="1120"/>
                    </a:lnTo>
                    <a:lnTo>
                      <a:pt x="292" y="1124"/>
                    </a:lnTo>
                    <a:lnTo>
                      <a:pt x="292" y="1124"/>
                    </a:lnTo>
                    <a:lnTo>
                      <a:pt x="294" y="1124"/>
                    </a:lnTo>
                    <a:lnTo>
                      <a:pt x="296" y="1126"/>
                    </a:lnTo>
                    <a:lnTo>
                      <a:pt x="298" y="1126"/>
                    </a:lnTo>
                    <a:lnTo>
                      <a:pt x="302" y="1128"/>
                    </a:lnTo>
                    <a:lnTo>
                      <a:pt x="306" y="1132"/>
                    </a:lnTo>
                    <a:lnTo>
                      <a:pt x="310" y="1134"/>
                    </a:lnTo>
                    <a:lnTo>
                      <a:pt x="310" y="1134"/>
                    </a:lnTo>
                    <a:lnTo>
                      <a:pt x="312" y="1134"/>
                    </a:lnTo>
                    <a:lnTo>
                      <a:pt x="318" y="1136"/>
                    </a:lnTo>
                    <a:lnTo>
                      <a:pt x="324" y="1138"/>
                    </a:lnTo>
                    <a:lnTo>
                      <a:pt x="330" y="1140"/>
                    </a:lnTo>
                    <a:lnTo>
                      <a:pt x="332" y="1140"/>
                    </a:lnTo>
                    <a:lnTo>
                      <a:pt x="334" y="1142"/>
                    </a:lnTo>
                    <a:lnTo>
                      <a:pt x="334" y="1142"/>
                    </a:lnTo>
                    <a:lnTo>
                      <a:pt x="336" y="1144"/>
                    </a:lnTo>
                    <a:lnTo>
                      <a:pt x="336" y="1144"/>
                    </a:lnTo>
                    <a:lnTo>
                      <a:pt x="338" y="1144"/>
                    </a:lnTo>
                    <a:lnTo>
                      <a:pt x="340" y="1144"/>
                    </a:lnTo>
                    <a:lnTo>
                      <a:pt x="342" y="1144"/>
                    </a:lnTo>
                    <a:lnTo>
                      <a:pt x="348" y="1146"/>
                    </a:lnTo>
                    <a:lnTo>
                      <a:pt x="350" y="1146"/>
                    </a:lnTo>
                    <a:lnTo>
                      <a:pt x="354" y="1146"/>
                    </a:lnTo>
                    <a:lnTo>
                      <a:pt x="360" y="1146"/>
                    </a:lnTo>
                    <a:lnTo>
                      <a:pt x="364" y="1148"/>
                    </a:lnTo>
                    <a:lnTo>
                      <a:pt x="370" y="1150"/>
                    </a:lnTo>
                    <a:lnTo>
                      <a:pt x="370" y="1150"/>
                    </a:lnTo>
                    <a:lnTo>
                      <a:pt x="374" y="1152"/>
                    </a:lnTo>
                    <a:lnTo>
                      <a:pt x="374" y="1152"/>
                    </a:lnTo>
                    <a:lnTo>
                      <a:pt x="376" y="1152"/>
                    </a:lnTo>
                    <a:lnTo>
                      <a:pt x="380" y="1152"/>
                    </a:lnTo>
                    <a:lnTo>
                      <a:pt x="382" y="1152"/>
                    </a:lnTo>
                    <a:lnTo>
                      <a:pt x="388" y="1154"/>
                    </a:lnTo>
                    <a:lnTo>
                      <a:pt x="390" y="1154"/>
                    </a:lnTo>
                    <a:lnTo>
                      <a:pt x="392" y="1154"/>
                    </a:lnTo>
                    <a:lnTo>
                      <a:pt x="394" y="1156"/>
                    </a:lnTo>
                    <a:lnTo>
                      <a:pt x="396" y="1158"/>
                    </a:lnTo>
                    <a:lnTo>
                      <a:pt x="396" y="1158"/>
                    </a:lnTo>
                    <a:lnTo>
                      <a:pt x="396" y="1158"/>
                    </a:lnTo>
                    <a:lnTo>
                      <a:pt x="398" y="1158"/>
                    </a:lnTo>
                    <a:lnTo>
                      <a:pt x="400" y="1160"/>
                    </a:lnTo>
                    <a:lnTo>
                      <a:pt x="400" y="1160"/>
                    </a:lnTo>
                    <a:lnTo>
                      <a:pt x="400" y="1160"/>
                    </a:lnTo>
                    <a:lnTo>
                      <a:pt x="402" y="1162"/>
                    </a:lnTo>
                    <a:lnTo>
                      <a:pt x="404" y="1166"/>
                    </a:lnTo>
                    <a:lnTo>
                      <a:pt x="408" y="1172"/>
                    </a:lnTo>
                    <a:lnTo>
                      <a:pt x="408" y="1172"/>
                    </a:lnTo>
                    <a:lnTo>
                      <a:pt x="408" y="1172"/>
                    </a:lnTo>
                    <a:lnTo>
                      <a:pt x="410" y="1176"/>
                    </a:lnTo>
                    <a:lnTo>
                      <a:pt x="414" y="1178"/>
                    </a:lnTo>
                    <a:lnTo>
                      <a:pt x="416" y="1180"/>
                    </a:lnTo>
                    <a:lnTo>
                      <a:pt x="418" y="1182"/>
                    </a:lnTo>
                    <a:lnTo>
                      <a:pt x="418" y="1182"/>
                    </a:lnTo>
                    <a:lnTo>
                      <a:pt x="418" y="1182"/>
                    </a:lnTo>
                    <a:lnTo>
                      <a:pt x="420" y="1182"/>
                    </a:lnTo>
                    <a:lnTo>
                      <a:pt x="420" y="1182"/>
                    </a:lnTo>
                    <a:lnTo>
                      <a:pt x="420" y="1182"/>
                    </a:lnTo>
                    <a:lnTo>
                      <a:pt x="422" y="1182"/>
                    </a:lnTo>
                    <a:lnTo>
                      <a:pt x="422" y="1182"/>
                    </a:lnTo>
                    <a:lnTo>
                      <a:pt x="424" y="1182"/>
                    </a:lnTo>
                    <a:lnTo>
                      <a:pt x="424" y="1180"/>
                    </a:lnTo>
                    <a:lnTo>
                      <a:pt x="424" y="1180"/>
                    </a:lnTo>
                    <a:lnTo>
                      <a:pt x="426" y="1180"/>
                    </a:lnTo>
                    <a:lnTo>
                      <a:pt x="426" y="1178"/>
                    </a:lnTo>
                    <a:lnTo>
                      <a:pt x="426" y="1178"/>
                    </a:lnTo>
                    <a:lnTo>
                      <a:pt x="426" y="1178"/>
                    </a:lnTo>
                    <a:lnTo>
                      <a:pt x="428" y="1176"/>
                    </a:lnTo>
                    <a:lnTo>
                      <a:pt x="428" y="1176"/>
                    </a:lnTo>
                    <a:lnTo>
                      <a:pt x="428" y="1176"/>
                    </a:lnTo>
                    <a:lnTo>
                      <a:pt x="428" y="1174"/>
                    </a:lnTo>
                    <a:lnTo>
                      <a:pt x="428" y="1170"/>
                    </a:lnTo>
                    <a:lnTo>
                      <a:pt x="428" y="1168"/>
                    </a:lnTo>
                    <a:lnTo>
                      <a:pt x="428" y="1166"/>
                    </a:lnTo>
                    <a:lnTo>
                      <a:pt x="428" y="1166"/>
                    </a:lnTo>
                    <a:lnTo>
                      <a:pt x="428" y="1164"/>
                    </a:lnTo>
                    <a:lnTo>
                      <a:pt x="426" y="1162"/>
                    </a:lnTo>
                    <a:lnTo>
                      <a:pt x="426" y="1162"/>
                    </a:lnTo>
                    <a:lnTo>
                      <a:pt x="424" y="1162"/>
                    </a:lnTo>
                    <a:lnTo>
                      <a:pt x="424" y="1160"/>
                    </a:lnTo>
                    <a:lnTo>
                      <a:pt x="426" y="1158"/>
                    </a:lnTo>
                    <a:lnTo>
                      <a:pt x="426" y="1152"/>
                    </a:lnTo>
                    <a:lnTo>
                      <a:pt x="426" y="1150"/>
                    </a:lnTo>
                    <a:lnTo>
                      <a:pt x="426" y="1150"/>
                    </a:lnTo>
                    <a:lnTo>
                      <a:pt x="426" y="1150"/>
                    </a:lnTo>
                    <a:lnTo>
                      <a:pt x="426" y="1146"/>
                    </a:lnTo>
                    <a:lnTo>
                      <a:pt x="426" y="1146"/>
                    </a:lnTo>
                    <a:lnTo>
                      <a:pt x="426" y="1144"/>
                    </a:lnTo>
                    <a:lnTo>
                      <a:pt x="422" y="1136"/>
                    </a:lnTo>
                    <a:lnTo>
                      <a:pt x="420" y="1128"/>
                    </a:lnTo>
                    <a:lnTo>
                      <a:pt x="418" y="1120"/>
                    </a:lnTo>
                    <a:lnTo>
                      <a:pt x="418" y="1118"/>
                    </a:lnTo>
                    <a:lnTo>
                      <a:pt x="418" y="1114"/>
                    </a:lnTo>
                    <a:lnTo>
                      <a:pt x="420" y="1112"/>
                    </a:lnTo>
                    <a:lnTo>
                      <a:pt x="420" y="1108"/>
                    </a:lnTo>
                    <a:lnTo>
                      <a:pt x="422" y="1106"/>
                    </a:lnTo>
                    <a:lnTo>
                      <a:pt x="422" y="1104"/>
                    </a:lnTo>
                    <a:lnTo>
                      <a:pt x="424" y="1102"/>
                    </a:lnTo>
                    <a:lnTo>
                      <a:pt x="424" y="1102"/>
                    </a:lnTo>
                    <a:lnTo>
                      <a:pt x="424" y="1102"/>
                    </a:lnTo>
                    <a:lnTo>
                      <a:pt x="426" y="1100"/>
                    </a:lnTo>
                    <a:lnTo>
                      <a:pt x="426" y="1100"/>
                    </a:lnTo>
                    <a:lnTo>
                      <a:pt x="426" y="1100"/>
                    </a:lnTo>
                    <a:lnTo>
                      <a:pt x="428" y="1098"/>
                    </a:lnTo>
                    <a:lnTo>
                      <a:pt x="428" y="1098"/>
                    </a:lnTo>
                    <a:lnTo>
                      <a:pt x="428" y="1098"/>
                    </a:lnTo>
                    <a:lnTo>
                      <a:pt x="430" y="1094"/>
                    </a:lnTo>
                    <a:lnTo>
                      <a:pt x="430" y="1092"/>
                    </a:lnTo>
                    <a:lnTo>
                      <a:pt x="430" y="1090"/>
                    </a:lnTo>
                    <a:lnTo>
                      <a:pt x="432" y="1088"/>
                    </a:lnTo>
                    <a:lnTo>
                      <a:pt x="432" y="1088"/>
                    </a:lnTo>
                    <a:lnTo>
                      <a:pt x="432" y="1086"/>
                    </a:lnTo>
                    <a:lnTo>
                      <a:pt x="434" y="1084"/>
                    </a:lnTo>
                    <a:lnTo>
                      <a:pt x="434" y="1084"/>
                    </a:lnTo>
                    <a:lnTo>
                      <a:pt x="436" y="1084"/>
                    </a:lnTo>
                    <a:lnTo>
                      <a:pt x="438" y="1082"/>
                    </a:lnTo>
                    <a:lnTo>
                      <a:pt x="438" y="1082"/>
                    </a:lnTo>
                    <a:lnTo>
                      <a:pt x="438" y="1082"/>
                    </a:lnTo>
                    <a:lnTo>
                      <a:pt x="440" y="1080"/>
                    </a:lnTo>
                    <a:lnTo>
                      <a:pt x="440" y="1080"/>
                    </a:lnTo>
                    <a:lnTo>
                      <a:pt x="440" y="1080"/>
                    </a:lnTo>
                    <a:lnTo>
                      <a:pt x="440" y="1078"/>
                    </a:lnTo>
                    <a:lnTo>
                      <a:pt x="440" y="1078"/>
                    </a:lnTo>
                    <a:lnTo>
                      <a:pt x="440" y="1076"/>
                    </a:lnTo>
                    <a:lnTo>
                      <a:pt x="440" y="1074"/>
                    </a:lnTo>
                    <a:lnTo>
                      <a:pt x="440" y="1074"/>
                    </a:lnTo>
                    <a:lnTo>
                      <a:pt x="440" y="1074"/>
                    </a:lnTo>
                    <a:lnTo>
                      <a:pt x="440" y="1072"/>
                    </a:lnTo>
                    <a:lnTo>
                      <a:pt x="438" y="1066"/>
                    </a:lnTo>
                    <a:lnTo>
                      <a:pt x="438" y="1066"/>
                    </a:lnTo>
                    <a:lnTo>
                      <a:pt x="436" y="1064"/>
                    </a:lnTo>
                    <a:lnTo>
                      <a:pt x="434" y="1064"/>
                    </a:lnTo>
                    <a:lnTo>
                      <a:pt x="432" y="1062"/>
                    </a:lnTo>
                    <a:lnTo>
                      <a:pt x="432" y="1062"/>
                    </a:lnTo>
                    <a:lnTo>
                      <a:pt x="432" y="1062"/>
                    </a:lnTo>
                    <a:lnTo>
                      <a:pt x="430" y="1060"/>
                    </a:lnTo>
                    <a:lnTo>
                      <a:pt x="430" y="1058"/>
                    </a:lnTo>
                    <a:lnTo>
                      <a:pt x="430" y="1056"/>
                    </a:lnTo>
                    <a:lnTo>
                      <a:pt x="430" y="1054"/>
                    </a:lnTo>
                    <a:lnTo>
                      <a:pt x="430" y="1050"/>
                    </a:lnTo>
                    <a:lnTo>
                      <a:pt x="430" y="1050"/>
                    </a:lnTo>
                    <a:lnTo>
                      <a:pt x="428" y="1048"/>
                    </a:lnTo>
                    <a:lnTo>
                      <a:pt x="426" y="1048"/>
                    </a:lnTo>
                    <a:lnTo>
                      <a:pt x="424" y="1048"/>
                    </a:lnTo>
                    <a:lnTo>
                      <a:pt x="422" y="1048"/>
                    </a:lnTo>
                    <a:lnTo>
                      <a:pt x="420" y="1046"/>
                    </a:lnTo>
                    <a:lnTo>
                      <a:pt x="420" y="1046"/>
                    </a:lnTo>
                    <a:lnTo>
                      <a:pt x="420" y="1046"/>
                    </a:lnTo>
                    <a:lnTo>
                      <a:pt x="420" y="1044"/>
                    </a:lnTo>
                    <a:lnTo>
                      <a:pt x="418" y="1042"/>
                    </a:lnTo>
                    <a:lnTo>
                      <a:pt x="418" y="1042"/>
                    </a:lnTo>
                    <a:lnTo>
                      <a:pt x="416" y="1042"/>
                    </a:lnTo>
                    <a:lnTo>
                      <a:pt x="414" y="1040"/>
                    </a:lnTo>
                    <a:lnTo>
                      <a:pt x="410" y="1038"/>
                    </a:lnTo>
                    <a:lnTo>
                      <a:pt x="404" y="1034"/>
                    </a:lnTo>
                    <a:lnTo>
                      <a:pt x="404" y="1034"/>
                    </a:lnTo>
                    <a:lnTo>
                      <a:pt x="404" y="1034"/>
                    </a:lnTo>
                    <a:lnTo>
                      <a:pt x="400" y="1032"/>
                    </a:lnTo>
                    <a:lnTo>
                      <a:pt x="402" y="1032"/>
                    </a:lnTo>
                    <a:lnTo>
                      <a:pt x="400" y="1032"/>
                    </a:lnTo>
                    <a:lnTo>
                      <a:pt x="400" y="1032"/>
                    </a:lnTo>
                    <a:lnTo>
                      <a:pt x="400" y="1032"/>
                    </a:lnTo>
                    <a:lnTo>
                      <a:pt x="400" y="1030"/>
                    </a:lnTo>
                    <a:lnTo>
                      <a:pt x="400" y="1030"/>
                    </a:lnTo>
                    <a:lnTo>
                      <a:pt x="400" y="1028"/>
                    </a:lnTo>
                    <a:lnTo>
                      <a:pt x="400" y="1026"/>
                    </a:lnTo>
                    <a:lnTo>
                      <a:pt x="400" y="1026"/>
                    </a:lnTo>
                    <a:lnTo>
                      <a:pt x="400" y="1024"/>
                    </a:lnTo>
                    <a:lnTo>
                      <a:pt x="402" y="1024"/>
                    </a:lnTo>
                    <a:lnTo>
                      <a:pt x="404" y="1022"/>
                    </a:lnTo>
                    <a:lnTo>
                      <a:pt x="408" y="1020"/>
                    </a:lnTo>
                    <a:lnTo>
                      <a:pt x="408" y="1020"/>
                    </a:lnTo>
                    <a:lnTo>
                      <a:pt x="408" y="1020"/>
                    </a:lnTo>
                    <a:lnTo>
                      <a:pt x="410" y="1018"/>
                    </a:lnTo>
                    <a:lnTo>
                      <a:pt x="410" y="1018"/>
                    </a:lnTo>
                    <a:lnTo>
                      <a:pt x="410" y="1018"/>
                    </a:lnTo>
                    <a:lnTo>
                      <a:pt x="412" y="1018"/>
                    </a:lnTo>
                    <a:lnTo>
                      <a:pt x="412" y="1018"/>
                    </a:lnTo>
                    <a:lnTo>
                      <a:pt x="412" y="1016"/>
                    </a:lnTo>
                    <a:lnTo>
                      <a:pt x="414" y="1014"/>
                    </a:lnTo>
                    <a:lnTo>
                      <a:pt x="414" y="1014"/>
                    </a:lnTo>
                    <a:lnTo>
                      <a:pt x="414" y="1012"/>
                    </a:lnTo>
                    <a:lnTo>
                      <a:pt x="414" y="1010"/>
                    </a:lnTo>
                    <a:lnTo>
                      <a:pt x="414" y="1006"/>
                    </a:lnTo>
                    <a:lnTo>
                      <a:pt x="416" y="1004"/>
                    </a:lnTo>
                    <a:lnTo>
                      <a:pt x="416" y="1002"/>
                    </a:lnTo>
                    <a:lnTo>
                      <a:pt x="416" y="1002"/>
                    </a:lnTo>
                    <a:lnTo>
                      <a:pt x="416" y="1000"/>
                    </a:lnTo>
                    <a:lnTo>
                      <a:pt x="416" y="998"/>
                    </a:lnTo>
                    <a:lnTo>
                      <a:pt x="416" y="994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20" y="992"/>
                    </a:lnTo>
                    <a:lnTo>
                      <a:pt x="422" y="994"/>
                    </a:lnTo>
                    <a:lnTo>
                      <a:pt x="424" y="994"/>
                    </a:lnTo>
                    <a:lnTo>
                      <a:pt x="426" y="996"/>
                    </a:lnTo>
                    <a:lnTo>
                      <a:pt x="426" y="996"/>
                    </a:lnTo>
                    <a:lnTo>
                      <a:pt x="426" y="996"/>
                    </a:lnTo>
                    <a:lnTo>
                      <a:pt x="428" y="996"/>
                    </a:lnTo>
                    <a:lnTo>
                      <a:pt x="428" y="996"/>
                    </a:lnTo>
                    <a:lnTo>
                      <a:pt x="428" y="996"/>
                    </a:lnTo>
                    <a:lnTo>
                      <a:pt x="430" y="996"/>
                    </a:lnTo>
                    <a:lnTo>
                      <a:pt x="430" y="996"/>
                    </a:lnTo>
                    <a:lnTo>
                      <a:pt x="430" y="996"/>
                    </a:lnTo>
                    <a:lnTo>
                      <a:pt x="432" y="996"/>
                    </a:lnTo>
                    <a:lnTo>
                      <a:pt x="432" y="996"/>
                    </a:lnTo>
                    <a:lnTo>
                      <a:pt x="432" y="994"/>
                    </a:lnTo>
                    <a:lnTo>
                      <a:pt x="432" y="994"/>
                    </a:lnTo>
                    <a:lnTo>
                      <a:pt x="432" y="994"/>
                    </a:lnTo>
                    <a:lnTo>
                      <a:pt x="434" y="994"/>
                    </a:lnTo>
                    <a:lnTo>
                      <a:pt x="434" y="992"/>
                    </a:lnTo>
                    <a:lnTo>
                      <a:pt x="434" y="992"/>
                    </a:lnTo>
                    <a:lnTo>
                      <a:pt x="434" y="992"/>
                    </a:lnTo>
                    <a:lnTo>
                      <a:pt x="434" y="990"/>
                    </a:lnTo>
                    <a:lnTo>
                      <a:pt x="434" y="988"/>
                    </a:lnTo>
                    <a:lnTo>
                      <a:pt x="436" y="986"/>
                    </a:lnTo>
                    <a:lnTo>
                      <a:pt x="436" y="984"/>
                    </a:lnTo>
                    <a:lnTo>
                      <a:pt x="438" y="980"/>
                    </a:lnTo>
                    <a:lnTo>
                      <a:pt x="438" y="978"/>
                    </a:lnTo>
                    <a:lnTo>
                      <a:pt x="440" y="978"/>
                    </a:lnTo>
                    <a:lnTo>
                      <a:pt x="442" y="976"/>
                    </a:lnTo>
                    <a:lnTo>
                      <a:pt x="444" y="976"/>
                    </a:lnTo>
                    <a:lnTo>
                      <a:pt x="444" y="976"/>
                    </a:lnTo>
                    <a:lnTo>
                      <a:pt x="444" y="976"/>
                    </a:lnTo>
                    <a:lnTo>
                      <a:pt x="446" y="974"/>
                    </a:lnTo>
                    <a:lnTo>
                      <a:pt x="446" y="974"/>
                    </a:lnTo>
                    <a:lnTo>
                      <a:pt x="446" y="974"/>
                    </a:lnTo>
                    <a:lnTo>
                      <a:pt x="448" y="972"/>
                    </a:lnTo>
                    <a:lnTo>
                      <a:pt x="448" y="972"/>
                    </a:lnTo>
                    <a:lnTo>
                      <a:pt x="448" y="972"/>
                    </a:lnTo>
                    <a:lnTo>
                      <a:pt x="448" y="970"/>
                    </a:lnTo>
                    <a:lnTo>
                      <a:pt x="448" y="970"/>
                    </a:lnTo>
                    <a:lnTo>
                      <a:pt x="448" y="970"/>
                    </a:lnTo>
                    <a:lnTo>
                      <a:pt x="448" y="968"/>
                    </a:lnTo>
                    <a:lnTo>
                      <a:pt x="450" y="968"/>
                    </a:lnTo>
                    <a:lnTo>
                      <a:pt x="454" y="966"/>
                    </a:lnTo>
                    <a:lnTo>
                      <a:pt x="458" y="964"/>
                    </a:lnTo>
                    <a:lnTo>
                      <a:pt x="462" y="960"/>
                    </a:lnTo>
                    <a:lnTo>
                      <a:pt x="464" y="960"/>
                    </a:lnTo>
                    <a:lnTo>
                      <a:pt x="466" y="958"/>
                    </a:lnTo>
                    <a:lnTo>
                      <a:pt x="470" y="956"/>
                    </a:lnTo>
                    <a:lnTo>
                      <a:pt x="476" y="956"/>
                    </a:lnTo>
                    <a:lnTo>
                      <a:pt x="482" y="954"/>
                    </a:lnTo>
                    <a:lnTo>
                      <a:pt x="486" y="954"/>
                    </a:lnTo>
                    <a:lnTo>
                      <a:pt x="490" y="954"/>
                    </a:lnTo>
                    <a:lnTo>
                      <a:pt x="492" y="954"/>
                    </a:lnTo>
                    <a:lnTo>
                      <a:pt x="496" y="956"/>
                    </a:lnTo>
                    <a:lnTo>
                      <a:pt x="502" y="958"/>
                    </a:lnTo>
                    <a:lnTo>
                      <a:pt x="506" y="960"/>
                    </a:lnTo>
                    <a:lnTo>
                      <a:pt x="506" y="960"/>
                    </a:lnTo>
                    <a:lnTo>
                      <a:pt x="506" y="960"/>
                    </a:lnTo>
                    <a:lnTo>
                      <a:pt x="508" y="960"/>
                    </a:lnTo>
                    <a:lnTo>
                      <a:pt x="510" y="962"/>
                    </a:lnTo>
                    <a:lnTo>
                      <a:pt x="510" y="962"/>
                    </a:lnTo>
                    <a:lnTo>
                      <a:pt x="512" y="962"/>
                    </a:lnTo>
                    <a:lnTo>
                      <a:pt x="514" y="966"/>
                    </a:lnTo>
                    <a:lnTo>
                      <a:pt x="516" y="966"/>
                    </a:lnTo>
                    <a:lnTo>
                      <a:pt x="518" y="968"/>
                    </a:lnTo>
                    <a:lnTo>
                      <a:pt x="518" y="968"/>
                    </a:lnTo>
                    <a:lnTo>
                      <a:pt x="518" y="970"/>
                    </a:lnTo>
                    <a:lnTo>
                      <a:pt x="522" y="970"/>
                    </a:lnTo>
                    <a:lnTo>
                      <a:pt x="524" y="972"/>
                    </a:lnTo>
                    <a:lnTo>
                      <a:pt x="530" y="974"/>
                    </a:lnTo>
                    <a:lnTo>
                      <a:pt x="536" y="976"/>
                    </a:lnTo>
                    <a:lnTo>
                      <a:pt x="540" y="978"/>
                    </a:lnTo>
                    <a:lnTo>
                      <a:pt x="544" y="980"/>
                    </a:lnTo>
                    <a:lnTo>
                      <a:pt x="544" y="980"/>
                    </a:lnTo>
                    <a:lnTo>
                      <a:pt x="546" y="978"/>
                    </a:lnTo>
                    <a:lnTo>
                      <a:pt x="548" y="976"/>
                    </a:lnTo>
                    <a:lnTo>
                      <a:pt x="552" y="976"/>
                    </a:lnTo>
                    <a:lnTo>
                      <a:pt x="558" y="974"/>
                    </a:lnTo>
                    <a:lnTo>
                      <a:pt x="560" y="972"/>
                    </a:lnTo>
                    <a:lnTo>
                      <a:pt x="562" y="972"/>
                    </a:lnTo>
                    <a:lnTo>
                      <a:pt x="566" y="970"/>
                    </a:lnTo>
                    <a:lnTo>
                      <a:pt x="570" y="970"/>
                    </a:lnTo>
                    <a:lnTo>
                      <a:pt x="572" y="972"/>
                    </a:lnTo>
                    <a:lnTo>
                      <a:pt x="576" y="972"/>
                    </a:lnTo>
                    <a:lnTo>
                      <a:pt x="580" y="974"/>
                    </a:lnTo>
                    <a:lnTo>
                      <a:pt x="582" y="976"/>
                    </a:lnTo>
                    <a:lnTo>
                      <a:pt x="586" y="976"/>
                    </a:lnTo>
                    <a:lnTo>
                      <a:pt x="590" y="978"/>
                    </a:lnTo>
                    <a:lnTo>
                      <a:pt x="596" y="980"/>
                    </a:lnTo>
                    <a:lnTo>
                      <a:pt x="600" y="982"/>
                    </a:lnTo>
                    <a:lnTo>
                      <a:pt x="600" y="982"/>
                    </a:lnTo>
                    <a:lnTo>
                      <a:pt x="600" y="982"/>
                    </a:lnTo>
                    <a:lnTo>
                      <a:pt x="604" y="982"/>
                    </a:lnTo>
                    <a:lnTo>
                      <a:pt x="606" y="982"/>
                    </a:lnTo>
                    <a:lnTo>
                      <a:pt x="612" y="980"/>
                    </a:lnTo>
                    <a:lnTo>
                      <a:pt x="616" y="980"/>
                    </a:lnTo>
                    <a:lnTo>
                      <a:pt x="618" y="980"/>
                    </a:lnTo>
                    <a:lnTo>
                      <a:pt x="622" y="978"/>
                    </a:lnTo>
                    <a:lnTo>
                      <a:pt x="624" y="978"/>
                    </a:lnTo>
                    <a:lnTo>
                      <a:pt x="624" y="978"/>
                    </a:lnTo>
                    <a:lnTo>
                      <a:pt x="624" y="978"/>
                    </a:lnTo>
                    <a:lnTo>
                      <a:pt x="626" y="976"/>
                    </a:lnTo>
                    <a:lnTo>
                      <a:pt x="626" y="976"/>
                    </a:lnTo>
                    <a:lnTo>
                      <a:pt x="628" y="974"/>
                    </a:lnTo>
                    <a:lnTo>
                      <a:pt x="628" y="972"/>
                    </a:lnTo>
                    <a:lnTo>
                      <a:pt x="628" y="972"/>
                    </a:lnTo>
                    <a:lnTo>
                      <a:pt x="630" y="972"/>
                    </a:lnTo>
                    <a:lnTo>
                      <a:pt x="630" y="968"/>
                    </a:lnTo>
                    <a:lnTo>
                      <a:pt x="630" y="968"/>
                    </a:lnTo>
                    <a:lnTo>
                      <a:pt x="630" y="968"/>
                    </a:lnTo>
                    <a:lnTo>
                      <a:pt x="630" y="966"/>
                    </a:lnTo>
                    <a:lnTo>
                      <a:pt x="630" y="966"/>
                    </a:lnTo>
                    <a:lnTo>
                      <a:pt x="630" y="964"/>
                    </a:lnTo>
                    <a:lnTo>
                      <a:pt x="628" y="964"/>
                    </a:lnTo>
                    <a:lnTo>
                      <a:pt x="628" y="964"/>
                    </a:lnTo>
                    <a:lnTo>
                      <a:pt x="628" y="962"/>
                    </a:lnTo>
                    <a:lnTo>
                      <a:pt x="626" y="960"/>
                    </a:lnTo>
                    <a:lnTo>
                      <a:pt x="624" y="958"/>
                    </a:lnTo>
                    <a:lnTo>
                      <a:pt x="618" y="954"/>
                    </a:lnTo>
                    <a:lnTo>
                      <a:pt x="614" y="950"/>
                    </a:lnTo>
                    <a:lnTo>
                      <a:pt x="612" y="948"/>
                    </a:lnTo>
                    <a:lnTo>
                      <a:pt x="614" y="948"/>
                    </a:lnTo>
                    <a:lnTo>
                      <a:pt x="614" y="948"/>
                    </a:lnTo>
                    <a:lnTo>
                      <a:pt x="614" y="946"/>
                    </a:lnTo>
                    <a:lnTo>
                      <a:pt x="618" y="942"/>
                    </a:lnTo>
                    <a:lnTo>
                      <a:pt x="618" y="942"/>
                    </a:lnTo>
                    <a:lnTo>
                      <a:pt x="618" y="942"/>
                    </a:lnTo>
                    <a:lnTo>
                      <a:pt x="620" y="938"/>
                    </a:lnTo>
                    <a:lnTo>
                      <a:pt x="620" y="938"/>
                    </a:lnTo>
                    <a:lnTo>
                      <a:pt x="622" y="936"/>
                    </a:lnTo>
                    <a:lnTo>
                      <a:pt x="622" y="934"/>
                    </a:lnTo>
                    <a:lnTo>
                      <a:pt x="622" y="934"/>
                    </a:lnTo>
                    <a:lnTo>
                      <a:pt x="622" y="934"/>
                    </a:lnTo>
                    <a:lnTo>
                      <a:pt x="622" y="932"/>
                    </a:lnTo>
                    <a:lnTo>
                      <a:pt x="624" y="928"/>
                    </a:lnTo>
                    <a:lnTo>
                      <a:pt x="626" y="924"/>
                    </a:lnTo>
                    <a:lnTo>
                      <a:pt x="628" y="920"/>
                    </a:lnTo>
                    <a:lnTo>
                      <a:pt x="628" y="918"/>
                    </a:lnTo>
                    <a:lnTo>
                      <a:pt x="628" y="914"/>
                    </a:lnTo>
                    <a:lnTo>
                      <a:pt x="628" y="910"/>
                    </a:lnTo>
                    <a:lnTo>
                      <a:pt x="628" y="906"/>
                    </a:lnTo>
                    <a:lnTo>
                      <a:pt x="628" y="902"/>
                    </a:lnTo>
                    <a:lnTo>
                      <a:pt x="630" y="902"/>
                    </a:lnTo>
                    <a:lnTo>
                      <a:pt x="630" y="900"/>
                    </a:lnTo>
                    <a:lnTo>
                      <a:pt x="632" y="900"/>
                    </a:lnTo>
                    <a:lnTo>
                      <a:pt x="634" y="898"/>
                    </a:lnTo>
                    <a:lnTo>
                      <a:pt x="638" y="898"/>
                    </a:lnTo>
                    <a:lnTo>
                      <a:pt x="642" y="898"/>
                    </a:lnTo>
                    <a:lnTo>
                      <a:pt x="646" y="898"/>
                    </a:lnTo>
                    <a:lnTo>
                      <a:pt x="652" y="898"/>
                    </a:lnTo>
                    <a:lnTo>
                      <a:pt x="658" y="896"/>
                    </a:lnTo>
                    <a:lnTo>
                      <a:pt x="660" y="896"/>
                    </a:lnTo>
                    <a:lnTo>
                      <a:pt x="664" y="896"/>
                    </a:lnTo>
                    <a:lnTo>
                      <a:pt x="668" y="894"/>
                    </a:lnTo>
                    <a:lnTo>
                      <a:pt x="672" y="894"/>
                    </a:lnTo>
                    <a:lnTo>
                      <a:pt x="678" y="894"/>
                    </a:lnTo>
                    <a:lnTo>
                      <a:pt x="678" y="894"/>
                    </a:lnTo>
                    <a:lnTo>
                      <a:pt x="678" y="894"/>
                    </a:lnTo>
                    <a:lnTo>
                      <a:pt x="680" y="892"/>
                    </a:lnTo>
                    <a:lnTo>
                      <a:pt x="680" y="892"/>
                    </a:lnTo>
                    <a:lnTo>
                      <a:pt x="682" y="892"/>
                    </a:lnTo>
                    <a:lnTo>
                      <a:pt x="682" y="892"/>
                    </a:lnTo>
                    <a:lnTo>
                      <a:pt x="682" y="892"/>
                    </a:lnTo>
                    <a:lnTo>
                      <a:pt x="684" y="890"/>
                    </a:lnTo>
                    <a:lnTo>
                      <a:pt x="684" y="890"/>
                    </a:lnTo>
                    <a:lnTo>
                      <a:pt x="686" y="888"/>
                    </a:lnTo>
                    <a:lnTo>
                      <a:pt x="688" y="886"/>
                    </a:lnTo>
                    <a:lnTo>
                      <a:pt x="688" y="886"/>
                    </a:lnTo>
                    <a:lnTo>
                      <a:pt x="690" y="886"/>
                    </a:lnTo>
                    <a:lnTo>
                      <a:pt x="690" y="886"/>
                    </a:lnTo>
                    <a:lnTo>
                      <a:pt x="692" y="884"/>
                    </a:lnTo>
                    <a:lnTo>
                      <a:pt x="696" y="884"/>
                    </a:lnTo>
                    <a:lnTo>
                      <a:pt x="698" y="884"/>
                    </a:lnTo>
                    <a:lnTo>
                      <a:pt x="702" y="882"/>
                    </a:lnTo>
                    <a:lnTo>
                      <a:pt x="706" y="882"/>
                    </a:lnTo>
                    <a:lnTo>
                      <a:pt x="712" y="880"/>
                    </a:lnTo>
                    <a:lnTo>
                      <a:pt x="718" y="878"/>
                    </a:lnTo>
                    <a:lnTo>
                      <a:pt x="720" y="880"/>
                    </a:lnTo>
                    <a:lnTo>
                      <a:pt x="722" y="878"/>
                    </a:lnTo>
                    <a:lnTo>
                      <a:pt x="724" y="876"/>
                    </a:lnTo>
                    <a:lnTo>
                      <a:pt x="730" y="874"/>
                    </a:lnTo>
                    <a:lnTo>
                      <a:pt x="734" y="874"/>
                    </a:lnTo>
                    <a:lnTo>
                      <a:pt x="738" y="872"/>
                    </a:lnTo>
                    <a:lnTo>
                      <a:pt x="742" y="870"/>
                    </a:lnTo>
                    <a:lnTo>
                      <a:pt x="744" y="870"/>
                    </a:lnTo>
                    <a:lnTo>
                      <a:pt x="748" y="868"/>
                    </a:lnTo>
                    <a:lnTo>
                      <a:pt x="748" y="868"/>
                    </a:lnTo>
                    <a:lnTo>
                      <a:pt x="750" y="872"/>
                    </a:lnTo>
                    <a:lnTo>
                      <a:pt x="754" y="876"/>
                    </a:lnTo>
                    <a:lnTo>
                      <a:pt x="758" y="880"/>
                    </a:lnTo>
                    <a:lnTo>
                      <a:pt x="762" y="884"/>
                    </a:lnTo>
                    <a:lnTo>
                      <a:pt x="764" y="888"/>
                    </a:lnTo>
                    <a:lnTo>
                      <a:pt x="766" y="890"/>
                    </a:lnTo>
                    <a:lnTo>
                      <a:pt x="766" y="890"/>
                    </a:lnTo>
                    <a:lnTo>
                      <a:pt x="766" y="890"/>
                    </a:lnTo>
                    <a:lnTo>
                      <a:pt x="768" y="890"/>
                    </a:lnTo>
                    <a:lnTo>
                      <a:pt x="768" y="890"/>
                    </a:lnTo>
                    <a:lnTo>
                      <a:pt x="768" y="890"/>
                    </a:lnTo>
                    <a:lnTo>
                      <a:pt x="770" y="890"/>
                    </a:lnTo>
                    <a:lnTo>
                      <a:pt x="770" y="890"/>
                    </a:lnTo>
                    <a:lnTo>
                      <a:pt x="772" y="892"/>
                    </a:lnTo>
                    <a:lnTo>
                      <a:pt x="772" y="892"/>
                    </a:lnTo>
                    <a:lnTo>
                      <a:pt x="772" y="890"/>
                    </a:lnTo>
                    <a:lnTo>
                      <a:pt x="774" y="890"/>
                    </a:lnTo>
                    <a:lnTo>
                      <a:pt x="774" y="890"/>
                    </a:lnTo>
                    <a:lnTo>
                      <a:pt x="776" y="890"/>
                    </a:lnTo>
                    <a:lnTo>
                      <a:pt x="778" y="888"/>
                    </a:lnTo>
                    <a:lnTo>
                      <a:pt x="780" y="886"/>
                    </a:lnTo>
                    <a:lnTo>
                      <a:pt x="782" y="884"/>
                    </a:lnTo>
                    <a:lnTo>
                      <a:pt x="782" y="884"/>
                    </a:lnTo>
                    <a:lnTo>
                      <a:pt x="784" y="884"/>
                    </a:lnTo>
                    <a:lnTo>
                      <a:pt x="784" y="882"/>
                    </a:lnTo>
                    <a:lnTo>
                      <a:pt x="788" y="882"/>
                    </a:lnTo>
                    <a:lnTo>
                      <a:pt x="790" y="884"/>
                    </a:lnTo>
                    <a:lnTo>
                      <a:pt x="794" y="886"/>
                    </a:lnTo>
                    <a:lnTo>
                      <a:pt x="800" y="888"/>
                    </a:lnTo>
                    <a:lnTo>
                      <a:pt x="806" y="890"/>
                    </a:lnTo>
                    <a:lnTo>
                      <a:pt x="810" y="892"/>
                    </a:lnTo>
                    <a:lnTo>
                      <a:pt x="816" y="896"/>
                    </a:lnTo>
                    <a:lnTo>
                      <a:pt x="818" y="898"/>
                    </a:lnTo>
                    <a:lnTo>
                      <a:pt x="822" y="900"/>
                    </a:lnTo>
                    <a:lnTo>
                      <a:pt x="822" y="902"/>
                    </a:lnTo>
                    <a:lnTo>
                      <a:pt x="824" y="902"/>
                    </a:lnTo>
                    <a:lnTo>
                      <a:pt x="824" y="904"/>
                    </a:lnTo>
                    <a:lnTo>
                      <a:pt x="822" y="904"/>
                    </a:lnTo>
                    <a:lnTo>
                      <a:pt x="822" y="906"/>
                    </a:lnTo>
                    <a:lnTo>
                      <a:pt x="822" y="908"/>
                    </a:lnTo>
                    <a:lnTo>
                      <a:pt x="822" y="908"/>
                    </a:lnTo>
                    <a:lnTo>
                      <a:pt x="822" y="908"/>
                    </a:lnTo>
                    <a:lnTo>
                      <a:pt x="822" y="910"/>
                    </a:lnTo>
                    <a:lnTo>
                      <a:pt x="822" y="910"/>
                    </a:lnTo>
                    <a:lnTo>
                      <a:pt x="824" y="912"/>
                    </a:lnTo>
                    <a:lnTo>
                      <a:pt x="824" y="912"/>
                    </a:lnTo>
                    <a:lnTo>
                      <a:pt x="824" y="912"/>
                    </a:lnTo>
                    <a:lnTo>
                      <a:pt x="826" y="912"/>
                    </a:lnTo>
                    <a:lnTo>
                      <a:pt x="828" y="912"/>
                    </a:lnTo>
                    <a:lnTo>
                      <a:pt x="828" y="912"/>
                    </a:lnTo>
                    <a:lnTo>
                      <a:pt x="828" y="912"/>
                    </a:lnTo>
                    <a:lnTo>
                      <a:pt x="830" y="912"/>
                    </a:lnTo>
                    <a:lnTo>
                      <a:pt x="832" y="910"/>
                    </a:lnTo>
                    <a:lnTo>
                      <a:pt x="834" y="908"/>
                    </a:lnTo>
                    <a:lnTo>
                      <a:pt x="838" y="906"/>
                    </a:lnTo>
                    <a:lnTo>
                      <a:pt x="844" y="902"/>
                    </a:lnTo>
                    <a:lnTo>
                      <a:pt x="846" y="900"/>
                    </a:lnTo>
                    <a:lnTo>
                      <a:pt x="850" y="898"/>
                    </a:lnTo>
                    <a:lnTo>
                      <a:pt x="856" y="894"/>
                    </a:lnTo>
                    <a:lnTo>
                      <a:pt x="858" y="894"/>
                    </a:lnTo>
                    <a:lnTo>
                      <a:pt x="862" y="892"/>
                    </a:lnTo>
                    <a:lnTo>
                      <a:pt x="864" y="892"/>
                    </a:lnTo>
                    <a:lnTo>
                      <a:pt x="864" y="892"/>
                    </a:lnTo>
                    <a:lnTo>
                      <a:pt x="866" y="892"/>
                    </a:lnTo>
                    <a:lnTo>
                      <a:pt x="866" y="892"/>
                    </a:lnTo>
                    <a:lnTo>
                      <a:pt x="866" y="894"/>
                    </a:lnTo>
                    <a:lnTo>
                      <a:pt x="866" y="896"/>
                    </a:lnTo>
                    <a:lnTo>
                      <a:pt x="866" y="902"/>
                    </a:lnTo>
                    <a:lnTo>
                      <a:pt x="866" y="902"/>
                    </a:lnTo>
                    <a:lnTo>
                      <a:pt x="866" y="902"/>
                    </a:lnTo>
                    <a:lnTo>
                      <a:pt x="868" y="906"/>
                    </a:lnTo>
                    <a:lnTo>
                      <a:pt x="868" y="906"/>
                    </a:lnTo>
                    <a:lnTo>
                      <a:pt x="868" y="906"/>
                    </a:lnTo>
                    <a:lnTo>
                      <a:pt x="870" y="908"/>
                    </a:lnTo>
                    <a:lnTo>
                      <a:pt x="870" y="908"/>
                    </a:lnTo>
                    <a:lnTo>
                      <a:pt x="870" y="908"/>
                    </a:lnTo>
                    <a:lnTo>
                      <a:pt x="872" y="910"/>
                    </a:lnTo>
                    <a:lnTo>
                      <a:pt x="872" y="910"/>
                    </a:lnTo>
                    <a:lnTo>
                      <a:pt x="872" y="910"/>
                    </a:lnTo>
                    <a:lnTo>
                      <a:pt x="874" y="912"/>
                    </a:lnTo>
                    <a:lnTo>
                      <a:pt x="880" y="916"/>
                    </a:lnTo>
                    <a:lnTo>
                      <a:pt x="886" y="918"/>
                    </a:lnTo>
                    <a:lnTo>
                      <a:pt x="888" y="920"/>
                    </a:lnTo>
                    <a:lnTo>
                      <a:pt x="890" y="922"/>
                    </a:lnTo>
                    <a:lnTo>
                      <a:pt x="890" y="922"/>
                    </a:lnTo>
                    <a:lnTo>
                      <a:pt x="894" y="928"/>
                    </a:lnTo>
                    <a:lnTo>
                      <a:pt x="898" y="932"/>
                    </a:lnTo>
                    <a:lnTo>
                      <a:pt x="900" y="938"/>
                    </a:lnTo>
                    <a:lnTo>
                      <a:pt x="902" y="942"/>
                    </a:lnTo>
                    <a:lnTo>
                      <a:pt x="904" y="944"/>
                    </a:lnTo>
                    <a:lnTo>
                      <a:pt x="904" y="948"/>
                    </a:lnTo>
                    <a:lnTo>
                      <a:pt x="904" y="954"/>
                    </a:lnTo>
                    <a:lnTo>
                      <a:pt x="906" y="958"/>
                    </a:lnTo>
                    <a:lnTo>
                      <a:pt x="906" y="960"/>
                    </a:lnTo>
                    <a:lnTo>
                      <a:pt x="906" y="964"/>
                    </a:lnTo>
                    <a:lnTo>
                      <a:pt x="906" y="968"/>
                    </a:lnTo>
                    <a:lnTo>
                      <a:pt x="908" y="970"/>
                    </a:lnTo>
                    <a:lnTo>
                      <a:pt x="908" y="970"/>
                    </a:lnTo>
                    <a:lnTo>
                      <a:pt x="908" y="970"/>
                    </a:lnTo>
                    <a:lnTo>
                      <a:pt x="910" y="972"/>
                    </a:lnTo>
                    <a:lnTo>
                      <a:pt x="910" y="972"/>
                    </a:lnTo>
                    <a:lnTo>
                      <a:pt x="910" y="974"/>
                    </a:lnTo>
                    <a:lnTo>
                      <a:pt x="912" y="976"/>
                    </a:lnTo>
                    <a:lnTo>
                      <a:pt x="912" y="976"/>
                    </a:lnTo>
                    <a:lnTo>
                      <a:pt x="914" y="976"/>
                    </a:lnTo>
                    <a:lnTo>
                      <a:pt x="914" y="976"/>
                    </a:lnTo>
                    <a:lnTo>
                      <a:pt x="914" y="976"/>
                    </a:lnTo>
                    <a:lnTo>
                      <a:pt x="916" y="976"/>
                    </a:lnTo>
                    <a:lnTo>
                      <a:pt x="918" y="974"/>
                    </a:lnTo>
                    <a:lnTo>
                      <a:pt x="920" y="974"/>
                    </a:lnTo>
                    <a:lnTo>
                      <a:pt x="922" y="972"/>
                    </a:lnTo>
                    <a:lnTo>
                      <a:pt x="924" y="970"/>
                    </a:lnTo>
                    <a:lnTo>
                      <a:pt x="926" y="970"/>
                    </a:lnTo>
                    <a:lnTo>
                      <a:pt x="926" y="970"/>
                    </a:lnTo>
                    <a:lnTo>
                      <a:pt x="928" y="970"/>
                    </a:lnTo>
                    <a:lnTo>
                      <a:pt x="930" y="970"/>
                    </a:lnTo>
                    <a:lnTo>
                      <a:pt x="932" y="970"/>
                    </a:lnTo>
                    <a:lnTo>
                      <a:pt x="934" y="970"/>
                    </a:lnTo>
                    <a:lnTo>
                      <a:pt x="938" y="974"/>
                    </a:lnTo>
                    <a:lnTo>
                      <a:pt x="942" y="976"/>
                    </a:lnTo>
                    <a:lnTo>
                      <a:pt x="942" y="976"/>
                    </a:lnTo>
                    <a:lnTo>
                      <a:pt x="942" y="976"/>
                    </a:lnTo>
                    <a:lnTo>
                      <a:pt x="944" y="978"/>
                    </a:lnTo>
                    <a:lnTo>
                      <a:pt x="944" y="978"/>
                    </a:lnTo>
                    <a:lnTo>
                      <a:pt x="946" y="978"/>
                    </a:lnTo>
                    <a:lnTo>
                      <a:pt x="948" y="978"/>
                    </a:lnTo>
                    <a:lnTo>
                      <a:pt x="948" y="978"/>
                    </a:lnTo>
                    <a:lnTo>
                      <a:pt x="948" y="978"/>
                    </a:lnTo>
                    <a:lnTo>
                      <a:pt x="952" y="978"/>
                    </a:lnTo>
                    <a:lnTo>
                      <a:pt x="952" y="978"/>
                    </a:lnTo>
                    <a:lnTo>
                      <a:pt x="956" y="978"/>
                    </a:lnTo>
                    <a:lnTo>
                      <a:pt x="958" y="976"/>
                    </a:lnTo>
                    <a:lnTo>
                      <a:pt x="962" y="976"/>
                    </a:lnTo>
                    <a:lnTo>
                      <a:pt x="964" y="974"/>
                    </a:lnTo>
                    <a:lnTo>
                      <a:pt x="966" y="974"/>
                    </a:lnTo>
                    <a:lnTo>
                      <a:pt x="970" y="974"/>
                    </a:lnTo>
                    <a:lnTo>
                      <a:pt x="972" y="974"/>
                    </a:lnTo>
                    <a:lnTo>
                      <a:pt x="974" y="976"/>
                    </a:lnTo>
                    <a:lnTo>
                      <a:pt x="976" y="978"/>
                    </a:lnTo>
                    <a:lnTo>
                      <a:pt x="980" y="982"/>
                    </a:lnTo>
                    <a:lnTo>
                      <a:pt x="982" y="986"/>
                    </a:lnTo>
                    <a:lnTo>
                      <a:pt x="986" y="990"/>
                    </a:lnTo>
                    <a:lnTo>
                      <a:pt x="990" y="994"/>
                    </a:lnTo>
                    <a:lnTo>
                      <a:pt x="992" y="996"/>
                    </a:lnTo>
                    <a:lnTo>
                      <a:pt x="996" y="998"/>
                    </a:lnTo>
                    <a:lnTo>
                      <a:pt x="998" y="1000"/>
                    </a:lnTo>
                    <a:lnTo>
                      <a:pt x="1000" y="1002"/>
                    </a:lnTo>
                    <a:lnTo>
                      <a:pt x="1002" y="1002"/>
                    </a:lnTo>
                    <a:lnTo>
                      <a:pt x="1002" y="1002"/>
                    </a:lnTo>
                    <a:lnTo>
                      <a:pt x="1002" y="1002"/>
                    </a:lnTo>
                    <a:lnTo>
                      <a:pt x="1004" y="1004"/>
                    </a:lnTo>
                    <a:lnTo>
                      <a:pt x="1006" y="1004"/>
                    </a:lnTo>
                    <a:lnTo>
                      <a:pt x="1008" y="1004"/>
                    </a:lnTo>
                    <a:lnTo>
                      <a:pt x="1012" y="1004"/>
                    </a:lnTo>
                    <a:lnTo>
                      <a:pt x="1014" y="1004"/>
                    </a:lnTo>
                    <a:lnTo>
                      <a:pt x="1018" y="1004"/>
                    </a:lnTo>
                    <a:lnTo>
                      <a:pt x="1024" y="1006"/>
                    </a:lnTo>
                    <a:lnTo>
                      <a:pt x="1028" y="1006"/>
                    </a:lnTo>
                    <a:lnTo>
                      <a:pt x="1034" y="1008"/>
                    </a:lnTo>
                    <a:lnTo>
                      <a:pt x="1040" y="1008"/>
                    </a:lnTo>
                    <a:lnTo>
                      <a:pt x="1044" y="1008"/>
                    </a:lnTo>
                    <a:lnTo>
                      <a:pt x="1050" y="1008"/>
                    </a:lnTo>
                    <a:lnTo>
                      <a:pt x="1050" y="1008"/>
                    </a:lnTo>
                    <a:lnTo>
                      <a:pt x="1052" y="1008"/>
                    </a:lnTo>
                    <a:lnTo>
                      <a:pt x="1052" y="1008"/>
                    </a:lnTo>
                    <a:lnTo>
                      <a:pt x="1052" y="1008"/>
                    </a:lnTo>
                    <a:lnTo>
                      <a:pt x="1054" y="1008"/>
                    </a:lnTo>
                    <a:lnTo>
                      <a:pt x="1054" y="1008"/>
                    </a:lnTo>
                    <a:lnTo>
                      <a:pt x="1054" y="1008"/>
                    </a:lnTo>
                    <a:lnTo>
                      <a:pt x="1054" y="1006"/>
                    </a:lnTo>
                    <a:lnTo>
                      <a:pt x="1054" y="1006"/>
                    </a:lnTo>
                    <a:lnTo>
                      <a:pt x="1056" y="1004"/>
                    </a:lnTo>
                    <a:lnTo>
                      <a:pt x="1056" y="1004"/>
                    </a:lnTo>
                    <a:lnTo>
                      <a:pt x="1056" y="1004"/>
                    </a:lnTo>
                    <a:lnTo>
                      <a:pt x="1054" y="1002"/>
                    </a:lnTo>
                    <a:lnTo>
                      <a:pt x="1054" y="1000"/>
                    </a:lnTo>
                    <a:lnTo>
                      <a:pt x="1052" y="998"/>
                    </a:lnTo>
                    <a:lnTo>
                      <a:pt x="1052" y="998"/>
                    </a:lnTo>
                    <a:lnTo>
                      <a:pt x="1052" y="998"/>
                    </a:lnTo>
                    <a:lnTo>
                      <a:pt x="1054" y="998"/>
                    </a:lnTo>
                    <a:lnTo>
                      <a:pt x="1058" y="998"/>
                    </a:lnTo>
                    <a:lnTo>
                      <a:pt x="1058" y="998"/>
                    </a:lnTo>
                    <a:lnTo>
                      <a:pt x="1060" y="998"/>
                    </a:lnTo>
                    <a:lnTo>
                      <a:pt x="1062" y="998"/>
                    </a:lnTo>
                    <a:lnTo>
                      <a:pt x="1064" y="998"/>
                    </a:lnTo>
                    <a:lnTo>
                      <a:pt x="1064" y="998"/>
                    </a:lnTo>
                    <a:lnTo>
                      <a:pt x="1064" y="998"/>
                    </a:lnTo>
                    <a:lnTo>
                      <a:pt x="1068" y="998"/>
                    </a:lnTo>
                    <a:lnTo>
                      <a:pt x="1068" y="998"/>
                    </a:lnTo>
                    <a:lnTo>
                      <a:pt x="1068" y="996"/>
                    </a:lnTo>
                    <a:lnTo>
                      <a:pt x="1070" y="996"/>
                    </a:lnTo>
                    <a:lnTo>
                      <a:pt x="1074" y="992"/>
                    </a:lnTo>
                    <a:lnTo>
                      <a:pt x="1076" y="990"/>
                    </a:lnTo>
                    <a:lnTo>
                      <a:pt x="1082" y="986"/>
                    </a:lnTo>
                    <a:lnTo>
                      <a:pt x="1084" y="984"/>
                    </a:lnTo>
                    <a:lnTo>
                      <a:pt x="1086" y="984"/>
                    </a:lnTo>
                    <a:lnTo>
                      <a:pt x="1092" y="982"/>
                    </a:lnTo>
                    <a:lnTo>
                      <a:pt x="1096" y="980"/>
                    </a:lnTo>
                    <a:lnTo>
                      <a:pt x="1102" y="978"/>
                    </a:lnTo>
                    <a:lnTo>
                      <a:pt x="1100" y="978"/>
                    </a:lnTo>
                    <a:lnTo>
                      <a:pt x="1102" y="978"/>
                    </a:lnTo>
                    <a:lnTo>
                      <a:pt x="1106" y="978"/>
                    </a:lnTo>
                    <a:lnTo>
                      <a:pt x="1108" y="978"/>
                    </a:lnTo>
                    <a:lnTo>
                      <a:pt x="1110" y="980"/>
                    </a:lnTo>
                    <a:lnTo>
                      <a:pt x="1118" y="982"/>
                    </a:lnTo>
                    <a:lnTo>
                      <a:pt x="1124" y="984"/>
                    </a:lnTo>
                    <a:lnTo>
                      <a:pt x="1128" y="986"/>
                    </a:lnTo>
                    <a:lnTo>
                      <a:pt x="1130" y="986"/>
                    </a:lnTo>
                    <a:lnTo>
                      <a:pt x="1132" y="988"/>
                    </a:lnTo>
                    <a:lnTo>
                      <a:pt x="1134" y="990"/>
                    </a:lnTo>
                    <a:lnTo>
                      <a:pt x="1138" y="994"/>
                    </a:lnTo>
                    <a:lnTo>
                      <a:pt x="1140" y="996"/>
                    </a:lnTo>
                    <a:lnTo>
                      <a:pt x="1142" y="998"/>
                    </a:lnTo>
                    <a:lnTo>
                      <a:pt x="1142" y="998"/>
                    </a:lnTo>
                    <a:lnTo>
                      <a:pt x="1142" y="998"/>
                    </a:lnTo>
                    <a:lnTo>
                      <a:pt x="1146" y="1000"/>
                    </a:lnTo>
                    <a:lnTo>
                      <a:pt x="1146" y="1000"/>
                    </a:lnTo>
                    <a:lnTo>
                      <a:pt x="1146" y="1000"/>
                    </a:lnTo>
                    <a:lnTo>
                      <a:pt x="1150" y="1002"/>
                    </a:lnTo>
                    <a:lnTo>
                      <a:pt x="1152" y="1002"/>
                    </a:lnTo>
                    <a:lnTo>
                      <a:pt x="1158" y="1002"/>
                    </a:lnTo>
                    <a:lnTo>
                      <a:pt x="1162" y="1004"/>
                    </a:lnTo>
                    <a:lnTo>
                      <a:pt x="1168" y="1004"/>
                    </a:lnTo>
                    <a:lnTo>
                      <a:pt x="1174" y="1002"/>
                    </a:lnTo>
                    <a:lnTo>
                      <a:pt x="1178" y="1002"/>
                    </a:lnTo>
                    <a:lnTo>
                      <a:pt x="1178" y="1002"/>
                    </a:lnTo>
                    <a:lnTo>
                      <a:pt x="1178" y="1002"/>
                    </a:lnTo>
                    <a:lnTo>
                      <a:pt x="1184" y="1000"/>
                    </a:lnTo>
                    <a:lnTo>
                      <a:pt x="1184" y="1000"/>
                    </a:lnTo>
                    <a:lnTo>
                      <a:pt x="1184" y="1000"/>
                    </a:lnTo>
                    <a:lnTo>
                      <a:pt x="1188" y="998"/>
                    </a:lnTo>
                    <a:lnTo>
                      <a:pt x="1188" y="998"/>
                    </a:lnTo>
                    <a:lnTo>
                      <a:pt x="1188" y="998"/>
                    </a:lnTo>
                    <a:lnTo>
                      <a:pt x="1190" y="996"/>
                    </a:lnTo>
                    <a:lnTo>
                      <a:pt x="1190" y="996"/>
                    </a:lnTo>
                    <a:lnTo>
                      <a:pt x="1190" y="996"/>
                    </a:lnTo>
                    <a:lnTo>
                      <a:pt x="1190" y="994"/>
                    </a:lnTo>
                    <a:lnTo>
                      <a:pt x="1190" y="994"/>
                    </a:lnTo>
                    <a:lnTo>
                      <a:pt x="1190" y="992"/>
                    </a:lnTo>
                    <a:lnTo>
                      <a:pt x="1192" y="990"/>
                    </a:lnTo>
                    <a:lnTo>
                      <a:pt x="1192" y="988"/>
                    </a:lnTo>
                    <a:lnTo>
                      <a:pt x="1192" y="982"/>
                    </a:lnTo>
                    <a:lnTo>
                      <a:pt x="1192" y="974"/>
                    </a:lnTo>
                    <a:lnTo>
                      <a:pt x="1194" y="968"/>
                    </a:lnTo>
                    <a:lnTo>
                      <a:pt x="1194" y="962"/>
                    </a:lnTo>
                    <a:lnTo>
                      <a:pt x="1194" y="960"/>
                    </a:lnTo>
                    <a:lnTo>
                      <a:pt x="1194" y="958"/>
                    </a:lnTo>
                    <a:lnTo>
                      <a:pt x="1196" y="956"/>
                    </a:lnTo>
                    <a:lnTo>
                      <a:pt x="1196" y="956"/>
                    </a:lnTo>
                    <a:lnTo>
                      <a:pt x="1200" y="954"/>
                    </a:lnTo>
                    <a:lnTo>
                      <a:pt x="1202" y="954"/>
                    </a:lnTo>
                    <a:lnTo>
                      <a:pt x="1208" y="954"/>
                    </a:lnTo>
                    <a:lnTo>
                      <a:pt x="1212" y="954"/>
                    </a:lnTo>
                    <a:lnTo>
                      <a:pt x="1218" y="954"/>
                    </a:lnTo>
                    <a:lnTo>
                      <a:pt x="1222" y="956"/>
                    </a:lnTo>
                    <a:lnTo>
                      <a:pt x="1228" y="956"/>
                    </a:lnTo>
                    <a:lnTo>
                      <a:pt x="1230" y="958"/>
                    </a:lnTo>
                    <a:lnTo>
                      <a:pt x="1234" y="958"/>
                    </a:lnTo>
                    <a:lnTo>
                      <a:pt x="1236" y="958"/>
                    </a:lnTo>
                    <a:lnTo>
                      <a:pt x="1242" y="960"/>
                    </a:lnTo>
                    <a:lnTo>
                      <a:pt x="1242" y="960"/>
                    </a:lnTo>
                    <a:lnTo>
                      <a:pt x="1246" y="962"/>
                    </a:lnTo>
                    <a:lnTo>
                      <a:pt x="1248" y="966"/>
                    </a:lnTo>
                    <a:lnTo>
                      <a:pt x="1250" y="968"/>
                    </a:lnTo>
                    <a:lnTo>
                      <a:pt x="1250" y="970"/>
                    </a:lnTo>
                    <a:lnTo>
                      <a:pt x="1252" y="972"/>
                    </a:lnTo>
                    <a:lnTo>
                      <a:pt x="1254" y="976"/>
                    </a:lnTo>
                    <a:lnTo>
                      <a:pt x="1254" y="980"/>
                    </a:lnTo>
                    <a:lnTo>
                      <a:pt x="1254" y="980"/>
                    </a:lnTo>
                    <a:lnTo>
                      <a:pt x="1256" y="980"/>
                    </a:lnTo>
                    <a:lnTo>
                      <a:pt x="1258" y="984"/>
                    </a:lnTo>
                    <a:lnTo>
                      <a:pt x="1258" y="984"/>
                    </a:lnTo>
                    <a:lnTo>
                      <a:pt x="1258" y="984"/>
                    </a:lnTo>
                    <a:lnTo>
                      <a:pt x="1260" y="986"/>
                    </a:lnTo>
                    <a:lnTo>
                      <a:pt x="1260" y="986"/>
                    </a:lnTo>
                    <a:lnTo>
                      <a:pt x="1260" y="988"/>
                    </a:lnTo>
                    <a:lnTo>
                      <a:pt x="1264" y="990"/>
                    </a:lnTo>
                    <a:lnTo>
                      <a:pt x="1264" y="990"/>
                    </a:lnTo>
                    <a:lnTo>
                      <a:pt x="1266" y="990"/>
                    </a:lnTo>
                    <a:lnTo>
                      <a:pt x="1270" y="990"/>
                    </a:lnTo>
                    <a:lnTo>
                      <a:pt x="1270" y="990"/>
                    </a:lnTo>
                    <a:lnTo>
                      <a:pt x="1270" y="990"/>
                    </a:lnTo>
                    <a:lnTo>
                      <a:pt x="1276" y="990"/>
                    </a:lnTo>
                    <a:lnTo>
                      <a:pt x="1284" y="990"/>
                    </a:lnTo>
                    <a:lnTo>
                      <a:pt x="1290" y="990"/>
                    </a:lnTo>
                    <a:lnTo>
                      <a:pt x="1298" y="988"/>
                    </a:lnTo>
                    <a:lnTo>
                      <a:pt x="1304" y="988"/>
                    </a:lnTo>
                    <a:lnTo>
                      <a:pt x="1310" y="988"/>
                    </a:lnTo>
                    <a:lnTo>
                      <a:pt x="1310" y="988"/>
                    </a:lnTo>
                    <a:lnTo>
                      <a:pt x="1316" y="990"/>
                    </a:lnTo>
                    <a:lnTo>
                      <a:pt x="1320" y="992"/>
                    </a:lnTo>
                    <a:lnTo>
                      <a:pt x="1322" y="994"/>
                    </a:lnTo>
                    <a:lnTo>
                      <a:pt x="1324" y="996"/>
                    </a:lnTo>
                    <a:lnTo>
                      <a:pt x="1328" y="1000"/>
                    </a:lnTo>
                    <a:lnTo>
                      <a:pt x="1330" y="1004"/>
                    </a:lnTo>
                    <a:lnTo>
                      <a:pt x="1332" y="1008"/>
                    </a:lnTo>
                    <a:lnTo>
                      <a:pt x="1332" y="1008"/>
                    </a:lnTo>
                    <a:lnTo>
                      <a:pt x="1332" y="1008"/>
                    </a:lnTo>
                    <a:lnTo>
                      <a:pt x="1336" y="1010"/>
                    </a:lnTo>
                    <a:lnTo>
                      <a:pt x="1336" y="1010"/>
                    </a:lnTo>
                    <a:lnTo>
                      <a:pt x="1336" y="1012"/>
                    </a:lnTo>
                    <a:lnTo>
                      <a:pt x="1340" y="1014"/>
                    </a:lnTo>
                    <a:lnTo>
                      <a:pt x="1340" y="1014"/>
                    </a:lnTo>
                    <a:lnTo>
                      <a:pt x="1340" y="1014"/>
                    </a:lnTo>
                    <a:lnTo>
                      <a:pt x="1346" y="1014"/>
                    </a:lnTo>
                    <a:lnTo>
                      <a:pt x="1352" y="1016"/>
                    </a:lnTo>
                    <a:lnTo>
                      <a:pt x="1358" y="1016"/>
                    </a:lnTo>
                    <a:lnTo>
                      <a:pt x="1364" y="1016"/>
                    </a:lnTo>
                    <a:lnTo>
                      <a:pt x="1378" y="1016"/>
                    </a:lnTo>
                    <a:lnTo>
                      <a:pt x="1384" y="1014"/>
                    </a:lnTo>
                    <a:lnTo>
                      <a:pt x="1390" y="1014"/>
                    </a:lnTo>
                    <a:lnTo>
                      <a:pt x="1398" y="1012"/>
                    </a:lnTo>
                    <a:lnTo>
                      <a:pt x="1404" y="1008"/>
                    </a:lnTo>
                    <a:lnTo>
                      <a:pt x="1412" y="1006"/>
                    </a:lnTo>
                    <a:lnTo>
                      <a:pt x="1418" y="1002"/>
                    </a:lnTo>
                    <a:lnTo>
                      <a:pt x="1426" y="998"/>
                    </a:lnTo>
                    <a:lnTo>
                      <a:pt x="1432" y="996"/>
                    </a:lnTo>
                    <a:lnTo>
                      <a:pt x="1438" y="994"/>
                    </a:lnTo>
                    <a:lnTo>
                      <a:pt x="1442" y="992"/>
                    </a:lnTo>
                    <a:lnTo>
                      <a:pt x="1442" y="992"/>
                    </a:lnTo>
                    <a:lnTo>
                      <a:pt x="1446" y="992"/>
                    </a:lnTo>
                    <a:lnTo>
                      <a:pt x="1448" y="992"/>
                    </a:lnTo>
                    <a:lnTo>
                      <a:pt x="1450" y="992"/>
                    </a:lnTo>
                    <a:lnTo>
                      <a:pt x="1450" y="994"/>
                    </a:lnTo>
                    <a:lnTo>
                      <a:pt x="1452" y="996"/>
                    </a:lnTo>
                    <a:lnTo>
                      <a:pt x="1454" y="996"/>
                    </a:lnTo>
                    <a:lnTo>
                      <a:pt x="1454" y="996"/>
                    </a:lnTo>
                    <a:lnTo>
                      <a:pt x="1454" y="996"/>
                    </a:lnTo>
                    <a:lnTo>
                      <a:pt x="1456" y="998"/>
                    </a:lnTo>
                    <a:lnTo>
                      <a:pt x="1456" y="998"/>
                    </a:lnTo>
                    <a:lnTo>
                      <a:pt x="1458" y="998"/>
                    </a:lnTo>
                    <a:lnTo>
                      <a:pt x="1460" y="998"/>
                    </a:lnTo>
                    <a:lnTo>
                      <a:pt x="1464" y="998"/>
                    </a:lnTo>
                    <a:lnTo>
                      <a:pt x="1468" y="1000"/>
                    </a:lnTo>
                    <a:lnTo>
                      <a:pt x="1478" y="1000"/>
                    </a:lnTo>
                    <a:lnTo>
                      <a:pt x="1488" y="1000"/>
                    </a:lnTo>
                    <a:lnTo>
                      <a:pt x="1492" y="998"/>
                    </a:lnTo>
                    <a:lnTo>
                      <a:pt x="1496" y="998"/>
                    </a:lnTo>
                    <a:lnTo>
                      <a:pt x="1498" y="998"/>
                    </a:lnTo>
                    <a:lnTo>
                      <a:pt x="1500" y="998"/>
                    </a:lnTo>
                    <a:lnTo>
                      <a:pt x="1502" y="996"/>
                    </a:lnTo>
                    <a:lnTo>
                      <a:pt x="1504" y="996"/>
                    </a:lnTo>
                    <a:lnTo>
                      <a:pt x="1504" y="996"/>
                    </a:lnTo>
                    <a:lnTo>
                      <a:pt x="1504" y="996"/>
                    </a:lnTo>
                    <a:lnTo>
                      <a:pt x="1506" y="994"/>
                    </a:lnTo>
                    <a:lnTo>
                      <a:pt x="1506" y="994"/>
                    </a:lnTo>
                    <a:lnTo>
                      <a:pt x="1506" y="994"/>
                    </a:lnTo>
                    <a:lnTo>
                      <a:pt x="1508" y="992"/>
                    </a:lnTo>
                    <a:lnTo>
                      <a:pt x="1510" y="990"/>
                    </a:lnTo>
                    <a:lnTo>
                      <a:pt x="1512" y="988"/>
                    </a:lnTo>
                    <a:lnTo>
                      <a:pt x="1514" y="984"/>
                    </a:lnTo>
                    <a:lnTo>
                      <a:pt x="1516" y="980"/>
                    </a:lnTo>
                    <a:lnTo>
                      <a:pt x="1518" y="974"/>
                    </a:lnTo>
                    <a:lnTo>
                      <a:pt x="1522" y="970"/>
                    </a:lnTo>
                    <a:lnTo>
                      <a:pt x="1524" y="964"/>
                    </a:lnTo>
                    <a:lnTo>
                      <a:pt x="1526" y="958"/>
                    </a:lnTo>
                    <a:lnTo>
                      <a:pt x="1528" y="952"/>
                    </a:lnTo>
                    <a:lnTo>
                      <a:pt x="1530" y="946"/>
                    </a:lnTo>
                    <a:lnTo>
                      <a:pt x="1530" y="946"/>
                    </a:lnTo>
                    <a:lnTo>
                      <a:pt x="1530" y="946"/>
                    </a:lnTo>
                    <a:lnTo>
                      <a:pt x="1530" y="940"/>
                    </a:lnTo>
                    <a:lnTo>
                      <a:pt x="1530" y="940"/>
                    </a:lnTo>
                    <a:lnTo>
                      <a:pt x="1528" y="934"/>
                    </a:lnTo>
                    <a:lnTo>
                      <a:pt x="1528" y="930"/>
                    </a:lnTo>
                    <a:lnTo>
                      <a:pt x="1526" y="924"/>
                    </a:lnTo>
                    <a:lnTo>
                      <a:pt x="1524" y="920"/>
                    </a:lnTo>
                    <a:lnTo>
                      <a:pt x="1522" y="916"/>
                    </a:lnTo>
                    <a:lnTo>
                      <a:pt x="1522" y="916"/>
                    </a:lnTo>
                    <a:lnTo>
                      <a:pt x="1522" y="912"/>
                    </a:lnTo>
                    <a:lnTo>
                      <a:pt x="1522" y="912"/>
                    </a:lnTo>
                    <a:lnTo>
                      <a:pt x="1522" y="912"/>
                    </a:lnTo>
                    <a:lnTo>
                      <a:pt x="1524" y="912"/>
                    </a:lnTo>
                    <a:lnTo>
                      <a:pt x="1526" y="910"/>
                    </a:lnTo>
                    <a:lnTo>
                      <a:pt x="1528" y="908"/>
                    </a:lnTo>
                    <a:lnTo>
                      <a:pt x="1528" y="908"/>
                    </a:lnTo>
                    <a:lnTo>
                      <a:pt x="1532" y="906"/>
                    </a:lnTo>
                    <a:lnTo>
                      <a:pt x="1536" y="904"/>
                    </a:lnTo>
                    <a:lnTo>
                      <a:pt x="1542" y="904"/>
                    </a:lnTo>
                    <a:lnTo>
                      <a:pt x="1548" y="904"/>
                    </a:lnTo>
                    <a:lnTo>
                      <a:pt x="1558" y="902"/>
                    </a:lnTo>
                    <a:lnTo>
                      <a:pt x="1564" y="902"/>
                    </a:lnTo>
                    <a:lnTo>
                      <a:pt x="1570" y="902"/>
                    </a:lnTo>
                    <a:lnTo>
                      <a:pt x="1576" y="902"/>
                    </a:lnTo>
                    <a:lnTo>
                      <a:pt x="1582" y="902"/>
                    </a:lnTo>
                    <a:lnTo>
                      <a:pt x="1588" y="904"/>
                    </a:lnTo>
                    <a:lnTo>
                      <a:pt x="1594" y="904"/>
                    </a:lnTo>
                    <a:lnTo>
                      <a:pt x="1598" y="906"/>
                    </a:lnTo>
                    <a:lnTo>
                      <a:pt x="1602" y="908"/>
                    </a:lnTo>
                    <a:lnTo>
                      <a:pt x="1606" y="910"/>
                    </a:lnTo>
                    <a:lnTo>
                      <a:pt x="1604" y="910"/>
                    </a:lnTo>
                    <a:lnTo>
                      <a:pt x="1608" y="914"/>
                    </a:lnTo>
                    <a:lnTo>
                      <a:pt x="1608" y="918"/>
                    </a:lnTo>
                    <a:lnTo>
                      <a:pt x="1610" y="922"/>
                    </a:lnTo>
                    <a:lnTo>
                      <a:pt x="1610" y="928"/>
                    </a:lnTo>
                    <a:lnTo>
                      <a:pt x="1612" y="932"/>
                    </a:lnTo>
                    <a:lnTo>
                      <a:pt x="1612" y="936"/>
                    </a:lnTo>
                    <a:lnTo>
                      <a:pt x="1614" y="940"/>
                    </a:lnTo>
                    <a:lnTo>
                      <a:pt x="1614" y="940"/>
                    </a:lnTo>
                    <a:lnTo>
                      <a:pt x="1614" y="940"/>
                    </a:lnTo>
                    <a:lnTo>
                      <a:pt x="1616" y="944"/>
                    </a:lnTo>
                    <a:lnTo>
                      <a:pt x="1618" y="946"/>
                    </a:lnTo>
                    <a:lnTo>
                      <a:pt x="1618" y="946"/>
                    </a:lnTo>
                    <a:lnTo>
                      <a:pt x="1618" y="946"/>
                    </a:lnTo>
                    <a:lnTo>
                      <a:pt x="1620" y="950"/>
                    </a:lnTo>
                    <a:lnTo>
                      <a:pt x="1622" y="950"/>
                    </a:lnTo>
                    <a:lnTo>
                      <a:pt x="1624" y="952"/>
                    </a:lnTo>
                    <a:lnTo>
                      <a:pt x="1626" y="954"/>
                    </a:lnTo>
                    <a:lnTo>
                      <a:pt x="1626" y="954"/>
                    </a:lnTo>
                    <a:lnTo>
                      <a:pt x="1626" y="956"/>
                    </a:lnTo>
                    <a:lnTo>
                      <a:pt x="1628" y="958"/>
                    </a:lnTo>
                    <a:lnTo>
                      <a:pt x="1628" y="958"/>
                    </a:lnTo>
                    <a:lnTo>
                      <a:pt x="1630" y="962"/>
                    </a:lnTo>
                    <a:lnTo>
                      <a:pt x="1630" y="966"/>
                    </a:lnTo>
                    <a:lnTo>
                      <a:pt x="1632" y="972"/>
                    </a:lnTo>
                    <a:lnTo>
                      <a:pt x="1632" y="978"/>
                    </a:lnTo>
                    <a:lnTo>
                      <a:pt x="1634" y="984"/>
                    </a:lnTo>
                    <a:lnTo>
                      <a:pt x="1634" y="988"/>
                    </a:lnTo>
                    <a:lnTo>
                      <a:pt x="1636" y="994"/>
                    </a:lnTo>
                    <a:lnTo>
                      <a:pt x="1638" y="996"/>
                    </a:lnTo>
                    <a:lnTo>
                      <a:pt x="1638" y="996"/>
                    </a:lnTo>
                    <a:lnTo>
                      <a:pt x="1638" y="998"/>
                    </a:lnTo>
                    <a:lnTo>
                      <a:pt x="1640" y="1000"/>
                    </a:lnTo>
                    <a:lnTo>
                      <a:pt x="1640" y="1000"/>
                    </a:lnTo>
                    <a:lnTo>
                      <a:pt x="1640" y="1000"/>
                    </a:lnTo>
                    <a:lnTo>
                      <a:pt x="1642" y="1002"/>
                    </a:lnTo>
                    <a:lnTo>
                      <a:pt x="1642" y="1002"/>
                    </a:lnTo>
                    <a:lnTo>
                      <a:pt x="1642" y="1004"/>
                    </a:lnTo>
                    <a:lnTo>
                      <a:pt x="1646" y="1006"/>
                    </a:lnTo>
                    <a:lnTo>
                      <a:pt x="1648" y="1006"/>
                    </a:lnTo>
                    <a:lnTo>
                      <a:pt x="1650" y="1008"/>
                    </a:lnTo>
                    <a:lnTo>
                      <a:pt x="1654" y="1010"/>
                    </a:lnTo>
                    <a:lnTo>
                      <a:pt x="1656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60" y="1010"/>
                    </a:lnTo>
                    <a:lnTo>
                      <a:pt x="1660" y="1010"/>
                    </a:lnTo>
                    <a:lnTo>
                      <a:pt x="1660" y="1010"/>
                    </a:lnTo>
                    <a:lnTo>
                      <a:pt x="1662" y="1008"/>
                    </a:lnTo>
                    <a:lnTo>
                      <a:pt x="1662" y="1010"/>
                    </a:lnTo>
                    <a:lnTo>
                      <a:pt x="1666" y="1012"/>
                    </a:lnTo>
                    <a:lnTo>
                      <a:pt x="1668" y="1014"/>
                    </a:lnTo>
                    <a:lnTo>
                      <a:pt x="1674" y="1018"/>
                    </a:lnTo>
                    <a:lnTo>
                      <a:pt x="1676" y="1022"/>
                    </a:lnTo>
                    <a:lnTo>
                      <a:pt x="1678" y="1024"/>
                    </a:lnTo>
                    <a:lnTo>
                      <a:pt x="1678" y="1024"/>
                    </a:lnTo>
                    <a:lnTo>
                      <a:pt x="1678" y="1026"/>
                    </a:lnTo>
                    <a:lnTo>
                      <a:pt x="1680" y="1030"/>
                    </a:lnTo>
                    <a:lnTo>
                      <a:pt x="1682" y="1036"/>
                    </a:lnTo>
                    <a:lnTo>
                      <a:pt x="1682" y="1040"/>
                    </a:lnTo>
                    <a:lnTo>
                      <a:pt x="1684" y="1044"/>
                    </a:lnTo>
                    <a:lnTo>
                      <a:pt x="1684" y="1046"/>
                    </a:lnTo>
                    <a:lnTo>
                      <a:pt x="1684" y="1046"/>
                    </a:lnTo>
                    <a:lnTo>
                      <a:pt x="1686" y="1046"/>
                    </a:lnTo>
                    <a:lnTo>
                      <a:pt x="1686" y="1048"/>
                    </a:lnTo>
                    <a:lnTo>
                      <a:pt x="1686" y="1048"/>
                    </a:lnTo>
                    <a:lnTo>
                      <a:pt x="1688" y="1048"/>
                    </a:lnTo>
                    <a:lnTo>
                      <a:pt x="1690" y="1050"/>
                    </a:lnTo>
                    <a:lnTo>
                      <a:pt x="1690" y="1050"/>
                    </a:lnTo>
                    <a:lnTo>
                      <a:pt x="1690" y="1050"/>
                    </a:lnTo>
                    <a:lnTo>
                      <a:pt x="1692" y="1050"/>
                    </a:lnTo>
                    <a:lnTo>
                      <a:pt x="1692" y="1050"/>
                    </a:lnTo>
                    <a:lnTo>
                      <a:pt x="1692" y="1050"/>
                    </a:lnTo>
                    <a:lnTo>
                      <a:pt x="1694" y="1050"/>
                    </a:lnTo>
                    <a:lnTo>
                      <a:pt x="1696" y="1050"/>
                    </a:lnTo>
                    <a:lnTo>
                      <a:pt x="1696" y="1050"/>
                    </a:lnTo>
                    <a:lnTo>
                      <a:pt x="1698" y="1050"/>
                    </a:lnTo>
                    <a:lnTo>
                      <a:pt x="1702" y="1048"/>
                    </a:lnTo>
                    <a:lnTo>
                      <a:pt x="1708" y="1046"/>
                    </a:lnTo>
                    <a:lnTo>
                      <a:pt x="1710" y="1044"/>
                    </a:lnTo>
                    <a:lnTo>
                      <a:pt x="1712" y="1044"/>
                    </a:lnTo>
                    <a:lnTo>
                      <a:pt x="1718" y="1040"/>
                    </a:lnTo>
                    <a:lnTo>
                      <a:pt x="1722" y="1036"/>
                    </a:lnTo>
                    <a:lnTo>
                      <a:pt x="1728" y="1032"/>
                    </a:lnTo>
                    <a:lnTo>
                      <a:pt x="1734" y="1028"/>
                    </a:lnTo>
                    <a:lnTo>
                      <a:pt x="1736" y="1026"/>
                    </a:lnTo>
                    <a:lnTo>
                      <a:pt x="1738" y="1026"/>
                    </a:lnTo>
                    <a:lnTo>
                      <a:pt x="1740" y="1024"/>
                    </a:lnTo>
                    <a:lnTo>
                      <a:pt x="1740" y="1026"/>
                    </a:lnTo>
                    <a:lnTo>
                      <a:pt x="1740" y="1028"/>
                    </a:lnTo>
                    <a:lnTo>
                      <a:pt x="1738" y="1032"/>
                    </a:lnTo>
                    <a:lnTo>
                      <a:pt x="1738" y="1036"/>
                    </a:lnTo>
                    <a:lnTo>
                      <a:pt x="1736" y="1040"/>
                    </a:lnTo>
                    <a:lnTo>
                      <a:pt x="1736" y="1044"/>
                    </a:lnTo>
                    <a:lnTo>
                      <a:pt x="1732" y="1056"/>
                    </a:lnTo>
                    <a:lnTo>
                      <a:pt x="1728" y="1066"/>
                    </a:lnTo>
                    <a:lnTo>
                      <a:pt x="1726" y="1070"/>
                    </a:lnTo>
                    <a:lnTo>
                      <a:pt x="1724" y="1076"/>
                    </a:lnTo>
                    <a:lnTo>
                      <a:pt x="1722" y="1080"/>
                    </a:lnTo>
                    <a:lnTo>
                      <a:pt x="1720" y="1084"/>
                    </a:lnTo>
                    <a:lnTo>
                      <a:pt x="1720" y="1088"/>
                    </a:lnTo>
                    <a:lnTo>
                      <a:pt x="1718" y="1090"/>
                    </a:lnTo>
                    <a:lnTo>
                      <a:pt x="1716" y="1092"/>
                    </a:lnTo>
                    <a:lnTo>
                      <a:pt x="1716" y="1092"/>
                    </a:lnTo>
                    <a:lnTo>
                      <a:pt x="1716" y="1092"/>
                    </a:lnTo>
                    <a:lnTo>
                      <a:pt x="1714" y="1092"/>
                    </a:lnTo>
                    <a:lnTo>
                      <a:pt x="1712" y="1094"/>
                    </a:lnTo>
                    <a:lnTo>
                      <a:pt x="1708" y="1092"/>
                    </a:lnTo>
                    <a:lnTo>
                      <a:pt x="1708" y="1092"/>
                    </a:lnTo>
                    <a:lnTo>
                      <a:pt x="1704" y="1092"/>
                    </a:lnTo>
                    <a:lnTo>
                      <a:pt x="1700" y="1090"/>
                    </a:lnTo>
                    <a:lnTo>
                      <a:pt x="1696" y="1090"/>
                    </a:lnTo>
                    <a:lnTo>
                      <a:pt x="1694" y="1090"/>
                    </a:lnTo>
                    <a:lnTo>
                      <a:pt x="1694" y="1090"/>
                    </a:lnTo>
                    <a:lnTo>
                      <a:pt x="1694" y="1090"/>
                    </a:lnTo>
                    <a:lnTo>
                      <a:pt x="1692" y="1090"/>
                    </a:lnTo>
                    <a:lnTo>
                      <a:pt x="1692" y="1090"/>
                    </a:lnTo>
                    <a:lnTo>
                      <a:pt x="1690" y="1090"/>
                    </a:lnTo>
                    <a:lnTo>
                      <a:pt x="1690" y="1092"/>
                    </a:lnTo>
                    <a:lnTo>
                      <a:pt x="1690" y="1092"/>
                    </a:lnTo>
                    <a:lnTo>
                      <a:pt x="1688" y="1092"/>
                    </a:lnTo>
                    <a:lnTo>
                      <a:pt x="1688" y="1094"/>
                    </a:lnTo>
                    <a:lnTo>
                      <a:pt x="1688" y="1094"/>
                    </a:lnTo>
                    <a:lnTo>
                      <a:pt x="1688" y="1094"/>
                    </a:lnTo>
                    <a:lnTo>
                      <a:pt x="1686" y="1096"/>
                    </a:lnTo>
                    <a:lnTo>
                      <a:pt x="1686" y="1100"/>
                    </a:lnTo>
                    <a:lnTo>
                      <a:pt x="1684" y="1102"/>
                    </a:lnTo>
                    <a:lnTo>
                      <a:pt x="1684" y="1106"/>
                    </a:lnTo>
                    <a:lnTo>
                      <a:pt x="1684" y="1112"/>
                    </a:lnTo>
                    <a:lnTo>
                      <a:pt x="1682" y="1120"/>
                    </a:lnTo>
                    <a:lnTo>
                      <a:pt x="1682" y="1128"/>
                    </a:lnTo>
                    <a:lnTo>
                      <a:pt x="1684" y="1134"/>
                    </a:lnTo>
                    <a:lnTo>
                      <a:pt x="1684" y="1138"/>
                    </a:lnTo>
                    <a:lnTo>
                      <a:pt x="1684" y="1140"/>
                    </a:lnTo>
                    <a:lnTo>
                      <a:pt x="1686" y="1142"/>
                    </a:lnTo>
                    <a:lnTo>
                      <a:pt x="1686" y="1142"/>
                    </a:lnTo>
                    <a:lnTo>
                      <a:pt x="1686" y="1144"/>
                    </a:lnTo>
                    <a:lnTo>
                      <a:pt x="1686" y="1144"/>
                    </a:lnTo>
                    <a:lnTo>
                      <a:pt x="1686" y="1144"/>
                    </a:lnTo>
                    <a:lnTo>
                      <a:pt x="1686" y="1146"/>
                    </a:lnTo>
                    <a:lnTo>
                      <a:pt x="1690" y="1148"/>
                    </a:lnTo>
                    <a:lnTo>
                      <a:pt x="1690" y="1148"/>
                    </a:lnTo>
                    <a:lnTo>
                      <a:pt x="1690" y="1148"/>
                    </a:lnTo>
                    <a:lnTo>
                      <a:pt x="1694" y="1150"/>
                    </a:lnTo>
                    <a:lnTo>
                      <a:pt x="1694" y="1150"/>
                    </a:lnTo>
                    <a:lnTo>
                      <a:pt x="1696" y="1150"/>
                    </a:lnTo>
                    <a:lnTo>
                      <a:pt x="1700" y="1152"/>
                    </a:lnTo>
                    <a:lnTo>
                      <a:pt x="1700" y="1152"/>
                    </a:lnTo>
                    <a:lnTo>
                      <a:pt x="1706" y="1152"/>
                    </a:lnTo>
                    <a:lnTo>
                      <a:pt x="1712" y="1152"/>
                    </a:lnTo>
                    <a:lnTo>
                      <a:pt x="1718" y="1152"/>
                    </a:lnTo>
                    <a:lnTo>
                      <a:pt x="1724" y="1150"/>
                    </a:lnTo>
                    <a:lnTo>
                      <a:pt x="1730" y="1148"/>
                    </a:lnTo>
                    <a:lnTo>
                      <a:pt x="1736" y="1146"/>
                    </a:lnTo>
                    <a:lnTo>
                      <a:pt x="1740" y="1142"/>
                    </a:lnTo>
                    <a:lnTo>
                      <a:pt x="1746" y="1138"/>
                    </a:lnTo>
                    <a:lnTo>
                      <a:pt x="1750" y="1134"/>
                    </a:lnTo>
                    <a:lnTo>
                      <a:pt x="1756" y="1130"/>
                    </a:lnTo>
                    <a:lnTo>
                      <a:pt x="1760" y="1124"/>
                    </a:lnTo>
                    <a:lnTo>
                      <a:pt x="1766" y="1116"/>
                    </a:lnTo>
                    <a:lnTo>
                      <a:pt x="1772" y="1110"/>
                    </a:lnTo>
                    <a:lnTo>
                      <a:pt x="1774" y="1104"/>
                    </a:lnTo>
                    <a:lnTo>
                      <a:pt x="1778" y="1100"/>
                    </a:lnTo>
                    <a:lnTo>
                      <a:pt x="1782" y="1094"/>
                    </a:lnTo>
                    <a:lnTo>
                      <a:pt x="1786" y="1088"/>
                    </a:lnTo>
                    <a:lnTo>
                      <a:pt x="1794" y="1074"/>
                    </a:lnTo>
                    <a:lnTo>
                      <a:pt x="1804" y="1060"/>
                    </a:lnTo>
                    <a:lnTo>
                      <a:pt x="1812" y="1048"/>
                    </a:lnTo>
                    <a:lnTo>
                      <a:pt x="1820" y="1034"/>
                    </a:lnTo>
                    <a:lnTo>
                      <a:pt x="1824" y="1028"/>
                    </a:lnTo>
                    <a:lnTo>
                      <a:pt x="1826" y="1022"/>
                    </a:lnTo>
                    <a:lnTo>
                      <a:pt x="1830" y="1016"/>
                    </a:lnTo>
                    <a:lnTo>
                      <a:pt x="1832" y="1012"/>
                    </a:lnTo>
                    <a:lnTo>
                      <a:pt x="1834" y="1008"/>
                    </a:lnTo>
                    <a:lnTo>
                      <a:pt x="1834" y="1004"/>
                    </a:lnTo>
                    <a:lnTo>
                      <a:pt x="1836" y="1000"/>
                    </a:lnTo>
                    <a:lnTo>
                      <a:pt x="1836" y="996"/>
                    </a:lnTo>
                    <a:lnTo>
                      <a:pt x="1836" y="992"/>
                    </a:lnTo>
                    <a:lnTo>
                      <a:pt x="1836" y="986"/>
                    </a:lnTo>
                    <a:lnTo>
                      <a:pt x="1834" y="984"/>
                    </a:lnTo>
                    <a:lnTo>
                      <a:pt x="1832" y="980"/>
                    </a:lnTo>
                    <a:lnTo>
                      <a:pt x="1832" y="976"/>
                    </a:lnTo>
                    <a:lnTo>
                      <a:pt x="1832" y="976"/>
                    </a:lnTo>
                    <a:lnTo>
                      <a:pt x="1832" y="972"/>
                    </a:lnTo>
                    <a:lnTo>
                      <a:pt x="1832" y="968"/>
                    </a:lnTo>
                    <a:lnTo>
                      <a:pt x="1834" y="962"/>
                    </a:lnTo>
                    <a:lnTo>
                      <a:pt x="1836" y="952"/>
                    </a:lnTo>
                    <a:lnTo>
                      <a:pt x="1838" y="946"/>
                    </a:lnTo>
                    <a:lnTo>
                      <a:pt x="1840" y="940"/>
                    </a:lnTo>
                    <a:lnTo>
                      <a:pt x="1840" y="936"/>
                    </a:lnTo>
                    <a:lnTo>
                      <a:pt x="1840" y="930"/>
                    </a:lnTo>
                    <a:lnTo>
                      <a:pt x="1842" y="926"/>
                    </a:lnTo>
                    <a:lnTo>
                      <a:pt x="1842" y="924"/>
                    </a:lnTo>
                    <a:lnTo>
                      <a:pt x="1840" y="920"/>
                    </a:lnTo>
                    <a:lnTo>
                      <a:pt x="1840" y="918"/>
                    </a:lnTo>
                    <a:lnTo>
                      <a:pt x="1840" y="918"/>
                    </a:lnTo>
                    <a:lnTo>
                      <a:pt x="1840" y="918"/>
                    </a:lnTo>
                    <a:lnTo>
                      <a:pt x="1838" y="912"/>
                    </a:lnTo>
                    <a:lnTo>
                      <a:pt x="1836" y="908"/>
                    </a:lnTo>
                    <a:lnTo>
                      <a:pt x="1834" y="904"/>
                    </a:lnTo>
                    <a:lnTo>
                      <a:pt x="1832" y="902"/>
                    </a:lnTo>
                    <a:lnTo>
                      <a:pt x="1826" y="896"/>
                    </a:lnTo>
                    <a:lnTo>
                      <a:pt x="1822" y="892"/>
                    </a:lnTo>
                    <a:lnTo>
                      <a:pt x="1818" y="890"/>
                    </a:lnTo>
                    <a:lnTo>
                      <a:pt x="1816" y="888"/>
                    </a:lnTo>
                    <a:lnTo>
                      <a:pt x="1814" y="888"/>
                    </a:lnTo>
                    <a:lnTo>
                      <a:pt x="1814" y="888"/>
                    </a:lnTo>
                    <a:lnTo>
                      <a:pt x="1814" y="886"/>
                    </a:lnTo>
                    <a:lnTo>
                      <a:pt x="1812" y="886"/>
                    </a:lnTo>
                    <a:lnTo>
                      <a:pt x="1812" y="886"/>
                    </a:lnTo>
                    <a:lnTo>
                      <a:pt x="1812" y="886"/>
                    </a:lnTo>
                    <a:lnTo>
                      <a:pt x="1808" y="886"/>
                    </a:lnTo>
                    <a:lnTo>
                      <a:pt x="1808" y="886"/>
                    </a:lnTo>
                    <a:lnTo>
                      <a:pt x="1806" y="886"/>
                    </a:lnTo>
                    <a:lnTo>
                      <a:pt x="1804" y="888"/>
                    </a:lnTo>
                    <a:lnTo>
                      <a:pt x="1804" y="888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0" y="888"/>
                    </a:lnTo>
                    <a:lnTo>
                      <a:pt x="1800" y="890"/>
                    </a:lnTo>
                    <a:lnTo>
                      <a:pt x="1800" y="890"/>
                    </a:lnTo>
                    <a:lnTo>
                      <a:pt x="1800" y="890"/>
                    </a:lnTo>
                    <a:lnTo>
                      <a:pt x="1798" y="892"/>
                    </a:lnTo>
                    <a:lnTo>
                      <a:pt x="1798" y="892"/>
                    </a:lnTo>
                    <a:lnTo>
                      <a:pt x="1798" y="894"/>
                    </a:lnTo>
                    <a:lnTo>
                      <a:pt x="1798" y="896"/>
                    </a:lnTo>
                    <a:lnTo>
                      <a:pt x="1798" y="898"/>
                    </a:lnTo>
                    <a:lnTo>
                      <a:pt x="1800" y="902"/>
                    </a:lnTo>
                    <a:lnTo>
                      <a:pt x="1800" y="904"/>
                    </a:lnTo>
                    <a:lnTo>
                      <a:pt x="1800" y="906"/>
                    </a:lnTo>
                    <a:lnTo>
                      <a:pt x="1800" y="908"/>
                    </a:lnTo>
                    <a:lnTo>
                      <a:pt x="1798" y="908"/>
                    </a:lnTo>
                    <a:lnTo>
                      <a:pt x="1798" y="908"/>
                    </a:lnTo>
                    <a:lnTo>
                      <a:pt x="1796" y="908"/>
                    </a:lnTo>
                    <a:lnTo>
                      <a:pt x="1794" y="908"/>
                    </a:lnTo>
                    <a:lnTo>
                      <a:pt x="1792" y="906"/>
                    </a:lnTo>
                    <a:lnTo>
                      <a:pt x="1792" y="906"/>
                    </a:lnTo>
                    <a:lnTo>
                      <a:pt x="1792" y="904"/>
                    </a:lnTo>
                    <a:lnTo>
                      <a:pt x="1792" y="904"/>
                    </a:lnTo>
                    <a:lnTo>
                      <a:pt x="1792" y="904"/>
                    </a:lnTo>
                    <a:lnTo>
                      <a:pt x="1792" y="900"/>
                    </a:lnTo>
                    <a:lnTo>
                      <a:pt x="1794" y="894"/>
                    </a:lnTo>
                    <a:lnTo>
                      <a:pt x="1796" y="890"/>
                    </a:lnTo>
                    <a:lnTo>
                      <a:pt x="1798" y="884"/>
                    </a:lnTo>
                    <a:lnTo>
                      <a:pt x="1798" y="880"/>
                    </a:lnTo>
                    <a:lnTo>
                      <a:pt x="1800" y="876"/>
                    </a:lnTo>
                    <a:lnTo>
                      <a:pt x="1800" y="874"/>
                    </a:lnTo>
                    <a:lnTo>
                      <a:pt x="1800" y="874"/>
                    </a:lnTo>
                    <a:lnTo>
                      <a:pt x="1800" y="872"/>
                    </a:lnTo>
                    <a:lnTo>
                      <a:pt x="1800" y="872"/>
                    </a:lnTo>
                    <a:lnTo>
                      <a:pt x="1798" y="870"/>
                    </a:lnTo>
                    <a:lnTo>
                      <a:pt x="1798" y="870"/>
                    </a:lnTo>
                    <a:lnTo>
                      <a:pt x="1798" y="870"/>
                    </a:lnTo>
                    <a:lnTo>
                      <a:pt x="1796" y="870"/>
                    </a:lnTo>
                    <a:lnTo>
                      <a:pt x="1794" y="870"/>
                    </a:lnTo>
                    <a:lnTo>
                      <a:pt x="1794" y="870"/>
                    </a:lnTo>
                    <a:lnTo>
                      <a:pt x="1794" y="870"/>
                    </a:lnTo>
                    <a:lnTo>
                      <a:pt x="1792" y="872"/>
                    </a:lnTo>
                    <a:lnTo>
                      <a:pt x="1790" y="872"/>
                    </a:lnTo>
                    <a:lnTo>
                      <a:pt x="1786" y="876"/>
                    </a:lnTo>
                    <a:lnTo>
                      <a:pt x="1782" y="878"/>
                    </a:lnTo>
                    <a:lnTo>
                      <a:pt x="1780" y="878"/>
                    </a:lnTo>
                    <a:lnTo>
                      <a:pt x="1778" y="880"/>
                    </a:lnTo>
                    <a:lnTo>
                      <a:pt x="1772" y="880"/>
                    </a:lnTo>
                    <a:lnTo>
                      <a:pt x="1768" y="880"/>
                    </a:lnTo>
                    <a:lnTo>
                      <a:pt x="1764" y="880"/>
                    </a:lnTo>
                    <a:lnTo>
                      <a:pt x="1758" y="880"/>
                    </a:lnTo>
                    <a:lnTo>
                      <a:pt x="1754" y="880"/>
                    </a:lnTo>
                    <a:lnTo>
                      <a:pt x="1752" y="880"/>
                    </a:lnTo>
                    <a:lnTo>
                      <a:pt x="1750" y="880"/>
                    </a:lnTo>
                    <a:lnTo>
                      <a:pt x="1748" y="880"/>
                    </a:lnTo>
                    <a:lnTo>
                      <a:pt x="1748" y="878"/>
                    </a:lnTo>
                    <a:lnTo>
                      <a:pt x="1750" y="878"/>
                    </a:lnTo>
                    <a:lnTo>
                      <a:pt x="1750" y="876"/>
                    </a:lnTo>
                    <a:lnTo>
                      <a:pt x="1754" y="872"/>
                    </a:lnTo>
                    <a:lnTo>
                      <a:pt x="1754" y="872"/>
                    </a:lnTo>
                    <a:lnTo>
                      <a:pt x="1758" y="868"/>
                    </a:lnTo>
                    <a:lnTo>
                      <a:pt x="1760" y="866"/>
                    </a:lnTo>
                    <a:lnTo>
                      <a:pt x="1762" y="864"/>
                    </a:lnTo>
                    <a:lnTo>
                      <a:pt x="1770" y="860"/>
                    </a:lnTo>
                    <a:lnTo>
                      <a:pt x="1772" y="858"/>
                    </a:lnTo>
                    <a:lnTo>
                      <a:pt x="1776" y="854"/>
                    </a:lnTo>
                    <a:lnTo>
                      <a:pt x="1780" y="850"/>
                    </a:lnTo>
                    <a:lnTo>
                      <a:pt x="1786" y="846"/>
                    </a:lnTo>
                    <a:lnTo>
                      <a:pt x="1790" y="842"/>
                    </a:lnTo>
                    <a:lnTo>
                      <a:pt x="1794" y="838"/>
                    </a:lnTo>
                    <a:lnTo>
                      <a:pt x="1796" y="836"/>
                    </a:lnTo>
                    <a:lnTo>
                      <a:pt x="1796" y="836"/>
                    </a:lnTo>
                    <a:lnTo>
                      <a:pt x="1796" y="836"/>
                    </a:lnTo>
                    <a:lnTo>
                      <a:pt x="1798" y="834"/>
                    </a:lnTo>
                    <a:lnTo>
                      <a:pt x="1798" y="834"/>
                    </a:lnTo>
                    <a:lnTo>
                      <a:pt x="1798" y="834"/>
                    </a:lnTo>
                    <a:lnTo>
                      <a:pt x="1798" y="830"/>
                    </a:lnTo>
                    <a:lnTo>
                      <a:pt x="1800" y="826"/>
                    </a:lnTo>
                    <a:lnTo>
                      <a:pt x="1800" y="828"/>
                    </a:lnTo>
                    <a:lnTo>
                      <a:pt x="1800" y="826"/>
                    </a:lnTo>
                    <a:lnTo>
                      <a:pt x="1802" y="824"/>
                    </a:lnTo>
                    <a:lnTo>
                      <a:pt x="1802" y="824"/>
                    </a:lnTo>
                    <a:lnTo>
                      <a:pt x="1804" y="822"/>
                    </a:lnTo>
                    <a:lnTo>
                      <a:pt x="1808" y="820"/>
                    </a:lnTo>
                    <a:lnTo>
                      <a:pt x="1812" y="818"/>
                    </a:lnTo>
                    <a:lnTo>
                      <a:pt x="1814" y="816"/>
                    </a:lnTo>
                    <a:lnTo>
                      <a:pt x="1816" y="816"/>
                    </a:lnTo>
                    <a:lnTo>
                      <a:pt x="1818" y="814"/>
                    </a:lnTo>
                    <a:lnTo>
                      <a:pt x="1818" y="812"/>
                    </a:lnTo>
                    <a:lnTo>
                      <a:pt x="1818" y="812"/>
                    </a:lnTo>
                    <a:lnTo>
                      <a:pt x="1818" y="812"/>
                    </a:lnTo>
                    <a:lnTo>
                      <a:pt x="1820" y="810"/>
                    </a:lnTo>
                    <a:lnTo>
                      <a:pt x="1822" y="808"/>
                    </a:lnTo>
                    <a:lnTo>
                      <a:pt x="1822" y="806"/>
                    </a:lnTo>
                    <a:lnTo>
                      <a:pt x="1824" y="804"/>
                    </a:lnTo>
                    <a:lnTo>
                      <a:pt x="1828" y="800"/>
                    </a:lnTo>
                    <a:lnTo>
                      <a:pt x="1828" y="800"/>
                    </a:lnTo>
                    <a:lnTo>
                      <a:pt x="1830" y="800"/>
                    </a:lnTo>
                    <a:lnTo>
                      <a:pt x="1832" y="796"/>
                    </a:lnTo>
                    <a:lnTo>
                      <a:pt x="1832" y="796"/>
                    </a:lnTo>
                    <a:lnTo>
                      <a:pt x="1832" y="796"/>
                    </a:lnTo>
                    <a:lnTo>
                      <a:pt x="1832" y="794"/>
                    </a:lnTo>
                    <a:lnTo>
                      <a:pt x="1832" y="792"/>
                    </a:lnTo>
                    <a:lnTo>
                      <a:pt x="1834" y="788"/>
                    </a:lnTo>
                    <a:lnTo>
                      <a:pt x="1834" y="786"/>
                    </a:lnTo>
                    <a:lnTo>
                      <a:pt x="1834" y="784"/>
                    </a:lnTo>
                    <a:lnTo>
                      <a:pt x="1834" y="782"/>
                    </a:lnTo>
                    <a:lnTo>
                      <a:pt x="1836" y="782"/>
                    </a:lnTo>
                    <a:lnTo>
                      <a:pt x="1836" y="782"/>
                    </a:lnTo>
                    <a:lnTo>
                      <a:pt x="1838" y="782"/>
                    </a:lnTo>
                    <a:lnTo>
                      <a:pt x="1842" y="784"/>
                    </a:lnTo>
                    <a:lnTo>
                      <a:pt x="1842" y="784"/>
                    </a:lnTo>
                    <a:lnTo>
                      <a:pt x="1842" y="784"/>
                    </a:lnTo>
                    <a:lnTo>
                      <a:pt x="1844" y="784"/>
                    </a:lnTo>
                    <a:lnTo>
                      <a:pt x="1844" y="784"/>
                    </a:lnTo>
                    <a:lnTo>
                      <a:pt x="1844" y="784"/>
                    </a:lnTo>
                    <a:lnTo>
                      <a:pt x="1846" y="782"/>
                    </a:lnTo>
                    <a:lnTo>
                      <a:pt x="1846" y="782"/>
                    </a:lnTo>
                    <a:lnTo>
                      <a:pt x="1848" y="782"/>
                    </a:lnTo>
                    <a:lnTo>
                      <a:pt x="1848" y="782"/>
                    </a:lnTo>
                    <a:lnTo>
                      <a:pt x="1848" y="782"/>
                    </a:lnTo>
                    <a:lnTo>
                      <a:pt x="1848" y="780"/>
                    </a:lnTo>
                    <a:lnTo>
                      <a:pt x="1850" y="778"/>
                    </a:lnTo>
                    <a:lnTo>
                      <a:pt x="1850" y="778"/>
                    </a:lnTo>
                    <a:lnTo>
                      <a:pt x="1850" y="778"/>
                    </a:lnTo>
                    <a:lnTo>
                      <a:pt x="1850" y="774"/>
                    </a:lnTo>
                    <a:lnTo>
                      <a:pt x="1850" y="772"/>
                    </a:lnTo>
                    <a:lnTo>
                      <a:pt x="1850" y="770"/>
                    </a:lnTo>
                    <a:lnTo>
                      <a:pt x="1850" y="770"/>
                    </a:lnTo>
                    <a:lnTo>
                      <a:pt x="1854" y="764"/>
                    </a:lnTo>
                    <a:lnTo>
                      <a:pt x="1854" y="760"/>
                    </a:lnTo>
                    <a:lnTo>
                      <a:pt x="1856" y="758"/>
                    </a:lnTo>
                    <a:lnTo>
                      <a:pt x="1856" y="760"/>
                    </a:lnTo>
                    <a:lnTo>
                      <a:pt x="1856" y="758"/>
                    </a:lnTo>
                    <a:lnTo>
                      <a:pt x="1858" y="758"/>
                    </a:lnTo>
                    <a:lnTo>
                      <a:pt x="1862" y="756"/>
                    </a:lnTo>
                    <a:lnTo>
                      <a:pt x="1866" y="754"/>
                    </a:lnTo>
                    <a:lnTo>
                      <a:pt x="1870" y="754"/>
                    </a:lnTo>
                    <a:lnTo>
                      <a:pt x="1874" y="754"/>
                    </a:lnTo>
                    <a:lnTo>
                      <a:pt x="1878" y="754"/>
                    </a:lnTo>
                    <a:lnTo>
                      <a:pt x="1884" y="754"/>
                    </a:lnTo>
                    <a:lnTo>
                      <a:pt x="1888" y="754"/>
                    </a:lnTo>
                    <a:lnTo>
                      <a:pt x="1892" y="754"/>
                    </a:lnTo>
                    <a:lnTo>
                      <a:pt x="1896" y="754"/>
                    </a:lnTo>
                    <a:lnTo>
                      <a:pt x="1900" y="754"/>
                    </a:lnTo>
                    <a:lnTo>
                      <a:pt x="1902" y="754"/>
                    </a:lnTo>
                    <a:lnTo>
                      <a:pt x="1902" y="754"/>
                    </a:lnTo>
                    <a:lnTo>
                      <a:pt x="1904" y="756"/>
                    </a:lnTo>
                    <a:lnTo>
                      <a:pt x="1904" y="754"/>
                    </a:lnTo>
                    <a:lnTo>
                      <a:pt x="1906" y="758"/>
                    </a:lnTo>
                    <a:lnTo>
                      <a:pt x="1908" y="760"/>
                    </a:lnTo>
                    <a:lnTo>
                      <a:pt x="1908" y="760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2" y="762"/>
                    </a:lnTo>
                    <a:lnTo>
                      <a:pt x="1912" y="762"/>
                    </a:lnTo>
                    <a:lnTo>
                      <a:pt x="1914" y="762"/>
                    </a:lnTo>
                    <a:lnTo>
                      <a:pt x="1914" y="760"/>
                    </a:lnTo>
                    <a:lnTo>
                      <a:pt x="1914" y="760"/>
                    </a:lnTo>
                    <a:lnTo>
                      <a:pt x="1916" y="760"/>
                    </a:lnTo>
                    <a:lnTo>
                      <a:pt x="1916" y="758"/>
                    </a:lnTo>
                    <a:lnTo>
                      <a:pt x="1914" y="756"/>
                    </a:lnTo>
                    <a:lnTo>
                      <a:pt x="1916" y="758"/>
                    </a:lnTo>
                    <a:lnTo>
                      <a:pt x="1918" y="760"/>
                    </a:lnTo>
                    <a:lnTo>
                      <a:pt x="1918" y="760"/>
                    </a:lnTo>
                    <a:lnTo>
                      <a:pt x="1918" y="760"/>
                    </a:lnTo>
                    <a:lnTo>
                      <a:pt x="1920" y="762"/>
                    </a:lnTo>
                    <a:lnTo>
                      <a:pt x="1920" y="762"/>
                    </a:lnTo>
                    <a:lnTo>
                      <a:pt x="1922" y="762"/>
                    </a:lnTo>
                    <a:lnTo>
                      <a:pt x="1924" y="762"/>
                    </a:lnTo>
                    <a:lnTo>
                      <a:pt x="1924" y="762"/>
                    </a:lnTo>
                    <a:lnTo>
                      <a:pt x="1924" y="762"/>
                    </a:lnTo>
                    <a:lnTo>
                      <a:pt x="1926" y="762"/>
                    </a:lnTo>
                    <a:lnTo>
                      <a:pt x="1930" y="760"/>
                    </a:lnTo>
                    <a:lnTo>
                      <a:pt x="1934" y="758"/>
                    </a:lnTo>
                    <a:lnTo>
                      <a:pt x="1938" y="756"/>
                    </a:lnTo>
                    <a:lnTo>
                      <a:pt x="1940" y="756"/>
                    </a:lnTo>
                    <a:lnTo>
                      <a:pt x="1942" y="756"/>
                    </a:lnTo>
                    <a:lnTo>
                      <a:pt x="1942" y="756"/>
                    </a:lnTo>
                    <a:lnTo>
                      <a:pt x="1944" y="756"/>
                    </a:lnTo>
                    <a:lnTo>
                      <a:pt x="1946" y="756"/>
                    </a:lnTo>
                    <a:lnTo>
                      <a:pt x="1950" y="756"/>
                    </a:lnTo>
                    <a:lnTo>
                      <a:pt x="1954" y="758"/>
                    </a:lnTo>
                    <a:lnTo>
                      <a:pt x="1954" y="758"/>
                    </a:lnTo>
                    <a:lnTo>
                      <a:pt x="1954" y="758"/>
                    </a:lnTo>
                    <a:lnTo>
                      <a:pt x="1956" y="758"/>
                    </a:lnTo>
                    <a:lnTo>
                      <a:pt x="1956" y="758"/>
                    </a:lnTo>
                    <a:lnTo>
                      <a:pt x="1956" y="758"/>
                    </a:lnTo>
                    <a:lnTo>
                      <a:pt x="1958" y="756"/>
                    </a:lnTo>
                    <a:lnTo>
                      <a:pt x="1958" y="756"/>
                    </a:lnTo>
                    <a:lnTo>
                      <a:pt x="1960" y="756"/>
                    </a:lnTo>
                    <a:lnTo>
                      <a:pt x="1960" y="754"/>
                    </a:lnTo>
                    <a:lnTo>
                      <a:pt x="1960" y="754"/>
                    </a:lnTo>
                    <a:lnTo>
                      <a:pt x="1960" y="754"/>
                    </a:lnTo>
                    <a:lnTo>
                      <a:pt x="1960" y="752"/>
                    </a:lnTo>
                    <a:lnTo>
                      <a:pt x="1960" y="752"/>
                    </a:lnTo>
                    <a:lnTo>
                      <a:pt x="1960" y="750"/>
                    </a:lnTo>
                    <a:lnTo>
                      <a:pt x="1960" y="748"/>
                    </a:lnTo>
                    <a:lnTo>
                      <a:pt x="1960" y="746"/>
                    </a:lnTo>
                    <a:lnTo>
                      <a:pt x="1960" y="744"/>
                    </a:lnTo>
                    <a:lnTo>
                      <a:pt x="1960" y="742"/>
                    </a:lnTo>
                    <a:lnTo>
                      <a:pt x="1960" y="740"/>
                    </a:lnTo>
                    <a:lnTo>
                      <a:pt x="1960" y="740"/>
                    </a:lnTo>
                    <a:lnTo>
                      <a:pt x="1962" y="740"/>
                    </a:lnTo>
                    <a:lnTo>
                      <a:pt x="1964" y="740"/>
                    </a:lnTo>
                    <a:lnTo>
                      <a:pt x="1964" y="740"/>
                    </a:lnTo>
                    <a:lnTo>
                      <a:pt x="1966" y="742"/>
                    </a:lnTo>
                    <a:lnTo>
                      <a:pt x="1968" y="742"/>
                    </a:lnTo>
                    <a:lnTo>
                      <a:pt x="1970" y="744"/>
                    </a:lnTo>
                    <a:lnTo>
                      <a:pt x="1976" y="748"/>
                    </a:lnTo>
                    <a:lnTo>
                      <a:pt x="1982" y="752"/>
                    </a:lnTo>
                    <a:lnTo>
                      <a:pt x="1984" y="754"/>
                    </a:lnTo>
                    <a:lnTo>
                      <a:pt x="1986" y="756"/>
                    </a:lnTo>
                    <a:lnTo>
                      <a:pt x="1988" y="758"/>
                    </a:lnTo>
                    <a:lnTo>
                      <a:pt x="1988" y="758"/>
                    </a:lnTo>
                    <a:lnTo>
                      <a:pt x="1990" y="762"/>
                    </a:lnTo>
                    <a:lnTo>
                      <a:pt x="1992" y="764"/>
                    </a:lnTo>
                    <a:lnTo>
                      <a:pt x="1992" y="764"/>
                    </a:lnTo>
                    <a:lnTo>
                      <a:pt x="1994" y="764"/>
                    </a:lnTo>
                    <a:lnTo>
                      <a:pt x="1996" y="764"/>
                    </a:lnTo>
                    <a:lnTo>
                      <a:pt x="1996" y="764"/>
                    </a:lnTo>
                    <a:lnTo>
                      <a:pt x="1996" y="766"/>
                    </a:lnTo>
                    <a:lnTo>
                      <a:pt x="1998" y="766"/>
                    </a:lnTo>
                    <a:lnTo>
                      <a:pt x="1998" y="766"/>
                    </a:lnTo>
                    <a:lnTo>
                      <a:pt x="1998" y="766"/>
                    </a:lnTo>
                    <a:lnTo>
                      <a:pt x="2000" y="766"/>
                    </a:lnTo>
                    <a:lnTo>
                      <a:pt x="2000" y="766"/>
                    </a:lnTo>
                    <a:lnTo>
                      <a:pt x="2002" y="766"/>
                    </a:lnTo>
                    <a:lnTo>
                      <a:pt x="2002" y="766"/>
                    </a:lnTo>
                    <a:lnTo>
                      <a:pt x="2004" y="766"/>
                    </a:lnTo>
                    <a:lnTo>
                      <a:pt x="2008" y="764"/>
                    </a:lnTo>
                    <a:lnTo>
                      <a:pt x="2012" y="762"/>
                    </a:lnTo>
                    <a:lnTo>
                      <a:pt x="2018" y="760"/>
                    </a:lnTo>
                    <a:lnTo>
                      <a:pt x="2018" y="760"/>
                    </a:lnTo>
                    <a:lnTo>
                      <a:pt x="2022" y="758"/>
                    </a:lnTo>
                    <a:lnTo>
                      <a:pt x="2028" y="758"/>
                    </a:lnTo>
                    <a:lnTo>
                      <a:pt x="2030" y="758"/>
                    </a:lnTo>
                    <a:lnTo>
                      <a:pt x="2032" y="758"/>
                    </a:lnTo>
                    <a:lnTo>
                      <a:pt x="2032" y="758"/>
                    </a:lnTo>
                    <a:lnTo>
                      <a:pt x="2034" y="758"/>
                    </a:lnTo>
                    <a:lnTo>
                      <a:pt x="2036" y="758"/>
                    </a:lnTo>
                    <a:lnTo>
                      <a:pt x="2036" y="758"/>
                    </a:lnTo>
                    <a:lnTo>
                      <a:pt x="2036" y="756"/>
                    </a:lnTo>
                    <a:lnTo>
                      <a:pt x="2038" y="756"/>
                    </a:lnTo>
                    <a:lnTo>
                      <a:pt x="2038" y="756"/>
                    </a:lnTo>
                    <a:lnTo>
                      <a:pt x="2038" y="754"/>
                    </a:lnTo>
                    <a:lnTo>
                      <a:pt x="2040" y="752"/>
                    </a:lnTo>
                    <a:lnTo>
                      <a:pt x="2040" y="752"/>
                    </a:lnTo>
                    <a:lnTo>
                      <a:pt x="2040" y="752"/>
                    </a:lnTo>
                    <a:lnTo>
                      <a:pt x="2042" y="748"/>
                    </a:lnTo>
                    <a:lnTo>
                      <a:pt x="2042" y="744"/>
                    </a:lnTo>
                    <a:lnTo>
                      <a:pt x="2042" y="742"/>
                    </a:lnTo>
                    <a:lnTo>
                      <a:pt x="2042" y="734"/>
                    </a:lnTo>
                    <a:lnTo>
                      <a:pt x="2044" y="730"/>
                    </a:lnTo>
                    <a:lnTo>
                      <a:pt x="2044" y="732"/>
                    </a:lnTo>
                    <a:lnTo>
                      <a:pt x="2044" y="728"/>
                    </a:lnTo>
                    <a:lnTo>
                      <a:pt x="2046" y="726"/>
                    </a:lnTo>
                    <a:lnTo>
                      <a:pt x="2046" y="726"/>
                    </a:lnTo>
                    <a:lnTo>
                      <a:pt x="2048" y="724"/>
                    </a:lnTo>
                    <a:lnTo>
                      <a:pt x="2048" y="726"/>
                    </a:lnTo>
                    <a:lnTo>
                      <a:pt x="2054" y="722"/>
                    </a:lnTo>
                    <a:lnTo>
                      <a:pt x="2058" y="720"/>
                    </a:lnTo>
                    <a:lnTo>
                      <a:pt x="2060" y="718"/>
                    </a:lnTo>
                    <a:lnTo>
                      <a:pt x="2060" y="718"/>
                    </a:lnTo>
                    <a:lnTo>
                      <a:pt x="2062" y="718"/>
                    </a:lnTo>
                    <a:lnTo>
                      <a:pt x="2062" y="716"/>
                    </a:lnTo>
                    <a:lnTo>
                      <a:pt x="2062" y="716"/>
                    </a:lnTo>
                    <a:lnTo>
                      <a:pt x="2064" y="716"/>
                    </a:lnTo>
                    <a:lnTo>
                      <a:pt x="2064" y="714"/>
                    </a:lnTo>
                    <a:lnTo>
                      <a:pt x="2066" y="712"/>
                    </a:lnTo>
                    <a:lnTo>
                      <a:pt x="2066" y="712"/>
                    </a:lnTo>
                    <a:lnTo>
                      <a:pt x="2066" y="712"/>
                    </a:lnTo>
                    <a:lnTo>
                      <a:pt x="2068" y="708"/>
                    </a:lnTo>
                    <a:lnTo>
                      <a:pt x="2068" y="706"/>
                    </a:lnTo>
                    <a:lnTo>
                      <a:pt x="2070" y="704"/>
                    </a:lnTo>
                    <a:lnTo>
                      <a:pt x="2072" y="700"/>
                    </a:lnTo>
                    <a:lnTo>
                      <a:pt x="2072" y="696"/>
                    </a:lnTo>
                    <a:lnTo>
                      <a:pt x="2074" y="694"/>
                    </a:lnTo>
                    <a:lnTo>
                      <a:pt x="2076" y="692"/>
                    </a:lnTo>
                    <a:lnTo>
                      <a:pt x="2076" y="690"/>
                    </a:lnTo>
                    <a:lnTo>
                      <a:pt x="2078" y="688"/>
                    </a:lnTo>
                    <a:lnTo>
                      <a:pt x="2080" y="686"/>
                    </a:lnTo>
                    <a:lnTo>
                      <a:pt x="2084" y="684"/>
                    </a:lnTo>
                    <a:lnTo>
                      <a:pt x="2086" y="684"/>
                    </a:lnTo>
                    <a:lnTo>
                      <a:pt x="2088" y="682"/>
                    </a:lnTo>
                    <a:lnTo>
                      <a:pt x="2092" y="682"/>
                    </a:lnTo>
                    <a:lnTo>
                      <a:pt x="2098" y="680"/>
                    </a:lnTo>
                    <a:lnTo>
                      <a:pt x="2100" y="680"/>
                    </a:lnTo>
                    <a:lnTo>
                      <a:pt x="2104" y="678"/>
                    </a:lnTo>
                    <a:lnTo>
                      <a:pt x="2106" y="680"/>
                    </a:lnTo>
                    <a:lnTo>
                      <a:pt x="2106" y="680"/>
                    </a:lnTo>
                    <a:lnTo>
                      <a:pt x="2108" y="680"/>
                    </a:lnTo>
                    <a:lnTo>
                      <a:pt x="2110" y="682"/>
                    </a:lnTo>
                    <a:lnTo>
                      <a:pt x="2112" y="684"/>
                    </a:lnTo>
                    <a:lnTo>
                      <a:pt x="2114" y="686"/>
                    </a:lnTo>
                    <a:lnTo>
                      <a:pt x="2114" y="686"/>
                    </a:lnTo>
                    <a:lnTo>
                      <a:pt x="2114" y="686"/>
                    </a:lnTo>
                    <a:lnTo>
                      <a:pt x="2114" y="690"/>
                    </a:lnTo>
                    <a:lnTo>
                      <a:pt x="2114" y="694"/>
                    </a:lnTo>
                    <a:lnTo>
                      <a:pt x="2114" y="696"/>
                    </a:lnTo>
                    <a:lnTo>
                      <a:pt x="2114" y="698"/>
                    </a:lnTo>
                    <a:lnTo>
                      <a:pt x="2114" y="700"/>
                    </a:lnTo>
                    <a:lnTo>
                      <a:pt x="2116" y="702"/>
                    </a:lnTo>
                    <a:lnTo>
                      <a:pt x="2116" y="708"/>
                    </a:lnTo>
                    <a:lnTo>
                      <a:pt x="2118" y="710"/>
                    </a:lnTo>
                    <a:lnTo>
                      <a:pt x="2118" y="712"/>
                    </a:lnTo>
                    <a:lnTo>
                      <a:pt x="2118" y="712"/>
                    </a:lnTo>
                    <a:lnTo>
                      <a:pt x="2118" y="712"/>
                    </a:lnTo>
                    <a:lnTo>
                      <a:pt x="2120" y="714"/>
                    </a:lnTo>
                    <a:lnTo>
                      <a:pt x="2120" y="714"/>
                    </a:lnTo>
                    <a:lnTo>
                      <a:pt x="2120" y="716"/>
                    </a:lnTo>
                    <a:lnTo>
                      <a:pt x="2122" y="716"/>
                    </a:lnTo>
                    <a:lnTo>
                      <a:pt x="2122" y="716"/>
                    </a:lnTo>
                    <a:lnTo>
                      <a:pt x="2122" y="716"/>
                    </a:lnTo>
                    <a:lnTo>
                      <a:pt x="2124" y="718"/>
                    </a:lnTo>
                    <a:lnTo>
                      <a:pt x="2124" y="718"/>
                    </a:lnTo>
                    <a:lnTo>
                      <a:pt x="2124" y="718"/>
                    </a:lnTo>
                    <a:lnTo>
                      <a:pt x="2126" y="718"/>
                    </a:lnTo>
                    <a:lnTo>
                      <a:pt x="2126" y="718"/>
                    </a:lnTo>
                    <a:lnTo>
                      <a:pt x="2128" y="718"/>
                    </a:lnTo>
                    <a:lnTo>
                      <a:pt x="2130" y="716"/>
                    </a:lnTo>
                    <a:lnTo>
                      <a:pt x="2130" y="716"/>
                    </a:lnTo>
                    <a:lnTo>
                      <a:pt x="2130" y="716"/>
                    </a:lnTo>
                    <a:lnTo>
                      <a:pt x="2132" y="714"/>
                    </a:lnTo>
                    <a:lnTo>
                      <a:pt x="2138" y="712"/>
                    </a:lnTo>
                    <a:lnTo>
                      <a:pt x="2142" y="708"/>
                    </a:lnTo>
                    <a:lnTo>
                      <a:pt x="2144" y="706"/>
                    </a:lnTo>
                    <a:lnTo>
                      <a:pt x="2148" y="704"/>
                    </a:lnTo>
                    <a:lnTo>
                      <a:pt x="2152" y="696"/>
                    </a:lnTo>
                    <a:lnTo>
                      <a:pt x="2156" y="690"/>
                    </a:lnTo>
                    <a:lnTo>
                      <a:pt x="2158" y="688"/>
                    </a:lnTo>
                    <a:lnTo>
                      <a:pt x="2160" y="686"/>
                    </a:lnTo>
                    <a:lnTo>
                      <a:pt x="2162" y="684"/>
                    </a:lnTo>
                    <a:lnTo>
                      <a:pt x="2162" y="684"/>
                    </a:lnTo>
                    <a:lnTo>
                      <a:pt x="2166" y="682"/>
                    </a:lnTo>
                    <a:lnTo>
                      <a:pt x="2168" y="680"/>
                    </a:lnTo>
                    <a:lnTo>
                      <a:pt x="2168" y="680"/>
                    </a:lnTo>
                    <a:lnTo>
                      <a:pt x="2168" y="680"/>
                    </a:lnTo>
                    <a:lnTo>
                      <a:pt x="2170" y="678"/>
                    </a:lnTo>
                    <a:lnTo>
                      <a:pt x="2170" y="678"/>
                    </a:lnTo>
                    <a:lnTo>
                      <a:pt x="2170" y="678"/>
                    </a:lnTo>
                    <a:lnTo>
                      <a:pt x="2170" y="676"/>
                    </a:lnTo>
                    <a:lnTo>
                      <a:pt x="2170" y="676"/>
                    </a:lnTo>
                    <a:lnTo>
                      <a:pt x="2172" y="676"/>
                    </a:lnTo>
                    <a:lnTo>
                      <a:pt x="2172" y="674"/>
                    </a:lnTo>
                    <a:lnTo>
                      <a:pt x="2172" y="674"/>
                    </a:lnTo>
                    <a:lnTo>
                      <a:pt x="2172" y="672"/>
                    </a:lnTo>
                    <a:lnTo>
                      <a:pt x="2170" y="672"/>
                    </a:lnTo>
                    <a:lnTo>
                      <a:pt x="2170" y="672"/>
                    </a:lnTo>
                    <a:lnTo>
                      <a:pt x="2170" y="670"/>
                    </a:lnTo>
                    <a:lnTo>
                      <a:pt x="2168" y="666"/>
                    </a:lnTo>
                    <a:lnTo>
                      <a:pt x="2168" y="664"/>
                    </a:lnTo>
                    <a:lnTo>
                      <a:pt x="2168" y="664"/>
                    </a:lnTo>
                    <a:lnTo>
                      <a:pt x="2166" y="662"/>
                    </a:lnTo>
                    <a:lnTo>
                      <a:pt x="2166" y="662"/>
                    </a:lnTo>
                    <a:lnTo>
                      <a:pt x="2168" y="658"/>
                    </a:lnTo>
                    <a:lnTo>
                      <a:pt x="2168" y="656"/>
                    </a:lnTo>
                    <a:lnTo>
                      <a:pt x="2168" y="656"/>
                    </a:lnTo>
                    <a:lnTo>
                      <a:pt x="2168" y="656"/>
                    </a:lnTo>
                    <a:lnTo>
                      <a:pt x="2170" y="654"/>
                    </a:lnTo>
                    <a:lnTo>
                      <a:pt x="2170" y="654"/>
                    </a:lnTo>
                    <a:lnTo>
                      <a:pt x="2172" y="654"/>
                    </a:lnTo>
                    <a:lnTo>
                      <a:pt x="2172" y="654"/>
                    </a:lnTo>
                    <a:lnTo>
                      <a:pt x="2174" y="654"/>
                    </a:lnTo>
                    <a:lnTo>
                      <a:pt x="2176" y="654"/>
                    </a:lnTo>
                    <a:lnTo>
                      <a:pt x="2180" y="654"/>
                    </a:lnTo>
                    <a:lnTo>
                      <a:pt x="2184" y="654"/>
                    </a:lnTo>
                    <a:lnTo>
                      <a:pt x="2188" y="654"/>
                    </a:lnTo>
                    <a:lnTo>
                      <a:pt x="2192" y="654"/>
                    </a:lnTo>
                    <a:lnTo>
                      <a:pt x="2190" y="654"/>
                    </a:lnTo>
                    <a:lnTo>
                      <a:pt x="2186" y="658"/>
                    </a:lnTo>
                    <a:lnTo>
                      <a:pt x="2186" y="658"/>
                    </a:lnTo>
                    <a:lnTo>
                      <a:pt x="2186" y="658"/>
                    </a:lnTo>
                    <a:lnTo>
                      <a:pt x="2184" y="662"/>
                    </a:lnTo>
                    <a:lnTo>
                      <a:pt x="2184" y="662"/>
                    </a:lnTo>
                    <a:lnTo>
                      <a:pt x="2184" y="662"/>
                    </a:lnTo>
                    <a:lnTo>
                      <a:pt x="2182" y="664"/>
                    </a:lnTo>
                    <a:lnTo>
                      <a:pt x="2182" y="664"/>
                    </a:lnTo>
                    <a:lnTo>
                      <a:pt x="2182" y="666"/>
                    </a:lnTo>
                    <a:lnTo>
                      <a:pt x="2180" y="668"/>
                    </a:lnTo>
                    <a:lnTo>
                      <a:pt x="2180" y="670"/>
                    </a:lnTo>
                    <a:lnTo>
                      <a:pt x="2180" y="674"/>
                    </a:lnTo>
                    <a:lnTo>
                      <a:pt x="2180" y="684"/>
                    </a:lnTo>
                    <a:lnTo>
                      <a:pt x="2180" y="688"/>
                    </a:lnTo>
                    <a:lnTo>
                      <a:pt x="2180" y="694"/>
                    </a:lnTo>
                    <a:lnTo>
                      <a:pt x="2178" y="698"/>
                    </a:lnTo>
                    <a:lnTo>
                      <a:pt x="2178" y="700"/>
                    </a:lnTo>
                    <a:lnTo>
                      <a:pt x="2176" y="704"/>
                    </a:lnTo>
                    <a:lnTo>
                      <a:pt x="2172" y="706"/>
                    </a:lnTo>
                    <a:lnTo>
                      <a:pt x="2174" y="706"/>
                    </a:lnTo>
                    <a:lnTo>
                      <a:pt x="2170" y="708"/>
                    </a:lnTo>
                    <a:lnTo>
                      <a:pt x="2166" y="710"/>
                    </a:lnTo>
                    <a:lnTo>
                      <a:pt x="2158" y="714"/>
                    </a:lnTo>
                    <a:lnTo>
                      <a:pt x="2154" y="716"/>
                    </a:lnTo>
                    <a:lnTo>
                      <a:pt x="2152" y="718"/>
                    </a:lnTo>
                    <a:lnTo>
                      <a:pt x="2148" y="720"/>
                    </a:lnTo>
                    <a:lnTo>
                      <a:pt x="2146" y="722"/>
                    </a:lnTo>
                    <a:lnTo>
                      <a:pt x="2142" y="724"/>
                    </a:lnTo>
                    <a:lnTo>
                      <a:pt x="2140" y="726"/>
                    </a:lnTo>
                    <a:lnTo>
                      <a:pt x="2136" y="728"/>
                    </a:lnTo>
                    <a:lnTo>
                      <a:pt x="2134" y="732"/>
                    </a:lnTo>
                    <a:lnTo>
                      <a:pt x="2132" y="734"/>
                    </a:lnTo>
                    <a:lnTo>
                      <a:pt x="2130" y="738"/>
                    </a:lnTo>
                    <a:lnTo>
                      <a:pt x="2126" y="742"/>
                    </a:lnTo>
                    <a:lnTo>
                      <a:pt x="2122" y="746"/>
                    </a:lnTo>
                    <a:lnTo>
                      <a:pt x="2120" y="752"/>
                    </a:lnTo>
                    <a:lnTo>
                      <a:pt x="2112" y="762"/>
                    </a:lnTo>
                    <a:lnTo>
                      <a:pt x="2110" y="766"/>
                    </a:lnTo>
                    <a:lnTo>
                      <a:pt x="2106" y="770"/>
                    </a:lnTo>
                    <a:lnTo>
                      <a:pt x="2098" y="776"/>
                    </a:lnTo>
                    <a:lnTo>
                      <a:pt x="2092" y="784"/>
                    </a:lnTo>
                    <a:lnTo>
                      <a:pt x="2084" y="790"/>
                    </a:lnTo>
                    <a:lnTo>
                      <a:pt x="2078" y="796"/>
                    </a:lnTo>
                    <a:lnTo>
                      <a:pt x="2074" y="800"/>
                    </a:lnTo>
                    <a:lnTo>
                      <a:pt x="2070" y="802"/>
                    </a:lnTo>
                    <a:lnTo>
                      <a:pt x="2064" y="808"/>
                    </a:lnTo>
                    <a:lnTo>
                      <a:pt x="2062" y="812"/>
                    </a:lnTo>
                    <a:lnTo>
                      <a:pt x="2058" y="816"/>
                    </a:lnTo>
                    <a:lnTo>
                      <a:pt x="2056" y="820"/>
                    </a:lnTo>
                    <a:lnTo>
                      <a:pt x="2054" y="824"/>
                    </a:lnTo>
                    <a:lnTo>
                      <a:pt x="2052" y="830"/>
                    </a:lnTo>
                    <a:lnTo>
                      <a:pt x="2050" y="836"/>
                    </a:lnTo>
                    <a:lnTo>
                      <a:pt x="2048" y="844"/>
                    </a:lnTo>
                    <a:lnTo>
                      <a:pt x="2048" y="850"/>
                    </a:lnTo>
                    <a:lnTo>
                      <a:pt x="2048" y="858"/>
                    </a:lnTo>
                    <a:lnTo>
                      <a:pt x="2048" y="866"/>
                    </a:lnTo>
                    <a:lnTo>
                      <a:pt x="2046" y="872"/>
                    </a:lnTo>
                    <a:lnTo>
                      <a:pt x="2048" y="878"/>
                    </a:lnTo>
                    <a:lnTo>
                      <a:pt x="2048" y="882"/>
                    </a:lnTo>
                    <a:lnTo>
                      <a:pt x="2048" y="882"/>
                    </a:lnTo>
                    <a:lnTo>
                      <a:pt x="2048" y="882"/>
                    </a:lnTo>
                    <a:lnTo>
                      <a:pt x="2050" y="884"/>
                    </a:lnTo>
                    <a:lnTo>
                      <a:pt x="2050" y="884"/>
                    </a:lnTo>
                    <a:lnTo>
                      <a:pt x="2050" y="886"/>
                    </a:lnTo>
                    <a:lnTo>
                      <a:pt x="2052" y="888"/>
                    </a:lnTo>
                    <a:lnTo>
                      <a:pt x="2052" y="888"/>
                    </a:lnTo>
                    <a:lnTo>
                      <a:pt x="2052" y="888"/>
                    </a:lnTo>
                    <a:lnTo>
                      <a:pt x="2054" y="890"/>
                    </a:lnTo>
                    <a:lnTo>
                      <a:pt x="2058" y="894"/>
                    </a:lnTo>
                    <a:lnTo>
                      <a:pt x="2058" y="894"/>
                    </a:lnTo>
                    <a:lnTo>
                      <a:pt x="2058" y="896"/>
                    </a:lnTo>
                    <a:lnTo>
                      <a:pt x="2060" y="898"/>
                    </a:lnTo>
                    <a:lnTo>
                      <a:pt x="2060" y="900"/>
                    </a:lnTo>
                    <a:lnTo>
                      <a:pt x="2060" y="904"/>
                    </a:lnTo>
                    <a:lnTo>
                      <a:pt x="2060" y="910"/>
                    </a:lnTo>
                    <a:lnTo>
                      <a:pt x="2058" y="918"/>
                    </a:lnTo>
                    <a:lnTo>
                      <a:pt x="2058" y="922"/>
                    </a:lnTo>
                    <a:lnTo>
                      <a:pt x="2058" y="924"/>
                    </a:lnTo>
                    <a:lnTo>
                      <a:pt x="2058" y="926"/>
                    </a:lnTo>
                    <a:lnTo>
                      <a:pt x="2058" y="928"/>
                    </a:lnTo>
                    <a:lnTo>
                      <a:pt x="2058" y="928"/>
                    </a:lnTo>
                    <a:lnTo>
                      <a:pt x="2060" y="928"/>
                    </a:lnTo>
                    <a:lnTo>
                      <a:pt x="2060" y="930"/>
                    </a:lnTo>
                    <a:lnTo>
                      <a:pt x="2062" y="934"/>
                    </a:lnTo>
                    <a:lnTo>
                      <a:pt x="2064" y="938"/>
                    </a:lnTo>
                    <a:lnTo>
                      <a:pt x="2064" y="940"/>
                    </a:lnTo>
                    <a:lnTo>
                      <a:pt x="2066" y="942"/>
                    </a:lnTo>
                    <a:lnTo>
                      <a:pt x="2066" y="944"/>
                    </a:lnTo>
                    <a:lnTo>
                      <a:pt x="2066" y="948"/>
                    </a:lnTo>
                    <a:lnTo>
                      <a:pt x="2066" y="952"/>
                    </a:lnTo>
                    <a:lnTo>
                      <a:pt x="2066" y="956"/>
                    </a:lnTo>
                    <a:lnTo>
                      <a:pt x="2066" y="960"/>
                    </a:lnTo>
                    <a:lnTo>
                      <a:pt x="2064" y="964"/>
                    </a:lnTo>
                    <a:lnTo>
                      <a:pt x="2066" y="968"/>
                    </a:lnTo>
                    <a:lnTo>
                      <a:pt x="2066" y="970"/>
                    </a:lnTo>
                    <a:lnTo>
                      <a:pt x="2066" y="970"/>
                    </a:lnTo>
                    <a:lnTo>
                      <a:pt x="2066" y="970"/>
                    </a:lnTo>
                    <a:lnTo>
                      <a:pt x="2066" y="972"/>
                    </a:lnTo>
                    <a:lnTo>
                      <a:pt x="2066" y="972"/>
                    </a:lnTo>
                    <a:lnTo>
                      <a:pt x="2070" y="972"/>
                    </a:lnTo>
                    <a:lnTo>
                      <a:pt x="2070" y="972"/>
                    </a:lnTo>
                    <a:lnTo>
                      <a:pt x="2070" y="972"/>
                    </a:lnTo>
                    <a:lnTo>
                      <a:pt x="2072" y="972"/>
                    </a:lnTo>
                    <a:lnTo>
                      <a:pt x="2072" y="970"/>
                    </a:lnTo>
                    <a:lnTo>
                      <a:pt x="2074" y="970"/>
                    </a:lnTo>
                    <a:lnTo>
                      <a:pt x="2076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82" y="966"/>
                    </a:lnTo>
                    <a:lnTo>
                      <a:pt x="2084" y="966"/>
                    </a:lnTo>
                    <a:lnTo>
                      <a:pt x="2084" y="966"/>
                    </a:lnTo>
                    <a:lnTo>
                      <a:pt x="2084" y="966"/>
                    </a:lnTo>
                    <a:lnTo>
                      <a:pt x="2086" y="966"/>
                    </a:lnTo>
                    <a:lnTo>
                      <a:pt x="2086" y="966"/>
                    </a:lnTo>
                    <a:lnTo>
                      <a:pt x="2086" y="966"/>
                    </a:lnTo>
                    <a:lnTo>
                      <a:pt x="2088" y="964"/>
                    </a:lnTo>
                    <a:lnTo>
                      <a:pt x="2088" y="964"/>
                    </a:lnTo>
                    <a:lnTo>
                      <a:pt x="2088" y="964"/>
                    </a:lnTo>
                    <a:lnTo>
                      <a:pt x="2090" y="962"/>
                    </a:lnTo>
                    <a:lnTo>
                      <a:pt x="2090" y="962"/>
                    </a:lnTo>
                    <a:lnTo>
                      <a:pt x="2090" y="962"/>
                    </a:lnTo>
                    <a:lnTo>
                      <a:pt x="2092" y="960"/>
                    </a:lnTo>
                    <a:lnTo>
                      <a:pt x="2094" y="956"/>
                    </a:lnTo>
                    <a:lnTo>
                      <a:pt x="2096" y="954"/>
                    </a:lnTo>
                    <a:lnTo>
                      <a:pt x="2098" y="950"/>
                    </a:lnTo>
                    <a:lnTo>
                      <a:pt x="2100" y="942"/>
                    </a:lnTo>
                    <a:lnTo>
                      <a:pt x="2102" y="940"/>
                    </a:lnTo>
                    <a:lnTo>
                      <a:pt x="2102" y="936"/>
                    </a:lnTo>
                    <a:lnTo>
                      <a:pt x="2104" y="932"/>
                    </a:lnTo>
                    <a:lnTo>
                      <a:pt x="2106" y="926"/>
                    </a:lnTo>
                    <a:lnTo>
                      <a:pt x="2108" y="924"/>
                    </a:lnTo>
                    <a:lnTo>
                      <a:pt x="2108" y="922"/>
                    </a:lnTo>
                    <a:lnTo>
                      <a:pt x="2110" y="922"/>
                    </a:lnTo>
                    <a:lnTo>
                      <a:pt x="2110" y="922"/>
                    </a:lnTo>
                    <a:lnTo>
                      <a:pt x="2110" y="922"/>
                    </a:lnTo>
                    <a:lnTo>
                      <a:pt x="2112" y="922"/>
                    </a:lnTo>
                    <a:lnTo>
                      <a:pt x="2112" y="924"/>
                    </a:lnTo>
                    <a:lnTo>
                      <a:pt x="2114" y="926"/>
                    </a:lnTo>
                    <a:lnTo>
                      <a:pt x="2116" y="928"/>
                    </a:lnTo>
                    <a:lnTo>
                      <a:pt x="2116" y="928"/>
                    </a:lnTo>
                    <a:lnTo>
                      <a:pt x="2118" y="928"/>
                    </a:lnTo>
                    <a:lnTo>
                      <a:pt x="2118" y="928"/>
                    </a:lnTo>
                    <a:lnTo>
                      <a:pt x="2118" y="928"/>
                    </a:lnTo>
                    <a:lnTo>
                      <a:pt x="2122" y="928"/>
                    </a:lnTo>
                    <a:lnTo>
                      <a:pt x="2122" y="926"/>
                    </a:lnTo>
                    <a:lnTo>
                      <a:pt x="2122" y="926"/>
                    </a:lnTo>
                    <a:lnTo>
                      <a:pt x="2124" y="924"/>
                    </a:lnTo>
                    <a:lnTo>
                      <a:pt x="2124" y="924"/>
                    </a:lnTo>
                    <a:lnTo>
                      <a:pt x="2124" y="922"/>
                    </a:lnTo>
                    <a:lnTo>
                      <a:pt x="2122" y="920"/>
                    </a:lnTo>
                    <a:lnTo>
                      <a:pt x="2122" y="918"/>
                    </a:lnTo>
                    <a:lnTo>
                      <a:pt x="2122" y="914"/>
                    </a:lnTo>
                    <a:lnTo>
                      <a:pt x="2120" y="910"/>
                    </a:lnTo>
                    <a:lnTo>
                      <a:pt x="2120" y="908"/>
                    </a:lnTo>
                    <a:lnTo>
                      <a:pt x="2120" y="904"/>
                    </a:lnTo>
                    <a:lnTo>
                      <a:pt x="2118" y="902"/>
                    </a:lnTo>
                    <a:lnTo>
                      <a:pt x="2120" y="902"/>
                    </a:lnTo>
                    <a:lnTo>
                      <a:pt x="2120" y="900"/>
                    </a:lnTo>
                    <a:lnTo>
                      <a:pt x="2120" y="900"/>
                    </a:lnTo>
                    <a:lnTo>
                      <a:pt x="2122" y="898"/>
                    </a:lnTo>
                    <a:lnTo>
                      <a:pt x="2124" y="896"/>
                    </a:lnTo>
                    <a:lnTo>
                      <a:pt x="2126" y="894"/>
                    </a:lnTo>
                    <a:lnTo>
                      <a:pt x="2128" y="892"/>
                    </a:lnTo>
                    <a:lnTo>
                      <a:pt x="2132" y="890"/>
                    </a:lnTo>
                    <a:lnTo>
                      <a:pt x="2130" y="890"/>
                    </a:lnTo>
                    <a:lnTo>
                      <a:pt x="2134" y="888"/>
                    </a:lnTo>
                    <a:lnTo>
                      <a:pt x="2134" y="888"/>
                    </a:lnTo>
                    <a:lnTo>
                      <a:pt x="2134" y="888"/>
                    </a:lnTo>
                    <a:lnTo>
                      <a:pt x="2138" y="888"/>
                    </a:lnTo>
                    <a:lnTo>
                      <a:pt x="2142" y="890"/>
                    </a:lnTo>
                    <a:lnTo>
                      <a:pt x="2142" y="890"/>
                    </a:lnTo>
                    <a:lnTo>
                      <a:pt x="2142" y="890"/>
                    </a:lnTo>
                    <a:lnTo>
                      <a:pt x="2144" y="890"/>
                    </a:lnTo>
                    <a:lnTo>
                      <a:pt x="2144" y="890"/>
                    </a:lnTo>
                    <a:lnTo>
                      <a:pt x="2144" y="888"/>
                    </a:lnTo>
                    <a:lnTo>
                      <a:pt x="2146" y="888"/>
                    </a:lnTo>
                    <a:lnTo>
                      <a:pt x="2146" y="888"/>
                    </a:lnTo>
                    <a:lnTo>
                      <a:pt x="2146" y="888"/>
                    </a:lnTo>
                    <a:lnTo>
                      <a:pt x="2148" y="886"/>
                    </a:lnTo>
                    <a:lnTo>
                      <a:pt x="2148" y="886"/>
                    </a:lnTo>
                    <a:lnTo>
                      <a:pt x="2148" y="886"/>
                    </a:lnTo>
                    <a:lnTo>
                      <a:pt x="2152" y="884"/>
                    </a:lnTo>
                    <a:lnTo>
                      <a:pt x="2154" y="880"/>
                    </a:lnTo>
                    <a:lnTo>
                      <a:pt x="2154" y="880"/>
                    </a:lnTo>
                    <a:lnTo>
                      <a:pt x="2154" y="880"/>
                    </a:lnTo>
                    <a:lnTo>
                      <a:pt x="2154" y="878"/>
                    </a:lnTo>
                    <a:lnTo>
                      <a:pt x="2154" y="878"/>
                    </a:lnTo>
                    <a:lnTo>
                      <a:pt x="2154" y="878"/>
                    </a:lnTo>
                    <a:lnTo>
                      <a:pt x="2156" y="874"/>
                    </a:lnTo>
                    <a:lnTo>
                      <a:pt x="2156" y="874"/>
                    </a:lnTo>
                    <a:lnTo>
                      <a:pt x="2156" y="872"/>
                    </a:lnTo>
                    <a:lnTo>
                      <a:pt x="2156" y="868"/>
                    </a:lnTo>
                    <a:lnTo>
                      <a:pt x="2154" y="864"/>
                    </a:lnTo>
                    <a:lnTo>
                      <a:pt x="2154" y="860"/>
                    </a:lnTo>
                    <a:lnTo>
                      <a:pt x="2154" y="856"/>
                    </a:lnTo>
                    <a:lnTo>
                      <a:pt x="2154" y="852"/>
                    </a:lnTo>
                    <a:lnTo>
                      <a:pt x="2154" y="852"/>
                    </a:lnTo>
                    <a:lnTo>
                      <a:pt x="2154" y="850"/>
                    </a:lnTo>
                    <a:lnTo>
                      <a:pt x="2154" y="850"/>
                    </a:lnTo>
                    <a:lnTo>
                      <a:pt x="2156" y="850"/>
                    </a:lnTo>
                    <a:lnTo>
                      <a:pt x="2158" y="852"/>
                    </a:lnTo>
                    <a:lnTo>
                      <a:pt x="2162" y="852"/>
                    </a:lnTo>
                    <a:lnTo>
                      <a:pt x="2166" y="852"/>
                    </a:lnTo>
                    <a:lnTo>
                      <a:pt x="2168" y="852"/>
                    </a:lnTo>
                    <a:lnTo>
                      <a:pt x="2168" y="852"/>
                    </a:lnTo>
                    <a:lnTo>
                      <a:pt x="2170" y="852"/>
                    </a:lnTo>
                    <a:lnTo>
                      <a:pt x="2170" y="852"/>
                    </a:lnTo>
                    <a:lnTo>
                      <a:pt x="2172" y="852"/>
                    </a:lnTo>
                    <a:lnTo>
                      <a:pt x="2174" y="852"/>
                    </a:lnTo>
                    <a:lnTo>
                      <a:pt x="2174" y="852"/>
                    </a:lnTo>
                    <a:lnTo>
                      <a:pt x="2174" y="850"/>
                    </a:lnTo>
                    <a:lnTo>
                      <a:pt x="2176" y="848"/>
                    </a:lnTo>
                    <a:lnTo>
                      <a:pt x="2176" y="848"/>
                    </a:lnTo>
                    <a:lnTo>
                      <a:pt x="2176" y="848"/>
                    </a:lnTo>
                    <a:lnTo>
                      <a:pt x="2176" y="846"/>
                    </a:lnTo>
                    <a:lnTo>
                      <a:pt x="2176" y="846"/>
                    </a:lnTo>
                    <a:lnTo>
                      <a:pt x="2176" y="846"/>
                    </a:lnTo>
                    <a:lnTo>
                      <a:pt x="2176" y="844"/>
                    </a:lnTo>
                    <a:lnTo>
                      <a:pt x="2176" y="840"/>
                    </a:lnTo>
                    <a:lnTo>
                      <a:pt x="2174" y="836"/>
                    </a:lnTo>
                    <a:lnTo>
                      <a:pt x="2174" y="830"/>
                    </a:lnTo>
                    <a:lnTo>
                      <a:pt x="2174" y="828"/>
                    </a:lnTo>
                    <a:lnTo>
                      <a:pt x="2174" y="828"/>
                    </a:lnTo>
                    <a:lnTo>
                      <a:pt x="2174" y="828"/>
                    </a:lnTo>
                    <a:lnTo>
                      <a:pt x="2172" y="824"/>
                    </a:lnTo>
                    <a:lnTo>
                      <a:pt x="2168" y="820"/>
                    </a:lnTo>
                    <a:lnTo>
                      <a:pt x="2168" y="818"/>
                    </a:lnTo>
                    <a:lnTo>
                      <a:pt x="2166" y="816"/>
                    </a:lnTo>
                    <a:lnTo>
                      <a:pt x="2166" y="814"/>
                    </a:lnTo>
                    <a:lnTo>
                      <a:pt x="2166" y="812"/>
                    </a:lnTo>
                    <a:lnTo>
                      <a:pt x="2166" y="812"/>
                    </a:lnTo>
                    <a:lnTo>
                      <a:pt x="2166" y="810"/>
                    </a:lnTo>
                    <a:lnTo>
                      <a:pt x="2168" y="808"/>
                    </a:lnTo>
                    <a:lnTo>
                      <a:pt x="2170" y="806"/>
                    </a:lnTo>
                    <a:lnTo>
                      <a:pt x="2172" y="804"/>
                    </a:lnTo>
                    <a:lnTo>
                      <a:pt x="2174" y="804"/>
                    </a:lnTo>
                    <a:lnTo>
                      <a:pt x="2174" y="804"/>
                    </a:lnTo>
                    <a:lnTo>
                      <a:pt x="2174" y="802"/>
                    </a:lnTo>
                    <a:lnTo>
                      <a:pt x="2174" y="802"/>
                    </a:lnTo>
                    <a:lnTo>
                      <a:pt x="2174" y="802"/>
                    </a:lnTo>
                    <a:lnTo>
                      <a:pt x="2174" y="800"/>
                    </a:lnTo>
                    <a:lnTo>
                      <a:pt x="2174" y="800"/>
                    </a:lnTo>
                    <a:lnTo>
                      <a:pt x="2174" y="800"/>
                    </a:lnTo>
                    <a:lnTo>
                      <a:pt x="2174" y="798"/>
                    </a:lnTo>
                    <a:lnTo>
                      <a:pt x="2174" y="796"/>
                    </a:lnTo>
                    <a:lnTo>
                      <a:pt x="2172" y="796"/>
                    </a:lnTo>
                    <a:lnTo>
                      <a:pt x="2172" y="796"/>
                    </a:lnTo>
                    <a:lnTo>
                      <a:pt x="2172" y="796"/>
                    </a:lnTo>
                    <a:lnTo>
                      <a:pt x="2168" y="796"/>
                    </a:lnTo>
                    <a:lnTo>
                      <a:pt x="2166" y="796"/>
                    </a:lnTo>
                    <a:lnTo>
                      <a:pt x="2164" y="798"/>
                    </a:lnTo>
                    <a:lnTo>
                      <a:pt x="2160" y="798"/>
                    </a:lnTo>
                    <a:lnTo>
                      <a:pt x="2158" y="798"/>
                    </a:lnTo>
                    <a:lnTo>
                      <a:pt x="2158" y="798"/>
                    </a:lnTo>
                    <a:lnTo>
                      <a:pt x="2156" y="798"/>
                    </a:lnTo>
                    <a:lnTo>
                      <a:pt x="2156" y="798"/>
                    </a:lnTo>
                    <a:lnTo>
                      <a:pt x="2156" y="798"/>
                    </a:lnTo>
                    <a:lnTo>
                      <a:pt x="2156" y="794"/>
                    </a:lnTo>
                    <a:lnTo>
                      <a:pt x="2156" y="790"/>
                    </a:lnTo>
                    <a:lnTo>
                      <a:pt x="2156" y="786"/>
                    </a:lnTo>
                    <a:lnTo>
                      <a:pt x="2156" y="782"/>
                    </a:lnTo>
                    <a:lnTo>
                      <a:pt x="2156" y="780"/>
                    </a:lnTo>
                    <a:lnTo>
                      <a:pt x="2156" y="776"/>
                    </a:lnTo>
                    <a:lnTo>
                      <a:pt x="2158" y="774"/>
                    </a:lnTo>
                    <a:lnTo>
                      <a:pt x="2158" y="772"/>
                    </a:lnTo>
                    <a:lnTo>
                      <a:pt x="2160" y="770"/>
                    </a:lnTo>
                    <a:lnTo>
                      <a:pt x="2162" y="768"/>
                    </a:lnTo>
                    <a:lnTo>
                      <a:pt x="2164" y="766"/>
                    </a:lnTo>
                    <a:lnTo>
                      <a:pt x="2166" y="766"/>
                    </a:lnTo>
                    <a:lnTo>
                      <a:pt x="2168" y="766"/>
                    </a:lnTo>
                    <a:lnTo>
                      <a:pt x="2168" y="766"/>
                    </a:lnTo>
                    <a:lnTo>
                      <a:pt x="2168" y="770"/>
                    </a:lnTo>
                    <a:lnTo>
                      <a:pt x="2168" y="772"/>
                    </a:lnTo>
                    <a:lnTo>
                      <a:pt x="2168" y="772"/>
                    </a:lnTo>
                    <a:lnTo>
                      <a:pt x="2168" y="774"/>
                    </a:lnTo>
                    <a:lnTo>
                      <a:pt x="2168" y="774"/>
                    </a:lnTo>
                    <a:lnTo>
                      <a:pt x="2168" y="776"/>
                    </a:lnTo>
                    <a:lnTo>
                      <a:pt x="2170" y="776"/>
                    </a:lnTo>
                    <a:lnTo>
                      <a:pt x="2170" y="776"/>
                    </a:lnTo>
                    <a:lnTo>
                      <a:pt x="2172" y="778"/>
                    </a:lnTo>
                    <a:lnTo>
                      <a:pt x="2172" y="778"/>
                    </a:lnTo>
                    <a:lnTo>
                      <a:pt x="2172" y="778"/>
                    </a:lnTo>
                    <a:lnTo>
                      <a:pt x="2174" y="778"/>
                    </a:lnTo>
                    <a:lnTo>
                      <a:pt x="2176" y="778"/>
                    </a:lnTo>
                    <a:lnTo>
                      <a:pt x="2178" y="778"/>
                    </a:lnTo>
                    <a:lnTo>
                      <a:pt x="2182" y="778"/>
                    </a:lnTo>
                    <a:lnTo>
                      <a:pt x="2184" y="776"/>
                    </a:lnTo>
                    <a:lnTo>
                      <a:pt x="2188" y="776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2" y="772"/>
                    </a:lnTo>
                    <a:lnTo>
                      <a:pt x="2194" y="770"/>
                    </a:lnTo>
                    <a:lnTo>
                      <a:pt x="2194" y="770"/>
                    </a:lnTo>
                    <a:lnTo>
                      <a:pt x="2194" y="768"/>
                    </a:lnTo>
                    <a:lnTo>
                      <a:pt x="2194" y="766"/>
                    </a:lnTo>
                    <a:lnTo>
                      <a:pt x="2194" y="766"/>
                    </a:lnTo>
                    <a:lnTo>
                      <a:pt x="2194" y="764"/>
                    </a:lnTo>
                    <a:lnTo>
                      <a:pt x="2194" y="762"/>
                    </a:lnTo>
                    <a:lnTo>
                      <a:pt x="2194" y="762"/>
                    </a:lnTo>
                    <a:lnTo>
                      <a:pt x="2194" y="762"/>
                    </a:lnTo>
                    <a:lnTo>
                      <a:pt x="2194" y="760"/>
                    </a:lnTo>
                    <a:lnTo>
                      <a:pt x="2194" y="760"/>
                    </a:lnTo>
                    <a:lnTo>
                      <a:pt x="2194" y="760"/>
                    </a:lnTo>
                    <a:lnTo>
                      <a:pt x="2192" y="758"/>
                    </a:lnTo>
                    <a:lnTo>
                      <a:pt x="2192" y="758"/>
                    </a:lnTo>
                    <a:lnTo>
                      <a:pt x="2192" y="758"/>
                    </a:lnTo>
                    <a:lnTo>
                      <a:pt x="2190" y="756"/>
                    </a:lnTo>
                    <a:lnTo>
                      <a:pt x="2190" y="756"/>
                    </a:lnTo>
                    <a:lnTo>
                      <a:pt x="2190" y="756"/>
                    </a:lnTo>
                    <a:lnTo>
                      <a:pt x="2188" y="756"/>
                    </a:lnTo>
                    <a:lnTo>
                      <a:pt x="2188" y="756"/>
                    </a:lnTo>
                    <a:lnTo>
                      <a:pt x="2184" y="756"/>
                    </a:lnTo>
                    <a:lnTo>
                      <a:pt x="2180" y="758"/>
                    </a:lnTo>
                    <a:lnTo>
                      <a:pt x="2178" y="758"/>
                    </a:lnTo>
                    <a:lnTo>
                      <a:pt x="2178" y="758"/>
                    </a:lnTo>
                    <a:lnTo>
                      <a:pt x="2176" y="756"/>
                    </a:lnTo>
                    <a:lnTo>
                      <a:pt x="2174" y="756"/>
                    </a:lnTo>
                    <a:lnTo>
                      <a:pt x="2168" y="754"/>
                    </a:lnTo>
                    <a:lnTo>
                      <a:pt x="2166" y="754"/>
                    </a:lnTo>
                    <a:lnTo>
                      <a:pt x="2166" y="754"/>
                    </a:lnTo>
                    <a:lnTo>
                      <a:pt x="2166" y="752"/>
                    </a:lnTo>
                    <a:lnTo>
                      <a:pt x="2168" y="752"/>
                    </a:lnTo>
                    <a:lnTo>
                      <a:pt x="2172" y="750"/>
                    </a:lnTo>
                    <a:lnTo>
                      <a:pt x="2178" y="746"/>
                    </a:lnTo>
                    <a:lnTo>
                      <a:pt x="2182" y="744"/>
                    </a:lnTo>
                    <a:lnTo>
                      <a:pt x="2184" y="744"/>
                    </a:lnTo>
                    <a:lnTo>
                      <a:pt x="2190" y="742"/>
                    </a:lnTo>
                    <a:lnTo>
                      <a:pt x="2196" y="740"/>
                    </a:lnTo>
                    <a:lnTo>
                      <a:pt x="2202" y="738"/>
                    </a:lnTo>
                    <a:lnTo>
                      <a:pt x="2204" y="736"/>
                    </a:lnTo>
                    <a:lnTo>
                      <a:pt x="2204" y="736"/>
                    </a:lnTo>
                    <a:lnTo>
                      <a:pt x="2204" y="736"/>
                    </a:lnTo>
                    <a:lnTo>
                      <a:pt x="2206" y="736"/>
                    </a:lnTo>
                    <a:lnTo>
                      <a:pt x="2206" y="736"/>
                    </a:lnTo>
                    <a:lnTo>
                      <a:pt x="2208" y="734"/>
                    </a:lnTo>
                    <a:lnTo>
                      <a:pt x="2208" y="734"/>
                    </a:lnTo>
                    <a:lnTo>
                      <a:pt x="2208" y="734"/>
                    </a:lnTo>
                    <a:lnTo>
                      <a:pt x="2210" y="732"/>
                    </a:lnTo>
                    <a:lnTo>
                      <a:pt x="2210" y="730"/>
                    </a:lnTo>
                    <a:lnTo>
                      <a:pt x="2210" y="730"/>
                    </a:lnTo>
                    <a:lnTo>
                      <a:pt x="2212" y="730"/>
                    </a:lnTo>
                    <a:lnTo>
                      <a:pt x="2214" y="726"/>
                    </a:lnTo>
                    <a:lnTo>
                      <a:pt x="2214" y="724"/>
                    </a:lnTo>
                    <a:lnTo>
                      <a:pt x="2214" y="726"/>
                    </a:lnTo>
                    <a:lnTo>
                      <a:pt x="2214" y="728"/>
                    </a:lnTo>
                    <a:lnTo>
                      <a:pt x="2216" y="730"/>
                    </a:lnTo>
                    <a:lnTo>
                      <a:pt x="2216" y="730"/>
                    </a:lnTo>
                    <a:lnTo>
                      <a:pt x="2216" y="730"/>
                    </a:lnTo>
                    <a:lnTo>
                      <a:pt x="2216" y="732"/>
                    </a:lnTo>
                    <a:lnTo>
                      <a:pt x="2216" y="732"/>
                    </a:lnTo>
                    <a:lnTo>
                      <a:pt x="2218" y="734"/>
                    </a:lnTo>
                    <a:lnTo>
                      <a:pt x="2218" y="734"/>
                    </a:lnTo>
                    <a:lnTo>
                      <a:pt x="2218" y="734"/>
                    </a:lnTo>
                    <a:lnTo>
                      <a:pt x="2220" y="734"/>
                    </a:lnTo>
                    <a:lnTo>
                      <a:pt x="2222" y="734"/>
                    </a:lnTo>
                    <a:lnTo>
                      <a:pt x="2222" y="734"/>
                    </a:lnTo>
                    <a:lnTo>
                      <a:pt x="2222" y="734"/>
                    </a:lnTo>
                    <a:lnTo>
                      <a:pt x="2224" y="734"/>
                    </a:lnTo>
                    <a:lnTo>
                      <a:pt x="2224" y="734"/>
                    </a:lnTo>
                    <a:lnTo>
                      <a:pt x="2226" y="734"/>
                    </a:lnTo>
                    <a:lnTo>
                      <a:pt x="2228" y="732"/>
                    </a:lnTo>
                    <a:lnTo>
                      <a:pt x="2230" y="732"/>
                    </a:lnTo>
                    <a:lnTo>
                      <a:pt x="2236" y="728"/>
                    </a:lnTo>
                    <a:lnTo>
                      <a:pt x="2238" y="726"/>
                    </a:lnTo>
                    <a:lnTo>
                      <a:pt x="2240" y="726"/>
                    </a:lnTo>
                    <a:lnTo>
                      <a:pt x="2238" y="726"/>
                    </a:lnTo>
                    <a:lnTo>
                      <a:pt x="2242" y="724"/>
                    </a:lnTo>
                    <a:lnTo>
                      <a:pt x="2246" y="724"/>
                    </a:lnTo>
                    <a:lnTo>
                      <a:pt x="2250" y="724"/>
                    </a:lnTo>
                    <a:lnTo>
                      <a:pt x="2254" y="724"/>
                    </a:lnTo>
                    <a:lnTo>
                      <a:pt x="2258" y="724"/>
                    </a:lnTo>
                    <a:lnTo>
                      <a:pt x="2260" y="724"/>
                    </a:lnTo>
                    <a:lnTo>
                      <a:pt x="2262" y="724"/>
                    </a:lnTo>
                    <a:lnTo>
                      <a:pt x="2264" y="724"/>
                    </a:lnTo>
                    <a:lnTo>
                      <a:pt x="2264" y="724"/>
                    </a:lnTo>
                    <a:lnTo>
                      <a:pt x="2264" y="726"/>
                    </a:lnTo>
                    <a:lnTo>
                      <a:pt x="2266" y="726"/>
                    </a:lnTo>
                    <a:lnTo>
                      <a:pt x="2266" y="730"/>
                    </a:lnTo>
                    <a:lnTo>
                      <a:pt x="2266" y="732"/>
                    </a:lnTo>
                    <a:lnTo>
                      <a:pt x="2268" y="734"/>
                    </a:lnTo>
                    <a:lnTo>
                      <a:pt x="2268" y="736"/>
                    </a:lnTo>
                    <a:lnTo>
                      <a:pt x="2268" y="736"/>
                    </a:lnTo>
                    <a:lnTo>
                      <a:pt x="2268" y="738"/>
                    </a:lnTo>
                    <a:lnTo>
                      <a:pt x="2270" y="738"/>
                    </a:lnTo>
                    <a:lnTo>
                      <a:pt x="2270" y="738"/>
                    </a:lnTo>
                    <a:lnTo>
                      <a:pt x="2272" y="738"/>
                    </a:lnTo>
                    <a:lnTo>
                      <a:pt x="2272" y="738"/>
                    </a:lnTo>
                    <a:lnTo>
                      <a:pt x="2272" y="738"/>
                    </a:lnTo>
                    <a:lnTo>
                      <a:pt x="2274" y="738"/>
                    </a:lnTo>
                    <a:lnTo>
                      <a:pt x="2274" y="738"/>
                    </a:lnTo>
                    <a:lnTo>
                      <a:pt x="2274" y="738"/>
                    </a:lnTo>
                    <a:lnTo>
                      <a:pt x="2276" y="736"/>
                    </a:lnTo>
                    <a:lnTo>
                      <a:pt x="2276" y="736"/>
                    </a:lnTo>
                    <a:lnTo>
                      <a:pt x="2276" y="734"/>
                    </a:lnTo>
                    <a:lnTo>
                      <a:pt x="2278" y="730"/>
                    </a:lnTo>
                    <a:lnTo>
                      <a:pt x="2278" y="730"/>
                    </a:lnTo>
                    <a:lnTo>
                      <a:pt x="2280" y="728"/>
                    </a:lnTo>
                    <a:lnTo>
                      <a:pt x="2280" y="728"/>
                    </a:lnTo>
                    <a:lnTo>
                      <a:pt x="2282" y="728"/>
                    </a:lnTo>
                    <a:lnTo>
                      <a:pt x="2284" y="726"/>
                    </a:lnTo>
                    <a:lnTo>
                      <a:pt x="2286" y="726"/>
                    </a:lnTo>
                    <a:lnTo>
                      <a:pt x="2286" y="726"/>
                    </a:lnTo>
                    <a:lnTo>
                      <a:pt x="2286" y="726"/>
                    </a:lnTo>
                    <a:lnTo>
                      <a:pt x="2288" y="724"/>
                    </a:lnTo>
                    <a:lnTo>
                      <a:pt x="2288" y="724"/>
                    </a:lnTo>
                    <a:lnTo>
                      <a:pt x="2292" y="722"/>
                    </a:lnTo>
                    <a:lnTo>
                      <a:pt x="2294" y="720"/>
                    </a:lnTo>
                    <a:lnTo>
                      <a:pt x="2298" y="714"/>
                    </a:lnTo>
                    <a:lnTo>
                      <a:pt x="2304" y="708"/>
                    </a:lnTo>
                    <a:lnTo>
                      <a:pt x="2308" y="704"/>
                    </a:lnTo>
                    <a:lnTo>
                      <a:pt x="2312" y="700"/>
                    </a:lnTo>
                    <a:lnTo>
                      <a:pt x="2316" y="694"/>
                    </a:lnTo>
                    <a:lnTo>
                      <a:pt x="2318" y="692"/>
                    </a:lnTo>
                    <a:lnTo>
                      <a:pt x="2322" y="690"/>
                    </a:lnTo>
                    <a:lnTo>
                      <a:pt x="2324" y="688"/>
                    </a:lnTo>
                    <a:lnTo>
                      <a:pt x="2328" y="684"/>
                    </a:lnTo>
                    <a:lnTo>
                      <a:pt x="2332" y="682"/>
                    </a:lnTo>
                    <a:lnTo>
                      <a:pt x="2334" y="682"/>
                    </a:lnTo>
                    <a:lnTo>
                      <a:pt x="2340" y="678"/>
                    </a:lnTo>
                    <a:lnTo>
                      <a:pt x="2348" y="674"/>
                    </a:lnTo>
                    <a:lnTo>
                      <a:pt x="2356" y="672"/>
                    </a:lnTo>
                    <a:lnTo>
                      <a:pt x="2362" y="668"/>
                    </a:lnTo>
                    <a:lnTo>
                      <a:pt x="2370" y="664"/>
                    </a:lnTo>
                    <a:lnTo>
                      <a:pt x="2376" y="662"/>
                    </a:lnTo>
                    <a:lnTo>
                      <a:pt x="2378" y="660"/>
                    </a:lnTo>
                    <a:lnTo>
                      <a:pt x="2386" y="658"/>
                    </a:lnTo>
                    <a:lnTo>
                      <a:pt x="2386" y="656"/>
                    </a:lnTo>
                    <a:lnTo>
                      <a:pt x="2388" y="656"/>
                    </a:lnTo>
                    <a:lnTo>
                      <a:pt x="2388" y="656"/>
                    </a:lnTo>
                    <a:lnTo>
                      <a:pt x="2388" y="656"/>
                    </a:lnTo>
                    <a:lnTo>
                      <a:pt x="2390" y="656"/>
                    </a:lnTo>
                    <a:lnTo>
                      <a:pt x="2392" y="658"/>
                    </a:lnTo>
                    <a:lnTo>
                      <a:pt x="2394" y="658"/>
                    </a:lnTo>
                    <a:lnTo>
                      <a:pt x="2400" y="660"/>
                    </a:lnTo>
                    <a:lnTo>
                      <a:pt x="2402" y="662"/>
                    </a:lnTo>
                    <a:lnTo>
                      <a:pt x="2404" y="662"/>
                    </a:lnTo>
                    <a:lnTo>
                      <a:pt x="2404" y="662"/>
                    </a:lnTo>
                    <a:lnTo>
                      <a:pt x="2404" y="662"/>
                    </a:lnTo>
                    <a:lnTo>
                      <a:pt x="2408" y="664"/>
                    </a:lnTo>
                    <a:lnTo>
                      <a:pt x="2408" y="664"/>
                    </a:lnTo>
                    <a:lnTo>
                      <a:pt x="2410" y="662"/>
                    </a:lnTo>
                    <a:lnTo>
                      <a:pt x="2410" y="662"/>
                    </a:lnTo>
                    <a:lnTo>
                      <a:pt x="2410" y="662"/>
                    </a:lnTo>
                    <a:lnTo>
                      <a:pt x="2412" y="662"/>
                    </a:lnTo>
                    <a:lnTo>
                      <a:pt x="2412" y="662"/>
                    </a:lnTo>
                    <a:lnTo>
                      <a:pt x="2414" y="660"/>
                    </a:lnTo>
                    <a:lnTo>
                      <a:pt x="2414" y="660"/>
                    </a:lnTo>
                    <a:lnTo>
                      <a:pt x="2414" y="660"/>
                    </a:lnTo>
                    <a:lnTo>
                      <a:pt x="2416" y="658"/>
                    </a:lnTo>
                    <a:lnTo>
                      <a:pt x="2416" y="656"/>
                    </a:lnTo>
                    <a:lnTo>
                      <a:pt x="2418" y="654"/>
                    </a:lnTo>
                    <a:lnTo>
                      <a:pt x="2420" y="648"/>
                    </a:lnTo>
                    <a:lnTo>
                      <a:pt x="2420" y="644"/>
                    </a:lnTo>
                    <a:lnTo>
                      <a:pt x="2422" y="642"/>
                    </a:lnTo>
                    <a:lnTo>
                      <a:pt x="2422" y="642"/>
                    </a:lnTo>
                    <a:lnTo>
                      <a:pt x="2422" y="642"/>
                    </a:lnTo>
                    <a:lnTo>
                      <a:pt x="2420" y="640"/>
                    </a:lnTo>
                    <a:lnTo>
                      <a:pt x="2420" y="640"/>
                    </a:lnTo>
                    <a:lnTo>
                      <a:pt x="2420" y="638"/>
                    </a:lnTo>
                    <a:lnTo>
                      <a:pt x="2420" y="638"/>
                    </a:lnTo>
                    <a:lnTo>
                      <a:pt x="2420" y="638"/>
                    </a:lnTo>
                    <a:lnTo>
                      <a:pt x="2420" y="636"/>
                    </a:lnTo>
                    <a:lnTo>
                      <a:pt x="2418" y="636"/>
                    </a:lnTo>
                    <a:lnTo>
                      <a:pt x="2416" y="634"/>
                    </a:lnTo>
                    <a:lnTo>
                      <a:pt x="2414" y="630"/>
                    </a:lnTo>
                    <a:lnTo>
                      <a:pt x="2412" y="628"/>
                    </a:lnTo>
                    <a:lnTo>
                      <a:pt x="2410" y="626"/>
                    </a:lnTo>
                    <a:lnTo>
                      <a:pt x="2410" y="624"/>
                    </a:lnTo>
                    <a:lnTo>
                      <a:pt x="2408" y="622"/>
                    </a:lnTo>
                    <a:lnTo>
                      <a:pt x="2404" y="614"/>
                    </a:lnTo>
                    <a:lnTo>
                      <a:pt x="2404" y="612"/>
                    </a:lnTo>
                    <a:lnTo>
                      <a:pt x="2402" y="608"/>
                    </a:lnTo>
                    <a:lnTo>
                      <a:pt x="2400" y="604"/>
                    </a:lnTo>
                    <a:lnTo>
                      <a:pt x="2398" y="602"/>
                    </a:lnTo>
                    <a:lnTo>
                      <a:pt x="2398" y="600"/>
                    </a:lnTo>
                    <a:lnTo>
                      <a:pt x="2396" y="600"/>
                    </a:lnTo>
                    <a:lnTo>
                      <a:pt x="2396" y="600"/>
                    </a:lnTo>
                    <a:lnTo>
                      <a:pt x="2396" y="598"/>
                    </a:lnTo>
                    <a:lnTo>
                      <a:pt x="2394" y="596"/>
                    </a:lnTo>
                    <a:lnTo>
                      <a:pt x="2392" y="594"/>
                    </a:lnTo>
                    <a:lnTo>
                      <a:pt x="2390" y="592"/>
                    </a:lnTo>
                    <a:lnTo>
                      <a:pt x="2386" y="592"/>
                    </a:lnTo>
                    <a:lnTo>
                      <a:pt x="2386" y="592"/>
                    </a:lnTo>
                    <a:lnTo>
                      <a:pt x="2386" y="590"/>
                    </a:lnTo>
                    <a:lnTo>
                      <a:pt x="2384" y="590"/>
                    </a:lnTo>
                    <a:lnTo>
                      <a:pt x="2382" y="588"/>
                    </a:lnTo>
                    <a:lnTo>
                      <a:pt x="2382" y="588"/>
                    </a:lnTo>
                    <a:lnTo>
                      <a:pt x="2380" y="584"/>
                    </a:lnTo>
                    <a:lnTo>
                      <a:pt x="2378" y="582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8" y="578"/>
                    </a:lnTo>
                    <a:lnTo>
                      <a:pt x="2382" y="576"/>
                    </a:lnTo>
                    <a:lnTo>
                      <a:pt x="2382" y="576"/>
                    </a:lnTo>
                    <a:lnTo>
                      <a:pt x="2384" y="576"/>
                    </a:lnTo>
                    <a:lnTo>
                      <a:pt x="2384" y="578"/>
                    </a:lnTo>
                    <a:lnTo>
                      <a:pt x="2384" y="578"/>
                    </a:lnTo>
                    <a:lnTo>
                      <a:pt x="2386" y="580"/>
                    </a:lnTo>
                    <a:lnTo>
                      <a:pt x="2388" y="584"/>
                    </a:lnTo>
                    <a:lnTo>
                      <a:pt x="2388" y="584"/>
                    </a:lnTo>
                    <a:lnTo>
                      <a:pt x="2390" y="584"/>
                    </a:lnTo>
                    <a:lnTo>
                      <a:pt x="2390" y="584"/>
                    </a:lnTo>
                    <a:lnTo>
                      <a:pt x="2390" y="584"/>
                    </a:lnTo>
                    <a:lnTo>
                      <a:pt x="2392" y="586"/>
                    </a:lnTo>
                    <a:lnTo>
                      <a:pt x="2394" y="586"/>
                    </a:lnTo>
                    <a:lnTo>
                      <a:pt x="2394" y="586"/>
                    </a:lnTo>
                    <a:lnTo>
                      <a:pt x="2394" y="586"/>
                    </a:lnTo>
                    <a:lnTo>
                      <a:pt x="2396" y="586"/>
                    </a:lnTo>
                    <a:lnTo>
                      <a:pt x="2400" y="586"/>
                    </a:lnTo>
                    <a:lnTo>
                      <a:pt x="2406" y="586"/>
                    </a:lnTo>
                    <a:lnTo>
                      <a:pt x="2412" y="584"/>
                    </a:lnTo>
                    <a:lnTo>
                      <a:pt x="2414" y="584"/>
                    </a:lnTo>
                    <a:lnTo>
                      <a:pt x="2416" y="582"/>
                    </a:lnTo>
                    <a:lnTo>
                      <a:pt x="2416" y="582"/>
                    </a:lnTo>
                    <a:lnTo>
                      <a:pt x="2418" y="582"/>
                    </a:lnTo>
                    <a:lnTo>
                      <a:pt x="2420" y="580"/>
                    </a:lnTo>
                    <a:lnTo>
                      <a:pt x="2420" y="580"/>
                    </a:lnTo>
                    <a:lnTo>
                      <a:pt x="2420" y="580"/>
                    </a:lnTo>
                    <a:lnTo>
                      <a:pt x="2422" y="578"/>
                    </a:lnTo>
                    <a:lnTo>
                      <a:pt x="2424" y="576"/>
                    </a:lnTo>
                    <a:lnTo>
                      <a:pt x="2424" y="572"/>
                    </a:lnTo>
                    <a:lnTo>
                      <a:pt x="2426" y="570"/>
                    </a:lnTo>
                    <a:lnTo>
                      <a:pt x="2426" y="570"/>
                    </a:lnTo>
                    <a:lnTo>
                      <a:pt x="2426" y="570"/>
                    </a:lnTo>
                    <a:lnTo>
                      <a:pt x="2426" y="566"/>
                    </a:lnTo>
                    <a:lnTo>
                      <a:pt x="2428" y="564"/>
                    </a:lnTo>
                    <a:lnTo>
                      <a:pt x="2428" y="562"/>
                    </a:lnTo>
                    <a:lnTo>
                      <a:pt x="2428" y="560"/>
                    </a:lnTo>
                    <a:lnTo>
                      <a:pt x="2430" y="560"/>
                    </a:lnTo>
                    <a:lnTo>
                      <a:pt x="2432" y="558"/>
                    </a:lnTo>
                    <a:lnTo>
                      <a:pt x="2432" y="558"/>
                    </a:lnTo>
                    <a:lnTo>
                      <a:pt x="2432" y="558"/>
                    </a:lnTo>
                    <a:lnTo>
                      <a:pt x="2432" y="556"/>
                    </a:lnTo>
                    <a:lnTo>
                      <a:pt x="2432" y="556"/>
                    </a:lnTo>
                    <a:lnTo>
                      <a:pt x="2432" y="556"/>
                    </a:lnTo>
                    <a:lnTo>
                      <a:pt x="2432" y="558"/>
                    </a:lnTo>
                    <a:lnTo>
                      <a:pt x="2434" y="560"/>
                    </a:lnTo>
                    <a:lnTo>
                      <a:pt x="2434" y="560"/>
                    </a:lnTo>
                    <a:lnTo>
                      <a:pt x="2434" y="560"/>
                    </a:lnTo>
                    <a:lnTo>
                      <a:pt x="2436" y="562"/>
                    </a:lnTo>
                    <a:lnTo>
                      <a:pt x="2436" y="562"/>
                    </a:lnTo>
                    <a:lnTo>
                      <a:pt x="2436" y="562"/>
                    </a:lnTo>
                    <a:lnTo>
                      <a:pt x="2438" y="562"/>
                    </a:lnTo>
                    <a:lnTo>
                      <a:pt x="2438" y="562"/>
                    </a:lnTo>
                    <a:lnTo>
                      <a:pt x="2440" y="564"/>
                    </a:lnTo>
                    <a:lnTo>
                      <a:pt x="2442" y="564"/>
                    </a:lnTo>
                    <a:lnTo>
                      <a:pt x="2444" y="564"/>
                    </a:lnTo>
                    <a:lnTo>
                      <a:pt x="2450" y="562"/>
                    </a:lnTo>
                    <a:lnTo>
                      <a:pt x="2452" y="562"/>
                    </a:lnTo>
                    <a:lnTo>
                      <a:pt x="2456" y="562"/>
                    </a:lnTo>
                    <a:lnTo>
                      <a:pt x="2458" y="562"/>
                    </a:lnTo>
                    <a:lnTo>
                      <a:pt x="2458" y="562"/>
                    </a:lnTo>
                    <a:lnTo>
                      <a:pt x="2458" y="562"/>
                    </a:lnTo>
                    <a:lnTo>
                      <a:pt x="2460" y="560"/>
                    </a:lnTo>
                    <a:lnTo>
                      <a:pt x="2460" y="560"/>
                    </a:lnTo>
                    <a:lnTo>
                      <a:pt x="2460" y="560"/>
                    </a:lnTo>
                    <a:lnTo>
                      <a:pt x="2462" y="558"/>
                    </a:lnTo>
                    <a:lnTo>
                      <a:pt x="2466" y="556"/>
                    </a:lnTo>
                    <a:lnTo>
                      <a:pt x="2466" y="556"/>
                    </a:lnTo>
                    <a:lnTo>
                      <a:pt x="2466" y="556"/>
                    </a:lnTo>
                    <a:lnTo>
                      <a:pt x="2468" y="556"/>
                    </a:lnTo>
                    <a:lnTo>
                      <a:pt x="2472" y="556"/>
                    </a:lnTo>
                    <a:lnTo>
                      <a:pt x="2472" y="556"/>
                    </a:lnTo>
                    <a:lnTo>
                      <a:pt x="2474" y="556"/>
                    </a:lnTo>
                    <a:lnTo>
                      <a:pt x="2474" y="556"/>
                    </a:lnTo>
                    <a:lnTo>
                      <a:pt x="2474" y="558"/>
                    </a:lnTo>
                    <a:lnTo>
                      <a:pt x="2474" y="560"/>
                    </a:lnTo>
                    <a:lnTo>
                      <a:pt x="2472" y="564"/>
                    </a:lnTo>
                    <a:lnTo>
                      <a:pt x="2470" y="566"/>
                    </a:lnTo>
                    <a:lnTo>
                      <a:pt x="2470" y="570"/>
                    </a:lnTo>
                    <a:lnTo>
                      <a:pt x="2470" y="570"/>
                    </a:lnTo>
                    <a:lnTo>
                      <a:pt x="2470" y="572"/>
                    </a:lnTo>
                    <a:lnTo>
                      <a:pt x="2470" y="572"/>
                    </a:lnTo>
                    <a:lnTo>
                      <a:pt x="2470" y="572"/>
                    </a:lnTo>
                    <a:lnTo>
                      <a:pt x="2470" y="574"/>
                    </a:lnTo>
                    <a:lnTo>
                      <a:pt x="2470" y="574"/>
                    </a:lnTo>
                    <a:lnTo>
                      <a:pt x="2470" y="576"/>
                    </a:lnTo>
                    <a:lnTo>
                      <a:pt x="2472" y="578"/>
                    </a:lnTo>
                    <a:lnTo>
                      <a:pt x="2472" y="578"/>
                    </a:lnTo>
                    <a:lnTo>
                      <a:pt x="2472" y="578"/>
                    </a:lnTo>
                    <a:lnTo>
                      <a:pt x="2474" y="578"/>
                    </a:lnTo>
                    <a:lnTo>
                      <a:pt x="2474" y="578"/>
                    </a:lnTo>
                    <a:lnTo>
                      <a:pt x="2476" y="580"/>
                    </a:lnTo>
                    <a:lnTo>
                      <a:pt x="2478" y="580"/>
                    </a:lnTo>
                    <a:lnTo>
                      <a:pt x="2480" y="580"/>
                    </a:lnTo>
                    <a:lnTo>
                      <a:pt x="2486" y="580"/>
                    </a:lnTo>
                    <a:lnTo>
                      <a:pt x="2488" y="580"/>
                    </a:lnTo>
                    <a:lnTo>
                      <a:pt x="2490" y="582"/>
                    </a:lnTo>
                    <a:lnTo>
                      <a:pt x="2492" y="582"/>
                    </a:lnTo>
                    <a:lnTo>
                      <a:pt x="2492" y="584"/>
                    </a:lnTo>
                    <a:lnTo>
                      <a:pt x="2494" y="588"/>
                    </a:lnTo>
                    <a:lnTo>
                      <a:pt x="2496" y="592"/>
                    </a:lnTo>
                    <a:lnTo>
                      <a:pt x="2498" y="594"/>
                    </a:lnTo>
                    <a:lnTo>
                      <a:pt x="2500" y="596"/>
                    </a:lnTo>
                    <a:lnTo>
                      <a:pt x="2500" y="596"/>
                    </a:lnTo>
                    <a:lnTo>
                      <a:pt x="2500" y="596"/>
                    </a:lnTo>
                    <a:lnTo>
                      <a:pt x="2502" y="598"/>
                    </a:lnTo>
                    <a:lnTo>
                      <a:pt x="2504" y="600"/>
                    </a:lnTo>
                    <a:lnTo>
                      <a:pt x="2510" y="602"/>
                    </a:lnTo>
                    <a:lnTo>
                      <a:pt x="2512" y="604"/>
                    </a:lnTo>
                    <a:lnTo>
                      <a:pt x="2514" y="604"/>
                    </a:lnTo>
                    <a:lnTo>
                      <a:pt x="2514" y="604"/>
                    </a:lnTo>
                    <a:lnTo>
                      <a:pt x="2516" y="604"/>
                    </a:lnTo>
                    <a:lnTo>
                      <a:pt x="2516" y="604"/>
                    </a:lnTo>
                    <a:lnTo>
                      <a:pt x="2518" y="604"/>
                    </a:lnTo>
                    <a:lnTo>
                      <a:pt x="2520" y="604"/>
                    </a:lnTo>
                    <a:lnTo>
                      <a:pt x="2520" y="604"/>
                    </a:lnTo>
                    <a:lnTo>
                      <a:pt x="2520" y="602"/>
                    </a:lnTo>
                    <a:lnTo>
                      <a:pt x="2522" y="602"/>
                    </a:lnTo>
                    <a:lnTo>
                      <a:pt x="2522" y="602"/>
                    </a:lnTo>
                    <a:lnTo>
                      <a:pt x="2522" y="600"/>
                    </a:lnTo>
                    <a:lnTo>
                      <a:pt x="2522" y="598"/>
                    </a:lnTo>
                    <a:lnTo>
                      <a:pt x="2522" y="596"/>
                    </a:lnTo>
                    <a:lnTo>
                      <a:pt x="2522" y="594"/>
                    </a:lnTo>
                    <a:lnTo>
                      <a:pt x="2522" y="588"/>
                    </a:lnTo>
                    <a:lnTo>
                      <a:pt x="2522" y="586"/>
                    </a:lnTo>
                    <a:lnTo>
                      <a:pt x="2522" y="586"/>
                    </a:lnTo>
                    <a:lnTo>
                      <a:pt x="2522" y="584"/>
                    </a:lnTo>
                    <a:lnTo>
                      <a:pt x="2522" y="584"/>
                    </a:lnTo>
                    <a:lnTo>
                      <a:pt x="2524" y="580"/>
                    </a:lnTo>
                    <a:lnTo>
                      <a:pt x="2526" y="578"/>
                    </a:lnTo>
                    <a:lnTo>
                      <a:pt x="2528" y="574"/>
                    </a:lnTo>
                    <a:lnTo>
                      <a:pt x="2530" y="570"/>
                    </a:lnTo>
                    <a:lnTo>
                      <a:pt x="2534" y="566"/>
                    </a:lnTo>
                    <a:lnTo>
                      <a:pt x="2536" y="562"/>
                    </a:lnTo>
                    <a:lnTo>
                      <a:pt x="2538" y="560"/>
                    </a:lnTo>
                    <a:lnTo>
                      <a:pt x="2538" y="560"/>
                    </a:lnTo>
                    <a:lnTo>
                      <a:pt x="2538" y="560"/>
                    </a:lnTo>
                    <a:lnTo>
                      <a:pt x="2540" y="558"/>
                    </a:lnTo>
                    <a:lnTo>
                      <a:pt x="2540" y="558"/>
                    </a:lnTo>
                    <a:lnTo>
                      <a:pt x="2540" y="556"/>
                    </a:lnTo>
                    <a:lnTo>
                      <a:pt x="2540" y="556"/>
                    </a:lnTo>
                    <a:lnTo>
                      <a:pt x="2540" y="556"/>
                    </a:lnTo>
                    <a:lnTo>
                      <a:pt x="2540" y="554"/>
                    </a:lnTo>
                    <a:lnTo>
                      <a:pt x="2542" y="554"/>
                    </a:lnTo>
                    <a:lnTo>
                      <a:pt x="2544" y="554"/>
                    </a:lnTo>
                    <a:lnTo>
                      <a:pt x="2548" y="556"/>
                    </a:lnTo>
                    <a:lnTo>
                      <a:pt x="2548" y="556"/>
                    </a:lnTo>
                    <a:lnTo>
                      <a:pt x="2548" y="556"/>
                    </a:lnTo>
                    <a:lnTo>
                      <a:pt x="2552" y="554"/>
                    </a:lnTo>
                    <a:lnTo>
                      <a:pt x="2552" y="554"/>
                    </a:lnTo>
                    <a:lnTo>
                      <a:pt x="2552" y="554"/>
                    </a:lnTo>
                    <a:lnTo>
                      <a:pt x="2554" y="554"/>
                    </a:lnTo>
                    <a:lnTo>
                      <a:pt x="2554" y="554"/>
                    </a:lnTo>
                    <a:lnTo>
                      <a:pt x="2556" y="554"/>
                    </a:lnTo>
                    <a:lnTo>
                      <a:pt x="2558" y="552"/>
                    </a:lnTo>
                    <a:lnTo>
                      <a:pt x="2558" y="552"/>
                    </a:lnTo>
                    <a:lnTo>
                      <a:pt x="2558" y="552"/>
                    </a:lnTo>
                    <a:lnTo>
                      <a:pt x="2560" y="550"/>
                    </a:lnTo>
                    <a:lnTo>
                      <a:pt x="2562" y="548"/>
                    </a:lnTo>
                    <a:lnTo>
                      <a:pt x="2564" y="546"/>
                    </a:lnTo>
                    <a:lnTo>
                      <a:pt x="2566" y="542"/>
                    </a:lnTo>
                    <a:lnTo>
                      <a:pt x="2566" y="542"/>
                    </a:lnTo>
                    <a:lnTo>
                      <a:pt x="2566" y="540"/>
                    </a:lnTo>
                    <a:lnTo>
                      <a:pt x="2566" y="538"/>
                    </a:lnTo>
                    <a:lnTo>
                      <a:pt x="2566" y="538"/>
                    </a:lnTo>
                    <a:lnTo>
                      <a:pt x="2566" y="538"/>
                    </a:lnTo>
                    <a:lnTo>
                      <a:pt x="2568" y="536"/>
                    </a:lnTo>
                    <a:lnTo>
                      <a:pt x="2568" y="536"/>
                    </a:lnTo>
                    <a:lnTo>
                      <a:pt x="2568" y="534"/>
                    </a:lnTo>
                    <a:lnTo>
                      <a:pt x="2568" y="534"/>
                    </a:lnTo>
                    <a:lnTo>
                      <a:pt x="2568" y="532"/>
                    </a:lnTo>
                    <a:lnTo>
                      <a:pt x="2568" y="530"/>
                    </a:lnTo>
                    <a:close/>
                    <a:moveTo>
                      <a:pt x="874" y="436"/>
                    </a:moveTo>
                    <a:lnTo>
                      <a:pt x="872" y="434"/>
                    </a:lnTo>
                    <a:lnTo>
                      <a:pt x="870" y="434"/>
                    </a:lnTo>
                    <a:lnTo>
                      <a:pt x="870" y="432"/>
                    </a:lnTo>
                    <a:lnTo>
                      <a:pt x="868" y="428"/>
                    </a:lnTo>
                    <a:lnTo>
                      <a:pt x="866" y="426"/>
                    </a:lnTo>
                    <a:lnTo>
                      <a:pt x="864" y="422"/>
                    </a:lnTo>
                    <a:lnTo>
                      <a:pt x="862" y="418"/>
                    </a:lnTo>
                    <a:lnTo>
                      <a:pt x="862" y="414"/>
                    </a:lnTo>
                    <a:lnTo>
                      <a:pt x="860" y="414"/>
                    </a:lnTo>
                    <a:lnTo>
                      <a:pt x="862" y="414"/>
                    </a:lnTo>
                    <a:lnTo>
                      <a:pt x="864" y="414"/>
                    </a:lnTo>
                    <a:lnTo>
                      <a:pt x="864" y="414"/>
                    </a:lnTo>
                    <a:lnTo>
                      <a:pt x="866" y="414"/>
                    </a:lnTo>
                    <a:lnTo>
                      <a:pt x="868" y="416"/>
                    </a:lnTo>
                    <a:lnTo>
                      <a:pt x="868" y="414"/>
                    </a:lnTo>
                    <a:lnTo>
                      <a:pt x="870" y="416"/>
                    </a:lnTo>
                    <a:lnTo>
                      <a:pt x="874" y="420"/>
                    </a:lnTo>
                    <a:lnTo>
                      <a:pt x="876" y="422"/>
                    </a:lnTo>
                    <a:lnTo>
                      <a:pt x="880" y="424"/>
                    </a:lnTo>
                    <a:lnTo>
                      <a:pt x="880" y="428"/>
                    </a:lnTo>
                    <a:lnTo>
                      <a:pt x="880" y="428"/>
                    </a:lnTo>
                    <a:lnTo>
                      <a:pt x="882" y="430"/>
                    </a:lnTo>
                    <a:lnTo>
                      <a:pt x="882" y="432"/>
                    </a:lnTo>
                    <a:lnTo>
                      <a:pt x="882" y="438"/>
                    </a:lnTo>
                    <a:lnTo>
                      <a:pt x="882" y="442"/>
                    </a:lnTo>
                    <a:lnTo>
                      <a:pt x="880" y="442"/>
                    </a:lnTo>
                    <a:lnTo>
                      <a:pt x="880" y="442"/>
                    </a:lnTo>
                    <a:lnTo>
                      <a:pt x="880" y="442"/>
                    </a:lnTo>
                    <a:lnTo>
                      <a:pt x="880" y="440"/>
                    </a:lnTo>
                    <a:lnTo>
                      <a:pt x="878" y="440"/>
                    </a:lnTo>
                    <a:lnTo>
                      <a:pt x="876" y="438"/>
                    </a:lnTo>
                    <a:lnTo>
                      <a:pt x="874" y="436"/>
                    </a:lnTo>
                    <a:close/>
                    <a:moveTo>
                      <a:pt x="886" y="474"/>
                    </a:moveTo>
                    <a:lnTo>
                      <a:pt x="882" y="472"/>
                    </a:lnTo>
                    <a:lnTo>
                      <a:pt x="880" y="470"/>
                    </a:lnTo>
                    <a:lnTo>
                      <a:pt x="878" y="466"/>
                    </a:lnTo>
                    <a:lnTo>
                      <a:pt x="880" y="468"/>
                    </a:lnTo>
                    <a:lnTo>
                      <a:pt x="878" y="466"/>
                    </a:lnTo>
                    <a:lnTo>
                      <a:pt x="878" y="464"/>
                    </a:lnTo>
                    <a:lnTo>
                      <a:pt x="878" y="462"/>
                    </a:lnTo>
                    <a:lnTo>
                      <a:pt x="878" y="458"/>
                    </a:lnTo>
                    <a:lnTo>
                      <a:pt x="880" y="456"/>
                    </a:lnTo>
                    <a:lnTo>
                      <a:pt x="880" y="450"/>
                    </a:lnTo>
                    <a:lnTo>
                      <a:pt x="880" y="452"/>
                    </a:lnTo>
                    <a:lnTo>
                      <a:pt x="880" y="454"/>
                    </a:lnTo>
                    <a:lnTo>
                      <a:pt x="882" y="456"/>
                    </a:lnTo>
                    <a:lnTo>
                      <a:pt x="882" y="458"/>
                    </a:lnTo>
                    <a:lnTo>
                      <a:pt x="882" y="460"/>
                    </a:lnTo>
                    <a:lnTo>
                      <a:pt x="882" y="462"/>
                    </a:lnTo>
                    <a:lnTo>
                      <a:pt x="884" y="466"/>
                    </a:lnTo>
                    <a:lnTo>
                      <a:pt x="884" y="468"/>
                    </a:lnTo>
                    <a:lnTo>
                      <a:pt x="886" y="472"/>
                    </a:lnTo>
                    <a:lnTo>
                      <a:pt x="886" y="474"/>
                    </a:lnTo>
                    <a:lnTo>
                      <a:pt x="886" y="474"/>
                    </a:lnTo>
                    <a:close/>
                    <a:moveTo>
                      <a:pt x="888" y="330"/>
                    </a:moveTo>
                    <a:lnTo>
                      <a:pt x="886" y="330"/>
                    </a:lnTo>
                    <a:lnTo>
                      <a:pt x="882" y="330"/>
                    </a:lnTo>
                    <a:lnTo>
                      <a:pt x="878" y="330"/>
                    </a:lnTo>
                    <a:lnTo>
                      <a:pt x="874" y="330"/>
                    </a:lnTo>
                    <a:lnTo>
                      <a:pt x="872" y="328"/>
                    </a:lnTo>
                    <a:lnTo>
                      <a:pt x="868" y="328"/>
                    </a:lnTo>
                    <a:lnTo>
                      <a:pt x="866" y="326"/>
                    </a:lnTo>
                    <a:lnTo>
                      <a:pt x="862" y="324"/>
                    </a:lnTo>
                    <a:lnTo>
                      <a:pt x="858" y="320"/>
                    </a:lnTo>
                    <a:lnTo>
                      <a:pt x="854" y="318"/>
                    </a:lnTo>
                    <a:lnTo>
                      <a:pt x="852" y="316"/>
                    </a:lnTo>
                    <a:lnTo>
                      <a:pt x="848" y="314"/>
                    </a:lnTo>
                    <a:lnTo>
                      <a:pt x="846" y="310"/>
                    </a:lnTo>
                    <a:lnTo>
                      <a:pt x="848" y="312"/>
                    </a:lnTo>
                    <a:lnTo>
                      <a:pt x="846" y="310"/>
                    </a:lnTo>
                    <a:lnTo>
                      <a:pt x="846" y="308"/>
                    </a:lnTo>
                    <a:lnTo>
                      <a:pt x="846" y="308"/>
                    </a:lnTo>
                    <a:lnTo>
                      <a:pt x="846" y="306"/>
                    </a:lnTo>
                    <a:lnTo>
                      <a:pt x="846" y="304"/>
                    </a:lnTo>
                    <a:lnTo>
                      <a:pt x="846" y="300"/>
                    </a:lnTo>
                    <a:lnTo>
                      <a:pt x="848" y="296"/>
                    </a:lnTo>
                    <a:lnTo>
                      <a:pt x="848" y="296"/>
                    </a:lnTo>
                    <a:lnTo>
                      <a:pt x="848" y="296"/>
                    </a:lnTo>
                    <a:lnTo>
                      <a:pt x="850" y="296"/>
                    </a:lnTo>
                    <a:lnTo>
                      <a:pt x="852" y="296"/>
                    </a:lnTo>
                    <a:lnTo>
                      <a:pt x="852" y="296"/>
                    </a:lnTo>
                    <a:lnTo>
                      <a:pt x="852" y="294"/>
                    </a:lnTo>
                    <a:lnTo>
                      <a:pt x="854" y="294"/>
                    </a:lnTo>
                    <a:lnTo>
                      <a:pt x="854" y="294"/>
                    </a:lnTo>
                    <a:lnTo>
                      <a:pt x="854" y="294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4" y="294"/>
                    </a:lnTo>
                    <a:lnTo>
                      <a:pt x="854" y="298"/>
                    </a:lnTo>
                    <a:lnTo>
                      <a:pt x="854" y="298"/>
                    </a:lnTo>
                    <a:lnTo>
                      <a:pt x="856" y="300"/>
                    </a:lnTo>
                    <a:lnTo>
                      <a:pt x="856" y="302"/>
                    </a:lnTo>
                    <a:lnTo>
                      <a:pt x="856" y="302"/>
                    </a:lnTo>
                    <a:lnTo>
                      <a:pt x="856" y="302"/>
                    </a:lnTo>
                    <a:lnTo>
                      <a:pt x="856" y="304"/>
                    </a:lnTo>
                    <a:lnTo>
                      <a:pt x="856" y="304"/>
                    </a:lnTo>
                    <a:lnTo>
                      <a:pt x="856" y="304"/>
                    </a:lnTo>
                    <a:lnTo>
                      <a:pt x="858" y="306"/>
                    </a:lnTo>
                    <a:lnTo>
                      <a:pt x="858" y="306"/>
                    </a:lnTo>
                    <a:lnTo>
                      <a:pt x="858" y="308"/>
                    </a:lnTo>
                    <a:lnTo>
                      <a:pt x="860" y="310"/>
                    </a:lnTo>
                    <a:lnTo>
                      <a:pt x="862" y="312"/>
                    </a:lnTo>
                    <a:lnTo>
                      <a:pt x="864" y="312"/>
                    </a:lnTo>
                    <a:lnTo>
                      <a:pt x="868" y="316"/>
                    </a:lnTo>
                    <a:lnTo>
                      <a:pt x="874" y="318"/>
                    </a:lnTo>
                    <a:lnTo>
                      <a:pt x="878" y="322"/>
                    </a:lnTo>
                    <a:lnTo>
                      <a:pt x="884" y="324"/>
                    </a:lnTo>
                    <a:lnTo>
                      <a:pt x="888" y="326"/>
                    </a:lnTo>
                    <a:lnTo>
                      <a:pt x="888" y="328"/>
                    </a:lnTo>
                    <a:lnTo>
                      <a:pt x="890" y="328"/>
                    </a:lnTo>
                    <a:lnTo>
                      <a:pt x="888" y="330"/>
                    </a:lnTo>
                    <a:close/>
                    <a:moveTo>
                      <a:pt x="966" y="316"/>
                    </a:moveTo>
                    <a:lnTo>
                      <a:pt x="966" y="320"/>
                    </a:lnTo>
                    <a:lnTo>
                      <a:pt x="966" y="322"/>
                    </a:lnTo>
                    <a:lnTo>
                      <a:pt x="966" y="330"/>
                    </a:lnTo>
                    <a:lnTo>
                      <a:pt x="966" y="332"/>
                    </a:lnTo>
                    <a:lnTo>
                      <a:pt x="964" y="334"/>
                    </a:lnTo>
                    <a:lnTo>
                      <a:pt x="964" y="336"/>
                    </a:lnTo>
                    <a:lnTo>
                      <a:pt x="964" y="336"/>
                    </a:lnTo>
                    <a:lnTo>
                      <a:pt x="964" y="338"/>
                    </a:lnTo>
                    <a:lnTo>
                      <a:pt x="964" y="338"/>
                    </a:lnTo>
                    <a:lnTo>
                      <a:pt x="962" y="338"/>
                    </a:lnTo>
                    <a:lnTo>
                      <a:pt x="960" y="338"/>
                    </a:lnTo>
                    <a:lnTo>
                      <a:pt x="958" y="336"/>
                    </a:lnTo>
                    <a:lnTo>
                      <a:pt x="956" y="336"/>
                    </a:lnTo>
                    <a:lnTo>
                      <a:pt x="954" y="334"/>
                    </a:lnTo>
                    <a:lnTo>
                      <a:pt x="954" y="334"/>
                    </a:lnTo>
                    <a:lnTo>
                      <a:pt x="952" y="332"/>
                    </a:lnTo>
                    <a:lnTo>
                      <a:pt x="952" y="332"/>
                    </a:lnTo>
                    <a:lnTo>
                      <a:pt x="952" y="330"/>
                    </a:lnTo>
                    <a:lnTo>
                      <a:pt x="952" y="328"/>
                    </a:lnTo>
                    <a:lnTo>
                      <a:pt x="952" y="324"/>
                    </a:lnTo>
                    <a:lnTo>
                      <a:pt x="952" y="322"/>
                    </a:lnTo>
                    <a:lnTo>
                      <a:pt x="952" y="322"/>
                    </a:lnTo>
                    <a:lnTo>
                      <a:pt x="954" y="320"/>
                    </a:lnTo>
                    <a:lnTo>
                      <a:pt x="956" y="320"/>
                    </a:lnTo>
                    <a:lnTo>
                      <a:pt x="960" y="318"/>
                    </a:lnTo>
                    <a:lnTo>
                      <a:pt x="962" y="316"/>
                    </a:lnTo>
                    <a:lnTo>
                      <a:pt x="964" y="316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6"/>
                    </a:lnTo>
                    <a:close/>
                    <a:moveTo>
                      <a:pt x="1746" y="118"/>
                    </a:moveTo>
                    <a:lnTo>
                      <a:pt x="1746" y="118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50" y="122"/>
                    </a:lnTo>
                    <a:lnTo>
                      <a:pt x="1750" y="122"/>
                    </a:lnTo>
                    <a:lnTo>
                      <a:pt x="1752" y="118"/>
                    </a:lnTo>
                    <a:lnTo>
                      <a:pt x="1752" y="118"/>
                    </a:lnTo>
                    <a:lnTo>
                      <a:pt x="1752" y="118"/>
                    </a:lnTo>
                    <a:lnTo>
                      <a:pt x="1756" y="118"/>
                    </a:lnTo>
                    <a:lnTo>
                      <a:pt x="1756" y="118"/>
                    </a:lnTo>
                    <a:lnTo>
                      <a:pt x="1756" y="118"/>
                    </a:lnTo>
                    <a:lnTo>
                      <a:pt x="1760" y="116"/>
                    </a:lnTo>
                    <a:lnTo>
                      <a:pt x="1760" y="116"/>
                    </a:lnTo>
                    <a:lnTo>
                      <a:pt x="1760" y="116"/>
                    </a:lnTo>
                    <a:lnTo>
                      <a:pt x="1762" y="114"/>
                    </a:lnTo>
                    <a:lnTo>
                      <a:pt x="1762" y="114"/>
                    </a:lnTo>
                    <a:lnTo>
                      <a:pt x="1764" y="112"/>
                    </a:lnTo>
                    <a:lnTo>
                      <a:pt x="1766" y="110"/>
                    </a:lnTo>
                    <a:lnTo>
                      <a:pt x="1766" y="110"/>
                    </a:lnTo>
                    <a:lnTo>
                      <a:pt x="1766" y="110"/>
                    </a:lnTo>
                    <a:lnTo>
                      <a:pt x="1766" y="106"/>
                    </a:lnTo>
                    <a:lnTo>
                      <a:pt x="1766" y="106"/>
                    </a:lnTo>
                    <a:lnTo>
                      <a:pt x="1766" y="106"/>
                    </a:lnTo>
                    <a:lnTo>
                      <a:pt x="1766" y="102"/>
                    </a:lnTo>
                    <a:lnTo>
                      <a:pt x="1766" y="102"/>
                    </a:lnTo>
                    <a:lnTo>
                      <a:pt x="1764" y="102"/>
                    </a:lnTo>
                    <a:lnTo>
                      <a:pt x="1762" y="98"/>
                    </a:lnTo>
                    <a:lnTo>
                      <a:pt x="1762" y="98"/>
                    </a:lnTo>
                    <a:lnTo>
                      <a:pt x="1762" y="96"/>
                    </a:lnTo>
                    <a:lnTo>
                      <a:pt x="1760" y="92"/>
                    </a:lnTo>
                    <a:lnTo>
                      <a:pt x="1760" y="90"/>
                    </a:lnTo>
                    <a:lnTo>
                      <a:pt x="1760" y="88"/>
                    </a:lnTo>
                    <a:lnTo>
                      <a:pt x="1760" y="88"/>
                    </a:lnTo>
                    <a:lnTo>
                      <a:pt x="1760" y="88"/>
                    </a:lnTo>
                    <a:lnTo>
                      <a:pt x="1758" y="86"/>
                    </a:lnTo>
                    <a:lnTo>
                      <a:pt x="1758" y="86"/>
                    </a:lnTo>
                    <a:lnTo>
                      <a:pt x="1758" y="84"/>
                    </a:lnTo>
                    <a:lnTo>
                      <a:pt x="1756" y="84"/>
                    </a:lnTo>
                    <a:lnTo>
                      <a:pt x="1756" y="84"/>
                    </a:lnTo>
                    <a:lnTo>
                      <a:pt x="1754" y="84"/>
                    </a:lnTo>
                    <a:lnTo>
                      <a:pt x="1752" y="86"/>
                    </a:lnTo>
                    <a:lnTo>
                      <a:pt x="1752" y="86"/>
                    </a:lnTo>
                    <a:lnTo>
                      <a:pt x="1752" y="86"/>
                    </a:lnTo>
                    <a:lnTo>
                      <a:pt x="1752" y="88"/>
                    </a:lnTo>
                    <a:lnTo>
                      <a:pt x="1752" y="90"/>
                    </a:lnTo>
                    <a:lnTo>
                      <a:pt x="1750" y="92"/>
                    </a:lnTo>
                    <a:lnTo>
                      <a:pt x="1750" y="98"/>
                    </a:lnTo>
                    <a:lnTo>
                      <a:pt x="1748" y="102"/>
                    </a:lnTo>
                    <a:lnTo>
                      <a:pt x="1746" y="108"/>
                    </a:lnTo>
                    <a:lnTo>
                      <a:pt x="1746" y="110"/>
                    </a:lnTo>
                    <a:lnTo>
                      <a:pt x="1746" y="112"/>
                    </a:lnTo>
                    <a:lnTo>
                      <a:pt x="1746" y="112"/>
                    </a:lnTo>
                    <a:lnTo>
                      <a:pt x="1746" y="114"/>
                    </a:lnTo>
                    <a:lnTo>
                      <a:pt x="1746" y="116"/>
                    </a:lnTo>
                    <a:lnTo>
                      <a:pt x="1746" y="118"/>
                    </a:lnTo>
                    <a:close/>
                    <a:moveTo>
                      <a:pt x="1942" y="36"/>
                    </a:moveTo>
                    <a:lnTo>
                      <a:pt x="1944" y="38"/>
                    </a:lnTo>
                    <a:lnTo>
                      <a:pt x="1944" y="38"/>
                    </a:lnTo>
                    <a:lnTo>
                      <a:pt x="1944" y="40"/>
                    </a:lnTo>
                    <a:lnTo>
                      <a:pt x="1946" y="40"/>
                    </a:lnTo>
                    <a:lnTo>
                      <a:pt x="1950" y="40"/>
                    </a:lnTo>
                    <a:lnTo>
                      <a:pt x="1954" y="40"/>
                    </a:lnTo>
                    <a:lnTo>
                      <a:pt x="1956" y="38"/>
                    </a:lnTo>
                    <a:lnTo>
                      <a:pt x="1960" y="38"/>
                    </a:lnTo>
                    <a:lnTo>
                      <a:pt x="1960" y="38"/>
                    </a:lnTo>
                    <a:lnTo>
                      <a:pt x="1960" y="38"/>
                    </a:lnTo>
                    <a:lnTo>
                      <a:pt x="1962" y="38"/>
                    </a:lnTo>
                    <a:lnTo>
                      <a:pt x="1962" y="38"/>
                    </a:lnTo>
                    <a:lnTo>
                      <a:pt x="1962" y="36"/>
                    </a:lnTo>
                    <a:lnTo>
                      <a:pt x="1964" y="36"/>
                    </a:lnTo>
                    <a:lnTo>
                      <a:pt x="1964" y="36"/>
                    </a:lnTo>
                    <a:lnTo>
                      <a:pt x="1964" y="36"/>
                    </a:lnTo>
                    <a:lnTo>
                      <a:pt x="1966" y="34"/>
                    </a:lnTo>
                    <a:lnTo>
                      <a:pt x="1966" y="34"/>
                    </a:lnTo>
                    <a:lnTo>
                      <a:pt x="1966" y="32"/>
                    </a:lnTo>
                    <a:lnTo>
                      <a:pt x="1968" y="30"/>
                    </a:lnTo>
                    <a:lnTo>
                      <a:pt x="1968" y="30"/>
                    </a:lnTo>
                    <a:lnTo>
                      <a:pt x="1968" y="28"/>
                    </a:lnTo>
                    <a:lnTo>
                      <a:pt x="1968" y="28"/>
                    </a:lnTo>
                    <a:lnTo>
                      <a:pt x="1968" y="26"/>
                    </a:lnTo>
                    <a:lnTo>
                      <a:pt x="1964" y="24"/>
                    </a:lnTo>
                    <a:lnTo>
                      <a:pt x="1964" y="24"/>
                    </a:lnTo>
                    <a:lnTo>
                      <a:pt x="1962" y="24"/>
                    </a:lnTo>
                    <a:lnTo>
                      <a:pt x="1958" y="24"/>
                    </a:lnTo>
                    <a:lnTo>
                      <a:pt x="1958" y="24"/>
                    </a:lnTo>
                    <a:lnTo>
                      <a:pt x="1958" y="24"/>
                    </a:lnTo>
                    <a:lnTo>
                      <a:pt x="1954" y="24"/>
                    </a:lnTo>
                    <a:lnTo>
                      <a:pt x="1954" y="24"/>
                    </a:lnTo>
                    <a:lnTo>
                      <a:pt x="1954" y="24"/>
                    </a:lnTo>
                    <a:lnTo>
                      <a:pt x="1950" y="24"/>
                    </a:lnTo>
                    <a:lnTo>
                      <a:pt x="1950" y="24"/>
                    </a:lnTo>
                    <a:lnTo>
                      <a:pt x="1950" y="24"/>
                    </a:lnTo>
                    <a:lnTo>
                      <a:pt x="1946" y="26"/>
                    </a:lnTo>
                    <a:lnTo>
                      <a:pt x="1946" y="26"/>
                    </a:lnTo>
                    <a:lnTo>
                      <a:pt x="1946" y="26"/>
                    </a:lnTo>
                    <a:lnTo>
                      <a:pt x="1944" y="30"/>
                    </a:lnTo>
                    <a:lnTo>
                      <a:pt x="1944" y="30"/>
                    </a:lnTo>
                    <a:lnTo>
                      <a:pt x="1944" y="30"/>
                    </a:lnTo>
                    <a:lnTo>
                      <a:pt x="1942" y="32"/>
                    </a:lnTo>
                    <a:lnTo>
                      <a:pt x="1942" y="32"/>
                    </a:lnTo>
                    <a:lnTo>
                      <a:pt x="1942" y="32"/>
                    </a:lnTo>
                    <a:lnTo>
                      <a:pt x="1942" y="34"/>
                    </a:lnTo>
                    <a:lnTo>
                      <a:pt x="1942" y="34"/>
                    </a:lnTo>
                    <a:lnTo>
                      <a:pt x="1942" y="34"/>
                    </a:lnTo>
                    <a:lnTo>
                      <a:pt x="1942" y="36"/>
                    </a:lnTo>
                    <a:lnTo>
                      <a:pt x="1942" y="36"/>
                    </a:lnTo>
                    <a:lnTo>
                      <a:pt x="1942" y="36"/>
                    </a:lnTo>
                    <a:lnTo>
                      <a:pt x="1942" y="36"/>
                    </a:lnTo>
                    <a:close/>
                    <a:moveTo>
                      <a:pt x="1764" y="180"/>
                    </a:moveTo>
                    <a:lnTo>
                      <a:pt x="1762" y="180"/>
                    </a:lnTo>
                    <a:lnTo>
                      <a:pt x="1762" y="180"/>
                    </a:lnTo>
                    <a:lnTo>
                      <a:pt x="1762" y="180"/>
                    </a:lnTo>
                    <a:lnTo>
                      <a:pt x="1760" y="178"/>
                    </a:lnTo>
                    <a:lnTo>
                      <a:pt x="1760" y="178"/>
                    </a:lnTo>
                    <a:lnTo>
                      <a:pt x="1760" y="178"/>
                    </a:lnTo>
                    <a:lnTo>
                      <a:pt x="1758" y="176"/>
                    </a:lnTo>
                    <a:lnTo>
                      <a:pt x="1758" y="176"/>
                    </a:lnTo>
                    <a:lnTo>
                      <a:pt x="1756" y="176"/>
                    </a:lnTo>
                    <a:lnTo>
                      <a:pt x="1754" y="176"/>
                    </a:lnTo>
                    <a:lnTo>
                      <a:pt x="1754" y="176"/>
                    </a:lnTo>
                    <a:lnTo>
                      <a:pt x="1752" y="176"/>
                    </a:lnTo>
                    <a:lnTo>
                      <a:pt x="1748" y="178"/>
                    </a:lnTo>
                    <a:lnTo>
                      <a:pt x="1748" y="178"/>
                    </a:lnTo>
                    <a:lnTo>
                      <a:pt x="1748" y="178"/>
                    </a:lnTo>
                    <a:lnTo>
                      <a:pt x="1748" y="180"/>
                    </a:lnTo>
                    <a:lnTo>
                      <a:pt x="1748" y="180"/>
                    </a:lnTo>
                    <a:lnTo>
                      <a:pt x="1746" y="182"/>
                    </a:lnTo>
                    <a:lnTo>
                      <a:pt x="1746" y="182"/>
                    </a:lnTo>
                    <a:lnTo>
                      <a:pt x="1746" y="182"/>
                    </a:lnTo>
                    <a:lnTo>
                      <a:pt x="1746" y="184"/>
                    </a:lnTo>
                    <a:lnTo>
                      <a:pt x="1746" y="184"/>
                    </a:lnTo>
                    <a:lnTo>
                      <a:pt x="1746" y="184"/>
                    </a:lnTo>
                    <a:lnTo>
                      <a:pt x="1746" y="186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8" y="190"/>
                    </a:lnTo>
                    <a:lnTo>
                      <a:pt x="1750" y="192"/>
                    </a:lnTo>
                    <a:lnTo>
                      <a:pt x="1752" y="194"/>
                    </a:lnTo>
                    <a:lnTo>
                      <a:pt x="1752" y="194"/>
                    </a:lnTo>
                    <a:lnTo>
                      <a:pt x="1752" y="194"/>
                    </a:lnTo>
                    <a:lnTo>
                      <a:pt x="1756" y="196"/>
                    </a:lnTo>
                    <a:lnTo>
                      <a:pt x="1760" y="198"/>
                    </a:lnTo>
                    <a:lnTo>
                      <a:pt x="1762" y="198"/>
                    </a:lnTo>
                    <a:lnTo>
                      <a:pt x="1762" y="198"/>
                    </a:lnTo>
                    <a:lnTo>
                      <a:pt x="1762" y="200"/>
                    </a:lnTo>
                    <a:lnTo>
                      <a:pt x="1764" y="200"/>
                    </a:lnTo>
                    <a:lnTo>
                      <a:pt x="1764" y="200"/>
                    </a:lnTo>
                    <a:lnTo>
                      <a:pt x="1766" y="200"/>
                    </a:lnTo>
                    <a:lnTo>
                      <a:pt x="1768" y="198"/>
                    </a:lnTo>
                    <a:lnTo>
                      <a:pt x="1768" y="198"/>
                    </a:lnTo>
                    <a:lnTo>
                      <a:pt x="1768" y="198"/>
                    </a:lnTo>
                    <a:lnTo>
                      <a:pt x="1770" y="196"/>
                    </a:lnTo>
                    <a:lnTo>
                      <a:pt x="1770" y="196"/>
                    </a:lnTo>
                    <a:lnTo>
                      <a:pt x="1770" y="196"/>
                    </a:lnTo>
                    <a:lnTo>
                      <a:pt x="1772" y="194"/>
                    </a:lnTo>
                    <a:lnTo>
                      <a:pt x="1772" y="194"/>
                    </a:lnTo>
                    <a:lnTo>
                      <a:pt x="1772" y="194"/>
                    </a:lnTo>
                    <a:lnTo>
                      <a:pt x="1774" y="190"/>
                    </a:lnTo>
                    <a:lnTo>
                      <a:pt x="1774" y="190"/>
                    </a:lnTo>
                    <a:lnTo>
                      <a:pt x="1774" y="188"/>
                    </a:lnTo>
                    <a:lnTo>
                      <a:pt x="1774" y="188"/>
                    </a:lnTo>
                    <a:lnTo>
                      <a:pt x="1772" y="186"/>
                    </a:lnTo>
                    <a:lnTo>
                      <a:pt x="1768" y="184"/>
                    </a:lnTo>
                    <a:lnTo>
                      <a:pt x="1768" y="184"/>
                    </a:lnTo>
                    <a:lnTo>
                      <a:pt x="1766" y="182"/>
                    </a:lnTo>
                    <a:lnTo>
                      <a:pt x="1764" y="180"/>
                    </a:lnTo>
                    <a:close/>
                    <a:moveTo>
                      <a:pt x="1774" y="106"/>
                    </a:moveTo>
                    <a:lnTo>
                      <a:pt x="1774" y="112"/>
                    </a:lnTo>
                    <a:lnTo>
                      <a:pt x="1774" y="116"/>
                    </a:lnTo>
                    <a:lnTo>
                      <a:pt x="1774" y="118"/>
                    </a:lnTo>
                    <a:lnTo>
                      <a:pt x="1774" y="122"/>
                    </a:lnTo>
                    <a:lnTo>
                      <a:pt x="1774" y="124"/>
                    </a:lnTo>
                    <a:lnTo>
                      <a:pt x="1774" y="128"/>
                    </a:lnTo>
                    <a:lnTo>
                      <a:pt x="1774" y="128"/>
                    </a:lnTo>
                    <a:lnTo>
                      <a:pt x="1774" y="128"/>
                    </a:lnTo>
                    <a:lnTo>
                      <a:pt x="1776" y="132"/>
                    </a:lnTo>
                    <a:lnTo>
                      <a:pt x="1776" y="132"/>
                    </a:lnTo>
                    <a:lnTo>
                      <a:pt x="1776" y="132"/>
                    </a:lnTo>
                    <a:lnTo>
                      <a:pt x="1776" y="134"/>
                    </a:lnTo>
                    <a:lnTo>
                      <a:pt x="1778" y="136"/>
                    </a:lnTo>
                    <a:lnTo>
                      <a:pt x="1778" y="136"/>
                    </a:lnTo>
                    <a:lnTo>
                      <a:pt x="1778" y="136"/>
                    </a:lnTo>
                    <a:lnTo>
                      <a:pt x="1780" y="138"/>
                    </a:lnTo>
                    <a:lnTo>
                      <a:pt x="1780" y="138"/>
                    </a:lnTo>
                    <a:lnTo>
                      <a:pt x="1780" y="138"/>
                    </a:lnTo>
                    <a:lnTo>
                      <a:pt x="1782" y="140"/>
                    </a:lnTo>
                    <a:lnTo>
                      <a:pt x="1784" y="142"/>
                    </a:lnTo>
                    <a:lnTo>
                      <a:pt x="1786" y="144"/>
                    </a:lnTo>
                    <a:lnTo>
                      <a:pt x="1792" y="148"/>
                    </a:lnTo>
                    <a:lnTo>
                      <a:pt x="1796" y="150"/>
                    </a:lnTo>
                    <a:lnTo>
                      <a:pt x="1798" y="152"/>
                    </a:lnTo>
                    <a:lnTo>
                      <a:pt x="1802" y="154"/>
                    </a:lnTo>
                    <a:lnTo>
                      <a:pt x="1804" y="156"/>
                    </a:lnTo>
                    <a:lnTo>
                      <a:pt x="1806" y="156"/>
                    </a:lnTo>
                    <a:lnTo>
                      <a:pt x="1808" y="158"/>
                    </a:lnTo>
                    <a:lnTo>
                      <a:pt x="1808" y="158"/>
                    </a:lnTo>
                    <a:lnTo>
                      <a:pt x="1808" y="158"/>
                    </a:lnTo>
                    <a:lnTo>
                      <a:pt x="1810" y="158"/>
                    </a:lnTo>
                    <a:lnTo>
                      <a:pt x="1810" y="158"/>
                    </a:lnTo>
                    <a:lnTo>
                      <a:pt x="1810" y="158"/>
                    </a:lnTo>
                    <a:lnTo>
                      <a:pt x="1812" y="156"/>
                    </a:lnTo>
                    <a:lnTo>
                      <a:pt x="1812" y="156"/>
                    </a:lnTo>
                    <a:lnTo>
                      <a:pt x="1812" y="156"/>
                    </a:lnTo>
                    <a:lnTo>
                      <a:pt x="1814" y="154"/>
                    </a:lnTo>
                    <a:lnTo>
                      <a:pt x="1814" y="154"/>
                    </a:lnTo>
                    <a:lnTo>
                      <a:pt x="1814" y="154"/>
                    </a:lnTo>
                    <a:lnTo>
                      <a:pt x="1814" y="152"/>
                    </a:lnTo>
                    <a:lnTo>
                      <a:pt x="1814" y="148"/>
                    </a:lnTo>
                    <a:lnTo>
                      <a:pt x="1812" y="146"/>
                    </a:lnTo>
                    <a:lnTo>
                      <a:pt x="1812" y="144"/>
                    </a:lnTo>
                    <a:lnTo>
                      <a:pt x="1812" y="142"/>
                    </a:lnTo>
                    <a:lnTo>
                      <a:pt x="1812" y="142"/>
                    </a:lnTo>
                    <a:lnTo>
                      <a:pt x="1812" y="142"/>
                    </a:lnTo>
                    <a:lnTo>
                      <a:pt x="1814" y="142"/>
                    </a:lnTo>
                    <a:lnTo>
                      <a:pt x="1816" y="142"/>
                    </a:lnTo>
                    <a:lnTo>
                      <a:pt x="1818" y="142"/>
                    </a:lnTo>
                    <a:lnTo>
                      <a:pt x="1824" y="142"/>
                    </a:lnTo>
                    <a:lnTo>
                      <a:pt x="1828" y="144"/>
                    </a:lnTo>
                    <a:lnTo>
                      <a:pt x="1830" y="144"/>
                    </a:lnTo>
                    <a:lnTo>
                      <a:pt x="1830" y="144"/>
                    </a:lnTo>
                    <a:lnTo>
                      <a:pt x="1830" y="144"/>
                    </a:lnTo>
                    <a:lnTo>
                      <a:pt x="1832" y="142"/>
                    </a:lnTo>
                    <a:lnTo>
                      <a:pt x="1832" y="142"/>
                    </a:lnTo>
                    <a:lnTo>
                      <a:pt x="1832" y="142"/>
                    </a:lnTo>
                    <a:lnTo>
                      <a:pt x="1834" y="142"/>
                    </a:lnTo>
                    <a:lnTo>
                      <a:pt x="1838" y="140"/>
                    </a:lnTo>
                    <a:lnTo>
                      <a:pt x="1842" y="140"/>
                    </a:lnTo>
                    <a:lnTo>
                      <a:pt x="1842" y="140"/>
                    </a:lnTo>
                    <a:lnTo>
                      <a:pt x="1844" y="140"/>
                    </a:lnTo>
                    <a:lnTo>
                      <a:pt x="1844" y="140"/>
                    </a:lnTo>
                    <a:lnTo>
                      <a:pt x="1844" y="140"/>
                    </a:lnTo>
                    <a:lnTo>
                      <a:pt x="1846" y="142"/>
                    </a:lnTo>
                    <a:lnTo>
                      <a:pt x="1848" y="144"/>
                    </a:lnTo>
                    <a:lnTo>
                      <a:pt x="1848" y="144"/>
                    </a:lnTo>
                    <a:lnTo>
                      <a:pt x="1848" y="146"/>
                    </a:lnTo>
                    <a:lnTo>
                      <a:pt x="1850" y="146"/>
                    </a:lnTo>
                    <a:lnTo>
                      <a:pt x="1850" y="146"/>
                    </a:lnTo>
                    <a:lnTo>
                      <a:pt x="1850" y="146"/>
                    </a:lnTo>
                    <a:lnTo>
                      <a:pt x="1852" y="148"/>
                    </a:lnTo>
                    <a:lnTo>
                      <a:pt x="1852" y="148"/>
                    </a:lnTo>
                    <a:lnTo>
                      <a:pt x="1852" y="148"/>
                    </a:lnTo>
                    <a:lnTo>
                      <a:pt x="1856" y="150"/>
                    </a:lnTo>
                    <a:lnTo>
                      <a:pt x="1856" y="150"/>
                    </a:lnTo>
                    <a:lnTo>
                      <a:pt x="1856" y="150"/>
                    </a:lnTo>
                    <a:lnTo>
                      <a:pt x="1860" y="150"/>
                    </a:lnTo>
                    <a:lnTo>
                      <a:pt x="1860" y="150"/>
                    </a:lnTo>
                    <a:lnTo>
                      <a:pt x="1860" y="150"/>
                    </a:lnTo>
                    <a:lnTo>
                      <a:pt x="1864" y="150"/>
                    </a:lnTo>
                    <a:lnTo>
                      <a:pt x="1864" y="150"/>
                    </a:lnTo>
                    <a:lnTo>
                      <a:pt x="1864" y="150"/>
                    </a:lnTo>
                    <a:lnTo>
                      <a:pt x="1868" y="148"/>
                    </a:lnTo>
                    <a:lnTo>
                      <a:pt x="1868" y="148"/>
                    </a:lnTo>
                    <a:lnTo>
                      <a:pt x="1868" y="148"/>
                    </a:lnTo>
                    <a:lnTo>
                      <a:pt x="1870" y="146"/>
                    </a:lnTo>
                    <a:lnTo>
                      <a:pt x="1870" y="146"/>
                    </a:lnTo>
                    <a:lnTo>
                      <a:pt x="1870" y="146"/>
                    </a:lnTo>
                    <a:lnTo>
                      <a:pt x="1870" y="144"/>
                    </a:lnTo>
                    <a:lnTo>
                      <a:pt x="1870" y="144"/>
                    </a:lnTo>
                    <a:lnTo>
                      <a:pt x="1870" y="144"/>
                    </a:lnTo>
                    <a:lnTo>
                      <a:pt x="1872" y="140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6" y="136"/>
                    </a:lnTo>
                    <a:lnTo>
                      <a:pt x="1878" y="136"/>
                    </a:lnTo>
                    <a:lnTo>
                      <a:pt x="1882" y="134"/>
                    </a:lnTo>
                    <a:lnTo>
                      <a:pt x="1882" y="134"/>
                    </a:lnTo>
                    <a:lnTo>
                      <a:pt x="1882" y="134"/>
                    </a:lnTo>
                    <a:lnTo>
                      <a:pt x="1884" y="134"/>
                    </a:lnTo>
                    <a:lnTo>
                      <a:pt x="1884" y="134"/>
                    </a:lnTo>
                    <a:lnTo>
                      <a:pt x="1884" y="134"/>
                    </a:lnTo>
                    <a:lnTo>
                      <a:pt x="1886" y="132"/>
                    </a:lnTo>
                    <a:lnTo>
                      <a:pt x="1886" y="132"/>
                    </a:lnTo>
                    <a:lnTo>
                      <a:pt x="1886" y="132"/>
                    </a:lnTo>
                    <a:lnTo>
                      <a:pt x="1888" y="130"/>
                    </a:lnTo>
                    <a:lnTo>
                      <a:pt x="1890" y="128"/>
                    </a:lnTo>
                    <a:lnTo>
                      <a:pt x="1892" y="124"/>
                    </a:lnTo>
                    <a:lnTo>
                      <a:pt x="1894" y="118"/>
                    </a:lnTo>
                    <a:lnTo>
                      <a:pt x="1894" y="116"/>
                    </a:lnTo>
                    <a:lnTo>
                      <a:pt x="1896" y="114"/>
                    </a:lnTo>
                    <a:lnTo>
                      <a:pt x="1898" y="114"/>
                    </a:lnTo>
                    <a:lnTo>
                      <a:pt x="1898" y="112"/>
                    </a:lnTo>
                    <a:lnTo>
                      <a:pt x="1902" y="110"/>
                    </a:lnTo>
                    <a:lnTo>
                      <a:pt x="1902" y="108"/>
                    </a:lnTo>
                    <a:lnTo>
                      <a:pt x="1904" y="106"/>
                    </a:lnTo>
                    <a:lnTo>
                      <a:pt x="1904" y="106"/>
                    </a:lnTo>
                    <a:lnTo>
                      <a:pt x="1904" y="106"/>
                    </a:lnTo>
                    <a:lnTo>
                      <a:pt x="1906" y="104"/>
                    </a:lnTo>
                    <a:lnTo>
                      <a:pt x="1906" y="104"/>
                    </a:lnTo>
                    <a:lnTo>
                      <a:pt x="1906" y="102"/>
                    </a:lnTo>
                    <a:lnTo>
                      <a:pt x="1906" y="102"/>
                    </a:lnTo>
                    <a:lnTo>
                      <a:pt x="1906" y="102"/>
                    </a:lnTo>
                    <a:lnTo>
                      <a:pt x="1906" y="100"/>
                    </a:lnTo>
                    <a:lnTo>
                      <a:pt x="1904" y="98"/>
                    </a:lnTo>
                    <a:lnTo>
                      <a:pt x="1904" y="98"/>
                    </a:lnTo>
                    <a:lnTo>
                      <a:pt x="1904" y="98"/>
                    </a:lnTo>
                    <a:lnTo>
                      <a:pt x="1902" y="96"/>
                    </a:lnTo>
                    <a:lnTo>
                      <a:pt x="1902" y="96"/>
                    </a:lnTo>
                    <a:lnTo>
                      <a:pt x="1902" y="96"/>
                    </a:lnTo>
                    <a:lnTo>
                      <a:pt x="1900" y="96"/>
                    </a:lnTo>
                    <a:lnTo>
                      <a:pt x="1898" y="94"/>
                    </a:lnTo>
                    <a:lnTo>
                      <a:pt x="1892" y="92"/>
                    </a:lnTo>
                    <a:lnTo>
                      <a:pt x="1890" y="90"/>
                    </a:lnTo>
                    <a:lnTo>
                      <a:pt x="1888" y="90"/>
                    </a:lnTo>
                    <a:lnTo>
                      <a:pt x="1886" y="88"/>
                    </a:lnTo>
                    <a:lnTo>
                      <a:pt x="1884" y="84"/>
                    </a:lnTo>
                    <a:lnTo>
                      <a:pt x="1880" y="82"/>
                    </a:lnTo>
                    <a:lnTo>
                      <a:pt x="1876" y="80"/>
                    </a:lnTo>
                    <a:lnTo>
                      <a:pt x="1876" y="80"/>
                    </a:lnTo>
                    <a:lnTo>
                      <a:pt x="1876" y="80"/>
                    </a:lnTo>
                    <a:lnTo>
                      <a:pt x="1874" y="80"/>
                    </a:lnTo>
                    <a:lnTo>
                      <a:pt x="1874" y="80"/>
                    </a:lnTo>
                    <a:lnTo>
                      <a:pt x="1874" y="78"/>
                    </a:lnTo>
                    <a:lnTo>
                      <a:pt x="1872" y="78"/>
                    </a:lnTo>
                    <a:lnTo>
                      <a:pt x="1868" y="78"/>
                    </a:lnTo>
                    <a:lnTo>
                      <a:pt x="1862" y="78"/>
                    </a:lnTo>
                    <a:lnTo>
                      <a:pt x="1862" y="78"/>
                    </a:lnTo>
                    <a:lnTo>
                      <a:pt x="1860" y="76"/>
                    </a:lnTo>
                    <a:lnTo>
                      <a:pt x="1858" y="76"/>
                    </a:lnTo>
                    <a:lnTo>
                      <a:pt x="1856" y="74"/>
                    </a:lnTo>
                    <a:lnTo>
                      <a:pt x="1854" y="70"/>
                    </a:lnTo>
                    <a:lnTo>
                      <a:pt x="1854" y="70"/>
                    </a:lnTo>
                    <a:lnTo>
                      <a:pt x="1854" y="70"/>
                    </a:lnTo>
                    <a:lnTo>
                      <a:pt x="1852" y="68"/>
                    </a:lnTo>
                    <a:lnTo>
                      <a:pt x="1852" y="68"/>
                    </a:lnTo>
                    <a:lnTo>
                      <a:pt x="1852" y="68"/>
                    </a:lnTo>
                    <a:lnTo>
                      <a:pt x="1850" y="68"/>
                    </a:lnTo>
                    <a:lnTo>
                      <a:pt x="1848" y="66"/>
                    </a:lnTo>
                    <a:lnTo>
                      <a:pt x="1842" y="64"/>
                    </a:lnTo>
                    <a:lnTo>
                      <a:pt x="1842" y="64"/>
                    </a:lnTo>
                    <a:lnTo>
                      <a:pt x="1842" y="64"/>
                    </a:lnTo>
                    <a:lnTo>
                      <a:pt x="1838" y="64"/>
                    </a:lnTo>
                    <a:lnTo>
                      <a:pt x="1838" y="64"/>
                    </a:lnTo>
                    <a:lnTo>
                      <a:pt x="1838" y="64"/>
                    </a:lnTo>
                    <a:lnTo>
                      <a:pt x="1836" y="64"/>
                    </a:lnTo>
                    <a:lnTo>
                      <a:pt x="1836" y="64"/>
                    </a:lnTo>
                    <a:lnTo>
                      <a:pt x="1834" y="64"/>
                    </a:lnTo>
                    <a:lnTo>
                      <a:pt x="1834" y="64"/>
                    </a:lnTo>
                    <a:lnTo>
                      <a:pt x="1834" y="64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0" y="68"/>
                    </a:lnTo>
                    <a:lnTo>
                      <a:pt x="1830" y="68"/>
                    </a:lnTo>
                    <a:lnTo>
                      <a:pt x="1830" y="68"/>
                    </a:lnTo>
                    <a:lnTo>
                      <a:pt x="1830" y="72"/>
                    </a:lnTo>
                    <a:lnTo>
                      <a:pt x="1830" y="72"/>
                    </a:lnTo>
                    <a:lnTo>
                      <a:pt x="1830" y="72"/>
                    </a:lnTo>
                    <a:lnTo>
                      <a:pt x="1828" y="76"/>
                    </a:lnTo>
                    <a:lnTo>
                      <a:pt x="1828" y="80"/>
                    </a:lnTo>
                    <a:lnTo>
                      <a:pt x="1828" y="82"/>
                    </a:lnTo>
                    <a:lnTo>
                      <a:pt x="1830" y="84"/>
                    </a:lnTo>
                    <a:lnTo>
                      <a:pt x="1830" y="88"/>
                    </a:lnTo>
                    <a:lnTo>
                      <a:pt x="1830" y="86"/>
                    </a:lnTo>
                    <a:lnTo>
                      <a:pt x="1826" y="82"/>
                    </a:lnTo>
                    <a:lnTo>
                      <a:pt x="1824" y="78"/>
                    </a:lnTo>
                    <a:lnTo>
                      <a:pt x="1820" y="74"/>
                    </a:lnTo>
                    <a:lnTo>
                      <a:pt x="1818" y="72"/>
                    </a:lnTo>
                    <a:lnTo>
                      <a:pt x="1814" y="66"/>
                    </a:lnTo>
                    <a:lnTo>
                      <a:pt x="1810" y="62"/>
                    </a:lnTo>
                    <a:lnTo>
                      <a:pt x="1808" y="60"/>
                    </a:lnTo>
                    <a:lnTo>
                      <a:pt x="1806" y="58"/>
                    </a:lnTo>
                    <a:lnTo>
                      <a:pt x="1804" y="58"/>
                    </a:lnTo>
                    <a:lnTo>
                      <a:pt x="1804" y="58"/>
                    </a:lnTo>
                    <a:lnTo>
                      <a:pt x="1804" y="58"/>
                    </a:lnTo>
                    <a:lnTo>
                      <a:pt x="1802" y="56"/>
                    </a:lnTo>
                    <a:lnTo>
                      <a:pt x="1802" y="56"/>
                    </a:lnTo>
                    <a:lnTo>
                      <a:pt x="1800" y="56"/>
                    </a:lnTo>
                    <a:lnTo>
                      <a:pt x="1800" y="58"/>
                    </a:lnTo>
                    <a:lnTo>
                      <a:pt x="1800" y="58"/>
                    </a:lnTo>
                    <a:lnTo>
                      <a:pt x="1798" y="58"/>
                    </a:lnTo>
                    <a:lnTo>
                      <a:pt x="1796" y="58"/>
                    </a:lnTo>
                    <a:lnTo>
                      <a:pt x="1796" y="58"/>
                    </a:lnTo>
                    <a:lnTo>
                      <a:pt x="1796" y="60"/>
                    </a:lnTo>
                    <a:lnTo>
                      <a:pt x="1796" y="60"/>
                    </a:lnTo>
                    <a:lnTo>
                      <a:pt x="1794" y="62"/>
                    </a:lnTo>
                    <a:lnTo>
                      <a:pt x="1792" y="66"/>
                    </a:lnTo>
                    <a:lnTo>
                      <a:pt x="1792" y="68"/>
                    </a:lnTo>
                    <a:lnTo>
                      <a:pt x="1792" y="68"/>
                    </a:lnTo>
                    <a:lnTo>
                      <a:pt x="1788" y="70"/>
                    </a:lnTo>
                    <a:lnTo>
                      <a:pt x="1786" y="72"/>
                    </a:lnTo>
                    <a:lnTo>
                      <a:pt x="1784" y="74"/>
                    </a:lnTo>
                    <a:lnTo>
                      <a:pt x="1784" y="74"/>
                    </a:lnTo>
                    <a:lnTo>
                      <a:pt x="1784" y="74"/>
                    </a:lnTo>
                    <a:lnTo>
                      <a:pt x="1782" y="76"/>
                    </a:lnTo>
                    <a:lnTo>
                      <a:pt x="1782" y="76"/>
                    </a:lnTo>
                    <a:lnTo>
                      <a:pt x="1780" y="76"/>
                    </a:lnTo>
                    <a:lnTo>
                      <a:pt x="1778" y="78"/>
                    </a:lnTo>
                    <a:lnTo>
                      <a:pt x="1778" y="78"/>
                    </a:lnTo>
                    <a:lnTo>
                      <a:pt x="1778" y="78"/>
                    </a:lnTo>
                    <a:lnTo>
                      <a:pt x="1778" y="80"/>
                    </a:lnTo>
                    <a:lnTo>
                      <a:pt x="1778" y="80"/>
                    </a:lnTo>
                    <a:lnTo>
                      <a:pt x="1778" y="80"/>
                    </a:lnTo>
                    <a:lnTo>
                      <a:pt x="1776" y="80"/>
                    </a:lnTo>
                    <a:lnTo>
                      <a:pt x="1776" y="80"/>
                    </a:lnTo>
                    <a:lnTo>
                      <a:pt x="1776" y="82"/>
                    </a:lnTo>
                    <a:lnTo>
                      <a:pt x="1776" y="84"/>
                    </a:lnTo>
                    <a:lnTo>
                      <a:pt x="1776" y="84"/>
                    </a:lnTo>
                    <a:lnTo>
                      <a:pt x="1776" y="84"/>
                    </a:lnTo>
                    <a:lnTo>
                      <a:pt x="1774" y="86"/>
                    </a:lnTo>
                    <a:lnTo>
                      <a:pt x="1774" y="90"/>
                    </a:lnTo>
                    <a:lnTo>
                      <a:pt x="1774" y="94"/>
                    </a:lnTo>
                    <a:lnTo>
                      <a:pt x="1774" y="98"/>
                    </a:lnTo>
                    <a:lnTo>
                      <a:pt x="1774" y="102"/>
                    </a:lnTo>
                    <a:lnTo>
                      <a:pt x="1774" y="106"/>
                    </a:lnTo>
                    <a:close/>
                    <a:moveTo>
                      <a:pt x="1912" y="124"/>
                    </a:moveTo>
                    <a:lnTo>
                      <a:pt x="1912" y="126"/>
                    </a:lnTo>
                    <a:lnTo>
                      <a:pt x="1912" y="126"/>
                    </a:lnTo>
                    <a:lnTo>
                      <a:pt x="1912" y="126"/>
                    </a:lnTo>
                    <a:lnTo>
                      <a:pt x="1914" y="128"/>
                    </a:lnTo>
                    <a:lnTo>
                      <a:pt x="1916" y="130"/>
                    </a:lnTo>
                    <a:lnTo>
                      <a:pt x="1918" y="132"/>
                    </a:lnTo>
                    <a:lnTo>
                      <a:pt x="1922" y="134"/>
                    </a:lnTo>
                    <a:lnTo>
                      <a:pt x="1924" y="136"/>
                    </a:lnTo>
                    <a:lnTo>
                      <a:pt x="1932" y="140"/>
                    </a:lnTo>
                    <a:lnTo>
                      <a:pt x="1934" y="142"/>
                    </a:lnTo>
                    <a:lnTo>
                      <a:pt x="1936" y="144"/>
                    </a:lnTo>
                    <a:lnTo>
                      <a:pt x="1938" y="144"/>
                    </a:lnTo>
                    <a:lnTo>
                      <a:pt x="1938" y="144"/>
                    </a:lnTo>
                    <a:lnTo>
                      <a:pt x="1938" y="144"/>
                    </a:lnTo>
                    <a:lnTo>
                      <a:pt x="1940" y="146"/>
                    </a:lnTo>
                    <a:lnTo>
                      <a:pt x="1940" y="146"/>
                    </a:lnTo>
                    <a:lnTo>
                      <a:pt x="1940" y="146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4" y="150"/>
                    </a:lnTo>
                    <a:lnTo>
                      <a:pt x="1944" y="150"/>
                    </a:lnTo>
                    <a:lnTo>
                      <a:pt x="1948" y="150"/>
                    </a:lnTo>
                    <a:lnTo>
                      <a:pt x="1950" y="150"/>
                    </a:lnTo>
                    <a:lnTo>
                      <a:pt x="1956" y="150"/>
                    </a:lnTo>
                    <a:lnTo>
                      <a:pt x="1960" y="150"/>
                    </a:lnTo>
                    <a:lnTo>
                      <a:pt x="1964" y="150"/>
                    </a:lnTo>
                    <a:lnTo>
                      <a:pt x="1966" y="150"/>
                    </a:lnTo>
                    <a:lnTo>
                      <a:pt x="1966" y="150"/>
                    </a:lnTo>
                    <a:lnTo>
                      <a:pt x="1966" y="150"/>
                    </a:lnTo>
                    <a:lnTo>
                      <a:pt x="1968" y="150"/>
                    </a:lnTo>
                    <a:lnTo>
                      <a:pt x="1968" y="150"/>
                    </a:lnTo>
                    <a:lnTo>
                      <a:pt x="1970" y="148"/>
                    </a:lnTo>
                    <a:lnTo>
                      <a:pt x="1972" y="148"/>
                    </a:lnTo>
                    <a:lnTo>
                      <a:pt x="1972" y="148"/>
                    </a:lnTo>
                    <a:lnTo>
                      <a:pt x="1972" y="148"/>
                    </a:lnTo>
                    <a:lnTo>
                      <a:pt x="1972" y="146"/>
                    </a:lnTo>
                    <a:lnTo>
                      <a:pt x="1972" y="146"/>
                    </a:lnTo>
                    <a:lnTo>
                      <a:pt x="1972" y="144"/>
                    </a:lnTo>
                    <a:lnTo>
                      <a:pt x="1974" y="142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6" y="136"/>
                    </a:lnTo>
                    <a:lnTo>
                      <a:pt x="1976" y="136"/>
                    </a:lnTo>
                    <a:lnTo>
                      <a:pt x="1982" y="136"/>
                    </a:lnTo>
                    <a:lnTo>
                      <a:pt x="1984" y="138"/>
                    </a:lnTo>
                    <a:lnTo>
                      <a:pt x="1986" y="138"/>
                    </a:lnTo>
                    <a:lnTo>
                      <a:pt x="1988" y="138"/>
                    </a:lnTo>
                    <a:lnTo>
                      <a:pt x="1988" y="138"/>
                    </a:lnTo>
                    <a:lnTo>
                      <a:pt x="1990" y="136"/>
                    </a:lnTo>
                    <a:lnTo>
                      <a:pt x="1990" y="136"/>
                    </a:lnTo>
                    <a:lnTo>
                      <a:pt x="1990" y="136"/>
                    </a:lnTo>
                    <a:lnTo>
                      <a:pt x="1990" y="132"/>
                    </a:lnTo>
                    <a:lnTo>
                      <a:pt x="1990" y="132"/>
                    </a:lnTo>
                    <a:lnTo>
                      <a:pt x="1990" y="132"/>
                    </a:lnTo>
                    <a:lnTo>
                      <a:pt x="1990" y="130"/>
                    </a:lnTo>
                    <a:lnTo>
                      <a:pt x="1988" y="130"/>
                    </a:lnTo>
                    <a:lnTo>
                      <a:pt x="1986" y="128"/>
                    </a:lnTo>
                    <a:lnTo>
                      <a:pt x="1984" y="126"/>
                    </a:lnTo>
                    <a:lnTo>
                      <a:pt x="1978" y="122"/>
                    </a:lnTo>
                    <a:lnTo>
                      <a:pt x="1974" y="120"/>
                    </a:lnTo>
                    <a:lnTo>
                      <a:pt x="1972" y="118"/>
                    </a:lnTo>
                    <a:lnTo>
                      <a:pt x="1972" y="118"/>
                    </a:lnTo>
                    <a:lnTo>
                      <a:pt x="1972" y="118"/>
                    </a:lnTo>
                    <a:lnTo>
                      <a:pt x="1966" y="118"/>
                    </a:lnTo>
                    <a:lnTo>
                      <a:pt x="1962" y="118"/>
                    </a:lnTo>
                    <a:lnTo>
                      <a:pt x="1956" y="116"/>
                    </a:lnTo>
                    <a:lnTo>
                      <a:pt x="1956" y="116"/>
                    </a:lnTo>
                    <a:lnTo>
                      <a:pt x="1954" y="116"/>
                    </a:lnTo>
                    <a:lnTo>
                      <a:pt x="1954" y="116"/>
                    </a:lnTo>
                    <a:lnTo>
                      <a:pt x="1952" y="114"/>
                    </a:lnTo>
                    <a:lnTo>
                      <a:pt x="1952" y="112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48" y="106"/>
                    </a:lnTo>
                    <a:lnTo>
                      <a:pt x="1948" y="106"/>
                    </a:lnTo>
                    <a:lnTo>
                      <a:pt x="1948" y="106"/>
                    </a:lnTo>
                    <a:lnTo>
                      <a:pt x="1946" y="104"/>
                    </a:lnTo>
                    <a:lnTo>
                      <a:pt x="1944" y="104"/>
                    </a:lnTo>
                    <a:lnTo>
                      <a:pt x="1944" y="104"/>
                    </a:lnTo>
                    <a:lnTo>
                      <a:pt x="1944" y="104"/>
                    </a:lnTo>
                    <a:lnTo>
                      <a:pt x="1940" y="104"/>
                    </a:lnTo>
                    <a:lnTo>
                      <a:pt x="1940" y="104"/>
                    </a:lnTo>
                    <a:lnTo>
                      <a:pt x="1936" y="104"/>
                    </a:lnTo>
                    <a:lnTo>
                      <a:pt x="1932" y="104"/>
                    </a:lnTo>
                    <a:lnTo>
                      <a:pt x="1932" y="104"/>
                    </a:lnTo>
                    <a:lnTo>
                      <a:pt x="1932" y="104"/>
                    </a:lnTo>
                    <a:lnTo>
                      <a:pt x="1932" y="106"/>
                    </a:lnTo>
                    <a:lnTo>
                      <a:pt x="1932" y="106"/>
                    </a:lnTo>
                    <a:lnTo>
                      <a:pt x="1930" y="106"/>
                    </a:lnTo>
                    <a:lnTo>
                      <a:pt x="1930" y="106"/>
                    </a:lnTo>
                    <a:lnTo>
                      <a:pt x="1928" y="108"/>
                    </a:lnTo>
                    <a:lnTo>
                      <a:pt x="1926" y="110"/>
                    </a:lnTo>
                    <a:lnTo>
                      <a:pt x="1926" y="110"/>
                    </a:lnTo>
                    <a:lnTo>
                      <a:pt x="1924" y="108"/>
                    </a:lnTo>
                    <a:lnTo>
                      <a:pt x="1924" y="106"/>
                    </a:lnTo>
                    <a:lnTo>
                      <a:pt x="1922" y="104"/>
                    </a:lnTo>
                    <a:lnTo>
                      <a:pt x="1922" y="104"/>
                    </a:lnTo>
                    <a:lnTo>
                      <a:pt x="1922" y="104"/>
                    </a:lnTo>
                    <a:lnTo>
                      <a:pt x="1922" y="102"/>
                    </a:lnTo>
                    <a:lnTo>
                      <a:pt x="1922" y="102"/>
                    </a:lnTo>
                    <a:lnTo>
                      <a:pt x="1920" y="102"/>
                    </a:lnTo>
                    <a:lnTo>
                      <a:pt x="1920" y="100"/>
                    </a:lnTo>
                    <a:lnTo>
                      <a:pt x="1920" y="100"/>
                    </a:lnTo>
                    <a:lnTo>
                      <a:pt x="1918" y="100"/>
                    </a:lnTo>
                    <a:lnTo>
                      <a:pt x="1916" y="102"/>
                    </a:lnTo>
                    <a:lnTo>
                      <a:pt x="1916" y="102"/>
                    </a:lnTo>
                    <a:lnTo>
                      <a:pt x="1916" y="102"/>
                    </a:lnTo>
                    <a:lnTo>
                      <a:pt x="1914" y="104"/>
                    </a:lnTo>
                    <a:lnTo>
                      <a:pt x="1914" y="104"/>
                    </a:lnTo>
                    <a:lnTo>
                      <a:pt x="1914" y="104"/>
                    </a:lnTo>
                    <a:lnTo>
                      <a:pt x="1914" y="106"/>
                    </a:lnTo>
                    <a:lnTo>
                      <a:pt x="1914" y="108"/>
                    </a:lnTo>
                    <a:lnTo>
                      <a:pt x="1912" y="112"/>
                    </a:lnTo>
                    <a:lnTo>
                      <a:pt x="1912" y="114"/>
                    </a:lnTo>
                    <a:lnTo>
                      <a:pt x="1912" y="116"/>
                    </a:lnTo>
                    <a:lnTo>
                      <a:pt x="1912" y="118"/>
                    </a:lnTo>
                    <a:lnTo>
                      <a:pt x="1912" y="120"/>
                    </a:lnTo>
                    <a:lnTo>
                      <a:pt x="1912" y="120"/>
                    </a:lnTo>
                    <a:lnTo>
                      <a:pt x="1912" y="122"/>
                    </a:lnTo>
                    <a:lnTo>
                      <a:pt x="1912" y="122"/>
                    </a:lnTo>
                    <a:lnTo>
                      <a:pt x="1912" y="124"/>
                    </a:lnTo>
                    <a:lnTo>
                      <a:pt x="1912" y="124"/>
                    </a:lnTo>
                    <a:lnTo>
                      <a:pt x="1912" y="124"/>
                    </a:lnTo>
                    <a:lnTo>
                      <a:pt x="1912" y="124"/>
                    </a:lnTo>
                    <a:close/>
                    <a:moveTo>
                      <a:pt x="1880" y="222"/>
                    </a:moveTo>
                    <a:lnTo>
                      <a:pt x="1878" y="218"/>
                    </a:lnTo>
                    <a:lnTo>
                      <a:pt x="1878" y="216"/>
                    </a:lnTo>
                    <a:lnTo>
                      <a:pt x="1874" y="210"/>
                    </a:lnTo>
                    <a:lnTo>
                      <a:pt x="1872" y="206"/>
                    </a:lnTo>
                    <a:lnTo>
                      <a:pt x="1872" y="204"/>
                    </a:lnTo>
                    <a:lnTo>
                      <a:pt x="1870" y="202"/>
                    </a:lnTo>
                    <a:lnTo>
                      <a:pt x="1870" y="202"/>
                    </a:lnTo>
                    <a:lnTo>
                      <a:pt x="1870" y="202"/>
                    </a:lnTo>
                    <a:lnTo>
                      <a:pt x="1868" y="198"/>
                    </a:lnTo>
                    <a:lnTo>
                      <a:pt x="1866" y="196"/>
                    </a:lnTo>
                    <a:lnTo>
                      <a:pt x="1864" y="194"/>
                    </a:lnTo>
                    <a:lnTo>
                      <a:pt x="1862" y="192"/>
                    </a:lnTo>
                    <a:lnTo>
                      <a:pt x="1860" y="190"/>
                    </a:lnTo>
                    <a:lnTo>
                      <a:pt x="1858" y="190"/>
                    </a:lnTo>
                    <a:lnTo>
                      <a:pt x="1858" y="190"/>
                    </a:lnTo>
                    <a:lnTo>
                      <a:pt x="1856" y="188"/>
                    </a:lnTo>
                    <a:lnTo>
                      <a:pt x="1856" y="188"/>
                    </a:lnTo>
                    <a:lnTo>
                      <a:pt x="1856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2" y="188"/>
                    </a:lnTo>
                    <a:lnTo>
                      <a:pt x="1850" y="188"/>
                    </a:lnTo>
                    <a:lnTo>
                      <a:pt x="1846" y="190"/>
                    </a:lnTo>
                    <a:lnTo>
                      <a:pt x="1846" y="190"/>
                    </a:lnTo>
                    <a:lnTo>
                      <a:pt x="1844" y="190"/>
                    </a:lnTo>
                    <a:lnTo>
                      <a:pt x="1840" y="192"/>
                    </a:lnTo>
                    <a:lnTo>
                      <a:pt x="1840" y="192"/>
                    </a:lnTo>
                    <a:lnTo>
                      <a:pt x="1840" y="192"/>
                    </a:lnTo>
                    <a:lnTo>
                      <a:pt x="1838" y="192"/>
                    </a:lnTo>
                    <a:lnTo>
                      <a:pt x="1838" y="192"/>
                    </a:lnTo>
                    <a:lnTo>
                      <a:pt x="1838" y="194"/>
                    </a:lnTo>
                    <a:lnTo>
                      <a:pt x="1836" y="194"/>
                    </a:lnTo>
                    <a:lnTo>
                      <a:pt x="1836" y="194"/>
                    </a:lnTo>
                    <a:lnTo>
                      <a:pt x="1836" y="196"/>
                    </a:lnTo>
                    <a:lnTo>
                      <a:pt x="1834" y="198"/>
                    </a:lnTo>
                    <a:lnTo>
                      <a:pt x="1834" y="198"/>
                    </a:lnTo>
                    <a:lnTo>
                      <a:pt x="1834" y="198"/>
                    </a:lnTo>
                    <a:lnTo>
                      <a:pt x="1834" y="200"/>
                    </a:lnTo>
                    <a:lnTo>
                      <a:pt x="1834" y="200"/>
                    </a:lnTo>
                    <a:lnTo>
                      <a:pt x="1834" y="200"/>
                    </a:lnTo>
                    <a:lnTo>
                      <a:pt x="1834" y="206"/>
                    </a:lnTo>
                    <a:lnTo>
                      <a:pt x="1834" y="210"/>
                    </a:lnTo>
                    <a:lnTo>
                      <a:pt x="1834" y="212"/>
                    </a:lnTo>
                    <a:lnTo>
                      <a:pt x="1834" y="212"/>
                    </a:lnTo>
                    <a:lnTo>
                      <a:pt x="1832" y="212"/>
                    </a:lnTo>
                    <a:lnTo>
                      <a:pt x="1830" y="212"/>
                    </a:lnTo>
                    <a:lnTo>
                      <a:pt x="1826" y="214"/>
                    </a:lnTo>
                    <a:lnTo>
                      <a:pt x="1824" y="214"/>
                    </a:lnTo>
                    <a:lnTo>
                      <a:pt x="1822" y="214"/>
                    </a:lnTo>
                    <a:lnTo>
                      <a:pt x="1820" y="214"/>
                    </a:lnTo>
                    <a:lnTo>
                      <a:pt x="1820" y="214"/>
                    </a:lnTo>
                    <a:lnTo>
                      <a:pt x="1818" y="216"/>
                    </a:lnTo>
                    <a:lnTo>
                      <a:pt x="1818" y="216"/>
                    </a:lnTo>
                    <a:lnTo>
                      <a:pt x="1818" y="216"/>
                    </a:lnTo>
                    <a:lnTo>
                      <a:pt x="1818" y="218"/>
                    </a:lnTo>
                    <a:lnTo>
                      <a:pt x="1818" y="218"/>
                    </a:lnTo>
                    <a:lnTo>
                      <a:pt x="1820" y="220"/>
                    </a:lnTo>
                    <a:lnTo>
                      <a:pt x="1820" y="220"/>
                    </a:lnTo>
                    <a:lnTo>
                      <a:pt x="1820" y="220"/>
                    </a:lnTo>
                    <a:lnTo>
                      <a:pt x="1822" y="220"/>
                    </a:lnTo>
                    <a:lnTo>
                      <a:pt x="1824" y="220"/>
                    </a:lnTo>
                    <a:lnTo>
                      <a:pt x="1826" y="220"/>
                    </a:lnTo>
                    <a:lnTo>
                      <a:pt x="1828" y="220"/>
                    </a:lnTo>
                    <a:lnTo>
                      <a:pt x="1834" y="222"/>
                    </a:lnTo>
                    <a:lnTo>
                      <a:pt x="1836" y="222"/>
                    </a:lnTo>
                    <a:lnTo>
                      <a:pt x="1838" y="222"/>
                    </a:lnTo>
                    <a:lnTo>
                      <a:pt x="1840" y="224"/>
                    </a:lnTo>
                    <a:lnTo>
                      <a:pt x="1842" y="224"/>
                    </a:lnTo>
                    <a:lnTo>
                      <a:pt x="1844" y="228"/>
                    </a:lnTo>
                    <a:lnTo>
                      <a:pt x="1848" y="230"/>
                    </a:lnTo>
                    <a:lnTo>
                      <a:pt x="1848" y="230"/>
                    </a:lnTo>
                    <a:lnTo>
                      <a:pt x="1848" y="230"/>
                    </a:lnTo>
                    <a:lnTo>
                      <a:pt x="1850" y="232"/>
                    </a:lnTo>
                    <a:lnTo>
                      <a:pt x="1850" y="232"/>
                    </a:lnTo>
                    <a:lnTo>
                      <a:pt x="1852" y="232"/>
                    </a:lnTo>
                    <a:lnTo>
                      <a:pt x="1854" y="232"/>
                    </a:lnTo>
                    <a:lnTo>
                      <a:pt x="1854" y="232"/>
                    </a:lnTo>
                    <a:lnTo>
                      <a:pt x="1854" y="232"/>
                    </a:lnTo>
                    <a:lnTo>
                      <a:pt x="1856" y="234"/>
                    </a:lnTo>
                    <a:lnTo>
                      <a:pt x="1860" y="234"/>
                    </a:lnTo>
                    <a:lnTo>
                      <a:pt x="1868" y="234"/>
                    </a:lnTo>
                    <a:lnTo>
                      <a:pt x="1872" y="232"/>
                    </a:lnTo>
                    <a:lnTo>
                      <a:pt x="1874" y="232"/>
                    </a:lnTo>
                    <a:lnTo>
                      <a:pt x="1874" y="232"/>
                    </a:lnTo>
                    <a:lnTo>
                      <a:pt x="1876" y="232"/>
                    </a:lnTo>
                    <a:lnTo>
                      <a:pt x="1878" y="232"/>
                    </a:lnTo>
                    <a:lnTo>
                      <a:pt x="1878" y="232"/>
                    </a:lnTo>
                    <a:lnTo>
                      <a:pt x="1878" y="230"/>
                    </a:lnTo>
                    <a:lnTo>
                      <a:pt x="1880" y="230"/>
                    </a:lnTo>
                    <a:lnTo>
                      <a:pt x="1880" y="230"/>
                    </a:lnTo>
                    <a:lnTo>
                      <a:pt x="1880" y="228"/>
                    </a:lnTo>
                    <a:lnTo>
                      <a:pt x="1880" y="226"/>
                    </a:lnTo>
                    <a:lnTo>
                      <a:pt x="1880" y="226"/>
                    </a:lnTo>
                    <a:lnTo>
                      <a:pt x="1880" y="224"/>
                    </a:lnTo>
                    <a:lnTo>
                      <a:pt x="1880" y="222"/>
                    </a:lnTo>
                    <a:lnTo>
                      <a:pt x="1880" y="222"/>
                    </a:lnTo>
                    <a:lnTo>
                      <a:pt x="1880" y="222"/>
                    </a:lnTo>
                    <a:lnTo>
                      <a:pt x="1880" y="222"/>
                    </a:lnTo>
                    <a:close/>
                    <a:moveTo>
                      <a:pt x="2236" y="868"/>
                    </a:moveTo>
                    <a:lnTo>
                      <a:pt x="2236" y="868"/>
                    </a:lnTo>
                    <a:lnTo>
                      <a:pt x="2236" y="868"/>
                    </a:lnTo>
                    <a:lnTo>
                      <a:pt x="2234" y="866"/>
                    </a:lnTo>
                    <a:lnTo>
                      <a:pt x="2234" y="866"/>
                    </a:lnTo>
                    <a:lnTo>
                      <a:pt x="2232" y="864"/>
                    </a:lnTo>
                    <a:lnTo>
                      <a:pt x="2228" y="862"/>
                    </a:lnTo>
                    <a:lnTo>
                      <a:pt x="2226" y="860"/>
                    </a:lnTo>
                    <a:lnTo>
                      <a:pt x="2222" y="860"/>
                    </a:lnTo>
                    <a:lnTo>
                      <a:pt x="2218" y="858"/>
                    </a:lnTo>
                    <a:lnTo>
                      <a:pt x="2214" y="856"/>
                    </a:lnTo>
                    <a:lnTo>
                      <a:pt x="2208" y="856"/>
                    </a:lnTo>
                    <a:lnTo>
                      <a:pt x="2208" y="856"/>
                    </a:lnTo>
                    <a:lnTo>
                      <a:pt x="2206" y="856"/>
                    </a:lnTo>
                    <a:lnTo>
                      <a:pt x="2206" y="856"/>
                    </a:lnTo>
                    <a:lnTo>
                      <a:pt x="2204" y="858"/>
                    </a:lnTo>
                    <a:lnTo>
                      <a:pt x="2204" y="862"/>
                    </a:lnTo>
                    <a:lnTo>
                      <a:pt x="2204" y="864"/>
                    </a:lnTo>
                    <a:lnTo>
                      <a:pt x="2204" y="868"/>
                    </a:lnTo>
                    <a:lnTo>
                      <a:pt x="2204" y="870"/>
                    </a:lnTo>
                    <a:lnTo>
                      <a:pt x="2204" y="872"/>
                    </a:lnTo>
                    <a:lnTo>
                      <a:pt x="2204" y="874"/>
                    </a:lnTo>
                    <a:lnTo>
                      <a:pt x="2204" y="874"/>
                    </a:lnTo>
                    <a:lnTo>
                      <a:pt x="2204" y="876"/>
                    </a:lnTo>
                    <a:lnTo>
                      <a:pt x="2206" y="878"/>
                    </a:lnTo>
                    <a:lnTo>
                      <a:pt x="2206" y="878"/>
                    </a:lnTo>
                    <a:lnTo>
                      <a:pt x="2206" y="878"/>
                    </a:lnTo>
                    <a:lnTo>
                      <a:pt x="2206" y="880"/>
                    </a:lnTo>
                    <a:lnTo>
                      <a:pt x="2208" y="880"/>
                    </a:lnTo>
                    <a:lnTo>
                      <a:pt x="2210" y="882"/>
                    </a:lnTo>
                    <a:lnTo>
                      <a:pt x="2212" y="884"/>
                    </a:lnTo>
                    <a:lnTo>
                      <a:pt x="2212" y="888"/>
                    </a:lnTo>
                    <a:lnTo>
                      <a:pt x="2216" y="892"/>
                    </a:lnTo>
                    <a:lnTo>
                      <a:pt x="2216" y="892"/>
                    </a:lnTo>
                    <a:lnTo>
                      <a:pt x="2218" y="892"/>
                    </a:lnTo>
                    <a:lnTo>
                      <a:pt x="2218" y="892"/>
                    </a:lnTo>
                    <a:lnTo>
                      <a:pt x="2220" y="892"/>
                    </a:lnTo>
                    <a:lnTo>
                      <a:pt x="2224" y="888"/>
                    </a:lnTo>
                    <a:lnTo>
                      <a:pt x="2228" y="886"/>
                    </a:lnTo>
                    <a:lnTo>
                      <a:pt x="2232" y="882"/>
                    </a:lnTo>
                    <a:lnTo>
                      <a:pt x="2234" y="880"/>
                    </a:lnTo>
                    <a:lnTo>
                      <a:pt x="2234" y="880"/>
                    </a:lnTo>
                    <a:lnTo>
                      <a:pt x="2236" y="878"/>
                    </a:lnTo>
                    <a:lnTo>
                      <a:pt x="2236" y="878"/>
                    </a:lnTo>
                    <a:lnTo>
                      <a:pt x="2236" y="876"/>
                    </a:lnTo>
                    <a:lnTo>
                      <a:pt x="2236" y="874"/>
                    </a:lnTo>
                    <a:lnTo>
                      <a:pt x="2236" y="874"/>
                    </a:lnTo>
                    <a:lnTo>
                      <a:pt x="2236" y="874"/>
                    </a:lnTo>
                    <a:lnTo>
                      <a:pt x="2236" y="872"/>
                    </a:lnTo>
                    <a:lnTo>
                      <a:pt x="2236" y="872"/>
                    </a:lnTo>
                    <a:lnTo>
                      <a:pt x="2236" y="870"/>
                    </a:lnTo>
                    <a:lnTo>
                      <a:pt x="2236" y="86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54" name="Freeform 171">
                <a:extLst>
                  <a:ext uri="{FF2B5EF4-FFF2-40B4-BE49-F238E27FC236}">
                    <a16:creationId xmlns:a16="http://schemas.microsoft.com/office/drawing/2014/main" id="{882940AB-1C3E-453A-9134-B5B3A1EDA8E4}"/>
                  </a:ext>
                </a:extLst>
              </p:cNvPr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gray">
              <a:xfrm>
                <a:off x="4225133" y="2794794"/>
                <a:ext cx="330050" cy="323637"/>
              </a:xfrm>
              <a:custGeom>
                <a:avLst/>
                <a:gdLst/>
                <a:ahLst/>
                <a:cxnLst/>
                <a:rect l="l" t="t" r="r" b="b"/>
                <a:pathLst>
                  <a:path w="330050" h="323637">
                    <a:moveTo>
                      <a:pt x="318742" y="280797"/>
                    </a:moveTo>
                    <a:cubicBezTo>
                      <a:pt x="322512" y="280018"/>
                      <a:pt x="327275" y="280404"/>
                      <a:pt x="328069" y="281954"/>
                    </a:cubicBezTo>
                    <a:cubicBezTo>
                      <a:pt x="331241" y="292853"/>
                      <a:pt x="329653" y="303747"/>
                      <a:pt x="329653" y="314646"/>
                    </a:cubicBezTo>
                    <a:cubicBezTo>
                      <a:pt x="325154" y="323205"/>
                      <a:pt x="310605" y="326083"/>
                      <a:pt x="308223" y="321408"/>
                    </a:cubicBezTo>
                    <a:cubicBezTo>
                      <a:pt x="330450" y="318299"/>
                      <a:pt x="312195" y="305301"/>
                      <a:pt x="315368" y="286629"/>
                    </a:cubicBezTo>
                    <a:cubicBezTo>
                      <a:pt x="312194" y="283520"/>
                      <a:pt x="314972" y="281576"/>
                      <a:pt x="318742" y="280797"/>
                    </a:cubicBezTo>
                    <a:close/>
                    <a:moveTo>
                      <a:pt x="177056" y="323"/>
                    </a:moveTo>
                    <a:cubicBezTo>
                      <a:pt x="181620" y="-260"/>
                      <a:pt x="185986" y="-260"/>
                      <a:pt x="189954" y="2071"/>
                    </a:cubicBezTo>
                    <a:cubicBezTo>
                      <a:pt x="205829" y="12950"/>
                      <a:pt x="232817" y="44031"/>
                      <a:pt x="243929" y="61126"/>
                    </a:cubicBezTo>
                    <a:cubicBezTo>
                      <a:pt x="264567" y="73559"/>
                      <a:pt x="293142" y="61126"/>
                      <a:pt x="296317" y="81329"/>
                    </a:cubicBezTo>
                    <a:cubicBezTo>
                      <a:pt x="302667" y="89100"/>
                      <a:pt x="283617" y="98424"/>
                      <a:pt x="282029" y="104640"/>
                    </a:cubicBezTo>
                    <a:cubicBezTo>
                      <a:pt x="280442" y="110857"/>
                      <a:pt x="291554" y="112411"/>
                      <a:pt x="285204" y="123289"/>
                    </a:cubicBezTo>
                    <a:cubicBezTo>
                      <a:pt x="270917" y="127952"/>
                      <a:pt x="239167" y="143492"/>
                      <a:pt x="253454" y="160587"/>
                    </a:cubicBezTo>
                    <a:cubicBezTo>
                      <a:pt x="283617" y="177682"/>
                      <a:pt x="275679" y="168358"/>
                      <a:pt x="277267" y="219642"/>
                    </a:cubicBezTo>
                    <a:cubicBezTo>
                      <a:pt x="302667" y="267819"/>
                      <a:pt x="261392" y="256940"/>
                      <a:pt x="215354" y="258494"/>
                    </a:cubicBezTo>
                    <a:cubicBezTo>
                      <a:pt x="199479" y="256940"/>
                      <a:pt x="193129" y="252278"/>
                      <a:pt x="189954" y="267819"/>
                    </a:cubicBezTo>
                    <a:cubicBezTo>
                      <a:pt x="186779" y="275589"/>
                      <a:pt x="182017" y="281806"/>
                      <a:pt x="177254" y="289576"/>
                    </a:cubicBezTo>
                    <a:cubicBezTo>
                      <a:pt x="172492" y="292684"/>
                      <a:pt x="162967" y="289576"/>
                      <a:pt x="158204" y="286468"/>
                    </a:cubicBezTo>
                    <a:cubicBezTo>
                      <a:pt x="153442" y="283360"/>
                      <a:pt x="156617" y="275589"/>
                      <a:pt x="143917" y="272481"/>
                    </a:cubicBezTo>
                    <a:cubicBezTo>
                      <a:pt x="112167" y="270927"/>
                      <a:pt x="105817" y="274035"/>
                      <a:pt x="85179" y="258494"/>
                    </a:cubicBezTo>
                    <a:cubicBezTo>
                      <a:pt x="66129" y="255386"/>
                      <a:pt x="77242" y="230521"/>
                      <a:pt x="77242" y="214980"/>
                    </a:cubicBezTo>
                    <a:cubicBezTo>
                      <a:pt x="86767" y="210318"/>
                      <a:pt x="89942" y="208764"/>
                      <a:pt x="91529" y="197885"/>
                    </a:cubicBezTo>
                    <a:cubicBezTo>
                      <a:pt x="85179" y="188561"/>
                      <a:pt x="77242" y="183898"/>
                      <a:pt x="72479" y="173020"/>
                    </a:cubicBezTo>
                    <a:cubicBezTo>
                      <a:pt x="64542" y="155925"/>
                      <a:pt x="72479" y="138830"/>
                      <a:pt x="56604" y="127952"/>
                    </a:cubicBezTo>
                    <a:cubicBezTo>
                      <a:pt x="45492" y="126397"/>
                      <a:pt x="32792" y="123289"/>
                      <a:pt x="23267" y="117073"/>
                    </a:cubicBezTo>
                    <a:cubicBezTo>
                      <a:pt x="1042" y="112411"/>
                      <a:pt x="-2133" y="107748"/>
                      <a:pt x="1042" y="84437"/>
                    </a:cubicBezTo>
                    <a:cubicBezTo>
                      <a:pt x="31204" y="79775"/>
                      <a:pt x="28029" y="76667"/>
                      <a:pt x="48667" y="90654"/>
                    </a:cubicBezTo>
                    <a:cubicBezTo>
                      <a:pt x="61367" y="87545"/>
                      <a:pt x="70892" y="87545"/>
                      <a:pt x="75654" y="75113"/>
                    </a:cubicBezTo>
                    <a:cubicBezTo>
                      <a:pt x="70892" y="67342"/>
                      <a:pt x="66129" y="62680"/>
                      <a:pt x="56604" y="58018"/>
                    </a:cubicBezTo>
                    <a:cubicBezTo>
                      <a:pt x="45492" y="56464"/>
                      <a:pt x="43507" y="54133"/>
                      <a:pt x="45492" y="51413"/>
                    </a:cubicBezTo>
                    <a:lnTo>
                      <a:pt x="58192" y="42477"/>
                    </a:lnTo>
                    <a:cubicBezTo>
                      <a:pt x="69304" y="48693"/>
                      <a:pt x="75654" y="56464"/>
                      <a:pt x="85179" y="62680"/>
                    </a:cubicBezTo>
                    <a:cubicBezTo>
                      <a:pt x="148679" y="67342"/>
                      <a:pt x="110579" y="72005"/>
                      <a:pt x="129629" y="47139"/>
                    </a:cubicBezTo>
                    <a:cubicBezTo>
                      <a:pt x="155029" y="33153"/>
                      <a:pt x="132804" y="8287"/>
                      <a:pt x="162967" y="2071"/>
                    </a:cubicBezTo>
                    <a:cubicBezTo>
                      <a:pt x="167729" y="2071"/>
                      <a:pt x="172492" y="906"/>
                      <a:pt x="177056" y="32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55" name="Freeform 172">
                <a:extLst>
                  <a:ext uri="{FF2B5EF4-FFF2-40B4-BE49-F238E27FC236}">
                    <a16:creationId xmlns:a16="http://schemas.microsoft.com/office/drawing/2014/main" id="{C5C595E2-B66A-4C0D-A10A-8664B332B55F}"/>
                  </a:ext>
                </a:extLst>
              </p:cNvPr>
              <p:cNvSpPr>
                <a:spLocks/>
              </p:cNvSpPr>
              <p:nvPr>
                <p:custDataLst>
                  <p:tags r:id="rId209"/>
                </p:custDataLst>
              </p:nvPr>
            </p:nvSpPr>
            <p:spPr bwMode="gray">
              <a:xfrm>
                <a:off x="4501784" y="2948030"/>
                <a:ext cx="278077" cy="311019"/>
              </a:xfrm>
              <a:custGeom>
                <a:avLst/>
                <a:gdLst/>
                <a:ahLst/>
                <a:cxnLst/>
                <a:rect l="l" t="t" r="r" b="b"/>
                <a:pathLst>
                  <a:path w="278077" h="311019">
                    <a:moveTo>
                      <a:pt x="42763" y="185722"/>
                    </a:moveTo>
                    <a:cubicBezTo>
                      <a:pt x="50272" y="185101"/>
                      <a:pt x="58295" y="185679"/>
                      <a:pt x="61734" y="188662"/>
                    </a:cubicBezTo>
                    <a:cubicBezTo>
                      <a:pt x="68612" y="194629"/>
                      <a:pt x="66025" y="217687"/>
                      <a:pt x="68150" y="225777"/>
                    </a:cubicBezTo>
                    <a:cubicBezTo>
                      <a:pt x="61802" y="233553"/>
                      <a:pt x="58626" y="239786"/>
                      <a:pt x="55450" y="249118"/>
                    </a:cubicBezTo>
                    <a:cubicBezTo>
                      <a:pt x="48441" y="248550"/>
                      <a:pt x="30843" y="232229"/>
                      <a:pt x="26081" y="222364"/>
                    </a:cubicBezTo>
                    <a:cubicBezTo>
                      <a:pt x="21323" y="212524"/>
                      <a:pt x="21980" y="198485"/>
                      <a:pt x="26874" y="189981"/>
                    </a:cubicBezTo>
                    <a:cubicBezTo>
                      <a:pt x="28258" y="188165"/>
                      <a:pt x="35254" y="186344"/>
                      <a:pt x="42763" y="185722"/>
                    </a:cubicBezTo>
                    <a:close/>
                    <a:moveTo>
                      <a:pt x="34737" y="93844"/>
                    </a:moveTo>
                    <a:lnTo>
                      <a:pt x="12511" y="103195"/>
                    </a:lnTo>
                    <a:lnTo>
                      <a:pt x="22869" y="96731"/>
                    </a:lnTo>
                    <a:cubicBezTo>
                      <a:pt x="27546" y="96686"/>
                      <a:pt x="32592" y="93844"/>
                      <a:pt x="34737" y="93844"/>
                    </a:cubicBezTo>
                    <a:close/>
                    <a:moveTo>
                      <a:pt x="104795" y="94"/>
                    </a:moveTo>
                    <a:cubicBezTo>
                      <a:pt x="113330" y="-297"/>
                      <a:pt x="121268" y="477"/>
                      <a:pt x="126817" y="3589"/>
                    </a:cubicBezTo>
                    <a:cubicBezTo>
                      <a:pt x="145868" y="6716"/>
                      <a:pt x="149043" y="26934"/>
                      <a:pt x="141120" y="42509"/>
                    </a:cubicBezTo>
                    <a:cubicBezTo>
                      <a:pt x="118893" y="50280"/>
                      <a:pt x="125244" y="51828"/>
                      <a:pt x="122069" y="79850"/>
                    </a:cubicBezTo>
                    <a:lnTo>
                      <a:pt x="141120" y="107871"/>
                    </a:lnTo>
                    <a:cubicBezTo>
                      <a:pt x="153820" y="115642"/>
                      <a:pt x="161744" y="128089"/>
                      <a:pt x="168094" y="140536"/>
                    </a:cubicBezTo>
                    <a:cubicBezTo>
                      <a:pt x="176046" y="145212"/>
                      <a:pt x="179222" y="151435"/>
                      <a:pt x="183970" y="159207"/>
                    </a:cubicBezTo>
                    <a:cubicBezTo>
                      <a:pt x="183970" y="159207"/>
                      <a:pt x="203021" y="160755"/>
                      <a:pt x="212547" y="163882"/>
                    </a:cubicBezTo>
                    <a:cubicBezTo>
                      <a:pt x="217324" y="165430"/>
                      <a:pt x="217324" y="173233"/>
                      <a:pt x="222072" y="176329"/>
                    </a:cubicBezTo>
                    <a:cubicBezTo>
                      <a:pt x="234773" y="179457"/>
                      <a:pt x="249075" y="188776"/>
                      <a:pt x="255426" y="199675"/>
                    </a:cubicBezTo>
                    <a:cubicBezTo>
                      <a:pt x="255426" y="199675"/>
                      <a:pt x="274477" y="207446"/>
                      <a:pt x="277652" y="215249"/>
                    </a:cubicBezTo>
                    <a:cubicBezTo>
                      <a:pt x="279225" y="218345"/>
                      <a:pt x="276050" y="219893"/>
                      <a:pt x="274477" y="223021"/>
                    </a:cubicBezTo>
                    <a:cubicBezTo>
                      <a:pt x="256999" y="226117"/>
                      <a:pt x="255426" y="227696"/>
                      <a:pt x="250649" y="209026"/>
                    </a:cubicBezTo>
                    <a:cubicBezTo>
                      <a:pt x="241123" y="204350"/>
                      <a:pt x="236375" y="207446"/>
                      <a:pt x="234773" y="218345"/>
                    </a:cubicBezTo>
                    <a:cubicBezTo>
                      <a:pt x="230024" y="229244"/>
                      <a:pt x="237948" y="230792"/>
                      <a:pt x="244298" y="238564"/>
                    </a:cubicBezTo>
                    <a:cubicBezTo>
                      <a:pt x="239550" y="246367"/>
                      <a:pt x="234773" y="252590"/>
                      <a:pt x="230024" y="260362"/>
                    </a:cubicBezTo>
                    <a:cubicBezTo>
                      <a:pt x="206196" y="274356"/>
                      <a:pt x="214148" y="286835"/>
                      <a:pt x="203021" y="308601"/>
                    </a:cubicBezTo>
                    <a:cubicBezTo>
                      <a:pt x="183970" y="311729"/>
                      <a:pt x="182397" y="313277"/>
                      <a:pt x="168094" y="303926"/>
                    </a:cubicBezTo>
                    <a:cubicBezTo>
                      <a:pt x="158569" y="302378"/>
                      <a:pt x="152219" y="299282"/>
                      <a:pt x="144295" y="294606"/>
                    </a:cubicBezTo>
                    <a:cubicBezTo>
                      <a:pt x="129992" y="291479"/>
                      <a:pt x="129992" y="291479"/>
                      <a:pt x="126817" y="275936"/>
                    </a:cubicBezTo>
                    <a:cubicBezTo>
                      <a:pt x="180795" y="271260"/>
                      <a:pt x="209372" y="289931"/>
                      <a:pt x="212547" y="237016"/>
                    </a:cubicBezTo>
                    <a:cubicBezTo>
                      <a:pt x="210973" y="227696"/>
                      <a:pt x="206196" y="223021"/>
                      <a:pt x="201448" y="215249"/>
                    </a:cubicBezTo>
                    <a:cubicBezTo>
                      <a:pt x="190321" y="213670"/>
                      <a:pt x="193496" y="209026"/>
                      <a:pt x="187145" y="199675"/>
                    </a:cubicBezTo>
                    <a:cubicBezTo>
                      <a:pt x="176046" y="193451"/>
                      <a:pt x="174445" y="182552"/>
                      <a:pt x="163346" y="177877"/>
                    </a:cubicBezTo>
                    <a:cubicBezTo>
                      <a:pt x="147470" y="174781"/>
                      <a:pt x="123642" y="159207"/>
                      <a:pt x="117292" y="145212"/>
                    </a:cubicBezTo>
                    <a:cubicBezTo>
                      <a:pt x="107766" y="137409"/>
                      <a:pt x="106193" y="128089"/>
                      <a:pt x="96667" y="121866"/>
                    </a:cubicBezTo>
                    <a:cubicBezTo>
                      <a:pt x="82365" y="118738"/>
                      <a:pt x="83967" y="112515"/>
                      <a:pt x="82365" y="98520"/>
                    </a:cubicBezTo>
                    <a:cubicBezTo>
                      <a:pt x="76015" y="84525"/>
                      <a:pt x="56964" y="89169"/>
                      <a:pt x="44263" y="87621"/>
                    </a:cubicBezTo>
                    <a:cubicBezTo>
                      <a:pt x="35798" y="88653"/>
                      <a:pt x="29454" y="92463"/>
                      <a:pt x="22869" y="96731"/>
                    </a:cubicBezTo>
                    <a:lnTo>
                      <a:pt x="17288" y="96972"/>
                    </a:lnTo>
                    <a:cubicBezTo>
                      <a:pt x="12511" y="93844"/>
                      <a:pt x="4587" y="82946"/>
                      <a:pt x="1412" y="75174"/>
                    </a:cubicBezTo>
                    <a:cubicBezTo>
                      <a:pt x="-1763" y="67403"/>
                      <a:pt x="1412" y="58052"/>
                      <a:pt x="1412" y="50280"/>
                    </a:cubicBezTo>
                    <a:cubicBezTo>
                      <a:pt x="2986" y="42509"/>
                      <a:pt x="6161" y="36285"/>
                      <a:pt x="7763" y="28482"/>
                    </a:cubicBezTo>
                    <a:cubicBezTo>
                      <a:pt x="17288" y="26934"/>
                      <a:pt x="26814" y="28482"/>
                      <a:pt x="34737" y="22259"/>
                    </a:cubicBezTo>
                    <a:cubicBezTo>
                      <a:pt x="45865" y="17583"/>
                      <a:pt x="63314" y="6716"/>
                      <a:pt x="79190" y="3589"/>
                    </a:cubicBezTo>
                    <a:cubicBezTo>
                      <a:pt x="87128" y="2041"/>
                      <a:pt x="96260" y="485"/>
                      <a:pt x="104795" y="9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56" name="Freeform 56">
                <a:extLst>
                  <a:ext uri="{FF2B5EF4-FFF2-40B4-BE49-F238E27FC236}">
                    <a16:creationId xmlns:a16="http://schemas.microsoft.com/office/drawing/2014/main" id="{466E73DD-3FE3-4831-8DF7-2B1D412089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2575" y="4060826"/>
                <a:ext cx="1114425" cy="400050"/>
              </a:xfrm>
              <a:custGeom>
                <a:avLst/>
                <a:gdLst>
                  <a:gd name="T0" fmla="*/ 628 w 702"/>
                  <a:gd name="T1" fmla="*/ 114 h 252"/>
                  <a:gd name="T2" fmla="*/ 576 w 702"/>
                  <a:gd name="T3" fmla="*/ 84 h 252"/>
                  <a:gd name="T4" fmla="*/ 542 w 702"/>
                  <a:gd name="T5" fmla="*/ 106 h 252"/>
                  <a:gd name="T6" fmla="*/ 564 w 702"/>
                  <a:gd name="T7" fmla="*/ 122 h 252"/>
                  <a:gd name="T8" fmla="*/ 574 w 702"/>
                  <a:gd name="T9" fmla="*/ 146 h 252"/>
                  <a:gd name="T10" fmla="*/ 646 w 702"/>
                  <a:gd name="T11" fmla="*/ 212 h 252"/>
                  <a:gd name="T12" fmla="*/ 702 w 702"/>
                  <a:gd name="T13" fmla="*/ 218 h 252"/>
                  <a:gd name="T14" fmla="*/ 32 w 702"/>
                  <a:gd name="T15" fmla="*/ 56 h 252"/>
                  <a:gd name="T16" fmla="*/ 50 w 702"/>
                  <a:gd name="T17" fmla="*/ 80 h 252"/>
                  <a:gd name="T18" fmla="*/ 50 w 702"/>
                  <a:gd name="T19" fmla="*/ 100 h 252"/>
                  <a:gd name="T20" fmla="*/ 74 w 702"/>
                  <a:gd name="T21" fmla="*/ 96 h 252"/>
                  <a:gd name="T22" fmla="*/ 530 w 702"/>
                  <a:gd name="T23" fmla="*/ 222 h 252"/>
                  <a:gd name="T24" fmla="*/ 556 w 702"/>
                  <a:gd name="T25" fmla="*/ 200 h 252"/>
                  <a:gd name="T26" fmla="*/ 274 w 702"/>
                  <a:gd name="T27" fmla="*/ 198 h 252"/>
                  <a:gd name="T28" fmla="*/ 232 w 702"/>
                  <a:gd name="T29" fmla="*/ 182 h 252"/>
                  <a:gd name="T30" fmla="*/ 170 w 702"/>
                  <a:gd name="T31" fmla="*/ 168 h 252"/>
                  <a:gd name="T32" fmla="*/ 196 w 702"/>
                  <a:gd name="T33" fmla="*/ 204 h 252"/>
                  <a:gd name="T34" fmla="*/ 296 w 702"/>
                  <a:gd name="T35" fmla="*/ 208 h 252"/>
                  <a:gd name="T36" fmla="*/ 612 w 702"/>
                  <a:gd name="T37" fmla="*/ 172 h 252"/>
                  <a:gd name="T38" fmla="*/ 206 w 702"/>
                  <a:gd name="T39" fmla="*/ 144 h 252"/>
                  <a:gd name="T40" fmla="*/ 188 w 702"/>
                  <a:gd name="T41" fmla="*/ 122 h 252"/>
                  <a:gd name="T42" fmla="*/ 382 w 702"/>
                  <a:gd name="T43" fmla="*/ 228 h 252"/>
                  <a:gd name="T44" fmla="*/ 388 w 702"/>
                  <a:gd name="T45" fmla="*/ 252 h 252"/>
                  <a:gd name="T46" fmla="*/ 458 w 702"/>
                  <a:gd name="T47" fmla="*/ 208 h 252"/>
                  <a:gd name="T48" fmla="*/ 450 w 702"/>
                  <a:gd name="T49" fmla="*/ 244 h 252"/>
                  <a:gd name="T50" fmla="*/ 224 w 702"/>
                  <a:gd name="T51" fmla="*/ 106 h 252"/>
                  <a:gd name="T52" fmla="*/ 254 w 702"/>
                  <a:gd name="T53" fmla="*/ 138 h 252"/>
                  <a:gd name="T54" fmla="*/ 326 w 702"/>
                  <a:gd name="T55" fmla="*/ 136 h 252"/>
                  <a:gd name="T56" fmla="*/ 352 w 702"/>
                  <a:gd name="T57" fmla="*/ 80 h 252"/>
                  <a:gd name="T58" fmla="*/ 352 w 702"/>
                  <a:gd name="T59" fmla="*/ 54 h 252"/>
                  <a:gd name="T60" fmla="*/ 350 w 702"/>
                  <a:gd name="T61" fmla="*/ 20 h 252"/>
                  <a:gd name="T62" fmla="*/ 262 w 702"/>
                  <a:gd name="T63" fmla="*/ 56 h 252"/>
                  <a:gd name="T64" fmla="*/ 204 w 702"/>
                  <a:gd name="T65" fmla="*/ 66 h 252"/>
                  <a:gd name="T66" fmla="*/ 172 w 702"/>
                  <a:gd name="T67" fmla="*/ 134 h 252"/>
                  <a:gd name="T68" fmla="*/ 182 w 702"/>
                  <a:gd name="T69" fmla="*/ 124 h 252"/>
                  <a:gd name="T70" fmla="*/ 152 w 702"/>
                  <a:gd name="T71" fmla="*/ 114 h 252"/>
                  <a:gd name="T72" fmla="*/ 124 w 702"/>
                  <a:gd name="T73" fmla="*/ 76 h 252"/>
                  <a:gd name="T74" fmla="*/ 34 w 702"/>
                  <a:gd name="T75" fmla="*/ 8 h 252"/>
                  <a:gd name="T76" fmla="*/ 2 w 702"/>
                  <a:gd name="T77" fmla="*/ 14 h 252"/>
                  <a:gd name="T78" fmla="*/ 60 w 702"/>
                  <a:gd name="T79" fmla="*/ 80 h 252"/>
                  <a:gd name="T80" fmla="*/ 158 w 702"/>
                  <a:gd name="T81" fmla="*/ 174 h 252"/>
                  <a:gd name="T82" fmla="*/ 324 w 702"/>
                  <a:gd name="T83" fmla="*/ 208 h 252"/>
                  <a:gd name="T84" fmla="*/ 334 w 702"/>
                  <a:gd name="T85" fmla="*/ 232 h 252"/>
                  <a:gd name="T86" fmla="*/ 442 w 702"/>
                  <a:gd name="T87" fmla="*/ 210 h 252"/>
                  <a:gd name="T88" fmla="*/ 368 w 702"/>
                  <a:gd name="T89" fmla="*/ 138 h 252"/>
                  <a:gd name="T90" fmla="*/ 382 w 702"/>
                  <a:gd name="T91" fmla="*/ 164 h 252"/>
                  <a:gd name="T92" fmla="*/ 388 w 702"/>
                  <a:gd name="T93" fmla="*/ 138 h 252"/>
                  <a:gd name="T94" fmla="*/ 416 w 702"/>
                  <a:gd name="T95" fmla="*/ 172 h 252"/>
                  <a:gd name="T96" fmla="*/ 430 w 702"/>
                  <a:gd name="T97" fmla="*/ 154 h 252"/>
                  <a:gd name="T98" fmla="*/ 404 w 702"/>
                  <a:gd name="T99" fmla="*/ 116 h 252"/>
                  <a:gd name="T100" fmla="*/ 426 w 702"/>
                  <a:gd name="T101" fmla="*/ 96 h 252"/>
                  <a:gd name="T102" fmla="*/ 390 w 702"/>
                  <a:gd name="T103" fmla="*/ 82 h 252"/>
                  <a:gd name="T104" fmla="*/ 454 w 702"/>
                  <a:gd name="T105" fmla="*/ 56 h 252"/>
                  <a:gd name="T106" fmla="*/ 386 w 702"/>
                  <a:gd name="T107" fmla="*/ 76 h 252"/>
                  <a:gd name="T108" fmla="*/ 494 w 702"/>
                  <a:gd name="T109" fmla="*/ 90 h 252"/>
                  <a:gd name="T110" fmla="*/ 508 w 702"/>
                  <a:gd name="T111" fmla="*/ 98 h 252"/>
                  <a:gd name="T112" fmla="*/ 508 w 702"/>
                  <a:gd name="T113" fmla="*/ 58 h 252"/>
                  <a:gd name="T114" fmla="*/ 496 w 702"/>
                  <a:gd name="T115" fmla="*/ 48 h 252"/>
                  <a:gd name="T116" fmla="*/ 494 w 702"/>
                  <a:gd name="T117" fmla="*/ 90 h 252"/>
                  <a:gd name="T118" fmla="*/ 488 w 702"/>
                  <a:gd name="T119" fmla="*/ 156 h 252"/>
                  <a:gd name="T120" fmla="*/ 544 w 702"/>
                  <a:gd name="T121" fmla="*/ 146 h 252"/>
                  <a:gd name="T122" fmla="*/ 528 w 702"/>
                  <a:gd name="T123" fmla="*/ 122 h 252"/>
                  <a:gd name="T124" fmla="*/ 544 w 702"/>
                  <a:gd name="T125" fmla="*/ 146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" h="252">
                    <a:moveTo>
                      <a:pt x="700" y="124"/>
                    </a:moveTo>
                    <a:lnTo>
                      <a:pt x="698" y="124"/>
                    </a:lnTo>
                    <a:lnTo>
                      <a:pt x="700" y="122"/>
                    </a:lnTo>
                    <a:lnTo>
                      <a:pt x="650" y="104"/>
                    </a:lnTo>
                    <a:lnTo>
                      <a:pt x="650" y="104"/>
                    </a:lnTo>
                    <a:lnTo>
                      <a:pt x="648" y="104"/>
                    </a:lnTo>
                    <a:lnTo>
                      <a:pt x="628" y="114"/>
                    </a:lnTo>
                    <a:lnTo>
                      <a:pt x="628" y="114"/>
                    </a:lnTo>
                    <a:lnTo>
                      <a:pt x="628" y="114"/>
                    </a:lnTo>
                    <a:lnTo>
                      <a:pt x="612" y="130"/>
                    </a:lnTo>
                    <a:lnTo>
                      <a:pt x="594" y="114"/>
                    </a:lnTo>
                    <a:lnTo>
                      <a:pt x="594" y="98"/>
                    </a:lnTo>
                    <a:lnTo>
                      <a:pt x="594" y="98"/>
                    </a:lnTo>
                    <a:lnTo>
                      <a:pt x="594" y="96"/>
                    </a:lnTo>
                    <a:lnTo>
                      <a:pt x="576" y="84"/>
                    </a:lnTo>
                    <a:lnTo>
                      <a:pt x="576" y="84"/>
                    </a:lnTo>
                    <a:lnTo>
                      <a:pt x="574" y="84"/>
                    </a:lnTo>
                    <a:lnTo>
                      <a:pt x="564" y="84"/>
                    </a:lnTo>
                    <a:lnTo>
                      <a:pt x="564" y="84"/>
                    </a:lnTo>
                    <a:lnTo>
                      <a:pt x="562" y="86"/>
                    </a:lnTo>
                    <a:lnTo>
                      <a:pt x="542" y="104"/>
                    </a:lnTo>
                    <a:lnTo>
                      <a:pt x="542" y="104"/>
                    </a:lnTo>
                    <a:lnTo>
                      <a:pt x="542" y="106"/>
                    </a:lnTo>
                    <a:lnTo>
                      <a:pt x="542" y="106"/>
                    </a:lnTo>
                    <a:lnTo>
                      <a:pt x="544" y="108"/>
                    </a:lnTo>
                    <a:lnTo>
                      <a:pt x="550" y="108"/>
                    </a:lnTo>
                    <a:lnTo>
                      <a:pt x="562" y="118"/>
                    </a:lnTo>
                    <a:lnTo>
                      <a:pt x="562" y="118"/>
                    </a:lnTo>
                    <a:lnTo>
                      <a:pt x="564" y="120"/>
                    </a:lnTo>
                    <a:lnTo>
                      <a:pt x="584" y="120"/>
                    </a:lnTo>
                    <a:lnTo>
                      <a:pt x="580" y="122"/>
                    </a:lnTo>
                    <a:lnTo>
                      <a:pt x="564" y="122"/>
                    </a:lnTo>
                    <a:lnTo>
                      <a:pt x="564" y="122"/>
                    </a:lnTo>
                    <a:lnTo>
                      <a:pt x="560" y="124"/>
                    </a:lnTo>
                    <a:lnTo>
                      <a:pt x="560" y="124"/>
                    </a:lnTo>
                    <a:lnTo>
                      <a:pt x="562" y="126"/>
                    </a:lnTo>
                    <a:lnTo>
                      <a:pt x="572" y="136"/>
                    </a:lnTo>
                    <a:lnTo>
                      <a:pt x="572" y="144"/>
                    </a:lnTo>
                    <a:lnTo>
                      <a:pt x="572" y="144"/>
                    </a:lnTo>
                    <a:lnTo>
                      <a:pt x="574" y="146"/>
                    </a:lnTo>
                    <a:lnTo>
                      <a:pt x="574" y="146"/>
                    </a:lnTo>
                    <a:lnTo>
                      <a:pt x="576" y="146"/>
                    </a:lnTo>
                    <a:lnTo>
                      <a:pt x="582" y="138"/>
                    </a:lnTo>
                    <a:lnTo>
                      <a:pt x="646" y="172"/>
                    </a:lnTo>
                    <a:lnTo>
                      <a:pt x="656" y="19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6" y="212"/>
                    </a:lnTo>
                    <a:lnTo>
                      <a:pt x="646" y="212"/>
                    </a:lnTo>
                    <a:lnTo>
                      <a:pt x="650" y="214"/>
                    </a:lnTo>
                    <a:lnTo>
                      <a:pt x="678" y="204"/>
                    </a:lnTo>
                    <a:lnTo>
                      <a:pt x="698" y="220"/>
                    </a:lnTo>
                    <a:lnTo>
                      <a:pt x="698" y="220"/>
                    </a:lnTo>
                    <a:lnTo>
                      <a:pt x="700" y="220"/>
                    </a:lnTo>
                    <a:lnTo>
                      <a:pt x="700" y="220"/>
                    </a:lnTo>
                    <a:lnTo>
                      <a:pt x="702" y="218"/>
                    </a:lnTo>
                    <a:lnTo>
                      <a:pt x="702" y="124"/>
                    </a:lnTo>
                    <a:lnTo>
                      <a:pt x="700" y="124"/>
                    </a:lnTo>
                    <a:close/>
                    <a:moveTo>
                      <a:pt x="54" y="80"/>
                    </a:moveTo>
                    <a:lnTo>
                      <a:pt x="54" y="80"/>
                    </a:lnTo>
                    <a:lnTo>
                      <a:pt x="54" y="78"/>
                    </a:lnTo>
                    <a:lnTo>
                      <a:pt x="52" y="7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8"/>
                    </a:lnTo>
                    <a:lnTo>
                      <a:pt x="28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2" y="80"/>
                    </a:lnTo>
                    <a:lnTo>
                      <a:pt x="54" y="80"/>
                    </a:lnTo>
                    <a:lnTo>
                      <a:pt x="54" y="80"/>
                    </a:lnTo>
                    <a:close/>
                    <a:moveTo>
                      <a:pt x="72" y="96"/>
                    </a:moveTo>
                    <a:lnTo>
                      <a:pt x="52" y="96"/>
                    </a:lnTo>
                    <a:lnTo>
                      <a:pt x="52" y="98"/>
                    </a:lnTo>
                    <a:lnTo>
                      <a:pt x="50" y="100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4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4" y="96"/>
                    </a:lnTo>
                    <a:lnTo>
                      <a:pt x="72" y="96"/>
                    </a:lnTo>
                    <a:lnTo>
                      <a:pt x="72" y="96"/>
                    </a:lnTo>
                    <a:close/>
                    <a:moveTo>
                      <a:pt x="552" y="200"/>
                    </a:moveTo>
                    <a:lnTo>
                      <a:pt x="534" y="200"/>
                    </a:lnTo>
                    <a:lnTo>
                      <a:pt x="534" y="200"/>
                    </a:lnTo>
                    <a:lnTo>
                      <a:pt x="532" y="200"/>
                    </a:lnTo>
                    <a:lnTo>
                      <a:pt x="530" y="202"/>
                    </a:lnTo>
                    <a:lnTo>
                      <a:pt x="530" y="222"/>
                    </a:lnTo>
                    <a:lnTo>
                      <a:pt x="534" y="222"/>
                    </a:lnTo>
                    <a:lnTo>
                      <a:pt x="534" y="224"/>
                    </a:lnTo>
                    <a:lnTo>
                      <a:pt x="544" y="224"/>
                    </a:lnTo>
                    <a:lnTo>
                      <a:pt x="544" y="224"/>
                    </a:lnTo>
                    <a:lnTo>
                      <a:pt x="546" y="222"/>
                    </a:lnTo>
                    <a:lnTo>
                      <a:pt x="556" y="204"/>
                    </a:lnTo>
                    <a:lnTo>
                      <a:pt x="556" y="204"/>
                    </a:lnTo>
                    <a:lnTo>
                      <a:pt x="556" y="200"/>
                    </a:lnTo>
                    <a:lnTo>
                      <a:pt x="556" y="200"/>
                    </a:lnTo>
                    <a:lnTo>
                      <a:pt x="552" y="200"/>
                    </a:lnTo>
                    <a:lnTo>
                      <a:pt x="552" y="200"/>
                    </a:lnTo>
                    <a:close/>
                    <a:moveTo>
                      <a:pt x="296" y="200"/>
                    </a:moveTo>
                    <a:lnTo>
                      <a:pt x="296" y="200"/>
                    </a:lnTo>
                    <a:lnTo>
                      <a:pt x="296" y="198"/>
                    </a:lnTo>
                    <a:lnTo>
                      <a:pt x="294" y="198"/>
                    </a:lnTo>
                    <a:lnTo>
                      <a:pt x="274" y="198"/>
                    </a:lnTo>
                    <a:lnTo>
                      <a:pt x="266" y="190"/>
                    </a:lnTo>
                    <a:lnTo>
                      <a:pt x="266" y="190"/>
                    </a:lnTo>
                    <a:lnTo>
                      <a:pt x="266" y="188"/>
                    </a:lnTo>
                    <a:lnTo>
                      <a:pt x="236" y="180"/>
                    </a:lnTo>
                    <a:lnTo>
                      <a:pt x="236" y="180"/>
                    </a:lnTo>
                    <a:lnTo>
                      <a:pt x="234" y="180"/>
                    </a:lnTo>
                    <a:lnTo>
                      <a:pt x="234" y="180"/>
                    </a:lnTo>
                    <a:lnTo>
                      <a:pt x="232" y="182"/>
                    </a:lnTo>
                    <a:lnTo>
                      <a:pt x="232" y="186"/>
                    </a:lnTo>
                    <a:lnTo>
                      <a:pt x="218" y="180"/>
                    </a:lnTo>
                    <a:lnTo>
                      <a:pt x="218" y="180"/>
                    </a:lnTo>
                    <a:lnTo>
                      <a:pt x="218" y="180"/>
                    </a:lnTo>
                    <a:lnTo>
                      <a:pt x="188" y="168"/>
                    </a:lnTo>
                    <a:lnTo>
                      <a:pt x="188" y="168"/>
                    </a:lnTo>
                    <a:lnTo>
                      <a:pt x="188" y="168"/>
                    </a:lnTo>
                    <a:lnTo>
                      <a:pt x="170" y="168"/>
                    </a:lnTo>
                    <a:lnTo>
                      <a:pt x="170" y="168"/>
                    </a:lnTo>
                    <a:lnTo>
                      <a:pt x="168" y="170"/>
                    </a:lnTo>
                    <a:lnTo>
                      <a:pt x="156" y="180"/>
                    </a:lnTo>
                    <a:lnTo>
                      <a:pt x="158" y="182"/>
                    </a:lnTo>
                    <a:lnTo>
                      <a:pt x="158" y="184"/>
                    </a:lnTo>
                    <a:lnTo>
                      <a:pt x="196" y="204"/>
                    </a:lnTo>
                    <a:lnTo>
                      <a:pt x="196" y="204"/>
                    </a:lnTo>
                    <a:lnTo>
                      <a:pt x="196" y="204"/>
                    </a:lnTo>
                    <a:lnTo>
                      <a:pt x="294" y="214"/>
                    </a:lnTo>
                    <a:lnTo>
                      <a:pt x="294" y="214"/>
                    </a:lnTo>
                    <a:lnTo>
                      <a:pt x="296" y="214"/>
                    </a:lnTo>
                    <a:lnTo>
                      <a:pt x="296" y="214"/>
                    </a:lnTo>
                    <a:lnTo>
                      <a:pt x="296" y="214"/>
                    </a:lnTo>
                    <a:lnTo>
                      <a:pt x="318" y="214"/>
                    </a:lnTo>
                    <a:lnTo>
                      <a:pt x="318" y="208"/>
                    </a:lnTo>
                    <a:lnTo>
                      <a:pt x="296" y="208"/>
                    </a:lnTo>
                    <a:lnTo>
                      <a:pt x="296" y="200"/>
                    </a:lnTo>
                    <a:close/>
                    <a:moveTo>
                      <a:pt x="612" y="160"/>
                    </a:moveTo>
                    <a:lnTo>
                      <a:pt x="612" y="160"/>
                    </a:lnTo>
                    <a:lnTo>
                      <a:pt x="608" y="162"/>
                    </a:lnTo>
                    <a:lnTo>
                      <a:pt x="590" y="188"/>
                    </a:lnTo>
                    <a:lnTo>
                      <a:pt x="592" y="190"/>
                    </a:lnTo>
                    <a:lnTo>
                      <a:pt x="594" y="192"/>
                    </a:lnTo>
                    <a:lnTo>
                      <a:pt x="612" y="172"/>
                    </a:lnTo>
                    <a:lnTo>
                      <a:pt x="612" y="172"/>
                    </a:lnTo>
                    <a:lnTo>
                      <a:pt x="614" y="170"/>
                    </a:lnTo>
                    <a:lnTo>
                      <a:pt x="614" y="162"/>
                    </a:lnTo>
                    <a:lnTo>
                      <a:pt x="614" y="162"/>
                    </a:lnTo>
                    <a:lnTo>
                      <a:pt x="612" y="160"/>
                    </a:lnTo>
                    <a:lnTo>
                      <a:pt x="612" y="160"/>
                    </a:lnTo>
                    <a:close/>
                    <a:moveTo>
                      <a:pt x="188" y="144"/>
                    </a:moveTo>
                    <a:lnTo>
                      <a:pt x="206" y="144"/>
                    </a:lnTo>
                    <a:lnTo>
                      <a:pt x="206" y="144"/>
                    </a:lnTo>
                    <a:lnTo>
                      <a:pt x="208" y="144"/>
                    </a:lnTo>
                    <a:lnTo>
                      <a:pt x="210" y="142"/>
                    </a:lnTo>
                    <a:lnTo>
                      <a:pt x="210" y="124"/>
                    </a:lnTo>
                    <a:lnTo>
                      <a:pt x="210" y="124"/>
                    </a:lnTo>
                    <a:lnTo>
                      <a:pt x="208" y="122"/>
                    </a:lnTo>
                    <a:lnTo>
                      <a:pt x="206" y="122"/>
                    </a:lnTo>
                    <a:lnTo>
                      <a:pt x="188" y="122"/>
                    </a:lnTo>
                    <a:lnTo>
                      <a:pt x="188" y="122"/>
                    </a:lnTo>
                    <a:lnTo>
                      <a:pt x="186" y="122"/>
                    </a:lnTo>
                    <a:lnTo>
                      <a:pt x="184" y="124"/>
                    </a:lnTo>
                    <a:lnTo>
                      <a:pt x="184" y="142"/>
                    </a:lnTo>
                    <a:lnTo>
                      <a:pt x="188" y="142"/>
                    </a:lnTo>
                    <a:lnTo>
                      <a:pt x="188" y="144"/>
                    </a:lnTo>
                    <a:close/>
                    <a:moveTo>
                      <a:pt x="382" y="228"/>
                    </a:moveTo>
                    <a:lnTo>
                      <a:pt x="382" y="228"/>
                    </a:lnTo>
                    <a:lnTo>
                      <a:pt x="380" y="228"/>
                    </a:lnTo>
                    <a:lnTo>
                      <a:pt x="360" y="228"/>
                    </a:lnTo>
                    <a:lnTo>
                      <a:pt x="360" y="230"/>
                    </a:lnTo>
                    <a:lnTo>
                      <a:pt x="358" y="232"/>
                    </a:lnTo>
                    <a:lnTo>
                      <a:pt x="378" y="252"/>
                    </a:lnTo>
                    <a:lnTo>
                      <a:pt x="378" y="252"/>
                    </a:lnTo>
                    <a:lnTo>
                      <a:pt x="380" y="252"/>
                    </a:lnTo>
                    <a:lnTo>
                      <a:pt x="388" y="252"/>
                    </a:lnTo>
                    <a:lnTo>
                      <a:pt x="388" y="252"/>
                    </a:lnTo>
                    <a:lnTo>
                      <a:pt x="392" y="250"/>
                    </a:lnTo>
                    <a:lnTo>
                      <a:pt x="392" y="250"/>
                    </a:lnTo>
                    <a:lnTo>
                      <a:pt x="392" y="248"/>
                    </a:lnTo>
                    <a:lnTo>
                      <a:pt x="382" y="228"/>
                    </a:lnTo>
                    <a:close/>
                    <a:moveTo>
                      <a:pt x="486" y="208"/>
                    </a:moveTo>
                    <a:lnTo>
                      <a:pt x="458" y="208"/>
                    </a:lnTo>
                    <a:lnTo>
                      <a:pt x="458" y="208"/>
                    </a:lnTo>
                    <a:lnTo>
                      <a:pt x="454" y="208"/>
                    </a:lnTo>
                    <a:lnTo>
                      <a:pt x="436" y="228"/>
                    </a:lnTo>
                    <a:lnTo>
                      <a:pt x="426" y="240"/>
                    </a:lnTo>
                    <a:lnTo>
                      <a:pt x="428" y="242"/>
                    </a:lnTo>
                    <a:lnTo>
                      <a:pt x="428" y="244"/>
                    </a:lnTo>
                    <a:lnTo>
                      <a:pt x="448" y="244"/>
                    </a:lnTo>
                    <a:lnTo>
                      <a:pt x="448" y="244"/>
                    </a:lnTo>
                    <a:lnTo>
                      <a:pt x="450" y="244"/>
                    </a:lnTo>
                    <a:lnTo>
                      <a:pt x="488" y="214"/>
                    </a:lnTo>
                    <a:lnTo>
                      <a:pt x="488" y="214"/>
                    </a:lnTo>
                    <a:lnTo>
                      <a:pt x="490" y="210"/>
                    </a:lnTo>
                    <a:lnTo>
                      <a:pt x="490" y="210"/>
                    </a:lnTo>
                    <a:lnTo>
                      <a:pt x="486" y="208"/>
                    </a:lnTo>
                    <a:lnTo>
                      <a:pt x="486" y="208"/>
                    </a:lnTo>
                    <a:close/>
                    <a:moveTo>
                      <a:pt x="214" y="88"/>
                    </a:moveTo>
                    <a:lnTo>
                      <a:pt x="224" y="106"/>
                    </a:lnTo>
                    <a:lnTo>
                      <a:pt x="232" y="126"/>
                    </a:lnTo>
                    <a:lnTo>
                      <a:pt x="232" y="126"/>
                    </a:lnTo>
                    <a:lnTo>
                      <a:pt x="236" y="126"/>
                    </a:lnTo>
                    <a:lnTo>
                      <a:pt x="252" y="126"/>
                    </a:lnTo>
                    <a:lnTo>
                      <a:pt x="252" y="134"/>
                    </a:lnTo>
                    <a:lnTo>
                      <a:pt x="252" y="134"/>
                    </a:lnTo>
                    <a:lnTo>
                      <a:pt x="252" y="136"/>
                    </a:lnTo>
                    <a:lnTo>
                      <a:pt x="254" y="138"/>
                    </a:lnTo>
                    <a:lnTo>
                      <a:pt x="294" y="138"/>
                    </a:lnTo>
                    <a:lnTo>
                      <a:pt x="300" y="146"/>
                    </a:lnTo>
                    <a:lnTo>
                      <a:pt x="300" y="146"/>
                    </a:lnTo>
                    <a:lnTo>
                      <a:pt x="300" y="146"/>
                    </a:lnTo>
                    <a:lnTo>
                      <a:pt x="302" y="146"/>
                    </a:lnTo>
                    <a:lnTo>
                      <a:pt x="324" y="136"/>
                    </a:lnTo>
                    <a:lnTo>
                      <a:pt x="324" y="136"/>
                    </a:lnTo>
                    <a:lnTo>
                      <a:pt x="326" y="136"/>
                    </a:lnTo>
                    <a:lnTo>
                      <a:pt x="334" y="116"/>
                    </a:lnTo>
                    <a:lnTo>
                      <a:pt x="334" y="116"/>
                    </a:lnTo>
                    <a:lnTo>
                      <a:pt x="334" y="114"/>
                    </a:lnTo>
                    <a:lnTo>
                      <a:pt x="334" y="114"/>
                    </a:lnTo>
                    <a:lnTo>
                      <a:pt x="332" y="112"/>
                    </a:lnTo>
                    <a:lnTo>
                      <a:pt x="328" y="112"/>
                    </a:lnTo>
                    <a:lnTo>
                      <a:pt x="334" y="98"/>
                    </a:lnTo>
                    <a:lnTo>
                      <a:pt x="352" y="80"/>
                    </a:lnTo>
                    <a:lnTo>
                      <a:pt x="362" y="70"/>
                    </a:lnTo>
                    <a:lnTo>
                      <a:pt x="362" y="70"/>
                    </a:lnTo>
                    <a:lnTo>
                      <a:pt x="362" y="68"/>
                    </a:lnTo>
                    <a:lnTo>
                      <a:pt x="362" y="68"/>
                    </a:lnTo>
                    <a:lnTo>
                      <a:pt x="362" y="66"/>
                    </a:lnTo>
                    <a:lnTo>
                      <a:pt x="348" y="58"/>
                    </a:lnTo>
                    <a:lnTo>
                      <a:pt x="352" y="54"/>
                    </a:lnTo>
                    <a:lnTo>
                      <a:pt x="352" y="54"/>
                    </a:lnTo>
                    <a:lnTo>
                      <a:pt x="354" y="52"/>
                    </a:lnTo>
                    <a:lnTo>
                      <a:pt x="352" y="50"/>
                    </a:lnTo>
                    <a:lnTo>
                      <a:pt x="346" y="40"/>
                    </a:lnTo>
                    <a:lnTo>
                      <a:pt x="354" y="24"/>
                    </a:lnTo>
                    <a:lnTo>
                      <a:pt x="354" y="24"/>
                    </a:lnTo>
                    <a:lnTo>
                      <a:pt x="352" y="20"/>
                    </a:lnTo>
                    <a:lnTo>
                      <a:pt x="352" y="20"/>
                    </a:lnTo>
                    <a:lnTo>
                      <a:pt x="350" y="20"/>
                    </a:lnTo>
                    <a:lnTo>
                      <a:pt x="324" y="20"/>
                    </a:lnTo>
                    <a:lnTo>
                      <a:pt x="324" y="20"/>
                    </a:lnTo>
                    <a:lnTo>
                      <a:pt x="320" y="20"/>
                    </a:lnTo>
                    <a:lnTo>
                      <a:pt x="292" y="56"/>
                    </a:lnTo>
                    <a:lnTo>
                      <a:pt x="284" y="64"/>
                    </a:lnTo>
                    <a:lnTo>
                      <a:pt x="266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2" y="66"/>
                    </a:lnTo>
                    <a:lnTo>
                      <a:pt x="236" y="66"/>
                    </a:lnTo>
                    <a:lnTo>
                      <a:pt x="218" y="56"/>
                    </a:lnTo>
                    <a:lnTo>
                      <a:pt x="218" y="58"/>
                    </a:lnTo>
                    <a:lnTo>
                      <a:pt x="218" y="58"/>
                    </a:lnTo>
                    <a:lnTo>
                      <a:pt x="218" y="58"/>
                    </a:lnTo>
                    <a:lnTo>
                      <a:pt x="216" y="56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8"/>
                    </a:lnTo>
                    <a:lnTo>
                      <a:pt x="204" y="70"/>
                    </a:lnTo>
                    <a:lnTo>
                      <a:pt x="214" y="88"/>
                    </a:lnTo>
                    <a:close/>
                    <a:moveTo>
                      <a:pt x="160" y="172"/>
                    </a:moveTo>
                    <a:lnTo>
                      <a:pt x="172" y="136"/>
                    </a:lnTo>
                    <a:lnTo>
                      <a:pt x="172" y="136"/>
                    </a:lnTo>
                    <a:lnTo>
                      <a:pt x="172" y="134"/>
                    </a:lnTo>
                    <a:lnTo>
                      <a:pt x="168" y="128"/>
                    </a:lnTo>
                    <a:lnTo>
                      <a:pt x="176" y="136"/>
                    </a:lnTo>
                    <a:lnTo>
                      <a:pt x="176" y="136"/>
                    </a:lnTo>
                    <a:lnTo>
                      <a:pt x="180" y="138"/>
                    </a:lnTo>
                    <a:lnTo>
                      <a:pt x="180" y="138"/>
                    </a:lnTo>
                    <a:lnTo>
                      <a:pt x="182" y="134"/>
                    </a:lnTo>
                    <a:lnTo>
                      <a:pt x="182" y="124"/>
                    </a:lnTo>
                    <a:lnTo>
                      <a:pt x="182" y="124"/>
                    </a:lnTo>
                    <a:lnTo>
                      <a:pt x="182" y="122"/>
                    </a:lnTo>
                    <a:lnTo>
                      <a:pt x="172" y="104"/>
                    </a:lnTo>
                    <a:lnTo>
                      <a:pt x="172" y="104"/>
                    </a:lnTo>
                    <a:lnTo>
                      <a:pt x="168" y="102"/>
                    </a:lnTo>
                    <a:lnTo>
                      <a:pt x="168" y="102"/>
                    </a:lnTo>
                    <a:lnTo>
                      <a:pt x="166" y="104"/>
                    </a:lnTo>
                    <a:lnTo>
                      <a:pt x="156" y="114"/>
                    </a:lnTo>
                    <a:lnTo>
                      <a:pt x="152" y="114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40" y="94"/>
                    </a:lnTo>
                    <a:lnTo>
                      <a:pt x="134" y="94"/>
                    </a:lnTo>
                    <a:lnTo>
                      <a:pt x="134" y="88"/>
                    </a:lnTo>
                    <a:lnTo>
                      <a:pt x="134" y="88"/>
                    </a:lnTo>
                    <a:lnTo>
                      <a:pt x="134" y="84"/>
                    </a:lnTo>
                    <a:lnTo>
                      <a:pt x="124" y="76"/>
                    </a:lnTo>
                    <a:lnTo>
                      <a:pt x="124" y="68"/>
                    </a:lnTo>
                    <a:lnTo>
                      <a:pt x="124" y="68"/>
                    </a:lnTo>
                    <a:lnTo>
                      <a:pt x="122" y="66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2" y="48"/>
                    </a:lnTo>
                    <a:lnTo>
                      <a:pt x="82" y="4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4" y="3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2" y="54"/>
                    </a:lnTo>
                    <a:lnTo>
                      <a:pt x="52" y="60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0"/>
                    </a:lnTo>
                    <a:lnTo>
                      <a:pt x="78" y="100"/>
                    </a:lnTo>
                    <a:lnTo>
                      <a:pt x="100" y="136"/>
                    </a:lnTo>
                    <a:lnTo>
                      <a:pt x="100" y="136"/>
                    </a:lnTo>
                    <a:lnTo>
                      <a:pt x="100" y="138"/>
                    </a:lnTo>
                    <a:lnTo>
                      <a:pt x="138" y="174"/>
                    </a:lnTo>
                    <a:lnTo>
                      <a:pt x="138" y="174"/>
                    </a:lnTo>
                    <a:lnTo>
                      <a:pt x="140" y="174"/>
                    </a:lnTo>
                    <a:lnTo>
                      <a:pt x="158" y="174"/>
                    </a:lnTo>
                    <a:lnTo>
                      <a:pt x="158" y="174"/>
                    </a:lnTo>
                    <a:lnTo>
                      <a:pt x="160" y="172"/>
                    </a:lnTo>
                    <a:lnTo>
                      <a:pt x="160" y="172"/>
                    </a:lnTo>
                    <a:close/>
                    <a:moveTo>
                      <a:pt x="442" y="210"/>
                    </a:moveTo>
                    <a:lnTo>
                      <a:pt x="442" y="210"/>
                    </a:lnTo>
                    <a:lnTo>
                      <a:pt x="440" y="208"/>
                    </a:lnTo>
                    <a:lnTo>
                      <a:pt x="324" y="208"/>
                    </a:lnTo>
                    <a:lnTo>
                      <a:pt x="324" y="208"/>
                    </a:lnTo>
                    <a:lnTo>
                      <a:pt x="322" y="208"/>
                    </a:lnTo>
                    <a:lnTo>
                      <a:pt x="320" y="210"/>
                    </a:lnTo>
                    <a:lnTo>
                      <a:pt x="320" y="230"/>
                    </a:lnTo>
                    <a:lnTo>
                      <a:pt x="324" y="230"/>
                    </a:lnTo>
                    <a:lnTo>
                      <a:pt x="324" y="232"/>
                    </a:lnTo>
                    <a:lnTo>
                      <a:pt x="332" y="232"/>
                    </a:lnTo>
                    <a:lnTo>
                      <a:pt x="332" y="232"/>
                    </a:lnTo>
                    <a:lnTo>
                      <a:pt x="334" y="232"/>
                    </a:lnTo>
                    <a:lnTo>
                      <a:pt x="372" y="214"/>
                    </a:lnTo>
                    <a:lnTo>
                      <a:pt x="410" y="232"/>
                    </a:lnTo>
                    <a:lnTo>
                      <a:pt x="410" y="232"/>
                    </a:lnTo>
                    <a:lnTo>
                      <a:pt x="412" y="232"/>
                    </a:lnTo>
                    <a:lnTo>
                      <a:pt x="442" y="214"/>
                    </a:lnTo>
                    <a:lnTo>
                      <a:pt x="442" y="214"/>
                    </a:lnTo>
                    <a:lnTo>
                      <a:pt x="442" y="210"/>
                    </a:lnTo>
                    <a:lnTo>
                      <a:pt x="442" y="210"/>
                    </a:lnTo>
                    <a:close/>
                    <a:moveTo>
                      <a:pt x="360" y="124"/>
                    </a:moveTo>
                    <a:lnTo>
                      <a:pt x="360" y="124"/>
                    </a:lnTo>
                    <a:lnTo>
                      <a:pt x="358" y="124"/>
                    </a:lnTo>
                    <a:lnTo>
                      <a:pt x="358" y="136"/>
                    </a:lnTo>
                    <a:lnTo>
                      <a:pt x="358" y="136"/>
                    </a:lnTo>
                    <a:lnTo>
                      <a:pt x="358" y="138"/>
                    </a:lnTo>
                    <a:lnTo>
                      <a:pt x="360" y="138"/>
                    </a:lnTo>
                    <a:lnTo>
                      <a:pt x="368" y="138"/>
                    </a:lnTo>
                    <a:lnTo>
                      <a:pt x="368" y="172"/>
                    </a:lnTo>
                    <a:lnTo>
                      <a:pt x="368" y="172"/>
                    </a:lnTo>
                    <a:lnTo>
                      <a:pt x="370" y="174"/>
                    </a:lnTo>
                    <a:lnTo>
                      <a:pt x="370" y="174"/>
                    </a:lnTo>
                    <a:lnTo>
                      <a:pt x="374" y="174"/>
                    </a:lnTo>
                    <a:lnTo>
                      <a:pt x="382" y="166"/>
                    </a:lnTo>
                    <a:lnTo>
                      <a:pt x="382" y="166"/>
                    </a:lnTo>
                    <a:lnTo>
                      <a:pt x="382" y="164"/>
                    </a:lnTo>
                    <a:lnTo>
                      <a:pt x="382" y="136"/>
                    </a:lnTo>
                    <a:lnTo>
                      <a:pt x="390" y="128"/>
                    </a:lnTo>
                    <a:lnTo>
                      <a:pt x="392" y="128"/>
                    </a:lnTo>
                    <a:lnTo>
                      <a:pt x="388" y="134"/>
                    </a:lnTo>
                    <a:lnTo>
                      <a:pt x="388" y="134"/>
                    </a:lnTo>
                    <a:lnTo>
                      <a:pt x="386" y="136"/>
                    </a:lnTo>
                    <a:lnTo>
                      <a:pt x="386" y="136"/>
                    </a:lnTo>
                    <a:lnTo>
                      <a:pt x="388" y="138"/>
                    </a:lnTo>
                    <a:lnTo>
                      <a:pt x="398" y="146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6"/>
                    </a:lnTo>
                    <a:lnTo>
                      <a:pt x="400" y="156"/>
                    </a:lnTo>
                    <a:lnTo>
                      <a:pt x="416" y="156"/>
                    </a:lnTo>
                    <a:lnTo>
                      <a:pt x="416" y="172"/>
                    </a:lnTo>
                    <a:lnTo>
                      <a:pt x="416" y="172"/>
                    </a:lnTo>
                    <a:lnTo>
                      <a:pt x="418" y="174"/>
                    </a:lnTo>
                    <a:lnTo>
                      <a:pt x="418" y="174"/>
                    </a:lnTo>
                    <a:lnTo>
                      <a:pt x="420" y="174"/>
                    </a:lnTo>
                    <a:lnTo>
                      <a:pt x="428" y="166"/>
                    </a:lnTo>
                    <a:lnTo>
                      <a:pt x="428" y="166"/>
                    </a:lnTo>
                    <a:lnTo>
                      <a:pt x="430" y="164"/>
                    </a:lnTo>
                    <a:lnTo>
                      <a:pt x="430" y="154"/>
                    </a:lnTo>
                    <a:lnTo>
                      <a:pt x="430" y="154"/>
                    </a:lnTo>
                    <a:lnTo>
                      <a:pt x="428" y="152"/>
                    </a:lnTo>
                    <a:lnTo>
                      <a:pt x="416" y="138"/>
                    </a:lnTo>
                    <a:lnTo>
                      <a:pt x="418" y="138"/>
                    </a:lnTo>
                    <a:lnTo>
                      <a:pt x="418" y="138"/>
                    </a:lnTo>
                    <a:lnTo>
                      <a:pt x="422" y="136"/>
                    </a:lnTo>
                    <a:lnTo>
                      <a:pt x="422" y="136"/>
                    </a:lnTo>
                    <a:lnTo>
                      <a:pt x="420" y="134"/>
                    </a:lnTo>
                    <a:lnTo>
                      <a:pt x="404" y="116"/>
                    </a:lnTo>
                    <a:lnTo>
                      <a:pt x="418" y="102"/>
                    </a:lnTo>
                    <a:lnTo>
                      <a:pt x="428" y="100"/>
                    </a:lnTo>
                    <a:lnTo>
                      <a:pt x="428" y="100"/>
                    </a:lnTo>
                    <a:lnTo>
                      <a:pt x="430" y="100"/>
                    </a:lnTo>
                    <a:lnTo>
                      <a:pt x="430" y="98"/>
                    </a:lnTo>
                    <a:lnTo>
                      <a:pt x="430" y="98"/>
                    </a:lnTo>
                    <a:lnTo>
                      <a:pt x="428" y="96"/>
                    </a:lnTo>
                    <a:lnTo>
                      <a:pt x="426" y="96"/>
                    </a:lnTo>
                    <a:lnTo>
                      <a:pt x="418" y="96"/>
                    </a:lnTo>
                    <a:lnTo>
                      <a:pt x="418" y="96"/>
                    </a:lnTo>
                    <a:lnTo>
                      <a:pt x="416" y="96"/>
                    </a:lnTo>
                    <a:lnTo>
                      <a:pt x="414" y="98"/>
                    </a:lnTo>
                    <a:lnTo>
                      <a:pt x="390" y="104"/>
                    </a:lnTo>
                    <a:lnTo>
                      <a:pt x="382" y="96"/>
                    </a:lnTo>
                    <a:lnTo>
                      <a:pt x="382" y="88"/>
                    </a:lnTo>
                    <a:lnTo>
                      <a:pt x="390" y="82"/>
                    </a:lnTo>
                    <a:lnTo>
                      <a:pt x="448" y="82"/>
                    </a:lnTo>
                    <a:lnTo>
                      <a:pt x="448" y="82"/>
                    </a:lnTo>
                    <a:lnTo>
                      <a:pt x="450" y="80"/>
                    </a:lnTo>
                    <a:lnTo>
                      <a:pt x="458" y="60"/>
                    </a:lnTo>
                    <a:lnTo>
                      <a:pt x="458" y="60"/>
                    </a:lnTo>
                    <a:lnTo>
                      <a:pt x="458" y="56"/>
                    </a:lnTo>
                    <a:lnTo>
                      <a:pt x="458" y="56"/>
                    </a:lnTo>
                    <a:lnTo>
                      <a:pt x="454" y="56"/>
                    </a:lnTo>
                    <a:lnTo>
                      <a:pt x="436" y="66"/>
                    </a:lnTo>
                    <a:lnTo>
                      <a:pt x="418" y="76"/>
                    </a:lnTo>
                    <a:lnTo>
                      <a:pt x="390" y="66"/>
                    </a:lnTo>
                    <a:lnTo>
                      <a:pt x="390" y="66"/>
                    </a:lnTo>
                    <a:lnTo>
                      <a:pt x="388" y="66"/>
                    </a:lnTo>
                    <a:lnTo>
                      <a:pt x="388" y="66"/>
                    </a:lnTo>
                    <a:lnTo>
                      <a:pt x="386" y="68"/>
                    </a:lnTo>
                    <a:lnTo>
                      <a:pt x="386" y="76"/>
                    </a:lnTo>
                    <a:lnTo>
                      <a:pt x="380" y="76"/>
                    </a:lnTo>
                    <a:lnTo>
                      <a:pt x="380" y="76"/>
                    </a:lnTo>
                    <a:lnTo>
                      <a:pt x="378" y="76"/>
                    </a:lnTo>
                    <a:lnTo>
                      <a:pt x="378" y="78"/>
                    </a:lnTo>
                    <a:lnTo>
                      <a:pt x="378" y="98"/>
                    </a:lnTo>
                    <a:lnTo>
                      <a:pt x="358" y="124"/>
                    </a:lnTo>
                    <a:lnTo>
                      <a:pt x="360" y="124"/>
                    </a:lnTo>
                    <a:close/>
                    <a:moveTo>
                      <a:pt x="494" y="90"/>
                    </a:moveTo>
                    <a:lnTo>
                      <a:pt x="494" y="90"/>
                    </a:lnTo>
                    <a:lnTo>
                      <a:pt x="494" y="90"/>
                    </a:lnTo>
                    <a:lnTo>
                      <a:pt x="504" y="100"/>
                    </a:lnTo>
                    <a:lnTo>
                      <a:pt x="504" y="100"/>
                    </a:lnTo>
                    <a:lnTo>
                      <a:pt x="506" y="102"/>
                    </a:lnTo>
                    <a:lnTo>
                      <a:pt x="508" y="100"/>
                    </a:lnTo>
                    <a:lnTo>
                      <a:pt x="508" y="100"/>
                    </a:lnTo>
                    <a:lnTo>
                      <a:pt x="508" y="98"/>
                    </a:lnTo>
                    <a:lnTo>
                      <a:pt x="508" y="96"/>
                    </a:lnTo>
                    <a:lnTo>
                      <a:pt x="500" y="86"/>
                    </a:lnTo>
                    <a:lnTo>
                      <a:pt x="500" y="82"/>
                    </a:lnTo>
                    <a:lnTo>
                      <a:pt x="506" y="82"/>
                    </a:lnTo>
                    <a:lnTo>
                      <a:pt x="506" y="82"/>
                    </a:lnTo>
                    <a:lnTo>
                      <a:pt x="508" y="80"/>
                    </a:lnTo>
                    <a:lnTo>
                      <a:pt x="508" y="78"/>
                    </a:lnTo>
                    <a:lnTo>
                      <a:pt x="508" y="58"/>
                    </a:lnTo>
                    <a:lnTo>
                      <a:pt x="508" y="58"/>
                    </a:lnTo>
                    <a:lnTo>
                      <a:pt x="508" y="56"/>
                    </a:lnTo>
                    <a:lnTo>
                      <a:pt x="506" y="56"/>
                    </a:lnTo>
                    <a:lnTo>
                      <a:pt x="504" y="56"/>
                    </a:lnTo>
                    <a:lnTo>
                      <a:pt x="504" y="58"/>
                    </a:lnTo>
                    <a:lnTo>
                      <a:pt x="498" y="50"/>
                    </a:lnTo>
                    <a:lnTo>
                      <a:pt x="498" y="50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4" y="50"/>
                    </a:lnTo>
                    <a:lnTo>
                      <a:pt x="484" y="68"/>
                    </a:lnTo>
                    <a:lnTo>
                      <a:pt x="486" y="70"/>
                    </a:lnTo>
                    <a:lnTo>
                      <a:pt x="486" y="70"/>
                    </a:lnTo>
                    <a:lnTo>
                      <a:pt x="486" y="70"/>
                    </a:lnTo>
                    <a:lnTo>
                      <a:pt x="484" y="70"/>
                    </a:lnTo>
                    <a:lnTo>
                      <a:pt x="494" y="90"/>
                    </a:lnTo>
                    <a:close/>
                    <a:moveTo>
                      <a:pt x="486" y="132"/>
                    </a:moveTo>
                    <a:lnTo>
                      <a:pt x="468" y="132"/>
                    </a:lnTo>
                    <a:lnTo>
                      <a:pt x="468" y="136"/>
                    </a:lnTo>
                    <a:lnTo>
                      <a:pt x="466" y="138"/>
                    </a:lnTo>
                    <a:lnTo>
                      <a:pt x="484" y="156"/>
                    </a:lnTo>
                    <a:lnTo>
                      <a:pt x="484" y="156"/>
                    </a:lnTo>
                    <a:lnTo>
                      <a:pt x="488" y="156"/>
                    </a:lnTo>
                    <a:lnTo>
                      <a:pt x="488" y="156"/>
                    </a:lnTo>
                    <a:lnTo>
                      <a:pt x="490" y="154"/>
                    </a:lnTo>
                    <a:lnTo>
                      <a:pt x="490" y="136"/>
                    </a:lnTo>
                    <a:lnTo>
                      <a:pt x="490" y="136"/>
                    </a:lnTo>
                    <a:lnTo>
                      <a:pt x="488" y="134"/>
                    </a:lnTo>
                    <a:lnTo>
                      <a:pt x="486" y="132"/>
                    </a:lnTo>
                    <a:lnTo>
                      <a:pt x="486" y="132"/>
                    </a:lnTo>
                    <a:close/>
                    <a:moveTo>
                      <a:pt x="544" y="146"/>
                    </a:move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44"/>
                    </a:lnTo>
                    <a:lnTo>
                      <a:pt x="546" y="144"/>
                    </a:lnTo>
                    <a:lnTo>
                      <a:pt x="548" y="142"/>
                    </a:lnTo>
                    <a:lnTo>
                      <a:pt x="546" y="142"/>
                    </a:lnTo>
                    <a:lnTo>
                      <a:pt x="536" y="132"/>
                    </a:lnTo>
                    <a:lnTo>
                      <a:pt x="528" y="122"/>
                    </a:lnTo>
                    <a:lnTo>
                      <a:pt x="528" y="122"/>
                    </a:lnTo>
                    <a:lnTo>
                      <a:pt x="524" y="122"/>
                    </a:lnTo>
                    <a:lnTo>
                      <a:pt x="504" y="122"/>
                    </a:lnTo>
                    <a:lnTo>
                      <a:pt x="504" y="122"/>
                    </a:lnTo>
                    <a:lnTo>
                      <a:pt x="500" y="122"/>
                    </a:lnTo>
                    <a:lnTo>
                      <a:pt x="492" y="132"/>
                    </a:lnTo>
                    <a:lnTo>
                      <a:pt x="494" y="134"/>
                    </a:lnTo>
                    <a:lnTo>
                      <a:pt x="494" y="138"/>
                    </a:lnTo>
                    <a:lnTo>
                      <a:pt x="544" y="14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244" name="Freeform 280">
              <a:extLst>
                <a:ext uri="{FF2B5EF4-FFF2-40B4-BE49-F238E27FC236}">
                  <a16:creationId xmlns:a16="http://schemas.microsoft.com/office/drawing/2014/main" id="{EBF8A9E5-EA4D-4E86-B989-B91AB77AE689}"/>
                </a:ext>
              </a:extLst>
            </p:cNvPr>
            <p:cNvSpPr/>
            <p:nvPr/>
          </p:nvSpPr>
          <p:spPr>
            <a:xfrm>
              <a:off x="4161615" y="2301874"/>
              <a:ext cx="30973" cy="49473"/>
            </a:xfrm>
            <a:custGeom>
              <a:avLst/>
              <a:gdLst>
                <a:gd name="connsiteX0" fmla="*/ 0 w 45244"/>
                <a:gd name="connsiteY0" fmla="*/ 23812 h 23812"/>
                <a:gd name="connsiteX1" fmla="*/ 45244 w 45244"/>
                <a:gd name="connsiteY1" fmla="*/ 0 h 23812"/>
                <a:gd name="connsiteX2" fmla="*/ 0 w 45244"/>
                <a:gd name="connsiteY2" fmla="*/ 23812 h 23812"/>
                <a:gd name="connsiteX0" fmla="*/ 0 w 23813"/>
                <a:gd name="connsiteY0" fmla="*/ 0 h 33338"/>
                <a:gd name="connsiteX1" fmla="*/ 23813 w 23813"/>
                <a:gd name="connsiteY1" fmla="*/ 33338 h 33338"/>
                <a:gd name="connsiteX2" fmla="*/ 0 w 23813"/>
                <a:gd name="connsiteY2" fmla="*/ 0 h 33338"/>
                <a:gd name="connsiteX0" fmla="*/ 0 w 35942"/>
                <a:gd name="connsiteY0" fmla="*/ 1209 h 55714"/>
                <a:gd name="connsiteX1" fmla="*/ 23813 w 35942"/>
                <a:gd name="connsiteY1" fmla="*/ 34547 h 55714"/>
                <a:gd name="connsiteX2" fmla="*/ 0 w 35942"/>
                <a:gd name="connsiteY2" fmla="*/ 1209 h 55714"/>
                <a:gd name="connsiteX0" fmla="*/ 262 w 24331"/>
                <a:gd name="connsiteY0" fmla="*/ 11 h 35874"/>
                <a:gd name="connsiteX1" fmla="*/ 24075 w 24331"/>
                <a:gd name="connsiteY1" fmla="*/ 33349 h 35874"/>
                <a:gd name="connsiteX2" fmla="*/ 12116 w 24331"/>
                <a:gd name="connsiteY2" fmla="*/ 29784 h 35874"/>
                <a:gd name="connsiteX3" fmla="*/ 262 w 24331"/>
                <a:gd name="connsiteY3" fmla="*/ 11 h 35874"/>
                <a:gd name="connsiteX0" fmla="*/ 639 w 34065"/>
                <a:gd name="connsiteY0" fmla="*/ 1389 h 36767"/>
                <a:gd name="connsiteX1" fmla="*/ 33087 w 34065"/>
                <a:gd name="connsiteY1" fmla="*/ 7946 h 36767"/>
                <a:gd name="connsiteX2" fmla="*/ 24452 w 34065"/>
                <a:gd name="connsiteY2" fmla="*/ 34727 h 36767"/>
                <a:gd name="connsiteX3" fmla="*/ 12493 w 34065"/>
                <a:gd name="connsiteY3" fmla="*/ 31162 h 36767"/>
                <a:gd name="connsiteX4" fmla="*/ 639 w 34065"/>
                <a:gd name="connsiteY4" fmla="*/ 1389 h 36767"/>
                <a:gd name="connsiteX0" fmla="*/ 639 w 35387"/>
                <a:gd name="connsiteY0" fmla="*/ 1389 h 44263"/>
                <a:gd name="connsiteX1" fmla="*/ 33087 w 35387"/>
                <a:gd name="connsiteY1" fmla="*/ 7946 h 44263"/>
                <a:gd name="connsiteX2" fmla="*/ 31940 w 35387"/>
                <a:gd name="connsiteY2" fmla="*/ 43432 h 44263"/>
                <a:gd name="connsiteX3" fmla="*/ 12493 w 35387"/>
                <a:gd name="connsiteY3" fmla="*/ 31162 h 44263"/>
                <a:gd name="connsiteX4" fmla="*/ 639 w 35387"/>
                <a:gd name="connsiteY4" fmla="*/ 1389 h 44263"/>
                <a:gd name="connsiteX0" fmla="*/ 639 w 35118"/>
                <a:gd name="connsiteY0" fmla="*/ 1389 h 60290"/>
                <a:gd name="connsiteX1" fmla="*/ 33087 w 35118"/>
                <a:gd name="connsiteY1" fmla="*/ 7946 h 60290"/>
                <a:gd name="connsiteX2" fmla="*/ 31940 w 35118"/>
                <a:gd name="connsiteY2" fmla="*/ 43432 h 60290"/>
                <a:gd name="connsiteX3" fmla="*/ 18293 w 35118"/>
                <a:gd name="connsiteY3" fmla="*/ 60021 h 60290"/>
                <a:gd name="connsiteX4" fmla="*/ 12493 w 35118"/>
                <a:gd name="connsiteY4" fmla="*/ 31162 h 60290"/>
                <a:gd name="connsiteX5" fmla="*/ 639 w 35118"/>
                <a:gd name="connsiteY5" fmla="*/ 1389 h 60290"/>
                <a:gd name="connsiteX0" fmla="*/ 6372 w 24002"/>
                <a:gd name="connsiteY0" fmla="*/ 12252 h 53744"/>
                <a:gd name="connsiteX1" fmla="*/ 21971 w 24002"/>
                <a:gd name="connsiteY1" fmla="*/ 1398 h 53744"/>
                <a:gd name="connsiteX2" fmla="*/ 20824 w 24002"/>
                <a:gd name="connsiteY2" fmla="*/ 36884 h 53744"/>
                <a:gd name="connsiteX3" fmla="*/ 7177 w 24002"/>
                <a:gd name="connsiteY3" fmla="*/ 53473 h 53744"/>
                <a:gd name="connsiteX4" fmla="*/ 1377 w 24002"/>
                <a:gd name="connsiteY4" fmla="*/ 24614 h 53744"/>
                <a:gd name="connsiteX5" fmla="*/ 6372 w 24002"/>
                <a:gd name="connsiteY5" fmla="*/ 12252 h 53744"/>
                <a:gd name="connsiteX0" fmla="*/ 4848 w 24350"/>
                <a:gd name="connsiteY0" fmla="*/ 1388 h 60289"/>
                <a:gd name="connsiteX1" fmla="*/ 22319 w 24350"/>
                <a:gd name="connsiteY1" fmla="*/ 7944 h 60289"/>
                <a:gd name="connsiteX2" fmla="*/ 21172 w 24350"/>
                <a:gd name="connsiteY2" fmla="*/ 43430 h 60289"/>
                <a:gd name="connsiteX3" fmla="*/ 7525 w 24350"/>
                <a:gd name="connsiteY3" fmla="*/ 60019 h 60289"/>
                <a:gd name="connsiteX4" fmla="*/ 1725 w 24350"/>
                <a:gd name="connsiteY4" fmla="*/ 31160 h 60289"/>
                <a:gd name="connsiteX5" fmla="*/ 4848 w 24350"/>
                <a:gd name="connsiteY5" fmla="*/ 1388 h 60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50" h="60289">
                  <a:moveTo>
                    <a:pt x="4848" y="1388"/>
                  </a:moveTo>
                  <a:cubicBezTo>
                    <a:pt x="8280" y="-2481"/>
                    <a:pt x="18350" y="2388"/>
                    <a:pt x="22319" y="7944"/>
                  </a:cubicBezTo>
                  <a:cubicBezTo>
                    <a:pt x="26288" y="13500"/>
                    <a:pt x="23638" y="34751"/>
                    <a:pt x="21172" y="43430"/>
                  </a:cubicBezTo>
                  <a:cubicBezTo>
                    <a:pt x="18706" y="52109"/>
                    <a:pt x="10766" y="62064"/>
                    <a:pt x="7525" y="60019"/>
                  </a:cubicBezTo>
                  <a:cubicBezTo>
                    <a:pt x="4284" y="57974"/>
                    <a:pt x="4667" y="38030"/>
                    <a:pt x="1725" y="31160"/>
                  </a:cubicBezTo>
                  <a:cubicBezTo>
                    <a:pt x="-2244" y="25604"/>
                    <a:pt x="1416" y="5257"/>
                    <a:pt x="4848" y="1388"/>
                  </a:cubicBezTo>
                  <a:close/>
                </a:path>
              </a:pathLst>
            </a:custGeom>
            <a:grpFill/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46" name="Freeform 244">
              <a:extLst>
                <a:ext uri="{FF2B5EF4-FFF2-40B4-BE49-F238E27FC236}">
                  <a16:creationId xmlns:a16="http://schemas.microsoft.com/office/drawing/2014/main" id="{E1241B92-DF7B-4BCA-9674-6B66E122DA9E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4121151" y="2377009"/>
              <a:ext cx="247650" cy="456256"/>
            </a:xfrm>
            <a:custGeom>
              <a:avLst/>
              <a:gdLst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52388 w 247650"/>
                <a:gd name="connsiteY61" fmla="*/ 37322 h 526236"/>
                <a:gd name="connsiteX62" fmla="*/ 36513 w 247650"/>
                <a:gd name="connsiteY62" fmla="*/ 23326 h 526236"/>
                <a:gd name="connsiteX63" fmla="*/ 46038 w 247650"/>
                <a:gd name="connsiteY63" fmla="*/ 0 h 526236"/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36513 w 247650"/>
                <a:gd name="connsiteY61" fmla="*/ 23326 h 526236"/>
                <a:gd name="connsiteX62" fmla="*/ 46038 w 247650"/>
                <a:gd name="connsiteY62" fmla="*/ 0 h 526236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44798 w 247650"/>
                <a:gd name="connsiteY60" fmla="*/ 26024 h 502910"/>
                <a:gd name="connsiteX61" fmla="*/ 36513 w 247650"/>
                <a:gd name="connsiteY61" fmla="*/ 0 h 502910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36513 w 247650"/>
                <a:gd name="connsiteY60" fmla="*/ 0 h 502910"/>
                <a:gd name="connsiteX0" fmla="*/ 23812 w 247650"/>
                <a:gd name="connsiteY0" fmla="*/ 247492 h 456256"/>
                <a:gd name="connsiteX1" fmla="*/ 60325 w 247650"/>
                <a:gd name="connsiteY1" fmla="*/ 266176 h 456256"/>
                <a:gd name="connsiteX2" fmla="*/ 66675 w 247650"/>
                <a:gd name="connsiteY2" fmla="*/ 280189 h 456256"/>
                <a:gd name="connsiteX3" fmla="*/ 77787 w 247650"/>
                <a:gd name="connsiteY3" fmla="*/ 314442 h 456256"/>
                <a:gd name="connsiteX4" fmla="*/ 52387 w 247650"/>
                <a:gd name="connsiteY4" fmla="*/ 325341 h 456256"/>
                <a:gd name="connsiteX5" fmla="*/ 20637 w 247650"/>
                <a:gd name="connsiteY5" fmla="*/ 319113 h 456256"/>
                <a:gd name="connsiteX6" fmla="*/ 0 w 247650"/>
                <a:gd name="connsiteY6" fmla="*/ 300429 h 456256"/>
                <a:gd name="connsiteX7" fmla="*/ 4762 w 247650"/>
                <a:gd name="connsiteY7" fmla="*/ 281746 h 456256"/>
                <a:gd name="connsiteX8" fmla="*/ 23812 w 247650"/>
                <a:gd name="connsiteY8" fmla="*/ 247492 h 456256"/>
                <a:gd name="connsiteX9" fmla="*/ 147637 w 247650"/>
                <a:gd name="connsiteY9" fmla="*/ 73089 h 456256"/>
                <a:gd name="connsiteX10" fmla="*/ 150812 w 247650"/>
                <a:gd name="connsiteY10" fmla="*/ 111967 h 456256"/>
                <a:gd name="connsiteX11" fmla="*/ 122237 w 247650"/>
                <a:gd name="connsiteY11" fmla="*/ 149289 h 456256"/>
                <a:gd name="connsiteX12" fmla="*/ 174625 w 247650"/>
                <a:gd name="connsiteY12" fmla="*/ 158620 h 456256"/>
                <a:gd name="connsiteX13" fmla="*/ 152400 w 247650"/>
                <a:gd name="connsiteY13" fmla="*/ 205273 h 456256"/>
                <a:gd name="connsiteX14" fmla="*/ 161925 w 247650"/>
                <a:gd name="connsiteY14" fmla="*/ 228600 h 456256"/>
                <a:gd name="connsiteX15" fmla="*/ 174625 w 247650"/>
                <a:gd name="connsiteY15" fmla="*/ 250371 h 456256"/>
                <a:gd name="connsiteX16" fmla="*/ 185738 w 247650"/>
                <a:gd name="connsiteY16" fmla="*/ 275253 h 456256"/>
                <a:gd name="connsiteX17" fmla="*/ 214313 w 247650"/>
                <a:gd name="connsiteY17" fmla="*/ 307910 h 456256"/>
                <a:gd name="connsiteX18" fmla="*/ 223838 w 247650"/>
                <a:gd name="connsiteY18" fmla="*/ 335902 h 456256"/>
                <a:gd name="connsiteX19" fmla="*/ 247650 w 247650"/>
                <a:gd name="connsiteY19" fmla="*/ 381000 h 456256"/>
                <a:gd name="connsiteX20" fmla="*/ 219075 w 247650"/>
                <a:gd name="connsiteY20" fmla="*/ 399661 h 456256"/>
                <a:gd name="connsiteX21" fmla="*/ 236538 w 247650"/>
                <a:gd name="connsiteY21" fmla="*/ 422988 h 456256"/>
                <a:gd name="connsiteX22" fmla="*/ 204788 w 247650"/>
                <a:gd name="connsiteY22" fmla="*/ 429208 h 456256"/>
                <a:gd name="connsiteX23" fmla="*/ 150812 w 247650"/>
                <a:gd name="connsiteY23" fmla="*/ 432318 h 456256"/>
                <a:gd name="connsiteX24" fmla="*/ 127000 w 247650"/>
                <a:gd name="connsiteY24" fmla="*/ 443204 h 456256"/>
                <a:gd name="connsiteX25" fmla="*/ 98425 w 247650"/>
                <a:gd name="connsiteY25" fmla="*/ 450979 h 456256"/>
                <a:gd name="connsiteX26" fmla="*/ 76200 w 247650"/>
                <a:gd name="connsiteY26" fmla="*/ 452535 h 456256"/>
                <a:gd name="connsiteX27" fmla="*/ 61912 w 247650"/>
                <a:gd name="connsiteY27" fmla="*/ 450979 h 456256"/>
                <a:gd name="connsiteX28" fmla="*/ 69850 w 247650"/>
                <a:gd name="connsiteY28" fmla="*/ 447869 h 456256"/>
                <a:gd name="connsiteX29" fmla="*/ 98425 w 247650"/>
                <a:gd name="connsiteY29" fmla="*/ 424543 h 456256"/>
                <a:gd name="connsiteX30" fmla="*/ 112712 w 247650"/>
                <a:gd name="connsiteY30" fmla="*/ 396551 h 456256"/>
                <a:gd name="connsiteX31" fmla="*/ 93662 w 247650"/>
                <a:gd name="connsiteY31" fmla="*/ 376334 h 456256"/>
                <a:gd name="connsiteX32" fmla="*/ 107950 w 247650"/>
                <a:gd name="connsiteY32" fmla="*/ 343677 h 456256"/>
                <a:gd name="connsiteX33" fmla="*/ 104824 w 247650"/>
                <a:gd name="connsiteY33" fmla="*/ 335877 h 456256"/>
                <a:gd name="connsiteX34" fmla="*/ 136525 w 247650"/>
                <a:gd name="connsiteY34" fmla="*/ 334347 h 456256"/>
                <a:gd name="connsiteX35" fmla="*/ 138112 w 247650"/>
                <a:gd name="connsiteY35" fmla="*/ 301689 h 456256"/>
                <a:gd name="connsiteX36" fmla="*/ 127000 w 247650"/>
                <a:gd name="connsiteY36" fmla="*/ 278363 h 456256"/>
                <a:gd name="connsiteX37" fmla="*/ 128587 w 247650"/>
                <a:gd name="connsiteY37" fmla="*/ 265922 h 456256"/>
                <a:gd name="connsiteX38" fmla="*/ 90487 w 247650"/>
                <a:gd name="connsiteY38" fmla="*/ 259702 h 456256"/>
                <a:gd name="connsiteX39" fmla="*/ 60325 w 247650"/>
                <a:gd name="connsiteY39" fmla="*/ 214604 h 456256"/>
                <a:gd name="connsiteX40" fmla="*/ 61912 w 247650"/>
                <a:gd name="connsiteY40" fmla="*/ 189722 h 456256"/>
                <a:gd name="connsiteX41" fmla="*/ 36512 w 247650"/>
                <a:gd name="connsiteY41" fmla="*/ 171061 h 456256"/>
                <a:gd name="connsiteX42" fmla="*/ 38100 w 247650"/>
                <a:gd name="connsiteY42" fmla="*/ 130628 h 456256"/>
                <a:gd name="connsiteX43" fmla="*/ 61912 w 247650"/>
                <a:gd name="connsiteY43" fmla="*/ 116632 h 456256"/>
                <a:gd name="connsiteX44" fmla="*/ 74191 w 247650"/>
                <a:gd name="connsiteY44" fmla="*/ 140250 h 456256"/>
                <a:gd name="connsiteX45" fmla="*/ 76200 w 247650"/>
                <a:gd name="connsiteY45" fmla="*/ 133738 h 456256"/>
                <a:gd name="connsiteX46" fmla="*/ 104775 w 247650"/>
                <a:gd name="connsiteY46" fmla="*/ 110412 h 456256"/>
                <a:gd name="connsiteX47" fmla="*/ 128587 w 247650"/>
                <a:gd name="connsiteY47" fmla="*/ 91750 h 456256"/>
                <a:gd name="connsiteX48" fmla="*/ 147637 w 247650"/>
                <a:gd name="connsiteY48" fmla="*/ 73089 h 456256"/>
                <a:gd name="connsiteX49" fmla="*/ 195263 w 247650"/>
                <a:gd name="connsiteY49" fmla="*/ 0 h 456256"/>
                <a:gd name="connsiteX50" fmla="*/ 204788 w 247650"/>
                <a:gd name="connsiteY50" fmla="*/ 18661 h 456256"/>
                <a:gd name="connsiteX51" fmla="*/ 193676 w 247650"/>
                <a:gd name="connsiteY51" fmla="*/ 49763 h 456256"/>
                <a:gd name="connsiteX52" fmla="*/ 179388 w 247650"/>
                <a:gd name="connsiteY52" fmla="*/ 69980 h 456256"/>
                <a:gd name="connsiteX53" fmla="*/ 174625 w 247650"/>
                <a:gd name="connsiteY53" fmla="*/ 77755 h 456256"/>
                <a:gd name="connsiteX54" fmla="*/ 176213 w 247650"/>
                <a:gd name="connsiteY54" fmla="*/ 68424 h 456256"/>
                <a:gd name="connsiteX55" fmla="*/ 179388 w 247650"/>
                <a:gd name="connsiteY55" fmla="*/ 41988 h 456256"/>
                <a:gd name="connsiteX56" fmla="*/ 176213 w 247650"/>
                <a:gd name="connsiteY56" fmla="*/ 13996 h 456256"/>
                <a:gd name="connsiteX57" fmla="*/ 195263 w 247650"/>
                <a:gd name="connsiteY57" fmla="*/ 0 h 45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47650" h="456256">
                  <a:moveTo>
                    <a:pt x="23812" y="247492"/>
                  </a:moveTo>
                  <a:cubicBezTo>
                    <a:pt x="33337" y="244378"/>
                    <a:pt x="53975" y="261505"/>
                    <a:pt x="60325" y="266176"/>
                  </a:cubicBezTo>
                  <a:cubicBezTo>
                    <a:pt x="66675" y="270847"/>
                    <a:pt x="61912" y="272404"/>
                    <a:pt x="66675" y="280189"/>
                  </a:cubicBezTo>
                  <a:cubicBezTo>
                    <a:pt x="69850" y="287974"/>
                    <a:pt x="79375" y="306657"/>
                    <a:pt x="77787" y="314442"/>
                  </a:cubicBezTo>
                  <a:lnTo>
                    <a:pt x="52387" y="325341"/>
                  </a:lnTo>
                  <a:lnTo>
                    <a:pt x="20637" y="319113"/>
                  </a:lnTo>
                  <a:lnTo>
                    <a:pt x="0" y="300429"/>
                  </a:lnTo>
                  <a:lnTo>
                    <a:pt x="4762" y="281746"/>
                  </a:lnTo>
                  <a:lnTo>
                    <a:pt x="23812" y="247492"/>
                  </a:lnTo>
                  <a:close/>
                  <a:moveTo>
                    <a:pt x="147637" y="73089"/>
                  </a:moveTo>
                  <a:cubicBezTo>
                    <a:pt x="161925" y="90195"/>
                    <a:pt x="155575" y="77754"/>
                    <a:pt x="150812" y="111967"/>
                  </a:cubicBezTo>
                  <a:cubicBezTo>
                    <a:pt x="133350" y="122852"/>
                    <a:pt x="133350" y="135293"/>
                    <a:pt x="122237" y="149289"/>
                  </a:cubicBezTo>
                  <a:cubicBezTo>
                    <a:pt x="139700" y="153955"/>
                    <a:pt x="158750" y="149289"/>
                    <a:pt x="174625" y="158620"/>
                  </a:cubicBezTo>
                  <a:cubicBezTo>
                    <a:pt x="169862" y="172616"/>
                    <a:pt x="160337" y="194387"/>
                    <a:pt x="152400" y="205273"/>
                  </a:cubicBezTo>
                  <a:cubicBezTo>
                    <a:pt x="157162" y="214604"/>
                    <a:pt x="160337" y="219269"/>
                    <a:pt x="161925" y="228600"/>
                  </a:cubicBezTo>
                  <a:cubicBezTo>
                    <a:pt x="165100" y="236375"/>
                    <a:pt x="169862" y="242595"/>
                    <a:pt x="174625" y="250371"/>
                  </a:cubicBezTo>
                  <a:cubicBezTo>
                    <a:pt x="187325" y="259702"/>
                    <a:pt x="177800" y="264367"/>
                    <a:pt x="185738" y="275253"/>
                  </a:cubicBezTo>
                  <a:cubicBezTo>
                    <a:pt x="203200" y="284583"/>
                    <a:pt x="211138" y="287693"/>
                    <a:pt x="214313" y="307910"/>
                  </a:cubicBezTo>
                  <a:cubicBezTo>
                    <a:pt x="219075" y="320351"/>
                    <a:pt x="222250" y="321906"/>
                    <a:pt x="223838" y="335902"/>
                  </a:cubicBezTo>
                  <a:cubicBezTo>
                    <a:pt x="228600" y="348343"/>
                    <a:pt x="247650" y="370114"/>
                    <a:pt x="247650" y="381000"/>
                  </a:cubicBezTo>
                  <a:cubicBezTo>
                    <a:pt x="247650" y="391885"/>
                    <a:pt x="219075" y="390330"/>
                    <a:pt x="219075" y="399661"/>
                  </a:cubicBezTo>
                  <a:cubicBezTo>
                    <a:pt x="207963" y="405881"/>
                    <a:pt x="242888" y="413657"/>
                    <a:pt x="236538" y="422988"/>
                  </a:cubicBezTo>
                  <a:cubicBezTo>
                    <a:pt x="222250" y="424543"/>
                    <a:pt x="217488" y="426098"/>
                    <a:pt x="204788" y="429208"/>
                  </a:cubicBezTo>
                  <a:cubicBezTo>
                    <a:pt x="187325" y="427653"/>
                    <a:pt x="168275" y="424543"/>
                    <a:pt x="150812" y="432318"/>
                  </a:cubicBezTo>
                  <a:cubicBezTo>
                    <a:pt x="138112" y="433873"/>
                    <a:pt x="134937" y="433873"/>
                    <a:pt x="127000" y="443204"/>
                  </a:cubicBezTo>
                  <a:cubicBezTo>
                    <a:pt x="117475" y="446314"/>
                    <a:pt x="107950" y="447869"/>
                    <a:pt x="98425" y="450979"/>
                  </a:cubicBezTo>
                  <a:cubicBezTo>
                    <a:pt x="90487" y="450979"/>
                    <a:pt x="84137" y="450979"/>
                    <a:pt x="76200" y="452535"/>
                  </a:cubicBezTo>
                  <a:cubicBezTo>
                    <a:pt x="74612" y="452535"/>
                    <a:pt x="61912" y="461865"/>
                    <a:pt x="61912" y="450979"/>
                  </a:cubicBezTo>
                  <a:cubicBezTo>
                    <a:pt x="61912" y="447869"/>
                    <a:pt x="66675" y="449424"/>
                    <a:pt x="69850" y="447869"/>
                  </a:cubicBezTo>
                  <a:cubicBezTo>
                    <a:pt x="90487" y="446314"/>
                    <a:pt x="93662" y="443204"/>
                    <a:pt x="98425" y="424543"/>
                  </a:cubicBezTo>
                  <a:cubicBezTo>
                    <a:pt x="107950" y="412102"/>
                    <a:pt x="109537" y="416767"/>
                    <a:pt x="112712" y="396551"/>
                  </a:cubicBezTo>
                  <a:cubicBezTo>
                    <a:pt x="96837" y="394996"/>
                    <a:pt x="84137" y="394996"/>
                    <a:pt x="93662" y="376334"/>
                  </a:cubicBezTo>
                  <a:cubicBezTo>
                    <a:pt x="115887" y="368559"/>
                    <a:pt x="111125" y="362338"/>
                    <a:pt x="107950" y="343677"/>
                  </a:cubicBezTo>
                  <a:lnTo>
                    <a:pt x="104824" y="335877"/>
                  </a:lnTo>
                  <a:cubicBezTo>
                    <a:pt x="105569" y="335804"/>
                    <a:pt x="117475" y="353008"/>
                    <a:pt x="136525" y="334347"/>
                  </a:cubicBezTo>
                  <a:cubicBezTo>
                    <a:pt x="144462" y="326571"/>
                    <a:pt x="138112" y="312575"/>
                    <a:pt x="138112" y="301689"/>
                  </a:cubicBezTo>
                  <a:cubicBezTo>
                    <a:pt x="136525" y="289249"/>
                    <a:pt x="128587" y="290804"/>
                    <a:pt x="127000" y="278363"/>
                  </a:cubicBezTo>
                  <a:cubicBezTo>
                    <a:pt x="125412" y="272142"/>
                    <a:pt x="134937" y="269032"/>
                    <a:pt x="128587" y="265922"/>
                  </a:cubicBezTo>
                  <a:cubicBezTo>
                    <a:pt x="122717" y="260789"/>
                    <a:pt x="81223" y="253219"/>
                    <a:pt x="90487" y="259702"/>
                  </a:cubicBezTo>
                  <a:cubicBezTo>
                    <a:pt x="109537" y="256591"/>
                    <a:pt x="58737" y="228600"/>
                    <a:pt x="60325" y="214604"/>
                  </a:cubicBezTo>
                  <a:cubicBezTo>
                    <a:pt x="46037" y="211493"/>
                    <a:pt x="57150" y="202163"/>
                    <a:pt x="61912" y="189722"/>
                  </a:cubicBezTo>
                  <a:cubicBezTo>
                    <a:pt x="53975" y="178836"/>
                    <a:pt x="38100" y="186612"/>
                    <a:pt x="36512" y="171061"/>
                  </a:cubicBezTo>
                  <a:cubicBezTo>
                    <a:pt x="38100" y="158620"/>
                    <a:pt x="34925" y="143069"/>
                    <a:pt x="38100" y="130628"/>
                  </a:cubicBezTo>
                  <a:cubicBezTo>
                    <a:pt x="49212" y="124408"/>
                    <a:pt x="49212" y="119742"/>
                    <a:pt x="61912" y="116632"/>
                  </a:cubicBezTo>
                  <a:cubicBezTo>
                    <a:pt x="70247" y="120131"/>
                    <a:pt x="72330" y="139376"/>
                    <a:pt x="74191" y="140250"/>
                  </a:cubicBezTo>
                  <a:lnTo>
                    <a:pt x="76200" y="133738"/>
                  </a:lnTo>
                  <a:cubicBezTo>
                    <a:pt x="90487" y="125963"/>
                    <a:pt x="84137" y="113522"/>
                    <a:pt x="104775" y="110412"/>
                  </a:cubicBezTo>
                  <a:cubicBezTo>
                    <a:pt x="125412" y="111967"/>
                    <a:pt x="127000" y="111967"/>
                    <a:pt x="128587" y="91750"/>
                  </a:cubicBezTo>
                  <a:cubicBezTo>
                    <a:pt x="133350" y="82420"/>
                    <a:pt x="139700" y="80865"/>
                    <a:pt x="147637" y="73089"/>
                  </a:cubicBezTo>
                  <a:close/>
                  <a:moveTo>
                    <a:pt x="195263" y="0"/>
                  </a:moveTo>
                  <a:cubicBezTo>
                    <a:pt x="195263" y="13996"/>
                    <a:pt x="201613" y="3110"/>
                    <a:pt x="204788" y="18661"/>
                  </a:cubicBezTo>
                  <a:cubicBezTo>
                    <a:pt x="201613" y="34212"/>
                    <a:pt x="195263" y="29547"/>
                    <a:pt x="193676" y="49763"/>
                  </a:cubicBezTo>
                  <a:cubicBezTo>
                    <a:pt x="182563" y="55984"/>
                    <a:pt x="180975" y="57539"/>
                    <a:pt x="179388" y="69980"/>
                  </a:cubicBezTo>
                  <a:cubicBezTo>
                    <a:pt x="177800" y="73090"/>
                    <a:pt x="177800" y="79310"/>
                    <a:pt x="174625" y="77755"/>
                  </a:cubicBezTo>
                  <a:cubicBezTo>
                    <a:pt x="171450" y="76200"/>
                    <a:pt x="176213" y="71535"/>
                    <a:pt x="176213" y="68424"/>
                  </a:cubicBezTo>
                  <a:cubicBezTo>
                    <a:pt x="177800" y="59094"/>
                    <a:pt x="177800" y="51318"/>
                    <a:pt x="179388" y="41988"/>
                  </a:cubicBezTo>
                  <a:cubicBezTo>
                    <a:pt x="174625" y="32657"/>
                    <a:pt x="174625" y="24882"/>
                    <a:pt x="176213" y="13996"/>
                  </a:cubicBezTo>
                  <a:cubicBezTo>
                    <a:pt x="188913" y="12441"/>
                    <a:pt x="185738" y="7776"/>
                    <a:pt x="195263" y="0"/>
                  </a:cubicBezTo>
                  <a:close/>
                </a:path>
              </a:pathLst>
            </a:custGeom>
            <a:grpFill/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274" name="Rectangle 273">
            <a:extLst>
              <a:ext uri="{FF2B5EF4-FFF2-40B4-BE49-F238E27FC236}">
                <a16:creationId xmlns:a16="http://schemas.microsoft.com/office/drawing/2014/main" id="{43B083C4-DAA1-48C9-AA7E-0A6AB200627E}"/>
              </a:ext>
            </a:extLst>
          </p:cNvPr>
          <p:cNvSpPr/>
          <p:nvPr/>
        </p:nvSpPr>
        <p:spPr>
          <a:xfrm>
            <a:off x="147976" y="1954323"/>
            <a:ext cx="2132267" cy="4418311"/>
          </a:xfrm>
          <a:prstGeom prst="rect">
            <a:avLst/>
          </a:prstGeom>
          <a:ln>
            <a:solidFill>
              <a:srgbClr val="4C6C9C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002" y="277727"/>
            <a:ext cx="11172835" cy="3140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Steel annual global production is expected to increase by 30% by mid-century</a:t>
            </a:r>
          </a:p>
        </p:txBody>
      </p:sp>
      <p:graphicFrame>
        <p:nvGraphicFramePr>
          <p:cNvPr id="264" name="Chart 263">
            <a:extLst>
              <a:ext uri="{FF2B5EF4-FFF2-40B4-BE49-F238E27FC236}">
                <a16:creationId xmlns:a16="http://schemas.microsoft.com/office/drawing/2014/main" id="{5B09AF42-6C1A-4A01-A411-920EBD0A9DFD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10825163" y="995363"/>
          <a:ext cx="1036637" cy="53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2"/>
          </a:graphicData>
        </a:graphic>
      </p:graphicFrame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8B1E862E-2876-4EFC-A4A6-55509167A63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399837" y="1495425"/>
            <a:ext cx="3238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fld id="{2B5C40A0-7E90-49EE-8572-2FF57CEC4FA4}" type="datetime'''''20''''5''0''''''''''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ctr" defTabSz="89525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335F"/>
                </a:buClr>
                <a:buSzPct val="100000"/>
                <a:buFontTx/>
                <a:buNone/>
                <a:tabLst/>
                <a:defRPr/>
              </a:pPr>
              <a:t>2050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3F1CB818-95B9-44F2-A60E-9650287E17A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963274" y="1495425"/>
            <a:ext cx="3238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2014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graphicFrame>
        <p:nvGraphicFramePr>
          <p:cNvPr id="302" name="Chart 301">
            <a:extLst>
              <a:ext uri="{FF2B5EF4-FFF2-40B4-BE49-F238E27FC236}">
                <a16:creationId xmlns:a16="http://schemas.microsoft.com/office/drawing/2014/main" id="{FDF26997-6BF4-45CE-A6E8-EB4EC205DA7B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14288" y="2482850"/>
          <a:ext cx="2309812" cy="3640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3"/>
          </a:graphicData>
        </a:graphic>
      </p:graphicFrame>
      <p:sp>
        <p:nvSpPr>
          <p:cNvPr id="727" name="Text Placeholder 2">
            <a:extLst/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368425" y="2387600"/>
            <a:ext cx="3492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fld id="{B00DC0A5-A717-472E-84C5-07BB8DFCE028}" type="datetime'''''''''2'''''''',''17''''''''''''0'''''''''''''''''''''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  <a:sym typeface="Arial" panose="020B0604020202020204" pitchFamily="34" charset="0"/>
              </a:rPr>
              <a:pPr marL="0" marR="0" lvl="0" indent="0" algn="ctr" defTabSz="89525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335F"/>
                </a:buClr>
                <a:buSzPct val="100000"/>
                <a:buFontTx/>
                <a:buNone/>
                <a:tabLst/>
                <a:defRPr/>
              </a:pPr>
              <a:t>2,170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  <a:sym typeface="Arial" panose="020B0604020202020204" pitchFamily="34" charset="0"/>
            </a:endParaRPr>
          </a:p>
        </p:txBody>
      </p:sp>
      <p:sp>
        <p:nvSpPr>
          <p:cNvPr id="719" name="Text Placeholder 2">
            <a:extLst/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49288" y="60833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2014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718" name="Text Placeholder 2">
            <a:extLst/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397000" y="60833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fld id="{BAAE3EEE-0BC0-4FEB-BA2E-7C106B54C6BF}" type="datetime'''''''''''''2''''''''''''''''050'''''''''''''''''''''''''''''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ctr" defTabSz="89525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335F"/>
                </a:buClr>
                <a:buSzPct val="100000"/>
                <a:buFontTx/>
                <a:buNone/>
                <a:tabLst/>
                <a:defRPr/>
              </a:pPr>
              <a:t>2050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723" name="Text Placeholder 2">
            <a:extLst/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20713" y="3200400"/>
            <a:ext cx="3492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fld id="{B3785423-6E9D-4596-B210-4486779DE697}" type="datetime'''''''''''''''''''''''''''1'',''''''''''66''2'''''''''''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  <a:sym typeface="Arial" panose="020B0604020202020204" pitchFamily="34" charset="0"/>
              </a:rPr>
              <a:pPr marL="0" marR="0" lvl="0" indent="0" algn="ctr" defTabSz="89525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335F"/>
                </a:buClr>
                <a:buSzPct val="100000"/>
                <a:buFontTx/>
                <a:buNone/>
                <a:tabLst/>
                <a:defRPr/>
              </a:pPr>
              <a:t>1,662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471" name="Chart 470">
            <a:extLst>
              <a:ext uri="{FF2B5EF4-FFF2-40B4-BE49-F238E27FC236}">
                <a16:creationId xmlns:a16="http://schemas.microsoft.com/office/drawing/2014/main" id="{EB3E8618-5A0A-4B20-ADA1-6AB9F850F587}"/>
              </a:ext>
            </a:extLst>
          </p:cNvPr>
          <p:cNvGraphicFramePr/>
          <p:nvPr>
            <p:custDataLst>
              <p:tags r:id="rId13"/>
            </p:custDataLst>
            <p:extLst/>
          </p:nvPr>
        </p:nvGraphicFramePr>
        <p:xfrm>
          <a:off x="3733800" y="2662238"/>
          <a:ext cx="1785938" cy="177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4"/>
          </a:graphicData>
        </a:graphic>
      </p:graphicFrame>
      <p:sp>
        <p:nvSpPr>
          <p:cNvPr id="285" name="Rectangle 284">
            <a:extLst>
              <a:ext uri="{FF2B5EF4-FFF2-40B4-BE49-F238E27FC236}">
                <a16:creationId xmlns:a16="http://schemas.microsoft.com/office/drawing/2014/main" id="{2406DCD8-16F4-4D52-87AD-C61BCE12CB08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4200525" y="3603625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FAE2996-C1C4-4583-AC91-47426B66A469}" type="datetime'''''''''''''''''''16''''''''''''''6'''''''''''''''''''"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66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804" name="TextBox 803"/>
          <p:cNvSpPr txBox="1"/>
          <p:nvPr/>
        </p:nvSpPr>
        <p:spPr>
          <a:xfrm>
            <a:off x="4360459" y="4423049"/>
            <a:ext cx="66513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mericas</a:t>
            </a:r>
          </a:p>
        </p:txBody>
      </p:sp>
      <p:graphicFrame>
        <p:nvGraphicFramePr>
          <p:cNvPr id="472" name="Chart 471">
            <a:extLst>
              <a:ext uri="{FF2B5EF4-FFF2-40B4-BE49-F238E27FC236}">
                <a16:creationId xmlns:a16="http://schemas.microsoft.com/office/drawing/2014/main" id="{16005F3F-43AD-45B1-85AA-5CBF4D503A51}"/>
              </a:ext>
            </a:extLst>
          </p:cNvPr>
          <p:cNvGraphicFramePr/>
          <p:nvPr>
            <p:custDataLst>
              <p:tags r:id="rId15"/>
            </p:custDataLst>
            <p:extLst/>
          </p:nvPr>
        </p:nvGraphicFramePr>
        <p:xfrm>
          <a:off x="10139363" y="2014538"/>
          <a:ext cx="1785937" cy="2305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5"/>
          </a:graphicData>
        </a:graphic>
      </p:graphicFrame>
      <p:sp useBgFill="1">
        <p:nvSpPr>
          <p:cNvPr id="5" name="Freeform: Shape 4">
            <a:extLst>
              <a:ext uri="{FF2B5EF4-FFF2-40B4-BE49-F238E27FC236}">
                <a16:creationId xmlns:a16="http://schemas.microsoft.com/office/drawing/2014/main" id="{68767763-04CC-4F5F-B4C6-AA04A8D86F7D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0472738" y="2286000"/>
            <a:ext cx="511176" cy="195264"/>
          </a:xfrm>
          <a:custGeom>
            <a:avLst/>
            <a:gdLst/>
            <a:ahLst/>
            <a:cxnLst/>
            <a:rect l="0" t="0" r="0" b="0"/>
            <a:pathLst>
              <a:path w="511176" h="195264">
                <a:moveTo>
                  <a:pt x="0" y="138113"/>
                </a:moveTo>
                <a:lnTo>
                  <a:pt x="511175" y="0"/>
                </a:lnTo>
                <a:lnTo>
                  <a:pt x="511175" y="57150"/>
                </a:lnTo>
                <a:lnTo>
                  <a:pt x="0" y="195263"/>
                </a:lnTo>
                <a:close/>
              </a:path>
            </a:pathLst>
          </a:cu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621DD6B8-694C-442D-ADDB-80DC71E90036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0472738" y="2286000"/>
            <a:ext cx="511176" cy="138114"/>
          </a:xfrm>
          <a:custGeom>
            <a:avLst/>
            <a:gdLst/>
            <a:ahLst/>
            <a:cxnLst/>
            <a:rect l="0" t="0" r="0" b="0"/>
            <a:pathLst>
              <a:path w="511176" h="138114">
                <a:moveTo>
                  <a:pt x="0" y="138113"/>
                </a:moveTo>
                <a:lnTo>
                  <a:pt x="5111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BE1A384B-F05B-492C-ADF0-14B0ACABA6A0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472738" y="2343150"/>
            <a:ext cx="511176" cy="138114"/>
          </a:xfrm>
          <a:custGeom>
            <a:avLst/>
            <a:gdLst/>
            <a:ahLst/>
            <a:cxnLst/>
            <a:rect l="0" t="0" r="0" b="0"/>
            <a:pathLst>
              <a:path w="511176" h="138114">
                <a:moveTo>
                  <a:pt x="0" y="138113"/>
                </a:moveTo>
                <a:lnTo>
                  <a:pt x="5111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7F3E64A5-0BB2-43F2-9770-A2E0360383BF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10606088" y="1919288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5F75AAF-2EBF-4FCB-A951-EEB5FD764D96}" type="datetime'''''''''''''''''''''8''''''''''''''2''3'''''''''''"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823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graphicFrame>
        <p:nvGraphicFramePr>
          <p:cNvPr id="473" name="Chart 472">
            <a:extLst>
              <a:ext uri="{FF2B5EF4-FFF2-40B4-BE49-F238E27FC236}">
                <a16:creationId xmlns:a16="http://schemas.microsoft.com/office/drawing/2014/main" id="{62DBB5B8-6BD8-43A5-98FC-2A26096F81CB}"/>
              </a:ext>
            </a:extLst>
          </p:cNvPr>
          <p:cNvGraphicFramePr/>
          <p:nvPr>
            <p:custDataLst>
              <p:tags r:id="rId20"/>
            </p:custDataLst>
            <p:extLst/>
          </p:nvPr>
        </p:nvGraphicFramePr>
        <p:xfrm>
          <a:off x="7858125" y="2836863"/>
          <a:ext cx="1905000" cy="190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6"/>
          </a:graphicData>
        </a:graphic>
      </p:graphicFrame>
      <p:sp>
        <p:nvSpPr>
          <p:cNvPr id="277" name="Rectangle 276">
            <a:extLst>
              <a:ext uri="{FF2B5EF4-FFF2-40B4-BE49-F238E27FC236}">
                <a16:creationId xmlns:a16="http://schemas.microsoft.com/office/drawing/2014/main" id="{3D0BB00E-2194-4173-AD06-549B6FB73FEA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8407399" y="4167188"/>
            <a:ext cx="1968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E73D94B-205F-43F2-87AA-3EFBA28F393A}" type="datetime'''''''''''''''''''''''''''''''''8''7'''''''''''">
              <a:rPr kumimoji="0" lang="en-GB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87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graphicFrame>
        <p:nvGraphicFramePr>
          <p:cNvPr id="467" name="Chart 466">
            <a:extLst>
              <a:ext uri="{FF2B5EF4-FFF2-40B4-BE49-F238E27FC236}">
                <a16:creationId xmlns:a16="http://schemas.microsoft.com/office/drawing/2014/main" id="{4EF018EC-E7CD-416A-9D85-A336D05595DC}"/>
              </a:ext>
            </a:extLst>
          </p:cNvPr>
          <p:cNvGraphicFramePr/>
          <p:nvPr>
            <p:custDataLst>
              <p:tags r:id="rId22"/>
            </p:custDataLst>
            <p:extLst/>
          </p:nvPr>
        </p:nvGraphicFramePr>
        <p:xfrm>
          <a:off x="5557838" y="1679575"/>
          <a:ext cx="1785937" cy="177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7"/>
          </a:graphicData>
        </a:graphic>
      </p:graphicFrame>
      <p:sp>
        <p:nvSpPr>
          <p:cNvPr id="295" name="Rectangle 294">
            <a:extLst>
              <a:ext uri="{FF2B5EF4-FFF2-40B4-BE49-F238E27FC236}">
                <a16:creationId xmlns:a16="http://schemas.microsoft.com/office/drawing/2014/main" id="{234221AF-C739-418A-9893-8DB87040B572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022975" y="2374900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664C958-10D7-4D75-A418-67768B3B7148}" type="datetime'''''''''''''''''''''''2''''3''8'''''''''''''''''''''''''"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3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graphicFrame>
        <p:nvGraphicFramePr>
          <p:cNvPr id="474" name="Chart 473">
            <a:extLst>
              <a:ext uri="{FF2B5EF4-FFF2-40B4-BE49-F238E27FC236}">
                <a16:creationId xmlns:a16="http://schemas.microsoft.com/office/drawing/2014/main" id="{27B919AF-69D3-4098-8C78-7AA6017DC868}"/>
              </a:ext>
            </a:extLst>
          </p:cNvPr>
          <p:cNvGraphicFramePr/>
          <p:nvPr>
            <p:custDataLst>
              <p:tags r:id="rId24"/>
            </p:custDataLst>
            <p:extLst/>
          </p:nvPr>
        </p:nvGraphicFramePr>
        <p:xfrm>
          <a:off x="7253288" y="1055688"/>
          <a:ext cx="1785937" cy="177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8"/>
          </a:graphicData>
        </a:graphic>
      </p:graphicFrame>
      <p:sp>
        <p:nvSpPr>
          <p:cNvPr id="267" name="Rectangle 266">
            <a:extLst>
              <a:ext uri="{FF2B5EF4-FFF2-40B4-BE49-F238E27FC236}">
                <a16:creationId xmlns:a16="http://schemas.microsoft.com/office/drawing/2014/main" id="{359D4855-B029-4B6F-B807-CA6E328A29E8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7754938" y="2306638"/>
            <a:ext cx="1746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1B7EF63-96CF-423C-B9B6-F8B9D7A6927C}" type="datetime'''''''''''''''''''''''''''7''''''''''''''''''''''6'''''"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6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graphicFrame>
        <p:nvGraphicFramePr>
          <p:cNvPr id="475" name="Chart 474">
            <a:extLst>
              <a:ext uri="{FF2B5EF4-FFF2-40B4-BE49-F238E27FC236}">
                <a16:creationId xmlns:a16="http://schemas.microsoft.com/office/drawing/2014/main" id="{87C2DFB1-C154-4B2F-8669-C080FBD9C6E7}"/>
              </a:ext>
            </a:extLst>
          </p:cNvPr>
          <p:cNvGraphicFramePr/>
          <p:nvPr>
            <p:custDataLst>
              <p:tags r:id="rId26"/>
            </p:custDataLst>
            <p:extLst/>
          </p:nvPr>
        </p:nvGraphicFramePr>
        <p:xfrm>
          <a:off x="6946900" y="2128838"/>
          <a:ext cx="1436688" cy="177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9"/>
          </a:graphicData>
        </a:graphic>
      </p:graphicFrame>
      <p:graphicFrame>
        <p:nvGraphicFramePr>
          <p:cNvPr id="476" name="Chart 475">
            <a:extLst>
              <a:ext uri="{FF2B5EF4-FFF2-40B4-BE49-F238E27FC236}">
                <a16:creationId xmlns:a16="http://schemas.microsoft.com/office/drawing/2014/main" id="{5D534043-CEC4-4FB4-945C-0F777A28A30D}"/>
              </a:ext>
            </a:extLst>
          </p:cNvPr>
          <p:cNvGraphicFramePr/>
          <p:nvPr>
            <p:custDataLst>
              <p:tags r:id="rId27"/>
            </p:custDataLst>
            <p:extLst/>
          </p:nvPr>
        </p:nvGraphicFramePr>
        <p:xfrm>
          <a:off x="9072563" y="4335463"/>
          <a:ext cx="1905000" cy="177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0"/>
          </a:graphicData>
        </a:graphic>
      </p:graphicFrame>
      <p:sp>
        <p:nvSpPr>
          <p:cNvPr id="308" name="Rectangle 307">
            <a:extLst>
              <a:ext uri="{FF2B5EF4-FFF2-40B4-BE49-F238E27FC236}">
                <a16:creationId xmlns:a16="http://schemas.microsoft.com/office/drawing/2014/main" id="{2E8C3E08-13A4-41DB-8799-489A59E81192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9585324" y="5026025"/>
            <a:ext cx="2746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2AE373E-149D-4945-A035-59F1621C19DC}" type="datetime'''''''''''2''''''''''''3''''''''''''5'''">
              <a:rPr kumimoji="0" lang="en-GB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35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graphicFrame>
        <p:nvGraphicFramePr>
          <p:cNvPr id="477" name="Chart 476">
            <a:extLst>
              <a:ext uri="{FF2B5EF4-FFF2-40B4-BE49-F238E27FC236}">
                <a16:creationId xmlns:a16="http://schemas.microsoft.com/office/drawing/2014/main" id="{AA780F19-F056-4BF7-A8B8-0B905105A80F}"/>
              </a:ext>
            </a:extLst>
          </p:cNvPr>
          <p:cNvGraphicFramePr/>
          <p:nvPr>
            <p:custDataLst>
              <p:tags r:id="rId29"/>
            </p:custDataLst>
            <p:extLst/>
          </p:nvPr>
        </p:nvGraphicFramePr>
        <p:xfrm>
          <a:off x="6073775" y="3460750"/>
          <a:ext cx="1905000" cy="177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1"/>
          </a:graphicData>
        </a:graphic>
      </p:graphicFrame>
      <p:sp>
        <p:nvSpPr>
          <p:cNvPr id="259" name="Rectangle 258">
            <a:extLst>
              <a:ext uri="{FF2B5EF4-FFF2-40B4-BE49-F238E27FC236}">
                <a16:creationId xmlns:a16="http://schemas.microsoft.com/office/drawing/2014/main" id="{8648DB5F-A823-46A6-8909-1045041809B9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6623049" y="4905375"/>
            <a:ext cx="1968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6B70156-1D85-4C76-A663-E55AB8991E1F}" type="datetime'''''''''''''''''''1''5'''''''''''''''">
              <a:rPr kumimoji="0" lang="en-GB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5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ECCC725F-7F9A-42C8-93A3-DD5FDD00C5D4}"/>
              </a:ext>
            </a:extLst>
          </p:cNvPr>
          <p:cNvSpPr txBox="1"/>
          <p:nvPr/>
        </p:nvSpPr>
        <p:spPr>
          <a:xfrm>
            <a:off x="6232449" y="3423532"/>
            <a:ext cx="66513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urope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2052D98A-AB7B-4241-96E9-EF1BE0C57E6B}"/>
              </a:ext>
            </a:extLst>
          </p:cNvPr>
          <p:cNvSpPr txBox="1"/>
          <p:nvPr/>
        </p:nvSpPr>
        <p:spPr>
          <a:xfrm>
            <a:off x="6838950" y="5205866"/>
            <a:ext cx="66513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frica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5" name="TextBox 314">
            <a:extLst>
              <a:ext uri="{FF2B5EF4-FFF2-40B4-BE49-F238E27FC236}">
                <a16:creationId xmlns:a16="http://schemas.microsoft.com/office/drawing/2014/main" id="{14FEB758-94C2-4904-A216-88B196C9198F}"/>
              </a:ext>
            </a:extLst>
          </p:cNvPr>
          <p:cNvSpPr txBox="1"/>
          <p:nvPr/>
        </p:nvSpPr>
        <p:spPr>
          <a:xfrm>
            <a:off x="7306242" y="3941763"/>
            <a:ext cx="8237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iddle East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5D574F76-96DB-40EF-ABA5-F0D2064EEF96}"/>
              </a:ext>
            </a:extLst>
          </p:cNvPr>
          <p:cNvSpPr txBox="1"/>
          <p:nvPr/>
        </p:nvSpPr>
        <p:spPr>
          <a:xfrm>
            <a:off x="7893327" y="2800628"/>
            <a:ext cx="66513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urasia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8C26C149-41FE-44B1-B503-DC1328860465}"/>
              </a:ext>
            </a:extLst>
          </p:cNvPr>
          <p:cNvSpPr txBox="1"/>
          <p:nvPr/>
        </p:nvSpPr>
        <p:spPr>
          <a:xfrm>
            <a:off x="8592546" y="4714148"/>
            <a:ext cx="66513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dia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72ED5749-39A5-4EF7-995C-8A083047E9DD}"/>
              </a:ext>
            </a:extLst>
          </p:cNvPr>
          <p:cNvSpPr txBox="1"/>
          <p:nvPr/>
        </p:nvSpPr>
        <p:spPr>
          <a:xfrm>
            <a:off x="9485824" y="6092753"/>
            <a:ext cx="167344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ther Asia Pacific</a:t>
            </a:r>
          </a:p>
        </p:txBody>
      </p:sp>
      <p:sp>
        <p:nvSpPr>
          <p:cNvPr id="320" name="TextBox 319">
            <a:extLst>
              <a:ext uri="{FF2B5EF4-FFF2-40B4-BE49-F238E27FC236}">
                <a16:creationId xmlns:a16="http://schemas.microsoft.com/office/drawing/2014/main" id="{5B3F66FC-DDA0-4C23-99EF-DA9CD704FFCC}"/>
              </a:ext>
            </a:extLst>
          </p:cNvPr>
          <p:cNvSpPr txBox="1"/>
          <p:nvPr/>
        </p:nvSpPr>
        <p:spPr>
          <a:xfrm>
            <a:off x="10803969" y="4302919"/>
            <a:ext cx="120609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ina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1A46A7E-D698-458E-AAF8-124970A4A3AA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2671763" y="4768850"/>
            <a:ext cx="179388" cy="1333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3F94383-6489-494E-A361-721DBFD9F12C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671763" y="4972050"/>
            <a:ext cx="179388" cy="13335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0A1E366-E46E-4294-AD97-52AF4F20AC09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2671763" y="5378450"/>
            <a:ext cx="179388" cy="13335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7C51FF6-C399-4347-A205-1E952796C0FD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2671763" y="5175250"/>
            <a:ext cx="179388" cy="133350"/>
          </a:xfrm>
          <a:prstGeom prst="rect">
            <a:avLst/>
          </a:prstGeom>
          <a:solidFill>
            <a:srgbClr val="C0C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BBFBDD6-9407-481D-9A46-5C4F9D72CDD7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2671763" y="5581650"/>
            <a:ext cx="179388" cy="133350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0" name="Rectangle 339">
            <a:extLst>
              <a:ext uri="{FF2B5EF4-FFF2-40B4-BE49-F238E27FC236}">
                <a16:creationId xmlns:a16="http://schemas.microsoft.com/office/drawing/2014/main" id="{946DDF91-6E4B-4476-A82D-FD37D08960F1}"/>
              </a:ext>
            </a:extLst>
          </p:cNvPr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2901950" y="4764088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C0954C6-5F07-4513-8FA4-B6E9CE7393EA}" type="datetime'''''To''''''''''''''''''''''''''''''''''ta''''''l'''''''''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Total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41" name="Rectangle 340">
            <a:extLst>
              <a:ext uri="{FF2B5EF4-FFF2-40B4-BE49-F238E27FC236}">
                <a16:creationId xmlns:a16="http://schemas.microsoft.com/office/drawing/2014/main" id="{721085B3-278D-49C0-BBBD-EBE9835FA2D4}"/>
              </a:ext>
            </a:extLst>
          </p:cNvPr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2901950" y="4967288"/>
            <a:ext cx="2809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F949623-AED6-4BC9-857B-73B6FF4B256A}" type="datetime'''B''''OF'''''''''''''''' '''"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OF 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B2B63F1D-36B5-4F48-B011-DF9DA4AD3427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2901950" y="5373688"/>
            <a:ext cx="10668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9DEABB1-1679-4DA6-92C1-F7073E2C2751}" type="datetime'''''''EA''F'' ''''''''s''''c''''ra''''''''''p b''ase''d '"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AF scrap based 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674D658A-4E08-4A6F-9B95-896830EA36D8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2901950" y="5170488"/>
            <a:ext cx="9239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BFDB291-7857-4638-ABA8-D290588BB6ED}" type="datetime'''''E''AF'''''''''''' ''D''R''I ''''b''a''s''e''d'' '"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AF DRI based 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3331AB97-7C71-4D34-96DA-CCA9B9B71F81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2901950" y="5576888"/>
            <a:ext cx="2603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488FD5F-2848-4606-A56F-1BB0C23B1F0E}" type="datetime'''''''''''''''''''''''''''''''''''''O''''''''''''''''''HF'"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HF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0D96AC6E-CE9D-4676-8A35-0C8CF1FA9576}"/>
              </a:ext>
            </a:extLst>
          </p:cNvPr>
          <p:cNvSpPr/>
          <p:nvPr/>
        </p:nvSpPr>
        <p:spPr>
          <a:xfrm>
            <a:off x="10465427" y="-429154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2.1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F2D79AD-C587-4AB2-8DE6-4FBE36FBFE27}"/>
              </a:ext>
            </a:extLst>
          </p:cNvPr>
          <p:cNvGrpSpPr/>
          <p:nvPr/>
        </p:nvGrpSpPr>
        <p:grpSpPr>
          <a:xfrm>
            <a:off x="45694" y="1656588"/>
            <a:ext cx="5765056" cy="292389"/>
            <a:chOff x="77593" y="1497093"/>
            <a:chExt cx="5765056" cy="292389"/>
          </a:xfrm>
        </p:grpSpPr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AFF47F3B-826F-4BCA-97BA-BCB977175E6C}"/>
                </a:ext>
              </a:extLst>
            </p:cNvPr>
            <p:cNvSpPr txBox="1"/>
            <p:nvPr/>
          </p:nvSpPr>
          <p:spPr>
            <a:xfrm>
              <a:off x="77593" y="1497094"/>
              <a:ext cx="3211792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lobal production</a:t>
              </a:r>
            </a:p>
          </p:txBody>
        </p:sp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C3021E7D-966E-40C5-AEC0-C69D020405B7}"/>
                </a:ext>
              </a:extLst>
            </p:cNvPr>
            <p:cNvSpPr txBox="1"/>
            <p:nvPr/>
          </p:nvSpPr>
          <p:spPr>
            <a:xfrm>
              <a:off x="2630857" y="1497093"/>
              <a:ext cx="3211792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Regional production</a:t>
              </a:r>
            </a:p>
          </p:txBody>
        </p:sp>
      </p:grpSp>
      <p:cxnSp>
        <p:nvCxnSpPr>
          <p:cNvPr id="247" name="AutoShape 249">
            <a:extLst>
              <a:ext uri="{FF2B5EF4-FFF2-40B4-BE49-F238E27FC236}">
                <a16:creationId xmlns:a16="http://schemas.microsoft.com/office/drawing/2014/main" id="{63F6F3DE-86FD-43BD-BF97-1AFA1EE2B8F9}"/>
              </a:ext>
            </a:extLst>
          </p:cNvPr>
          <p:cNvCxnSpPr>
            <a:cxnSpLocks noChangeShapeType="1"/>
            <a:stCxn id="249" idx="4"/>
            <a:endCxn id="249" idx="6"/>
          </p:cNvCxnSpPr>
          <p:nvPr/>
        </p:nvCxnSpPr>
        <p:spPr bwMode="auto">
          <a:xfrm>
            <a:off x="176746" y="1449110"/>
            <a:ext cx="10544318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9" name="AutoShape 250">
            <a:extLst>
              <a:ext uri="{FF2B5EF4-FFF2-40B4-BE49-F238E27FC236}">
                <a16:creationId xmlns:a16="http://schemas.microsoft.com/office/drawing/2014/main" id="{160557BB-12E5-4D4C-85B3-EABAFF98FA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746" y="999756"/>
            <a:ext cx="10544318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B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lobal steel produ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t per year, IEA Reference Technology Scenario</a:t>
            </a:r>
          </a:p>
        </p:txBody>
      </p:sp>
      <p:sp>
        <p:nvSpPr>
          <p:cNvPr id="245" name="5. Source">
            <a:extLst>
              <a:ext uri="{FF2B5EF4-FFF2-40B4-BE49-F238E27FC236}">
                <a16:creationId xmlns:a16="http://schemas.microsoft.com/office/drawing/2014/main" id="{040EFB03-22E0-4DF3-B5CD-A71E9C3CB8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15505"/>
            <a:ext cx="11778784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Global and China bar graphs are not on the same scale as other regions/countries.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EA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echnology Perspectiv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571888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think-cell Slide" r:id="rId199" imgW="526" imgH="526" progId="TCLayout.ActiveDocument.1">
                  <p:embed/>
                </p:oleObj>
              </mc:Choice>
              <mc:Fallback>
                <p:oleObj name="think-cell Slide" r:id="rId199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200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0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grpSp>
        <p:nvGrpSpPr>
          <p:cNvPr id="624" name="Group 623">
            <a:extLst>
              <a:ext uri="{FF2B5EF4-FFF2-40B4-BE49-F238E27FC236}">
                <a16:creationId xmlns:a16="http://schemas.microsoft.com/office/drawing/2014/main" id="{FD0061EB-744B-4C72-B98C-89AF0C3F27DA}"/>
              </a:ext>
            </a:extLst>
          </p:cNvPr>
          <p:cNvGrpSpPr>
            <a:grpSpLocks/>
          </p:cNvGrpSpPr>
          <p:nvPr/>
        </p:nvGrpSpPr>
        <p:grpSpPr>
          <a:xfrm>
            <a:off x="2484293" y="1771034"/>
            <a:ext cx="9007786" cy="4601603"/>
            <a:chOff x="38163" y="1274763"/>
            <a:chExt cx="8848662" cy="4519612"/>
          </a:xfrm>
          <a:solidFill>
            <a:schemeClr val="accent6">
              <a:lumMod val="20000"/>
              <a:lumOff val="80000"/>
            </a:schemeClr>
          </a:solidFill>
        </p:grpSpPr>
        <p:grpSp>
          <p:nvGrpSpPr>
            <p:cNvPr id="625" name="Group 624">
              <a:extLst>
                <a:ext uri="{FF2B5EF4-FFF2-40B4-BE49-F238E27FC236}">
                  <a16:creationId xmlns:a16="http://schemas.microsoft.com/office/drawing/2014/main" id="{22816059-66AA-4F02-AC69-757D27E0AEF3}"/>
                </a:ext>
              </a:extLst>
            </p:cNvPr>
            <p:cNvGrpSpPr/>
            <p:nvPr/>
          </p:nvGrpSpPr>
          <p:grpSpPr>
            <a:xfrm>
              <a:off x="38163" y="1274763"/>
              <a:ext cx="8848662" cy="4519612"/>
              <a:chOff x="38163" y="1274763"/>
              <a:chExt cx="8848662" cy="4519612"/>
            </a:xfrm>
            <a:grpFill/>
          </p:grpSpPr>
          <p:sp>
            <p:nvSpPr>
              <p:cNvPr id="628" name="Freeform 5">
                <a:extLst>
                  <a:ext uri="{FF2B5EF4-FFF2-40B4-BE49-F238E27FC236}">
                    <a16:creationId xmlns:a16="http://schemas.microsoft.com/office/drawing/2014/main" id="{9005AE12-43E8-425D-B73F-5C37057137A6}"/>
                  </a:ext>
                </a:extLst>
              </p:cNvPr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121151" y="3248025"/>
                <a:ext cx="504825" cy="490538"/>
              </a:xfrm>
              <a:custGeom>
                <a:avLst/>
                <a:gdLst>
                  <a:gd name="T0" fmla="*/ 192 w 313"/>
                  <a:gd name="T1" fmla="*/ 306 h 309"/>
                  <a:gd name="T2" fmla="*/ 171 w 313"/>
                  <a:gd name="T3" fmla="*/ 294 h 309"/>
                  <a:gd name="T4" fmla="*/ 131 w 313"/>
                  <a:gd name="T5" fmla="*/ 264 h 309"/>
                  <a:gd name="T6" fmla="*/ 102 w 313"/>
                  <a:gd name="T7" fmla="*/ 246 h 309"/>
                  <a:gd name="T8" fmla="*/ 86 w 313"/>
                  <a:gd name="T9" fmla="*/ 231 h 309"/>
                  <a:gd name="T10" fmla="*/ 45 w 313"/>
                  <a:gd name="T11" fmla="*/ 205 h 309"/>
                  <a:gd name="T12" fmla="*/ 17 w 313"/>
                  <a:gd name="T13" fmla="*/ 187 h 309"/>
                  <a:gd name="T14" fmla="*/ 15 w 313"/>
                  <a:gd name="T15" fmla="*/ 180 h 309"/>
                  <a:gd name="T16" fmla="*/ 0 w 313"/>
                  <a:gd name="T17" fmla="*/ 165 h 309"/>
                  <a:gd name="T18" fmla="*/ 14 w 313"/>
                  <a:gd name="T19" fmla="*/ 147 h 309"/>
                  <a:gd name="T20" fmla="*/ 24 w 313"/>
                  <a:gd name="T21" fmla="*/ 139 h 309"/>
                  <a:gd name="T22" fmla="*/ 38 w 313"/>
                  <a:gd name="T23" fmla="*/ 138 h 309"/>
                  <a:gd name="T24" fmla="*/ 53 w 313"/>
                  <a:gd name="T25" fmla="*/ 129 h 309"/>
                  <a:gd name="T26" fmla="*/ 62 w 313"/>
                  <a:gd name="T27" fmla="*/ 120 h 309"/>
                  <a:gd name="T28" fmla="*/ 77 w 313"/>
                  <a:gd name="T29" fmla="*/ 114 h 309"/>
                  <a:gd name="T30" fmla="*/ 89 w 313"/>
                  <a:gd name="T31" fmla="*/ 102 h 309"/>
                  <a:gd name="T32" fmla="*/ 92 w 313"/>
                  <a:gd name="T33" fmla="*/ 91 h 309"/>
                  <a:gd name="T34" fmla="*/ 108 w 313"/>
                  <a:gd name="T35" fmla="*/ 90 h 309"/>
                  <a:gd name="T36" fmla="*/ 110 w 313"/>
                  <a:gd name="T37" fmla="*/ 73 h 309"/>
                  <a:gd name="T38" fmla="*/ 110 w 313"/>
                  <a:gd name="T39" fmla="*/ 44 h 309"/>
                  <a:gd name="T40" fmla="*/ 116 w 313"/>
                  <a:gd name="T41" fmla="*/ 33 h 309"/>
                  <a:gd name="T42" fmla="*/ 131 w 313"/>
                  <a:gd name="T43" fmla="*/ 28 h 309"/>
                  <a:gd name="T44" fmla="*/ 149 w 313"/>
                  <a:gd name="T45" fmla="*/ 18 h 309"/>
                  <a:gd name="T46" fmla="*/ 188 w 313"/>
                  <a:gd name="T47" fmla="*/ 12 h 309"/>
                  <a:gd name="T48" fmla="*/ 228 w 313"/>
                  <a:gd name="T49" fmla="*/ 19 h 309"/>
                  <a:gd name="T50" fmla="*/ 222 w 313"/>
                  <a:gd name="T51" fmla="*/ 9 h 309"/>
                  <a:gd name="T52" fmla="*/ 258 w 313"/>
                  <a:gd name="T53" fmla="*/ 18 h 309"/>
                  <a:gd name="T54" fmla="*/ 251 w 313"/>
                  <a:gd name="T55" fmla="*/ 52 h 309"/>
                  <a:gd name="T56" fmla="*/ 254 w 313"/>
                  <a:gd name="T57" fmla="*/ 84 h 309"/>
                  <a:gd name="T58" fmla="*/ 255 w 313"/>
                  <a:gd name="T59" fmla="*/ 90 h 309"/>
                  <a:gd name="T60" fmla="*/ 260 w 313"/>
                  <a:gd name="T61" fmla="*/ 91 h 309"/>
                  <a:gd name="T62" fmla="*/ 270 w 313"/>
                  <a:gd name="T63" fmla="*/ 102 h 309"/>
                  <a:gd name="T64" fmla="*/ 281 w 313"/>
                  <a:gd name="T65" fmla="*/ 111 h 309"/>
                  <a:gd name="T66" fmla="*/ 279 w 313"/>
                  <a:gd name="T67" fmla="*/ 142 h 309"/>
                  <a:gd name="T68" fmla="*/ 279 w 313"/>
                  <a:gd name="T69" fmla="*/ 154 h 309"/>
                  <a:gd name="T70" fmla="*/ 288 w 313"/>
                  <a:gd name="T71" fmla="*/ 181 h 309"/>
                  <a:gd name="T72" fmla="*/ 272 w 313"/>
                  <a:gd name="T73" fmla="*/ 198 h 309"/>
                  <a:gd name="T74" fmla="*/ 281 w 313"/>
                  <a:gd name="T75" fmla="*/ 211 h 309"/>
                  <a:gd name="T76" fmla="*/ 296 w 313"/>
                  <a:gd name="T77" fmla="*/ 226 h 309"/>
                  <a:gd name="T78" fmla="*/ 305 w 313"/>
                  <a:gd name="T79" fmla="*/ 232 h 309"/>
                  <a:gd name="T80" fmla="*/ 290 w 313"/>
                  <a:gd name="T81" fmla="*/ 250 h 309"/>
                  <a:gd name="T82" fmla="*/ 273 w 313"/>
                  <a:gd name="T83" fmla="*/ 256 h 309"/>
                  <a:gd name="T84" fmla="*/ 258 w 313"/>
                  <a:gd name="T85" fmla="*/ 265 h 309"/>
                  <a:gd name="T86" fmla="*/ 246 w 313"/>
                  <a:gd name="T87" fmla="*/ 280 h 309"/>
                  <a:gd name="T88" fmla="*/ 237 w 313"/>
                  <a:gd name="T89" fmla="*/ 286 h 309"/>
                  <a:gd name="T90" fmla="*/ 218 w 313"/>
                  <a:gd name="T91" fmla="*/ 304 h 309"/>
                  <a:gd name="T92" fmla="*/ 192 w 313"/>
                  <a:gd name="T93" fmla="*/ 306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13" h="309">
                    <a:moveTo>
                      <a:pt x="192" y="306"/>
                    </a:moveTo>
                    <a:cubicBezTo>
                      <a:pt x="176" y="303"/>
                      <a:pt x="184" y="296"/>
                      <a:pt x="171" y="294"/>
                    </a:cubicBezTo>
                    <a:cubicBezTo>
                      <a:pt x="161" y="287"/>
                      <a:pt x="142" y="272"/>
                      <a:pt x="131" y="264"/>
                    </a:cubicBezTo>
                    <a:cubicBezTo>
                      <a:pt x="123" y="257"/>
                      <a:pt x="109" y="251"/>
                      <a:pt x="102" y="246"/>
                    </a:cubicBezTo>
                    <a:cubicBezTo>
                      <a:pt x="100" y="245"/>
                      <a:pt x="89" y="233"/>
                      <a:pt x="86" y="231"/>
                    </a:cubicBezTo>
                    <a:cubicBezTo>
                      <a:pt x="72" y="222"/>
                      <a:pt x="58" y="215"/>
                      <a:pt x="45" y="205"/>
                    </a:cubicBezTo>
                    <a:cubicBezTo>
                      <a:pt x="37" y="199"/>
                      <a:pt x="28" y="189"/>
                      <a:pt x="17" y="187"/>
                    </a:cubicBezTo>
                    <a:cubicBezTo>
                      <a:pt x="11" y="182"/>
                      <a:pt x="18" y="184"/>
                      <a:pt x="15" y="180"/>
                    </a:cubicBezTo>
                    <a:cubicBezTo>
                      <a:pt x="12" y="176"/>
                      <a:pt x="0" y="170"/>
                      <a:pt x="0" y="165"/>
                    </a:cubicBezTo>
                    <a:cubicBezTo>
                      <a:pt x="0" y="160"/>
                      <a:pt x="10" y="151"/>
                      <a:pt x="14" y="147"/>
                    </a:cubicBezTo>
                    <a:cubicBezTo>
                      <a:pt x="17" y="141"/>
                      <a:pt x="20" y="140"/>
                      <a:pt x="24" y="139"/>
                    </a:cubicBezTo>
                    <a:cubicBezTo>
                      <a:pt x="28" y="138"/>
                      <a:pt x="33" y="140"/>
                      <a:pt x="38" y="138"/>
                    </a:cubicBezTo>
                    <a:cubicBezTo>
                      <a:pt x="45" y="135"/>
                      <a:pt x="49" y="132"/>
                      <a:pt x="53" y="129"/>
                    </a:cubicBezTo>
                    <a:cubicBezTo>
                      <a:pt x="57" y="126"/>
                      <a:pt x="58" y="123"/>
                      <a:pt x="62" y="120"/>
                    </a:cubicBezTo>
                    <a:cubicBezTo>
                      <a:pt x="64" y="117"/>
                      <a:pt x="75" y="117"/>
                      <a:pt x="77" y="114"/>
                    </a:cubicBezTo>
                    <a:cubicBezTo>
                      <a:pt x="81" y="111"/>
                      <a:pt x="87" y="106"/>
                      <a:pt x="89" y="102"/>
                    </a:cubicBezTo>
                    <a:cubicBezTo>
                      <a:pt x="91" y="98"/>
                      <a:pt x="89" y="93"/>
                      <a:pt x="92" y="91"/>
                    </a:cubicBezTo>
                    <a:cubicBezTo>
                      <a:pt x="97" y="89"/>
                      <a:pt x="101" y="91"/>
                      <a:pt x="108" y="90"/>
                    </a:cubicBezTo>
                    <a:cubicBezTo>
                      <a:pt x="110" y="81"/>
                      <a:pt x="112" y="82"/>
                      <a:pt x="110" y="73"/>
                    </a:cubicBezTo>
                    <a:cubicBezTo>
                      <a:pt x="110" y="65"/>
                      <a:pt x="109" y="51"/>
                      <a:pt x="110" y="44"/>
                    </a:cubicBezTo>
                    <a:cubicBezTo>
                      <a:pt x="111" y="37"/>
                      <a:pt x="112" y="36"/>
                      <a:pt x="116" y="33"/>
                    </a:cubicBezTo>
                    <a:cubicBezTo>
                      <a:pt x="118" y="22"/>
                      <a:pt x="123" y="26"/>
                      <a:pt x="131" y="28"/>
                    </a:cubicBezTo>
                    <a:cubicBezTo>
                      <a:pt x="136" y="21"/>
                      <a:pt x="141" y="20"/>
                      <a:pt x="149" y="18"/>
                    </a:cubicBezTo>
                    <a:cubicBezTo>
                      <a:pt x="161" y="9"/>
                      <a:pt x="169" y="13"/>
                      <a:pt x="188" y="12"/>
                    </a:cubicBezTo>
                    <a:cubicBezTo>
                      <a:pt x="200" y="3"/>
                      <a:pt x="215" y="17"/>
                      <a:pt x="228" y="19"/>
                    </a:cubicBezTo>
                    <a:cubicBezTo>
                      <a:pt x="239" y="23"/>
                      <a:pt x="227" y="15"/>
                      <a:pt x="222" y="9"/>
                    </a:cubicBezTo>
                    <a:cubicBezTo>
                      <a:pt x="237" y="0"/>
                      <a:pt x="282" y="4"/>
                      <a:pt x="258" y="18"/>
                    </a:cubicBezTo>
                    <a:cubicBezTo>
                      <a:pt x="251" y="27"/>
                      <a:pt x="263" y="43"/>
                      <a:pt x="251" y="52"/>
                    </a:cubicBezTo>
                    <a:cubicBezTo>
                      <a:pt x="248" y="64"/>
                      <a:pt x="245" y="75"/>
                      <a:pt x="254" y="84"/>
                    </a:cubicBezTo>
                    <a:cubicBezTo>
                      <a:pt x="254" y="86"/>
                      <a:pt x="254" y="88"/>
                      <a:pt x="255" y="90"/>
                    </a:cubicBezTo>
                    <a:cubicBezTo>
                      <a:pt x="256" y="91"/>
                      <a:pt x="259" y="90"/>
                      <a:pt x="260" y="91"/>
                    </a:cubicBezTo>
                    <a:cubicBezTo>
                      <a:pt x="262" y="93"/>
                      <a:pt x="269" y="99"/>
                      <a:pt x="270" y="102"/>
                    </a:cubicBezTo>
                    <a:cubicBezTo>
                      <a:pt x="271" y="108"/>
                      <a:pt x="278" y="105"/>
                      <a:pt x="281" y="111"/>
                    </a:cubicBezTo>
                    <a:cubicBezTo>
                      <a:pt x="282" y="117"/>
                      <a:pt x="279" y="135"/>
                      <a:pt x="279" y="142"/>
                    </a:cubicBezTo>
                    <a:cubicBezTo>
                      <a:pt x="279" y="149"/>
                      <a:pt x="278" y="148"/>
                      <a:pt x="279" y="154"/>
                    </a:cubicBezTo>
                    <a:cubicBezTo>
                      <a:pt x="280" y="160"/>
                      <a:pt x="289" y="174"/>
                      <a:pt x="288" y="181"/>
                    </a:cubicBezTo>
                    <a:cubicBezTo>
                      <a:pt x="287" y="188"/>
                      <a:pt x="273" y="193"/>
                      <a:pt x="272" y="198"/>
                    </a:cubicBezTo>
                    <a:cubicBezTo>
                      <a:pt x="275" y="202"/>
                      <a:pt x="278" y="207"/>
                      <a:pt x="281" y="211"/>
                    </a:cubicBezTo>
                    <a:cubicBezTo>
                      <a:pt x="283" y="220"/>
                      <a:pt x="288" y="225"/>
                      <a:pt x="296" y="226"/>
                    </a:cubicBezTo>
                    <a:cubicBezTo>
                      <a:pt x="303" y="230"/>
                      <a:pt x="296" y="228"/>
                      <a:pt x="305" y="232"/>
                    </a:cubicBezTo>
                    <a:cubicBezTo>
                      <a:pt x="313" y="242"/>
                      <a:pt x="295" y="250"/>
                      <a:pt x="290" y="250"/>
                    </a:cubicBezTo>
                    <a:cubicBezTo>
                      <a:pt x="283" y="253"/>
                      <a:pt x="280" y="253"/>
                      <a:pt x="273" y="256"/>
                    </a:cubicBezTo>
                    <a:cubicBezTo>
                      <a:pt x="268" y="263"/>
                      <a:pt x="267" y="263"/>
                      <a:pt x="258" y="265"/>
                    </a:cubicBezTo>
                    <a:cubicBezTo>
                      <a:pt x="254" y="268"/>
                      <a:pt x="250" y="277"/>
                      <a:pt x="246" y="280"/>
                    </a:cubicBezTo>
                    <a:cubicBezTo>
                      <a:pt x="243" y="286"/>
                      <a:pt x="244" y="285"/>
                      <a:pt x="237" y="286"/>
                    </a:cubicBezTo>
                    <a:cubicBezTo>
                      <a:pt x="231" y="290"/>
                      <a:pt x="225" y="303"/>
                      <a:pt x="218" y="304"/>
                    </a:cubicBezTo>
                    <a:cubicBezTo>
                      <a:pt x="211" y="309"/>
                      <a:pt x="200" y="306"/>
                      <a:pt x="192" y="30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29" name="Freeform 6">
                <a:extLst>
                  <a:ext uri="{FF2B5EF4-FFF2-40B4-BE49-F238E27FC236}">
                    <a16:creationId xmlns:a16="http://schemas.microsoft.com/office/drawing/2014/main" id="{F3C263AB-B534-4AEF-94C9-425EA2141604}"/>
                  </a:ext>
                </a:extLst>
              </p:cNvPr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59301" y="3371850"/>
                <a:ext cx="381000" cy="355600"/>
              </a:xfrm>
              <a:custGeom>
                <a:avLst/>
                <a:gdLst>
                  <a:gd name="T0" fmla="*/ 6 w 236"/>
                  <a:gd name="T1" fmla="*/ 43 h 224"/>
                  <a:gd name="T2" fmla="*/ 16 w 236"/>
                  <a:gd name="T3" fmla="*/ 22 h 224"/>
                  <a:gd name="T4" fmla="*/ 28 w 236"/>
                  <a:gd name="T5" fmla="*/ 15 h 224"/>
                  <a:gd name="T6" fmla="*/ 48 w 236"/>
                  <a:gd name="T7" fmla="*/ 0 h 224"/>
                  <a:gd name="T8" fmla="*/ 85 w 236"/>
                  <a:gd name="T9" fmla="*/ 6 h 224"/>
                  <a:gd name="T10" fmla="*/ 118 w 236"/>
                  <a:gd name="T11" fmla="*/ 30 h 224"/>
                  <a:gd name="T12" fmla="*/ 142 w 236"/>
                  <a:gd name="T13" fmla="*/ 40 h 224"/>
                  <a:gd name="T14" fmla="*/ 150 w 236"/>
                  <a:gd name="T15" fmla="*/ 43 h 224"/>
                  <a:gd name="T16" fmla="*/ 160 w 236"/>
                  <a:gd name="T17" fmla="*/ 30 h 224"/>
                  <a:gd name="T18" fmla="*/ 156 w 236"/>
                  <a:gd name="T19" fmla="*/ 13 h 224"/>
                  <a:gd name="T20" fmla="*/ 174 w 236"/>
                  <a:gd name="T21" fmla="*/ 3 h 224"/>
                  <a:gd name="T22" fmla="*/ 213 w 236"/>
                  <a:gd name="T23" fmla="*/ 12 h 224"/>
                  <a:gd name="T24" fmla="*/ 226 w 236"/>
                  <a:gd name="T25" fmla="*/ 21 h 224"/>
                  <a:gd name="T26" fmla="*/ 228 w 236"/>
                  <a:gd name="T27" fmla="*/ 34 h 224"/>
                  <a:gd name="T28" fmla="*/ 229 w 236"/>
                  <a:gd name="T29" fmla="*/ 66 h 224"/>
                  <a:gd name="T30" fmla="*/ 231 w 236"/>
                  <a:gd name="T31" fmla="*/ 183 h 224"/>
                  <a:gd name="T32" fmla="*/ 232 w 236"/>
                  <a:gd name="T33" fmla="*/ 217 h 224"/>
                  <a:gd name="T34" fmla="*/ 208 w 236"/>
                  <a:gd name="T35" fmla="*/ 223 h 224"/>
                  <a:gd name="T36" fmla="*/ 186 w 236"/>
                  <a:gd name="T37" fmla="*/ 208 h 224"/>
                  <a:gd name="T38" fmla="*/ 168 w 236"/>
                  <a:gd name="T39" fmla="*/ 198 h 224"/>
                  <a:gd name="T40" fmla="*/ 153 w 236"/>
                  <a:gd name="T41" fmla="*/ 195 h 224"/>
                  <a:gd name="T42" fmla="*/ 145 w 236"/>
                  <a:gd name="T43" fmla="*/ 187 h 224"/>
                  <a:gd name="T44" fmla="*/ 129 w 236"/>
                  <a:gd name="T45" fmla="*/ 175 h 224"/>
                  <a:gd name="T46" fmla="*/ 103 w 236"/>
                  <a:gd name="T47" fmla="*/ 168 h 224"/>
                  <a:gd name="T48" fmla="*/ 78 w 236"/>
                  <a:gd name="T49" fmla="*/ 171 h 224"/>
                  <a:gd name="T50" fmla="*/ 58 w 236"/>
                  <a:gd name="T51" fmla="*/ 163 h 224"/>
                  <a:gd name="T52" fmla="*/ 39 w 236"/>
                  <a:gd name="T53" fmla="*/ 160 h 224"/>
                  <a:gd name="T54" fmla="*/ 12 w 236"/>
                  <a:gd name="T55" fmla="*/ 139 h 224"/>
                  <a:gd name="T56" fmla="*/ 1 w 236"/>
                  <a:gd name="T57" fmla="*/ 127 h 224"/>
                  <a:gd name="T58" fmla="*/ 15 w 236"/>
                  <a:gd name="T59" fmla="*/ 106 h 224"/>
                  <a:gd name="T60" fmla="*/ 7 w 236"/>
                  <a:gd name="T61" fmla="*/ 73 h 224"/>
                  <a:gd name="T62" fmla="*/ 6 w 236"/>
                  <a:gd name="T63" fmla="*/ 4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224">
                    <a:moveTo>
                      <a:pt x="6" y="43"/>
                    </a:moveTo>
                    <a:cubicBezTo>
                      <a:pt x="8" y="35"/>
                      <a:pt x="12" y="27"/>
                      <a:pt x="16" y="22"/>
                    </a:cubicBezTo>
                    <a:cubicBezTo>
                      <a:pt x="20" y="17"/>
                      <a:pt x="23" y="19"/>
                      <a:pt x="28" y="15"/>
                    </a:cubicBezTo>
                    <a:cubicBezTo>
                      <a:pt x="34" y="5"/>
                      <a:pt x="37" y="2"/>
                      <a:pt x="48" y="0"/>
                    </a:cubicBezTo>
                    <a:cubicBezTo>
                      <a:pt x="73" y="1"/>
                      <a:pt x="67" y="2"/>
                      <a:pt x="85" y="6"/>
                    </a:cubicBezTo>
                    <a:cubicBezTo>
                      <a:pt x="103" y="30"/>
                      <a:pt x="74" y="26"/>
                      <a:pt x="118" y="30"/>
                    </a:cubicBezTo>
                    <a:cubicBezTo>
                      <a:pt x="127" y="32"/>
                      <a:pt x="133" y="38"/>
                      <a:pt x="142" y="40"/>
                    </a:cubicBezTo>
                    <a:cubicBezTo>
                      <a:pt x="144" y="44"/>
                      <a:pt x="145" y="48"/>
                      <a:pt x="150" y="43"/>
                    </a:cubicBezTo>
                    <a:cubicBezTo>
                      <a:pt x="154" y="39"/>
                      <a:pt x="160" y="30"/>
                      <a:pt x="160" y="30"/>
                    </a:cubicBezTo>
                    <a:cubicBezTo>
                      <a:pt x="159" y="23"/>
                      <a:pt x="157" y="19"/>
                      <a:pt x="156" y="13"/>
                    </a:cubicBezTo>
                    <a:cubicBezTo>
                      <a:pt x="161" y="9"/>
                      <a:pt x="168" y="7"/>
                      <a:pt x="174" y="3"/>
                    </a:cubicBezTo>
                    <a:cubicBezTo>
                      <a:pt x="197" y="4"/>
                      <a:pt x="194" y="8"/>
                      <a:pt x="213" y="12"/>
                    </a:cubicBezTo>
                    <a:cubicBezTo>
                      <a:pt x="217" y="15"/>
                      <a:pt x="222" y="18"/>
                      <a:pt x="226" y="21"/>
                    </a:cubicBezTo>
                    <a:cubicBezTo>
                      <a:pt x="229" y="27"/>
                      <a:pt x="229" y="28"/>
                      <a:pt x="228" y="34"/>
                    </a:cubicBezTo>
                    <a:cubicBezTo>
                      <a:pt x="230" y="44"/>
                      <a:pt x="227" y="56"/>
                      <a:pt x="229" y="66"/>
                    </a:cubicBezTo>
                    <a:cubicBezTo>
                      <a:pt x="232" y="90"/>
                      <a:pt x="234" y="157"/>
                      <a:pt x="231" y="183"/>
                    </a:cubicBezTo>
                    <a:cubicBezTo>
                      <a:pt x="231" y="208"/>
                      <a:pt x="236" y="210"/>
                      <a:pt x="232" y="217"/>
                    </a:cubicBezTo>
                    <a:cubicBezTo>
                      <a:pt x="228" y="224"/>
                      <a:pt x="216" y="224"/>
                      <a:pt x="208" y="223"/>
                    </a:cubicBezTo>
                    <a:cubicBezTo>
                      <a:pt x="201" y="222"/>
                      <a:pt x="193" y="212"/>
                      <a:pt x="186" y="208"/>
                    </a:cubicBezTo>
                    <a:cubicBezTo>
                      <a:pt x="179" y="204"/>
                      <a:pt x="173" y="200"/>
                      <a:pt x="168" y="198"/>
                    </a:cubicBezTo>
                    <a:cubicBezTo>
                      <a:pt x="163" y="194"/>
                      <a:pt x="155" y="197"/>
                      <a:pt x="153" y="195"/>
                    </a:cubicBezTo>
                    <a:cubicBezTo>
                      <a:pt x="149" y="193"/>
                      <a:pt x="149" y="190"/>
                      <a:pt x="145" y="187"/>
                    </a:cubicBezTo>
                    <a:cubicBezTo>
                      <a:pt x="139" y="183"/>
                      <a:pt x="136" y="178"/>
                      <a:pt x="129" y="175"/>
                    </a:cubicBezTo>
                    <a:cubicBezTo>
                      <a:pt x="122" y="172"/>
                      <a:pt x="111" y="169"/>
                      <a:pt x="103" y="168"/>
                    </a:cubicBezTo>
                    <a:cubicBezTo>
                      <a:pt x="75" y="169"/>
                      <a:pt x="94" y="162"/>
                      <a:pt x="78" y="171"/>
                    </a:cubicBezTo>
                    <a:cubicBezTo>
                      <a:pt x="74" y="170"/>
                      <a:pt x="62" y="164"/>
                      <a:pt x="58" y="163"/>
                    </a:cubicBezTo>
                    <a:cubicBezTo>
                      <a:pt x="52" y="161"/>
                      <a:pt x="39" y="160"/>
                      <a:pt x="39" y="160"/>
                    </a:cubicBezTo>
                    <a:cubicBezTo>
                      <a:pt x="30" y="154"/>
                      <a:pt x="20" y="147"/>
                      <a:pt x="12" y="139"/>
                    </a:cubicBezTo>
                    <a:cubicBezTo>
                      <a:pt x="7" y="134"/>
                      <a:pt x="7" y="131"/>
                      <a:pt x="1" y="127"/>
                    </a:cubicBezTo>
                    <a:cubicBezTo>
                      <a:pt x="0" y="119"/>
                      <a:pt x="10" y="112"/>
                      <a:pt x="15" y="106"/>
                    </a:cubicBezTo>
                    <a:cubicBezTo>
                      <a:pt x="17" y="94"/>
                      <a:pt x="11" y="84"/>
                      <a:pt x="7" y="73"/>
                    </a:cubicBezTo>
                    <a:cubicBezTo>
                      <a:pt x="6" y="61"/>
                      <a:pt x="6" y="54"/>
                      <a:pt x="6" y="4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30" name="Freeform 7">
                <a:extLst>
                  <a:ext uri="{FF2B5EF4-FFF2-40B4-BE49-F238E27FC236}">
                    <a16:creationId xmlns:a16="http://schemas.microsoft.com/office/drawing/2014/main" id="{41E5A58E-2894-4532-B733-1E6753605D97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862513" y="2749550"/>
                <a:ext cx="463550" cy="282575"/>
              </a:xfrm>
              <a:custGeom>
                <a:avLst/>
                <a:gdLst>
                  <a:gd name="T0" fmla="*/ 107 w 287"/>
                  <a:gd name="T1" fmla="*/ 158 h 178"/>
                  <a:gd name="T2" fmla="*/ 131 w 287"/>
                  <a:gd name="T3" fmla="*/ 137 h 178"/>
                  <a:gd name="T4" fmla="*/ 151 w 287"/>
                  <a:gd name="T5" fmla="*/ 132 h 178"/>
                  <a:gd name="T6" fmla="*/ 152 w 287"/>
                  <a:gd name="T7" fmla="*/ 149 h 178"/>
                  <a:gd name="T8" fmla="*/ 163 w 287"/>
                  <a:gd name="T9" fmla="*/ 156 h 178"/>
                  <a:gd name="T10" fmla="*/ 176 w 287"/>
                  <a:gd name="T11" fmla="*/ 176 h 178"/>
                  <a:gd name="T12" fmla="*/ 211 w 287"/>
                  <a:gd name="T13" fmla="*/ 164 h 178"/>
                  <a:gd name="T14" fmla="*/ 194 w 287"/>
                  <a:gd name="T15" fmla="*/ 149 h 178"/>
                  <a:gd name="T16" fmla="*/ 185 w 287"/>
                  <a:gd name="T17" fmla="*/ 143 h 178"/>
                  <a:gd name="T18" fmla="*/ 199 w 287"/>
                  <a:gd name="T19" fmla="*/ 134 h 178"/>
                  <a:gd name="T20" fmla="*/ 217 w 287"/>
                  <a:gd name="T21" fmla="*/ 125 h 178"/>
                  <a:gd name="T22" fmla="*/ 251 w 287"/>
                  <a:gd name="T23" fmla="*/ 114 h 178"/>
                  <a:gd name="T24" fmla="*/ 263 w 287"/>
                  <a:gd name="T25" fmla="*/ 104 h 178"/>
                  <a:gd name="T26" fmla="*/ 263 w 287"/>
                  <a:gd name="T27" fmla="*/ 63 h 178"/>
                  <a:gd name="T28" fmla="*/ 225 w 287"/>
                  <a:gd name="T29" fmla="*/ 52 h 178"/>
                  <a:gd name="T30" fmla="*/ 214 w 287"/>
                  <a:gd name="T31" fmla="*/ 45 h 178"/>
                  <a:gd name="T32" fmla="*/ 187 w 287"/>
                  <a:gd name="T33" fmla="*/ 29 h 178"/>
                  <a:gd name="T34" fmla="*/ 179 w 287"/>
                  <a:gd name="T35" fmla="*/ 11 h 178"/>
                  <a:gd name="T36" fmla="*/ 142 w 287"/>
                  <a:gd name="T37" fmla="*/ 8 h 178"/>
                  <a:gd name="T38" fmla="*/ 122 w 287"/>
                  <a:gd name="T39" fmla="*/ 12 h 178"/>
                  <a:gd name="T40" fmla="*/ 109 w 287"/>
                  <a:gd name="T41" fmla="*/ 18 h 178"/>
                  <a:gd name="T42" fmla="*/ 92 w 287"/>
                  <a:gd name="T43" fmla="*/ 17 h 178"/>
                  <a:gd name="T44" fmla="*/ 31 w 287"/>
                  <a:gd name="T45" fmla="*/ 15 h 178"/>
                  <a:gd name="T46" fmla="*/ 28 w 287"/>
                  <a:gd name="T47" fmla="*/ 32 h 178"/>
                  <a:gd name="T48" fmla="*/ 14 w 287"/>
                  <a:gd name="T49" fmla="*/ 53 h 178"/>
                  <a:gd name="T50" fmla="*/ 5 w 287"/>
                  <a:gd name="T51" fmla="*/ 63 h 178"/>
                  <a:gd name="T52" fmla="*/ 7 w 287"/>
                  <a:gd name="T53" fmla="*/ 72 h 178"/>
                  <a:gd name="T54" fmla="*/ 5 w 287"/>
                  <a:gd name="T55" fmla="*/ 84 h 178"/>
                  <a:gd name="T56" fmla="*/ 7 w 287"/>
                  <a:gd name="T57" fmla="*/ 96 h 178"/>
                  <a:gd name="T58" fmla="*/ 47 w 287"/>
                  <a:gd name="T59" fmla="*/ 98 h 178"/>
                  <a:gd name="T60" fmla="*/ 65 w 287"/>
                  <a:gd name="T61" fmla="*/ 95 h 178"/>
                  <a:gd name="T62" fmla="*/ 73 w 287"/>
                  <a:gd name="T63" fmla="*/ 89 h 178"/>
                  <a:gd name="T64" fmla="*/ 91 w 287"/>
                  <a:gd name="T65" fmla="*/ 90 h 178"/>
                  <a:gd name="T66" fmla="*/ 103 w 287"/>
                  <a:gd name="T67" fmla="*/ 99 h 178"/>
                  <a:gd name="T68" fmla="*/ 109 w 287"/>
                  <a:gd name="T69" fmla="*/ 117 h 178"/>
                  <a:gd name="T70" fmla="*/ 110 w 287"/>
                  <a:gd name="T71" fmla="*/ 132 h 178"/>
                  <a:gd name="T72" fmla="*/ 104 w 287"/>
                  <a:gd name="T73" fmla="*/ 144 h 178"/>
                  <a:gd name="T74" fmla="*/ 98 w 287"/>
                  <a:gd name="T75" fmla="*/ 150 h 178"/>
                  <a:gd name="T76" fmla="*/ 107 w 287"/>
                  <a:gd name="T77" fmla="*/ 15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7" h="178">
                    <a:moveTo>
                      <a:pt x="107" y="158"/>
                    </a:moveTo>
                    <a:cubicBezTo>
                      <a:pt x="117" y="154"/>
                      <a:pt x="123" y="143"/>
                      <a:pt x="131" y="137"/>
                    </a:cubicBezTo>
                    <a:cubicBezTo>
                      <a:pt x="135" y="126"/>
                      <a:pt x="141" y="130"/>
                      <a:pt x="151" y="132"/>
                    </a:cubicBezTo>
                    <a:cubicBezTo>
                      <a:pt x="155" y="139"/>
                      <a:pt x="156" y="142"/>
                      <a:pt x="152" y="149"/>
                    </a:cubicBezTo>
                    <a:cubicBezTo>
                      <a:pt x="155" y="155"/>
                      <a:pt x="157" y="155"/>
                      <a:pt x="163" y="156"/>
                    </a:cubicBezTo>
                    <a:cubicBezTo>
                      <a:pt x="170" y="168"/>
                      <a:pt x="159" y="178"/>
                      <a:pt x="176" y="176"/>
                    </a:cubicBezTo>
                    <a:cubicBezTo>
                      <a:pt x="190" y="162"/>
                      <a:pt x="186" y="165"/>
                      <a:pt x="211" y="164"/>
                    </a:cubicBezTo>
                    <a:cubicBezTo>
                      <a:pt x="217" y="154"/>
                      <a:pt x="202" y="150"/>
                      <a:pt x="194" y="149"/>
                    </a:cubicBezTo>
                    <a:cubicBezTo>
                      <a:pt x="191" y="147"/>
                      <a:pt x="185" y="147"/>
                      <a:pt x="185" y="143"/>
                    </a:cubicBezTo>
                    <a:cubicBezTo>
                      <a:pt x="185" y="138"/>
                      <a:pt x="196" y="135"/>
                      <a:pt x="199" y="134"/>
                    </a:cubicBezTo>
                    <a:cubicBezTo>
                      <a:pt x="205" y="131"/>
                      <a:pt x="211" y="129"/>
                      <a:pt x="217" y="125"/>
                    </a:cubicBezTo>
                    <a:cubicBezTo>
                      <a:pt x="223" y="115"/>
                      <a:pt x="240" y="116"/>
                      <a:pt x="251" y="114"/>
                    </a:cubicBezTo>
                    <a:cubicBezTo>
                      <a:pt x="256" y="111"/>
                      <a:pt x="259" y="109"/>
                      <a:pt x="263" y="104"/>
                    </a:cubicBezTo>
                    <a:cubicBezTo>
                      <a:pt x="266" y="84"/>
                      <a:pt x="287" y="67"/>
                      <a:pt x="263" y="63"/>
                    </a:cubicBezTo>
                    <a:cubicBezTo>
                      <a:pt x="257" y="54"/>
                      <a:pt x="234" y="54"/>
                      <a:pt x="225" y="52"/>
                    </a:cubicBezTo>
                    <a:cubicBezTo>
                      <a:pt x="217" y="49"/>
                      <a:pt x="220" y="49"/>
                      <a:pt x="214" y="45"/>
                    </a:cubicBezTo>
                    <a:cubicBezTo>
                      <a:pt x="209" y="38"/>
                      <a:pt x="195" y="34"/>
                      <a:pt x="187" y="29"/>
                    </a:cubicBezTo>
                    <a:cubicBezTo>
                      <a:pt x="183" y="24"/>
                      <a:pt x="183" y="16"/>
                      <a:pt x="179" y="11"/>
                    </a:cubicBezTo>
                    <a:cubicBezTo>
                      <a:pt x="177" y="0"/>
                      <a:pt x="151" y="9"/>
                      <a:pt x="142" y="8"/>
                    </a:cubicBezTo>
                    <a:cubicBezTo>
                      <a:pt x="133" y="9"/>
                      <a:pt x="130" y="10"/>
                      <a:pt x="122" y="12"/>
                    </a:cubicBezTo>
                    <a:cubicBezTo>
                      <a:pt x="117" y="14"/>
                      <a:pt x="114" y="17"/>
                      <a:pt x="109" y="18"/>
                    </a:cubicBezTo>
                    <a:cubicBezTo>
                      <a:pt x="104" y="19"/>
                      <a:pt x="105" y="17"/>
                      <a:pt x="92" y="17"/>
                    </a:cubicBezTo>
                    <a:cubicBezTo>
                      <a:pt x="74" y="8"/>
                      <a:pt x="46" y="15"/>
                      <a:pt x="31" y="15"/>
                    </a:cubicBezTo>
                    <a:cubicBezTo>
                      <a:pt x="21" y="19"/>
                      <a:pt x="23" y="24"/>
                      <a:pt x="28" y="32"/>
                    </a:cubicBezTo>
                    <a:cubicBezTo>
                      <a:pt x="26" y="41"/>
                      <a:pt x="22" y="48"/>
                      <a:pt x="14" y="53"/>
                    </a:cubicBezTo>
                    <a:cubicBezTo>
                      <a:pt x="11" y="58"/>
                      <a:pt x="6" y="60"/>
                      <a:pt x="5" y="63"/>
                    </a:cubicBezTo>
                    <a:cubicBezTo>
                      <a:pt x="4" y="66"/>
                      <a:pt x="7" y="69"/>
                      <a:pt x="7" y="72"/>
                    </a:cubicBezTo>
                    <a:cubicBezTo>
                      <a:pt x="7" y="75"/>
                      <a:pt x="5" y="80"/>
                      <a:pt x="5" y="84"/>
                    </a:cubicBezTo>
                    <a:cubicBezTo>
                      <a:pt x="6" y="88"/>
                      <a:pt x="0" y="94"/>
                      <a:pt x="7" y="96"/>
                    </a:cubicBezTo>
                    <a:cubicBezTo>
                      <a:pt x="14" y="98"/>
                      <a:pt x="37" y="98"/>
                      <a:pt x="47" y="98"/>
                    </a:cubicBezTo>
                    <a:cubicBezTo>
                      <a:pt x="56" y="97"/>
                      <a:pt x="61" y="96"/>
                      <a:pt x="65" y="95"/>
                    </a:cubicBezTo>
                    <a:cubicBezTo>
                      <a:pt x="69" y="94"/>
                      <a:pt x="69" y="90"/>
                      <a:pt x="73" y="89"/>
                    </a:cubicBezTo>
                    <a:cubicBezTo>
                      <a:pt x="79" y="86"/>
                      <a:pt x="84" y="89"/>
                      <a:pt x="91" y="90"/>
                    </a:cubicBezTo>
                    <a:cubicBezTo>
                      <a:pt x="96" y="93"/>
                      <a:pt x="99" y="94"/>
                      <a:pt x="103" y="99"/>
                    </a:cubicBezTo>
                    <a:cubicBezTo>
                      <a:pt x="104" y="107"/>
                      <a:pt x="104" y="111"/>
                      <a:pt x="109" y="117"/>
                    </a:cubicBezTo>
                    <a:cubicBezTo>
                      <a:pt x="111" y="125"/>
                      <a:pt x="114" y="124"/>
                      <a:pt x="110" y="132"/>
                    </a:cubicBezTo>
                    <a:cubicBezTo>
                      <a:pt x="110" y="136"/>
                      <a:pt x="106" y="141"/>
                      <a:pt x="104" y="144"/>
                    </a:cubicBezTo>
                    <a:cubicBezTo>
                      <a:pt x="102" y="147"/>
                      <a:pt x="98" y="148"/>
                      <a:pt x="98" y="150"/>
                    </a:cubicBezTo>
                    <a:cubicBezTo>
                      <a:pt x="96" y="159"/>
                      <a:pt x="99" y="159"/>
                      <a:pt x="107" y="15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31" name="Freeform 8">
                <a:extLst>
                  <a:ext uri="{FF2B5EF4-FFF2-40B4-BE49-F238E27FC236}">
                    <a16:creationId xmlns:a16="http://schemas.microsoft.com/office/drawing/2014/main" id="{7171A48A-3C77-4931-8BAA-7262C2CFCF77}"/>
                  </a:ext>
                </a:extLst>
              </p:cNvPr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5673726" y="3000375"/>
                <a:ext cx="393700" cy="258763"/>
              </a:xfrm>
              <a:custGeom>
                <a:avLst/>
                <a:gdLst>
                  <a:gd name="T0" fmla="*/ 174 w 244"/>
                  <a:gd name="T1" fmla="*/ 93 h 163"/>
                  <a:gd name="T2" fmla="*/ 189 w 244"/>
                  <a:gd name="T3" fmla="*/ 82 h 163"/>
                  <a:gd name="T4" fmla="*/ 219 w 244"/>
                  <a:gd name="T5" fmla="*/ 61 h 163"/>
                  <a:gd name="T6" fmla="*/ 237 w 244"/>
                  <a:gd name="T7" fmla="*/ 73 h 163"/>
                  <a:gd name="T8" fmla="*/ 244 w 244"/>
                  <a:gd name="T9" fmla="*/ 84 h 163"/>
                  <a:gd name="T10" fmla="*/ 196 w 244"/>
                  <a:gd name="T11" fmla="*/ 97 h 163"/>
                  <a:gd name="T12" fmla="*/ 183 w 244"/>
                  <a:gd name="T13" fmla="*/ 106 h 163"/>
                  <a:gd name="T14" fmla="*/ 172 w 244"/>
                  <a:gd name="T15" fmla="*/ 115 h 163"/>
                  <a:gd name="T16" fmla="*/ 177 w 244"/>
                  <a:gd name="T17" fmla="*/ 142 h 163"/>
                  <a:gd name="T18" fmla="*/ 153 w 244"/>
                  <a:gd name="T19" fmla="*/ 157 h 163"/>
                  <a:gd name="T20" fmla="*/ 150 w 244"/>
                  <a:gd name="T21" fmla="*/ 153 h 163"/>
                  <a:gd name="T22" fmla="*/ 148 w 244"/>
                  <a:gd name="T23" fmla="*/ 147 h 163"/>
                  <a:gd name="T24" fmla="*/ 121 w 244"/>
                  <a:gd name="T25" fmla="*/ 129 h 163"/>
                  <a:gd name="T26" fmla="*/ 99 w 244"/>
                  <a:gd name="T27" fmla="*/ 112 h 163"/>
                  <a:gd name="T28" fmla="*/ 91 w 244"/>
                  <a:gd name="T29" fmla="*/ 93 h 163"/>
                  <a:gd name="T30" fmla="*/ 76 w 244"/>
                  <a:gd name="T31" fmla="*/ 78 h 163"/>
                  <a:gd name="T32" fmla="*/ 58 w 244"/>
                  <a:gd name="T33" fmla="*/ 73 h 163"/>
                  <a:gd name="T34" fmla="*/ 49 w 244"/>
                  <a:gd name="T35" fmla="*/ 57 h 163"/>
                  <a:gd name="T36" fmla="*/ 18 w 244"/>
                  <a:gd name="T37" fmla="*/ 72 h 163"/>
                  <a:gd name="T38" fmla="*/ 4 w 244"/>
                  <a:gd name="T39" fmla="*/ 79 h 163"/>
                  <a:gd name="T40" fmla="*/ 4 w 244"/>
                  <a:gd name="T41" fmla="*/ 19 h 163"/>
                  <a:gd name="T42" fmla="*/ 30 w 244"/>
                  <a:gd name="T43" fmla="*/ 9 h 163"/>
                  <a:gd name="T44" fmla="*/ 43 w 244"/>
                  <a:gd name="T45" fmla="*/ 0 h 163"/>
                  <a:gd name="T46" fmla="*/ 51 w 244"/>
                  <a:gd name="T47" fmla="*/ 9 h 163"/>
                  <a:gd name="T48" fmla="*/ 61 w 244"/>
                  <a:gd name="T49" fmla="*/ 12 h 163"/>
                  <a:gd name="T50" fmla="*/ 69 w 244"/>
                  <a:gd name="T51" fmla="*/ 25 h 163"/>
                  <a:gd name="T52" fmla="*/ 90 w 244"/>
                  <a:gd name="T53" fmla="*/ 34 h 163"/>
                  <a:gd name="T54" fmla="*/ 105 w 244"/>
                  <a:gd name="T55" fmla="*/ 46 h 163"/>
                  <a:gd name="T56" fmla="*/ 139 w 244"/>
                  <a:gd name="T57" fmla="*/ 46 h 163"/>
                  <a:gd name="T58" fmla="*/ 150 w 244"/>
                  <a:gd name="T59" fmla="*/ 63 h 163"/>
                  <a:gd name="T60" fmla="*/ 156 w 244"/>
                  <a:gd name="T61" fmla="*/ 75 h 163"/>
                  <a:gd name="T62" fmla="*/ 165 w 244"/>
                  <a:gd name="T63" fmla="*/ 81 h 163"/>
                  <a:gd name="T64" fmla="*/ 174 w 244"/>
                  <a:gd name="T65" fmla="*/ 9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4" h="163">
                    <a:moveTo>
                      <a:pt x="174" y="93"/>
                    </a:moveTo>
                    <a:cubicBezTo>
                      <a:pt x="186" y="84"/>
                      <a:pt x="180" y="87"/>
                      <a:pt x="189" y="82"/>
                    </a:cubicBezTo>
                    <a:cubicBezTo>
                      <a:pt x="196" y="73"/>
                      <a:pt x="209" y="65"/>
                      <a:pt x="219" y="61"/>
                    </a:cubicBezTo>
                    <a:cubicBezTo>
                      <a:pt x="227" y="64"/>
                      <a:pt x="229" y="71"/>
                      <a:pt x="237" y="73"/>
                    </a:cubicBezTo>
                    <a:cubicBezTo>
                      <a:pt x="243" y="76"/>
                      <a:pt x="243" y="78"/>
                      <a:pt x="244" y="84"/>
                    </a:cubicBezTo>
                    <a:cubicBezTo>
                      <a:pt x="242" y="101"/>
                      <a:pt x="211" y="95"/>
                      <a:pt x="196" y="97"/>
                    </a:cubicBezTo>
                    <a:cubicBezTo>
                      <a:pt x="192" y="100"/>
                      <a:pt x="187" y="103"/>
                      <a:pt x="183" y="106"/>
                    </a:cubicBezTo>
                    <a:cubicBezTo>
                      <a:pt x="180" y="112"/>
                      <a:pt x="179" y="114"/>
                      <a:pt x="172" y="115"/>
                    </a:cubicBezTo>
                    <a:cubicBezTo>
                      <a:pt x="174" y="124"/>
                      <a:pt x="173" y="134"/>
                      <a:pt x="177" y="142"/>
                    </a:cubicBezTo>
                    <a:cubicBezTo>
                      <a:pt x="174" y="163"/>
                      <a:pt x="175" y="159"/>
                      <a:pt x="153" y="157"/>
                    </a:cubicBezTo>
                    <a:cubicBezTo>
                      <a:pt x="152" y="156"/>
                      <a:pt x="151" y="154"/>
                      <a:pt x="150" y="153"/>
                    </a:cubicBezTo>
                    <a:cubicBezTo>
                      <a:pt x="149" y="151"/>
                      <a:pt x="149" y="149"/>
                      <a:pt x="148" y="147"/>
                    </a:cubicBezTo>
                    <a:cubicBezTo>
                      <a:pt x="143" y="140"/>
                      <a:pt x="128" y="133"/>
                      <a:pt x="121" y="129"/>
                    </a:cubicBezTo>
                    <a:cubicBezTo>
                      <a:pt x="116" y="121"/>
                      <a:pt x="106" y="118"/>
                      <a:pt x="99" y="112"/>
                    </a:cubicBezTo>
                    <a:cubicBezTo>
                      <a:pt x="95" y="106"/>
                      <a:pt x="94" y="99"/>
                      <a:pt x="91" y="93"/>
                    </a:cubicBezTo>
                    <a:cubicBezTo>
                      <a:pt x="90" y="86"/>
                      <a:pt x="83" y="79"/>
                      <a:pt x="76" y="78"/>
                    </a:cubicBezTo>
                    <a:cubicBezTo>
                      <a:pt x="72" y="74"/>
                      <a:pt x="62" y="76"/>
                      <a:pt x="58" y="73"/>
                    </a:cubicBezTo>
                    <a:cubicBezTo>
                      <a:pt x="54" y="70"/>
                      <a:pt x="56" y="57"/>
                      <a:pt x="49" y="57"/>
                    </a:cubicBezTo>
                    <a:cubicBezTo>
                      <a:pt x="31" y="58"/>
                      <a:pt x="24" y="58"/>
                      <a:pt x="18" y="72"/>
                    </a:cubicBezTo>
                    <a:cubicBezTo>
                      <a:pt x="17" y="79"/>
                      <a:pt x="9" y="75"/>
                      <a:pt x="4" y="79"/>
                    </a:cubicBezTo>
                    <a:cubicBezTo>
                      <a:pt x="5" y="72"/>
                      <a:pt x="0" y="30"/>
                      <a:pt x="4" y="19"/>
                    </a:cubicBezTo>
                    <a:cubicBezTo>
                      <a:pt x="8" y="8"/>
                      <a:pt x="24" y="12"/>
                      <a:pt x="30" y="9"/>
                    </a:cubicBezTo>
                    <a:cubicBezTo>
                      <a:pt x="34" y="6"/>
                      <a:pt x="39" y="3"/>
                      <a:pt x="43" y="0"/>
                    </a:cubicBezTo>
                    <a:cubicBezTo>
                      <a:pt x="46" y="0"/>
                      <a:pt x="48" y="7"/>
                      <a:pt x="51" y="9"/>
                    </a:cubicBezTo>
                    <a:cubicBezTo>
                      <a:pt x="54" y="11"/>
                      <a:pt x="58" y="9"/>
                      <a:pt x="61" y="12"/>
                    </a:cubicBezTo>
                    <a:cubicBezTo>
                      <a:pt x="64" y="14"/>
                      <a:pt x="66" y="22"/>
                      <a:pt x="69" y="25"/>
                    </a:cubicBezTo>
                    <a:cubicBezTo>
                      <a:pt x="74" y="29"/>
                      <a:pt x="73" y="31"/>
                      <a:pt x="90" y="34"/>
                    </a:cubicBezTo>
                    <a:cubicBezTo>
                      <a:pt x="95" y="37"/>
                      <a:pt x="97" y="44"/>
                      <a:pt x="105" y="46"/>
                    </a:cubicBezTo>
                    <a:cubicBezTo>
                      <a:pt x="113" y="48"/>
                      <a:pt x="132" y="43"/>
                      <a:pt x="139" y="46"/>
                    </a:cubicBezTo>
                    <a:cubicBezTo>
                      <a:pt x="148" y="51"/>
                      <a:pt x="141" y="56"/>
                      <a:pt x="150" y="63"/>
                    </a:cubicBezTo>
                    <a:cubicBezTo>
                      <a:pt x="152" y="68"/>
                      <a:pt x="154" y="72"/>
                      <a:pt x="156" y="75"/>
                    </a:cubicBezTo>
                    <a:cubicBezTo>
                      <a:pt x="158" y="78"/>
                      <a:pt x="162" y="78"/>
                      <a:pt x="165" y="81"/>
                    </a:cubicBezTo>
                    <a:cubicBezTo>
                      <a:pt x="172" y="76"/>
                      <a:pt x="165" y="87"/>
                      <a:pt x="174" y="9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32" name="Freeform 9">
                <a:extLst>
                  <a:ext uri="{FF2B5EF4-FFF2-40B4-BE49-F238E27FC236}">
                    <a16:creationId xmlns:a16="http://schemas.microsoft.com/office/drawing/2014/main" id="{7DA90C03-F1E6-4ABC-ADF1-6617F6CA1D41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5410201" y="3105150"/>
                <a:ext cx="117475" cy="104775"/>
              </a:xfrm>
              <a:custGeom>
                <a:avLst/>
                <a:gdLst>
                  <a:gd name="T0" fmla="*/ 44 w 73"/>
                  <a:gd name="T1" fmla="*/ 22 h 66"/>
                  <a:gd name="T2" fmla="*/ 31 w 73"/>
                  <a:gd name="T3" fmla="*/ 18 h 66"/>
                  <a:gd name="T4" fmla="*/ 20 w 73"/>
                  <a:gd name="T5" fmla="*/ 0 h 66"/>
                  <a:gd name="T6" fmla="*/ 4 w 73"/>
                  <a:gd name="T7" fmla="*/ 7 h 66"/>
                  <a:gd name="T8" fmla="*/ 7 w 73"/>
                  <a:gd name="T9" fmla="*/ 28 h 66"/>
                  <a:gd name="T10" fmla="*/ 13 w 73"/>
                  <a:gd name="T11" fmla="*/ 36 h 66"/>
                  <a:gd name="T12" fmla="*/ 16 w 73"/>
                  <a:gd name="T13" fmla="*/ 46 h 66"/>
                  <a:gd name="T14" fmla="*/ 28 w 73"/>
                  <a:gd name="T15" fmla="*/ 51 h 66"/>
                  <a:gd name="T16" fmla="*/ 41 w 73"/>
                  <a:gd name="T17" fmla="*/ 48 h 66"/>
                  <a:gd name="T18" fmla="*/ 56 w 73"/>
                  <a:gd name="T19" fmla="*/ 66 h 66"/>
                  <a:gd name="T20" fmla="*/ 62 w 73"/>
                  <a:gd name="T21" fmla="*/ 45 h 66"/>
                  <a:gd name="T22" fmla="*/ 73 w 73"/>
                  <a:gd name="T23" fmla="*/ 31 h 66"/>
                  <a:gd name="T24" fmla="*/ 61 w 73"/>
                  <a:gd name="T25" fmla="*/ 18 h 66"/>
                  <a:gd name="T26" fmla="*/ 49 w 73"/>
                  <a:gd name="T27" fmla="*/ 4 h 66"/>
                  <a:gd name="T28" fmla="*/ 44 w 73"/>
                  <a:gd name="T29" fmla="*/ 2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3" h="66">
                    <a:moveTo>
                      <a:pt x="44" y="22"/>
                    </a:moveTo>
                    <a:cubicBezTo>
                      <a:pt x="39" y="21"/>
                      <a:pt x="36" y="19"/>
                      <a:pt x="31" y="18"/>
                    </a:cubicBezTo>
                    <a:cubicBezTo>
                      <a:pt x="24" y="13"/>
                      <a:pt x="28" y="5"/>
                      <a:pt x="20" y="0"/>
                    </a:cubicBezTo>
                    <a:cubicBezTo>
                      <a:pt x="15" y="2"/>
                      <a:pt x="8" y="4"/>
                      <a:pt x="4" y="7"/>
                    </a:cubicBezTo>
                    <a:cubicBezTo>
                      <a:pt x="0" y="16"/>
                      <a:pt x="1" y="20"/>
                      <a:pt x="7" y="28"/>
                    </a:cubicBezTo>
                    <a:cubicBezTo>
                      <a:pt x="10" y="42"/>
                      <a:pt x="5" y="24"/>
                      <a:pt x="13" y="36"/>
                    </a:cubicBezTo>
                    <a:cubicBezTo>
                      <a:pt x="15" y="39"/>
                      <a:pt x="14" y="43"/>
                      <a:pt x="16" y="46"/>
                    </a:cubicBezTo>
                    <a:cubicBezTo>
                      <a:pt x="18" y="54"/>
                      <a:pt x="21" y="52"/>
                      <a:pt x="28" y="51"/>
                    </a:cubicBezTo>
                    <a:cubicBezTo>
                      <a:pt x="32" y="44"/>
                      <a:pt x="35" y="43"/>
                      <a:pt x="41" y="48"/>
                    </a:cubicBezTo>
                    <a:cubicBezTo>
                      <a:pt x="46" y="57"/>
                      <a:pt x="46" y="61"/>
                      <a:pt x="56" y="66"/>
                    </a:cubicBezTo>
                    <a:cubicBezTo>
                      <a:pt x="68" y="62"/>
                      <a:pt x="58" y="55"/>
                      <a:pt x="62" y="45"/>
                    </a:cubicBezTo>
                    <a:cubicBezTo>
                      <a:pt x="63" y="41"/>
                      <a:pt x="71" y="35"/>
                      <a:pt x="73" y="31"/>
                    </a:cubicBezTo>
                    <a:cubicBezTo>
                      <a:pt x="71" y="26"/>
                      <a:pt x="65" y="21"/>
                      <a:pt x="61" y="18"/>
                    </a:cubicBezTo>
                    <a:cubicBezTo>
                      <a:pt x="59" y="12"/>
                      <a:pt x="54" y="7"/>
                      <a:pt x="49" y="4"/>
                    </a:cubicBezTo>
                    <a:cubicBezTo>
                      <a:pt x="47" y="10"/>
                      <a:pt x="47" y="16"/>
                      <a:pt x="44" y="2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33" name="Freeform 10">
                <a:extLst>
                  <a:ext uri="{FF2B5EF4-FFF2-40B4-BE49-F238E27FC236}">
                    <a16:creationId xmlns:a16="http://schemas.microsoft.com/office/drawing/2014/main" id="{6726DC80-A788-4F36-9EF0-7319A525986C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960938" y="2884488"/>
                <a:ext cx="84138" cy="107950"/>
              </a:xfrm>
              <a:custGeom>
                <a:avLst/>
                <a:gdLst>
                  <a:gd name="T0" fmla="*/ 0 w 52"/>
                  <a:gd name="T1" fmla="*/ 11 h 68"/>
                  <a:gd name="T2" fmla="*/ 25 w 52"/>
                  <a:gd name="T3" fmla="*/ 1 h 68"/>
                  <a:gd name="T4" fmla="*/ 42 w 52"/>
                  <a:gd name="T5" fmla="*/ 11 h 68"/>
                  <a:gd name="T6" fmla="*/ 45 w 52"/>
                  <a:gd name="T7" fmla="*/ 29 h 68"/>
                  <a:gd name="T8" fmla="*/ 52 w 52"/>
                  <a:gd name="T9" fmla="*/ 43 h 68"/>
                  <a:gd name="T10" fmla="*/ 46 w 52"/>
                  <a:gd name="T11" fmla="*/ 55 h 68"/>
                  <a:gd name="T12" fmla="*/ 34 w 52"/>
                  <a:gd name="T13" fmla="*/ 68 h 68"/>
                  <a:gd name="T14" fmla="*/ 18 w 52"/>
                  <a:gd name="T15" fmla="*/ 28 h 68"/>
                  <a:gd name="T16" fmla="*/ 0 w 52"/>
                  <a:gd name="T17" fmla="*/ 1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68">
                    <a:moveTo>
                      <a:pt x="0" y="11"/>
                    </a:moveTo>
                    <a:cubicBezTo>
                      <a:pt x="2" y="1"/>
                      <a:pt x="14" y="0"/>
                      <a:pt x="25" y="1"/>
                    </a:cubicBezTo>
                    <a:cubicBezTo>
                      <a:pt x="34" y="4"/>
                      <a:pt x="31" y="10"/>
                      <a:pt x="42" y="11"/>
                    </a:cubicBezTo>
                    <a:cubicBezTo>
                      <a:pt x="46" y="15"/>
                      <a:pt x="43" y="24"/>
                      <a:pt x="45" y="29"/>
                    </a:cubicBezTo>
                    <a:cubicBezTo>
                      <a:pt x="47" y="34"/>
                      <a:pt x="52" y="39"/>
                      <a:pt x="52" y="43"/>
                    </a:cubicBezTo>
                    <a:cubicBezTo>
                      <a:pt x="48" y="46"/>
                      <a:pt x="50" y="52"/>
                      <a:pt x="46" y="55"/>
                    </a:cubicBezTo>
                    <a:cubicBezTo>
                      <a:pt x="43" y="62"/>
                      <a:pt x="40" y="63"/>
                      <a:pt x="34" y="68"/>
                    </a:cubicBezTo>
                    <a:cubicBezTo>
                      <a:pt x="14" y="66"/>
                      <a:pt x="37" y="42"/>
                      <a:pt x="18" y="28"/>
                    </a:cubicBezTo>
                    <a:cubicBezTo>
                      <a:pt x="16" y="24"/>
                      <a:pt x="2" y="4"/>
                      <a:pt x="0" y="1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34" name="Freeform 11">
                <a:extLst>
                  <a:ext uri="{FF2B5EF4-FFF2-40B4-BE49-F238E27FC236}">
                    <a16:creationId xmlns:a16="http://schemas.microsoft.com/office/drawing/2014/main" id="{345BA25B-59DC-4FD6-9954-B73C9C625AE9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5305426" y="3071813"/>
                <a:ext cx="125413" cy="66675"/>
              </a:xfrm>
              <a:custGeom>
                <a:avLst/>
                <a:gdLst>
                  <a:gd name="T0" fmla="*/ 34 w 78"/>
                  <a:gd name="T1" fmla="*/ 31 h 42"/>
                  <a:gd name="T2" fmla="*/ 12 w 78"/>
                  <a:gd name="T3" fmla="*/ 13 h 42"/>
                  <a:gd name="T4" fmla="*/ 37 w 78"/>
                  <a:gd name="T5" fmla="*/ 7 h 42"/>
                  <a:gd name="T6" fmla="*/ 57 w 78"/>
                  <a:gd name="T7" fmla="*/ 10 h 42"/>
                  <a:gd name="T8" fmla="*/ 78 w 78"/>
                  <a:gd name="T9" fmla="*/ 19 h 42"/>
                  <a:gd name="T10" fmla="*/ 64 w 78"/>
                  <a:gd name="T11" fmla="*/ 36 h 42"/>
                  <a:gd name="T12" fmla="*/ 34 w 78"/>
                  <a:gd name="T13" fmla="*/ 3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42">
                    <a:moveTo>
                      <a:pt x="34" y="31"/>
                    </a:moveTo>
                    <a:cubicBezTo>
                      <a:pt x="0" y="25"/>
                      <a:pt x="34" y="30"/>
                      <a:pt x="12" y="13"/>
                    </a:cubicBezTo>
                    <a:cubicBezTo>
                      <a:pt x="6" y="0"/>
                      <a:pt x="35" y="7"/>
                      <a:pt x="37" y="7"/>
                    </a:cubicBezTo>
                    <a:cubicBezTo>
                      <a:pt x="51" y="13"/>
                      <a:pt x="27" y="4"/>
                      <a:pt x="57" y="10"/>
                    </a:cubicBezTo>
                    <a:cubicBezTo>
                      <a:pt x="64" y="11"/>
                      <a:pt x="70" y="18"/>
                      <a:pt x="78" y="19"/>
                    </a:cubicBezTo>
                    <a:cubicBezTo>
                      <a:pt x="67" y="23"/>
                      <a:pt x="73" y="32"/>
                      <a:pt x="64" y="36"/>
                    </a:cubicBezTo>
                    <a:cubicBezTo>
                      <a:pt x="35" y="34"/>
                      <a:pt x="41" y="42"/>
                      <a:pt x="34" y="3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35" name="Freeform 12">
                <a:extLst>
                  <a:ext uri="{FF2B5EF4-FFF2-40B4-BE49-F238E27FC236}">
                    <a16:creationId xmlns:a16="http://schemas.microsoft.com/office/drawing/2014/main" id="{4EF2563E-D08D-4C01-B983-E6798C89BF8A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786313" y="3092450"/>
                <a:ext cx="65088" cy="74613"/>
              </a:xfrm>
              <a:custGeom>
                <a:avLst/>
                <a:gdLst>
                  <a:gd name="T0" fmla="*/ 8 w 41"/>
                  <a:gd name="T1" fmla="*/ 3 h 47"/>
                  <a:gd name="T2" fmla="*/ 23 w 41"/>
                  <a:gd name="T3" fmla="*/ 6 h 47"/>
                  <a:gd name="T4" fmla="*/ 40 w 41"/>
                  <a:gd name="T5" fmla="*/ 32 h 47"/>
                  <a:gd name="T6" fmla="*/ 26 w 41"/>
                  <a:gd name="T7" fmla="*/ 42 h 47"/>
                  <a:gd name="T8" fmla="*/ 10 w 41"/>
                  <a:gd name="T9" fmla="*/ 45 h 47"/>
                  <a:gd name="T10" fmla="*/ 5 w 41"/>
                  <a:gd name="T11" fmla="*/ 18 h 47"/>
                  <a:gd name="T12" fmla="*/ 8 w 41"/>
                  <a:gd name="T13" fmla="*/ 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47">
                    <a:moveTo>
                      <a:pt x="8" y="3"/>
                    </a:moveTo>
                    <a:cubicBezTo>
                      <a:pt x="15" y="2"/>
                      <a:pt x="20" y="0"/>
                      <a:pt x="23" y="6"/>
                    </a:cubicBezTo>
                    <a:cubicBezTo>
                      <a:pt x="25" y="17"/>
                      <a:pt x="31" y="26"/>
                      <a:pt x="40" y="32"/>
                    </a:cubicBezTo>
                    <a:cubicBezTo>
                      <a:pt x="41" y="39"/>
                      <a:pt x="33" y="41"/>
                      <a:pt x="26" y="42"/>
                    </a:cubicBezTo>
                    <a:cubicBezTo>
                      <a:pt x="20" y="47"/>
                      <a:pt x="18" y="47"/>
                      <a:pt x="10" y="45"/>
                    </a:cubicBezTo>
                    <a:cubicBezTo>
                      <a:pt x="0" y="39"/>
                      <a:pt x="4" y="30"/>
                      <a:pt x="5" y="18"/>
                    </a:cubicBezTo>
                    <a:cubicBezTo>
                      <a:pt x="5" y="14"/>
                      <a:pt x="1" y="3"/>
                      <a:pt x="8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36" name="Freeform 13">
                <a:extLst>
                  <a:ext uri="{FF2B5EF4-FFF2-40B4-BE49-F238E27FC236}">
                    <a16:creationId xmlns:a16="http://schemas.microsoft.com/office/drawing/2014/main" id="{4D0F42E8-6635-40F9-A82F-0862F1E61217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816476" y="3095625"/>
                <a:ext cx="88900" cy="44450"/>
              </a:xfrm>
              <a:custGeom>
                <a:avLst/>
                <a:gdLst>
                  <a:gd name="T0" fmla="*/ 4 w 55"/>
                  <a:gd name="T1" fmla="*/ 7 h 28"/>
                  <a:gd name="T2" fmla="*/ 21 w 55"/>
                  <a:gd name="T3" fmla="*/ 0 h 28"/>
                  <a:gd name="T4" fmla="*/ 46 w 55"/>
                  <a:gd name="T5" fmla="*/ 15 h 28"/>
                  <a:gd name="T6" fmla="*/ 31 w 55"/>
                  <a:gd name="T7" fmla="*/ 19 h 28"/>
                  <a:gd name="T8" fmla="*/ 19 w 55"/>
                  <a:gd name="T9" fmla="*/ 28 h 28"/>
                  <a:gd name="T10" fmla="*/ 4 w 55"/>
                  <a:gd name="T11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28">
                    <a:moveTo>
                      <a:pt x="4" y="7"/>
                    </a:moveTo>
                    <a:cubicBezTo>
                      <a:pt x="17" y="6"/>
                      <a:pt x="10" y="2"/>
                      <a:pt x="21" y="0"/>
                    </a:cubicBezTo>
                    <a:cubicBezTo>
                      <a:pt x="55" y="2"/>
                      <a:pt x="28" y="2"/>
                      <a:pt x="46" y="15"/>
                    </a:cubicBezTo>
                    <a:cubicBezTo>
                      <a:pt x="41" y="16"/>
                      <a:pt x="36" y="18"/>
                      <a:pt x="31" y="19"/>
                    </a:cubicBezTo>
                    <a:cubicBezTo>
                      <a:pt x="26" y="22"/>
                      <a:pt x="22" y="23"/>
                      <a:pt x="19" y="28"/>
                    </a:cubicBezTo>
                    <a:cubicBezTo>
                      <a:pt x="14" y="26"/>
                      <a:pt x="0" y="7"/>
                      <a:pt x="4" y="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37" name="Freeform 14">
                <a:extLst>
                  <a:ext uri="{FF2B5EF4-FFF2-40B4-BE49-F238E27FC236}">
                    <a16:creationId xmlns:a16="http://schemas.microsoft.com/office/drawing/2014/main" id="{04985B78-C425-4509-8B35-0C5DFB3C136C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870451" y="3036888"/>
                <a:ext cx="150813" cy="92075"/>
              </a:xfrm>
              <a:custGeom>
                <a:avLst/>
                <a:gdLst>
                  <a:gd name="T0" fmla="*/ 6 w 94"/>
                  <a:gd name="T1" fmla="*/ 34 h 58"/>
                  <a:gd name="T2" fmla="*/ 7 w 94"/>
                  <a:gd name="T3" fmla="*/ 29 h 58"/>
                  <a:gd name="T4" fmla="*/ 12 w 94"/>
                  <a:gd name="T5" fmla="*/ 25 h 58"/>
                  <a:gd name="T6" fmla="*/ 0 w 94"/>
                  <a:gd name="T7" fmla="*/ 8 h 58"/>
                  <a:gd name="T8" fmla="*/ 36 w 94"/>
                  <a:gd name="T9" fmla="*/ 8 h 58"/>
                  <a:gd name="T10" fmla="*/ 66 w 94"/>
                  <a:gd name="T11" fmla="*/ 1 h 58"/>
                  <a:gd name="T12" fmla="*/ 84 w 94"/>
                  <a:gd name="T13" fmla="*/ 8 h 58"/>
                  <a:gd name="T14" fmla="*/ 63 w 94"/>
                  <a:gd name="T15" fmla="*/ 34 h 58"/>
                  <a:gd name="T16" fmla="*/ 52 w 94"/>
                  <a:gd name="T17" fmla="*/ 52 h 58"/>
                  <a:gd name="T18" fmla="*/ 34 w 94"/>
                  <a:gd name="T19" fmla="*/ 55 h 58"/>
                  <a:gd name="T20" fmla="*/ 12 w 94"/>
                  <a:gd name="T21" fmla="*/ 49 h 58"/>
                  <a:gd name="T22" fmla="*/ 6 w 94"/>
                  <a:gd name="T23" fmla="*/ 3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58">
                    <a:moveTo>
                      <a:pt x="6" y="34"/>
                    </a:moveTo>
                    <a:cubicBezTo>
                      <a:pt x="6" y="32"/>
                      <a:pt x="6" y="30"/>
                      <a:pt x="7" y="29"/>
                    </a:cubicBezTo>
                    <a:cubicBezTo>
                      <a:pt x="8" y="27"/>
                      <a:pt x="11" y="27"/>
                      <a:pt x="12" y="25"/>
                    </a:cubicBezTo>
                    <a:cubicBezTo>
                      <a:pt x="14" y="17"/>
                      <a:pt x="5" y="12"/>
                      <a:pt x="0" y="8"/>
                    </a:cubicBezTo>
                    <a:cubicBezTo>
                      <a:pt x="10" y="0"/>
                      <a:pt x="24" y="6"/>
                      <a:pt x="36" y="8"/>
                    </a:cubicBezTo>
                    <a:cubicBezTo>
                      <a:pt x="49" y="7"/>
                      <a:pt x="54" y="3"/>
                      <a:pt x="66" y="1"/>
                    </a:cubicBezTo>
                    <a:cubicBezTo>
                      <a:pt x="75" y="2"/>
                      <a:pt x="77" y="2"/>
                      <a:pt x="84" y="8"/>
                    </a:cubicBezTo>
                    <a:cubicBezTo>
                      <a:pt x="94" y="25"/>
                      <a:pt x="75" y="32"/>
                      <a:pt x="63" y="34"/>
                    </a:cubicBezTo>
                    <a:cubicBezTo>
                      <a:pt x="60" y="43"/>
                      <a:pt x="62" y="49"/>
                      <a:pt x="52" y="52"/>
                    </a:cubicBezTo>
                    <a:cubicBezTo>
                      <a:pt x="44" y="58"/>
                      <a:pt x="43" y="57"/>
                      <a:pt x="34" y="55"/>
                    </a:cubicBezTo>
                    <a:cubicBezTo>
                      <a:pt x="26" y="49"/>
                      <a:pt x="23" y="50"/>
                      <a:pt x="12" y="49"/>
                    </a:cubicBezTo>
                    <a:cubicBezTo>
                      <a:pt x="8" y="43"/>
                      <a:pt x="6" y="41"/>
                      <a:pt x="6" y="3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38" name="Freeform 15">
                <a:extLst>
                  <a:ext uri="{FF2B5EF4-FFF2-40B4-BE49-F238E27FC236}">
                    <a16:creationId xmlns:a16="http://schemas.microsoft.com/office/drawing/2014/main" id="{478CD630-CEE4-46C1-AC17-FD6E99C46848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829176" y="2889250"/>
                <a:ext cx="215900" cy="173038"/>
              </a:xfrm>
              <a:custGeom>
                <a:avLst/>
                <a:gdLst>
                  <a:gd name="T0" fmla="*/ 116 w 134"/>
                  <a:gd name="T1" fmla="*/ 109 h 109"/>
                  <a:gd name="T2" fmla="*/ 124 w 134"/>
                  <a:gd name="T3" fmla="*/ 85 h 109"/>
                  <a:gd name="T4" fmla="*/ 134 w 134"/>
                  <a:gd name="T5" fmla="*/ 74 h 109"/>
                  <a:gd name="T6" fmla="*/ 113 w 134"/>
                  <a:gd name="T7" fmla="*/ 67 h 109"/>
                  <a:gd name="T8" fmla="*/ 109 w 134"/>
                  <a:gd name="T9" fmla="*/ 53 h 109"/>
                  <a:gd name="T10" fmla="*/ 101 w 134"/>
                  <a:gd name="T11" fmla="*/ 22 h 109"/>
                  <a:gd name="T12" fmla="*/ 88 w 134"/>
                  <a:gd name="T13" fmla="*/ 8 h 109"/>
                  <a:gd name="T14" fmla="*/ 23 w 134"/>
                  <a:gd name="T15" fmla="*/ 14 h 109"/>
                  <a:gd name="T16" fmla="*/ 5 w 134"/>
                  <a:gd name="T17" fmla="*/ 40 h 109"/>
                  <a:gd name="T18" fmla="*/ 10 w 134"/>
                  <a:gd name="T19" fmla="*/ 70 h 109"/>
                  <a:gd name="T20" fmla="*/ 22 w 134"/>
                  <a:gd name="T21" fmla="*/ 88 h 109"/>
                  <a:gd name="T22" fmla="*/ 28 w 134"/>
                  <a:gd name="T23" fmla="*/ 100 h 109"/>
                  <a:gd name="T24" fmla="*/ 43 w 134"/>
                  <a:gd name="T25" fmla="*/ 97 h 109"/>
                  <a:gd name="T26" fmla="*/ 67 w 134"/>
                  <a:gd name="T27" fmla="*/ 103 h 109"/>
                  <a:gd name="T28" fmla="*/ 85 w 134"/>
                  <a:gd name="T29" fmla="*/ 94 h 109"/>
                  <a:gd name="T30" fmla="*/ 86 w 134"/>
                  <a:gd name="T31" fmla="*/ 107 h 109"/>
                  <a:gd name="T32" fmla="*/ 110 w 134"/>
                  <a:gd name="T33" fmla="*/ 10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4" h="109">
                    <a:moveTo>
                      <a:pt x="116" y="109"/>
                    </a:moveTo>
                    <a:cubicBezTo>
                      <a:pt x="117" y="99"/>
                      <a:pt x="115" y="90"/>
                      <a:pt x="124" y="85"/>
                    </a:cubicBezTo>
                    <a:cubicBezTo>
                      <a:pt x="128" y="78"/>
                      <a:pt x="132" y="82"/>
                      <a:pt x="134" y="74"/>
                    </a:cubicBezTo>
                    <a:cubicBezTo>
                      <a:pt x="133" y="70"/>
                      <a:pt x="117" y="70"/>
                      <a:pt x="113" y="67"/>
                    </a:cubicBezTo>
                    <a:cubicBezTo>
                      <a:pt x="109" y="64"/>
                      <a:pt x="111" y="60"/>
                      <a:pt x="109" y="53"/>
                    </a:cubicBezTo>
                    <a:cubicBezTo>
                      <a:pt x="107" y="39"/>
                      <a:pt x="109" y="32"/>
                      <a:pt x="101" y="22"/>
                    </a:cubicBezTo>
                    <a:cubicBezTo>
                      <a:pt x="100" y="16"/>
                      <a:pt x="94" y="11"/>
                      <a:pt x="88" y="8"/>
                    </a:cubicBezTo>
                    <a:cubicBezTo>
                      <a:pt x="48" y="9"/>
                      <a:pt x="47" y="0"/>
                      <a:pt x="23" y="14"/>
                    </a:cubicBezTo>
                    <a:cubicBezTo>
                      <a:pt x="22" y="26"/>
                      <a:pt x="16" y="35"/>
                      <a:pt x="5" y="40"/>
                    </a:cubicBezTo>
                    <a:cubicBezTo>
                      <a:pt x="4" y="50"/>
                      <a:pt x="0" y="64"/>
                      <a:pt x="10" y="70"/>
                    </a:cubicBezTo>
                    <a:cubicBezTo>
                      <a:pt x="14" y="76"/>
                      <a:pt x="18" y="82"/>
                      <a:pt x="22" y="88"/>
                    </a:cubicBezTo>
                    <a:cubicBezTo>
                      <a:pt x="25" y="91"/>
                      <a:pt x="21" y="98"/>
                      <a:pt x="28" y="100"/>
                    </a:cubicBezTo>
                    <a:cubicBezTo>
                      <a:pt x="31" y="101"/>
                      <a:pt x="37" y="97"/>
                      <a:pt x="43" y="97"/>
                    </a:cubicBezTo>
                    <a:cubicBezTo>
                      <a:pt x="49" y="97"/>
                      <a:pt x="60" y="103"/>
                      <a:pt x="67" y="103"/>
                    </a:cubicBezTo>
                    <a:cubicBezTo>
                      <a:pt x="74" y="103"/>
                      <a:pt x="82" y="93"/>
                      <a:pt x="85" y="94"/>
                    </a:cubicBezTo>
                    <a:cubicBezTo>
                      <a:pt x="88" y="95"/>
                      <a:pt x="82" y="105"/>
                      <a:pt x="86" y="107"/>
                    </a:cubicBezTo>
                    <a:cubicBezTo>
                      <a:pt x="90" y="109"/>
                      <a:pt x="105" y="106"/>
                      <a:pt x="110" y="106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39" name="Freeform 16">
                <a:extLst>
                  <a:ext uri="{FF2B5EF4-FFF2-40B4-BE49-F238E27FC236}">
                    <a16:creationId xmlns:a16="http://schemas.microsoft.com/office/drawing/2014/main" id="{CEA71622-7FB9-423D-A67F-AB05DFBD4705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776788" y="3054350"/>
                <a:ext cx="47625" cy="52388"/>
              </a:xfrm>
              <a:custGeom>
                <a:avLst/>
                <a:gdLst>
                  <a:gd name="T0" fmla="*/ 13 w 30"/>
                  <a:gd name="T1" fmla="*/ 33 h 33"/>
                  <a:gd name="T2" fmla="*/ 2 w 30"/>
                  <a:gd name="T3" fmla="*/ 15 h 33"/>
                  <a:gd name="T4" fmla="*/ 7 w 30"/>
                  <a:gd name="T5" fmla="*/ 0 h 33"/>
                  <a:gd name="T6" fmla="*/ 28 w 30"/>
                  <a:gd name="T7" fmla="*/ 15 h 33"/>
                  <a:gd name="T8" fmla="*/ 17 w 30"/>
                  <a:gd name="T9" fmla="*/ 27 h 33"/>
                  <a:gd name="T10" fmla="*/ 13 w 30"/>
                  <a:gd name="T1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33">
                    <a:moveTo>
                      <a:pt x="13" y="33"/>
                    </a:moveTo>
                    <a:cubicBezTo>
                      <a:pt x="9" y="27"/>
                      <a:pt x="6" y="21"/>
                      <a:pt x="2" y="15"/>
                    </a:cubicBezTo>
                    <a:cubicBezTo>
                      <a:pt x="1" y="7"/>
                      <a:pt x="0" y="4"/>
                      <a:pt x="7" y="0"/>
                    </a:cubicBezTo>
                    <a:cubicBezTo>
                      <a:pt x="18" y="3"/>
                      <a:pt x="17" y="13"/>
                      <a:pt x="28" y="15"/>
                    </a:cubicBezTo>
                    <a:cubicBezTo>
                      <a:pt x="30" y="24"/>
                      <a:pt x="25" y="25"/>
                      <a:pt x="17" y="27"/>
                    </a:cubicBezTo>
                    <a:cubicBezTo>
                      <a:pt x="12" y="30"/>
                      <a:pt x="13" y="28"/>
                      <a:pt x="13" y="3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40" name="Freeform 17">
                <a:extLst>
                  <a:ext uri="{FF2B5EF4-FFF2-40B4-BE49-F238E27FC236}">
                    <a16:creationId xmlns:a16="http://schemas.microsoft.com/office/drawing/2014/main" id="{7A355694-3F3E-4DF2-B111-3A62DE7299D3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713288" y="2998788"/>
                <a:ext cx="85725" cy="77788"/>
              </a:xfrm>
              <a:custGeom>
                <a:avLst/>
                <a:gdLst>
                  <a:gd name="T0" fmla="*/ 53 w 53"/>
                  <a:gd name="T1" fmla="*/ 40 h 49"/>
                  <a:gd name="T2" fmla="*/ 37 w 53"/>
                  <a:gd name="T3" fmla="*/ 5 h 49"/>
                  <a:gd name="T4" fmla="*/ 2 w 53"/>
                  <a:gd name="T5" fmla="*/ 16 h 49"/>
                  <a:gd name="T6" fmla="*/ 17 w 53"/>
                  <a:gd name="T7" fmla="*/ 25 h 49"/>
                  <a:gd name="T8" fmla="*/ 26 w 53"/>
                  <a:gd name="T9" fmla="*/ 37 h 49"/>
                  <a:gd name="T10" fmla="*/ 35 w 53"/>
                  <a:gd name="T11" fmla="*/ 49 h 49"/>
                  <a:gd name="T12" fmla="*/ 53 w 53"/>
                  <a:gd name="T1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49">
                    <a:moveTo>
                      <a:pt x="53" y="40"/>
                    </a:moveTo>
                    <a:cubicBezTo>
                      <a:pt x="51" y="23"/>
                      <a:pt x="50" y="15"/>
                      <a:pt x="37" y="5"/>
                    </a:cubicBezTo>
                    <a:cubicBezTo>
                      <a:pt x="3" y="7"/>
                      <a:pt x="12" y="0"/>
                      <a:pt x="2" y="16"/>
                    </a:cubicBezTo>
                    <a:cubicBezTo>
                      <a:pt x="0" y="26"/>
                      <a:pt x="8" y="23"/>
                      <a:pt x="17" y="25"/>
                    </a:cubicBezTo>
                    <a:cubicBezTo>
                      <a:pt x="20" y="30"/>
                      <a:pt x="21" y="33"/>
                      <a:pt x="26" y="37"/>
                    </a:cubicBezTo>
                    <a:cubicBezTo>
                      <a:pt x="28" y="42"/>
                      <a:pt x="32" y="44"/>
                      <a:pt x="35" y="49"/>
                    </a:cubicBezTo>
                    <a:cubicBezTo>
                      <a:pt x="42" y="46"/>
                      <a:pt x="45" y="26"/>
                      <a:pt x="53" y="4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41" name="Freeform 18">
                <a:extLst>
                  <a:ext uri="{FF2B5EF4-FFF2-40B4-BE49-F238E27FC236}">
                    <a16:creationId xmlns:a16="http://schemas.microsoft.com/office/drawing/2014/main" id="{AD6E4CC2-7848-4D3B-86EC-8A60FC260809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657726" y="2957513"/>
                <a:ext cx="130175" cy="134938"/>
              </a:xfrm>
              <a:custGeom>
                <a:avLst/>
                <a:gdLst>
                  <a:gd name="T0" fmla="*/ 72 w 80"/>
                  <a:gd name="T1" fmla="*/ 15 h 85"/>
                  <a:gd name="T2" fmla="*/ 54 w 80"/>
                  <a:gd name="T3" fmla="*/ 7 h 85"/>
                  <a:gd name="T4" fmla="*/ 39 w 80"/>
                  <a:gd name="T5" fmla="*/ 1 h 85"/>
                  <a:gd name="T6" fmla="*/ 21 w 80"/>
                  <a:gd name="T7" fmla="*/ 15 h 85"/>
                  <a:gd name="T8" fmla="*/ 9 w 80"/>
                  <a:gd name="T9" fmla="*/ 21 h 85"/>
                  <a:gd name="T10" fmla="*/ 8 w 80"/>
                  <a:gd name="T11" fmla="*/ 31 h 85"/>
                  <a:gd name="T12" fmla="*/ 18 w 80"/>
                  <a:gd name="T13" fmla="*/ 49 h 85"/>
                  <a:gd name="T14" fmla="*/ 27 w 80"/>
                  <a:gd name="T15" fmla="*/ 61 h 85"/>
                  <a:gd name="T16" fmla="*/ 44 w 80"/>
                  <a:gd name="T17" fmla="*/ 73 h 85"/>
                  <a:gd name="T18" fmla="*/ 72 w 80"/>
                  <a:gd name="T19" fmla="*/ 85 h 85"/>
                  <a:gd name="T20" fmla="*/ 68 w 80"/>
                  <a:gd name="T21" fmla="*/ 76 h 85"/>
                  <a:gd name="T22" fmla="*/ 56 w 80"/>
                  <a:gd name="T23" fmla="*/ 58 h 85"/>
                  <a:gd name="T24" fmla="*/ 39 w 80"/>
                  <a:gd name="T25" fmla="*/ 48 h 85"/>
                  <a:gd name="T26" fmla="*/ 42 w 80"/>
                  <a:gd name="T27" fmla="*/ 30 h 85"/>
                  <a:gd name="T28" fmla="*/ 80 w 80"/>
                  <a:gd name="T29" fmla="*/ 31 h 85"/>
                  <a:gd name="T30" fmla="*/ 77 w 80"/>
                  <a:gd name="T31" fmla="*/ 1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0" h="85">
                    <a:moveTo>
                      <a:pt x="72" y="15"/>
                    </a:moveTo>
                    <a:cubicBezTo>
                      <a:pt x="66" y="12"/>
                      <a:pt x="60" y="9"/>
                      <a:pt x="54" y="7"/>
                    </a:cubicBezTo>
                    <a:cubicBezTo>
                      <a:pt x="49" y="2"/>
                      <a:pt x="47" y="0"/>
                      <a:pt x="39" y="1"/>
                    </a:cubicBezTo>
                    <a:cubicBezTo>
                      <a:pt x="36" y="7"/>
                      <a:pt x="27" y="11"/>
                      <a:pt x="21" y="15"/>
                    </a:cubicBezTo>
                    <a:cubicBezTo>
                      <a:pt x="20" y="24"/>
                      <a:pt x="17" y="22"/>
                      <a:pt x="9" y="21"/>
                    </a:cubicBezTo>
                    <a:cubicBezTo>
                      <a:pt x="0" y="23"/>
                      <a:pt x="4" y="25"/>
                      <a:pt x="8" y="31"/>
                    </a:cubicBezTo>
                    <a:cubicBezTo>
                      <a:pt x="9" y="45"/>
                      <a:pt x="9" y="42"/>
                      <a:pt x="18" y="49"/>
                    </a:cubicBezTo>
                    <a:cubicBezTo>
                      <a:pt x="20" y="55"/>
                      <a:pt x="22" y="57"/>
                      <a:pt x="27" y="61"/>
                    </a:cubicBezTo>
                    <a:cubicBezTo>
                      <a:pt x="31" y="67"/>
                      <a:pt x="37" y="72"/>
                      <a:pt x="44" y="73"/>
                    </a:cubicBezTo>
                    <a:cubicBezTo>
                      <a:pt x="53" y="80"/>
                      <a:pt x="61" y="84"/>
                      <a:pt x="72" y="85"/>
                    </a:cubicBezTo>
                    <a:cubicBezTo>
                      <a:pt x="76" y="84"/>
                      <a:pt x="71" y="80"/>
                      <a:pt x="68" y="76"/>
                    </a:cubicBezTo>
                    <a:cubicBezTo>
                      <a:pt x="65" y="72"/>
                      <a:pt x="61" y="63"/>
                      <a:pt x="56" y="58"/>
                    </a:cubicBezTo>
                    <a:cubicBezTo>
                      <a:pt x="52" y="52"/>
                      <a:pt x="46" y="49"/>
                      <a:pt x="39" y="48"/>
                    </a:cubicBezTo>
                    <a:cubicBezTo>
                      <a:pt x="35" y="41"/>
                      <a:pt x="35" y="35"/>
                      <a:pt x="42" y="30"/>
                    </a:cubicBezTo>
                    <a:cubicBezTo>
                      <a:pt x="49" y="27"/>
                      <a:pt x="74" y="33"/>
                      <a:pt x="80" y="31"/>
                    </a:cubicBezTo>
                    <a:cubicBezTo>
                      <a:pt x="78" y="20"/>
                      <a:pt x="79" y="24"/>
                      <a:pt x="77" y="18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42" name="Freeform 19">
                <a:extLst>
                  <a:ext uri="{FF2B5EF4-FFF2-40B4-BE49-F238E27FC236}">
                    <a16:creationId xmlns:a16="http://schemas.microsoft.com/office/drawing/2014/main" id="{E5DA0A87-D8E8-4BC0-96A4-4FF4D4BF38B9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783138" y="2962275"/>
                <a:ext cx="106363" cy="144463"/>
              </a:xfrm>
              <a:custGeom>
                <a:avLst/>
                <a:gdLst>
                  <a:gd name="T0" fmla="*/ 1 w 66"/>
                  <a:gd name="T1" fmla="*/ 13 h 91"/>
                  <a:gd name="T2" fmla="*/ 34 w 66"/>
                  <a:gd name="T3" fmla="*/ 3 h 91"/>
                  <a:gd name="T4" fmla="*/ 33 w 66"/>
                  <a:gd name="T5" fmla="*/ 18 h 91"/>
                  <a:gd name="T6" fmla="*/ 43 w 66"/>
                  <a:gd name="T7" fmla="*/ 31 h 91"/>
                  <a:gd name="T8" fmla="*/ 52 w 66"/>
                  <a:gd name="T9" fmla="*/ 43 h 91"/>
                  <a:gd name="T10" fmla="*/ 66 w 66"/>
                  <a:gd name="T11" fmla="*/ 67 h 91"/>
                  <a:gd name="T12" fmla="*/ 58 w 66"/>
                  <a:gd name="T13" fmla="*/ 81 h 91"/>
                  <a:gd name="T14" fmla="*/ 27 w 66"/>
                  <a:gd name="T15" fmla="*/ 90 h 91"/>
                  <a:gd name="T16" fmla="*/ 21 w 66"/>
                  <a:gd name="T17" fmla="*/ 75 h 91"/>
                  <a:gd name="T18" fmla="*/ 6 w 66"/>
                  <a:gd name="T19" fmla="*/ 58 h 91"/>
                  <a:gd name="T20" fmla="*/ 9 w 66"/>
                  <a:gd name="T21" fmla="*/ 48 h 91"/>
                  <a:gd name="T22" fmla="*/ 6 w 66"/>
                  <a:gd name="T23" fmla="*/ 39 h 91"/>
                  <a:gd name="T24" fmla="*/ 1 w 66"/>
                  <a:gd name="T25" fmla="*/ 33 h 91"/>
                  <a:gd name="T26" fmla="*/ 1 w 66"/>
                  <a:gd name="T27" fmla="*/ 21 h 91"/>
                  <a:gd name="T28" fmla="*/ 1 w 66"/>
                  <a:gd name="T29" fmla="*/ 12 h 91"/>
                  <a:gd name="T30" fmla="*/ 1 w 66"/>
                  <a:gd name="T31" fmla="*/ 1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6" h="91">
                    <a:moveTo>
                      <a:pt x="1" y="13"/>
                    </a:moveTo>
                    <a:cubicBezTo>
                      <a:pt x="8" y="0"/>
                      <a:pt x="14" y="1"/>
                      <a:pt x="34" y="3"/>
                    </a:cubicBezTo>
                    <a:cubicBezTo>
                      <a:pt x="40" y="4"/>
                      <a:pt x="32" y="13"/>
                      <a:pt x="33" y="18"/>
                    </a:cubicBezTo>
                    <a:cubicBezTo>
                      <a:pt x="34" y="23"/>
                      <a:pt x="40" y="27"/>
                      <a:pt x="43" y="31"/>
                    </a:cubicBezTo>
                    <a:cubicBezTo>
                      <a:pt x="46" y="36"/>
                      <a:pt x="47" y="39"/>
                      <a:pt x="52" y="43"/>
                    </a:cubicBezTo>
                    <a:cubicBezTo>
                      <a:pt x="56" y="53"/>
                      <a:pt x="61" y="58"/>
                      <a:pt x="66" y="67"/>
                    </a:cubicBezTo>
                    <a:cubicBezTo>
                      <a:pt x="66" y="73"/>
                      <a:pt x="65" y="77"/>
                      <a:pt x="58" y="81"/>
                    </a:cubicBezTo>
                    <a:cubicBezTo>
                      <a:pt x="51" y="85"/>
                      <a:pt x="33" y="91"/>
                      <a:pt x="27" y="90"/>
                    </a:cubicBezTo>
                    <a:cubicBezTo>
                      <a:pt x="25" y="85"/>
                      <a:pt x="23" y="80"/>
                      <a:pt x="21" y="75"/>
                    </a:cubicBezTo>
                    <a:cubicBezTo>
                      <a:pt x="20" y="68"/>
                      <a:pt x="9" y="64"/>
                      <a:pt x="6" y="58"/>
                    </a:cubicBezTo>
                    <a:cubicBezTo>
                      <a:pt x="3" y="53"/>
                      <a:pt x="9" y="52"/>
                      <a:pt x="9" y="48"/>
                    </a:cubicBezTo>
                    <a:cubicBezTo>
                      <a:pt x="9" y="45"/>
                      <a:pt x="7" y="41"/>
                      <a:pt x="6" y="39"/>
                    </a:cubicBezTo>
                    <a:cubicBezTo>
                      <a:pt x="5" y="37"/>
                      <a:pt x="2" y="36"/>
                      <a:pt x="1" y="33"/>
                    </a:cubicBezTo>
                    <a:cubicBezTo>
                      <a:pt x="0" y="27"/>
                      <a:pt x="1" y="24"/>
                      <a:pt x="1" y="21"/>
                    </a:cubicBezTo>
                    <a:cubicBezTo>
                      <a:pt x="1" y="18"/>
                      <a:pt x="1" y="13"/>
                      <a:pt x="1" y="12"/>
                    </a:cubicBezTo>
                    <a:cubicBezTo>
                      <a:pt x="0" y="5"/>
                      <a:pt x="0" y="5"/>
                      <a:pt x="1" y="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43" name="Freeform 20">
                <a:extLst>
                  <a:ext uri="{FF2B5EF4-FFF2-40B4-BE49-F238E27FC236}">
                    <a16:creationId xmlns:a16="http://schemas.microsoft.com/office/drawing/2014/main" id="{1D1816A5-18C9-4FA3-89F8-45D7CF766B7F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721226" y="2882900"/>
                <a:ext cx="149225" cy="100013"/>
              </a:xfrm>
              <a:custGeom>
                <a:avLst/>
                <a:gdLst>
                  <a:gd name="T0" fmla="*/ 21 w 92"/>
                  <a:gd name="T1" fmla="*/ 57 h 63"/>
                  <a:gd name="T2" fmla="*/ 12 w 92"/>
                  <a:gd name="T3" fmla="*/ 53 h 63"/>
                  <a:gd name="T4" fmla="*/ 5 w 92"/>
                  <a:gd name="T5" fmla="*/ 44 h 63"/>
                  <a:gd name="T6" fmla="*/ 0 w 92"/>
                  <a:gd name="T7" fmla="*/ 41 h 63"/>
                  <a:gd name="T8" fmla="*/ 11 w 92"/>
                  <a:gd name="T9" fmla="*/ 23 h 63"/>
                  <a:gd name="T10" fmla="*/ 26 w 92"/>
                  <a:gd name="T11" fmla="*/ 11 h 63"/>
                  <a:gd name="T12" fmla="*/ 51 w 92"/>
                  <a:gd name="T13" fmla="*/ 8 h 63"/>
                  <a:gd name="T14" fmla="*/ 66 w 92"/>
                  <a:gd name="T15" fmla="*/ 0 h 63"/>
                  <a:gd name="T16" fmla="*/ 92 w 92"/>
                  <a:gd name="T17" fmla="*/ 5 h 63"/>
                  <a:gd name="T18" fmla="*/ 84 w 92"/>
                  <a:gd name="T19" fmla="*/ 33 h 63"/>
                  <a:gd name="T20" fmla="*/ 72 w 92"/>
                  <a:gd name="T21" fmla="*/ 50 h 63"/>
                  <a:gd name="T22" fmla="*/ 45 w 92"/>
                  <a:gd name="T23" fmla="*/ 54 h 63"/>
                  <a:gd name="T24" fmla="*/ 32 w 92"/>
                  <a:gd name="T25" fmla="*/ 62 h 63"/>
                  <a:gd name="T26" fmla="*/ 21 w 92"/>
                  <a:gd name="T27" fmla="*/ 57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63">
                    <a:moveTo>
                      <a:pt x="21" y="57"/>
                    </a:moveTo>
                    <a:cubicBezTo>
                      <a:pt x="18" y="55"/>
                      <a:pt x="15" y="55"/>
                      <a:pt x="12" y="53"/>
                    </a:cubicBezTo>
                    <a:cubicBezTo>
                      <a:pt x="9" y="51"/>
                      <a:pt x="8" y="46"/>
                      <a:pt x="5" y="44"/>
                    </a:cubicBezTo>
                    <a:cubicBezTo>
                      <a:pt x="3" y="43"/>
                      <a:pt x="2" y="42"/>
                      <a:pt x="0" y="41"/>
                    </a:cubicBezTo>
                    <a:cubicBezTo>
                      <a:pt x="2" y="31"/>
                      <a:pt x="1" y="25"/>
                      <a:pt x="11" y="23"/>
                    </a:cubicBezTo>
                    <a:cubicBezTo>
                      <a:pt x="19" y="17"/>
                      <a:pt x="17" y="13"/>
                      <a:pt x="26" y="11"/>
                    </a:cubicBezTo>
                    <a:cubicBezTo>
                      <a:pt x="31" y="2"/>
                      <a:pt x="39" y="6"/>
                      <a:pt x="51" y="8"/>
                    </a:cubicBezTo>
                    <a:cubicBezTo>
                      <a:pt x="60" y="6"/>
                      <a:pt x="59" y="3"/>
                      <a:pt x="66" y="0"/>
                    </a:cubicBezTo>
                    <a:cubicBezTo>
                      <a:pt x="75" y="2"/>
                      <a:pt x="92" y="5"/>
                      <a:pt x="92" y="5"/>
                    </a:cubicBezTo>
                    <a:cubicBezTo>
                      <a:pt x="91" y="16"/>
                      <a:pt x="89" y="24"/>
                      <a:pt x="84" y="33"/>
                    </a:cubicBezTo>
                    <a:cubicBezTo>
                      <a:pt x="80" y="40"/>
                      <a:pt x="78" y="47"/>
                      <a:pt x="72" y="50"/>
                    </a:cubicBezTo>
                    <a:cubicBezTo>
                      <a:pt x="66" y="53"/>
                      <a:pt x="52" y="52"/>
                      <a:pt x="45" y="54"/>
                    </a:cubicBezTo>
                    <a:cubicBezTo>
                      <a:pt x="40" y="60"/>
                      <a:pt x="38" y="59"/>
                      <a:pt x="32" y="62"/>
                    </a:cubicBezTo>
                    <a:cubicBezTo>
                      <a:pt x="22" y="60"/>
                      <a:pt x="25" y="63"/>
                      <a:pt x="21" y="5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44" name="Freeform 21">
                <a:extLst>
                  <a:ext uri="{FF2B5EF4-FFF2-40B4-BE49-F238E27FC236}">
                    <a16:creationId xmlns:a16="http://schemas.microsoft.com/office/drawing/2014/main" id="{1BB3501F-76B1-4FE2-BB26-0BAAFCB52350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729163" y="2835275"/>
                <a:ext cx="147638" cy="76200"/>
              </a:xfrm>
              <a:custGeom>
                <a:avLst/>
                <a:gdLst>
                  <a:gd name="T0" fmla="*/ 90 w 91"/>
                  <a:gd name="T1" fmla="*/ 35 h 48"/>
                  <a:gd name="T2" fmla="*/ 91 w 91"/>
                  <a:gd name="T3" fmla="*/ 18 h 48"/>
                  <a:gd name="T4" fmla="*/ 51 w 91"/>
                  <a:gd name="T5" fmla="*/ 11 h 48"/>
                  <a:gd name="T6" fmla="*/ 25 w 91"/>
                  <a:gd name="T7" fmla="*/ 12 h 48"/>
                  <a:gd name="T8" fmla="*/ 4 w 91"/>
                  <a:gd name="T9" fmla="*/ 24 h 48"/>
                  <a:gd name="T10" fmla="*/ 10 w 91"/>
                  <a:gd name="T11" fmla="*/ 45 h 48"/>
                  <a:gd name="T12" fmla="*/ 25 w 91"/>
                  <a:gd name="T13" fmla="*/ 36 h 48"/>
                  <a:gd name="T14" fmla="*/ 49 w 91"/>
                  <a:gd name="T15" fmla="*/ 35 h 48"/>
                  <a:gd name="T16" fmla="*/ 90 w 91"/>
                  <a:gd name="T17" fmla="*/ 3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48">
                    <a:moveTo>
                      <a:pt x="90" y="35"/>
                    </a:moveTo>
                    <a:cubicBezTo>
                      <a:pt x="91" y="27"/>
                      <a:pt x="90" y="26"/>
                      <a:pt x="91" y="18"/>
                    </a:cubicBezTo>
                    <a:cubicBezTo>
                      <a:pt x="88" y="0"/>
                      <a:pt x="66" y="10"/>
                      <a:pt x="51" y="11"/>
                    </a:cubicBezTo>
                    <a:cubicBezTo>
                      <a:pt x="42" y="8"/>
                      <a:pt x="34" y="10"/>
                      <a:pt x="25" y="12"/>
                    </a:cubicBezTo>
                    <a:cubicBezTo>
                      <a:pt x="16" y="19"/>
                      <a:pt x="17" y="23"/>
                      <a:pt x="4" y="24"/>
                    </a:cubicBezTo>
                    <a:cubicBezTo>
                      <a:pt x="0" y="30"/>
                      <a:pt x="4" y="40"/>
                      <a:pt x="10" y="45"/>
                    </a:cubicBezTo>
                    <a:cubicBezTo>
                      <a:pt x="13" y="48"/>
                      <a:pt x="19" y="38"/>
                      <a:pt x="25" y="36"/>
                    </a:cubicBezTo>
                    <a:cubicBezTo>
                      <a:pt x="31" y="34"/>
                      <a:pt x="38" y="35"/>
                      <a:pt x="49" y="35"/>
                    </a:cubicBezTo>
                    <a:cubicBezTo>
                      <a:pt x="63" y="27"/>
                      <a:pt x="66" y="32"/>
                      <a:pt x="90" y="3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45" name="Freeform 22">
                <a:extLst>
                  <a:ext uri="{FF2B5EF4-FFF2-40B4-BE49-F238E27FC236}">
                    <a16:creationId xmlns:a16="http://schemas.microsoft.com/office/drawing/2014/main" id="{8EB73B68-076A-4E5A-8390-5E55D7A2E177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625976" y="2792413"/>
                <a:ext cx="161925" cy="88900"/>
              </a:xfrm>
              <a:custGeom>
                <a:avLst/>
                <a:gdLst>
                  <a:gd name="T0" fmla="*/ 100 w 100"/>
                  <a:gd name="T1" fmla="*/ 35 h 56"/>
                  <a:gd name="T2" fmla="*/ 86 w 100"/>
                  <a:gd name="T3" fmla="*/ 26 h 56"/>
                  <a:gd name="T4" fmla="*/ 55 w 100"/>
                  <a:gd name="T5" fmla="*/ 3 h 56"/>
                  <a:gd name="T6" fmla="*/ 35 w 100"/>
                  <a:gd name="T7" fmla="*/ 2 h 56"/>
                  <a:gd name="T8" fmla="*/ 20 w 100"/>
                  <a:gd name="T9" fmla="*/ 12 h 56"/>
                  <a:gd name="T10" fmla="*/ 2 w 100"/>
                  <a:gd name="T11" fmla="*/ 23 h 56"/>
                  <a:gd name="T12" fmla="*/ 11 w 100"/>
                  <a:gd name="T13" fmla="*/ 38 h 56"/>
                  <a:gd name="T14" fmla="*/ 23 w 100"/>
                  <a:gd name="T15" fmla="*/ 56 h 56"/>
                  <a:gd name="T16" fmla="*/ 41 w 100"/>
                  <a:gd name="T17" fmla="*/ 45 h 56"/>
                  <a:gd name="T18" fmla="*/ 59 w 100"/>
                  <a:gd name="T19" fmla="*/ 56 h 56"/>
                  <a:gd name="T20" fmla="*/ 64 w 100"/>
                  <a:gd name="T21" fmla="*/ 54 h 56"/>
                  <a:gd name="T22" fmla="*/ 68 w 100"/>
                  <a:gd name="T23" fmla="*/ 56 h 56"/>
                  <a:gd name="T24" fmla="*/ 88 w 100"/>
                  <a:gd name="T25" fmla="*/ 42 h 56"/>
                  <a:gd name="T26" fmla="*/ 100 w 100"/>
                  <a:gd name="T27" fmla="*/ 3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0" h="56">
                    <a:moveTo>
                      <a:pt x="100" y="35"/>
                    </a:moveTo>
                    <a:cubicBezTo>
                      <a:pt x="94" y="32"/>
                      <a:pt x="93" y="27"/>
                      <a:pt x="86" y="26"/>
                    </a:cubicBezTo>
                    <a:cubicBezTo>
                      <a:pt x="75" y="18"/>
                      <a:pt x="66" y="11"/>
                      <a:pt x="55" y="3"/>
                    </a:cubicBezTo>
                    <a:cubicBezTo>
                      <a:pt x="47" y="0"/>
                      <a:pt x="41" y="1"/>
                      <a:pt x="35" y="2"/>
                    </a:cubicBezTo>
                    <a:cubicBezTo>
                      <a:pt x="29" y="3"/>
                      <a:pt x="25" y="9"/>
                      <a:pt x="20" y="12"/>
                    </a:cubicBezTo>
                    <a:cubicBezTo>
                      <a:pt x="13" y="20"/>
                      <a:pt x="6" y="13"/>
                      <a:pt x="2" y="23"/>
                    </a:cubicBezTo>
                    <a:cubicBezTo>
                      <a:pt x="6" y="41"/>
                      <a:pt x="0" y="29"/>
                      <a:pt x="11" y="38"/>
                    </a:cubicBezTo>
                    <a:cubicBezTo>
                      <a:pt x="13" y="43"/>
                      <a:pt x="20" y="51"/>
                      <a:pt x="23" y="56"/>
                    </a:cubicBezTo>
                    <a:cubicBezTo>
                      <a:pt x="30" y="53"/>
                      <a:pt x="35" y="49"/>
                      <a:pt x="41" y="45"/>
                    </a:cubicBezTo>
                    <a:cubicBezTo>
                      <a:pt x="47" y="49"/>
                      <a:pt x="53" y="52"/>
                      <a:pt x="59" y="56"/>
                    </a:cubicBezTo>
                    <a:cubicBezTo>
                      <a:pt x="61" y="55"/>
                      <a:pt x="62" y="54"/>
                      <a:pt x="64" y="54"/>
                    </a:cubicBezTo>
                    <a:cubicBezTo>
                      <a:pt x="65" y="54"/>
                      <a:pt x="67" y="56"/>
                      <a:pt x="68" y="56"/>
                    </a:cubicBezTo>
                    <a:cubicBezTo>
                      <a:pt x="75" y="55"/>
                      <a:pt x="80" y="43"/>
                      <a:pt x="88" y="42"/>
                    </a:cubicBezTo>
                    <a:cubicBezTo>
                      <a:pt x="91" y="37"/>
                      <a:pt x="94" y="31"/>
                      <a:pt x="100" y="3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46" name="Freeform 23">
                <a:extLst>
                  <a:ext uri="{FF2B5EF4-FFF2-40B4-BE49-F238E27FC236}">
                    <a16:creationId xmlns:a16="http://schemas.microsoft.com/office/drawing/2014/main" id="{D292168E-9E29-4536-A1AD-27BD014C227D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5183188" y="3248025"/>
                <a:ext cx="142875" cy="146050"/>
              </a:xfrm>
              <a:custGeom>
                <a:avLst/>
                <a:gdLst>
                  <a:gd name="T0" fmla="*/ 89 w 89"/>
                  <a:gd name="T1" fmla="*/ 6 h 92"/>
                  <a:gd name="T2" fmla="*/ 62 w 89"/>
                  <a:gd name="T3" fmla="*/ 12 h 92"/>
                  <a:gd name="T4" fmla="*/ 50 w 89"/>
                  <a:gd name="T5" fmla="*/ 15 h 92"/>
                  <a:gd name="T6" fmla="*/ 8 w 89"/>
                  <a:gd name="T7" fmla="*/ 16 h 92"/>
                  <a:gd name="T8" fmla="*/ 10 w 89"/>
                  <a:gd name="T9" fmla="*/ 54 h 92"/>
                  <a:gd name="T10" fmla="*/ 5 w 89"/>
                  <a:gd name="T11" fmla="*/ 78 h 92"/>
                  <a:gd name="T12" fmla="*/ 19 w 89"/>
                  <a:gd name="T13" fmla="*/ 85 h 92"/>
                  <a:gd name="T14" fmla="*/ 28 w 89"/>
                  <a:gd name="T15" fmla="*/ 82 h 92"/>
                  <a:gd name="T16" fmla="*/ 55 w 89"/>
                  <a:gd name="T17" fmla="*/ 70 h 92"/>
                  <a:gd name="T18" fmla="*/ 73 w 89"/>
                  <a:gd name="T19" fmla="*/ 52 h 92"/>
                  <a:gd name="T20" fmla="*/ 82 w 89"/>
                  <a:gd name="T21" fmla="*/ 39 h 92"/>
                  <a:gd name="T22" fmla="*/ 89 w 89"/>
                  <a:gd name="T23" fmla="*/ 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92">
                    <a:moveTo>
                      <a:pt x="89" y="6"/>
                    </a:moveTo>
                    <a:cubicBezTo>
                      <a:pt x="77" y="4"/>
                      <a:pt x="69" y="0"/>
                      <a:pt x="62" y="12"/>
                    </a:cubicBezTo>
                    <a:cubicBezTo>
                      <a:pt x="60" y="21"/>
                      <a:pt x="58" y="16"/>
                      <a:pt x="50" y="15"/>
                    </a:cubicBezTo>
                    <a:cubicBezTo>
                      <a:pt x="36" y="15"/>
                      <a:pt x="22" y="14"/>
                      <a:pt x="8" y="16"/>
                    </a:cubicBezTo>
                    <a:cubicBezTo>
                      <a:pt x="3" y="17"/>
                      <a:pt x="0" y="48"/>
                      <a:pt x="10" y="54"/>
                    </a:cubicBezTo>
                    <a:cubicBezTo>
                      <a:pt x="17" y="63"/>
                      <a:pt x="12" y="71"/>
                      <a:pt x="5" y="78"/>
                    </a:cubicBezTo>
                    <a:cubicBezTo>
                      <a:pt x="8" y="84"/>
                      <a:pt x="13" y="84"/>
                      <a:pt x="19" y="85"/>
                    </a:cubicBezTo>
                    <a:cubicBezTo>
                      <a:pt x="23" y="92"/>
                      <a:pt x="21" y="86"/>
                      <a:pt x="28" y="82"/>
                    </a:cubicBezTo>
                    <a:cubicBezTo>
                      <a:pt x="30" y="68"/>
                      <a:pt x="42" y="72"/>
                      <a:pt x="55" y="70"/>
                    </a:cubicBezTo>
                    <a:cubicBezTo>
                      <a:pt x="65" y="63"/>
                      <a:pt x="58" y="59"/>
                      <a:pt x="73" y="52"/>
                    </a:cubicBezTo>
                    <a:cubicBezTo>
                      <a:pt x="76" y="48"/>
                      <a:pt x="79" y="43"/>
                      <a:pt x="82" y="39"/>
                    </a:cubicBezTo>
                    <a:cubicBezTo>
                      <a:pt x="84" y="27"/>
                      <a:pt x="78" y="14"/>
                      <a:pt x="89" y="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47" name="Freeform 24">
                <a:extLst>
                  <a:ext uri="{FF2B5EF4-FFF2-40B4-BE49-F238E27FC236}">
                    <a16:creationId xmlns:a16="http://schemas.microsoft.com/office/drawing/2014/main" id="{593A8B36-A1D8-4746-9FE9-F896DC025FE3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5103813" y="3292475"/>
                <a:ext cx="63500" cy="39688"/>
              </a:xfrm>
              <a:custGeom>
                <a:avLst/>
                <a:gdLst>
                  <a:gd name="T0" fmla="*/ 0 w 39"/>
                  <a:gd name="T1" fmla="*/ 12 h 25"/>
                  <a:gd name="T2" fmla="*/ 30 w 39"/>
                  <a:gd name="T3" fmla="*/ 0 h 25"/>
                  <a:gd name="T4" fmla="*/ 29 w 39"/>
                  <a:gd name="T5" fmla="*/ 8 h 25"/>
                  <a:gd name="T6" fmla="*/ 21 w 39"/>
                  <a:gd name="T7" fmla="*/ 21 h 25"/>
                  <a:gd name="T8" fmla="*/ 2 w 39"/>
                  <a:gd name="T9" fmla="*/ 23 h 25"/>
                  <a:gd name="T10" fmla="*/ 0 w 39"/>
                  <a:gd name="T11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25">
                    <a:moveTo>
                      <a:pt x="0" y="12"/>
                    </a:moveTo>
                    <a:cubicBezTo>
                      <a:pt x="17" y="9"/>
                      <a:pt x="18" y="9"/>
                      <a:pt x="30" y="0"/>
                    </a:cubicBezTo>
                    <a:cubicBezTo>
                      <a:pt x="39" y="3"/>
                      <a:pt x="35" y="5"/>
                      <a:pt x="29" y="8"/>
                    </a:cubicBezTo>
                    <a:cubicBezTo>
                      <a:pt x="35" y="16"/>
                      <a:pt x="29" y="19"/>
                      <a:pt x="21" y="21"/>
                    </a:cubicBezTo>
                    <a:cubicBezTo>
                      <a:pt x="14" y="25"/>
                      <a:pt x="10" y="24"/>
                      <a:pt x="2" y="23"/>
                    </a:cubicBezTo>
                    <a:cubicBezTo>
                      <a:pt x="0" y="14"/>
                      <a:pt x="0" y="18"/>
                      <a:pt x="0" y="1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48" name="Freeform 25">
                <a:extLst>
                  <a:ext uri="{FF2B5EF4-FFF2-40B4-BE49-F238E27FC236}">
                    <a16:creationId xmlns:a16="http://schemas.microsoft.com/office/drawing/2014/main" id="{5D1D8249-F805-41B6-A108-7CBA8FD94C0F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935538" y="3090863"/>
                <a:ext cx="479425" cy="190500"/>
              </a:xfrm>
              <a:custGeom>
                <a:avLst/>
                <a:gdLst>
                  <a:gd name="T0" fmla="*/ 61 w 297"/>
                  <a:gd name="T1" fmla="*/ 24 h 120"/>
                  <a:gd name="T2" fmla="*/ 44 w 297"/>
                  <a:gd name="T3" fmla="*/ 9 h 120"/>
                  <a:gd name="T4" fmla="*/ 29 w 297"/>
                  <a:gd name="T5" fmla="*/ 0 h 120"/>
                  <a:gd name="T6" fmla="*/ 19 w 297"/>
                  <a:gd name="T7" fmla="*/ 10 h 120"/>
                  <a:gd name="T8" fmla="*/ 2 w 297"/>
                  <a:gd name="T9" fmla="*/ 42 h 120"/>
                  <a:gd name="T10" fmla="*/ 5 w 297"/>
                  <a:gd name="T11" fmla="*/ 64 h 120"/>
                  <a:gd name="T12" fmla="*/ 20 w 297"/>
                  <a:gd name="T13" fmla="*/ 63 h 120"/>
                  <a:gd name="T14" fmla="*/ 22 w 297"/>
                  <a:gd name="T15" fmla="*/ 85 h 120"/>
                  <a:gd name="T16" fmla="*/ 53 w 297"/>
                  <a:gd name="T17" fmla="*/ 115 h 120"/>
                  <a:gd name="T18" fmla="*/ 68 w 297"/>
                  <a:gd name="T19" fmla="*/ 120 h 120"/>
                  <a:gd name="T20" fmla="*/ 82 w 297"/>
                  <a:gd name="T21" fmla="*/ 109 h 120"/>
                  <a:gd name="T22" fmla="*/ 109 w 297"/>
                  <a:gd name="T23" fmla="*/ 115 h 120"/>
                  <a:gd name="T24" fmla="*/ 133 w 297"/>
                  <a:gd name="T25" fmla="*/ 111 h 120"/>
                  <a:gd name="T26" fmla="*/ 167 w 297"/>
                  <a:gd name="T27" fmla="*/ 114 h 120"/>
                  <a:gd name="T28" fmla="*/ 182 w 297"/>
                  <a:gd name="T29" fmla="*/ 114 h 120"/>
                  <a:gd name="T30" fmla="*/ 211 w 297"/>
                  <a:gd name="T31" fmla="*/ 114 h 120"/>
                  <a:gd name="T32" fmla="*/ 222 w 297"/>
                  <a:gd name="T33" fmla="*/ 103 h 120"/>
                  <a:gd name="T34" fmla="*/ 232 w 297"/>
                  <a:gd name="T35" fmla="*/ 102 h 120"/>
                  <a:gd name="T36" fmla="*/ 248 w 297"/>
                  <a:gd name="T37" fmla="*/ 103 h 120"/>
                  <a:gd name="T38" fmla="*/ 269 w 297"/>
                  <a:gd name="T39" fmla="*/ 108 h 120"/>
                  <a:gd name="T40" fmla="*/ 272 w 297"/>
                  <a:gd name="T41" fmla="*/ 103 h 120"/>
                  <a:gd name="T42" fmla="*/ 284 w 297"/>
                  <a:gd name="T43" fmla="*/ 105 h 120"/>
                  <a:gd name="T44" fmla="*/ 274 w 297"/>
                  <a:gd name="T45" fmla="*/ 45 h 120"/>
                  <a:gd name="T46" fmla="*/ 262 w 297"/>
                  <a:gd name="T47" fmla="*/ 21 h 120"/>
                  <a:gd name="T48" fmla="*/ 230 w 297"/>
                  <a:gd name="T49" fmla="*/ 28 h 120"/>
                  <a:gd name="T50" fmla="*/ 193 w 297"/>
                  <a:gd name="T51" fmla="*/ 30 h 120"/>
                  <a:gd name="T52" fmla="*/ 164 w 297"/>
                  <a:gd name="T53" fmla="*/ 15 h 120"/>
                  <a:gd name="T54" fmla="*/ 146 w 297"/>
                  <a:gd name="T55" fmla="*/ 6 h 120"/>
                  <a:gd name="T56" fmla="*/ 98 w 297"/>
                  <a:gd name="T57" fmla="*/ 15 h 120"/>
                  <a:gd name="T58" fmla="*/ 86 w 297"/>
                  <a:gd name="T59" fmla="*/ 22 h 120"/>
                  <a:gd name="T60" fmla="*/ 61 w 297"/>
                  <a:gd name="T61" fmla="*/ 24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7" h="120">
                    <a:moveTo>
                      <a:pt x="61" y="24"/>
                    </a:moveTo>
                    <a:cubicBezTo>
                      <a:pt x="46" y="21"/>
                      <a:pt x="50" y="20"/>
                      <a:pt x="44" y="9"/>
                    </a:cubicBezTo>
                    <a:cubicBezTo>
                      <a:pt x="39" y="5"/>
                      <a:pt x="33" y="0"/>
                      <a:pt x="29" y="0"/>
                    </a:cubicBezTo>
                    <a:cubicBezTo>
                      <a:pt x="25" y="0"/>
                      <a:pt x="23" y="3"/>
                      <a:pt x="19" y="10"/>
                    </a:cubicBezTo>
                    <a:cubicBezTo>
                      <a:pt x="22" y="30"/>
                      <a:pt x="17" y="33"/>
                      <a:pt x="2" y="42"/>
                    </a:cubicBezTo>
                    <a:cubicBezTo>
                      <a:pt x="1" y="50"/>
                      <a:pt x="0" y="57"/>
                      <a:pt x="5" y="64"/>
                    </a:cubicBezTo>
                    <a:cubicBezTo>
                      <a:pt x="12" y="63"/>
                      <a:pt x="14" y="59"/>
                      <a:pt x="20" y="63"/>
                    </a:cubicBezTo>
                    <a:cubicBezTo>
                      <a:pt x="19" y="71"/>
                      <a:pt x="11" y="83"/>
                      <a:pt x="22" y="85"/>
                    </a:cubicBezTo>
                    <a:cubicBezTo>
                      <a:pt x="27" y="108"/>
                      <a:pt x="27" y="113"/>
                      <a:pt x="53" y="115"/>
                    </a:cubicBezTo>
                    <a:cubicBezTo>
                      <a:pt x="58" y="117"/>
                      <a:pt x="63" y="118"/>
                      <a:pt x="68" y="120"/>
                    </a:cubicBezTo>
                    <a:cubicBezTo>
                      <a:pt x="74" y="117"/>
                      <a:pt x="77" y="114"/>
                      <a:pt x="82" y="109"/>
                    </a:cubicBezTo>
                    <a:cubicBezTo>
                      <a:pt x="90" y="113"/>
                      <a:pt x="109" y="115"/>
                      <a:pt x="109" y="115"/>
                    </a:cubicBezTo>
                    <a:cubicBezTo>
                      <a:pt x="118" y="114"/>
                      <a:pt x="124" y="112"/>
                      <a:pt x="133" y="111"/>
                    </a:cubicBezTo>
                    <a:cubicBezTo>
                      <a:pt x="143" y="110"/>
                      <a:pt x="159" y="114"/>
                      <a:pt x="167" y="114"/>
                    </a:cubicBezTo>
                    <a:cubicBezTo>
                      <a:pt x="175" y="114"/>
                      <a:pt x="175" y="114"/>
                      <a:pt x="182" y="114"/>
                    </a:cubicBezTo>
                    <a:cubicBezTo>
                      <a:pt x="189" y="114"/>
                      <a:pt x="204" y="116"/>
                      <a:pt x="211" y="114"/>
                    </a:cubicBezTo>
                    <a:cubicBezTo>
                      <a:pt x="218" y="112"/>
                      <a:pt x="219" y="105"/>
                      <a:pt x="222" y="103"/>
                    </a:cubicBezTo>
                    <a:cubicBezTo>
                      <a:pt x="225" y="101"/>
                      <a:pt x="228" y="102"/>
                      <a:pt x="232" y="102"/>
                    </a:cubicBezTo>
                    <a:cubicBezTo>
                      <a:pt x="236" y="102"/>
                      <a:pt x="242" y="102"/>
                      <a:pt x="248" y="103"/>
                    </a:cubicBezTo>
                    <a:cubicBezTo>
                      <a:pt x="254" y="104"/>
                      <a:pt x="265" y="108"/>
                      <a:pt x="269" y="108"/>
                    </a:cubicBezTo>
                    <a:cubicBezTo>
                      <a:pt x="273" y="108"/>
                      <a:pt x="270" y="103"/>
                      <a:pt x="272" y="103"/>
                    </a:cubicBezTo>
                    <a:cubicBezTo>
                      <a:pt x="274" y="103"/>
                      <a:pt x="284" y="115"/>
                      <a:pt x="284" y="105"/>
                    </a:cubicBezTo>
                    <a:cubicBezTo>
                      <a:pt x="297" y="84"/>
                      <a:pt x="292" y="59"/>
                      <a:pt x="274" y="45"/>
                    </a:cubicBezTo>
                    <a:cubicBezTo>
                      <a:pt x="268" y="29"/>
                      <a:pt x="274" y="33"/>
                      <a:pt x="262" y="21"/>
                    </a:cubicBezTo>
                    <a:cubicBezTo>
                      <a:pt x="246" y="22"/>
                      <a:pt x="243" y="25"/>
                      <a:pt x="230" y="28"/>
                    </a:cubicBezTo>
                    <a:cubicBezTo>
                      <a:pt x="218" y="34"/>
                      <a:pt x="208" y="31"/>
                      <a:pt x="193" y="30"/>
                    </a:cubicBezTo>
                    <a:cubicBezTo>
                      <a:pt x="183" y="26"/>
                      <a:pt x="175" y="17"/>
                      <a:pt x="164" y="15"/>
                    </a:cubicBezTo>
                    <a:cubicBezTo>
                      <a:pt x="158" y="11"/>
                      <a:pt x="153" y="7"/>
                      <a:pt x="146" y="6"/>
                    </a:cubicBezTo>
                    <a:cubicBezTo>
                      <a:pt x="117" y="7"/>
                      <a:pt x="116" y="4"/>
                      <a:pt x="98" y="15"/>
                    </a:cubicBezTo>
                    <a:cubicBezTo>
                      <a:pt x="94" y="20"/>
                      <a:pt x="92" y="21"/>
                      <a:pt x="86" y="22"/>
                    </a:cubicBezTo>
                    <a:cubicBezTo>
                      <a:pt x="76" y="27"/>
                      <a:pt x="83" y="24"/>
                      <a:pt x="61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49" name="Freeform 26">
                <a:extLst>
                  <a:ext uri="{FF2B5EF4-FFF2-40B4-BE49-F238E27FC236}">
                    <a16:creationId xmlns:a16="http://schemas.microsoft.com/office/drawing/2014/main" id="{77F6C2A5-884F-48F1-9EBB-690344F9FB1B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624388" y="4073525"/>
                <a:ext cx="449263" cy="415925"/>
              </a:xfrm>
              <a:custGeom>
                <a:avLst/>
                <a:gdLst>
                  <a:gd name="T0" fmla="*/ 8 w 278"/>
                  <a:gd name="T1" fmla="*/ 170 h 262"/>
                  <a:gd name="T2" fmla="*/ 0 w 278"/>
                  <a:gd name="T3" fmla="*/ 156 h 262"/>
                  <a:gd name="T4" fmla="*/ 15 w 278"/>
                  <a:gd name="T5" fmla="*/ 141 h 262"/>
                  <a:gd name="T6" fmla="*/ 33 w 278"/>
                  <a:gd name="T7" fmla="*/ 141 h 262"/>
                  <a:gd name="T8" fmla="*/ 53 w 278"/>
                  <a:gd name="T9" fmla="*/ 135 h 262"/>
                  <a:gd name="T10" fmla="*/ 68 w 278"/>
                  <a:gd name="T11" fmla="*/ 107 h 262"/>
                  <a:gd name="T12" fmla="*/ 84 w 278"/>
                  <a:gd name="T13" fmla="*/ 90 h 262"/>
                  <a:gd name="T14" fmla="*/ 84 w 278"/>
                  <a:gd name="T15" fmla="*/ 72 h 262"/>
                  <a:gd name="T16" fmla="*/ 92 w 278"/>
                  <a:gd name="T17" fmla="*/ 53 h 262"/>
                  <a:gd name="T18" fmla="*/ 98 w 278"/>
                  <a:gd name="T19" fmla="*/ 18 h 262"/>
                  <a:gd name="T20" fmla="*/ 108 w 278"/>
                  <a:gd name="T21" fmla="*/ 0 h 262"/>
                  <a:gd name="T22" fmla="*/ 144 w 278"/>
                  <a:gd name="T23" fmla="*/ 14 h 262"/>
                  <a:gd name="T24" fmla="*/ 158 w 278"/>
                  <a:gd name="T25" fmla="*/ 12 h 262"/>
                  <a:gd name="T26" fmla="*/ 188 w 278"/>
                  <a:gd name="T27" fmla="*/ 5 h 262"/>
                  <a:gd name="T28" fmla="*/ 209 w 278"/>
                  <a:gd name="T29" fmla="*/ 0 h 262"/>
                  <a:gd name="T30" fmla="*/ 233 w 278"/>
                  <a:gd name="T31" fmla="*/ 6 h 262"/>
                  <a:gd name="T32" fmla="*/ 261 w 278"/>
                  <a:gd name="T33" fmla="*/ 12 h 262"/>
                  <a:gd name="T34" fmla="*/ 272 w 278"/>
                  <a:gd name="T35" fmla="*/ 24 h 262"/>
                  <a:gd name="T36" fmla="*/ 278 w 278"/>
                  <a:gd name="T37" fmla="*/ 39 h 262"/>
                  <a:gd name="T38" fmla="*/ 264 w 278"/>
                  <a:gd name="T39" fmla="*/ 65 h 262"/>
                  <a:gd name="T40" fmla="*/ 258 w 278"/>
                  <a:gd name="T41" fmla="*/ 90 h 262"/>
                  <a:gd name="T42" fmla="*/ 249 w 278"/>
                  <a:gd name="T43" fmla="*/ 110 h 262"/>
                  <a:gd name="T44" fmla="*/ 257 w 278"/>
                  <a:gd name="T45" fmla="*/ 171 h 262"/>
                  <a:gd name="T46" fmla="*/ 272 w 278"/>
                  <a:gd name="T47" fmla="*/ 182 h 262"/>
                  <a:gd name="T48" fmla="*/ 243 w 278"/>
                  <a:gd name="T49" fmla="*/ 204 h 262"/>
                  <a:gd name="T50" fmla="*/ 237 w 278"/>
                  <a:gd name="T51" fmla="*/ 255 h 262"/>
                  <a:gd name="T52" fmla="*/ 219 w 278"/>
                  <a:gd name="T53" fmla="*/ 249 h 262"/>
                  <a:gd name="T54" fmla="*/ 197 w 278"/>
                  <a:gd name="T55" fmla="*/ 245 h 262"/>
                  <a:gd name="T56" fmla="*/ 169 w 278"/>
                  <a:gd name="T57" fmla="*/ 240 h 262"/>
                  <a:gd name="T58" fmla="*/ 150 w 278"/>
                  <a:gd name="T59" fmla="*/ 236 h 262"/>
                  <a:gd name="T60" fmla="*/ 146 w 278"/>
                  <a:gd name="T61" fmla="*/ 227 h 262"/>
                  <a:gd name="T62" fmla="*/ 148 w 278"/>
                  <a:gd name="T63" fmla="*/ 209 h 262"/>
                  <a:gd name="T64" fmla="*/ 141 w 278"/>
                  <a:gd name="T65" fmla="*/ 195 h 262"/>
                  <a:gd name="T66" fmla="*/ 128 w 278"/>
                  <a:gd name="T67" fmla="*/ 186 h 262"/>
                  <a:gd name="T68" fmla="*/ 109 w 278"/>
                  <a:gd name="T69" fmla="*/ 189 h 262"/>
                  <a:gd name="T70" fmla="*/ 90 w 278"/>
                  <a:gd name="T71" fmla="*/ 194 h 262"/>
                  <a:gd name="T72" fmla="*/ 68 w 278"/>
                  <a:gd name="T73" fmla="*/ 176 h 262"/>
                  <a:gd name="T74" fmla="*/ 63 w 278"/>
                  <a:gd name="T75" fmla="*/ 165 h 262"/>
                  <a:gd name="T76" fmla="*/ 44 w 278"/>
                  <a:gd name="T77" fmla="*/ 164 h 262"/>
                  <a:gd name="T78" fmla="*/ 8 w 278"/>
                  <a:gd name="T79" fmla="*/ 17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8" h="262">
                    <a:moveTo>
                      <a:pt x="8" y="170"/>
                    </a:moveTo>
                    <a:cubicBezTo>
                      <a:pt x="5" y="163"/>
                      <a:pt x="7" y="160"/>
                      <a:pt x="0" y="156"/>
                    </a:cubicBezTo>
                    <a:cubicBezTo>
                      <a:pt x="1" y="151"/>
                      <a:pt x="10" y="143"/>
                      <a:pt x="15" y="141"/>
                    </a:cubicBezTo>
                    <a:cubicBezTo>
                      <a:pt x="20" y="139"/>
                      <a:pt x="27" y="142"/>
                      <a:pt x="33" y="141"/>
                    </a:cubicBezTo>
                    <a:cubicBezTo>
                      <a:pt x="39" y="137"/>
                      <a:pt x="46" y="137"/>
                      <a:pt x="53" y="135"/>
                    </a:cubicBezTo>
                    <a:cubicBezTo>
                      <a:pt x="62" y="128"/>
                      <a:pt x="52" y="117"/>
                      <a:pt x="68" y="107"/>
                    </a:cubicBezTo>
                    <a:cubicBezTo>
                      <a:pt x="77" y="92"/>
                      <a:pt x="66" y="95"/>
                      <a:pt x="84" y="90"/>
                    </a:cubicBezTo>
                    <a:cubicBezTo>
                      <a:pt x="89" y="84"/>
                      <a:pt x="87" y="79"/>
                      <a:pt x="84" y="72"/>
                    </a:cubicBezTo>
                    <a:cubicBezTo>
                      <a:pt x="86" y="57"/>
                      <a:pt x="87" y="63"/>
                      <a:pt x="92" y="53"/>
                    </a:cubicBezTo>
                    <a:cubicBezTo>
                      <a:pt x="87" y="40"/>
                      <a:pt x="91" y="30"/>
                      <a:pt x="98" y="18"/>
                    </a:cubicBezTo>
                    <a:cubicBezTo>
                      <a:pt x="99" y="10"/>
                      <a:pt x="100" y="4"/>
                      <a:pt x="108" y="0"/>
                    </a:cubicBezTo>
                    <a:cubicBezTo>
                      <a:pt x="122" y="2"/>
                      <a:pt x="130" y="13"/>
                      <a:pt x="144" y="14"/>
                    </a:cubicBezTo>
                    <a:cubicBezTo>
                      <a:pt x="151" y="18"/>
                      <a:pt x="149" y="15"/>
                      <a:pt x="158" y="12"/>
                    </a:cubicBezTo>
                    <a:cubicBezTo>
                      <a:pt x="169" y="4"/>
                      <a:pt x="170" y="6"/>
                      <a:pt x="188" y="5"/>
                    </a:cubicBezTo>
                    <a:cubicBezTo>
                      <a:pt x="196" y="3"/>
                      <a:pt x="202" y="0"/>
                      <a:pt x="209" y="0"/>
                    </a:cubicBezTo>
                    <a:cubicBezTo>
                      <a:pt x="216" y="0"/>
                      <a:pt x="224" y="4"/>
                      <a:pt x="233" y="6"/>
                    </a:cubicBezTo>
                    <a:cubicBezTo>
                      <a:pt x="245" y="12"/>
                      <a:pt x="243" y="11"/>
                      <a:pt x="261" y="12"/>
                    </a:cubicBezTo>
                    <a:cubicBezTo>
                      <a:pt x="267" y="15"/>
                      <a:pt x="268" y="19"/>
                      <a:pt x="272" y="24"/>
                    </a:cubicBezTo>
                    <a:cubicBezTo>
                      <a:pt x="273" y="30"/>
                      <a:pt x="274" y="34"/>
                      <a:pt x="278" y="39"/>
                    </a:cubicBezTo>
                    <a:cubicBezTo>
                      <a:pt x="276" y="50"/>
                      <a:pt x="269" y="57"/>
                      <a:pt x="264" y="65"/>
                    </a:cubicBezTo>
                    <a:cubicBezTo>
                      <a:pt x="262" y="75"/>
                      <a:pt x="267" y="89"/>
                      <a:pt x="258" y="90"/>
                    </a:cubicBezTo>
                    <a:cubicBezTo>
                      <a:pt x="257" y="102"/>
                      <a:pt x="259" y="106"/>
                      <a:pt x="249" y="110"/>
                    </a:cubicBezTo>
                    <a:cubicBezTo>
                      <a:pt x="251" y="130"/>
                      <a:pt x="248" y="153"/>
                      <a:pt x="257" y="171"/>
                    </a:cubicBezTo>
                    <a:cubicBezTo>
                      <a:pt x="258" y="177"/>
                      <a:pt x="266" y="179"/>
                      <a:pt x="272" y="182"/>
                    </a:cubicBezTo>
                    <a:cubicBezTo>
                      <a:pt x="276" y="206"/>
                      <a:pt x="263" y="202"/>
                      <a:pt x="243" y="204"/>
                    </a:cubicBezTo>
                    <a:cubicBezTo>
                      <a:pt x="236" y="216"/>
                      <a:pt x="245" y="248"/>
                      <a:pt x="237" y="255"/>
                    </a:cubicBezTo>
                    <a:cubicBezTo>
                      <a:pt x="233" y="262"/>
                      <a:pt x="226" y="251"/>
                      <a:pt x="219" y="249"/>
                    </a:cubicBezTo>
                    <a:cubicBezTo>
                      <a:pt x="212" y="247"/>
                      <a:pt x="205" y="247"/>
                      <a:pt x="197" y="245"/>
                    </a:cubicBezTo>
                    <a:cubicBezTo>
                      <a:pt x="189" y="243"/>
                      <a:pt x="177" y="242"/>
                      <a:pt x="169" y="240"/>
                    </a:cubicBezTo>
                    <a:cubicBezTo>
                      <a:pt x="162" y="238"/>
                      <a:pt x="154" y="238"/>
                      <a:pt x="150" y="236"/>
                    </a:cubicBezTo>
                    <a:cubicBezTo>
                      <a:pt x="146" y="234"/>
                      <a:pt x="146" y="231"/>
                      <a:pt x="146" y="227"/>
                    </a:cubicBezTo>
                    <a:cubicBezTo>
                      <a:pt x="142" y="222"/>
                      <a:pt x="149" y="214"/>
                      <a:pt x="148" y="209"/>
                    </a:cubicBezTo>
                    <a:cubicBezTo>
                      <a:pt x="147" y="204"/>
                      <a:pt x="144" y="199"/>
                      <a:pt x="141" y="195"/>
                    </a:cubicBezTo>
                    <a:cubicBezTo>
                      <a:pt x="136" y="193"/>
                      <a:pt x="140" y="191"/>
                      <a:pt x="128" y="186"/>
                    </a:cubicBezTo>
                    <a:cubicBezTo>
                      <a:pt x="123" y="185"/>
                      <a:pt x="115" y="188"/>
                      <a:pt x="109" y="189"/>
                    </a:cubicBezTo>
                    <a:cubicBezTo>
                      <a:pt x="103" y="190"/>
                      <a:pt x="97" y="196"/>
                      <a:pt x="90" y="194"/>
                    </a:cubicBezTo>
                    <a:cubicBezTo>
                      <a:pt x="75" y="192"/>
                      <a:pt x="74" y="187"/>
                      <a:pt x="68" y="176"/>
                    </a:cubicBezTo>
                    <a:cubicBezTo>
                      <a:pt x="63" y="172"/>
                      <a:pt x="67" y="167"/>
                      <a:pt x="63" y="165"/>
                    </a:cubicBezTo>
                    <a:cubicBezTo>
                      <a:pt x="59" y="163"/>
                      <a:pt x="53" y="163"/>
                      <a:pt x="44" y="164"/>
                    </a:cubicBezTo>
                    <a:cubicBezTo>
                      <a:pt x="35" y="165"/>
                      <a:pt x="15" y="169"/>
                      <a:pt x="8" y="17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50" name="Freeform 27">
                <a:extLst>
                  <a:ext uri="{FF2B5EF4-FFF2-40B4-BE49-F238E27FC236}">
                    <a16:creationId xmlns:a16="http://schemas.microsoft.com/office/drawing/2014/main" id="{0E916309-DF9D-4257-8A3E-16E65495824A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5140326" y="4081463"/>
                <a:ext cx="182563" cy="219075"/>
              </a:xfrm>
              <a:custGeom>
                <a:avLst/>
                <a:gdLst>
                  <a:gd name="T0" fmla="*/ 3 w 113"/>
                  <a:gd name="T1" fmla="*/ 88 h 138"/>
                  <a:gd name="T2" fmla="*/ 24 w 113"/>
                  <a:gd name="T3" fmla="*/ 94 h 138"/>
                  <a:gd name="T4" fmla="*/ 37 w 113"/>
                  <a:gd name="T5" fmla="*/ 99 h 138"/>
                  <a:gd name="T6" fmla="*/ 51 w 113"/>
                  <a:gd name="T7" fmla="*/ 117 h 138"/>
                  <a:gd name="T8" fmla="*/ 81 w 113"/>
                  <a:gd name="T9" fmla="*/ 138 h 138"/>
                  <a:gd name="T10" fmla="*/ 99 w 113"/>
                  <a:gd name="T11" fmla="*/ 114 h 138"/>
                  <a:gd name="T12" fmla="*/ 105 w 113"/>
                  <a:gd name="T13" fmla="*/ 99 h 138"/>
                  <a:gd name="T14" fmla="*/ 105 w 113"/>
                  <a:gd name="T15" fmla="*/ 72 h 138"/>
                  <a:gd name="T16" fmla="*/ 105 w 113"/>
                  <a:gd name="T17" fmla="*/ 27 h 138"/>
                  <a:gd name="T18" fmla="*/ 106 w 113"/>
                  <a:gd name="T19" fmla="*/ 15 h 138"/>
                  <a:gd name="T20" fmla="*/ 60 w 113"/>
                  <a:gd name="T21" fmla="*/ 16 h 138"/>
                  <a:gd name="T22" fmla="*/ 34 w 113"/>
                  <a:gd name="T23" fmla="*/ 6 h 138"/>
                  <a:gd name="T24" fmla="*/ 12 w 113"/>
                  <a:gd name="T25" fmla="*/ 3 h 138"/>
                  <a:gd name="T26" fmla="*/ 13 w 113"/>
                  <a:gd name="T27" fmla="*/ 27 h 138"/>
                  <a:gd name="T28" fmla="*/ 18 w 113"/>
                  <a:gd name="T29" fmla="*/ 52 h 138"/>
                  <a:gd name="T30" fmla="*/ 3 w 113"/>
                  <a:gd name="T31" fmla="*/ 66 h 138"/>
                  <a:gd name="T32" fmla="*/ 3 w 113"/>
                  <a:gd name="T33" fmla="*/ 8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3" h="138">
                    <a:moveTo>
                      <a:pt x="3" y="88"/>
                    </a:moveTo>
                    <a:cubicBezTo>
                      <a:pt x="10" y="90"/>
                      <a:pt x="17" y="93"/>
                      <a:pt x="24" y="94"/>
                    </a:cubicBezTo>
                    <a:cubicBezTo>
                      <a:pt x="28" y="96"/>
                      <a:pt x="33" y="97"/>
                      <a:pt x="37" y="99"/>
                    </a:cubicBezTo>
                    <a:cubicBezTo>
                      <a:pt x="40" y="106"/>
                      <a:pt x="44" y="115"/>
                      <a:pt x="51" y="117"/>
                    </a:cubicBezTo>
                    <a:cubicBezTo>
                      <a:pt x="58" y="123"/>
                      <a:pt x="73" y="138"/>
                      <a:pt x="81" y="138"/>
                    </a:cubicBezTo>
                    <a:cubicBezTo>
                      <a:pt x="91" y="135"/>
                      <a:pt x="87" y="116"/>
                      <a:pt x="99" y="114"/>
                    </a:cubicBezTo>
                    <a:cubicBezTo>
                      <a:pt x="100" y="108"/>
                      <a:pt x="101" y="104"/>
                      <a:pt x="105" y="99"/>
                    </a:cubicBezTo>
                    <a:cubicBezTo>
                      <a:pt x="106" y="90"/>
                      <a:pt x="104" y="81"/>
                      <a:pt x="105" y="72"/>
                    </a:cubicBezTo>
                    <a:cubicBezTo>
                      <a:pt x="107" y="60"/>
                      <a:pt x="105" y="36"/>
                      <a:pt x="105" y="27"/>
                    </a:cubicBezTo>
                    <a:cubicBezTo>
                      <a:pt x="105" y="18"/>
                      <a:pt x="113" y="17"/>
                      <a:pt x="106" y="15"/>
                    </a:cubicBezTo>
                    <a:cubicBezTo>
                      <a:pt x="94" y="16"/>
                      <a:pt x="72" y="17"/>
                      <a:pt x="60" y="16"/>
                    </a:cubicBezTo>
                    <a:cubicBezTo>
                      <a:pt x="49" y="7"/>
                      <a:pt x="49" y="7"/>
                      <a:pt x="34" y="6"/>
                    </a:cubicBezTo>
                    <a:cubicBezTo>
                      <a:pt x="28" y="5"/>
                      <a:pt x="15" y="0"/>
                      <a:pt x="12" y="3"/>
                    </a:cubicBezTo>
                    <a:cubicBezTo>
                      <a:pt x="9" y="6"/>
                      <a:pt x="12" y="19"/>
                      <a:pt x="13" y="27"/>
                    </a:cubicBezTo>
                    <a:cubicBezTo>
                      <a:pt x="14" y="34"/>
                      <a:pt x="20" y="46"/>
                      <a:pt x="18" y="52"/>
                    </a:cubicBezTo>
                    <a:cubicBezTo>
                      <a:pt x="16" y="58"/>
                      <a:pt x="5" y="60"/>
                      <a:pt x="3" y="66"/>
                    </a:cubicBezTo>
                    <a:cubicBezTo>
                      <a:pt x="0" y="75"/>
                      <a:pt x="3" y="78"/>
                      <a:pt x="3" y="8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51" name="Freeform 28">
                <a:extLst>
                  <a:ext uri="{FF2B5EF4-FFF2-40B4-BE49-F238E27FC236}">
                    <a16:creationId xmlns:a16="http://schemas.microsoft.com/office/drawing/2014/main" id="{A4540198-794B-4A89-B910-B1744B45CB54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848226" y="4391025"/>
                <a:ext cx="292100" cy="233363"/>
              </a:xfrm>
              <a:custGeom>
                <a:avLst/>
                <a:gdLst>
                  <a:gd name="T0" fmla="*/ 61 w 181"/>
                  <a:gd name="T1" fmla="*/ 46 h 147"/>
                  <a:gd name="T2" fmla="*/ 80 w 181"/>
                  <a:gd name="T3" fmla="*/ 51 h 147"/>
                  <a:gd name="T4" fmla="*/ 95 w 181"/>
                  <a:gd name="T5" fmla="*/ 55 h 147"/>
                  <a:gd name="T6" fmla="*/ 110 w 181"/>
                  <a:gd name="T7" fmla="*/ 67 h 147"/>
                  <a:gd name="T8" fmla="*/ 103 w 181"/>
                  <a:gd name="T9" fmla="*/ 57 h 147"/>
                  <a:gd name="T10" fmla="*/ 100 w 181"/>
                  <a:gd name="T11" fmla="*/ 37 h 147"/>
                  <a:gd name="T12" fmla="*/ 103 w 181"/>
                  <a:gd name="T13" fmla="*/ 10 h 147"/>
                  <a:gd name="T14" fmla="*/ 113 w 181"/>
                  <a:gd name="T15" fmla="*/ 0 h 147"/>
                  <a:gd name="T16" fmla="*/ 139 w 181"/>
                  <a:gd name="T17" fmla="*/ 4 h 147"/>
                  <a:gd name="T18" fmla="*/ 172 w 181"/>
                  <a:gd name="T19" fmla="*/ 15 h 147"/>
                  <a:gd name="T20" fmla="*/ 169 w 181"/>
                  <a:gd name="T21" fmla="*/ 66 h 147"/>
                  <a:gd name="T22" fmla="*/ 152 w 181"/>
                  <a:gd name="T23" fmla="*/ 94 h 147"/>
                  <a:gd name="T24" fmla="*/ 137 w 181"/>
                  <a:gd name="T25" fmla="*/ 100 h 147"/>
                  <a:gd name="T26" fmla="*/ 107 w 181"/>
                  <a:gd name="T27" fmla="*/ 114 h 147"/>
                  <a:gd name="T28" fmla="*/ 88 w 181"/>
                  <a:gd name="T29" fmla="*/ 127 h 147"/>
                  <a:gd name="T30" fmla="*/ 80 w 181"/>
                  <a:gd name="T31" fmla="*/ 142 h 147"/>
                  <a:gd name="T32" fmla="*/ 52 w 181"/>
                  <a:gd name="T33" fmla="*/ 147 h 147"/>
                  <a:gd name="T34" fmla="*/ 17 w 181"/>
                  <a:gd name="T35" fmla="*/ 141 h 147"/>
                  <a:gd name="T36" fmla="*/ 8 w 181"/>
                  <a:gd name="T37" fmla="*/ 129 h 147"/>
                  <a:gd name="T38" fmla="*/ 4 w 181"/>
                  <a:gd name="T39" fmla="*/ 112 h 147"/>
                  <a:gd name="T40" fmla="*/ 4 w 181"/>
                  <a:gd name="T41" fmla="*/ 91 h 147"/>
                  <a:gd name="T42" fmla="*/ 7 w 181"/>
                  <a:gd name="T43" fmla="*/ 70 h 147"/>
                  <a:gd name="T44" fmla="*/ 29 w 181"/>
                  <a:gd name="T45" fmla="*/ 66 h 147"/>
                  <a:gd name="T46" fmla="*/ 40 w 181"/>
                  <a:gd name="T47" fmla="*/ 55 h 147"/>
                  <a:gd name="T48" fmla="*/ 38 w 181"/>
                  <a:gd name="T49" fmla="*/ 43 h 147"/>
                  <a:gd name="T50" fmla="*/ 35 w 181"/>
                  <a:gd name="T51" fmla="*/ 42 h 147"/>
                  <a:gd name="T52" fmla="*/ 61 w 181"/>
                  <a:gd name="T53" fmla="*/ 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1" h="147">
                    <a:moveTo>
                      <a:pt x="61" y="46"/>
                    </a:moveTo>
                    <a:cubicBezTo>
                      <a:pt x="68" y="48"/>
                      <a:pt x="74" y="50"/>
                      <a:pt x="80" y="51"/>
                    </a:cubicBezTo>
                    <a:cubicBezTo>
                      <a:pt x="85" y="52"/>
                      <a:pt x="90" y="54"/>
                      <a:pt x="95" y="55"/>
                    </a:cubicBezTo>
                    <a:cubicBezTo>
                      <a:pt x="100" y="58"/>
                      <a:pt x="109" y="67"/>
                      <a:pt x="110" y="67"/>
                    </a:cubicBezTo>
                    <a:cubicBezTo>
                      <a:pt x="107" y="64"/>
                      <a:pt x="105" y="62"/>
                      <a:pt x="103" y="57"/>
                    </a:cubicBezTo>
                    <a:cubicBezTo>
                      <a:pt x="101" y="52"/>
                      <a:pt x="100" y="45"/>
                      <a:pt x="100" y="37"/>
                    </a:cubicBezTo>
                    <a:cubicBezTo>
                      <a:pt x="100" y="29"/>
                      <a:pt x="101" y="16"/>
                      <a:pt x="103" y="10"/>
                    </a:cubicBezTo>
                    <a:cubicBezTo>
                      <a:pt x="106" y="6"/>
                      <a:pt x="110" y="4"/>
                      <a:pt x="113" y="0"/>
                    </a:cubicBezTo>
                    <a:cubicBezTo>
                      <a:pt x="127" y="1"/>
                      <a:pt x="128" y="2"/>
                      <a:pt x="139" y="4"/>
                    </a:cubicBezTo>
                    <a:cubicBezTo>
                      <a:pt x="151" y="16"/>
                      <a:pt x="149" y="13"/>
                      <a:pt x="172" y="15"/>
                    </a:cubicBezTo>
                    <a:cubicBezTo>
                      <a:pt x="173" y="28"/>
                      <a:pt x="181" y="57"/>
                      <a:pt x="169" y="66"/>
                    </a:cubicBezTo>
                    <a:cubicBezTo>
                      <a:pt x="167" y="84"/>
                      <a:pt x="169" y="91"/>
                      <a:pt x="152" y="94"/>
                    </a:cubicBezTo>
                    <a:cubicBezTo>
                      <a:pt x="147" y="97"/>
                      <a:pt x="143" y="99"/>
                      <a:pt x="137" y="100"/>
                    </a:cubicBezTo>
                    <a:cubicBezTo>
                      <a:pt x="127" y="105"/>
                      <a:pt x="117" y="109"/>
                      <a:pt x="107" y="114"/>
                    </a:cubicBezTo>
                    <a:cubicBezTo>
                      <a:pt x="100" y="123"/>
                      <a:pt x="100" y="126"/>
                      <a:pt x="88" y="127"/>
                    </a:cubicBezTo>
                    <a:cubicBezTo>
                      <a:pt x="85" y="134"/>
                      <a:pt x="89" y="140"/>
                      <a:pt x="80" y="142"/>
                    </a:cubicBezTo>
                    <a:cubicBezTo>
                      <a:pt x="71" y="146"/>
                      <a:pt x="61" y="143"/>
                      <a:pt x="52" y="147"/>
                    </a:cubicBezTo>
                    <a:cubicBezTo>
                      <a:pt x="40" y="145"/>
                      <a:pt x="27" y="147"/>
                      <a:pt x="17" y="141"/>
                    </a:cubicBezTo>
                    <a:cubicBezTo>
                      <a:pt x="14" y="136"/>
                      <a:pt x="10" y="134"/>
                      <a:pt x="8" y="129"/>
                    </a:cubicBezTo>
                    <a:cubicBezTo>
                      <a:pt x="7" y="123"/>
                      <a:pt x="5" y="118"/>
                      <a:pt x="4" y="112"/>
                    </a:cubicBezTo>
                    <a:cubicBezTo>
                      <a:pt x="3" y="106"/>
                      <a:pt x="0" y="99"/>
                      <a:pt x="4" y="91"/>
                    </a:cubicBezTo>
                    <a:cubicBezTo>
                      <a:pt x="5" y="84"/>
                      <a:pt x="3" y="74"/>
                      <a:pt x="7" y="70"/>
                    </a:cubicBezTo>
                    <a:cubicBezTo>
                      <a:pt x="11" y="66"/>
                      <a:pt x="24" y="68"/>
                      <a:pt x="29" y="66"/>
                    </a:cubicBezTo>
                    <a:cubicBezTo>
                      <a:pt x="33" y="63"/>
                      <a:pt x="39" y="59"/>
                      <a:pt x="40" y="55"/>
                    </a:cubicBezTo>
                    <a:cubicBezTo>
                      <a:pt x="41" y="51"/>
                      <a:pt x="39" y="45"/>
                      <a:pt x="38" y="43"/>
                    </a:cubicBezTo>
                    <a:cubicBezTo>
                      <a:pt x="36" y="34"/>
                      <a:pt x="32" y="50"/>
                      <a:pt x="35" y="42"/>
                    </a:cubicBezTo>
                    <a:cubicBezTo>
                      <a:pt x="39" y="41"/>
                      <a:pt x="56" y="45"/>
                      <a:pt x="61" y="4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52" name="Freeform 29">
                <a:extLst>
                  <a:ext uri="{FF2B5EF4-FFF2-40B4-BE49-F238E27FC236}">
                    <a16:creationId xmlns:a16="http://schemas.microsoft.com/office/drawing/2014/main" id="{C93B2166-381E-4471-8C58-776BD8BEF0B4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5303838" y="3908425"/>
                <a:ext cx="263525" cy="325438"/>
              </a:xfrm>
              <a:custGeom>
                <a:avLst/>
                <a:gdLst>
                  <a:gd name="T0" fmla="*/ 7 w 163"/>
                  <a:gd name="T1" fmla="*/ 205 h 205"/>
                  <a:gd name="T2" fmla="*/ 35 w 163"/>
                  <a:gd name="T3" fmla="*/ 179 h 205"/>
                  <a:gd name="T4" fmla="*/ 55 w 163"/>
                  <a:gd name="T5" fmla="*/ 161 h 205"/>
                  <a:gd name="T6" fmla="*/ 75 w 163"/>
                  <a:gd name="T7" fmla="*/ 145 h 205"/>
                  <a:gd name="T8" fmla="*/ 87 w 163"/>
                  <a:gd name="T9" fmla="*/ 137 h 205"/>
                  <a:gd name="T10" fmla="*/ 119 w 163"/>
                  <a:gd name="T11" fmla="*/ 97 h 205"/>
                  <a:gd name="T12" fmla="*/ 127 w 163"/>
                  <a:gd name="T13" fmla="*/ 73 h 205"/>
                  <a:gd name="T14" fmla="*/ 147 w 163"/>
                  <a:gd name="T15" fmla="*/ 43 h 205"/>
                  <a:gd name="T16" fmla="*/ 159 w 163"/>
                  <a:gd name="T17" fmla="*/ 27 h 205"/>
                  <a:gd name="T18" fmla="*/ 157 w 163"/>
                  <a:gd name="T19" fmla="*/ 5 h 205"/>
                  <a:gd name="T20" fmla="*/ 133 w 163"/>
                  <a:gd name="T21" fmla="*/ 7 h 205"/>
                  <a:gd name="T22" fmla="*/ 85 w 163"/>
                  <a:gd name="T23" fmla="*/ 15 h 205"/>
                  <a:gd name="T24" fmla="*/ 39 w 163"/>
                  <a:gd name="T25" fmla="*/ 3 h 205"/>
                  <a:gd name="T26" fmla="*/ 27 w 163"/>
                  <a:gd name="T27" fmla="*/ 9 h 205"/>
                  <a:gd name="T28" fmla="*/ 41 w 163"/>
                  <a:gd name="T29" fmla="*/ 23 h 205"/>
                  <a:gd name="T30" fmla="*/ 67 w 163"/>
                  <a:gd name="T31" fmla="*/ 47 h 205"/>
                  <a:gd name="T32" fmla="*/ 85 w 163"/>
                  <a:gd name="T33" fmla="*/ 53 h 205"/>
                  <a:gd name="T34" fmla="*/ 91 w 163"/>
                  <a:gd name="T35" fmla="*/ 55 h 205"/>
                  <a:gd name="T36" fmla="*/ 107 w 163"/>
                  <a:gd name="T37" fmla="*/ 69 h 205"/>
                  <a:gd name="T38" fmla="*/ 89 w 163"/>
                  <a:gd name="T39" fmla="*/ 81 h 205"/>
                  <a:gd name="T40" fmla="*/ 69 w 163"/>
                  <a:gd name="T41" fmla="*/ 101 h 205"/>
                  <a:gd name="T42" fmla="*/ 51 w 163"/>
                  <a:gd name="T43" fmla="*/ 107 h 205"/>
                  <a:gd name="T44" fmla="*/ 10 w 163"/>
                  <a:gd name="T45" fmla="*/ 122 h 205"/>
                  <a:gd name="T46" fmla="*/ 7 w 163"/>
                  <a:gd name="T47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3" h="205">
                    <a:moveTo>
                      <a:pt x="7" y="205"/>
                    </a:moveTo>
                    <a:cubicBezTo>
                      <a:pt x="14" y="198"/>
                      <a:pt x="27" y="182"/>
                      <a:pt x="35" y="179"/>
                    </a:cubicBezTo>
                    <a:cubicBezTo>
                      <a:pt x="40" y="172"/>
                      <a:pt x="48" y="166"/>
                      <a:pt x="55" y="161"/>
                    </a:cubicBezTo>
                    <a:cubicBezTo>
                      <a:pt x="58" y="152"/>
                      <a:pt x="67" y="150"/>
                      <a:pt x="75" y="145"/>
                    </a:cubicBezTo>
                    <a:cubicBezTo>
                      <a:pt x="79" y="142"/>
                      <a:pt x="87" y="137"/>
                      <a:pt x="87" y="137"/>
                    </a:cubicBezTo>
                    <a:cubicBezTo>
                      <a:pt x="96" y="123"/>
                      <a:pt x="109" y="112"/>
                      <a:pt x="119" y="97"/>
                    </a:cubicBezTo>
                    <a:cubicBezTo>
                      <a:pt x="124" y="90"/>
                      <a:pt x="122" y="80"/>
                      <a:pt x="127" y="73"/>
                    </a:cubicBezTo>
                    <a:cubicBezTo>
                      <a:pt x="134" y="63"/>
                      <a:pt x="138" y="52"/>
                      <a:pt x="147" y="43"/>
                    </a:cubicBezTo>
                    <a:cubicBezTo>
                      <a:pt x="150" y="35"/>
                      <a:pt x="155" y="34"/>
                      <a:pt x="159" y="27"/>
                    </a:cubicBezTo>
                    <a:cubicBezTo>
                      <a:pt x="158" y="20"/>
                      <a:pt x="163" y="9"/>
                      <a:pt x="157" y="5"/>
                    </a:cubicBezTo>
                    <a:cubicBezTo>
                      <a:pt x="151" y="0"/>
                      <a:pt x="141" y="6"/>
                      <a:pt x="133" y="7"/>
                    </a:cubicBezTo>
                    <a:cubicBezTo>
                      <a:pt x="115" y="10"/>
                      <a:pt x="107" y="13"/>
                      <a:pt x="85" y="15"/>
                    </a:cubicBezTo>
                    <a:cubicBezTo>
                      <a:pt x="53" y="36"/>
                      <a:pt x="57" y="9"/>
                      <a:pt x="39" y="3"/>
                    </a:cubicBezTo>
                    <a:cubicBezTo>
                      <a:pt x="36" y="4"/>
                      <a:pt x="28" y="6"/>
                      <a:pt x="27" y="9"/>
                    </a:cubicBezTo>
                    <a:cubicBezTo>
                      <a:pt x="25" y="15"/>
                      <a:pt x="41" y="23"/>
                      <a:pt x="41" y="23"/>
                    </a:cubicBezTo>
                    <a:cubicBezTo>
                      <a:pt x="48" y="34"/>
                      <a:pt x="55" y="42"/>
                      <a:pt x="67" y="47"/>
                    </a:cubicBezTo>
                    <a:cubicBezTo>
                      <a:pt x="73" y="50"/>
                      <a:pt x="79" y="51"/>
                      <a:pt x="85" y="53"/>
                    </a:cubicBezTo>
                    <a:cubicBezTo>
                      <a:pt x="87" y="54"/>
                      <a:pt x="91" y="55"/>
                      <a:pt x="91" y="55"/>
                    </a:cubicBezTo>
                    <a:cubicBezTo>
                      <a:pt x="94" y="65"/>
                      <a:pt x="101" y="60"/>
                      <a:pt x="107" y="69"/>
                    </a:cubicBezTo>
                    <a:cubicBezTo>
                      <a:pt x="99" y="72"/>
                      <a:pt x="96" y="77"/>
                      <a:pt x="89" y="81"/>
                    </a:cubicBezTo>
                    <a:cubicBezTo>
                      <a:pt x="84" y="88"/>
                      <a:pt x="76" y="96"/>
                      <a:pt x="69" y="101"/>
                    </a:cubicBezTo>
                    <a:cubicBezTo>
                      <a:pt x="63" y="106"/>
                      <a:pt x="60" y="104"/>
                      <a:pt x="51" y="107"/>
                    </a:cubicBezTo>
                    <a:cubicBezTo>
                      <a:pt x="41" y="110"/>
                      <a:pt x="17" y="106"/>
                      <a:pt x="10" y="122"/>
                    </a:cubicBezTo>
                    <a:cubicBezTo>
                      <a:pt x="0" y="139"/>
                      <a:pt x="4" y="195"/>
                      <a:pt x="7" y="20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53" name="Freeform 30">
                <a:extLst>
                  <a:ext uri="{FF2B5EF4-FFF2-40B4-BE49-F238E27FC236}">
                    <a16:creationId xmlns:a16="http://schemas.microsoft.com/office/drawing/2014/main" id="{F3EB30EA-F5AD-4A8B-A06B-64171E79AF87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5045076" y="4090988"/>
                <a:ext cx="128588" cy="136525"/>
              </a:xfrm>
              <a:custGeom>
                <a:avLst/>
                <a:gdLst>
                  <a:gd name="T0" fmla="*/ 9 w 79"/>
                  <a:gd name="T1" fmla="*/ 13 h 86"/>
                  <a:gd name="T2" fmla="*/ 48 w 79"/>
                  <a:gd name="T3" fmla="*/ 6 h 86"/>
                  <a:gd name="T4" fmla="*/ 69 w 79"/>
                  <a:gd name="T5" fmla="*/ 1 h 86"/>
                  <a:gd name="T6" fmla="*/ 74 w 79"/>
                  <a:gd name="T7" fmla="*/ 25 h 86"/>
                  <a:gd name="T8" fmla="*/ 77 w 79"/>
                  <a:gd name="T9" fmla="*/ 46 h 86"/>
                  <a:gd name="T10" fmla="*/ 63 w 79"/>
                  <a:gd name="T11" fmla="*/ 60 h 86"/>
                  <a:gd name="T12" fmla="*/ 56 w 79"/>
                  <a:gd name="T13" fmla="*/ 81 h 86"/>
                  <a:gd name="T14" fmla="*/ 3 w 79"/>
                  <a:gd name="T15" fmla="*/ 78 h 86"/>
                  <a:gd name="T16" fmla="*/ 14 w 79"/>
                  <a:gd name="T17" fmla="*/ 40 h 86"/>
                  <a:gd name="T18" fmla="*/ 9 w 79"/>
                  <a:gd name="T19" fmla="*/ 13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86">
                    <a:moveTo>
                      <a:pt x="9" y="13"/>
                    </a:moveTo>
                    <a:cubicBezTo>
                      <a:pt x="21" y="4"/>
                      <a:pt x="27" y="7"/>
                      <a:pt x="48" y="6"/>
                    </a:cubicBezTo>
                    <a:cubicBezTo>
                      <a:pt x="54" y="3"/>
                      <a:pt x="62" y="0"/>
                      <a:pt x="69" y="1"/>
                    </a:cubicBezTo>
                    <a:cubicBezTo>
                      <a:pt x="73" y="8"/>
                      <a:pt x="70" y="18"/>
                      <a:pt x="74" y="25"/>
                    </a:cubicBezTo>
                    <a:cubicBezTo>
                      <a:pt x="75" y="32"/>
                      <a:pt x="79" y="41"/>
                      <a:pt x="77" y="46"/>
                    </a:cubicBezTo>
                    <a:cubicBezTo>
                      <a:pt x="75" y="52"/>
                      <a:pt x="66" y="54"/>
                      <a:pt x="63" y="60"/>
                    </a:cubicBezTo>
                    <a:cubicBezTo>
                      <a:pt x="59" y="67"/>
                      <a:pt x="63" y="79"/>
                      <a:pt x="56" y="81"/>
                    </a:cubicBezTo>
                    <a:cubicBezTo>
                      <a:pt x="39" y="86"/>
                      <a:pt x="3" y="78"/>
                      <a:pt x="3" y="78"/>
                    </a:cubicBezTo>
                    <a:cubicBezTo>
                      <a:pt x="0" y="64"/>
                      <a:pt x="2" y="49"/>
                      <a:pt x="14" y="40"/>
                    </a:cubicBezTo>
                    <a:cubicBezTo>
                      <a:pt x="18" y="31"/>
                      <a:pt x="14" y="20"/>
                      <a:pt x="9" y="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54" name="Freeform 32">
                <a:extLst>
                  <a:ext uri="{FF2B5EF4-FFF2-40B4-BE49-F238E27FC236}">
                    <a16:creationId xmlns:a16="http://schemas.microsoft.com/office/drawing/2014/main" id="{B57171CB-04A7-4266-B37E-E612D6195571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4338638" y="3621088"/>
                <a:ext cx="382588" cy="290513"/>
              </a:xfrm>
              <a:custGeom>
                <a:avLst/>
                <a:gdLst>
                  <a:gd name="T0" fmla="*/ 219 w 237"/>
                  <a:gd name="T1" fmla="*/ 20 h 183"/>
                  <a:gd name="T2" fmla="*/ 201 w 237"/>
                  <a:gd name="T3" fmla="*/ 8 h 183"/>
                  <a:gd name="T4" fmla="*/ 183 w 237"/>
                  <a:gd name="T5" fmla="*/ 3 h 183"/>
                  <a:gd name="T6" fmla="*/ 156 w 237"/>
                  <a:gd name="T7" fmla="*/ 14 h 183"/>
                  <a:gd name="T8" fmla="*/ 134 w 237"/>
                  <a:gd name="T9" fmla="*/ 24 h 183"/>
                  <a:gd name="T10" fmla="*/ 120 w 237"/>
                  <a:gd name="T11" fmla="*/ 33 h 183"/>
                  <a:gd name="T12" fmla="*/ 111 w 237"/>
                  <a:gd name="T13" fmla="*/ 45 h 183"/>
                  <a:gd name="T14" fmla="*/ 102 w 237"/>
                  <a:gd name="T15" fmla="*/ 53 h 183"/>
                  <a:gd name="T16" fmla="*/ 77 w 237"/>
                  <a:gd name="T17" fmla="*/ 72 h 183"/>
                  <a:gd name="T18" fmla="*/ 57 w 237"/>
                  <a:gd name="T19" fmla="*/ 69 h 183"/>
                  <a:gd name="T20" fmla="*/ 59 w 237"/>
                  <a:gd name="T21" fmla="*/ 80 h 183"/>
                  <a:gd name="T22" fmla="*/ 60 w 237"/>
                  <a:gd name="T23" fmla="*/ 119 h 183"/>
                  <a:gd name="T24" fmla="*/ 44 w 237"/>
                  <a:gd name="T25" fmla="*/ 128 h 183"/>
                  <a:gd name="T26" fmla="*/ 26 w 237"/>
                  <a:gd name="T27" fmla="*/ 128 h 183"/>
                  <a:gd name="T28" fmla="*/ 0 w 237"/>
                  <a:gd name="T29" fmla="*/ 137 h 183"/>
                  <a:gd name="T30" fmla="*/ 6 w 237"/>
                  <a:gd name="T31" fmla="*/ 143 h 183"/>
                  <a:gd name="T32" fmla="*/ 11 w 237"/>
                  <a:gd name="T33" fmla="*/ 159 h 183"/>
                  <a:gd name="T34" fmla="*/ 29 w 237"/>
                  <a:gd name="T35" fmla="*/ 174 h 183"/>
                  <a:gd name="T36" fmla="*/ 47 w 237"/>
                  <a:gd name="T37" fmla="*/ 179 h 183"/>
                  <a:gd name="T38" fmla="*/ 51 w 237"/>
                  <a:gd name="T39" fmla="*/ 182 h 183"/>
                  <a:gd name="T40" fmla="*/ 54 w 237"/>
                  <a:gd name="T41" fmla="*/ 171 h 183"/>
                  <a:gd name="T42" fmla="*/ 69 w 237"/>
                  <a:gd name="T43" fmla="*/ 159 h 183"/>
                  <a:gd name="T44" fmla="*/ 89 w 237"/>
                  <a:gd name="T45" fmla="*/ 158 h 183"/>
                  <a:gd name="T46" fmla="*/ 128 w 237"/>
                  <a:gd name="T47" fmla="*/ 167 h 183"/>
                  <a:gd name="T48" fmla="*/ 146 w 237"/>
                  <a:gd name="T49" fmla="*/ 162 h 183"/>
                  <a:gd name="T50" fmla="*/ 162 w 237"/>
                  <a:gd name="T51" fmla="*/ 164 h 183"/>
                  <a:gd name="T52" fmla="*/ 173 w 237"/>
                  <a:gd name="T53" fmla="*/ 159 h 183"/>
                  <a:gd name="T54" fmla="*/ 177 w 237"/>
                  <a:gd name="T55" fmla="*/ 161 h 183"/>
                  <a:gd name="T56" fmla="*/ 192 w 237"/>
                  <a:gd name="T57" fmla="*/ 164 h 183"/>
                  <a:gd name="T58" fmla="*/ 200 w 237"/>
                  <a:gd name="T59" fmla="*/ 143 h 183"/>
                  <a:gd name="T60" fmla="*/ 209 w 237"/>
                  <a:gd name="T61" fmla="*/ 132 h 183"/>
                  <a:gd name="T62" fmla="*/ 215 w 237"/>
                  <a:gd name="T63" fmla="*/ 122 h 183"/>
                  <a:gd name="T64" fmla="*/ 224 w 237"/>
                  <a:gd name="T65" fmla="*/ 116 h 183"/>
                  <a:gd name="T66" fmla="*/ 230 w 237"/>
                  <a:gd name="T67" fmla="*/ 98 h 183"/>
                  <a:gd name="T68" fmla="*/ 237 w 237"/>
                  <a:gd name="T69" fmla="*/ 78 h 183"/>
                  <a:gd name="T70" fmla="*/ 233 w 237"/>
                  <a:gd name="T71" fmla="*/ 51 h 183"/>
                  <a:gd name="T72" fmla="*/ 222 w 237"/>
                  <a:gd name="T73" fmla="*/ 26 h 183"/>
                  <a:gd name="T74" fmla="*/ 219 w 237"/>
                  <a:gd name="T75" fmla="*/ 2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37" h="183">
                    <a:moveTo>
                      <a:pt x="219" y="20"/>
                    </a:moveTo>
                    <a:cubicBezTo>
                      <a:pt x="215" y="17"/>
                      <a:pt x="207" y="11"/>
                      <a:pt x="201" y="8"/>
                    </a:cubicBezTo>
                    <a:cubicBezTo>
                      <a:pt x="195" y="5"/>
                      <a:pt x="190" y="2"/>
                      <a:pt x="183" y="3"/>
                    </a:cubicBezTo>
                    <a:cubicBezTo>
                      <a:pt x="175" y="0"/>
                      <a:pt x="156" y="14"/>
                      <a:pt x="156" y="14"/>
                    </a:cubicBezTo>
                    <a:cubicBezTo>
                      <a:pt x="148" y="17"/>
                      <a:pt x="140" y="21"/>
                      <a:pt x="134" y="24"/>
                    </a:cubicBezTo>
                    <a:cubicBezTo>
                      <a:pt x="128" y="27"/>
                      <a:pt x="124" y="30"/>
                      <a:pt x="120" y="33"/>
                    </a:cubicBezTo>
                    <a:cubicBezTo>
                      <a:pt x="116" y="39"/>
                      <a:pt x="119" y="43"/>
                      <a:pt x="111" y="45"/>
                    </a:cubicBezTo>
                    <a:cubicBezTo>
                      <a:pt x="109" y="53"/>
                      <a:pt x="111" y="52"/>
                      <a:pt x="102" y="53"/>
                    </a:cubicBezTo>
                    <a:cubicBezTo>
                      <a:pt x="96" y="56"/>
                      <a:pt x="84" y="69"/>
                      <a:pt x="77" y="72"/>
                    </a:cubicBezTo>
                    <a:cubicBezTo>
                      <a:pt x="70" y="75"/>
                      <a:pt x="60" y="68"/>
                      <a:pt x="57" y="69"/>
                    </a:cubicBezTo>
                    <a:cubicBezTo>
                      <a:pt x="54" y="71"/>
                      <a:pt x="59" y="72"/>
                      <a:pt x="59" y="80"/>
                    </a:cubicBezTo>
                    <a:cubicBezTo>
                      <a:pt x="59" y="88"/>
                      <a:pt x="63" y="111"/>
                      <a:pt x="60" y="119"/>
                    </a:cubicBezTo>
                    <a:cubicBezTo>
                      <a:pt x="57" y="127"/>
                      <a:pt x="50" y="127"/>
                      <a:pt x="44" y="128"/>
                    </a:cubicBezTo>
                    <a:cubicBezTo>
                      <a:pt x="38" y="139"/>
                      <a:pt x="33" y="127"/>
                      <a:pt x="26" y="128"/>
                    </a:cubicBezTo>
                    <a:cubicBezTo>
                      <a:pt x="19" y="129"/>
                      <a:pt x="3" y="135"/>
                      <a:pt x="0" y="137"/>
                    </a:cubicBezTo>
                    <a:cubicBezTo>
                      <a:pt x="1" y="140"/>
                      <a:pt x="5" y="140"/>
                      <a:pt x="6" y="143"/>
                    </a:cubicBezTo>
                    <a:cubicBezTo>
                      <a:pt x="8" y="146"/>
                      <a:pt x="7" y="154"/>
                      <a:pt x="11" y="159"/>
                    </a:cubicBezTo>
                    <a:cubicBezTo>
                      <a:pt x="15" y="164"/>
                      <a:pt x="23" y="171"/>
                      <a:pt x="29" y="174"/>
                    </a:cubicBezTo>
                    <a:cubicBezTo>
                      <a:pt x="35" y="177"/>
                      <a:pt x="41" y="177"/>
                      <a:pt x="47" y="179"/>
                    </a:cubicBezTo>
                    <a:cubicBezTo>
                      <a:pt x="48" y="180"/>
                      <a:pt x="49" y="183"/>
                      <a:pt x="51" y="182"/>
                    </a:cubicBezTo>
                    <a:cubicBezTo>
                      <a:pt x="53" y="181"/>
                      <a:pt x="54" y="172"/>
                      <a:pt x="54" y="171"/>
                    </a:cubicBezTo>
                    <a:cubicBezTo>
                      <a:pt x="56" y="165"/>
                      <a:pt x="63" y="160"/>
                      <a:pt x="69" y="159"/>
                    </a:cubicBezTo>
                    <a:cubicBezTo>
                      <a:pt x="76" y="157"/>
                      <a:pt x="82" y="159"/>
                      <a:pt x="89" y="158"/>
                    </a:cubicBezTo>
                    <a:cubicBezTo>
                      <a:pt x="102" y="160"/>
                      <a:pt x="114" y="166"/>
                      <a:pt x="128" y="167"/>
                    </a:cubicBezTo>
                    <a:cubicBezTo>
                      <a:pt x="137" y="169"/>
                      <a:pt x="139" y="162"/>
                      <a:pt x="146" y="162"/>
                    </a:cubicBezTo>
                    <a:cubicBezTo>
                      <a:pt x="152" y="162"/>
                      <a:pt x="158" y="164"/>
                      <a:pt x="162" y="164"/>
                    </a:cubicBezTo>
                    <a:cubicBezTo>
                      <a:pt x="166" y="164"/>
                      <a:pt x="171" y="159"/>
                      <a:pt x="173" y="159"/>
                    </a:cubicBezTo>
                    <a:cubicBezTo>
                      <a:pt x="174" y="158"/>
                      <a:pt x="175" y="161"/>
                      <a:pt x="177" y="161"/>
                    </a:cubicBezTo>
                    <a:cubicBezTo>
                      <a:pt x="183" y="160"/>
                      <a:pt x="187" y="167"/>
                      <a:pt x="192" y="164"/>
                    </a:cubicBezTo>
                    <a:cubicBezTo>
                      <a:pt x="197" y="161"/>
                      <a:pt x="197" y="147"/>
                      <a:pt x="200" y="143"/>
                    </a:cubicBezTo>
                    <a:cubicBezTo>
                      <a:pt x="202" y="135"/>
                      <a:pt x="205" y="139"/>
                      <a:pt x="209" y="132"/>
                    </a:cubicBezTo>
                    <a:cubicBezTo>
                      <a:pt x="211" y="128"/>
                      <a:pt x="213" y="125"/>
                      <a:pt x="215" y="122"/>
                    </a:cubicBezTo>
                    <a:cubicBezTo>
                      <a:pt x="217" y="119"/>
                      <a:pt x="221" y="120"/>
                      <a:pt x="224" y="116"/>
                    </a:cubicBezTo>
                    <a:cubicBezTo>
                      <a:pt x="225" y="110"/>
                      <a:pt x="227" y="104"/>
                      <a:pt x="230" y="98"/>
                    </a:cubicBezTo>
                    <a:cubicBezTo>
                      <a:pt x="231" y="92"/>
                      <a:pt x="237" y="86"/>
                      <a:pt x="237" y="78"/>
                    </a:cubicBezTo>
                    <a:cubicBezTo>
                      <a:pt x="237" y="70"/>
                      <a:pt x="235" y="60"/>
                      <a:pt x="233" y="51"/>
                    </a:cubicBezTo>
                    <a:cubicBezTo>
                      <a:pt x="231" y="42"/>
                      <a:pt x="224" y="31"/>
                      <a:pt x="222" y="26"/>
                    </a:cubicBezTo>
                    <a:cubicBezTo>
                      <a:pt x="221" y="21"/>
                      <a:pt x="205" y="6"/>
                      <a:pt x="219" y="2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55" name="Freeform 33">
                <a:extLst>
                  <a:ext uri="{FF2B5EF4-FFF2-40B4-BE49-F238E27FC236}">
                    <a16:creationId xmlns:a16="http://schemas.microsoft.com/office/drawing/2014/main" id="{ECD1006C-AC6E-4233-B4B1-057D224FA582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340226" y="3897313"/>
                <a:ext cx="88900" cy="155575"/>
              </a:xfrm>
              <a:custGeom>
                <a:avLst/>
                <a:gdLst>
                  <a:gd name="T0" fmla="*/ 32 w 55"/>
                  <a:gd name="T1" fmla="*/ 4 h 98"/>
                  <a:gd name="T2" fmla="*/ 26 w 55"/>
                  <a:gd name="T3" fmla="*/ 12 h 98"/>
                  <a:gd name="T4" fmla="*/ 18 w 55"/>
                  <a:gd name="T5" fmla="*/ 18 h 98"/>
                  <a:gd name="T6" fmla="*/ 18 w 55"/>
                  <a:gd name="T7" fmla="*/ 34 h 98"/>
                  <a:gd name="T8" fmla="*/ 34 w 55"/>
                  <a:gd name="T9" fmla="*/ 92 h 98"/>
                  <a:gd name="T10" fmla="*/ 52 w 55"/>
                  <a:gd name="T11" fmla="*/ 36 h 98"/>
                  <a:gd name="T12" fmla="*/ 50 w 55"/>
                  <a:gd name="T13" fmla="*/ 18 h 98"/>
                  <a:gd name="T14" fmla="*/ 43 w 55"/>
                  <a:gd name="T15" fmla="*/ 7 h 98"/>
                  <a:gd name="T16" fmla="*/ 32 w 55"/>
                  <a:gd name="T17" fmla="*/ 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98">
                    <a:moveTo>
                      <a:pt x="32" y="4"/>
                    </a:moveTo>
                    <a:cubicBezTo>
                      <a:pt x="28" y="0"/>
                      <a:pt x="28" y="10"/>
                      <a:pt x="26" y="12"/>
                    </a:cubicBezTo>
                    <a:cubicBezTo>
                      <a:pt x="24" y="14"/>
                      <a:pt x="19" y="14"/>
                      <a:pt x="18" y="18"/>
                    </a:cubicBezTo>
                    <a:cubicBezTo>
                      <a:pt x="13" y="26"/>
                      <a:pt x="9" y="28"/>
                      <a:pt x="18" y="34"/>
                    </a:cubicBezTo>
                    <a:cubicBezTo>
                      <a:pt x="27" y="60"/>
                      <a:pt x="0" y="98"/>
                      <a:pt x="34" y="92"/>
                    </a:cubicBezTo>
                    <a:cubicBezTo>
                      <a:pt x="45" y="60"/>
                      <a:pt x="34" y="63"/>
                      <a:pt x="52" y="36"/>
                    </a:cubicBezTo>
                    <a:cubicBezTo>
                      <a:pt x="55" y="24"/>
                      <a:pt x="51" y="23"/>
                      <a:pt x="50" y="18"/>
                    </a:cubicBezTo>
                    <a:cubicBezTo>
                      <a:pt x="49" y="13"/>
                      <a:pt x="46" y="9"/>
                      <a:pt x="43" y="7"/>
                    </a:cubicBezTo>
                    <a:cubicBezTo>
                      <a:pt x="40" y="5"/>
                      <a:pt x="35" y="3"/>
                      <a:pt x="32" y="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56" name="Freeform 34">
                <a:extLst>
                  <a:ext uri="{FF2B5EF4-FFF2-40B4-BE49-F238E27FC236}">
                    <a16:creationId xmlns:a16="http://schemas.microsoft.com/office/drawing/2014/main" id="{94026CCB-831E-44DD-8B83-871A051F8DE5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327526" y="3929063"/>
                <a:ext cx="46038" cy="123825"/>
              </a:xfrm>
              <a:custGeom>
                <a:avLst/>
                <a:gdLst>
                  <a:gd name="T0" fmla="*/ 18 w 28"/>
                  <a:gd name="T1" fmla="*/ 0 h 78"/>
                  <a:gd name="T2" fmla="*/ 0 w 28"/>
                  <a:gd name="T3" fmla="*/ 21 h 78"/>
                  <a:gd name="T4" fmla="*/ 10 w 28"/>
                  <a:gd name="T5" fmla="*/ 50 h 78"/>
                  <a:gd name="T6" fmla="*/ 10 w 28"/>
                  <a:gd name="T7" fmla="*/ 63 h 78"/>
                  <a:gd name="T8" fmla="*/ 16 w 28"/>
                  <a:gd name="T9" fmla="*/ 76 h 78"/>
                  <a:gd name="T10" fmla="*/ 24 w 28"/>
                  <a:gd name="T11" fmla="*/ 74 h 78"/>
                  <a:gd name="T12" fmla="*/ 27 w 28"/>
                  <a:gd name="T13" fmla="*/ 24 h 78"/>
                  <a:gd name="T14" fmla="*/ 18 w 28"/>
                  <a:gd name="T1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78">
                    <a:moveTo>
                      <a:pt x="18" y="0"/>
                    </a:moveTo>
                    <a:cubicBezTo>
                      <a:pt x="7" y="4"/>
                      <a:pt x="3" y="11"/>
                      <a:pt x="0" y="21"/>
                    </a:cubicBezTo>
                    <a:cubicBezTo>
                      <a:pt x="1" y="30"/>
                      <a:pt x="8" y="41"/>
                      <a:pt x="10" y="50"/>
                    </a:cubicBezTo>
                    <a:cubicBezTo>
                      <a:pt x="11" y="54"/>
                      <a:pt x="10" y="63"/>
                      <a:pt x="10" y="63"/>
                    </a:cubicBezTo>
                    <a:cubicBezTo>
                      <a:pt x="11" y="68"/>
                      <a:pt x="13" y="72"/>
                      <a:pt x="16" y="76"/>
                    </a:cubicBezTo>
                    <a:cubicBezTo>
                      <a:pt x="18" y="78"/>
                      <a:pt x="24" y="77"/>
                      <a:pt x="24" y="74"/>
                    </a:cubicBezTo>
                    <a:cubicBezTo>
                      <a:pt x="24" y="65"/>
                      <a:pt x="28" y="36"/>
                      <a:pt x="27" y="24"/>
                    </a:cubicBezTo>
                    <a:cubicBezTo>
                      <a:pt x="26" y="12"/>
                      <a:pt x="20" y="5"/>
                      <a:pt x="18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57" name="Freeform 35">
                <a:extLst>
                  <a:ext uri="{FF2B5EF4-FFF2-40B4-BE49-F238E27FC236}">
                    <a16:creationId xmlns:a16="http://schemas.microsoft.com/office/drawing/2014/main" id="{DAAA9172-CD23-458B-84CA-58837A8AB9A4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4005263" y="3935413"/>
                <a:ext cx="76200" cy="85725"/>
              </a:xfrm>
              <a:custGeom>
                <a:avLst/>
                <a:gdLst>
                  <a:gd name="T0" fmla="*/ 16 w 47"/>
                  <a:gd name="T1" fmla="*/ 18 h 54"/>
                  <a:gd name="T2" fmla="*/ 12 w 47"/>
                  <a:gd name="T3" fmla="*/ 50 h 54"/>
                  <a:gd name="T4" fmla="*/ 26 w 47"/>
                  <a:gd name="T5" fmla="*/ 54 h 54"/>
                  <a:gd name="T6" fmla="*/ 44 w 47"/>
                  <a:gd name="T7" fmla="*/ 46 h 54"/>
                  <a:gd name="T8" fmla="*/ 44 w 47"/>
                  <a:gd name="T9" fmla="*/ 30 h 54"/>
                  <a:gd name="T10" fmla="*/ 39 w 47"/>
                  <a:gd name="T11" fmla="*/ 9 h 54"/>
                  <a:gd name="T12" fmla="*/ 16 w 47"/>
                  <a:gd name="T13" fmla="*/ 1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54">
                    <a:moveTo>
                      <a:pt x="16" y="18"/>
                    </a:moveTo>
                    <a:cubicBezTo>
                      <a:pt x="3" y="22"/>
                      <a:pt x="0" y="42"/>
                      <a:pt x="12" y="50"/>
                    </a:cubicBezTo>
                    <a:cubicBezTo>
                      <a:pt x="16" y="53"/>
                      <a:pt x="21" y="52"/>
                      <a:pt x="26" y="54"/>
                    </a:cubicBezTo>
                    <a:cubicBezTo>
                      <a:pt x="40" y="49"/>
                      <a:pt x="34" y="52"/>
                      <a:pt x="44" y="46"/>
                    </a:cubicBezTo>
                    <a:cubicBezTo>
                      <a:pt x="47" y="42"/>
                      <a:pt x="45" y="36"/>
                      <a:pt x="44" y="30"/>
                    </a:cubicBezTo>
                    <a:cubicBezTo>
                      <a:pt x="43" y="24"/>
                      <a:pt x="44" y="11"/>
                      <a:pt x="39" y="9"/>
                    </a:cubicBezTo>
                    <a:cubicBezTo>
                      <a:pt x="36" y="0"/>
                      <a:pt x="25" y="15"/>
                      <a:pt x="16" y="1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58" name="Freeform 36">
                <a:extLst>
                  <a:ext uri="{FF2B5EF4-FFF2-40B4-BE49-F238E27FC236}">
                    <a16:creationId xmlns:a16="http://schemas.microsoft.com/office/drawing/2014/main" id="{B679DBF5-03EF-43B2-9833-9335C9F49367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3962401" y="3890963"/>
                <a:ext cx="187325" cy="125413"/>
              </a:xfrm>
              <a:custGeom>
                <a:avLst/>
                <a:gdLst>
                  <a:gd name="T0" fmla="*/ 28 w 116"/>
                  <a:gd name="T1" fmla="*/ 48 h 79"/>
                  <a:gd name="T2" fmla="*/ 6 w 116"/>
                  <a:gd name="T3" fmla="*/ 30 h 79"/>
                  <a:gd name="T4" fmla="*/ 6 w 116"/>
                  <a:gd name="T5" fmla="*/ 24 h 79"/>
                  <a:gd name="T6" fmla="*/ 17 w 116"/>
                  <a:gd name="T7" fmla="*/ 15 h 79"/>
                  <a:gd name="T8" fmla="*/ 30 w 116"/>
                  <a:gd name="T9" fmla="*/ 2 h 79"/>
                  <a:gd name="T10" fmla="*/ 49 w 116"/>
                  <a:gd name="T11" fmla="*/ 7 h 79"/>
                  <a:gd name="T12" fmla="*/ 76 w 116"/>
                  <a:gd name="T13" fmla="*/ 10 h 79"/>
                  <a:gd name="T14" fmla="*/ 102 w 116"/>
                  <a:gd name="T15" fmla="*/ 26 h 79"/>
                  <a:gd name="T16" fmla="*/ 110 w 116"/>
                  <a:gd name="T17" fmla="*/ 38 h 79"/>
                  <a:gd name="T18" fmla="*/ 112 w 116"/>
                  <a:gd name="T19" fmla="*/ 56 h 79"/>
                  <a:gd name="T20" fmla="*/ 113 w 116"/>
                  <a:gd name="T21" fmla="*/ 76 h 79"/>
                  <a:gd name="T22" fmla="*/ 91 w 116"/>
                  <a:gd name="T23" fmla="*/ 79 h 79"/>
                  <a:gd name="T24" fmla="*/ 72 w 116"/>
                  <a:gd name="T25" fmla="*/ 68 h 79"/>
                  <a:gd name="T26" fmla="*/ 69 w 116"/>
                  <a:gd name="T27" fmla="*/ 58 h 79"/>
                  <a:gd name="T28" fmla="*/ 68 w 116"/>
                  <a:gd name="T29" fmla="*/ 49 h 79"/>
                  <a:gd name="T30" fmla="*/ 65 w 116"/>
                  <a:gd name="T31" fmla="*/ 39 h 79"/>
                  <a:gd name="T32" fmla="*/ 46 w 116"/>
                  <a:gd name="T33" fmla="*/ 40 h 79"/>
                  <a:gd name="T34" fmla="*/ 38 w 116"/>
                  <a:gd name="T35" fmla="*/ 46 h 79"/>
                  <a:gd name="T36" fmla="*/ 28 w 116"/>
                  <a:gd name="T37" fmla="*/ 4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6" h="79">
                    <a:moveTo>
                      <a:pt x="28" y="48"/>
                    </a:moveTo>
                    <a:cubicBezTo>
                      <a:pt x="25" y="31"/>
                      <a:pt x="23" y="32"/>
                      <a:pt x="6" y="30"/>
                    </a:cubicBezTo>
                    <a:cubicBezTo>
                      <a:pt x="0" y="24"/>
                      <a:pt x="11" y="31"/>
                      <a:pt x="6" y="24"/>
                    </a:cubicBezTo>
                    <a:cubicBezTo>
                      <a:pt x="7" y="21"/>
                      <a:pt x="13" y="19"/>
                      <a:pt x="17" y="15"/>
                    </a:cubicBezTo>
                    <a:cubicBezTo>
                      <a:pt x="21" y="11"/>
                      <a:pt x="25" y="3"/>
                      <a:pt x="30" y="2"/>
                    </a:cubicBezTo>
                    <a:cubicBezTo>
                      <a:pt x="35" y="0"/>
                      <a:pt x="41" y="6"/>
                      <a:pt x="49" y="7"/>
                    </a:cubicBezTo>
                    <a:cubicBezTo>
                      <a:pt x="57" y="8"/>
                      <a:pt x="67" y="7"/>
                      <a:pt x="76" y="10"/>
                    </a:cubicBezTo>
                    <a:cubicBezTo>
                      <a:pt x="85" y="13"/>
                      <a:pt x="96" y="21"/>
                      <a:pt x="102" y="26"/>
                    </a:cubicBezTo>
                    <a:cubicBezTo>
                      <a:pt x="104" y="30"/>
                      <a:pt x="110" y="38"/>
                      <a:pt x="110" y="38"/>
                    </a:cubicBezTo>
                    <a:cubicBezTo>
                      <a:pt x="108" y="44"/>
                      <a:pt x="112" y="56"/>
                      <a:pt x="112" y="56"/>
                    </a:cubicBezTo>
                    <a:cubicBezTo>
                      <a:pt x="111" y="61"/>
                      <a:pt x="116" y="72"/>
                      <a:pt x="113" y="76"/>
                    </a:cubicBezTo>
                    <a:cubicBezTo>
                      <a:pt x="111" y="79"/>
                      <a:pt x="91" y="79"/>
                      <a:pt x="91" y="79"/>
                    </a:cubicBezTo>
                    <a:cubicBezTo>
                      <a:pt x="79" y="77"/>
                      <a:pt x="82" y="71"/>
                      <a:pt x="72" y="68"/>
                    </a:cubicBezTo>
                    <a:cubicBezTo>
                      <a:pt x="68" y="65"/>
                      <a:pt x="71" y="63"/>
                      <a:pt x="69" y="58"/>
                    </a:cubicBezTo>
                    <a:cubicBezTo>
                      <a:pt x="68" y="55"/>
                      <a:pt x="69" y="52"/>
                      <a:pt x="68" y="49"/>
                    </a:cubicBezTo>
                    <a:cubicBezTo>
                      <a:pt x="67" y="46"/>
                      <a:pt x="69" y="41"/>
                      <a:pt x="65" y="39"/>
                    </a:cubicBezTo>
                    <a:cubicBezTo>
                      <a:pt x="61" y="35"/>
                      <a:pt x="50" y="39"/>
                      <a:pt x="46" y="40"/>
                    </a:cubicBezTo>
                    <a:cubicBezTo>
                      <a:pt x="42" y="41"/>
                      <a:pt x="41" y="45"/>
                      <a:pt x="38" y="46"/>
                    </a:cubicBezTo>
                    <a:cubicBezTo>
                      <a:pt x="33" y="53"/>
                      <a:pt x="32" y="52"/>
                      <a:pt x="28" y="4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59" name="Freeform 37">
                <a:extLst>
                  <a:ext uri="{FF2B5EF4-FFF2-40B4-BE49-F238E27FC236}">
                    <a16:creationId xmlns:a16="http://schemas.microsoft.com/office/drawing/2014/main" id="{07E33A8B-B30E-4B0B-867E-8EB749ED5F7D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4205288" y="3835400"/>
                <a:ext cx="184150" cy="127000"/>
              </a:xfrm>
              <a:custGeom>
                <a:avLst/>
                <a:gdLst>
                  <a:gd name="T0" fmla="*/ 77 w 114"/>
                  <a:gd name="T1" fmla="*/ 0 h 80"/>
                  <a:gd name="T2" fmla="*/ 34 w 114"/>
                  <a:gd name="T3" fmla="*/ 13 h 80"/>
                  <a:gd name="T4" fmla="*/ 18 w 114"/>
                  <a:gd name="T5" fmla="*/ 27 h 80"/>
                  <a:gd name="T6" fmla="*/ 0 w 114"/>
                  <a:gd name="T7" fmla="*/ 55 h 80"/>
                  <a:gd name="T8" fmla="*/ 12 w 114"/>
                  <a:gd name="T9" fmla="*/ 77 h 80"/>
                  <a:gd name="T10" fmla="*/ 24 w 114"/>
                  <a:gd name="T11" fmla="*/ 75 h 80"/>
                  <a:gd name="T12" fmla="*/ 40 w 114"/>
                  <a:gd name="T13" fmla="*/ 63 h 80"/>
                  <a:gd name="T14" fmla="*/ 80 w 114"/>
                  <a:gd name="T15" fmla="*/ 61 h 80"/>
                  <a:gd name="T16" fmla="*/ 110 w 114"/>
                  <a:gd name="T17" fmla="*/ 55 h 80"/>
                  <a:gd name="T18" fmla="*/ 100 w 114"/>
                  <a:gd name="T19" fmla="*/ 31 h 80"/>
                  <a:gd name="T20" fmla="*/ 86 w 114"/>
                  <a:gd name="T21" fmla="*/ 9 h 80"/>
                  <a:gd name="T22" fmla="*/ 77 w 114"/>
                  <a:gd name="T2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4" h="80">
                    <a:moveTo>
                      <a:pt x="77" y="0"/>
                    </a:moveTo>
                    <a:cubicBezTo>
                      <a:pt x="58" y="2"/>
                      <a:pt x="54" y="11"/>
                      <a:pt x="34" y="13"/>
                    </a:cubicBezTo>
                    <a:cubicBezTo>
                      <a:pt x="31" y="26"/>
                      <a:pt x="30" y="24"/>
                      <a:pt x="18" y="27"/>
                    </a:cubicBezTo>
                    <a:cubicBezTo>
                      <a:pt x="7" y="35"/>
                      <a:pt x="12" y="51"/>
                      <a:pt x="0" y="55"/>
                    </a:cubicBezTo>
                    <a:cubicBezTo>
                      <a:pt x="2" y="67"/>
                      <a:pt x="0" y="73"/>
                      <a:pt x="12" y="77"/>
                    </a:cubicBezTo>
                    <a:cubicBezTo>
                      <a:pt x="15" y="80"/>
                      <a:pt x="19" y="77"/>
                      <a:pt x="24" y="75"/>
                    </a:cubicBezTo>
                    <a:cubicBezTo>
                      <a:pt x="29" y="73"/>
                      <a:pt x="31" y="65"/>
                      <a:pt x="40" y="63"/>
                    </a:cubicBezTo>
                    <a:cubicBezTo>
                      <a:pt x="53" y="62"/>
                      <a:pt x="67" y="62"/>
                      <a:pt x="80" y="61"/>
                    </a:cubicBezTo>
                    <a:cubicBezTo>
                      <a:pt x="98" y="55"/>
                      <a:pt x="88" y="57"/>
                      <a:pt x="110" y="55"/>
                    </a:cubicBezTo>
                    <a:cubicBezTo>
                      <a:pt x="114" y="44"/>
                      <a:pt x="111" y="35"/>
                      <a:pt x="100" y="31"/>
                    </a:cubicBezTo>
                    <a:cubicBezTo>
                      <a:pt x="94" y="22"/>
                      <a:pt x="95" y="15"/>
                      <a:pt x="86" y="9"/>
                    </a:cubicBezTo>
                    <a:cubicBezTo>
                      <a:pt x="81" y="2"/>
                      <a:pt x="71" y="0"/>
                      <a:pt x="77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60" name="Freeform 38">
                <a:extLst>
                  <a:ext uri="{FF2B5EF4-FFF2-40B4-BE49-F238E27FC236}">
                    <a16:creationId xmlns:a16="http://schemas.microsoft.com/office/drawing/2014/main" id="{AF1B831A-8456-42A8-81E4-F4A38887FD2E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5357813" y="3749675"/>
                <a:ext cx="244475" cy="144463"/>
              </a:xfrm>
              <a:custGeom>
                <a:avLst/>
                <a:gdLst>
                  <a:gd name="T0" fmla="*/ 3 w 151"/>
                  <a:gd name="T1" fmla="*/ 27 h 91"/>
                  <a:gd name="T2" fmla="*/ 17 w 151"/>
                  <a:gd name="T3" fmla="*/ 69 h 91"/>
                  <a:gd name="T4" fmla="*/ 39 w 151"/>
                  <a:gd name="T5" fmla="*/ 89 h 91"/>
                  <a:gd name="T6" fmla="*/ 52 w 151"/>
                  <a:gd name="T7" fmla="*/ 84 h 91"/>
                  <a:gd name="T8" fmla="*/ 84 w 151"/>
                  <a:gd name="T9" fmla="*/ 71 h 91"/>
                  <a:gd name="T10" fmla="*/ 108 w 151"/>
                  <a:gd name="T11" fmla="*/ 60 h 91"/>
                  <a:gd name="T12" fmla="*/ 129 w 151"/>
                  <a:gd name="T13" fmla="*/ 53 h 91"/>
                  <a:gd name="T14" fmla="*/ 138 w 151"/>
                  <a:gd name="T15" fmla="*/ 41 h 91"/>
                  <a:gd name="T16" fmla="*/ 148 w 151"/>
                  <a:gd name="T17" fmla="*/ 24 h 91"/>
                  <a:gd name="T18" fmla="*/ 129 w 151"/>
                  <a:gd name="T19" fmla="*/ 0 h 91"/>
                  <a:gd name="T20" fmla="*/ 115 w 151"/>
                  <a:gd name="T21" fmla="*/ 2 h 91"/>
                  <a:gd name="T22" fmla="*/ 88 w 151"/>
                  <a:gd name="T23" fmla="*/ 3 h 91"/>
                  <a:gd name="T24" fmla="*/ 73 w 151"/>
                  <a:gd name="T25" fmla="*/ 6 h 91"/>
                  <a:gd name="T26" fmla="*/ 54 w 151"/>
                  <a:gd name="T27" fmla="*/ 41 h 91"/>
                  <a:gd name="T28" fmla="*/ 40 w 151"/>
                  <a:gd name="T29" fmla="*/ 33 h 91"/>
                  <a:gd name="T30" fmla="*/ 22 w 151"/>
                  <a:gd name="T31" fmla="*/ 26 h 91"/>
                  <a:gd name="T32" fmla="*/ 10 w 151"/>
                  <a:gd name="T33" fmla="*/ 24 h 91"/>
                  <a:gd name="T34" fmla="*/ 3 w 151"/>
                  <a:gd name="T35" fmla="*/ 27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1" h="91">
                    <a:moveTo>
                      <a:pt x="3" y="27"/>
                    </a:moveTo>
                    <a:cubicBezTo>
                      <a:pt x="0" y="42"/>
                      <a:pt x="12" y="55"/>
                      <a:pt x="17" y="69"/>
                    </a:cubicBezTo>
                    <a:cubicBezTo>
                      <a:pt x="17" y="79"/>
                      <a:pt x="33" y="87"/>
                      <a:pt x="39" y="89"/>
                    </a:cubicBezTo>
                    <a:cubicBezTo>
                      <a:pt x="45" y="91"/>
                      <a:pt x="45" y="87"/>
                      <a:pt x="52" y="84"/>
                    </a:cubicBezTo>
                    <a:cubicBezTo>
                      <a:pt x="68" y="74"/>
                      <a:pt x="60" y="76"/>
                      <a:pt x="84" y="71"/>
                    </a:cubicBezTo>
                    <a:cubicBezTo>
                      <a:pt x="90" y="61"/>
                      <a:pt x="97" y="62"/>
                      <a:pt x="108" y="60"/>
                    </a:cubicBezTo>
                    <a:cubicBezTo>
                      <a:pt x="114" y="56"/>
                      <a:pt x="122" y="54"/>
                      <a:pt x="129" y="53"/>
                    </a:cubicBezTo>
                    <a:cubicBezTo>
                      <a:pt x="134" y="49"/>
                      <a:pt x="135" y="46"/>
                      <a:pt x="138" y="41"/>
                    </a:cubicBezTo>
                    <a:cubicBezTo>
                      <a:pt x="140" y="31"/>
                      <a:pt x="151" y="35"/>
                      <a:pt x="148" y="24"/>
                    </a:cubicBezTo>
                    <a:cubicBezTo>
                      <a:pt x="147" y="14"/>
                      <a:pt x="139" y="5"/>
                      <a:pt x="129" y="0"/>
                    </a:cubicBezTo>
                    <a:cubicBezTo>
                      <a:pt x="124" y="1"/>
                      <a:pt x="120" y="2"/>
                      <a:pt x="115" y="2"/>
                    </a:cubicBezTo>
                    <a:cubicBezTo>
                      <a:pt x="106" y="3"/>
                      <a:pt x="97" y="2"/>
                      <a:pt x="88" y="3"/>
                    </a:cubicBezTo>
                    <a:cubicBezTo>
                      <a:pt x="83" y="3"/>
                      <a:pt x="73" y="6"/>
                      <a:pt x="73" y="6"/>
                    </a:cubicBezTo>
                    <a:cubicBezTo>
                      <a:pt x="67" y="16"/>
                      <a:pt x="64" y="33"/>
                      <a:pt x="54" y="41"/>
                    </a:cubicBezTo>
                    <a:cubicBezTo>
                      <a:pt x="48" y="40"/>
                      <a:pt x="45" y="35"/>
                      <a:pt x="40" y="33"/>
                    </a:cubicBezTo>
                    <a:cubicBezTo>
                      <a:pt x="36" y="32"/>
                      <a:pt x="22" y="26"/>
                      <a:pt x="22" y="26"/>
                    </a:cubicBezTo>
                    <a:cubicBezTo>
                      <a:pt x="17" y="17"/>
                      <a:pt x="19" y="22"/>
                      <a:pt x="10" y="24"/>
                    </a:cubicBezTo>
                    <a:cubicBezTo>
                      <a:pt x="5" y="26"/>
                      <a:pt x="7" y="26"/>
                      <a:pt x="3" y="2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61" name="Freeform 39">
                <a:extLst>
                  <a:ext uri="{FF2B5EF4-FFF2-40B4-BE49-F238E27FC236}">
                    <a16:creationId xmlns:a16="http://schemas.microsoft.com/office/drawing/2014/main" id="{A18C1EFC-F283-4799-8DF0-8064BAA1903F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5199063" y="3762375"/>
                <a:ext cx="168275" cy="165100"/>
              </a:xfrm>
              <a:custGeom>
                <a:avLst/>
                <a:gdLst>
                  <a:gd name="T0" fmla="*/ 31 w 106"/>
                  <a:gd name="T1" fmla="*/ 0 h 104"/>
                  <a:gd name="T2" fmla="*/ 55 w 106"/>
                  <a:gd name="T3" fmla="*/ 18 h 104"/>
                  <a:gd name="T4" fmla="*/ 87 w 106"/>
                  <a:gd name="T5" fmla="*/ 46 h 104"/>
                  <a:gd name="T6" fmla="*/ 105 w 106"/>
                  <a:gd name="T7" fmla="*/ 96 h 104"/>
                  <a:gd name="T8" fmla="*/ 90 w 106"/>
                  <a:gd name="T9" fmla="*/ 100 h 104"/>
                  <a:gd name="T10" fmla="*/ 80 w 106"/>
                  <a:gd name="T11" fmla="*/ 91 h 104"/>
                  <a:gd name="T12" fmla="*/ 83 w 106"/>
                  <a:gd name="T13" fmla="*/ 78 h 104"/>
                  <a:gd name="T14" fmla="*/ 77 w 106"/>
                  <a:gd name="T15" fmla="*/ 54 h 104"/>
                  <a:gd name="T16" fmla="*/ 12 w 106"/>
                  <a:gd name="T17" fmla="*/ 54 h 104"/>
                  <a:gd name="T18" fmla="*/ 7 w 106"/>
                  <a:gd name="T19" fmla="*/ 30 h 104"/>
                  <a:gd name="T20" fmla="*/ 31 w 106"/>
                  <a:gd name="T21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104">
                    <a:moveTo>
                      <a:pt x="31" y="0"/>
                    </a:moveTo>
                    <a:cubicBezTo>
                      <a:pt x="52" y="2"/>
                      <a:pt x="35" y="13"/>
                      <a:pt x="55" y="18"/>
                    </a:cubicBezTo>
                    <a:cubicBezTo>
                      <a:pt x="62" y="26"/>
                      <a:pt x="80" y="36"/>
                      <a:pt x="87" y="46"/>
                    </a:cubicBezTo>
                    <a:cubicBezTo>
                      <a:pt x="95" y="59"/>
                      <a:pt x="104" y="87"/>
                      <a:pt x="105" y="96"/>
                    </a:cubicBezTo>
                    <a:cubicBezTo>
                      <a:pt x="106" y="104"/>
                      <a:pt x="94" y="101"/>
                      <a:pt x="90" y="100"/>
                    </a:cubicBezTo>
                    <a:cubicBezTo>
                      <a:pt x="86" y="99"/>
                      <a:pt x="81" y="95"/>
                      <a:pt x="80" y="91"/>
                    </a:cubicBezTo>
                    <a:cubicBezTo>
                      <a:pt x="79" y="87"/>
                      <a:pt x="83" y="84"/>
                      <a:pt x="83" y="78"/>
                    </a:cubicBezTo>
                    <a:cubicBezTo>
                      <a:pt x="83" y="72"/>
                      <a:pt x="89" y="58"/>
                      <a:pt x="77" y="54"/>
                    </a:cubicBezTo>
                    <a:cubicBezTo>
                      <a:pt x="56" y="65"/>
                      <a:pt x="36" y="59"/>
                      <a:pt x="12" y="54"/>
                    </a:cubicBezTo>
                    <a:cubicBezTo>
                      <a:pt x="0" y="51"/>
                      <a:pt x="4" y="39"/>
                      <a:pt x="7" y="30"/>
                    </a:cubicBezTo>
                    <a:cubicBezTo>
                      <a:pt x="10" y="21"/>
                      <a:pt x="26" y="6"/>
                      <a:pt x="31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62" name="Freeform 40">
                <a:extLst>
                  <a:ext uri="{FF2B5EF4-FFF2-40B4-BE49-F238E27FC236}">
                    <a16:creationId xmlns:a16="http://schemas.microsoft.com/office/drawing/2014/main" id="{9B178FD4-5410-4F3E-8680-9761D6D7FDB0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3933826" y="3544888"/>
                <a:ext cx="293688" cy="301625"/>
              </a:xfrm>
              <a:custGeom>
                <a:avLst/>
                <a:gdLst>
                  <a:gd name="T0" fmla="*/ 176 w 182"/>
                  <a:gd name="T1" fmla="*/ 26 h 190"/>
                  <a:gd name="T2" fmla="*/ 156 w 182"/>
                  <a:gd name="T3" fmla="*/ 28 h 190"/>
                  <a:gd name="T4" fmla="*/ 156 w 182"/>
                  <a:gd name="T5" fmla="*/ 82 h 190"/>
                  <a:gd name="T6" fmla="*/ 166 w 182"/>
                  <a:gd name="T7" fmla="*/ 174 h 190"/>
                  <a:gd name="T8" fmla="*/ 62 w 182"/>
                  <a:gd name="T9" fmla="*/ 178 h 190"/>
                  <a:gd name="T10" fmla="*/ 29 w 182"/>
                  <a:gd name="T11" fmla="*/ 161 h 190"/>
                  <a:gd name="T12" fmla="*/ 6 w 182"/>
                  <a:gd name="T13" fmla="*/ 160 h 190"/>
                  <a:gd name="T14" fmla="*/ 6 w 182"/>
                  <a:gd name="T15" fmla="*/ 128 h 190"/>
                  <a:gd name="T16" fmla="*/ 0 w 182"/>
                  <a:gd name="T17" fmla="*/ 104 h 190"/>
                  <a:gd name="T18" fmla="*/ 56 w 182"/>
                  <a:gd name="T19" fmla="*/ 84 h 190"/>
                  <a:gd name="T20" fmla="*/ 54 w 182"/>
                  <a:gd name="T21" fmla="*/ 62 h 190"/>
                  <a:gd name="T22" fmla="*/ 72 w 182"/>
                  <a:gd name="T23" fmla="*/ 48 h 190"/>
                  <a:gd name="T24" fmla="*/ 74 w 182"/>
                  <a:gd name="T25" fmla="*/ 12 h 190"/>
                  <a:gd name="T26" fmla="*/ 118 w 182"/>
                  <a:gd name="T27" fmla="*/ 12 h 190"/>
                  <a:gd name="T28" fmla="*/ 134 w 182"/>
                  <a:gd name="T29" fmla="*/ 0 h 190"/>
                  <a:gd name="T30" fmla="*/ 158 w 182"/>
                  <a:gd name="T31" fmla="*/ 14 h 190"/>
                  <a:gd name="T32" fmla="*/ 176 w 182"/>
                  <a:gd name="T33" fmla="*/ 26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2" h="190">
                    <a:moveTo>
                      <a:pt x="176" y="26"/>
                    </a:moveTo>
                    <a:cubicBezTo>
                      <a:pt x="169" y="27"/>
                      <a:pt x="162" y="26"/>
                      <a:pt x="156" y="28"/>
                    </a:cubicBezTo>
                    <a:cubicBezTo>
                      <a:pt x="139" y="34"/>
                      <a:pt x="155" y="64"/>
                      <a:pt x="156" y="82"/>
                    </a:cubicBezTo>
                    <a:cubicBezTo>
                      <a:pt x="150" y="98"/>
                      <a:pt x="182" y="158"/>
                      <a:pt x="166" y="174"/>
                    </a:cubicBezTo>
                    <a:cubicBezTo>
                      <a:pt x="150" y="190"/>
                      <a:pt x="85" y="180"/>
                      <a:pt x="62" y="178"/>
                    </a:cubicBezTo>
                    <a:cubicBezTo>
                      <a:pt x="52" y="175"/>
                      <a:pt x="41" y="162"/>
                      <a:pt x="29" y="161"/>
                    </a:cubicBezTo>
                    <a:cubicBezTo>
                      <a:pt x="20" y="160"/>
                      <a:pt x="15" y="161"/>
                      <a:pt x="6" y="160"/>
                    </a:cubicBezTo>
                    <a:cubicBezTo>
                      <a:pt x="8" y="144"/>
                      <a:pt x="11" y="143"/>
                      <a:pt x="6" y="128"/>
                    </a:cubicBezTo>
                    <a:cubicBezTo>
                      <a:pt x="3" y="120"/>
                      <a:pt x="0" y="104"/>
                      <a:pt x="0" y="104"/>
                    </a:cubicBezTo>
                    <a:cubicBezTo>
                      <a:pt x="4" y="75"/>
                      <a:pt x="19" y="87"/>
                      <a:pt x="56" y="84"/>
                    </a:cubicBezTo>
                    <a:cubicBezTo>
                      <a:pt x="61" y="74"/>
                      <a:pt x="60" y="71"/>
                      <a:pt x="54" y="62"/>
                    </a:cubicBezTo>
                    <a:cubicBezTo>
                      <a:pt x="57" y="50"/>
                      <a:pt x="60" y="50"/>
                      <a:pt x="72" y="48"/>
                    </a:cubicBezTo>
                    <a:cubicBezTo>
                      <a:pt x="73" y="36"/>
                      <a:pt x="65" y="19"/>
                      <a:pt x="74" y="12"/>
                    </a:cubicBezTo>
                    <a:cubicBezTo>
                      <a:pt x="81" y="4"/>
                      <a:pt x="104" y="12"/>
                      <a:pt x="118" y="12"/>
                    </a:cubicBezTo>
                    <a:cubicBezTo>
                      <a:pt x="128" y="10"/>
                      <a:pt x="127" y="0"/>
                      <a:pt x="134" y="0"/>
                    </a:cubicBezTo>
                    <a:cubicBezTo>
                      <a:pt x="141" y="0"/>
                      <a:pt x="151" y="10"/>
                      <a:pt x="158" y="14"/>
                    </a:cubicBezTo>
                    <a:cubicBezTo>
                      <a:pt x="163" y="22"/>
                      <a:pt x="167" y="24"/>
                      <a:pt x="176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63" name="Freeform 41">
                <a:extLst>
                  <a:ext uri="{FF2B5EF4-FFF2-40B4-BE49-F238E27FC236}">
                    <a16:creationId xmlns:a16="http://schemas.microsoft.com/office/drawing/2014/main" id="{C515C968-E979-4F0E-BAF9-C16F585539FC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5572126" y="3590925"/>
                <a:ext cx="190500" cy="207963"/>
              </a:xfrm>
              <a:custGeom>
                <a:avLst/>
                <a:gdLst>
                  <a:gd name="T0" fmla="*/ 53 w 120"/>
                  <a:gd name="T1" fmla="*/ 37 h 131"/>
                  <a:gd name="T2" fmla="*/ 69 w 120"/>
                  <a:gd name="T3" fmla="*/ 0 h 131"/>
                  <a:gd name="T4" fmla="*/ 113 w 120"/>
                  <a:gd name="T5" fmla="*/ 22 h 131"/>
                  <a:gd name="T6" fmla="*/ 120 w 120"/>
                  <a:gd name="T7" fmla="*/ 40 h 131"/>
                  <a:gd name="T8" fmla="*/ 111 w 120"/>
                  <a:gd name="T9" fmla="*/ 64 h 131"/>
                  <a:gd name="T10" fmla="*/ 90 w 120"/>
                  <a:gd name="T11" fmla="*/ 75 h 131"/>
                  <a:gd name="T12" fmla="*/ 75 w 120"/>
                  <a:gd name="T13" fmla="*/ 99 h 131"/>
                  <a:gd name="T14" fmla="*/ 51 w 120"/>
                  <a:gd name="T15" fmla="*/ 118 h 131"/>
                  <a:gd name="T16" fmla="*/ 30 w 120"/>
                  <a:gd name="T17" fmla="*/ 127 h 131"/>
                  <a:gd name="T18" fmla="*/ 14 w 120"/>
                  <a:gd name="T19" fmla="*/ 120 h 131"/>
                  <a:gd name="T20" fmla="*/ 3 w 120"/>
                  <a:gd name="T21" fmla="*/ 102 h 131"/>
                  <a:gd name="T22" fmla="*/ 26 w 120"/>
                  <a:gd name="T23" fmla="*/ 88 h 131"/>
                  <a:gd name="T24" fmla="*/ 41 w 120"/>
                  <a:gd name="T25" fmla="*/ 75 h 131"/>
                  <a:gd name="T26" fmla="*/ 53 w 120"/>
                  <a:gd name="T27" fmla="*/ 3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131">
                    <a:moveTo>
                      <a:pt x="53" y="37"/>
                    </a:moveTo>
                    <a:cubicBezTo>
                      <a:pt x="55" y="24"/>
                      <a:pt x="58" y="9"/>
                      <a:pt x="69" y="0"/>
                    </a:cubicBezTo>
                    <a:cubicBezTo>
                      <a:pt x="76" y="20"/>
                      <a:pt x="95" y="19"/>
                      <a:pt x="113" y="22"/>
                    </a:cubicBezTo>
                    <a:cubicBezTo>
                      <a:pt x="114" y="31"/>
                      <a:pt x="115" y="33"/>
                      <a:pt x="120" y="40"/>
                    </a:cubicBezTo>
                    <a:cubicBezTo>
                      <a:pt x="119" y="51"/>
                      <a:pt x="117" y="55"/>
                      <a:pt x="111" y="64"/>
                    </a:cubicBezTo>
                    <a:cubicBezTo>
                      <a:pt x="109" y="74"/>
                      <a:pt x="99" y="73"/>
                      <a:pt x="90" y="75"/>
                    </a:cubicBezTo>
                    <a:cubicBezTo>
                      <a:pt x="87" y="91"/>
                      <a:pt x="93" y="96"/>
                      <a:pt x="75" y="99"/>
                    </a:cubicBezTo>
                    <a:cubicBezTo>
                      <a:pt x="74" y="108"/>
                      <a:pt x="61" y="116"/>
                      <a:pt x="51" y="118"/>
                    </a:cubicBezTo>
                    <a:cubicBezTo>
                      <a:pt x="43" y="122"/>
                      <a:pt x="39" y="126"/>
                      <a:pt x="30" y="127"/>
                    </a:cubicBezTo>
                    <a:cubicBezTo>
                      <a:pt x="22" y="131"/>
                      <a:pt x="20" y="124"/>
                      <a:pt x="14" y="120"/>
                    </a:cubicBezTo>
                    <a:cubicBezTo>
                      <a:pt x="10" y="113"/>
                      <a:pt x="7" y="109"/>
                      <a:pt x="3" y="102"/>
                    </a:cubicBezTo>
                    <a:cubicBezTo>
                      <a:pt x="0" y="88"/>
                      <a:pt x="16" y="89"/>
                      <a:pt x="26" y="88"/>
                    </a:cubicBezTo>
                    <a:cubicBezTo>
                      <a:pt x="32" y="83"/>
                      <a:pt x="33" y="77"/>
                      <a:pt x="41" y="75"/>
                    </a:cubicBezTo>
                    <a:cubicBezTo>
                      <a:pt x="56" y="64"/>
                      <a:pt x="54" y="59"/>
                      <a:pt x="53" y="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64" name="Freeform 42">
                <a:extLst>
                  <a:ext uri="{FF2B5EF4-FFF2-40B4-BE49-F238E27FC236}">
                    <a16:creationId xmlns:a16="http://schemas.microsoft.com/office/drawing/2014/main" id="{CF3CCC67-68CF-463C-99F4-048E1B65320D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5561013" y="3540125"/>
                <a:ext cx="125413" cy="115888"/>
              </a:xfrm>
              <a:custGeom>
                <a:avLst/>
                <a:gdLst>
                  <a:gd name="T0" fmla="*/ 7 w 78"/>
                  <a:gd name="T1" fmla="*/ 44 h 73"/>
                  <a:gd name="T2" fmla="*/ 43 w 78"/>
                  <a:gd name="T3" fmla="*/ 39 h 73"/>
                  <a:gd name="T4" fmla="*/ 59 w 78"/>
                  <a:gd name="T5" fmla="*/ 18 h 73"/>
                  <a:gd name="T6" fmla="*/ 74 w 78"/>
                  <a:gd name="T7" fmla="*/ 0 h 73"/>
                  <a:gd name="T8" fmla="*/ 76 w 78"/>
                  <a:gd name="T9" fmla="*/ 32 h 73"/>
                  <a:gd name="T10" fmla="*/ 67 w 78"/>
                  <a:gd name="T11" fmla="*/ 38 h 73"/>
                  <a:gd name="T12" fmla="*/ 64 w 78"/>
                  <a:gd name="T13" fmla="*/ 54 h 73"/>
                  <a:gd name="T14" fmla="*/ 53 w 78"/>
                  <a:gd name="T15" fmla="*/ 69 h 73"/>
                  <a:gd name="T16" fmla="*/ 14 w 78"/>
                  <a:gd name="T17" fmla="*/ 66 h 73"/>
                  <a:gd name="T18" fmla="*/ 5 w 78"/>
                  <a:gd name="T19" fmla="*/ 57 h 73"/>
                  <a:gd name="T20" fmla="*/ 4 w 78"/>
                  <a:gd name="T21" fmla="*/ 47 h 73"/>
                  <a:gd name="T22" fmla="*/ 7 w 78"/>
                  <a:gd name="T23" fmla="*/ 4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8" h="73">
                    <a:moveTo>
                      <a:pt x="7" y="44"/>
                    </a:moveTo>
                    <a:cubicBezTo>
                      <a:pt x="21" y="34"/>
                      <a:pt x="3" y="46"/>
                      <a:pt x="43" y="39"/>
                    </a:cubicBezTo>
                    <a:cubicBezTo>
                      <a:pt x="47" y="38"/>
                      <a:pt x="55" y="21"/>
                      <a:pt x="59" y="18"/>
                    </a:cubicBezTo>
                    <a:cubicBezTo>
                      <a:pt x="65" y="19"/>
                      <a:pt x="76" y="3"/>
                      <a:pt x="74" y="0"/>
                    </a:cubicBezTo>
                    <a:cubicBezTo>
                      <a:pt x="75" y="1"/>
                      <a:pt x="76" y="31"/>
                      <a:pt x="76" y="32"/>
                    </a:cubicBezTo>
                    <a:cubicBezTo>
                      <a:pt x="72" y="48"/>
                      <a:pt x="78" y="36"/>
                      <a:pt x="67" y="38"/>
                    </a:cubicBezTo>
                    <a:cubicBezTo>
                      <a:pt x="65" y="42"/>
                      <a:pt x="66" y="49"/>
                      <a:pt x="64" y="54"/>
                    </a:cubicBezTo>
                    <a:cubicBezTo>
                      <a:pt x="62" y="59"/>
                      <a:pt x="61" y="67"/>
                      <a:pt x="53" y="69"/>
                    </a:cubicBezTo>
                    <a:cubicBezTo>
                      <a:pt x="45" y="73"/>
                      <a:pt x="22" y="68"/>
                      <a:pt x="14" y="66"/>
                    </a:cubicBezTo>
                    <a:cubicBezTo>
                      <a:pt x="6" y="64"/>
                      <a:pt x="7" y="60"/>
                      <a:pt x="5" y="57"/>
                    </a:cubicBezTo>
                    <a:cubicBezTo>
                      <a:pt x="3" y="53"/>
                      <a:pt x="0" y="51"/>
                      <a:pt x="4" y="47"/>
                    </a:cubicBezTo>
                    <a:cubicBezTo>
                      <a:pt x="7" y="44"/>
                      <a:pt x="9" y="46"/>
                      <a:pt x="7" y="4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65" name="Freeform 43">
                <a:extLst>
                  <a:ext uri="{FF2B5EF4-FFF2-40B4-BE49-F238E27FC236}">
                    <a16:creationId xmlns:a16="http://schemas.microsoft.com/office/drawing/2014/main" id="{735375E6-7DB9-4313-887A-60888083AED3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5529263" y="3554413"/>
                <a:ext cx="49213" cy="50800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66" name="Freeform 45">
                <a:extLst>
                  <a:ext uri="{FF2B5EF4-FFF2-40B4-BE49-F238E27FC236}">
                    <a16:creationId xmlns:a16="http://schemas.microsoft.com/office/drawing/2014/main" id="{A4A06BAB-97E0-475C-8259-EFF8A41A02E5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4618038" y="4329113"/>
                <a:ext cx="295275" cy="301625"/>
              </a:xfrm>
              <a:custGeom>
                <a:avLst/>
                <a:gdLst>
                  <a:gd name="T0" fmla="*/ 0 w 183"/>
                  <a:gd name="T1" fmla="*/ 174 h 190"/>
                  <a:gd name="T2" fmla="*/ 10 w 183"/>
                  <a:gd name="T3" fmla="*/ 129 h 190"/>
                  <a:gd name="T4" fmla="*/ 15 w 183"/>
                  <a:gd name="T5" fmla="*/ 112 h 190"/>
                  <a:gd name="T6" fmla="*/ 28 w 183"/>
                  <a:gd name="T7" fmla="*/ 97 h 190"/>
                  <a:gd name="T8" fmla="*/ 22 w 183"/>
                  <a:gd name="T9" fmla="*/ 69 h 190"/>
                  <a:gd name="T10" fmla="*/ 22 w 183"/>
                  <a:gd name="T11" fmla="*/ 34 h 190"/>
                  <a:gd name="T12" fmla="*/ 12 w 183"/>
                  <a:gd name="T13" fmla="*/ 16 h 190"/>
                  <a:gd name="T14" fmla="*/ 30 w 183"/>
                  <a:gd name="T15" fmla="*/ 4 h 190"/>
                  <a:gd name="T16" fmla="*/ 60 w 183"/>
                  <a:gd name="T17" fmla="*/ 1 h 190"/>
                  <a:gd name="T18" fmla="*/ 70 w 183"/>
                  <a:gd name="T19" fmla="*/ 3 h 190"/>
                  <a:gd name="T20" fmla="*/ 79 w 183"/>
                  <a:gd name="T21" fmla="*/ 28 h 190"/>
                  <a:gd name="T22" fmla="*/ 103 w 183"/>
                  <a:gd name="T23" fmla="*/ 31 h 190"/>
                  <a:gd name="T24" fmla="*/ 123 w 183"/>
                  <a:gd name="T25" fmla="*/ 25 h 190"/>
                  <a:gd name="T26" fmla="*/ 144 w 183"/>
                  <a:gd name="T27" fmla="*/ 30 h 190"/>
                  <a:gd name="T28" fmla="*/ 151 w 183"/>
                  <a:gd name="T29" fmla="*/ 42 h 190"/>
                  <a:gd name="T30" fmla="*/ 150 w 183"/>
                  <a:gd name="T31" fmla="*/ 58 h 190"/>
                  <a:gd name="T32" fmla="*/ 157 w 183"/>
                  <a:gd name="T33" fmla="*/ 78 h 190"/>
                  <a:gd name="T34" fmla="*/ 180 w 183"/>
                  <a:gd name="T35" fmla="*/ 81 h 190"/>
                  <a:gd name="T36" fmla="*/ 175 w 183"/>
                  <a:gd name="T37" fmla="*/ 103 h 190"/>
                  <a:gd name="T38" fmla="*/ 151 w 183"/>
                  <a:gd name="T39" fmla="*/ 109 h 190"/>
                  <a:gd name="T40" fmla="*/ 145 w 183"/>
                  <a:gd name="T41" fmla="*/ 139 h 190"/>
                  <a:gd name="T42" fmla="*/ 151 w 183"/>
                  <a:gd name="T43" fmla="*/ 178 h 190"/>
                  <a:gd name="T44" fmla="*/ 97 w 183"/>
                  <a:gd name="T45" fmla="*/ 180 h 190"/>
                  <a:gd name="T46" fmla="*/ 37 w 183"/>
                  <a:gd name="T47" fmla="*/ 183 h 190"/>
                  <a:gd name="T48" fmla="*/ 0 w 183"/>
                  <a:gd name="T49" fmla="*/ 17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3" h="190">
                    <a:moveTo>
                      <a:pt x="0" y="174"/>
                    </a:moveTo>
                    <a:cubicBezTo>
                      <a:pt x="1" y="156"/>
                      <a:pt x="0" y="143"/>
                      <a:pt x="10" y="129"/>
                    </a:cubicBezTo>
                    <a:cubicBezTo>
                      <a:pt x="8" y="120"/>
                      <a:pt x="6" y="118"/>
                      <a:pt x="15" y="112"/>
                    </a:cubicBezTo>
                    <a:cubicBezTo>
                      <a:pt x="19" y="107"/>
                      <a:pt x="23" y="101"/>
                      <a:pt x="28" y="97"/>
                    </a:cubicBezTo>
                    <a:cubicBezTo>
                      <a:pt x="26" y="87"/>
                      <a:pt x="28" y="77"/>
                      <a:pt x="22" y="69"/>
                    </a:cubicBezTo>
                    <a:cubicBezTo>
                      <a:pt x="20" y="57"/>
                      <a:pt x="20" y="47"/>
                      <a:pt x="22" y="34"/>
                    </a:cubicBezTo>
                    <a:cubicBezTo>
                      <a:pt x="17" y="28"/>
                      <a:pt x="19" y="21"/>
                      <a:pt x="12" y="16"/>
                    </a:cubicBezTo>
                    <a:cubicBezTo>
                      <a:pt x="13" y="10"/>
                      <a:pt x="22" y="6"/>
                      <a:pt x="30" y="4"/>
                    </a:cubicBezTo>
                    <a:cubicBezTo>
                      <a:pt x="38" y="2"/>
                      <a:pt x="53" y="1"/>
                      <a:pt x="60" y="1"/>
                    </a:cubicBezTo>
                    <a:cubicBezTo>
                      <a:pt x="63" y="2"/>
                      <a:pt x="68" y="0"/>
                      <a:pt x="70" y="3"/>
                    </a:cubicBezTo>
                    <a:cubicBezTo>
                      <a:pt x="73" y="6"/>
                      <a:pt x="74" y="23"/>
                      <a:pt x="79" y="28"/>
                    </a:cubicBezTo>
                    <a:cubicBezTo>
                      <a:pt x="84" y="33"/>
                      <a:pt x="96" y="32"/>
                      <a:pt x="103" y="31"/>
                    </a:cubicBezTo>
                    <a:cubicBezTo>
                      <a:pt x="118" y="29"/>
                      <a:pt x="112" y="33"/>
                      <a:pt x="123" y="25"/>
                    </a:cubicBezTo>
                    <a:cubicBezTo>
                      <a:pt x="133" y="26"/>
                      <a:pt x="139" y="21"/>
                      <a:pt x="144" y="30"/>
                    </a:cubicBezTo>
                    <a:cubicBezTo>
                      <a:pt x="149" y="34"/>
                      <a:pt x="150" y="37"/>
                      <a:pt x="151" y="42"/>
                    </a:cubicBezTo>
                    <a:cubicBezTo>
                      <a:pt x="152" y="47"/>
                      <a:pt x="149" y="52"/>
                      <a:pt x="150" y="58"/>
                    </a:cubicBezTo>
                    <a:cubicBezTo>
                      <a:pt x="153" y="65"/>
                      <a:pt x="152" y="74"/>
                      <a:pt x="157" y="78"/>
                    </a:cubicBezTo>
                    <a:cubicBezTo>
                      <a:pt x="162" y="82"/>
                      <a:pt x="177" y="77"/>
                      <a:pt x="180" y="81"/>
                    </a:cubicBezTo>
                    <a:cubicBezTo>
                      <a:pt x="183" y="85"/>
                      <a:pt x="180" y="98"/>
                      <a:pt x="175" y="103"/>
                    </a:cubicBezTo>
                    <a:cubicBezTo>
                      <a:pt x="168" y="107"/>
                      <a:pt x="159" y="108"/>
                      <a:pt x="151" y="109"/>
                    </a:cubicBezTo>
                    <a:cubicBezTo>
                      <a:pt x="146" y="115"/>
                      <a:pt x="145" y="128"/>
                      <a:pt x="145" y="139"/>
                    </a:cubicBezTo>
                    <a:cubicBezTo>
                      <a:pt x="145" y="150"/>
                      <a:pt x="159" y="171"/>
                      <a:pt x="151" y="178"/>
                    </a:cubicBezTo>
                    <a:cubicBezTo>
                      <a:pt x="143" y="190"/>
                      <a:pt x="118" y="179"/>
                      <a:pt x="97" y="180"/>
                    </a:cubicBezTo>
                    <a:cubicBezTo>
                      <a:pt x="77" y="170"/>
                      <a:pt x="59" y="185"/>
                      <a:pt x="37" y="183"/>
                    </a:cubicBezTo>
                    <a:cubicBezTo>
                      <a:pt x="19" y="176"/>
                      <a:pt x="31" y="167"/>
                      <a:pt x="0" y="17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67" name="Freeform 46">
                <a:extLst>
                  <a:ext uri="{FF2B5EF4-FFF2-40B4-BE49-F238E27FC236}">
                    <a16:creationId xmlns:a16="http://schemas.microsoft.com/office/drawing/2014/main" id="{3E539033-4240-47A5-8092-16A3BAC1E3C8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4546601" y="3921125"/>
                <a:ext cx="171450" cy="231775"/>
              </a:xfrm>
              <a:custGeom>
                <a:avLst/>
                <a:gdLst>
                  <a:gd name="T0" fmla="*/ 17 w 106"/>
                  <a:gd name="T1" fmla="*/ 143 h 146"/>
                  <a:gd name="T2" fmla="*/ 6 w 106"/>
                  <a:gd name="T3" fmla="*/ 119 h 146"/>
                  <a:gd name="T4" fmla="*/ 0 w 106"/>
                  <a:gd name="T5" fmla="*/ 96 h 146"/>
                  <a:gd name="T6" fmla="*/ 17 w 106"/>
                  <a:gd name="T7" fmla="*/ 77 h 146"/>
                  <a:gd name="T8" fmla="*/ 30 w 106"/>
                  <a:gd name="T9" fmla="*/ 68 h 146"/>
                  <a:gd name="T10" fmla="*/ 42 w 106"/>
                  <a:gd name="T11" fmla="*/ 72 h 146"/>
                  <a:gd name="T12" fmla="*/ 54 w 106"/>
                  <a:gd name="T13" fmla="*/ 47 h 146"/>
                  <a:gd name="T14" fmla="*/ 62 w 106"/>
                  <a:gd name="T15" fmla="*/ 33 h 146"/>
                  <a:gd name="T16" fmla="*/ 68 w 106"/>
                  <a:gd name="T17" fmla="*/ 18 h 146"/>
                  <a:gd name="T18" fmla="*/ 80 w 106"/>
                  <a:gd name="T19" fmla="*/ 2 h 146"/>
                  <a:gd name="T20" fmla="*/ 89 w 106"/>
                  <a:gd name="T21" fmla="*/ 6 h 146"/>
                  <a:gd name="T22" fmla="*/ 96 w 106"/>
                  <a:gd name="T23" fmla="*/ 18 h 146"/>
                  <a:gd name="T24" fmla="*/ 83 w 106"/>
                  <a:gd name="T25" fmla="*/ 27 h 146"/>
                  <a:gd name="T26" fmla="*/ 98 w 106"/>
                  <a:gd name="T27" fmla="*/ 60 h 146"/>
                  <a:gd name="T28" fmla="*/ 89 w 106"/>
                  <a:gd name="T29" fmla="*/ 72 h 146"/>
                  <a:gd name="T30" fmla="*/ 92 w 106"/>
                  <a:gd name="T31" fmla="*/ 98 h 146"/>
                  <a:gd name="T32" fmla="*/ 96 w 106"/>
                  <a:gd name="T33" fmla="*/ 113 h 146"/>
                  <a:gd name="T34" fmla="*/ 95 w 106"/>
                  <a:gd name="T35" fmla="*/ 120 h 146"/>
                  <a:gd name="T36" fmla="*/ 104 w 106"/>
                  <a:gd name="T37" fmla="*/ 126 h 146"/>
                  <a:gd name="T38" fmla="*/ 80 w 106"/>
                  <a:gd name="T39" fmla="*/ 140 h 146"/>
                  <a:gd name="T40" fmla="*/ 17 w 106"/>
                  <a:gd name="T41" fmla="*/ 143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6" h="146">
                    <a:moveTo>
                      <a:pt x="17" y="143"/>
                    </a:moveTo>
                    <a:cubicBezTo>
                      <a:pt x="15" y="127"/>
                      <a:pt x="20" y="122"/>
                      <a:pt x="6" y="119"/>
                    </a:cubicBezTo>
                    <a:cubicBezTo>
                      <a:pt x="2" y="112"/>
                      <a:pt x="0" y="96"/>
                      <a:pt x="0" y="96"/>
                    </a:cubicBezTo>
                    <a:cubicBezTo>
                      <a:pt x="2" y="78"/>
                      <a:pt x="0" y="79"/>
                      <a:pt x="17" y="77"/>
                    </a:cubicBezTo>
                    <a:cubicBezTo>
                      <a:pt x="21" y="70"/>
                      <a:pt x="22" y="69"/>
                      <a:pt x="30" y="68"/>
                    </a:cubicBezTo>
                    <a:cubicBezTo>
                      <a:pt x="36" y="72"/>
                      <a:pt x="36" y="77"/>
                      <a:pt x="42" y="72"/>
                    </a:cubicBezTo>
                    <a:cubicBezTo>
                      <a:pt x="47" y="57"/>
                      <a:pt x="42" y="56"/>
                      <a:pt x="54" y="47"/>
                    </a:cubicBezTo>
                    <a:cubicBezTo>
                      <a:pt x="57" y="40"/>
                      <a:pt x="55" y="37"/>
                      <a:pt x="62" y="33"/>
                    </a:cubicBezTo>
                    <a:cubicBezTo>
                      <a:pt x="63" y="27"/>
                      <a:pt x="66" y="24"/>
                      <a:pt x="68" y="18"/>
                    </a:cubicBezTo>
                    <a:cubicBezTo>
                      <a:pt x="69" y="1"/>
                      <a:pt x="69" y="9"/>
                      <a:pt x="80" y="2"/>
                    </a:cubicBezTo>
                    <a:cubicBezTo>
                      <a:pt x="84" y="0"/>
                      <a:pt x="86" y="3"/>
                      <a:pt x="89" y="6"/>
                    </a:cubicBezTo>
                    <a:cubicBezTo>
                      <a:pt x="92" y="9"/>
                      <a:pt x="97" y="15"/>
                      <a:pt x="96" y="18"/>
                    </a:cubicBezTo>
                    <a:cubicBezTo>
                      <a:pt x="90" y="21"/>
                      <a:pt x="90" y="26"/>
                      <a:pt x="83" y="27"/>
                    </a:cubicBezTo>
                    <a:cubicBezTo>
                      <a:pt x="83" y="34"/>
                      <a:pt x="97" y="53"/>
                      <a:pt x="98" y="60"/>
                    </a:cubicBezTo>
                    <a:cubicBezTo>
                      <a:pt x="99" y="67"/>
                      <a:pt x="90" y="66"/>
                      <a:pt x="89" y="72"/>
                    </a:cubicBezTo>
                    <a:cubicBezTo>
                      <a:pt x="87" y="80"/>
                      <a:pt x="92" y="92"/>
                      <a:pt x="92" y="98"/>
                    </a:cubicBezTo>
                    <a:cubicBezTo>
                      <a:pt x="93" y="105"/>
                      <a:pt x="96" y="109"/>
                      <a:pt x="96" y="113"/>
                    </a:cubicBezTo>
                    <a:cubicBezTo>
                      <a:pt x="97" y="121"/>
                      <a:pt x="94" y="118"/>
                      <a:pt x="95" y="120"/>
                    </a:cubicBezTo>
                    <a:cubicBezTo>
                      <a:pt x="96" y="122"/>
                      <a:pt x="106" y="123"/>
                      <a:pt x="104" y="126"/>
                    </a:cubicBezTo>
                    <a:cubicBezTo>
                      <a:pt x="101" y="146"/>
                      <a:pt x="100" y="141"/>
                      <a:pt x="80" y="140"/>
                    </a:cubicBezTo>
                    <a:cubicBezTo>
                      <a:pt x="57" y="131"/>
                      <a:pt x="77" y="138"/>
                      <a:pt x="17" y="14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68" name="Freeform 47">
                <a:extLst>
                  <a:ext uri="{FF2B5EF4-FFF2-40B4-BE49-F238E27FC236}">
                    <a16:creationId xmlns:a16="http://schemas.microsoft.com/office/drawing/2014/main" id="{6C421935-E6FB-4551-966A-B95F4179166E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gray">
              <a:xfrm>
                <a:off x="4395788" y="3871913"/>
                <a:ext cx="287338" cy="214313"/>
              </a:xfrm>
              <a:custGeom>
                <a:avLst/>
                <a:gdLst>
                  <a:gd name="T0" fmla="*/ 88 w 178"/>
                  <a:gd name="T1" fmla="*/ 130 h 135"/>
                  <a:gd name="T2" fmla="*/ 48 w 178"/>
                  <a:gd name="T3" fmla="*/ 132 h 135"/>
                  <a:gd name="T4" fmla="*/ 33 w 178"/>
                  <a:gd name="T5" fmla="*/ 109 h 135"/>
                  <a:gd name="T6" fmla="*/ 6 w 178"/>
                  <a:gd name="T7" fmla="*/ 102 h 135"/>
                  <a:gd name="T8" fmla="*/ 15 w 178"/>
                  <a:gd name="T9" fmla="*/ 61 h 135"/>
                  <a:gd name="T10" fmla="*/ 19 w 178"/>
                  <a:gd name="T11" fmla="*/ 24 h 135"/>
                  <a:gd name="T12" fmla="*/ 25 w 178"/>
                  <a:gd name="T13" fmla="*/ 6 h 135"/>
                  <a:gd name="T14" fmla="*/ 31 w 178"/>
                  <a:gd name="T15" fmla="*/ 3 h 135"/>
                  <a:gd name="T16" fmla="*/ 45 w 178"/>
                  <a:gd name="T17" fmla="*/ 0 h 135"/>
                  <a:gd name="T18" fmla="*/ 70 w 178"/>
                  <a:gd name="T19" fmla="*/ 4 h 135"/>
                  <a:gd name="T20" fmla="*/ 90 w 178"/>
                  <a:gd name="T21" fmla="*/ 9 h 135"/>
                  <a:gd name="T22" fmla="*/ 99 w 178"/>
                  <a:gd name="T23" fmla="*/ 9 h 135"/>
                  <a:gd name="T24" fmla="*/ 115 w 178"/>
                  <a:gd name="T25" fmla="*/ 4 h 135"/>
                  <a:gd name="T26" fmla="*/ 133 w 178"/>
                  <a:gd name="T27" fmla="*/ 3 h 135"/>
                  <a:gd name="T28" fmla="*/ 148 w 178"/>
                  <a:gd name="T29" fmla="*/ 6 h 135"/>
                  <a:gd name="T30" fmla="*/ 160 w 178"/>
                  <a:gd name="T31" fmla="*/ 4 h 135"/>
                  <a:gd name="T32" fmla="*/ 171 w 178"/>
                  <a:gd name="T33" fmla="*/ 13 h 135"/>
                  <a:gd name="T34" fmla="*/ 178 w 178"/>
                  <a:gd name="T35" fmla="*/ 27 h 135"/>
                  <a:gd name="T36" fmla="*/ 166 w 178"/>
                  <a:gd name="T37" fmla="*/ 37 h 135"/>
                  <a:gd name="T38" fmla="*/ 160 w 178"/>
                  <a:gd name="T39" fmla="*/ 52 h 135"/>
                  <a:gd name="T40" fmla="*/ 156 w 178"/>
                  <a:gd name="T41" fmla="*/ 63 h 135"/>
                  <a:gd name="T42" fmla="*/ 151 w 178"/>
                  <a:gd name="T43" fmla="*/ 78 h 135"/>
                  <a:gd name="T44" fmla="*/ 141 w 178"/>
                  <a:gd name="T45" fmla="*/ 85 h 135"/>
                  <a:gd name="T46" fmla="*/ 136 w 178"/>
                  <a:gd name="T47" fmla="*/ 100 h 135"/>
                  <a:gd name="T48" fmla="*/ 121 w 178"/>
                  <a:gd name="T49" fmla="*/ 103 h 135"/>
                  <a:gd name="T50" fmla="*/ 109 w 178"/>
                  <a:gd name="T51" fmla="*/ 105 h 135"/>
                  <a:gd name="T52" fmla="*/ 94 w 178"/>
                  <a:gd name="T53" fmla="*/ 112 h 135"/>
                  <a:gd name="T54" fmla="*/ 88 w 178"/>
                  <a:gd name="T55" fmla="*/ 13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8" h="135">
                    <a:moveTo>
                      <a:pt x="88" y="130"/>
                    </a:moveTo>
                    <a:cubicBezTo>
                      <a:pt x="65" y="135"/>
                      <a:pt x="78" y="133"/>
                      <a:pt x="48" y="132"/>
                    </a:cubicBezTo>
                    <a:cubicBezTo>
                      <a:pt x="46" y="113"/>
                      <a:pt x="49" y="113"/>
                      <a:pt x="33" y="109"/>
                    </a:cubicBezTo>
                    <a:cubicBezTo>
                      <a:pt x="26" y="100"/>
                      <a:pt x="18" y="103"/>
                      <a:pt x="6" y="102"/>
                    </a:cubicBezTo>
                    <a:cubicBezTo>
                      <a:pt x="7" y="82"/>
                      <a:pt x="0" y="70"/>
                      <a:pt x="15" y="61"/>
                    </a:cubicBezTo>
                    <a:cubicBezTo>
                      <a:pt x="24" y="50"/>
                      <a:pt x="14" y="37"/>
                      <a:pt x="19" y="24"/>
                    </a:cubicBezTo>
                    <a:cubicBezTo>
                      <a:pt x="21" y="15"/>
                      <a:pt x="21" y="10"/>
                      <a:pt x="25" y="6"/>
                    </a:cubicBezTo>
                    <a:cubicBezTo>
                      <a:pt x="27" y="3"/>
                      <a:pt x="28" y="4"/>
                      <a:pt x="31" y="3"/>
                    </a:cubicBezTo>
                    <a:cubicBezTo>
                      <a:pt x="34" y="2"/>
                      <a:pt x="39" y="0"/>
                      <a:pt x="45" y="0"/>
                    </a:cubicBezTo>
                    <a:cubicBezTo>
                      <a:pt x="52" y="0"/>
                      <a:pt x="63" y="3"/>
                      <a:pt x="70" y="4"/>
                    </a:cubicBezTo>
                    <a:cubicBezTo>
                      <a:pt x="77" y="6"/>
                      <a:pt x="85" y="8"/>
                      <a:pt x="90" y="9"/>
                    </a:cubicBezTo>
                    <a:cubicBezTo>
                      <a:pt x="95" y="10"/>
                      <a:pt x="95" y="10"/>
                      <a:pt x="99" y="9"/>
                    </a:cubicBezTo>
                    <a:cubicBezTo>
                      <a:pt x="103" y="9"/>
                      <a:pt x="109" y="4"/>
                      <a:pt x="115" y="4"/>
                    </a:cubicBezTo>
                    <a:cubicBezTo>
                      <a:pt x="121" y="3"/>
                      <a:pt x="128" y="3"/>
                      <a:pt x="133" y="3"/>
                    </a:cubicBezTo>
                    <a:cubicBezTo>
                      <a:pt x="141" y="2"/>
                      <a:pt x="144" y="6"/>
                      <a:pt x="148" y="6"/>
                    </a:cubicBezTo>
                    <a:cubicBezTo>
                      <a:pt x="152" y="6"/>
                      <a:pt x="156" y="3"/>
                      <a:pt x="160" y="4"/>
                    </a:cubicBezTo>
                    <a:cubicBezTo>
                      <a:pt x="164" y="5"/>
                      <a:pt x="168" y="9"/>
                      <a:pt x="171" y="13"/>
                    </a:cubicBezTo>
                    <a:cubicBezTo>
                      <a:pt x="172" y="20"/>
                      <a:pt x="172" y="23"/>
                      <a:pt x="178" y="27"/>
                    </a:cubicBezTo>
                    <a:cubicBezTo>
                      <a:pt x="174" y="32"/>
                      <a:pt x="171" y="34"/>
                      <a:pt x="166" y="37"/>
                    </a:cubicBezTo>
                    <a:cubicBezTo>
                      <a:pt x="165" y="43"/>
                      <a:pt x="164" y="47"/>
                      <a:pt x="160" y="52"/>
                    </a:cubicBezTo>
                    <a:cubicBezTo>
                      <a:pt x="159" y="59"/>
                      <a:pt x="162" y="59"/>
                      <a:pt x="156" y="63"/>
                    </a:cubicBezTo>
                    <a:cubicBezTo>
                      <a:pt x="155" y="69"/>
                      <a:pt x="153" y="73"/>
                      <a:pt x="151" y="78"/>
                    </a:cubicBezTo>
                    <a:cubicBezTo>
                      <a:pt x="149" y="83"/>
                      <a:pt x="143" y="81"/>
                      <a:pt x="141" y="85"/>
                    </a:cubicBezTo>
                    <a:cubicBezTo>
                      <a:pt x="139" y="89"/>
                      <a:pt x="139" y="97"/>
                      <a:pt x="136" y="100"/>
                    </a:cubicBezTo>
                    <a:cubicBezTo>
                      <a:pt x="131" y="110"/>
                      <a:pt x="136" y="106"/>
                      <a:pt x="121" y="103"/>
                    </a:cubicBezTo>
                    <a:cubicBezTo>
                      <a:pt x="115" y="99"/>
                      <a:pt x="116" y="104"/>
                      <a:pt x="109" y="105"/>
                    </a:cubicBezTo>
                    <a:cubicBezTo>
                      <a:pt x="108" y="112"/>
                      <a:pt x="101" y="111"/>
                      <a:pt x="94" y="112"/>
                    </a:cubicBezTo>
                    <a:cubicBezTo>
                      <a:pt x="93" y="125"/>
                      <a:pt x="92" y="124"/>
                      <a:pt x="88" y="13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69" name="Freeform 50">
                <a:extLst>
                  <a:ext uri="{FF2B5EF4-FFF2-40B4-BE49-F238E27FC236}">
                    <a16:creationId xmlns:a16="http://schemas.microsoft.com/office/drawing/2014/main" id="{FAFA6A0E-8585-4C38-A322-8DA565D0E39F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gray">
              <a:xfrm>
                <a:off x="4246563" y="3925888"/>
                <a:ext cx="104775" cy="149225"/>
              </a:xfrm>
              <a:custGeom>
                <a:avLst/>
                <a:gdLst>
                  <a:gd name="T0" fmla="*/ 65 w 65"/>
                  <a:gd name="T1" fmla="*/ 0 h 94"/>
                  <a:gd name="T2" fmla="*/ 14 w 65"/>
                  <a:gd name="T3" fmla="*/ 6 h 94"/>
                  <a:gd name="T4" fmla="*/ 18 w 65"/>
                  <a:gd name="T5" fmla="*/ 48 h 94"/>
                  <a:gd name="T6" fmla="*/ 10 w 65"/>
                  <a:gd name="T7" fmla="*/ 70 h 94"/>
                  <a:gd name="T8" fmla="*/ 28 w 65"/>
                  <a:gd name="T9" fmla="*/ 94 h 94"/>
                  <a:gd name="T10" fmla="*/ 58 w 65"/>
                  <a:gd name="T11" fmla="*/ 86 h 94"/>
                  <a:gd name="T12" fmla="*/ 57 w 65"/>
                  <a:gd name="T13" fmla="*/ 50 h 94"/>
                  <a:gd name="T14" fmla="*/ 51 w 65"/>
                  <a:gd name="T15" fmla="*/ 23 h 94"/>
                  <a:gd name="T16" fmla="*/ 65 w 65"/>
                  <a:gd name="T17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94">
                    <a:moveTo>
                      <a:pt x="65" y="0"/>
                    </a:moveTo>
                    <a:cubicBezTo>
                      <a:pt x="48" y="1"/>
                      <a:pt x="31" y="3"/>
                      <a:pt x="14" y="6"/>
                    </a:cubicBezTo>
                    <a:cubicBezTo>
                      <a:pt x="0" y="8"/>
                      <a:pt x="18" y="48"/>
                      <a:pt x="18" y="48"/>
                    </a:cubicBezTo>
                    <a:cubicBezTo>
                      <a:pt x="15" y="56"/>
                      <a:pt x="12" y="61"/>
                      <a:pt x="10" y="70"/>
                    </a:cubicBezTo>
                    <a:cubicBezTo>
                      <a:pt x="12" y="83"/>
                      <a:pt x="16" y="90"/>
                      <a:pt x="28" y="94"/>
                    </a:cubicBezTo>
                    <a:cubicBezTo>
                      <a:pt x="44" y="92"/>
                      <a:pt x="45" y="90"/>
                      <a:pt x="58" y="86"/>
                    </a:cubicBezTo>
                    <a:cubicBezTo>
                      <a:pt x="63" y="79"/>
                      <a:pt x="58" y="60"/>
                      <a:pt x="57" y="50"/>
                    </a:cubicBezTo>
                    <a:cubicBezTo>
                      <a:pt x="56" y="40"/>
                      <a:pt x="50" y="31"/>
                      <a:pt x="51" y="23"/>
                    </a:cubicBezTo>
                    <a:cubicBezTo>
                      <a:pt x="53" y="16"/>
                      <a:pt x="62" y="6"/>
                      <a:pt x="65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70" name="Freeform 51">
                <a:extLst>
                  <a:ext uri="{FF2B5EF4-FFF2-40B4-BE49-F238E27FC236}">
                    <a16:creationId xmlns:a16="http://schemas.microsoft.com/office/drawing/2014/main" id="{BF88782C-504A-419C-AD32-B2B26C7206DF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gray">
              <a:xfrm>
                <a:off x="4130676" y="3944938"/>
                <a:ext cx="153988" cy="142875"/>
              </a:xfrm>
              <a:custGeom>
                <a:avLst/>
                <a:gdLst>
                  <a:gd name="T0" fmla="*/ 75 w 95"/>
                  <a:gd name="T1" fmla="*/ 0 h 90"/>
                  <a:gd name="T2" fmla="*/ 62 w 95"/>
                  <a:gd name="T3" fmla="*/ 11 h 90"/>
                  <a:gd name="T4" fmla="*/ 51 w 95"/>
                  <a:gd name="T5" fmla="*/ 2 h 90"/>
                  <a:gd name="T6" fmla="*/ 18 w 95"/>
                  <a:gd name="T7" fmla="*/ 2 h 90"/>
                  <a:gd name="T8" fmla="*/ 6 w 95"/>
                  <a:gd name="T9" fmla="*/ 4 h 90"/>
                  <a:gd name="T10" fmla="*/ 9 w 95"/>
                  <a:gd name="T11" fmla="*/ 36 h 90"/>
                  <a:gd name="T12" fmla="*/ 0 w 95"/>
                  <a:gd name="T13" fmla="*/ 50 h 90"/>
                  <a:gd name="T14" fmla="*/ 12 w 95"/>
                  <a:gd name="T15" fmla="*/ 70 h 90"/>
                  <a:gd name="T16" fmla="*/ 24 w 95"/>
                  <a:gd name="T17" fmla="*/ 90 h 90"/>
                  <a:gd name="T18" fmla="*/ 64 w 95"/>
                  <a:gd name="T19" fmla="*/ 76 h 90"/>
                  <a:gd name="T20" fmla="*/ 82 w 95"/>
                  <a:gd name="T21" fmla="*/ 58 h 90"/>
                  <a:gd name="T22" fmla="*/ 89 w 95"/>
                  <a:gd name="T23" fmla="*/ 41 h 90"/>
                  <a:gd name="T24" fmla="*/ 90 w 95"/>
                  <a:gd name="T25" fmla="*/ 30 h 90"/>
                  <a:gd name="T26" fmla="*/ 83 w 95"/>
                  <a:gd name="T27" fmla="*/ 15 h 90"/>
                  <a:gd name="T28" fmla="*/ 75 w 95"/>
                  <a:gd name="T2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5" h="90">
                    <a:moveTo>
                      <a:pt x="75" y="0"/>
                    </a:moveTo>
                    <a:cubicBezTo>
                      <a:pt x="67" y="11"/>
                      <a:pt x="78" y="3"/>
                      <a:pt x="62" y="11"/>
                    </a:cubicBezTo>
                    <a:cubicBezTo>
                      <a:pt x="58" y="10"/>
                      <a:pt x="58" y="3"/>
                      <a:pt x="51" y="2"/>
                    </a:cubicBezTo>
                    <a:cubicBezTo>
                      <a:pt x="44" y="1"/>
                      <a:pt x="25" y="2"/>
                      <a:pt x="18" y="2"/>
                    </a:cubicBezTo>
                    <a:cubicBezTo>
                      <a:pt x="14" y="3"/>
                      <a:pt x="9" y="1"/>
                      <a:pt x="6" y="4"/>
                    </a:cubicBezTo>
                    <a:cubicBezTo>
                      <a:pt x="5" y="5"/>
                      <a:pt x="7" y="30"/>
                      <a:pt x="9" y="36"/>
                    </a:cubicBezTo>
                    <a:cubicBezTo>
                      <a:pt x="6" y="44"/>
                      <a:pt x="4" y="43"/>
                      <a:pt x="0" y="50"/>
                    </a:cubicBezTo>
                    <a:cubicBezTo>
                      <a:pt x="4" y="61"/>
                      <a:pt x="0" y="67"/>
                      <a:pt x="12" y="70"/>
                    </a:cubicBezTo>
                    <a:cubicBezTo>
                      <a:pt x="18" y="78"/>
                      <a:pt x="14" y="87"/>
                      <a:pt x="24" y="90"/>
                    </a:cubicBezTo>
                    <a:cubicBezTo>
                      <a:pt x="42" y="72"/>
                      <a:pt x="18" y="79"/>
                      <a:pt x="64" y="76"/>
                    </a:cubicBezTo>
                    <a:cubicBezTo>
                      <a:pt x="82" y="80"/>
                      <a:pt x="95" y="78"/>
                      <a:pt x="82" y="58"/>
                    </a:cubicBezTo>
                    <a:cubicBezTo>
                      <a:pt x="85" y="53"/>
                      <a:pt x="88" y="46"/>
                      <a:pt x="89" y="41"/>
                    </a:cubicBezTo>
                    <a:cubicBezTo>
                      <a:pt x="90" y="36"/>
                      <a:pt x="91" y="34"/>
                      <a:pt x="90" y="30"/>
                    </a:cubicBezTo>
                    <a:cubicBezTo>
                      <a:pt x="90" y="23"/>
                      <a:pt x="85" y="19"/>
                      <a:pt x="83" y="15"/>
                    </a:cubicBezTo>
                    <a:cubicBezTo>
                      <a:pt x="80" y="10"/>
                      <a:pt x="81" y="5"/>
                      <a:pt x="75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71" name="Freeform 52">
                <a:extLst>
                  <a:ext uri="{FF2B5EF4-FFF2-40B4-BE49-F238E27FC236}">
                    <a16:creationId xmlns:a16="http://schemas.microsoft.com/office/drawing/2014/main" id="{E75E430C-2F47-4C9D-9C04-C5CF420B165D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gray">
              <a:xfrm>
                <a:off x="4719638" y="4727575"/>
                <a:ext cx="393700" cy="352425"/>
              </a:xfrm>
              <a:custGeom>
                <a:avLst/>
                <a:gdLst>
                  <a:gd name="T0" fmla="*/ 15 w 244"/>
                  <a:gd name="T1" fmla="*/ 100 h 222"/>
                  <a:gd name="T2" fmla="*/ 16 w 244"/>
                  <a:gd name="T3" fmla="*/ 128 h 222"/>
                  <a:gd name="T4" fmla="*/ 30 w 244"/>
                  <a:gd name="T5" fmla="*/ 149 h 222"/>
                  <a:gd name="T6" fmla="*/ 37 w 244"/>
                  <a:gd name="T7" fmla="*/ 193 h 222"/>
                  <a:gd name="T8" fmla="*/ 51 w 244"/>
                  <a:gd name="T9" fmla="*/ 205 h 222"/>
                  <a:gd name="T10" fmla="*/ 84 w 244"/>
                  <a:gd name="T11" fmla="*/ 206 h 222"/>
                  <a:gd name="T12" fmla="*/ 144 w 244"/>
                  <a:gd name="T13" fmla="*/ 199 h 222"/>
                  <a:gd name="T14" fmla="*/ 166 w 244"/>
                  <a:gd name="T15" fmla="*/ 194 h 222"/>
                  <a:gd name="T16" fmla="*/ 177 w 244"/>
                  <a:gd name="T17" fmla="*/ 182 h 222"/>
                  <a:gd name="T18" fmla="*/ 192 w 244"/>
                  <a:gd name="T19" fmla="*/ 167 h 222"/>
                  <a:gd name="T20" fmla="*/ 207 w 244"/>
                  <a:gd name="T21" fmla="*/ 152 h 222"/>
                  <a:gd name="T22" fmla="*/ 216 w 244"/>
                  <a:gd name="T23" fmla="*/ 139 h 222"/>
                  <a:gd name="T24" fmla="*/ 243 w 244"/>
                  <a:gd name="T25" fmla="*/ 112 h 222"/>
                  <a:gd name="T26" fmla="*/ 244 w 244"/>
                  <a:gd name="T27" fmla="*/ 83 h 222"/>
                  <a:gd name="T28" fmla="*/ 235 w 244"/>
                  <a:gd name="T29" fmla="*/ 71 h 222"/>
                  <a:gd name="T30" fmla="*/ 241 w 244"/>
                  <a:gd name="T31" fmla="*/ 52 h 222"/>
                  <a:gd name="T32" fmla="*/ 231 w 244"/>
                  <a:gd name="T33" fmla="*/ 41 h 222"/>
                  <a:gd name="T34" fmla="*/ 231 w 244"/>
                  <a:gd name="T35" fmla="*/ 22 h 222"/>
                  <a:gd name="T36" fmla="*/ 223 w 244"/>
                  <a:gd name="T37" fmla="*/ 14 h 222"/>
                  <a:gd name="T38" fmla="*/ 213 w 244"/>
                  <a:gd name="T39" fmla="*/ 2 h 222"/>
                  <a:gd name="T40" fmla="*/ 191 w 244"/>
                  <a:gd name="T41" fmla="*/ 3 h 222"/>
                  <a:gd name="T42" fmla="*/ 169 w 244"/>
                  <a:gd name="T43" fmla="*/ 11 h 222"/>
                  <a:gd name="T44" fmla="*/ 163 w 244"/>
                  <a:gd name="T45" fmla="*/ 26 h 222"/>
                  <a:gd name="T46" fmla="*/ 156 w 244"/>
                  <a:gd name="T47" fmla="*/ 37 h 222"/>
                  <a:gd name="T48" fmla="*/ 157 w 244"/>
                  <a:gd name="T49" fmla="*/ 40 h 222"/>
                  <a:gd name="T50" fmla="*/ 145 w 244"/>
                  <a:gd name="T51" fmla="*/ 47 h 222"/>
                  <a:gd name="T52" fmla="*/ 132 w 244"/>
                  <a:gd name="T53" fmla="*/ 50 h 222"/>
                  <a:gd name="T54" fmla="*/ 115 w 244"/>
                  <a:gd name="T55" fmla="*/ 56 h 222"/>
                  <a:gd name="T56" fmla="*/ 91 w 244"/>
                  <a:gd name="T57" fmla="*/ 64 h 222"/>
                  <a:gd name="T58" fmla="*/ 70 w 244"/>
                  <a:gd name="T59" fmla="*/ 77 h 222"/>
                  <a:gd name="T60" fmla="*/ 64 w 244"/>
                  <a:gd name="T61" fmla="*/ 89 h 222"/>
                  <a:gd name="T62" fmla="*/ 52 w 244"/>
                  <a:gd name="T63" fmla="*/ 106 h 222"/>
                  <a:gd name="T64" fmla="*/ 36 w 244"/>
                  <a:gd name="T65" fmla="*/ 111 h 222"/>
                  <a:gd name="T66" fmla="*/ 24 w 244"/>
                  <a:gd name="T67" fmla="*/ 110 h 222"/>
                  <a:gd name="T68" fmla="*/ 15 w 244"/>
                  <a:gd name="T69" fmla="*/ 10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4" h="222">
                    <a:moveTo>
                      <a:pt x="15" y="100"/>
                    </a:moveTo>
                    <a:cubicBezTo>
                      <a:pt x="0" y="102"/>
                      <a:pt x="7" y="122"/>
                      <a:pt x="16" y="128"/>
                    </a:cubicBezTo>
                    <a:cubicBezTo>
                      <a:pt x="22" y="138"/>
                      <a:pt x="20" y="143"/>
                      <a:pt x="30" y="149"/>
                    </a:cubicBezTo>
                    <a:cubicBezTo>
                      <a:pt x="33" y="164"/>
                      <a:pt x="22" y="185"/>
                      <a:pt x="37" y="193"/>
                    </a:cubicBezTo>
                    <a:cubicBezTo>
                      <a:pt x="40" y="203"/>
                      <a:pt x="41" y="203"/>
                      <a:pt x="51" y="205"/>
                    </a:cubicBezTo>
                    <a:cubicBezTo>
                      <a:pt x="53" y="222"/>
                      <a:pt x="73" y="208"/>
                      <a:pt x="84" y="206"/>
                    </a:cubicBezTo>
                    <a:cubicBezTo>
                      <a:pt x="103" y="197"/>
                      <a:pt x="167" y="216"/>
                      <a:pt x="144" y="199"/>
                    </a:cubicBezTo>
                    <a:cubicBezTo>
                      <a:pt x="155" y="191"/>
                      <a:pt x="138" y="202"/>
                      <a:pt x="166" y="194"/>
                    </a:cubicBezTo>
                    <a:cubicBezTo>
                      <a:pt x="168" y="193"/>
                      <a:pt x="174" y="184"/>
                      <a:pt x="177" y="182"/>
                    </a:cubicBezTo>
                    <a:cubicBezTo>
                      <a:pt x="181" y="176"/>
                      <a:pt x="186" y="171"/>
                      <a:pt x="192" y="167"/>
                    </a:cubicBezTo>
                    <a:cubicBezTo>
                      <a:pt x="198" y="160"/>
                      <a:pt x="199" y="155"/>
                      <a:pt x="207" y="152"/>
                    </a:cubicBezTo>
                    <a:cubicBezTo>
                      <a:pt x="210" y="148"/>
                      <a:pt x="213" y="143"/>
                      <a:pt x="216" y="139"/>
                    </a:cubicBezTo>
                    <a:cubicBezTo>
                      <a:pt x="217" y="125"/>
                      <a:pt x="229" y="113"/>
                      <a:pt x="243" y="112"/>
                    </a:cubicBezTo>
                    <a:cubicBezTo>
                      <a:pt x="239" y="102"/>
                      <a:pt x="242" y="93"/>
                      <a:pt x="244" y="83"/>
                    </a:cubicBezTo>
                    <a:cubicBezTo>
                      <a:pt x="240" y="78"/>
                      <a:pt x="237" y="77"/>
                      <a:pt x="235" y="71"/>
                    </a:cubicBezTo>
                    <a:cubicBezTo>
                      <a:pt x="234" y="66"/>
                      <a:pt x="243" y="61"/>
                      <a:pt x="241" y="52"/>
                    </a:cubicBezTo>
                    <a:cubicBezTo>
                      <a:pt x="240" y="47"/>
                      <a:pt x="233" y="46"/>
                      <a:pt x="231" y="41"/>
                    </a:cubicBezTo>
                    <a:cubicBezTo>
                      <a:pt x="229" y="36"/>
                      <a:pt x="232" y="26"/>
                      <a:pt x="231" y="22"/>
                    </a:cubicBezTo>
                    <a:cubicBezTo>
                      <a:pt x="230" y="18"/>
                      <a:pt x="226" y="17"/>
                      <a:pt x="223" y="14"/>
                    </a:cubicBezTo>
                    <a:cubicBezTo>
                      <a:pt x="222" y="6"/>
                      <a:pt x="221" y="5"/>
                      <a:pt x="213" y="2"/>
                    </a:cubicBezTo>
                    <a:cubicBezTo>
                      <a:pt x="208" y="0"/>
                      <a:pt x="198" y="2"/>
                      <a:pt x="191" y="3"/>
                    </a:cubicBezTo>
                    <a:cubicBezTo>
                      <a:pt x="184" y="4"/>
                      <a:pt x="174" y="7"/>
                      <a:pt x="169" y="11"/>
                    </a:cubicBezTo>
                    <a:cubicBezTo>
                      <a:pt x="166" y="16"/>
                      <a:pt x="166" y="21"/>
                      <a:pt x="163" y="26"/>
                    </a:cubicBezTo>
                    <a:cubicBezTo>
                      <a:pt x="161" y="30"/>
                      <a:pt x="157" y="35"/>
                      <a:pt x="156" y="37"/>
                    </a:cubicBezTo>
                    <a:cubicBezTo>
                      <a:pt x="155" y="39"/>
                      <a:pt x="159" y="38"/>
                      <a:pt x="157" y="40"/>
                    </a:cubicBezTo>
                    <a:cubicBezTo>
                      <a:pt x="155" y="42"/>
                      <a:pt x="149" y="45"/>
                      <a:pt x="145" y="47"/>
                    </a:cubicBezTo>
                    <a:cubicBezTo>
                      <a:pt x="141" y="53"/>
                      <a:pt x="139" y="49"/>
                      <a:pt x="132" y="50"/>
                    </a:cubicBezTo>
                    <a:cubicBezTo>
                      <a:pt x="126" y="55"/>
                      <a:pt x="122" y="59"/>
                      <a:pt x="115" y="56"/>
                    </a:cubicBezTo>
                    <a:cubicBezTo>
                      <a:pt x="108" y="49"/>
                      <a:pt x="99" y="59"/>
                      <a:pt x="91" y="64"/>
                    </a:cubicBezTo>
                    <a:cubicBezTo>
                      <a:pt x="86" y="70"/>
                      <a:pt x="76" y="73"/>
                      <a:pt x="70" y="77"/>
                    </a:cubicBezTo>
                    <a:cubicBezTo>
                      <a:pt x="64" y="81"/>
                      <a:pt x="67" y="84"/>
                      <a:pt x="64" y="89"/>
                    </a:cubicBezTo>
                    <a:cubicBezTo>
                      <a:pt x="61" y="94"/>
                      <a:pt x="55" y="102"/>
                      <a:pt x="52" y="106"/>
                    </a:cubicBezTo>
                    <a:cubicBezTo>
                      <a:pt x="47" y="110"/>
                      <a:pt x="41" y="110"/>
                      <a:pt x="36" y="111"/>
                    </a:cubicBezTo>
                    <a:cubicBezTo>
                      <a:pt x="31" y="112"/>
                      <a:pt x="27" y="112"/>
                      <a:pt x="24" y="110"/>
                    </a:cubicBezTo>
                    <a:cubicBezTo>
                      <a:pt x="20" y="107"/>
                      <a:pt x="19" y="104"/>
                      <a:pt x="15" y="10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72" name="Freeform 53">
                <a:extLst>
                  <a:ext uri="{FF2B5EF4-FFF2-40B4-BE49-F238E27FC236}">
                    <a16:creationId xmlns:a16="http://schemas.microsoft.com/office/drawing/2014/main" id="{48E21503-D00D-4C18-9698-60D80C63F961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gray">
              <a:xfrm>
                <a:off x="4972051" y="4892675"/>
                <a:ext cx="68263" cy="80963"/>
              </a:xfrm>
              <a:custGeom>
                <a:avLst/>
                <a:gdLst>
                  <a:gd name="T0" fmla="*/ 21 w 43"/>
                  <a:gd name="T1" fmla="*/ 5 h 51"/>
                  <a:gd name="T2" fmla="*/ 7 w 43"/>
                  <a:gd name="T3" fmla="*/ 12 h 51"/>
                  <a:gd name="T4" fmla="*/ 9 w 43"/>
                  <a:gd name="T5" fmla="*/ 23 h 51"/>
                  <a:gd name="T6" fmla="*/ 10 w 43"/>
                  <a:gd name="T7" fmla="*/ 39 h 51"/>
                  <a:gd name="T8" fmla="*/ 36 w 43"/>
                  <a:gd name="T9" fmla="*/ 27 h 51"/>
                  <a:gd name="T10" fmla="*/ 25 w 43"/>
                  <a:gd name="T11" fmla="*/ 0 h 51"/>
                  <a:gd name="T12" fmla="*/ 21 w 43"/>
                  <a:gd name="T13" fmla="*/ 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51">
                    <a:moveTo>
                      <a:pt x="21" y="5"/>
                    </a:moveTo>
                    <a:cubicBezTo>
                      <a:pt x="12" y="7"/>
                      <a:pt x="16" y="10"/>
                      <a:pt x="7" y="12"/>
                    </a:cubicBezTo>
                    <a:cubicBezTo>
                      <a:pt x="0" y="16"/>
                      <a:pt x="3" y="20"/>
                      <a:pt x="9" y="23"/>
                    </a:cubicBezTo>
                    <a:cubicBezTo>
                      <a:pt x="9" y="28"/>
                      <a:pt x="6" y="36"/>
                      <a:pt x="10" y="39"/>
                    </a:cubicBezTo>
                    <a:cubicBezTo>
                      <a:pt x="24" y="51"/>
                      <a:pt x="28" y="30"/>
                      <a:pt x="36" y="27"/>
                    </a:cubicBezTo>
                    <a:cubicBezTo>
                      <a:pt x="43" y="13"/>
                      <a:pt x="39" y="6"/>
                      <a:pt x="25" y="0"/>
                    </a:cubicBezTo>
                    <a:cubicBezTo>
                      <a:pt x="23" y="1"/>
                      <a:pt x="8" y="8"/>
                      <a:pt x="21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73" name="Freeform 54">
                <a:extLst>
                  <a:ext uri="{FF2B5EF4-FFF2-40B4-BE49-F238E27FC236}">
                    <a16:creationId xmlns:a16="http://schemas.microsoft.com/office/drawing/2014/main" id="{03C09EAD-8165-443B-ACFA-C2C0ADE8F363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gray">
              <a:xfrm>
                <a:off x="4610101" y="4597400"/>
                <a:ext cx="247650" cy="307975"/>
              </a:xfrm>
              <a:custGeom>
                <a:avLst/>
                <a:gdLst>
                  <a:gd name="T0" fmla="*/ 75 w 154"/>
                  <a:gd name="T1" fmla="*/ 191 h 194"/>
                  <a:gd name="T2" fmla="*/ 60 w 154"/>
                  <a:gd name="T3" fmla="*/ 179 h 194"/>
                  <a:gd name="T4" fmla="*/ 53 w 154"/>
                  <a:gd name="T5" fmla="*/ 165 h 194"/>
                  <a:gd name="T6" fmla="*/ 47 w 154"/>
                  <a:gd name="T7" fmla="*/ 120 h 194"/>
                  <a:gd name="T8" fmla="*/ 24 w 154"/>
                  <a:gd name="T9" fmla="*/ 51 h 194"/>
                  <a:gd name="T10" fmla="*/ 8 w 154"/>
                  <a:gd name="T11" fmla="*/ 24 h 194"/>
                  <a:gd name="T12" fmla="*/ 0 w 154"/>
                  <a:gd name="T13" fmla="*/ 11 h 194"/>
                  <a:gd name="T14" fmla="*/ 24 w 154"/>
                  <a:gd name="T15" fmla="*/ 0 h 194"/>
                  <a:gd name="T16" fmla="*/ 39 w 154"/>
                  <a:gd name="T17" fmla="*/ 11 h 194"/>
                  <a:gd name="T18" fmla="*/ 101 w 154"/>
                  <a:gd name="T19" fmla="*/ 8 h 194"/>
                  <a:gd name="T20" fmla="*/ 107 w 154"/>
                  <a:gd name="T21" fmla="*/ 12 h 194"/>
                  <a:gd name="T22" fmla="*/ 141 w 154"/>
                  <a:gd name="T23" fmla="*/ 20 h 194"/>
                  <a:gd name="T24" fmla="*/ 125 w 154"/>
                  <a:gd name="T25" fmla="*/ 84 h 194"/>
                  <a:gd name="T26" fmla="*/ 128 w 154"/>
                  <a:gd name="T27" fmla="*/ 131 h 194"/>
                  <a:gd name="T28" fmla="*/ 137 w 154"/>
                  <a:gd name="T29" fmla="*/ 156 h 194"/>
                  <a:gd name="T30" fmla="*/ 131 w 154"/>
                  <a:gd name="T31" fmla="*/ 167 h 194"/>
                  <a:gd name="T32" fmla="*/ 111 w 154"/>
                  <a:gd name="T33" fmla="*/ 192 h 194"/>
                  <a:gd name="T34" fmla="*/ 81 w 154"/>
                  <a:gd name="T35" fmla="*/ 185 h 194"/>
                  <a:gd name="T36" fmla="*/ 75 w 154"/>
                  <a:gd name="T37" fmla="*/ 191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4" h="194">
                    <a:moveTo>
                      <a:pt x="75" y="191"/>
                    </a:moveTo>
                    <a:cubicBezTo>
                      <a:pt x="70" y="184"/>
                      <a:pt x="69" y="181"/>
                      <a:pt x="60" y="179"/>
                    </a:cubicBezTo>
                    <a:cubicBezTo>
                      <a:pt x="59" y="173"/>
                      <a:pt x="56" y="170"/>
                      <a:pt x="53" y="165"/>
                    </a:cubicBezTo>
                    <a:cubicBezTo>
                      <a:pt x="51" y="150"/>
                      <a:pt x="55" y="133"/>
                      <a:pt x="47" y="120"/>
                    </a:cubicBezTo>
                    <a:cubicBezTo>
                      <a:pt x="45" y="82"/>
                      <a:pt x="41" y="80"/>
                      <a:pt x="24" y="51"/>
                    </a:cubicBezTo>
                    <a:cubicBezTo>
                      <a:pt x="22" y="38"/>
                      <a:pt x="18" y="32"/>
                      <a:pt x="8" y="24"/>
                    </a:cubicBezTo>
                    <a:cubicBezTo>
                      <a:pt x="6" y="19"/>
                      <a:pt x="3" y="15"/>
                      <a:pt x="0" y="11"/>
                    </a:cubicBezTo>
                    <a:cubicBezTo>
                      <a:pt x="3" y="3"/>
                      <a:pt x="16" y="4"/>
                      <a:pt x="24" y="0"/>
                    </a:cubicBezTo>
                    <a:cubicBezTo>
                      <a:pt x="29" y="2"/>
                      <a:pt x="34" y="9"/>
                      <a:pt x="39" y="11"/>
                    </a:cubicBezTo>
                    <a:cubicBezTo>
                      <a:pt x="52" y="13"/>
                      <a:pt x="84" y="7"/>
                      <a:pt x="101" y="8"/>
                    </a:cubicBezTo>
                    <a:cubicBezTo>
                      <a:pt x="112" y="8"/>
                      <a:pt x="100" y="10"/>
                      <a:pt x="107" y="12"/>
                    </a:cubicBezTo>
                    <a:cubicBezTo>
                      <a:pt x="114" y="14"/>
                      <a:pt x="138" y="8"/>
                      <a:pt x="141" y="20"/>
                    </a:cubicBezTo>
                    <a:cubicBezTo>
                      <a:pt x="140" y="43"/>
                      <a:pt x="154" y="81"/>
                      <a:pt x="125" y="84"/>
                    </a:cubicBezTo>
                    <a:cubicBezTo>
                      <a:pt x="123" y="103"/>
                      <a:pt x="127" y="117"/>
                      <a:pt x="128" y="131"/>
                    </a:cubicBezTo>
                    <a:cubicBezTo>
                      <a:pt x="130" y="143"/>
                      <a:pt x="137" y="150"/>
                      <a:pt x="137" y="156"/>
                    </a:cubicBezTo>
                    <a:cubicBezTo>
                      <a:pt x="137" y="162"/>
                      <a:pt x="135" y="161"/>
                      <a:pt x="131" y="167"/>
                    </a:cubicBezTo>
                    <a:cubicBezTo>
                      <a:pt x="127" y="173"/>
                      <a:pt x="119" y="189"/>
                      <a:pt x="111" y="192"/>
                    </a:cubicBezTo>
                    <a:cubicBezTo>
                      <a:pt x="93" y="191"/>
                      <a:pt x="92" y="194"/>
                      <a:pt x="81" y="185"/>
                    </a:cubicBezTo>
                    <a:cubicBezTo>
                      <a:pt x="77" y="186"/>
                      <a:pt x="66" y="187"/>
                      <a:pt x="75" y="19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74" name="Freeform 55">
                <a:extLst>
                  <a:ext uri="{FF2B5EF4-FFF2-40B4-BE49-F238E27FC236}">
                    <a16:creationId xmlns:a16="http://schemas.microsoft.com/office/drawing/2014/main" id="{649C0DFC-54BF-4FFE-BB9E-5DAAA2817EAB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gray">
              <a:xfrm>
                <a:off x="4808538" y="4606925"/>
                <a:ext cx="239713" cy="255588"/>
              </a:xfrm>
              <a:custGeom>
                <a:avLst/>
                <a:gdLst>
                  <a:gd name="T0" fmla="*/ 20 w 149"/>
                  <a:gd name="T1" fmla="*/ 11 h 161"/>
                  <a:gd name="T2" fmla="*/ 20 w 149"/>
                  <a:gd name="T3" fmla="*/ 21 h 161"/>
                  <a:gd name="T4" fmla="*/ 20 w 149"/>
                  <a:gd name="T5" fmla="*/ 35 h 161"/>
                  <a:gd name="T6" fmla="*/ 20 w 149"/>
                  <a:gd name="T7" fmla="*/ 48 h 161"/>
                  <a:gd name="T8" fmla="*/ 18 w 149"/>
                  <a:gd name="T9" fmla="*/ 69 h 161"/>
                  <a:gd name="T10" fmla="*/ 3 w 149"/>
                  <a:gd name="T11" fmla="*/ 84 h 161"/>
                  <a:gd name="T12" fmla="*/ 2 w 149"/>
                  <a:gd name="T13" fmla="*/ 94 h 161"/>
                  <a:gd name="T14" fmla="*/ 3 w 149"/>
                  <a:gd name="T15" fmla="*/ 123 h 161"/>
                  <a:gd name="T16" fmla="*/ 14 w 149"/>
                  <a:gd name="T17" fmla="*/ 147 h 161"/>
                  <a:gd name="T18" fmla="*/ 32 w 149"/>
                  <a:gd name="T19" fmla="*/ 144 h 161"/>
                  <a:gd name="T20" fmla="*/ 47 w 149"/>
                  <a:gd name="T21" fmla="*/ 129 h 161"/>
                  <a:gd name="T22" fmla="*/ 66 w 149"/>
                  <a:gd name="T23" fmla="*/ 131 h 161"/>
                  <a:gd name="T24" fmla="*/ 80 w 149"/>
                  <a:gd name="T25" fmla="*/ 128 h 161"/>
                  <a:gd name="T26" fmla="*/ 98 w 149"/>
                  <a:gd name="T27" fmla="*/ 117 h 161"/>
                  <a:gd name="T28" fmla="*/ 107 w 149"/>
                  <a:gd name="T29" fmla="*/ 104 h 161"/>
                  <a:gd name="T30" fmla="*/ 116 w 149"/>
                  <a:gd name="T31" fmla="*/ 89 h 161"/>
                  <a:gd name="T32" fmla="*/ 134 w 149"/>
                  <a:gd name="T33" fmla="*/ 81 h 161"/>
                  <a:gd name="T34" fmla="*/ 138 w 149"/>
                  <a:gd name="T35" fmla="*/ 78 h 161"/>
                  <a:gd name="T36" fmla="*/ 137 w 149"/>
                  <a:gd name="T37" fmla="*/ 68 h 161"/>
                  <a:gd name="T38" fmla="*/ 114 w 149"/>
                  <a:gd name="T39" fmla="*/ 63 h 161"/>
                  <a:gd name="T40" fmla="*/ 99 w 149"/>
                  <a:gd name="T41" fmla="*/ 42 h 161"/>
                  <a:gd name="T42" fmla="*/ 84 w 149"/>
                  <a:gd name="T43" fmla="*/ 24 h 161"/>
                  <a:gd name="T44" fmla="*/ 74 w 149"/>
                  <a:gd name="T45" fmla="*/ 9 h 161"/>
                  <a:gd name="T46" fmla="*/ 36 w 149"/>
                  <a:gd name="T47" fmla="*/ 3 h 161"/>
                  <a:gd name="T48" fmla="*/ 24 w 149"/>
                  <a:gd name="T49" fmla="*/ 9 h 161"/>
                  <a:gd name="T50" fmla="*/ 20 w 149"/>
                  <a:gd name="T51" fmla="*/ 1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9" h="161">
                    <a:moveTo>
                      <a:pt x="20" y="11"/>
                    </a:moveTo>
                    <a:cubicBezTo>
                      <a:pt x="19" y="13"/>
                      <a:pt x="20" y="15"/>
                      <a:pt x="20" y="21"/>
                    </a:cubicBezTo>
                    <a:cubicBezTo>
                      <a:pt x="20" y="25"/>
                      <a:pt x="20" y="31"/>
                      <a:pt x="20" y="35"/>
                    </a:cubicBezTo>
                    <a:cubicBezTo>
                      <a:pt x="20" y="39"/>
                      <a:pt x="20" y="42"/>
                      <a:pt x="20" y="48"/>
                    </a:cubicBezTo>
                    <a:cubicBezTo>
                      <a:pt x="20" y="54"/>
                      <a:pt x="21" y="63"/>
                      <a:pt x="18" y="69"/>
                    </a:cubicBezTo>
                    <a:cubicBezTo>
                      <a:pt x="16" y="74"/>
                      <a:pt x="5" y="79"/>
                      <a:pt x="3" y="84"/>
                    </a:cubicBezTo>
                    <a:cubicBezTo>
                      <a:pt x="2" y="88"/>
                      <a:pt x="0" y="86"/>
                      <a:pt x="2" y="94"/>
                    </a:cubicBezTo>
                    <a:cubicBezTo>
                      <a:pt x="2" y="100"/>
                      <a:pt x="1" y="114"/>
                      <a:pt x="3" y="123"/>
                    </a:cubicBezTo>
                    <a:cubicBezTo>
                      <a:pt x="5" y="132"/>
                      <a:pt x="9" y="144"/>
                      <a:pt x="14" y="147"/>
                    </a:cubicBezTo>
                    <a:cubicBezTo>
                      <a:pt x="16" y="161"/>
                      <a:pt x="22" y="150"/>
                      <a:pt x="32" y="144"/>
                    </a:cubicBezTo>
                    <a:cubicBezTo>
                      <a:pt x="38" y="143"/>
                      <a:pt x="41" y="131"/>
                      <a:pt x="47" y="129"/>
                    </a:cubicBezTo>
                    <a:cubicBezTo>
                      <a:pt x="53" y="127"/>
                      <a:pt x="61" y="131"/>
                      <a:pt x="66" y="131"/>
                    </a:cubicBezTo>
                    <a:cubicBezTo>
                      <a:pt x="71" y="131"/>
                      <a:pt x="75" y="130"/>
                      <a:pt x="80" y="128"/>
                    </a:cubicBezTo>
                    <a:cubicBezTo>
                      <a:pt x="90" y="126"/>
                      <a:pt x="90" y="122"/>
                      <a:pt x="98" y="117"/>
                    </a:cubicBezTo>
                    <a:cubicBezTo>
                      <a:pt x="101" y="113"/>
                      <a:pt x="105" y="109"/>
                      <a:pt x="107" y="104"/>
                    </a:cubicBezTo>
                    <a:cubicBezTo>
                      <a:pt x="108" y="95"/>
                      <a:pt x="108" y="94"/>
                      <a:pt x="116" y="89"/>
                    </a:cubicBezTo>
                    <a:cubicBezTo>
                      <a:pt x="120" y="82"/>
                      <a:pt x="126" y="83"/>
                      <a:pt x="134" y="81"/>
                    </a:cubicBezTo>
                    <a:cubicBezTo>
                      <a:pt x="135" y="80"/>
                      <a:pt x="136" y="79"/>
                      <a:pt x="138" y="78"/>
                    </a:cubicBezTo>
                    <a:cubicBezTo>
                      <a:pt x="147" y="74"/>
                      <a:pt x="149" y="70"/>
                      <a:pt x="137" y="68"/>
                    </a:cubicBezTo>
                    <a:cubicBezTo>
                      <a:pt x="129" y="65"/>
                      <a:pt x="122" y="66"/>
                      <a:pt x="114" y="63"/>
                    </a:cubicBezTo>
                    <a:cubicBezTo>
                      <a:pt x="113" y="45"/>
                      <a:pt x="114" y="47"/>
                      <a:pt x="99" y="42"/>
                    </a:cubicBezTo>
                    <a:cubicBezTo>
                      <a:pt x="91" y="36"/>
                      <a:pt x="94" y="28"/>
                      <a:pt x="84" y="24"/>
                    </a:cubicBezTo>
                    <a:cubicBezTo>
                      <a:pt x="80" y="18"/>
                      <a:pt x="81" y="12"/>
                      <a:pt x="74" y="9"/>
                    </a:cubicBezTo>
                    <a:cubicBezTo>
                      <a:pt x="62" y="11"/>
                      <a:pt x="48" y="5"/>
                      <a:pt x="36" y="3"/>
                    </a:cubicBezTo>
                    <a:cubicBezTo>
                      <a:pt x="31" y="0"/>
                      <a:pt x="24" y="9"/>
                      <a:pt x="24" y="9"/>
                    </a:cubicBezTo>
                    <a:cubicBezTo>
                      <a:pt x="23" y="10"/>
                      <a:pt x="20" y="11"/>
                      <a:pt x="20" y="1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75" name="Freeform 56">
                <a:extLst>
                  <a:ext uri="{FF2B5EF4-FFF2-40B4-BE49-F238E27FC236}">
                    <a16:creationId xmlns:a16="http://schemas.microsoft.com/office/drawing/2014/main" id="{D1325B18-FEC2-4D42-9B38-D5641392787C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gray">
              <a:xfrm>
                <a:off x="5365751" y="4473575"/>
                <a:ext cx="179388" cy="338138"/>
              </a:xfrm>
              <a:custGeom>
                <a:avLst/>
                <a:gdLst>
                  <a:gd name="T0" fmla="*/ 15 w 112"/>
                  <a:gd name="T1" fmla="*/ 204 h 213"/>
                  <a:gd name="T2" fmla="*/ 3 w 112"/>
                  <a:gd name="T3" fmla="*/ 179 h 213"/>
                  <a:gd name="T4" fmla="*/ 14 w 112"/>
                  <a:gd name="T5" fmla="*/ 140 h 213"/>
                  <a:gd name="T6" fmla="*/ 12 w 112"/>
                  <a:gd name="T7" fmla="*/ 98 h 213"/>
                  <a:gd name="T8" fmla="*/ 47 w 112"/>
                  <a:gd name="T9" fmla="*/ 56 h 213"/>
                  <a:gd name="T10" fmla="*/ 59 w 112"/>
                  <a:gd name="T11" fmla="*/ 44 h 213"/>
                  <a:gd name="T12" fmla="*/ 69 w 112"/>
                  <a:gd name="T13" fmla="*/ 32 h 213"/>
                  <a:gd name="T14" fmla="*/ 80 w 112"/>
                  <a:gd name="T15" fmla="*/ 18 h 213"/>
                  <a:gd name="T16" fmla="*/ 90 w 112"/>
                  <a:gd name="T17" fmla="*/ 0 h 213"/>
                  <a:gd name="T18" fmla="*/ 101 w 112"/>
                  <a:gd name="T19" fmla="*/ 17 h 213"/>
                  <a:gd name="T20" fmla="*/ 110 w 112"/>
                  <a:gd name="T21" fmla="*/ 56 h 213"/>
                  <a:gd name="T22" fmla="*/ 102 w 112"/>
                  <a:gd name="T23" fmla="*/ 68 h 213"/>
                  <a:gd name="T24" fmla="*/ 95 w 112"/>
                  <a:gd name="T25" fmla="*/ 90 h 213"/>
                  <a:gd name="T26" fmla="*/ 80 w 112"/>
                  <a:gd name="T27" fmla="*/ 129 h 213"/>
                  <a:gd name="T28" fmla="*/ 74 w 112"/>
                  <a:gd name="T29" fmla="*/ 159 h 213"/>
                  <a:gd name="T30" fmla="*/ 66 w 112"/>
                  <a:gd name="T31" fmla="*/ 186 h 213"/>
                  <a:gd name="T32" fmla="*/ 33 w 112"/>
                  <a:gd name="T33" fmla="*/ 210 h 213"/>
                  <a:gd name="T34" fmla="*/ 15 w 112"/>
                  <a:gd name="T35" fmla="*/ 20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213">
                    <a:moveTo>
                      <a:pt x="15" y="204"/>
                    </a:moveTo>
                    <a:cubicBezTo>
                      <a:pt x="9" y="195"/>
                      <a:pt x="12" y="181"/>
                      <a:pt x="3" y="179"/>
                    </a:cubicBezTo>
                    <a:cubicBezTo>
                      <a:pt x="0" y="163"/>
                      <a:pt x="0" y="148"/>
                      <a:pt x="14" y="140"/>
                    </a:cubicBezTo>
                    <a:cubicBezTo>
                      <a:pt x="21" y="128"/>
                      <a:pt x="18" y="110"/>
                      <a:pt x="12" y="98"/>
                    </a:cubicBezTo>
                    <a:cubicBezTo>
                      <a:pt x="16" y="66"/>
                      <a:pt x="15" y="61"/>
                      <a:pt x="47" y="56"/>
                    </a:cubicBezTo>
                    <a:cubicBezTo>
                      <a:pt x="52" y="52"/>
                      <a:pt x="54" y="48"/>
                      <a:pt x="59" y="44"/>
                    </a:cubicBezTo>
                    <a:cubicBezTo>
                      <a:pt x="62" y="39"/>
                      <a:pt x="64" y="36"/>
                      <a:pt x="69" y="32"/>
                    </a:cubicBezTo>
                    <a:cubicBezTo>
                      <a:pt x="73" y="25"/>
                      <a:pt x="72" y="21"/>
                      <a:pt x="80" y="18"/>
                    </a:cubicBezTo>
                    <a:cubicBezTo>
                      <a:pt x="85" y="12"/>
                      <a:pt x="83" y="5"/>
                      <a:pt x="90" y="0"/>
                    </a:cubicBezTo>
                    <a:cubicBezTo>
                      <a:pt x="99" y="3"/>
                      <a:pt x="96" y="9"/>
                      <a:pt x="101" y="17"/>
                    </a:cubicBezTo>
                    <a:cubicBezTo>
                      <a:pt x="103" y="31"/>
                      <a:pt x="105" y="43"/>
                      <a:pt x="110" y="56"/>
                    </a:cubicBezTo>
                    <a:cubicBezTo>
                      <a:pt x="112" y="66"/>
                      <a:pt x="107" y="60"/>
                      <a:pt x="102" y="68"/>
                    </a:cubicBezTo>
                    <a:cubicBezTo>
                      <a:pt x="105" y="78"/>
                      <a:pt x="103" y="84"/>
                      <a:pt x="95" y="90"/>
                    </a:cubicBezTo>
                    <a:cubicBezTo>
                      <a:pt x="94" y="103"/>
                      <a:pt x="91" y="120"/>
                      <a:pt x="80" y="129"/>
                    </a:cubicBezTo>
                    <a:cubicBezTo>
                      <a:pt x="79" y="140"/>
                      <a:pt x="81" y="150"/>
                      <a:pt x="74" y="159"/>
                    </a:cubicBezTo>
                    <a:cubicBezTo>
                      <a:pt x="72" y="169"/>
                      <a:pt x="71" y="177"/>
                      <a:pt x="66" y="186"/>
                    </a:cubicBezTo>
                    <a:cubicBezTo>
                      <a:pt x="64" y="211"/>
                      <a:pt x="57" y="206"/>
                      <a:pt x="33" y="210"/>
                    </a:cubicBezTo>
                    <a:cubicBezTo>
                      <a:pt x="25" y="213"/>
                      <a:pt x="20" y="209"/>
                      <a:pt x="15" y="20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76" name="Freeform 57">
                <a:extLst>
                  <a:ext uri="{FF2B5EF4-FFF2-40B4-BE49-F238E27FC236}">
                    <a16:creationId xmlns:a16="http://schemas.microsoft.com/office/drawing/2014/main" id="{A18B52C2-BA70-43C8-8C68-65B8EC362531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gray">
              <a:xfrm>
                <a:off x="5070476" y="4821238"/>
                <a:ext cx="47625" cy="39688"/>
              </a:xfrm>
              <a:custGeom>
                <a:avLst/>
                <a:gdLst>
                  <a:gd name="T0" fmla="*/ 18 w 30"/>
                  <a:gd name="T1" fmla="*/ 0 h 25"/>
                  <a:gd name="T2" fmla="*/ 5 w 30"/>
                  <a:gd name="T3" fmla="*/ 23 h 25"/>
                  <a:gd name="T4" fmla="*/ 20 w 30"/>
                  <a:gd name="T5" fmla="*/ 21 h 25"/>
                  <a:gd name="T6" fmla="*/ 18 w 30"/>
                  <a:gd name="T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25">
                    <a:moveTo>
                      <a:pt x="18" y="0"/>
                    </a:moveTo>
                    <a:cubicBezTo>
                      <a:pt x="0" y="3"/>
                      <a:pt x="3" y="3"/>
                      <a:pt x="5" y="23"/>
                    </a:cubicBezTo>
                    <a:cubicBezTo>
                      <a:pt x="10" y="22"/>
                      <a:pt x="17" y="25"/>
                      <a:pt x="20" y="21"/>
                    </a:cubicBezTo>
                    <a:cubicBezTo>
                      <a:pt x="30" y="7"/>
                      <a:pt x="9" y="6"/>
                      <a:pt x="18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77" name="Freeform 58">
                <a:extLst>
                  <a:ext uri="{FF2B5EF4-FFF2-40B4-BE49-F238E27FC236}">
                    <a16:creationId xmlns:a16="http://schemas.microsoft.com/office/drawing/2014/main" id="{F7C5E5AF-7BBB-40BE-95C8-63E530F0CFB5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gray">
              <a:xfrm>
                <a:off x="4926013" y="3390900"/>
                <a:ext cx="282575" cy="292100"/>
              </a:xfrm>
              <a:custGeom>
                <a:avLst/>
                <a:gdLst>
                  <a:gd name="T0" fmla="*/ 8 w 175"/>
                  <a:gd name="T1" fmla="*/ 178 h 184"/>
                  <a:gd name="T2" fmla="*/ 151 w 175"/>
                  <a:gd name="T3" fmla="*/ 174 h 184"/>
                  <a:gd name="T4" fmla="*/ 157 w 175"/>
                  <a:gd name="T5" fmla="*/ 145 h 184"/>
                  <a:gd name="T6" fmla="*/ 149 w 175"/>
                  <a:gd name="T7" fmla="*/ 111 h 184"/>
                  <a:gd name="T8" fmla="*/ 131 w 175"/>
                  <a:gd name="T9" fmla="*/ 79 h 184"/>
                  <a:gd name="T10" fmla="*/ 119 w 175"/>
                  <a:gd name="T11" fmla="*/ 51 h 184"/>
                  <a:gd name="T12" fmla="*/ 122 w 175"/>
                  <a:gd name="T13" fmla="*/ 43 h 184"/>
                  <a:gd name="T14" fmla="*/ 127 w 175"/>
                  <a:gd name="T15" fmla="*/ 61 h 184"/>
                  <a:gd name="T16" fmla="*/ 136 w 175"/>
                  <a:gd name="T17" fmla="*/ 79 h 184"/>
                  <a:gd name="T18" fmla="*/ 145 w 175"/>
                  <a:gd name="T19" fmla="*/ 28 h 184"/>
                  <a:gd name="T20" fmla="*/ 115 w 175"/>
                  <a:gd name="T21" fmla="*/ 24 h 184"/>
                  <a:gd name="T22" fmla="*/ 100 w 175"/>
                  <a:gd name="T23" fmla="*/ 10 h 184"/>
                  <a:gd name="T24" fmla="*/ 70 w 175"/>
                  <a:gd name="T25" fmla="*/ 27 h 184"/>
                  <a:gd name="T26" fmla="*/ 41 w 175"/>
                  <a:gd name="T27" fmla="*/ 15 h 184"/>
                  <a:gd name="T28" fmla="*/ 7 w 175"/>
                  <a:gd name="T29" fmla="*/ 13 h 184"/>
                  <a:gd name="T30" fmla="*/ 1 w 175"/>
                  <a:gd name="T31" fmla="*/ 27 h 184"/>
                  <a:gd name="T32" fmla="*/ 5 w 175"/>
                  <a:gd name="T33" fmla="*/ 106 h 184"/>
                  <a:gd name="T34" fmla="*/ 4 w 175"/>
                  <a:gd name="T35" fmla="*/ 177 h 184"/>
                  <a:gd name="T36" fmla="*/ 8 w 175"/>
                  <a:gd name="T37" fmla="*/ 17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5" h="184">
                    <a:moveTo>
                      <a:pt x="8" y="178"/>
                    </a:moveTo>
                    <a:cubicBezTo>
                      <a:pt x="34" y="173"/>
                      <a:pt x="127" y="184"/>
                      <a:pt x="151" y="174"/>
                    </a:cubicBezTo>
                    <a:cubicBezTo>
                      <a:pt x="175" y="169"/>
                      <a:pt x="157" y="155"/>
                      <a:pt x="157" y="145"/>
                    </a:cubicBezTo>
                    <a:cubicBezTo>
                      <a:pt x="157" y="135"/>
                      <a:pt x="153" y="122"/>
                      <a:pt x="149" y="111"/>
                    </a:cubicBezTo>
                    <a:cubicBezTo>
                      <a:pt x="147" y="99"/>
                      <a:pt x="137" y="89"/>
                      <a:pt x="131" y="79"/>
                    </a:cubicBezTo>
                    <a:cubicBezTo>
                      <a:pt x="130" y="67"/>
                      <a:pt x="129" y="57"/>
                      <a:pt x="119" y="51"/>
                    </a:cubicBezTo>
                    <a:cubicBezTo>
                      <a:pt x="118" y="48"/>
                      <a:pt x="119" y="42"/>
                      <a:pt x="122" y="43"/>
                    </a:cubicBezTo>
                    <a:cubicBezTo>
                      <a:pt x="124" y="44"/>
                      <a:pt x="126" y="58"/>
                      <a:pt x="127" y="61"/>
                    </a:cubicBezTo>
                    <a:cubicBezTo>
                      <a:pt x="128" y="68"/>
                      <a:pt x="128" y="77"/>
                      <a:pt x="136" y="79"/>
                    </a:cubicBezTo>
                    <a:cubicBezTo>
                      <a:pt x="162" y="76"/>
                      <a:pt x="151" y="81"/>
                      <a:pt x="145" y="28"/>
                    </a:cubicBezTo>
                    <a:cubicBezTo>
                      <a:pt x="144" y="18"/>
                      <a:pt x="125" y="24"/>
                      <a:pt x="115" y="24"/>
                    </a:cubicBezTo>
                    <a:cubicBezTo>
                      <a:pt x="109" y="20"/>
                      <a:pt x="106" y="15"/>
                      <a:pt x="100" y="10"/>
                    </a:cubicBezTo>
                    <a:cubicBezTo>
                      <a:pt x="87" y="13"/>
                      <a:pt x="82" y="21"/>
                      <a:pt x="70" y="27"/>
                    </a:cubicBezTo>
                    <a:cubicBezTo>
                      <a:pt x="60" y="24"/>
                      <a:pt x="51" y="17"/>
                      <a:pt x="41" y="15"/>
                    </a:cubicBezTo>
                    <a:cubicBezTo>
                      <a:pt x="30" y="9"/>
                      <a:pt x="21" y="12"/>
                      <a:pt x="7" y="13"/>
                    </a:cubicBezTo>
                    <a:cubicBezTo>
                      <a:pt x="0" y="15"/>
                      <a:pt x="1" y="0"/>
                      <a:pt x="1" y="27"/>
                    </a:cubicBezTo>
                    <a:cubicBezTo>
                      <a:pt x="0" y="42"/>
                      <a:pt x="5" y="81"/>
                      <a:pt x="5" y="106"/>
                    </a:cubicBezTo>
                    <a:cubicBezTo>
                      <a:pt x="5" y="131"/>
                      <a:pt x="3" y="165"/>
                      <a:pt x="4" y="177"/>
                    </a:cubicBezTo>
                    <a:cubicBezTo>
                      <a:pt x="9" y="174"/>
                      <a:pt x="13" y="179"/>
                      <a:pt x="8" y="17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78" name="Freeform 59">
                <a:extLst>
                  <a:ext uri="{FF2B5EF4-FFF2-40B4-BE49-F238E27FC236}">
                    <a16:creationId xmlns:a16="http://schemas.microsoft.com/office/drawing/2014/main" id="{C6273588-6F4E-4C55-80C9-3F0765A564E5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gray">
              <a:xfrm>
                <a:off x="3930651" y="3509963"/>
                <a:ext cx="234950" cy="185738"/>
              </a:xfrm>
              <a:custGeom>
                <a:avLst/>
                <a:gdLst>
                  <a:gd name="T0" fmla="*/ 118 w 146"/>
                  <a:gd name="T1" fmla="*/ 0 h 117"/>
                  <a:gd name="T2" fmla="*/ 62 w 146"/>
                  <a:gd name="T3" fmla="*/ 2 h 117"/>
                  <a:gd name="T4" fmla="*/ 54 w 146"/>
                  <a:gd name="T5" fmla="*/ 4 h 117"/>
                  <a:gd name="T6" fmla="*/ 50 w 146"/>
                  <a:gd name="T7" fmla="*/ 24 h 117"/>
                  <a:gd name="T8" fmla="*/ 32 w 146"/>
                  <a:gd name="T9" fmla="*/ 30 h 117"/>
                  <a:gd name="T10" fmla="*/ 22 w 146"/>
                  <a:gd name="T11" fmla="*/ 60 h 117"/>
                  <a:gd name="T12" fmla="*/ 4 w 146"/>
                  <a:gd name="T13" fmla="*/ 92 h 117"/>
                  <a:gd name="T14" fmla="*/ 3 w 146"/>
                  <a:gd name="T15" fmla="*/ 114 h 117"/>
                  <a:gd name="T16" fmla="*/ 19 w 146"/>
                  <a:gd name="T17" fmla="*/ 108 h 117"/>
                  <a:gd name="T18" fmla="*/ 43 w 146"/>
                  <a:gd name="T19" fmla="*/ 106 h 117"/>
                  <a:gd name="T20" fmla="*/ 58 w 146"/>
                  <a:gd name="T21" fmla="*/ 108 h 117"/>
                  <a:gd name="T22" fmla="*/ 60 w 146"/>
                  <a:gd name="T23" fmla="*/ 90 h 117"/>
                  <a:gd name="T24" fmla="*/ 60 w 146"/>
                  <a:gd name="T25" fmla="*/ 76 h 117"/>
                  <a:gd name="T26" fmla="*/ 72 w 146"/>
                  <a:gd name="T27" fmla="*/ 72 h 117"/>
                  <a:gd name="T28" fmla="*/ 76 w 146"/>
                  <a:gd name="T29" fmla="*/ 66 h 117"/>
                  <a:gd name="T30" fmla="*/ 75 w 146"/>
                  <a:gd name="T31" fmla="*/ 52 h 117"/>
                  <a:gd name="T32" fmla="*/ 75 w 146"/>
                  <a:gd name="T33" fmla="*/ 46 h 117"/>
                  <a:gd name="T34" fmla="*/ 78 w 146"/>
                  <a:gd name="T35" fmla="*/ 33 h 117"/>
                  <a:gd name="T36" fmla="*/ 88 w 146"/>
                  <a:gd name="T37" fmla="*/ 30 h 117"/>
                  <a:gd name="T38" fmla="*/ 106 w 146"/>
                  <a:gd name="T39" fmla="*/ 34 h 117"/>
                  <a:gd name="T40" fmla="*/ 130 w 146"/>
                  <a:gd name="T41" fmla="*/ 30 h 117"/>
                  <a:gd name="T42" fmla="*/ 138 w 146"/>
                  <a:gd name="T43" fmla="*/ 21 h 117"/>
                  <a:gd name="T44" fmla="*/ 118 w 146"/>
                  <a:gd name="T4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6" h="117">
                    <a:moveTo>
                      <a:pt x="118" y="0"/>
                    </a:moveTo>
                    <a:cubicBezTo>
                      <a:pt x="99" y="1"/>
                      <a:pt x="81" y="1"/>
                      <a:pt x="62" y="2"/>
                    </a:cubicBezTo>
                    <a:cubicBezTo>
                      <a:pt x="59" y="2"/>
                      <a:pt x="56" y="2"/>
                      <a:pt x="54" y="4"/>
                    </a:cubicBezTo>
                    <a:cubicBezTo>
                      <a:pt x="50" y="10"/>
                      <a:pt x="55" y="20"/>
                      <a:pt x="50" y="24"/>
                    </a:cubicBezTo>
                    <a:cubicBezTo>
                      <a:pt x="45" y="28"/>
                      <a:pt x="32" y="30"/>
                      <a:pt x="32" y="30"/>
                    </a:cubicBezTo>
                    <a:cubicBezTo>
                      <a:pt x="28" y="42"/>
                      <a:pt x="35" y="56"/>
                      <a:pt x="22" y="60"/>
                    </a:cubicBezTo>
                    <a:cubicBezTo>
                      <a:pt x="15" y="71"/>
                      <a:pt x="11" y="81"/>
                      <a:pt x="4" y="92"/>
                    </a:cubicBezTo>
                    <a:cubicBezTo>
                      <a:pt x="0" y="98"/>
                      <a:pt x="3" y="114"/>
                      <a:pt x="3" y="114"/>
                    </a:cubicBezTo>
                    <a:cubicBezTo>
                      <a:pt x="6" y="117"/>
                      <a:pt x="12" y="109"/>
                      <a:pt x="19" y="108"/>
                    </a:cubicBezTo>
                    <a:cubicBezTo>
                      <a:pt x="26" y="107"/>
                      <a:pt x="37" y="106"/>
                      <a:pt x="43" y="106"/>
                    </a:cubicBezTo>
                    <a:cubicBezTo>
                      <a:pt x="49" y="106"/>
                      <a:pt x="55" y="111"/>
                      <a:pt x="58" y="108"/>
                    </a:cubicBezTo>
                    <a:cubicBezTo>
                      <a:pt x="63" y="94"/>
                      <a:pt x="63" y="100"/>
                      <a:pt x="60" y="90"/>
                    </a:cubicBezTo>
                    <a:cubicBezTo>
                      <a:pt x="61" y="85"/>
                      <a:pt x="57" y="80"/>
                      <a:pt x="60" y="76"/>
                    </a:cubicBezTo>
                    <a:cubicBezTo>
                      <a:pt x="62" y="73"/>
                      <a:pt x="68" y="74"/>
                      <a:pt x="72" y="72"/>
                    </a:cubicBezTo>
                    <a:cubicBezTo>
                      <a:pt x="73" y="67"/>
                      <a:pt x="75" y="68"/>
                      <a:pt x="76" y="66"/>
                    </a:cubicBezTo>
                    <a:cubicBezTo>
                      <a:pt x="76" y="62"/>
                      <a:pt x="75" y="57"/>
                      <a:pt x="75" y="52"/>
                    </a:cubicBezTo>
                    <a:cubicBezTo>
                      <a:pt x="75" y="49"/>
                      <a:pt x="75" y="49"/>
                      <a:pt x="75" y="46"/>
                    </a:cubicBezTo>
                    <a:cubicBezTo>
                      <a:pt x="75" y="43"/>
                      <a:pt x="76" y="36"/>
                      <a:pt x="78" y="33"/>
                    </a:cubicBezTo>
                    <a:cubicBezTo>
                      <a:pt x="80" y="30"/>
                      <a:pt x="83" y="30"/>
                      <a:pt x="88" y="30"/>
                    </a:cubicBezTo>
                    <a:cubicBezTo>
                      <a:pt x="93" y="30"/>
                      <a:pt x="99" y="34"/>
                      <a:pt x="106" y="34"/>
                    </a:cubicBezTo>
                    <a:cubicBezTo>
                      <a:pt x="113" y="34"/>
                      <a:pt x="125" y="32"/>
                      <a:pt x="130" y="30"/>
                    </a:cubicBezTo>
                    <a:cubicBezTo>
                      <a:pt x="133" y="21"/>
                      <a:pt x="146" y="27"/>
                      <a:pt x="138" y="21"/>
                    </a:cubicBezTo>
                    <a:cubicBezTo>
                      <a:pt x="133" y="13"/>
                      <a:pt x="121" y="8"/>
                      <a:pt x="118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79" name="Freeform 60">
                <a:extLst>
                  <a:ext uri="{FF2B5EF4-FFF2-40B4-BE49-F238E27FC236}">
                    <a16:creationId xmlns:a16="http://schemas.microsoft.com/office/drawing/2014/main" id="{905ACD4A-46DE-4BB6-A3A9-4FEBA675416F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gray">
              <a:xfrm>
                <a:off x="4022726" y="3295650"/>
                <a:ext cx="279400" cy="219075"/>
              </a:xfrm>
              <a:custGeom>
                <a:avLst/>
                <a:gdLst>
                  <a:gd name="T0" fmla="*/ 0 w 173"/>
                  <a:gd name="T1" fmla="*/ 138 h 138"/>
                  <a:gd name="T2" fmla="*/ 27 w 173"/>
                  <a:gd name="T3" fmla="*/ 124 h 138"/>
                  <a:gd name="T4" fmla="*/ 39 w 173"/>
                  <a:gd name="T5" fmla="*/ 114 h 138"/>
                  <a:gd name="T6" fmla="*/ 54 w 173"/>
                  <a:gd name="T7" fmla="*/ 63 h 138"/>
                  <a:gd name="T8" fmla="*/ 72 w 173"/>
                  <a:gd name="T9" fmla="*/ 42 h 138"/>
                  <a:gd name="T10" fmla="*/ 90 w 173"/>
                  <a:gd name="T11" fmla="*/ 30 h 138"/>
                  <a:gd name="T12" fmla="*/ 102 w 173"/>
                  <a:gd name="T13" fmla="*/ 15 h 138"/>
                  <a:gd name="T14" fmla="*/ 108 w 173"/>
                  <a:gd name="T15" fmla="*/ 0 h 138"/>
                  <a:gd name="T16" fmla="*/ 144 w 173"/>
                  <a:gd name="T17" fmla="*/ 4 h 138"/>
                  <a:gd name="T18" fmla="*/ 168 w 173"/>
                  <a:gd name="T19" fmla="*/ 12 h 138"/>
                  <a:gd name="T20" fmla="*/ 171 w 173"/>
                  <a:gd name="T21" fmla="*/ 57 h 138"/>
                  <a:gd name="T22" fmla="*/ 154 w 173"/>
                  <a:gd name="T23" fmla="*/ 64 h 138"/>
                  <a:gd name="T24" fmla="*/ 145 w 173"/>
                  <a:gd name="T25" fmla="*/ 76 h 138"/>
                  <a:gd name="T26" fmla="*/ 133 w 173"/>
                  <a:gd name="T27" fmla="*/ 85 h 138"/>
                  <a:gd name="T28" fmla="*/ 118 w 173"/>
                  <a:gd name="T29" fmla="*/ 96 h 138"/>
                  <a:gd name="T30" fmla="*/ 104 w 173"/>
                  <a:gd name="T31" fmla="*/ 108 h 138"/>
                  <a:gd name="T32" fmla="*/ 85 w 173"/>
                  <a:gd name="T33" fmla="*/ 109 h 138"/>
                  <a:gd name="T34" fmla="*/ 61 w 173"/>
                  <a:gd name="T35" fmla="*/ 133 h 138"/>
                  <a:gd name="T36" fmla="*/ 0 w 173"/>
                  <a:gd name="T37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3" h="138">
                    <a:moveTo>
                      <a:pt x="0" y="138"/>
                    </a:moveTo>
                    <a:cubicBezTo>
                      <a:pt x="6" y="135"/>
                      <a:pt x="21" y="128"/>
                      <a:pt x="27" y="124"/>
                    </a:cubicBezTo>
                    <a:cubicBezTo>
                      <a:pt x="31" y="118"/>
                      <a:pt x="31" y="115"/>
                      <a:pt x="39" y="114"/>
                    </a:cubicBezTo>
                    <a:cubicBezTo>
                      <a:pt x="60" y="104"/>
                      <a:pt x="42" y="80"/>
                      <a:pt x="54" y="63"/>
                    </a:cubicBezTo>
                    <a:cubicBezTo>
                      <a:pt x="56" y="53"/>
                      <a:pt x="61" y="44"/>
                      <a:pt x="72" y="42"/>
                    </a:cubicBezTo>
                    <a:cubicBezTo>
                      <a:pt x="77" y="36"/>
                      <a:pt x="82" y="32"/>
                      <a:pt x="90" y="30"/>
                    </a:cubicBezTo>
                    <a:cubicBezTo>
                      <a:pt x="97" y="27"/>
                      <a:pt x="98" y="21"/>
                      <a:pt x="102" y="15"/>
                    </a:cubicBezTo>
                    <a:cubicBezTo>
                      <a:pt x="103" y="9"/>
                      <a:pt x="104" y="5"/>
                      <a:pt x="108" y="0"/>
                    </a:cubicBezTo>
                    <a:cubicBezTo>
                      <a:pt x="121" y="1"/>
                      <a:pt x="131" y="3"/>
                      <a:pt x="144" y="4"/>
                    </a:cubicBezTo>
                    <a:cubicBezTo>
                      <a:pt x="154" y="5"/>
                      <a:pt x="163" y="3"/>
                      <a:pt x="168" y="12"/>
                    </a:cubicBezTo>
                    <a:cubicBezTo>
                      <a:pt x="172" y="20"/>
                      <a:pt x="173" y="48"/>
                      <a:pt x="171" y="57"/>
                    </a:cubicBezTo>
                    <a:cubicBezTo>
                      <a:pt x="169" y="66"/>
                      <a:pt x="158" y="61"/>
                      <a:pt x="154" y="64"/>
                    </a:cubicBezTo>
                    <a:cubicBezTo>
                      <a:pt x="149" y="68"/>
                      <a:pt x="148" y="71"/>
                      <a:pt x="145" y="76"/>
                    </a:cubicBezTo>
                    <a:cubicBezTo>
                      <a:pt x="143" y="84"/>
                      <a:pt x="140" y="84"/>
                      <a:pt x="133" y="85"/>
                    </a:cubicBezTo>
                    <a:cubicBezTo>
                      <a:pt x="127" y="89"/>
                      <a:pt x="124" y="92"/>
                      <a:pt x="118" y="96"/>
                    </a:cubicBezTo>
                    <a:cubicBezTo>
                      <a:pt x="113" y="100"/>
                      <a:pt x="109" y="106"/>
                      <a:pt x="104" y="108"/>
                    </a:cubicBezTo>
                    <a:cubicBezTo>
                      <a:pt x="99" y="110"/>
                      <a:pt x="92" y="105"/>
                      <a:pt x="85" y="109"/>
                    </a:cubicBezTo>
                    <a:cubicBezTo>
                      <a:pt x="77" y="113"/>
                      <a:pt x="62" y="133"/>
                      <a:pt x="61" y="133"/>
                    </a:cubicBezTo>
                    <a:cubicBezTo>
                      <a:pt x="44" y="134"/>
                      <a:pt x="17" y="138"/>
                      <a:pt x="0" y="13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80" name="Freeform 61">
                <a:extLst>
                  <a:ext uri="{FF2B5EF4-FFF2-40B4-BE49-F238E27FC236}">
                    <a16:creationId xmlns:a16="http://schemas.microsoft.com/office/drawing/2014/main" id="{6D3569C4-2941-43DF-AEB7-AF18D068CA43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gray">
              <a:xfrm>
                <a:off x="5168901" y="3395663"/>
                <a:ext cx="493713" cy="415925"/>
              </a:xfrm>
              <a:custGeom>
                <a:avLst/>
                <a:gdLst>
                  <a:gd name="T0" fmla="*/ 7 w 306"/>
                  <a:gd name="T1" fmla="*/ 45 h 262"/>
                  <a:gd name="T2" fmla="*/ 23 w 306"/>
                  <a:gd name="T3" fmla="*/ 45 h 262"/>
                  <a:gd name="T4" fmla="*/ 37 w 306"/>
                  <a:gd name="T5" fmla="*/ 36 h 262"/>
                  <a:gd name="T6" fmla="*/ 35 w 306"/>
                  <a:gd name="T7" fmla="*/ 15 h 262"/>
                  <a:gd name="T8" fmla="*/ 37 w 306"/>
                  <a:gd name="T9" fmla="*/ 6 h 262"/>
                  <a:gd name="T10" fmla="*/ 59 w 306"/>
                  <a:gd name="T11" fmla="*/ 3 h 262"/>
                  <a:gd name="T12" fmla="*/ 79 w 306"/>
                  <a:gd name="T13" fmla="*/ 1 h 262"/>
                  <a:gd name="T14" fmla="*/ 94 w 306"/>
                  <a:gd name="T15" fmla="*/ 7 h 262"/>
                  <a:gd name="T16" fmla="*/ 106 w 306"/>
                  <a:gd name="T17" fmla="*/ 18 h 262"/>
                  <a:gd name="T18" fmla="*/ 121 w 306"/>
                  <a:gd name="T19" fmla="*/ 24 h 262"/>
                  <a:gd name="T20" fmla="*/ 128 w 306"/>
                  <a:gd name="T21" fmla="*/ 36 h 262"/>
                  <a:gd name="T22" fmla="*/ 128 w 306"/>
                  <a:gd name="T23" fmla="*/ 39 h 262"/>
                  <a:gd name="T24" fmla="*/ 139 w 306"/>
                  <a:gd name="T25" fmla="*/ 43 h 262"/>
                  <a:gd name="T26" fmla="*/ 154 w 306"/>
                  <a:gd name="T27" fmla="*/ 48 h 262"/>
                  <a:gd name="T28" fmla="*/ 185 w 306"/>
                  <a:gd name="T29" fmla="*/ 52 h 262"/>
                  <a:gd name="T30" fmla="*/ 200 w 306"/>
                  <a:gd name="T31" fmla="*/ 58 h 262"/>
                  <a:gd name="T32" fmla="*/ 214 w 306"/>
                  <a:gd name="T33" fmla="*/ 81 h 262"/>
                  <a:gd name="T34" fmla="*/ 223 w 306"/>
                  <a:gd name="T35" fmla="*/ 94 h 262"/>
                  <a:gd name="T36" fmla="*/ 235 w 306"/>
                  <a:gd name="T37" fmla="*/ 111 h 262"/>
                  <a:gd name="T38" fmla="*/ 247 w 306"/>
                  <a:gd name="T39" fmla="*/ 129 h 262"/>
                  <a:gd name="T40" fmla="*/ 254 w 306"/>
                  <a:gd name="T41" fmla="*/ 156 h 262"/>
                  <a:gd name="T42" fmla="*/ 280 w 306"/>
                  <a:gd name="T43" fmla="*/ 162 h 262"/>
                  <a:gd name="T44" fmla="*/ 302 w 306"/>
                  <a:gd name="T45" fmla="*/ 163 h 262"/>
                  <a:gd name="T46" fmla="*/ 304 w 306"/>
                  <a:gd name="T47" fmla="*/ 177 h 262"/>
                  <a:gd name="T48" fmla="*/ 296 w 306"/>
                  <a:gd name="T49" fmla="*/ 193 h 262"/>
                  <a:gd name="T50" fmla="*/ 281 w 306"/>
                  <a:gd name="T51" fmla="*/ 204 h 262"/>
                  <a:gd name="T52" fmla="*/ 274 w 306"/>
                  <a:gd name="T53" fmla="*/ 210 h 262"/>
                  <a:gd name="T54" fmla="*/ 257 w 306"/>
                  <a:gd name="T55" fmla="*/ 214 h 262"/>
                  <a:gd name="T56" fmla="*/ 236 w 306"/>
                  <a:gd name="T57" fmla="*/ 223 h 262"/>
                  <a:gd name="T58" fmla="*/ 208 w 306"/>
                  <a:gd name="T59" fmla="*/ 224 h 262"/>
                  <a:gd name="T60" fmla="*/ 197 w 306"/>
                  <a:gd name="T61" fmla="*/ 228 h 262"/>
                  <a:gd name="T62" fmla="*/ 191 w 306"/>
                  <a:gd name="T63" fmla="*/ 231 h 262"/>
                  <a:gd name="T64" fmla="*/ 182 w 306"/>
                  <a:gd name="T65" fmla="*/ 249 h 262"/>
                  <a:gd name="T66" fmla="*/ 169 w 306"/>
                  <a:gd name="T67" fmla="*/ 262 h 262"/>
                  <a:gd name="T68" fmla="*/ 137 w 306"/>
                  <a:gd name="T69" fmla="*/ 246 h 262"/>
                  <a:gd name="T70" fmla="*/ 113 w 306"/>
                  <a:gd name="T71" fmla="*/ 247 h 262"/>
                  <a:gd name="T72" fmla="*/ 107 w 306"/>
                  <a:gd name="T73" fmla="*/ 238 h 262"/>
                  <a:gd name="T74" fmla="*/ 83 w 306"/>
                  <a:gd name="T75" fmla="*/ 208 h 262"/>
                  <a:gd name="T76" fmla="*/ 68 w 306"/>
                  <a:gd name="T77" fmla="*/ 192 h 262"/>
                  <a:gd name="T78" fmla="*/ 61 w 306"/>
                  <a:gd name="T79" fmla="*/ 154 h 262"/>
                  <a:gd name="T80" fmla="*/ 37 w 306"/>
                  <a:gd name="T81" fmla="*/ 127 h 262"/>
                  <a:gd name="T82" fmla="*/ 31 w 306"/>
                  <a:gd name="T83" fmla="*/ 120 h 262"/>
                  <a:gd name="T84" fmla="*/ 20 w 306"/>
                  <a:gd name="T85" fmla="*/ 96 h 262"/>
                  <a:gd name="T86" fmla="*/ 8 w 306"/>
                  <a:gd name="T87" fmla="*/ 78 h 262"/>
                  <a:gd name="T88" fmla="*/ 1 w 306"/>
                  <a:gd name="T89" fmla="*/ 60 h 262"/>
                  <a:gd name="T90" fmla="*/ 7 w 306"/>
                  <a:gd name="T91" fmla="*/ 45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6" h="262">
                    <a:moveTo>
                      <a:pt x="7" y="45"/>
                    </a:moveTo>
                    <a:cubicBezTo>
                      <a:pt x="14" y="46"/>
                      <a:pt x="17" y="49"/>
                      <a:pt x="23" y="45"/>
                    </a:cubicBezTo>
                    <a:cubicBezTo>
                      <a:pt x="27" y="38"/>
                      <a:pt x="29" y="37"/>
                      <a:pt x="37" y="36"/>
                    </a:cubicBezTo>
                    <a:cubicBezTo>
                      <a:pt x="48" y="30"/>
                      <a:pt x="44" y="20"/>
                      <a:pt x="35" y="15"/>
                    </a:cubicBezTo>
                    <a:cubicBezTo>
                      <a:pt x="34" y="12"/>
                      <a:pt x="32" y="7"/>
                      <a:pt x="37" y="6"/>
                    </a:cubicBezTo>
                    <a:cubicBezTo>
                      <a:pt x="44" y="4"/>
                      <a:pt x="59" y="3"/>
                      <a:pt x="59" y="3"/>
                    </a:cubicBezTo>
                    <a:cubicBezTo>
                      <a:pt x="67" y="0"/>
                      <a:pt x="71" y="0"/>
                      <a:pt x="79" y="1"/>
                    </a:cubicBezTo>
                    <a:cubicBezTo>
                      <a:pt x="84" y="4"/>
                      <a:pt x="88" y="6"/>
                      <a:pt x="94" y="7"/>
                    </a:cubicBezTo>
                    <a:cubicBezTo>
                      <a:pt x="100" y="10"/>
                      <a:pt x="106" y="18"/>
                      <a:pt x="106" y="18"/>
                    </a:cubicBezTo>
                    <a:cubicBezTo>
                      <a:pt x="109" y="24"/>
                      <a:pt x="115" y="20"/>
                      <a:pt x="121" y="24"/>
                    </a:cubicBezTo>
                    <a:cubicBezTo>
                      <a:pt x="122" y="31"/>
                      <a:pt x="122" y="33"/>
                      <a:pt x="128" y="36"/>
                    </a:cubicBezTo>
                    <a:cubicBezTo>
                      <a:pt x="129" y="38"/>
                      <a:pt x="126" y="38"/>
                      <a:pt x="128" y="39"/>
                    </a:cubicBezTo>
                    <a:cubicBezTo>
                      <a:pt x="130" y="40"/>
                      <a:pt x="135" y="42"/>
                      <a:pt x="139" y="43"/>
                    </a:cubicBezTo>
                    <a:cubicBezTo>
                      <a:pt x="144" y="45"/>
                      <a:pt x="149" y="46"/>
                      <a:pt x="154" y="48"/>
                    </a:cubicBezTo>
                    <a:cubicBezTo>
                      <a:pt x="166" y="57"/>
                      <a:pt x="152" y="48"/>
                      <a:pt x="185" y="52"/>
                    </a:cubicBezTo>
                    <a:cubicBezTo>
                      <a:pt x="190" y="53"/>
                      <a:pt x="195" y="57"/>
                      <a:pt x="200" y="58"/>
                    </a:cubicBezTo>
                    <a:cubicBezTo>
                      <a:pt x="202" y="70"/>
                      <a:pt x="203" y="76"/>
                      <a:pt x="214" y="81"/>
                    </a:cubicBezTo>
                    <a:cubicBezTo>
                      <a:pt x="222" y="91"/>
                      <a:pt x="219" y="87"/>
                      <a:pt x="223" y="94"/>
                    </a:cubicBezTo>
                    <a:cubicBezTo>
                      <a:pt x="224" y="107"/>
                      <a:pt x="224" y="106"/>
                      <a:pt x="235" y="111"/>
                    </a:cubicBezTo>
                    <a:cubicBezTo>
                      <a:pt x="239" y="118"/>
                      <a:pt x="241" y="125"/>
                      <a:pt x="247" y="129"/>
                    </a:cubicBezTo>
                    <a:cubicBezTo>
                      <a:pt x="250" y="137"/>
                      <a:pt x="245" y="151"/>
                      <a:pt x="254" y="156"/>
                    </a:cubicBezTo>
                    <a:cubicBezTo>
                      <a:pt x="259" y="161"/>
                      <a:pt x="272" y="161"/>
                      <a:pt x="280" y="162"/>
                    </a:cubicBezTo>
                    <a:cubicBezTo>
                      <a:pt x="288" y="163"/>
                      <a:pt x="298" y="160"/>
                      <a:pt x="302" y="163"/>
                    </a:cubicBezTo>
                    <a:cubicBezTo>
                      <a:pt x="306" y="166"/>
                      <a:pt x="305" y="172"/>
                      <a:pt x="304" y="177"/>
                    </a:cubicBezTo>
                    <a:cubicBezTo>
                      <a:pt x="303" y="182"/>
                      <a:pt x="300" y="188"/>
                      <a:pt x="296" y="193"/>
                    </a:cubicBezTo>
                    <a:cubicBezTo>
                      <a:pt x="293" y="201"/>
                      <a:pt x="286" y="201"/>
                      <a:pt x="281" y="204"/>
                    </a:cubicBezTo>
                    <a:cubicBezTo>
                      <a:pt x="277" y="207"/>
                      <a:pt x="278" y="208"/>
                      <a:pt x="274" y="210"/>
                    </a:cubicBezTo>
                    <a:cubicBezTo>
                      <a:pt x="270" y="212"/>
                      <a:pt x="263" y="212"/>
                      <a:pt x="257" y="214"/>
                    </a:cubicBezTo>
                    <a:cubicBezTo>
                      <a:pt x="245" y="223"/>
                      <a:pt x="254" y="222"/>
                      <a:pt x="236" y="223"/>
                    </a:cubicBezTo>
                    <a:cubicBezTo>
                      <a:pt x="227" y="225"/>
                      <a:pt x="214" y="223"/>
                      <a:pt x="208" y="224"/>
                    </a:cubicBezTo>
                    <a:cubicBezTo>
                      <a:pt x="202" y="225"/>
                      <a:pt x="200" y="227"/>
                      <a:pt x="197" y="228"/>
                    </a:cubicBezTo>
                    <a:cubicBezTo>
                      <a:pt x="194" y="231"/>
                      <a:pt x="193" y="228"/>
                      <a:pt x="191" y="231"/>
                    </a:cubicBezTo>
                    <a:cubicBezTo>
                      <a:pt x="189" y="234"/>
                      <a:pt x="186" y="244"/>
                      <a:pt x="182" y="249"/>
                    </a:cubicBezTo>
                    <a:cubicBezTo>
                      <a:pt x="179" y="254"/>
                      <a:pt x="174" y="259"/>
                      <a:pt x="169" y="262"/>
                    </a:cubicBezTo>
                    <a:cubicBezTo>
                      <a:pt x="154" y="259"/>
                      <a:pt x="149" y="248"/>
                      <a:pt x="137" y="246"/>
                    </a:cubicBezTo>
                    <a:cubicBezTo>
                      <a:pt x="129" y="246"/>
                      <a:pt x="121" y="248"/>
                      <a:pt x="113" y="247"/>
                    </a:cubicBezTo>
                    <a:cubicBezTo>
                      <a:pt x="112" y="247"/>
                      <a:pt x="107" y="238"/>
                      <a:pt x="107" y="238"/>
                    </a:cubicBezTo>
                    <a:cubicBezTo>
                      <a:pt x="101" y="228"/>
                      <a:pt x="93" y="214"/>
                      <a:pt x="83" y="208"/>
                    </a:cubicBezTo>
                    <a:cubicBezTo>
                      <a:pt x="80" y="201"/>
                      <a:pt x="75" y="196"/>
                      <a:pt x="68" y="192"/>
                    </a:cubicBezTo>
                    <a:cubicBezTo>
                      <a:pt x="58" y="175"/>
                      <a:pt x="64" y="186"/>
                      <a:pt x="61" y="154"/>
                    </a:cubicBezTo>
                    <a:cubicBezTo>
                      <a:pt x="60" y="142"/>
                      <a:pt x="45" y="133"/>
                      <a:pt x="37" y="127"/>
                    </a:cubicBezTo>
                    <a:cubicBezTo>
                      <a:pt x="36" y="124"/>
                      <a:pt x="32" y="123"/>
                      <a:pt x="31" y="120"/>
                    </a:cubicBezTo>
                    <a:cubicBezTo>
                      <a:pt x="27" y="107"/>
                      <a:pt x="34" y="98"/>
                      <a:pt x="20" y="96"/>
                    </a:cubicBezTo>
                    <a:cubicBezTo>
                      <a:pt x="18" y="88"/>
                      <a:pt x="14" y="83"/>
                      <a:pt x="8" y="78"/>
                    </a:cubicBezTo>
                    <a:cubicBezTo>
                      <a:pt x="7" y="72"/>
                      <a:pt x="5" y="65"/>
                      <a:pt x="1" y="60"/>
                    </a:cubicBezTo>
                    <a:cubicBezTo>
                      <a:pt x="1" y="55"/>
                      <a:pt x="0" y="45"/>
                      <a:pt x="7" y="4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81" name="Freeform 62">
                <a:extLst>
                  <a:ext uri="{FF2B5EF4-FFF2-40B4-BE49-F238E27FC236}">
                    <a16:creationId xmlns:a16="http://schemas.microsoft.com/office/drawing/2014/main" id="{2C465BAD-4A20-4E57-A85F-CA76338ABAD6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gray">
              <a:xfrm>
                <a:off x="5153026" y="3360738"/>
                <a:ext cx="119063" cy="115888"/>
              </a:xfrm>
              <a:custGeom>
                <a:avLst/>
                <a:gdLst>
                  <a:gd name="T0" fmla="*/ 8 w 73"/>
                  <a:gd name="T1" fmla="*/ 70 h 73"/>
                  <a:gd name="T2" fmla="*/ 31 w 73"/>
                  <a:gd name="T3" fmla="*/ 67 h 73"/>
                  <a:gd name="T4" fmla="*/ 41 w 73"/>
                  <a:gd name="T5" fmla="*/ 56 h 73"/>
                  <a:gd name="T6" fmla="*/ 50 w 73"/>
                  <a:gd name="T7" fmla="*/ 58 h 73"/>
                  <a:gd name="T8" fmla="*/ 46 w 73"/>
                  <a:gd name="T9" fmla="*/ 37 h 73"/>
                  <a:gd name="T10" fmla="*/ 57 w 73"/>
                  <a:gd name="T11" fmla="*/ 26 h 73"/>
                  <a:gd name="T12" fmla="*/ 70 w 73"/>
                  <a:gd name="T13" fmla="*/ 28 h 73"/>
                  <a:gd name="T14" fmla="*/ 64 w 73"/>
                  <a:gd name="T15" fmla="*/ 17 h 73"/>
                  <a:gd name="T16" fmla="*/ 58 w 73"/>
                  <a:gd name="T17" fmla="*/ 2 h 73"/>
                  <a:gd name="T18" fmla="*/ 46 w 73"/>
                  <a:gd name="T19" fmla="*/ 5 h 73"/>
                  <a:gd name="T20" fmla="*/ 38 w 73"/>
                  <a:gd name="T21" fmla="*/ 14 h 73"/>
                  <a:gd name="T22" fmla="*/ 41 w 73"/>
                  <a:gd name="T23" fmla="*/ 14 h 73"/>
                  <a:gd name="T24" fmla="*/ 26 w 73"/>
                  <a:gd name="T25" fmla="*/ 11 h 73"/>
                  <a:gd name="T26" fmla="*/ 16 w 73"/>
                  <a:gd name="T27" fmla="*/ 22 h 73"/>
                  <a:gd name="T28" fmla="*/ 4 w 73"/>
                  <a:gd name="T29" fmla="*/ 44 h 73"/>
                  <a:gd name="T30" fmla="*/ 5 w 73"/>
                  <a:gd name="T31" fmla="*/ 65 h 73"/>
                  <a:gd name="T32" fmla="*/ 8 w 73"/>
                  <a:gd name="T33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73">
                    <a:moveTo>
                      <a:pt x="8" y="70"/>
                    </a:moveTo>
                    <a:cubicBezTo>
                      <a:pt x="22" y="64"/>
                      <a:pt x="0" y="73"/>
                      <a:pt x="31" y="67"/>
                    </a:cubicBezTo>
                    <a:cubicBezTo>
                      <a:pt x="36" y="66"/>
                      <a:pt x="38" y="57"/>
                      <a:pt x="41" y="56"/>
                    </a:cubicBezTo>
                    <a:cubicBezTo>
                      <a:pt x="44" y="55"/>
                      <a:pt x="49" y="61"/>
                      <a:pt x="50" y="58"/>
                    </a:cubicBezTo>
                    <a:cubicBezTo>
                      <a:pt x="53" y="51"/>
                      <a:pt x="51" y="43"/>
                      <a:pt x="46" y="37"/>
                    </a:cubicBezTo>
                    <a:cubicBezTo>
                      <a:pt x="47" y="32"/>
                      <a:pt x="53" y="27"/>
                      <a:pt x="57" y="26"/>
                    </a:cubicBezTo>
                    <a:cubicBezTo>
                      <a:pt x="61" y="25"/>
                      <a:pt x="69" y="29"/>
                      <a:pt x="70" y="28"/>
                    </a:cubicBezTo>
                    <a:cubicBezTo>
                      <a:pt x="73" y="24"/>
                      <a:pt x="66" y="21"/>
                      <a:pt x="64" y="17"/>
                    </a:cubicBezTo>
                    <a:cubicBezTo>
                      <a:pt x="62" y="13"/>
                      <a:pt x="61" y="4"/>
                      <a:pt x="58" y="2"/>
                    </a:cubicBezTo>
                    <a:cubicBezTo>
                      <a:pt x="55" y="0"/>
                      <a:pt x="49" y="3"/>
                      <a:pt x="46" y="5"/>
                    </a:cubicBezTo>
                    <a:cubicBezTo>
                      <a:pt x="44" y="6"/>
                      <a:pt x="39" y="12"/>
                      <a:pt x="38" y="14"/>
                    </a:cubicBezTo>
                    <a:cubicBezTo>
                      <a:pt x="37" y="17"/>
                      <a:pt x="43" y="11"/>
                      <a:pt x="41" y="14"/>
                    </a:cubicBezTo>
                    <a:cubicBezTo>
                      <a:pt x="41" y="14"/>
                      <a:pt x="27" y="12"/>
                      <a:pt x="26" y="11"/>
                    </a:cubicBezTo>
                    <a:cubicBezTo>
                      <a:pt x="21" y="14"/>
                      <a:pt x="19" y="17"/>
                      <a:pt x="16" y="22"/>
                    </a:cubicBezTo>
                    <a:cubicBezTo>
                      <a:pt x="14" y="38"/>
                      <a:pt x="18" y="42"/>
                      <a:pt x="4" y="44"/>
                    </a:cubicBezTo>
                    <a:cubicBezTo>
                      <a:pt x="4" y="51"/>
                      <a:pt x="4" y="58"/>
                      <a:pt x="5" y="65"/>
                    </a:cubicBezTo>
                    <a:cubicBezTo>
                      <a:pt x="5" y="67"/>
                      <a:pt x="8" y="70"/>
                      <a:pt x="8" y="7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82" name="Freeform 63">
                <a:extLst>
                  <a:ext uri="{FF2B5EF4-FFF2-40B4-BE49-F238E27FC236}">
                    <a16:creationId xmlns:a16="http://schemas.microsoft.com/office/drawing/2014/main" id="{41D38570-5552-48D8-9615-B121F89E56DE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gray">
              <a:xfrm>
                <a:off x="4051301" y="3997325"/>
                <a:ext cx="119063" cy="84138"/>
              </a:xfrm>
              <a:custGeom>
                <a:avLst/>
                <a:gdLst>
                  <a:gd name="T0" fmla="*/ 51 w 73"/>
                  <a:gd name="T1" fmla="*/ 17 h 53"/>
                  <a:gd name="T2" fmla="*/ 47 w 73"/>
                  <a:gd name="T3" fmla="*/ 11 h 53"/>
                  <a:gd name="T4" fmla="*/ 36 w 73"/>
                  <a:gd name="T5" fmla="*/ 11 h 53"/>
                  <a:gd name="T6" fmla="*/ 18 w 73"/>
                  <a:gd name="T7" fmla="*/ 0 h 53"/>
                  <a:gd name="T8" fmla="*/ 7 w 73"/>
                  <a:gd name="T9" fmla="*/ 11 h 53"/>
                  <a:gd name="T10" fmla="*/ 1 w 73"/>
                  <a:gd name="T11" fmla="*/ 23 h 53"/>
                  <a:gd name="T12" fmla="*/ 15 w 73"/>
                  <a:gd name="T13" fmla="*/ 27 h 53"/>
                  <a:gd name="T14" fmla="*/ 27 w 73"/>
                  <a:gd name="T15" fmla="*/ 35 h 53"/>
                  <a:gd name="T16" fmla="*/ 43 w 73"/>
                  <a:gd name="T17" fmla="*/ 49 h 53"/>
                  <a:gd name="T18" fmla="*/ 55 w 73"/>
                  <a:gd name="T19" fmla="*/ 53 h 53"/>
                  <a:gd name="T20" fmla="*/ 55 w 73"/>
                  <a:gd name="T21" fmla="*/ 31 h 53"/>
                  <a:gd name="T22" fmla="*/ 51 w 73"/>
                  <a:gd name="T23" fmla="*/ 1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" h="53">
                    <a:moveTo>
                      <a:pt x="51" y="17"/>
                    </a:moveTo>
                    <a:cubicBezTo>
                      <a:pt x="50" y="15"/>
                      <a:pt x="49" y="11"/>
                      <a:pt x="47" y="11"/>
                    </a:cubicBezTo>
                    <a:cubicBezTo>
                      <a:pt x="44" y="9"/>
                      <a:pt x="41" y="13"/>
                      <a:pt x="36" y="11"/>
                    </a:cubicBezTo>
                    <a:cubicBezTo>
                      <a:pt x="31" y="9"/>
                      <a:pt x="23" y="0"/>
                      <a:pt x="18" y="0"/>
                    </a:cubicBezTo>
                    <a:cubicBezTo>
                      <a:pt x="13" y="0"/>
                      <a:pt x="10" y="7"/>
                      <a:pt x="7" y="11"/>
                    </a:cubicBezTo>
                    <a:cubicBezTo>
                      <a:pt x="7" y="12"/>
                      <a:pt x="0" y="21"/>
                      <a:pt x="1" y="23"/>
                    </a:cubicBezTo>
                    <a:cubicBezTo>
                      <a:pt x="4" y="27"/>
                      <a:pt x="11" y="25"/>
                      <a:pt x="15" y="27"/>
                    </a:cubicBezTo>
                    <a:cubicBezTo>
                      <a:pt x="19" y="29"/>
                      <a:pt x="27" y="35"/>
                      <a:pt x="27" y="35"/>
                    </a:cubicBezTo>
                    <a:cubicBezTo>
                      <a:pt x="29" y="38"/>
                      <a:pt x="40" y="47"/>
                      <a:pt x="43" y="49"/>
                    </a:cubicBezTo>
                    <a:cubicBezTo>
                      <a:pt x="47" y="51"/>
                      <a:pt x="55" y="53"/>
                      <a:pt x="55" y="53"/>
                    </a:cubicBezTo>
                    <a:cubicBezTo>
                      <a:pt x="73" y="49"/>
                      <a:pt x="65" y="38"/>
                      <a:pt x="55" y="31"/>
                    </a:cubicBezTo>
                    <a:cubicBezTo>
                      <a:pt x="52" y="22"/>
                      <a:pt x="54" y="27"/>
                      <a:pt x="51" y="1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83" name="Freeform 68">
                <a:extLst>
                  <a:ext uri="{FF2B5EF4-FFF2-40B4-BE49-F238E27FC236}">
                    <a16:creationId xmlns:a16="http://schemas.microsoft.com/office/drawing/2014/main" id="{FB8B87D4-D967-4104-B87A-FFF306D36C41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gray">
              <a:xfrm>
                <a:off x="4476751" y="2905125"/>
                <a:ext cx="122238" cy="76200"/>
              </a:xfrm>
              <a:custGeom>
                <a:avLst/>
                <a:gdLst>
                  <a:gd name="T0" fmla="*/ 13 w 76"/>
                  <a:gd name="T1" fmla="*/ 12 h 48"/>
                  <a:gd name="T2" fmla="*/ 47 w 76"/>
                  <a:gd name="T3" fmla="*/ 4 h 48"/>
                  <a:gd name="T4" fmla="*/ 67 w 76"/>
                  <a:gd name="T5" fmla="*/ 7 h 48"/>
                  <a:gd name="T6" fmla="*/ 76 w 76"/>
                  <a:gd name="T7" fmla="*/ 18 h 48"/>
                  <a:gd name="T8" fmla="*/ 64 w 76"/>
                  <a:gd name="T9" fmla="*/ 25 h 48"/>
                  <a:gd name="T10" fmla="*/ 56 w 76"/>
                  <a:gd name="T11" fmla="*/ 31 h 48"/>
                  <a:gd name="T12" fmla="*/ 41 w 76"/>
                  <a:gd name="T13" fmla="*/ 39 h 48"/>
                  <a:gd name="T14" fmla="*/ 29 w 76"/>
                  <a:gd name="T15" fmla="*/ 43 h 48"/>
                  <a:gd name="T16" fmla="*/ 4 w 76"/>
                  <a:gd name="T17" fmla="*/ 34 h 48"/>
                  <a:gd name="T18" fmla="*/ 2 w 76"/>
                  <a:gd name="T19" fmla="*/ 18 h 48"/>
                  <a:gd name="T20" fmla="*/ 13 w 76"/>
                  <a:gd name="T21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6" h="48">
                    <a:moveTo>
                      <a:pt x="13" y="12"/>
                    </a:moveTo>
                    <a:cubicBezTo>
                      <a:pt x="37" y="4"/>
                      <a:pt x="23" y="0"/>
                      <a:pt x="47" y="4"/>
                    </a:cubicBezTo>
                    <a:cubicBezTo>
                      <a:pt x="53" y="5"/>
                      <a:pt x="70" y="1"/>
                      <a:pt x="67" y="7"/>
                    </a:cubicBezTo>
                    <a:cubicBezTo>
                      <a:pt x="72" y="9"/>
                      <a:pt x="76" y="15"/>
                      <a:pt x="76" y="18"/>
                    </a:cubicBezTo>
                    <a:cubicBezTo>
                      <a:pt x="76" y="21"/>
                      <a:pt x="67" y="23"/>
                      <a:pt x="64" y="25"/>
                    </a:cubicBezTo>
                    <a:cubicBezTo>
                      <a:pt x="61" y="27"/>
                      <a:pt x="60" y="29"/>
                      <a:pt x="56" y="31"/>
                    </a:cubicBezTo>
                    <a:cubicBezTo>
                      <a:pt x="52" y="33"/>
                      <a:pt x="45" y="37"/>
                      <a:pt x="41" y="39"/>
                    </a:cubicBezTo>
                    <a:cubicBezTo>
                      <a:pt x="37" y="41"/>
                      <a:pt x="35" y="44"/>
                      <a:pt x="29" y="43"/>
                    </a:cubicBezTo>
                    <a:cubicBezTo>
                      <a:pt x="23" y="48"/>
                      <a:pt x="9" y="38"/>
                      <a:pt x="4" y="34"/>
                    </a:cubicBezTo>
                    <a:cubicBezTo>
                      <a:pt x="0" y="30"/>
                      <a:pt x="0" y="22"/>
                      <a:pt x="2" y="18"/>
                    </a:cubicBezTo>
                    <a:cubicBezTo>
                      <a:pt x="7" y="14"/>
                      <a:pt x="18" y="17"/>
                      <a:pt x="13" y="1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84" name="Freeform 69">
                <a:extLst>
                  <a:ext uri="{FF2B5EF4-FFF2-40B4-BE49-F238E27FC236}">
                    <a16:creationId xmlns:a16="http://schemas.microsoft.com/office/drawing/2014/main" id="{DF2D0764-B0F1-4DA9-B37F-F44C05C3D921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gray">
              <a:xfrm>
                <a:off x="4398963" y="2759075"/>
                <a:ext cx="82550" cy="93663"/>
              </a:xfrm>
              <a:custGeom>
                <a:avLst/>
                <a:gdLst>
                  <a:gd name="T0" fmla="*/ 20 w 51"/>
                  <a:gd name="T1" fmla="*/ 5 h 59"/>
                  <a:gd name="T2" fmla="*/ 47 w 51"/>
                  <a:gd name="T3" fmla="*/ 17 h 59"/>
                  <a:gd name="T4" fmla="*/ 50 w 51"/>
                  <a:gd name="T5" fmla="*/ 29 h 59"/>
                  <a:gd name="T6" fmla="*/ 48 w 51"/>
                  <a:gd name="T7" fmla="*/ 59 h 59"/>
                  <a:gd name="T8" fmla="*/ 26 w 51"/>
                  <a:gd name="T9" fmla="*/ 39 h 59"/>
                  <a:gd name="T10" fmla="*/ 6 w 51"/>
                  <a:gd name="T11" fmla="*/ 25 h 59"/>
                  <a:gd name="T12" fmla="*/ 10 w 51"/>
                  <a:gd name="T13" fmla="*/ 7 h 59"/>
                  <a:gd name="T14" fmla="*/ 12 w 51"/>
                  <a:gd name="T15" fmla="*/ 1 h 59"/>
                  <a:gd name="T16" fmla="*/ 22 w 51"/>
                  <a:gd name="T17" fmla="*/ 3 h 59"/>
                  <a:gd name="T18" fmla="*/ 28 w 51"/>
                  <a:gd name="T19" fmla="*/ 5 h 59"/>
                  <a:gd name="T20" fmla="*/ 20 w 51"/>
                  <a:gd name="T21" fmla="*/ 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9">
                    <a:moveTo>
                      <a:pt x="20" y="5"/>
                    </a:moveTo>
                    <a:cubicBezTo>
                      <a:pt x="27" y="7"/>
                      <a:pt x="40" y="15"/>
                      <a:pt x="47" y="17"/>
                    </a:cubicBezTo>
                    <a:cubicBezTo>
                      <a:pt x="51" y="24"/>
                      <a:pt x="47" y="21"/>
                      <a:pt x="50" y="29"/>
                    </a:cubicBezTo>
                    <a:cubicBezTo>
                      <a:pt x="47" y="38"/>
                      <a:pt x="49" y="50"/>
                      <a:pt x="48" y="59"/>
                    </a:cubicBezTo>
                    <a:cubicBezTo>
                      <a:pt x="26" y="55"/>
                      <a:pt x="42" y="49"/>
                      <a:pt x="26" y="39"/>
                    </a:cubicBezTo>
                    <a:cubicBezTo>
                      <a:pt x="23" y="31"/>
                      <a:pt x="14" y="28"/>
                      <a:pt x="6" y="25"/>
                    </a:cubicBezTo>
                    <a:cubicBezTo>
                      <a:pt x="0" y="16"/>
                      <a:pt x="3" y="14"/>
                      <a:pt x="10" y="7"/>
                    </a:cubicBezTo>
                    <a:cubicBezTo>
                      <a:pt x="11" y="5"/>
                      <a:pt x="10" y="2"/>
                      <a:pt x="12" y="1"/>
                    </a:cubicBezTo>
                    <a:cubicBezTo>
                      <a:pt x="15" y="0"/>
                      <a:pt x="19" y="2"/>
                      <a:pt x="22" y="3"/>
                    </a:cubicBezTo>
                    <a:cubicBezTo>
                      <a:pt x="24" y="4"/>
                      <a:pt x="29" y="4"/>
                      <a:pt x="28" y="5"/>
                    </a:cubicBezTo>
                    <a:cubicBezTo>
                      <a:pt x="26" y="7"/>
                      <a:pt x="23" y="5"/>
                      <a:pt x="20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85" name="Freeform 70">
                <a:extLst>
                  <a:ext uri="{FF2B5EF4-FFF2-40B4-BE49-F238E27FC236}">
                    <a16:creationId xmlns:a16="http://schemas.microsoft.com/office/drawing/2014/main" id="{02E29FBF-70D0-4082-B679-758704D3114D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gray">
              <a:xfrm>
                <a:off x="5591176" y="3071813"/>
                <a:ext cx="330200" cy="234950"/>
              </a:xfrm>
              <a:custGeom>
                <a:avLst/>
                <a:gdLst>
                  <a:gd name="T0" fmla="*/ 16 w 205"/>
                  <a:gd name="T1" fmla="*/ 112 h 148"/>
                  <a:gd name="T2" fmla="*/ 13 w 205"/>
                  <a:gd name="T3" fmla="*/ 72 h 148"/>
                  <a:gd name="T4" fmla="*/ 1 w 205"/>
                  <a:gd name="T5" fmla="*/ 55 h 148"/>
                  <a:gd name="T6" fmla="*/ 10 w 205"/>
                  <a:gd name="T7" fmla="*/ 24 h 148"/>
                  <a:gd name="T8" fmla="*/ 35 w 205"/>
                  <a:gd name="T9" fmla="*/ 28 h 148"/>
                  <a:gd name="T10" fmla="*/ 48 w 205"/>
                  <a:gd name="T11" fmla="*/ 28 h 148"/>
                  <a:gd name="T12" fmla="*/ 61 w 205"/>
                  <a:gd name="T13" fmla="*/ 34 h 148"/>
                  <a:gd name="T14" fmla="*/ 72 w 205"/>
                  <a:gd name="T15" fmla="*/ 27 h 148"/>
                  <a:gd name="T16" fmla="*/ 85 w 205"/>
                  <a:gd name="T17" fmla="*/ 12 h 148"/>
                  <a:gd name="T18" fmla="*/ 108 w 205"/>
                  <a:gd name="T19" fmla="*/ 12 h 148"/>
                  <a:gd name="T20" fmla="*/ 112 w 205"/>
                  <a:gd name="T21" fmla="*/ 30 h 148"/>
                  <a:gd name="T22" fmla="*/ 133 w 205"/>
                  <a:gd name="T23" fmla="*/ 34 h 148"/>
                  <a:gd name="T24" fmla="*/ 144 w 205"/>
                  <a:gd name="T25" fmla="*/ 46 h 148"/>
                  <a:gd name="T26" fmla="*/ 145 w 205"/>
                  <a:gd name="T27" fmla="*/ 60 h 148"/>
                  <a:gd name="T28" fmla="*/ 171 w 205"/>
                  <a:gd name="T29" fmla="*/ 81 h 148"/>
                  <a:gd name="T30" fmla="*/ 195 w 205"/>
                  <a:gd name="T31" fmla="*/ 94 h 148"/>
                  <a:gd name="T32" fmla="*/ 205 w 205"/>
                  <a:gd name="T33" fmla="*/ 105 h 148"/>
                  <a:gd name="T34" fmla="*/ 186 w 205"/>
                  <a:gd name="T35" fmla="*/ 111 h 148"/>
                  <a:gd name="T36" fmla="*/ 177 w 205"/>
                  <a:gd name="T37" fmla="*/ 130 h 148"/>
                  <a:gd name="T38" fmla="*/ 163 w 205"/>
                  <a:gd name="T39" fmla="*/ 139 h 148"/>
                  <a:gd name="T40" fmla="*/ 151 w 205"/>
                  <a:gd name="T41" fmla="*/ 148 h 148"/>
                  <a:gd name="T42" fmla="*/ 130 w 205"/>
                  <a:gd name="T43" fmla="*/ 141 h 148"/>
                  <a:gd name="T44" fmla="*/ 112 w 205"/>
                  <a:gd name="T45" fmla="*/ 123 h 148"/>
                  <a:gd name="T46" fmla="*/ 100 w 205"/>
                  <a:gd name="T47" fmla="*/ 114 h 148"/>
                  <a:gd name="T48" fmla="*/ 82 w 205"/>
                  <a:gd name="T49" fmla="*/ 105 h 148"/>
                  <a:gd name="T50" fmla="*/ 59 w 205"/>
                  <a:gd name="T51" fmla="*/ 100 h 148"/>
                  <a:gd name="T52" fmla="*/ 39 w 205"/>
                  <a:gd name="T53" fmla="*/ 102 h 148"/>
                  <a:gd name="T54" fmla="*/ 24 w 205"/>
                  <a:gd name="T55" fmla="*/ 106 h 148"/>
                  <a:gd name="T56" fmla="*/ 16 w 205"/>
                  <a:gd name="T57" fmla="*/ 112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5" h="148">
                    <a:moveTo>
                      <a:pt x="16" y="112"/>
                    </a:moveTo>
                    <a:cubicBezTo>
                      <a:pt x="22" y="99"/>
                      <a:pt x="21" y="83"/>
                      <a:pt x="13" y="72"/>
                    </a:cubicBezTo>
                    <a:cubicBezTo>
                      <a:pt x="12" y="65"/>
                      <a:pt x="5" y="61"/>
                      <a:pt x="1" y="55"/>
                    </a:cubicBezTo>
                    <a:cubicBezTo>
                      <a:pt x="2" y="44"/>
                      <a:pt x="0" y="31"/>
                      <a:pt x="10" y="24"/>
                    </a:cubicBezTo>
                    <a:cubicBezTo>
                      <a:pt x="16" y="20"/>
                      <a:pt x="29" y="26"/>
                      <a:pt x="35" y="28"/>
                    </a:cubicBezTo>
                    <a:cubicBezTo>
                      <a:pt x="41" y="29"/>
                      <a:pt x="44" y="27"/>
                      <a:pt x="48" y="28"/>
                    </a:cubicBezTo>
                    <a:cubicBezTo>
                      <a:pt x="56" y="30"/>
                      <a:pt x="57" y="34"/>
                      <a:pt x="61" y="34"/>
                    </a:cubicBezTo>
                    <a:cubicBezTo>
                      <a:pt x="65" y="34"/>
                      <a:pt x="68" y="31"/>
                      <a:pt x="72" y="27"/>
                    </a:cubicBezTo>
                    <a:cubicBezTo>
                      <a:pt x="73" y="11"/>
                      <a:pt x="72" y="16"/>
                      <a:pt x="85" y="12"/>
                    </a:cubicBezTo>
                    <a:cubicBezTo>
                      <a:pt x="92" y="14"/>
                      <a:pt x="101" y="9"/>
                      <a:pt x="108" y="12"/>
                    </a:cubicBezTo>
                    <a:cubicBezTo>
                      <a:pt x="118" y="25"/>
                      <a:pt x="100" y="0"/>
                      <a:pt x="112" y="30"/>
                    </a:cubicBezTo>
                    <a:cubicBezTo>
                      <a:pt x="113" y="32"/>
                      <a:pt x="130" y="34"/>
                      <a:pt x="133" y="34"/>
                    </a:cubicBezTo>
                    <a:cubicBezTo>
                      <a:pt x="137" y="38"/>
                      <a:pt x="141" y="41"/>
                      <a:pt x="144" y="46"/>
                    </a:cubicBezTo>
                    <a:cubicBezTo>
                      <a:pt x="144" y="51"/>
                      <a:pt x="143" y="56"/>
                      <a:pt x="145" y="60"/>
                    </a:cubicBezTo>
                    <a:cubicBezTo>
                      <a:pt x="146" y="62"/>
                      <a:pt x="168" y="80"/>
                      <a:pt x="171" y="81"/>
                    </a:cubicBezTo>
                    <a:cubicBezTo>
                      <a:pt x="177" y="89"/>
                      <a:pt x="185" y="92"/>
                      <a:pt x="195" y="94"/>
                    </a:cubicBezTo>
                    <a:cubicBezTo>
                      <a:pt x="200" y="98"/>
                      <a:pt x="204" y="98"/>
                      <a:pt x="205" y="105"/>
                    </a:cubicBezTo>
                    <a:cubicBezTo>
                      <a:pt x="199" y="109"/>
                      <a:pt x="193" y="109"/>
                      <a:pt x="186" y="111"/>
                    </a:cubicBezTo>
                    <a:cubicBezTo>
                      <a:pt x="175" y="118"/>
                      <a:pt x="182" y="117"/>
                      <a:pt x="177" y="130"/>
                    </a:cubicBezTo>
                    <a:cubicBezTo>
                      <a:pt x="175" y="135"/>
                      <a:pt x="163" y="139"/>
                      <a:pt x="163" y="139"/>
                    </a:cubicBezTo>
                    <a:cubicBezTo>
                      <a:pt x="159" y="145"/>
                      <a:pt x="158" y="147"/>
                      <a:pt x="151" y="148"/>
                    </a:cubicBezTo>
                    <a:cubicBezTo>
                      <a:pt x="139" y="147"/>
                      <a:pt x="139" y="146"/>
                      <a:pt x="130" y="141"/>
                    </a:cubicBezTo>
                    <a:cubicBezTo>
                      <a:pt x="128" y="131"/>
                      <a:pt x="120" y="128"/>
                      <a:pt x="112" y="123"/>
                    </a:cubicBezTo>
                    <a:cubicBezTo>
                      <a:pt x="108" y="117"/>
                      <a:pt x="107" y="115"/>
                      <a:pt x="100" y="114"/>
                    </a:cubicBezTo>
                    <a:cubicBezTo>
                      <a:pt x="94" y="110"/>
                      <a:pt x="89" y="106"/>
                      <a:pt x="82" y="105"/>
                    </a:cubicBezTo>
                    <a:cubicBezTo>
                      <a:pt x="75" y="103"/>
                      <a:pt x="66" y="100"/>
                      <a:pt x="59" y="100"/>
                    </a:cubicBezTo>
                    <a:cubicBezTo>
                      <a:pt x="52" y="100"/>
                      <a:pt x="45" y="101"/>
                      <a:pt x="39" y="102"/>
                    </a:cubicBezTo>
                    <a:cubicBezTo>
                      <a:pt x="34" y="103"/>
                      <a:pt x="29" y="105"/>
                      <a:pt x="24" y="106"/>
                    </a:cubicBezTo>
                    <a:cubicBezTo>
                      <a:pt x="17" y="109"/>
                      <a:pt x="20" y="107"/>
                      <a:pt x="16" y="11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86" name="Freeform 71">
                <a:extLst>
                  <a:ext uri="{FF2B5EF4-FFF2-40B4-BE49-F238E27FC236}">
                    <a16:creationId xmlns:a16="http://schemas.microsoft.com/office/drawing/2014/main" id="{759981DA-4536-41C6-AA6A-11DCFFE9592C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gray">
              <a:xfrm>
                <a:off x="4845051" y="2503488"/>
                <a:ext cx="177800" cy="114300"/>
              </a:xfrm>
              <a:custGeom>
                <a:avLst/>
                <a:gdLst>
                  <a:gd name="T0" fmla="*/ 46 w 110"/>
                  <a:gd name="T1" fmla="*/ 8 h 72"/>
                  <a:gd name="T2" fmla="*/ 34 w 110"/>
                  <a:gd name="T3" fmla="*/ 29 h 72"/>
                  <a:gd name="T4" fmla="*/ 13 w 110"/>
                  <a:gd name="T5" fmla="*/ 22 h 72"/>
                  <a:gd name="T6" fmla="*/ 0 w 110"/>
                  <a:gd name="T7" fmla="*/ 50 h 72"/>
                  <a:gd name="T8" fmla="*/ 52 w 110"/>
                  <a:gd name="T9" fmla="*/ 49 h 72"/>
                  <a:gd name="T10" fmla="*/ 81 w 110"/>
                  <a:gd name="T11" fmla="*/ 70 h 72"/>
                  <a:gd name="T12" fmla="*/ 100 w 110"/>
                  <a:gd name="T13" fmla="*/ 61 h 72"/>
                  <a:gd name="T14" fmla="*/ 100 w 110"/>
                  <a:gd name="T15" fmla="*/ 11 h 72"/>
                  <a:gd name="T16" fmla="*/ 87 w 110"/>
                  <a:gd name="T17" fmla="*/ 17 h 72"/>
                  <a:gd name="T18" fmla="*/ 66 w 110"/>
                  <a:gd name="T19" fmla="*/ 10 h 72"/>
                  <a:gd name="T20" fmla="*/ 46 w 110"/>
                  <a:gd name="T21" fmla="*/ 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72">
                    <a:moveTo>
                      <a:pt x="46" y="8"/>
                    </a:moveTo>
                    <a:cubicBezTo>
                      <a:pt x="45" y="21"/>
                      <a:pt x="47" y="26"/>
                      <a:pt x="34" y="29"/>
                    </a:cubicBezTo>
                    <a:cubicBezTo>
                      <a:pt x="26" y="28"/>
                      <a:pt x="21" y="23"/>
                      <a:pt x="13" y="22"/>
                    </a:cubicBezTo>
                    <a:cubicBezTo>
                      <a:pt x="0" y="15"/>
                      <a:pt x="7" y="40"/>
                      <a:pt x="0" y="50"/>
                    </a:cubicBezTo>
                    <a:cubicBezTo>
                      <a:pt x="6" y="56"/>
                      <a:pt x="35" y="47"/>
                      <a:pt x="52" y="49"/>
                    </a:cubicBezTo>
                    <a:cubicBezTo>
                      <a:pt x="65" y="52"/>
                      <a:pt x="73" y="68"/>
                      <a:pt x="81" y="70"/>
                    </a:cubicBezTo>
                    <a:cubicBezTo>
                      <a:pt x="89" y="72"/>
                      <a:pt x="97" y="71"/>
                      <a:pt x="100" y="61"/>
                    </a:cubicBezTo>
                    <a:cubicBezTo>
                      <a:pt x="109" y="46"/>
                      <a:pt x="110" y="27"/>
                      <a:pt x="100" y="11"/>
                    </a:cubicBezTo>
                    <a:cubicBezTo>
                      <a:pt x="95" y="13"/>
                      <a:pt x="91" y="14"/>
                      <a:pt x="87" y="17"/>
                    </a:cubicBezTo>
                    <a:cubicBezTo>
                      <a:pt x="77" y="16"/>
                      <a:pt x="73" y="17"/>
                      <a:pt x="66" y="10"/>
                    </a:cubicBezTo>
                    <a:cubicBezTo>
                      <a:pt x="62" y="0"/>
                      <a:pt x="55" y="5"/>
                      <a:pt x="46" y="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87" name="Freeform 72">
                <a:extLst>
                  <a:ext uri="{FF2B5EF4-FFF2-40B4-BE49-F238E27FC236}">
                    <a16:creationId xmlns:a16="http://schemas.microsoft.com/office/drawing/2014/main" id="{3D6A6370-9B73-4EC9-AEF5-F56BBFE7D134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gray">
              <a:xfrm>
                <a:off x="4837113" y="2581275"/>
                <a:ext cx="139700" cy="100013"/>
              </a:xfrm>
              <a:custGeom>
                <a:avLst/>
                <a:gdLst>
                  <a:gd name="T0" fmla="*/ 8 w 86"/>
                  <a:gd name="T1" fmla="*/ 4 h 63"/>
                  <a:gd name="T2" fmla="*/ 5 w 86"/>
                  <a:gd name="T3" fmla="*/ 25 h 63"/>
                  <a:gd name="T4" fmla="*/ 26 w 86"/>
                  <a:gd name="T5" fmla="*/ 45 h 63"/>
                  <a:gd name="T6" fmla="*/ 30 w 86"/>
                  <a:gd name="T7" fmla="*/ 58 h 63"/>
                  <a:gd name="T8" fmla="*/ 47 w 86"/>
                  <a:gd name="T9" fmla="*/ 63 h 63"/>
                  <a:gd name="T10" fmla="*/ 66 w 86"/>
                  <a:gd name="T11" fmla="*/ 58 h 63"/>
                  <a:gd name="T12" fmla="*/ 72 w 86"/>
                  <a:gd name="T13" fmla="*/ 46 h 63"/>
                  <a:gd name="T14" fmla="*/ 86 w 86"/>
                  <a:gd name="T15" fmla="*/ 28 h 63"/>
                  <a:gd name="T16" fmla="*/ 78 w 86"/>
                  <a:gd name="T17" fmla="*/ 16 h 63"/>
                  <a:gd name="T18" fmla="*/ 63 w 86"/>
                  <a:gd name="T19" fmla="*/ 3 h 63"/>
                  <a:gd name="T20" fmla="*/ 41 w 86"/>
                  <a:gd name="T21" fmla="*/ 1 h 63"/>
                  <a:gd name="T22" fmla="*/ 8 w 86"/>
                  <a:gd name="T23" fmla="*/ 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63">
                    <a:moveTo>
                      <a:pt x="8" y="4"/>
                    </a:moveTo>
                    <a:cubicBezTo>
                      <a:pt x="0" y="7"/>
                      <a:pt x="2" y="18"/>
                      <a:pt x="5" y="25"/>
                    </a:cubicBezTo>
                    <a:cubicBezTo>
                      <a:pt x="8" y="32"/>
                      <a:pt x="22" y="40"/>
                      <a:pt x="26" y="45"/>
                    </a:cubicBezTo>
                    <a:cubicBezTo>
                      <a:pt x="31" y="51"/>
                      <a:pt x="24" y="54"/>
                      <a:pt x="30" y="58"/>
                    </a:cubicBezTo>
                    <a:cubicBezTo>
                      <a:pt x="33" y="61"/>
                      <a:pt x="41" y="63"/>
                      <a:pt x="47" y="63"/>
                    </a:cubicBezTo>
                    <a:cubicBezTo>
                      <a:pt x="53" y="63"/>
                      <a:pt x="62" y="61"/>
                      <a:pt x="66" y="58"/>
                    </a:cubicBezTo>
                    <a:cubicBezTo>
                      <a:pt x="70" y="56"/>
                      <a:pt x="71" y="50"/>
                      <a:pt x="72" y="46"/>
                    </a:cubicBezTo>
                    <a:cubicBezTo>
                      <a:pt x="73" y="40"/>
                      <a:pt x="83" y="33"/>
                      <a:pt x="86" y="28"/>
                    </a:cubicBezTo>
                    <a:cubicBezTo>
                      <a:pt x="83" y="22"/>
                      <a:pt x="84" y="20"/>
                      <a:pt x="78" y="16"/>
                    </a:cubicBezTo>
                    <a:cubicBezTo>
                      <a:pt x="74" y="11"/>
                      <a:pt x="68" y="6"/>
                      <a:pt x="63" y="3"/>
                    </a:cubicBezTo>
                    <a:cubicBezTo>
                      <a:pt x="57" y="1"/>
                      <a:pt x="50" y="0"/>
                      <a:pt x="41" y="1"/>
                    </a:cubicBezTo>
                    <a:cubicBezTo>
                      <a:pt x="32" y="1"/>
                      <a:pt x="15" y="3"/>
                      <a:pt x="8" y="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88" name="Freeform 73">
                <a:extLst>
                  <a:ext uri="{FF2B5EF4-FFF2-40B4-BE49-F238E27FC236}">
                    <a16:creationId xmlns:a16="http://schemas.microsoft.com/office/drawing/2014/main" id="{78E57ECF-C1E0-4C59-BFB9-0BCE734E30DB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gray">
              <a:xfrm>
                <a:off x="4892676" y="2597150"/>
                <a:ext cx="206375" cy="185738"/>
              </a:xfrm>
              <a:custGeom>
                <a:avLst/>
                <a:gdLst>
                  <a:gd name="T0" fmla="*/ 11 w 128"/>
                  <a:gd name="T1" fmla="*/ 54 h 117"/>
                  <a:gd name="T2" fmla="*/ 2 w 128"/>
                  <a:gd name="T3" fmla="*/ 92 h 117"/>
                  <a:gd name="T4" fmla="*/ 10 w 128"/>
                  <a:gd name="T5" fmla="*/ 114 h 117"/>
                  <a:gd name="T6" fmla="*/ 22 w 128"/>
                  <a:gd name="T7" fmla="*/ 110 h 117"/>
                  <a:gd name="T8" fmla="*/ 61 w 128"/>
                  <a:gd name="T9" fmla="*/ 110 h 117"/>
                  <a:gd name="T10" fmla="*/ 83 w 128"/>
                  <a:gd name="T11" fmla="*/ 114 h 117"/>
                  <a:gd name="T12" fmla="*/ 107 w 128"/>
                  <a:gd name="T13" fmla="*/ 109 h 117"/>
                  <a:gd name="T14" fmla="*/ 118 w 128"/>
                  <a:gd name="T15" fmla="*/ 102 h 117"/>
                  <a:gd name="T16" fmla="*/ 124 w 128"/>
                  <a:gd name="T17" fmla="*/ 84 h 117"/>
                  <a:gd name="T18" fmla="*/ 122 w 128"/>
                  <a:gd name="T19" fmla="*/ 68 h 117"/>
                  <a:gd name="T20" fmla="*/ 119 w 128"/>
                  <a:gd name="T21" fmla="*/ 51 h 117"/>
                  <a:gd name="T22" fmla="*/ 104 w 128"/>
                  <a:gd name="T23" fmla="*/ 23 h 117"/>
                  <a:gd name="T24" fmla="*/ 91 w 128"/>
                  <a:gd name="T25" fmla="*/ 6 h 117"/>
                  <a:gd name="T26" fmla="*/ 74 w 128"/>
                  <a:gd name="T27" fmla="*/ 2 h 117"/>
                  <a:gd name="T28" fmla="*/ 56 w 128"/>
                  <a:gd name="T29" fmla="*/ 15 h 117"/>
                  <a:gd name="T30" fmla="*/ 44 w 128"/>
                  <a:gd name="T31" fmla="*/ 26 h 117"/>
                  <a:gd name="T32" fmla="*/ 41 w 128"/>
                  <a:gd name="T33" fmla="*/ 37 h 117"/>
                  <a:gd name="T34" fmla="*/ 35 w 128"/>
                  <a:gd name="T35" fmla="*/ 48 h 117"/>
                  <a:gd name="T36" fmla="*/ 23 w 128"/>
                  <a:gd name="T37" fmla="*/ 53 h 117"/>
                  <a:gd name="T38" fmla="*/ 11 w 128"/>
                  <a:gd name="T39" fmla="*/ 5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17">
                    <a:moveTo>
                      <a:pt x="11" y="54"/>
                    </a:moveTo>
                    <a:cubicBezTo>
                      <a:pt x="8" y="67"/>
                      <a:pt x="14" y="85"/>
                      <a:pt x="2" y="92"/>
                    </a:cubicBezTo>
                    <a:cubicBezTo>
                      <a:pt x="2" y="100"/>
                      <a:pt x="0" y="111"/>
                      <a:pt x="10" y="114"/>
                    </a:cubicBezTo>
                    <a:cubicBezTo>
                      <a:pt x="13" y="117"/>
                      <a:pt x="14" y="111"/>
                      <a:pt x="22" y="110"/>
                    </a:cubicBezTo>
                    <a:cubicBezTo>
                      <a:pt x="30" y="109"/>
                      <a:pt x="51" y="109"/>
                      <a:pt x="61" y="110"/>
                    </a:cubicBezTo>
                    <a:cubicBezTo>
                      <a:pt x="68" y="114"/>
                      <a:pt x="76" y="109"/>
                      <a:pt x="83" y="114"/>
                    </a:cubicBezTo>
                    <a:cubicBezTo>
                      <a:pt x="91" y="114"/>
                      <a:pt x="101" y="111"/>
                      <a:pt x="107" y="109"/>
                    </a:cubicBezTo>
                    <a:cubicBezTo>
                      <a:pt x="113" y="107"/>
                      <a:pt x="115" y="106"/>
                      <a:pt x="118" y="102"/>
                    </a:cubicBezTo>
                    <a:cubicBezTo>
                      <a:pt x="119" y="94"/>
                      <a:pt x="128" y="89"/>
                      <a:pt x="124" y="84"/>
                    </a:cubicBezTo>
                    <a:cubicBezTo>
                      <a:pt x="122" y="76"/>
                      <a:pt x="118" y="75"/>
                      <a:pt x="122" y="68"/>
                    </a:cubicBezTo>
                    <a:cubicBezTo>
                      <a:pt x="119" y="62"/>
                      <a:pt x="121" y="57"/>
                      <a:pt x="119" y="51"/>
                    </a:cubicBezTo>
                    <a:cubicBezTo>
                      <a:pt x="117" y="40"/>
                      <a:pt x="116" y="25"/>
                      <a:pt x="104" y="23"/>
                    </a:cubicBezTo>
                    <a:cubicBezTo>
                      <a:pt x="98" y="19"/>
                      <a:pt x="91" y="6"/>
                      <a:pt x="91" y="6"/>
                    </a:cubicBezTo>
                    <a:cubicBezTo>
                      <a:pt x="87" y="0"/>
                      <a:pt x="81" y="3"/>
                      <a:pt x="74" y="2"/>
                    </a:cubicBezTo>
                    <a:cubicBezTo>
                      <a:pt x="67" y="6"/>
                      <a:pt x="64" y="14"/>
                      <a:pt x="56" y="15"/>
                    </a:cubicBezTo>
                    <a:cubicBezTo>
                      <a:pt x="53" y="20"/>
                      <a:pt x="47" y="21"/>
                      <a:pt x="44" y="26"/>
                    </a:cubicBezTo>
                    <a:cubicBezTo>
                      <a:pt x="42" y="30"/>
                      <a:pt x="42" y="33"/>
                      <a:pt x="41" y="37"/>
                    </a:cubicBezTo>
                    <a:cubicBezTo>
                      <a:pt x="40" y="41"/>
                      <a:pt x="38" y="45"/>
                      <a:pt x="35" y="48"/>
                    </a:cubicBezTo>
                    <a:cubicBezTo>
                      <a:pt x="26" y="47"/>
                      <a:pt x="27" y="52"/>
                      <a:pt x="23" y="53"/>
                    </a:cubicBezTo>
                    <a:cubicBezTo>
                      <a:pt x="19" y="54"/>
                      <a:pt x="13" y="54"/>
                      <a:pt x="11" y="5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89" name="Freeform 74">
                <a:extLst>
                  <a:ext uri="{FF2B5EF4-FFF2-40B4-BE49-F238E27FC236}">
                    <a16:creationId xmlns:a16="http://schemas.microsoft.com/office/drawing/2014/main" id="{E48BA34C-1B2E-444F-A465-5EEFBD4CD85F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gray">
              <a:xfrm>
                <a:off x="4473576" y="2657475"/>
                <a:ext cx="207963" cy="265113"/>
              </a:xfrm>
              <a:custGeom>
                <a:avLst/>
                <a:gdLst>
                  <a:gd name="T0" fmla="*/ 3 w 129"/>
                  <a:gd name="T1" fmla="*/ 127 h 167"/>
                  <a:gd name="T2" fmla="*/ 4 w 129"/>
                  <a:gd name="T3" fmla="*/ 109 h 167"/>
                  <a:gd name="T4" fmla="*/ 3 w 129"/>
                  <a:gd name="T5" fmla="*/ 88 h 167"/>
                  <a:gd name="T6" fmla="*/ 7 w 129"/>
                  <a:gd name="T7" fmla="*/ 69 h 167"/>
                  <a:gd name="T8" fmla="*/ 15 w 129"/>
                  <a:gd name="T9" fmla="*/ 52 h 167"/>
                  <a:gd name="T10" fmla="*/ 24 w 129"/>
                  <a:gd name="T11" fmla="*/ 28 h 167"/>
                  <a:gd name="T12" fmla="*/ 52 w 129"/>
                  <a:gd name="T13" fmla="*/ 22 h 167"/>
                  <a:gd name="T14" fmla="*/ 57 w 129"/>
                  <a:gd name="T15" fmla="*/ 0 h 167"/>
                  <a:gd name="T16" fmla="*/ 75 w 129"/>
                  <a:gd name="T17" fmla="*/ 13 h 167"/>
                  <a:gd name="T18" fmla="*/ 87 w 129"/>
                  <a:gd name="T19" fmla="*/ 21 h 167"/>
                  <a:gd name="T20" fmla="*/ 114 w 129"/>
                  <a:gd name="T21" fmla="*/ 13 h 167"/>
                  <a:gd name="T22" fmla="*/ 123 w 129"/>
                  <a:gd name="T23" fmla="*/ 27 h 167"/>
                  <a:gd name="T24" fmla="*/ 129 w 129"/>
                  <a:gd name="T25" fmla="*/ 58 h 167"/>
                  <a:gd name="T26" fmla="*/ 126 w 129"/>
                  <a:gd name="T27" fmla="*/ 88 h 167"/>
                  <a:gd name="T28" fmla="*/ 111 w 129"/>
                  <a:gd name="T29" fmla="*/ 100 h 167"/>
                  <a:gd name="T30" fmla="*/ 97 w 129"/>
                  <a:gd name="T31" fmla="*/ 108 h 167"/>
                  <a:gd name="T32" fmla="*/ 97 w 129"/>
                  <a:gd name="T33" fmla="*/ 120 h 167"/>
                  <a:gd name="T34" fmla="*/ 111 w 129"/>
                  <a:gd name="T35" fmla="*/ 129 h 167"/>
                  <a:gd name="T36" fmla="*/ 103 w 129"/>
                  <a:gd name="T37" fmla="*/ 156 h 167"/>
                  <a:gd name="T38" fmla="*/ 96 w 129"/>
                  <a:gd name="T39" fmla="*/ 165 h 167"/>
                  <a:gd name="T40" fmla="*/ 76 w 129"/>
                  <a:gd name="T41" fmla="*/ 166 h 167"/>
                  <a:gd name="T42" fmla="*/ 28 w 129"/>
                  <a:gd name="T43" fmla="*/ 159 h 167"/>
                  <a:gd name="T44" fmla="*/ 30 w 129"/>
                  <a:gd name="T45" fmla="*/ 141 h 167"/>
                  <a:gd name="T46" fmla="*/ 16 w 129"/>
                  <a:gd name="T47" fmla="*/ 129 h 167"/>
                  <a:gd name="T48" fmla="*/ 3 w 129"/>
                  <a:gd name="T49" fmla="*/ 12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" h="167">
                    <a:moveTo>
                      <a:pt x="3" y="127"/>
                    </a:moveTo>
                    <a:cubicBezTo>
                      <a:pt x="0" y="123"/>
                      <a:pt x="3" y="119"/>
                      <a:pt x="4" y="109"/>
                    </a:cubicBezTo>
                    <a:cubicBezTo>
                      <a:pt x="4" y="103"/>
                      <a:pt x="2" y="95"/>
                      <a:pt x="3" y="88"/>
                    </a:cubicBezTo>
                    <a:cubicBezTo>
                      <a:pt x="4" y="81"/>
                      <a:pt x="5" y="75"/>
                      <a:pt x="7" y="69"/>
                    </a:cubicBezTo>
                    <a:cubicBezTo>
                      <a:pt x="8" y="59"/>
                      <a:pt x="10" y="58"/>
                      <a:pt x="15" y="52"/>
                    </a:cubicBezTo>
                    <a:cubicBezTo>
                      <a:pt x="18" y="45"/>
                      <a:pt x="18" y="33"/>
                      <a:pt x="24" y="28"/>
                    </a:cubicBezTo>
                    <a:cubicBezTo>
                      <a:pt x="28" y="17"/>
                      <a:pt x="39" y="24"/>
                      <a:pt x="52" y="22"/>
                    </a:cubicBezTo>
                    <a:cubicBezTo>
                      <a:pt x="54" y="14"/>
                      <a:pt x="46" y="2"/>
                      <a:pt x="57" y="0"/>
                    </a:cubicBezTo>
                    <a:cubicBezTo>
                      <a:pt x="70" y="1"/>
                      <a:pt x="68" y="4"/>
                      <a:pt x="75" y="13"/>
                    </a:cubicBezTo>
                    <a:cubicBezTo>
                      <a:pt x="77" y="22"/>
                      <a:pt x="78" y="22"/>
                      <a:pt x="87" y="21"/>
                    </a:cubicBezTo>
                    <a:cubicBezTo>
                      <a:pt x="95" y="8"/>
                      <a:pt x="92" y="12"/>
                      <a:pt x="114" y="13"/>
                    </a:cubicBezTo>
                    <a:cubicBezTo>
                      <a:pt x="115" y="20"/>
                      <a:pt x="120" y="20"/>
                      <a:pt x="123" y="27"/>
                    </a:cubicBezTo>
                    <a:cubicBezTo>
                      <a:pt x="124" y="37"/>
                      <a:pt x="124" y="49"/>
                      <a:pt x="129" y="58"/>
                    </a:cubicBezTo>
                    <a:cubicBezTo>
                      <a:pt x="129" y="69"/>
                      <a:pt x="129" y="81"/>
                      <a:pt x="126" y="88"/>
                    </a:cubicBezTo>
                    <a:cubicBezTo>
                      <a:pt x="123" y="95"/>
                      <a:pt x="116" y="97"/>
                      <a:pt x="111" y="100"/>
                    </a:cubicBezTo>
                    <a:cubicBezTo>
                      <a:pt x="104" y="105"/>
                      <a:pt x="102" y="100"/>
                      <a:pt x="97" y="108"/>
                    </a:cubicBezTo>
                    <a:cubicBezTo>
                      <a:pt x="96" y="111"/>
                      <a:pt x="95" y="116"/>
                      <a:pt x="97" y="120"/>
                    </a:cubicBezTo>
                    <a:cubicBezTo>
                      <a:pt x="99" y="124"/>
                      <a:pt x="110" y="123"/>
                      <a:pt x="111" y="129"/>
                    </a:cubicBezTo>
                    <a:cubicBezTo>
                      <a:pt x="113" y="142"/>
                      <a:pt x="108" y="145"/>
                      <a:pt x="103" y="156"/>
                    </a:cubicBezTo>
                    <a:cubicBezTo>
                      <a:pt x="100" y="162"/>
                      <a:pt x="100" y="163"/>
                      <a:pt x="96" y="165"/>
                    </a:cubicBezTo>
                    <a:cubicBezTo>
                      <a:pt x="92" y="167"/>
                      <a:pt x="87" y="167"/>
                      <a:pt x="76" y="166"/>
                    </a:cubicBezTo>
                    <a:cubicBezTo>
                      <a:pt x="60" y="154"/>
                      <a:pt x="59" y="160"/>
                      <a:pt x="28" y="159"/>
                    </a:cubicBezTo>
                    <a:cubicBezTo>
                      <a:pt x="20" y="155"/>
                      <a:pt x="32" y="146"/>
                      <a:pt x="30" y="141"/>
                    </a:cubicBezTo>
                    <a:cubicBezTo>
                      <a:pt x="28" y="136"/>
                      <a:pt x="20" y="131"/>
                      <a:pt x="16" y="129"/>
                    </a:cubicBezTo>
                    <a:cubicBezTo>
                      <a:pt x="11" y="126"/>
                      <a:pt x="3" y="131"/>
                      <a:pt x="3" y="12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90" name="Freeform 75">
                <a:extLst>
                  <a:ext uri="{FF2B5EF4-FFF2-40B4-BE49-F238E27FC236}">
                    <a16:creationId xmlns:a16="http://schemas.microsoft.com/office/drawing/2014/main" id="{BDD34109-5F0E-4218-A718-02D449E91CE7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gray">
              <a:xfrm>
                <a:off x="4427538" y="2686050"/>
                <a:ext cx="90488" cy="100013"/>
              </a:xfrm>
              <a:custGeom>
                <a:avLst/>
                <a:gdLst>
                  <a:gd name="T0" fmla="*/ 7 w 56"/>
                  <a:gd name="T1" fmla="*/ 52 h 63"/>
                  <a:gd name="T2" fmla="*/ 10 w 56"/>
                  <a:gd name="T3" fmla="*/ 35 h 63"/>
                  <a:gd name="T4" fmla="*/ 14 w 56"/>
                  <a:gd name="T5" fmla="*/ 17 h 63"/>
                  <a:gd name="T6" fmla="*/ 50 w 56"/>
                  <a:gd name="T7" fmla="*/ 9 h 63"/>
                  <a:gd name="T8" fmla="*/ 44 w 56"/>
                  <a:gd name="T9" fmla="*/ 27 h 63"/>
                  <a:gd name="T10" fmla="*/ 38 w 56"/>
                  <a:gd name="T11" fmla="*/ 46 h 63"/>
                  <a:gd name="T12" fmla="*/ 28 w 56"/>
                  <a:gd name="T13" fmla="*/ 63 h 63"/>
                  <a:gd name="T14" fmla="*/ 7 w 56"/>
                  <a:gd name="T15" fmla="*/ 5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63">
                    <a:moveTo>
                      <a:pt x="7" y="52"/>
                    </a:moveTo>
                    <a:cubicBezTo>
                      <a:pt x="12" y="38"/>
                      <a:pt x="0" y="41"/>
                      <a:pt x="10" y="35"/>
                    </a:cubicBezTo>
                    <a:cubicBezTo>
                      <a:pt x="15" y="28"/>
                      <a:pt x="17" y="25"/>
                      <a:pt x="14" y="17"/>
                    </a:cubicBezTo>
                    <a:cubicBezTo>
                      <a:pt x="20" y="0"/>
                      <a:pt x="32" y="8"/>
                      <a:pt x="50" y="9"/>
                    </a:cubicBezTo>
                    <a:cubicBezTo>
                      <a:pt x="56" y="11"/>
                      <a:pt x="46" y="21"/>
                      <a:pt x="44" y="27"/>
                    </a:cubicBezTo>
                    <a:cubicBezTo>
                      <a:pt x="42" y="33"/>
                      <a:pt x="33" y="40"/>
                      <a:pt x="38" y="46"/>
                    </a:cubicBezTo>
                    <a:cubicBezTo>
                      <a:pt x="33" y="54"/>
                      <a:pt x="37" y="60"/>
                      <a:pt x="28" y="63"/>
                    </a:cubicBezTo>
                    <a:cubicBezTo>
                      <a:pt x="18" y="60"/>
                      <a:pt x="14" y="59"/>
                      <a:pt x="7" y="5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91" name="Freeform 77">
                <a:extLst>
                  <a:ext uri="{FF2B5EF4-FFF2-40B4-BE49-F238E27FC236}">
                    <a16:creationId xmlns:a16="http://schemas.microsoft.com/office/drawing/2014/main" id="{222F07BA-34A0-4F17-BEF0-2DAE8F57C64E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gray">
              <a:xfrm>
                <a:off x="4798847" y="3116263"/>
                <a:ext cx="157329" cy="181187"/>
              </a:xfrm>
              <a:custGeom>
                <a:avLst/>
                <a:gdLst/>
                <a:ahLst/>
                <a:cxnLst/>
                <a:rect l="l" t="t" r="r" b="b"/>
                <a:pathLst>
                  <a:path w="157329" h="181187">
                    <a:moveTo>
                      <a:pt x="93201" y="149225"/>
                    </a:moveTo>
                    <a:cubicBezTo>
                      <a:pt x="128471" y="153988"/>
                      <a:pt x="114043" y="166688"/>
                      <a:pt x="157329" y="171450"/>
                    </a:cubicBezTo>
                    <a:cubicBezTo>
                      <a:pt x="136488" y="185738"/>
                      <a:pt x="133281" y="180976"/>
                      <a:pt x="102820" y="177801"/>
                    </a:cubicBezTo>
                    <a:cubicBezTo>
                      <a:pt x="91598" y="169863"/>
                      <a:pt x="85185" y="171450"/>
                      <a:pt x="80375" y="158750"/>
                    </a:cubicBezTo>
                    <a:cubicBezTo>
                      <a:pt x="91598" y="155575"/>
                      <a:pt x="88391" y="158750"/>
                      <a:pt x="93201" y="149225"/>
                    </a:cubicBezTo>
                    <a:close/>
                    <a:moveTo>
                      <a:pt x="112439" y="0"/>
                    </a:moveTo>
                    <a:cubicBezTo>
                      <a:pt x="96407" y="15875"/>
                      <a:pt x="110836" y="-3175"/>
                      <a:pt x="115645" y="12700"/>
                    </a:cubicBezTo>
                    <a:cubicBezTo>
                      <a:pt x="110836" y="30162"/>
                      <a:pt x="67548" y="46037"/>
                      <a:pt x="56326" y="65087"/>
                    </a:cubicBezTo>
                    <a:cubicBezTo>
                      <a:pt x="46707" y="80962"/>
                      <a:pt x="57929" y="103187"/>
                      <a:pt x="56326" y="112712"/>
                    </a:cubicBezTo>
                    <a:cubicBezTo>
                      <a:pt x="54723" y="122237"/>
                      <a:pt x="49913" y="130175"/>
                      <a:pt x="41897" y="120650"/>
                    </a:cubicBezTo>
                    <a:cubicBezTo>
                      <a:pt x="13039" y="101600"/>
                      <a:pt x="9833" y="92075"/>
                      <a:pt x="3420" y="57150"/>
                    </a:cubicBezTo>
                    <a:cubicBezTo>
                      <a:pt x="1817" y="50800"/>
                      <a:pt x="-187" y="48815"/>
                      <a:pt x="13" y="47823"/>
                    </a:cubicBezTo>
                    <a:lnTo>
                      <a:pt x="9833" y="44450"/>
                    </a:lnTo>
                    <a:cubicBezTo>
                      <a:pt x="16246" y="42862"/>
                      <a:pt x="30674" y="50800"/>
                      <a:pt x="38691" y="46037"/>
                    </a:cubicBezTo>
                    <a:cubicBezTo>
                      <a:pt x="46707" y="41275"/>
                      <a:pt x="54723" y="19050"/>
                      <a:pt x="61136" y="14287"/>
                    </a:cubicBezTo>
                    <a:cubicBezTo>
                      <a:pt x="61136" y="14287"/>
                      <a:pt x="67548" y="9525"/>
                      <a:pt x="73961" y="6350"/>
                    </a:cubicBezTo>
                    <a:cubicBezTo>
                      <a:pt x="85184" y="0"/>
                      <a:pt x="99613" y="4762"/>
                      <a:pt x="11243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92" name="Freeform 79">
                <a:extLst>
                  <a:ext uri="{FF2B5EF4-FFF2-40B4-BE49-F238E27FC236}">
                    <a16:creationId xmlns:a16="http://schemas.microsoft.com/office/drawing/2014/main" id="{9B8156CC-4A84-40C6-B829-8D11D6EC48DD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gray">
              <a:xfrm>
                <a:off x="5943601" y="3146425"/>
                <a:ext cx="195263" cy="128588"/>
              </a:xfrm>
              <a:custGeom>
                <a:avLst/>
                <a:gdLst>
                  <a:gd name="T0" fmla="*/ 98 w 121"/>
                  <a:gd name="T1" fmla="*/ 26 h 81"/>
                  <a:gd name="T2" fmla="*/ 98 w 121"/>
                  <a:gd name="T3" fmla="*/ 40 h 81"/>
                  <a:gd name="T4" fmla="*/ 109 w 121"/>
                  <a:gd name="T5" fmla="*/ 34 h 81"/>
                  <a:gd name="T6" fmla="*/ 113 w 121"/>
                  <a:gd name="T7" fmla="*/ 46 h 81"/>
                  <a:gd name="T8" fmla="*/ 119 w 121"/>
                  <a:gd name="T9" fmla="*/ 62 h 81"/>
                  <a:gd name="T10" fmla="*/ 101 w 121"/>
                  <a:gd name="T11" fmla="*/ 68 h 81"/>
                  <a:gd name="T12" fmla="*/ 80 w 121"/>
                  <a:gd name="T13" fmla="*/ 74 h 81"/>
                  <a:gd name="T14" fmla="*/ 64 w 121"/>
                  <a:gd name="T15" fmla="*/ 77 h 81"/>
                  <a:gd name="T16" fmla="*/ 62 w 121"/>
                  <a:gd name="T17" fmla="*/ 52 h 81"/>
                  <a:gd name="T18" fmla="*/ 58 w 121"/>
                  <a:gd name="T19" fmla="*/ 40 h 81"/>
                  <a:gd name="T20" fmla="*/ 44 w 121"/>
                  <a:gd name="T21" fmla="*/ 58 h 81"/>
                  <a:gd name="T22" fmla="*/ 32 w 121"/>
                  <a:gd name="T23" fmla="*/ 64 h 81"/>
                  <a:gd name="T24" fmla="*/ 11 w 121"/>
                  <a:gd name="T25" fmla="*/ 67 h 81"/>
                  <a:gd name="T26" fmla="*/ 8 w 121"/>
                  <a:gd name="T27" fmla="*/ 53 h 81"/>
                  <a:gd name="T28" fmla="*/ 8 w 121"/>
                  <a:gd name="T29" fmla="*/ 39 h 81"/>
                  <a:gd name="T30" fmla="*/ 2 w 121"/>
                  <a:gd name="T31" fmla="*/ 25 h 81"/>
                  <a:gd name="T32" fmla="*/ 20 w 121"/>
                  <a:gd name="T33" fmla="*/ 11 h 81"/>
                  <a:gd name="T34" fmla="*/ 28 w 121"/>
                  <a:gd name="T35" fmla="*/ 1 h 81"/>
                  <a:gd name="T36" fmla="*/ 37 w 121"/>
                  <a:gd name="T37" fmla="*/ 4 h 81"/>
                  <a:gd name="T38" fmla="*/ 50 w 121"/>
                  <a:gd name="T39" fmla="*/ 19 h 81"/>
                  <a:gd name="T40" fmla="*/ 52 w 121"/>
                  <a:gd name="T41" fmla="*/ 32 h 81"/>
                  <a:gd name="T42" fmla="*/ 58 w 121"/>
                  <a:gd name="T43" fmla="*/ 23 h 81"/>
                  <a:gd name="T44" fmla="*/ 79 w 121"/>
                  <a:gd name="T45" fmla="*/ 26 h 81"/>
                  <a:gd name="T46" fmla="*/ 98 w 121"/>
                  <a:gd name="T47" fmla="*/ 2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1" h="81">
                    <a:moveTo>
                      <a:pt x="98" y="26"/>
                    </a:moveTo>
                    <a:cubicBezTo>
                      <a:pt x="101" y="28"/>
                      <a:pt x="96" y="39"/>
                      <a:pt x="98" y="40"/>
                    </a:cubicBezTo>
                    <a:cubicBezTo>
                      <a:pt x="100" y="41"/>
                      <a:pt x="107" y="33"/>
                      <a:pt x="109" y="34"/>
                    </a:cubicBezTo>
                    <a:cubicBezTo>
                      <a:pt x="111" y="35"/>
                      <a:pt x="111" y="41"/>
                      <a:pt x="113" y="46"/>
                    </a:cubicBezTo>
                    <a:cubicBezTo>
                      <a:pt x="115" y="51"/>
                      <a:pt x="121" y="58"/>
                      <a:pt x="119" y="62"/>
                    </a:cubicBezTo>
                    <a:cubicBezTo>
                      <a:pt x="117" y="66"/>
                      <a:pt x="107" y="66"/>
                      <a:pt x="101" y="68"/>
                    </a:cubicBezTo>
                    <a:cubicBezTo>
                      <a:pt x="95" y="70"/>
                      <a:pt x="86" y="73"/>
                      <a:pt x="80" y="74"/>
                    </a:cubicBezTo>
                    <a:cubicBezTo>
                      <a:pt x="74" y="75"/>
                      <a:pt x="67" y="81"/>
                      <a:pt x="64" y="77"/>
                    </a:cubicBezTo>
                    <a:cubicBezTo>
                      <a:pt x="61" y="73"/>
                      <a:pt x="63" y="58"/>
                      <a:pt x="62" y="52"/>
                    </a:cubicBezTo>
                    <a:cubicBezTo>
                      <a:pt x="61" y="46"/>
                      <a:pt x="61" y="39"/>
                      <a:pt x="58" y="40"/>
                    </a:cubicBezTo>
                    <a:cubicBezTo>
                      <a:pt x="55" y="41"/>
                      <a:pt x="48" y="54"/>
                      <a:pt x="44" y="58"/>
                    </a:cubicBezTo>
                    <a:cubicBezTo>
                      <a:pt x="40" y="62"/>
                      <a:pt x="37" y="63"/>
                      <a:pt x="32" y="64"/>
                    </a:cubicBezTo>
                    <a:cubicBezTo>
                      <a:pt x="27" y="65"/>
                      <a:pt x="15" y="69"/>
                      <a:pt x="11" y="67"/>
                    </a:cubicBezTo>
                    <a:cubicBezTo>
                      <a:pt x="7" y="65"/>
                      <a:pt x="8" y="58"/>
                      <a:pt x="8" y="53"/>
                    </a:cubicBezTo>
                    <a:cubicBezTo>
                      <a:pt x="8" y="48"/>
                      <a:pt x="9" y="44"/>
                      <a:pt x="8" y="39"/>
                    </a:cubicBezTo>
                    <a:cubicBezTo>
                      <a:pt x="7" y="34"/>
                      <a:pt x="0" y="30"/>
                      <a:pt x="2" y="25"/>
                    </a:cubicBezTo>
                    <a:cubicBezTo>
                      <a:pt x="4" y="20"/>
                      <a:pt x="16" y="15"/>
                      <a:pt x="20" y="11"/>
                    </a:cubicBezTo>
                    <a:cubicBezTo>
                      <a:pt x="24" y="7"/>
                      <a:pt x="25" y="2"/>
                      <a:pt x="28" y="1"/>
                    </a:cubicBezTo>
                    <a:cubicBezTo>
                      <a:pt x="31" y="0"/>
                      <a:pt x="33" y="1"/>
                      <a:pt x="37" y="4"/>
                    </a:cubicBezTo>
                    <a:cubicBezTo>
                      <a:pt x="41" y="7"/>
                      <a:pt x="48" y="14"/>
                      <a:pt x="50" y="19"/>
                    </a:cubicBezTo>
                    <a:cubicBezTo>
                      <a:pt x="52" y="24"/>
                      <a:pt x="51" y="31"/>
                      <a:pt x="52" y="32"/>
                    </a:cubicBezTo>
                    <a:cubicBezTo>
                      <a:pt x="53" y="33"/>
                      <a:pt x="54" y="24"/>
                      <a:pt x="58" y="23"/>
                    </a:cubicBezTo>
                    <a:cubicBezTo>
                      <a:pt x="62" y="22"/>
                      <a:pt x="73" y="26"/>
                      <a:pt x="79" y="26"/>
                    </a:cubicBezTo>
                    <a:cubicBezTo>
                      <a:pt x="85" y="26"/>
                      <a:pt x="95" y="24"/>
                      <a:pt x="98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93" name="Freeform 80">
                <a:extLst>
                  <a:ext uri="{FF2B5EF4-FFF2-40B4-BE49-F238E27FC236}">
                    <a16:creationId xmlns:a16="http://schemas.microsoft.com/office/drawing/2014/main" id="{EE95EE46-3839-4843-8AC7-D977AAE18A22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gray">
              <a:xfrm>
                <a:off x="4056063" y="2622550"/>
                <a:ext cx="123825" cy="174625"/>
              </a:xfrm>
              <a:custGeom>
                <a:avLst/>
                <a:gdLst>
                  <a:gd name="T0" fmla="*/ 40 w 76"/>
                  <a:gd name="T1" fmla="*/ 41 h 110"/>
                  <a:gd name="T2" fmla="*/ 66 w 76"/>
                  <a:gd name="T3" fmla="*/ 55 h 110"/>
                  <a:gd name="T4" fmla="*/ 73 w 76"/>
                  <a:gd name="T5" fmla="*/ 91 h 110"/>
                  <a:gd name="T6" fmla="*/ 51 w 76"/>
                  <a:gd name="T7" fmla="*/ 103 h 110"/>
                  <a:gd name="T8" fmla="*/ 36 w 76"/>
                  <a:gd name="T9" fmla="*/ 103 h 110"/>
                  <a:gd name="T10" fmla="*/ 16 w 76"/>
                  <a:gd name="T11" fmla="*/ 91 h 110"/>
                  <a:gd name="T12" fmla="*/ 15 w 76"/>
                  <a:gd name="T13" fmla="*/ 82 h 110"/>
                  <a:gd name="T14" fmla="*/ 28 w 76"/>
                  <a:gd name="T15" fmla="*/ 64 h 110"/>
                  <a:gd name="T16" fmla="*/ 12 w 76"/>
                  <a:gd name="T17" fmla="*/ 53 h 110"/>
                  <a:gd name="T18" fmla="*/ 3 w 76"/>
                  <a:gd name="T19" fmla="*/ 37 h 110"/>
                  <a:gd name="T20" fmla="*/ 30 w 76"/>
                  <a:gd name="T21" fmla="*/ 25 h 110"/>
                  <a:gd name="T22" fmla="*/ 21 w 76"/>
                  <a:gd name="T23" fmla="*/ 8 h 110"/>
                  <a:gd name="T24" fmla="*/ 55 w 76"/>
                  <a:gd name="T25" fmla="*/ 2 h 110"/>
                  <a:gd name="T26" fmla="*/ 43 w 76"/>
                  <a:gd name="T27" fmla="*/ 19 h 110"/>
                  <a:gd name="T28" fmla="*/ 40 w 76"/>
                  <a:gd name="T29" fmla="*/ 4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110">
                    <a:moveTo>
                      <a:pt x="40" y="41"/>
                    </a:moveTo>
                    <a:cubicBezTo>
                      <a:pt x="46" y="45"/>
                      <a:pt x="61" y="47"/>
                      <a:pt x="66" y="55"/>
                    </a:cubicBezTo>
                    <a:cubicBezTo>
                      <a:pt x="71" y="63"/>
                      <a:pt x="76" y="83"/>
                      <a:pt x="73" y="91"/>
                    </a:cubicBezTo>
                    <a:cubicBezTo>
                      <a:pt x="66" y="94"/>
                      <a:pt x="59" y="101"/>
                      <a:pt x="51" y="103"/>
                    </a:cubicBezTo>
                    <a:cubicBezTo>
                      <a:pt x="50" y="110"/>
                      <a:pt x="42" y="100"/>
                      <a:pt x="36" y="103"/>
                    </a:cubicBezTo>
                    <a:cubicBezTo>
                      <a:pt x="13" y="99"/>
                      <a:pt x="23" y="104"/>
                      <a:pt x="16" y="91"/>
                    </a:cubicBezTo>
                    <a:cubicBezTo>
                      <a:pt x="15" y="84"/>
                      <a:pt x="6" y="84"/>
                      <a:pt x="15" y="82"/>
                    </a:cubicBezTo>
                    <a:cubicBezTo>
                      <a:pt x="21" y="72"/>
                      <a:pt x="18" y="72"/>
                      <a:pt x="28" y="64"/>
                    </a:cubicBezTo>
                    <a:cubicBezTo>
                      <a:pt x="26" y="52"/>
                      <a:pt x="17" y="62"/>
                      <a:pt x="12" y="53"/>
                    </a:cubicBezTo>
                    <a:cubicBezTo>
                      <a:pt x="10" y="48"/>
                      <a:pt x="0" y="42"/>
                      <a:pt x="3" y="37"/>
                    </a:cubicBezTo>
                    <a:cubicBezTo>
                      <a:pt x="6" y="32"/>
                      <a:pt x="27" y="30"/>
                      <a:pt x="30" y="25"/>
                    </a:cubicBezTo>
                    <a:cubicBezTo>
                      <a:pt x="33" y="20"/>
                      <a:pt x="17" y="12"/>
                      <a:pt x="21" y="8"/>
                    </a:cubicBezTo>
                    <a:cubicBezTo>
                      <a:pt x="25" y="4"/>
                      <a:pt x="52" y="0"/>
                      <a:pt x="55" y="2"/>
                    </a:cubicBezTo>
                    <a:cubicBezTo>
                      <a:pt x="58" y="4"/>
                      <a:pt x="45" y="13"/>
                      <a:pt x="43" y="19"/>
                    </a:cubicBezTo>
                    <a:cubicBezTo>
                      <a:pt x="41" y="25"/>
                      <a:pt x="31" y="37"/>
                      <a:pt x="40" y="4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94" name="Freeform 86">
                <a:extLst>
                  <a:ext uri="{FF2B5EF4-FFF2-40B4-BE49-F238E27FC236}">
                    <a16:creationId xmlns:a16="http://schemas.microsoft.com/office/drawing/2014/main" id="{3B3B26BA-E797-4C07-9ED1-42A8FB370258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gray">
              <a:xfrm>
                <a:off x="4124326" y="3049588"/>
                <a:ext cx="295275" cy="234950"/>
              </a:xfrm>
              <a:custGeom>
                <a:avLst/>
                <a:gdLst>
                  <a:gd name="T0" fmla="*/ 9 w 183"/>
                  <a:gd name="T1" fmla="*/ 5 h 148"/>
                  <a:gd name="T2" fmla="*/ 54 w 183"/>
                  <a:gd name="T3" fmla="*/ 3 h 148"/>
                  <a:gd name="T4" fmla="*/ 81 w 183"/>
                  <a:gd name="T5" fmla="*/ 3 h 148"/>
                  <a:gd name="T6" fmla="*/ 156 w 183"/>
                  <a:gd name="T7" fmla="*/ 17 h 148"/>
                  <a:gd name="T8" fmla="*/ 175 w 183"/>
                  <a:gd name="T9" fmla="*/ 27 h 148"/>
                  <a:gd name="T10" fmla="*/ 175 w 183"/>
                  <a:gd name="T11" fmla="*/ 39 h 148"/>
                  <a:gd name="T12" fmla="*/ 154 w 183"/>
                  <a:gd name="T13" fmla="*/ 48 h 148"/>
                  <a:gd name="T14" fmla="*/ 139 w 183"/>
                  <a:gd name="T15" fmla="*/ 62 h 148"/>
                  <a:gd name="T16" fmla="*/ 129 w 183"/>
                  <a:gd name="T17" fmla="*/ 77 h 148"/>
                  <a:gd name="T18" fmla="*/ 132 w 183"/>
                  <a:gd name="T19" fmla="*/ 96 h 148"/>
                  <a:gd name="T20" fmla="*/ 130 w 183"/>
                  <a:gd name="T21" fmla="*/ 102 h 148"/>
                  <a:gd name="T22" fmla="*/ 123 w 183"/>
                  <a:gd name="T23" fmla="*/ 104 h 148"/>
                  <a:gd name="T24" fmla="*/ 112 w 183"/>
                  <a:gd name="T25" fmla="*/ 119 h 148"/>
                  <a:gd name="T26" fmla="*/ 91 w 183"/>
                  <a:gd name="T27" fmla="*/ 134 h 148"/>
                  <a:gd name="T28" fmla="*/ 55 w 183"/>
                  <a:gd name="T29" fmla="*/ 141 h 148"/>
                  <a:gd name="T30" fmla="*/ 43 w 183"/>
                  <a:gd name="T31" fmla="*/ 146 h 148"/>
                  <a:gd name="T32" fmla="*/ 28 w 183"/>
                  <a:gd name="T33" fmla="*/ 131 h 148"/>
                  <a:gd name="T34" fmla="*/ 21 w 183"/>
                  <a:gd name="T35" fmla="*/ 119 h 148"/>
                  <a:gd name="T36" fmla="*/ 27 w 183"/>
                  <a:gd name="T37" fmla="*/ 83 h 148"/>
                  <a:gd name="T38" fmla="*/ 37 w 183"/>
                  <a:gd name="T39" fmla="*/ 42 h 148"/>
                  <a:gd name="T40" fmla="*/ 16 w 183"/>
                  <a:gd name="T41" fmla="*/ 35 h 148"/>
                  <a:gd name="T42" fmla="*/ 4 w 183"/>
                  <a:gd name="T43" fmla="*/ 29 h 148"/>
                  <a:gd name="T44" fmla="*/ 0 w 183"/>
                  <a:gd name="T45" fmla="*/ 12 h 148"/>
                  <a:gd name="T46" fmla="*/ 9 w 183"/>
                  <a:gd name="T47" fmla="*/ 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3" h="148">
                    <a:moveTo>
                      <a:pt x="9" y="5"/>
                    </a:moveTo>
                    <a:cubicBezTo>
                      <a:pt x="13" y="0"/>
                      <a:pt x="48" y="3"/>
                      <a:pt x="54" y="3"/>
                    </a:cubicBezTo>
                    <a:cubicBezTo>
                      <a:pt x="62" y="9"/>
                      <a:pt x="72" y="7"/>
                      <a:pt x="81" y="3"/>
                    </a:cubicBezTo>
                    <a:cubicBezTo>
                      <a:pt x="113" y="5"/>
                      <a:pt x="122" y="15"/>
                      <a:pt x="156" y="17"/>
                    </a:cubicBezTo>
                    <a:cubicBezTo>
                      <a:pt x="167" y="25"/>
                      <a:pt x="155" y="25"/>
                      <a:pt x="175" y="27"/>
                    </a:cubicBezTo>
                    <a:cubicBezTo>
                      <a:pt x="177" y="34"/>
                      <a:pt x="183" y="37"/>
                      <a:pt x="175" y="39"/>
                    </a:cubicBezTo>
                    <a:cubicBezTo>
                      <a:pt x="171" y="46"/>
                      <a:pt x="162" y="47"/>
                      <a:pt x="154" y="48"/>
                    </a:cubicBezTo>
                    <a:cubicBezTo>
                      <a:pt x="148" y="53"/>
                      <a:pt x="147" y="59"/>
                      <a:pt x="139" y="62"/>
                    </a:cubicBezTo>
                    <a:cubicBezTo>
                      <a:pt x="135" y="68"/>
                      <a:pt x="136" y="74"/>
                      <a:pt x="129" y="77"/>
                    </a:cubicBezTo>
                    <a:cubicBezTo>
                      <a:pt x="123" y="84"/>
                      <a:pt x="125" y="91"/>
                      <a:pt x="132" y="96"/>
                    </a:cubicBezTo>
                    <a:cubicBezTo>
                      <a:pt x="131" y="98"/>
                      <a:pt x="132" y="101"/>
                      <a:pt x="130" y="102"/>
                    </a:cubicBezTo>
                    <a:cubicBezTo>
                      <a:pt x="128" y="104"/>
                      <a:pt x="125" y="102"/>
                      <a:pt x="123" y="104"/>
                    </a:cubicBezTo>
                    <a:cubicBezTo>
                      <a:pt x="115" y="114"/>
                      <a:pt x="125" y="111"/>
                      <a:pt x="112" y="119"/>
                    </a:cubicBezTo>
                    <a:cubicBezTo>
                      <a:pt x="105" y="129"/>
                      <a:pt x="102" y="130"/>
                      <a:pt x="91" y="134"/>
                    </a:cubicBezTo>
                    <a:cubicBezTo>
                      <a:pt x="78" y="144"/>
                      <a:pt x="78" y="140"/>
                      <a:pt x="55" y="141"/>
                    </a:cubicBezTo>
                    <a:cubicBezTo>
                      <a:pt x="48" y="145"/>
                      <a:pt x="52" y="148"/>
                      <a:pt x="43" y="146"/>
                    </a:cubicBezTo>
                    <a:cubicBezTo>
                      <a:pt x="39" y="140"/>
                      <a:pt x="35" y="132"/>
                      <a:pt x="28" y="131"/>
                    </a:cubicBezTo>
                    <a:cubicBezTo>
                      <a:pt x="25" y="126"/>
                      <a:pt x="24" y="124"/>
                      <a:pt x="21" y="119"/>
                    </a:cubicBezTo>
                    <a:cubicBezTo>
                      <a:pt x="28" y="108"/>
                      <a:pt x="21" y="95"/>
                      <a:pt x="27" y="83"/>
                    </a:cubicBezTo>
                    <a:cubicBezTo>
                      <a:pt x="30" y="67"/>
                      <a:pt x="29" y="56"/>
                      <a:pt x="37" y="42"/>
                    </a:cubicBezTo>
                    <a:cubicBezTo>
                      <a:pt x="31" y="34"/>
                      <a:pt x="27" y="36"/>
                      <a:pt x="16" y="35"/>
                    </a:cubicBezTo>
                    <a:cubicBezTo>
                      <a:pt x="11" y="33"/>
                      <a:pt x="9" y="32"/>
                      <a:pt x="4" y="29"/>
                    </a:cubicBezTo>
                    <a:cubicBezTo>
                      <a:pt x="3" y="24"/>
                      <a:pt x="1" y="17"/>
                      <a:pt x="0" y="12"/>
                    </a:cubicBezTo>
                    <a:cubicBezTo>
                      <a:pt x="3" y="10"/>
                      <a:pt x="9" y="8"/>
                      <a:pt x="9" y="8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95" name="Freeform 87">
                <a:extLst>
                  <a:ext uri="{FF2B5EF4-FFF2-40B4-BE49-F238E27FC236}">
                    <a16:creationId xmlns:a16="http://schemas.microsoft.com/office/drawing/2014/main" id="{CA454AE2-9310-4124-9BC9-00420C401152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gray">
              <a:xfrm>
                <a:off x="5400676" y="3170238"/>
                <a:ext cx="446088" cy="415925"/>
              </a:xfrm>
              <a:custGeom>
                <a:avLst/>
                <a:gdLst>
                  <a:gd name="T0" fmla="*/ 5 w 277"/>
                  <a:gd name="T1" fmla="*/ 5 h 262"/>
                  <a:gd name="T2" fmla="*/ 1 w 277"/>
                  <a:gd name="T3" fmla="*/ 37 h 262"/>
                  <a:gd name="T4" fmla="*/ 2 w 277"/>
                  <a:gd name="T5" fmla="*/ 53 h 262"/>
                  <a:gd name="T6" fmla="*/ 15 w 277"/>
                  <a:gd name="T7" fmla="*/ 67 h 262"/>
                  <a:gd name="T8" fmla="*/ 26 w 277"/>
                  <a:gd name="T9" fmla="*/ 77 h 262"/>
                  <a:gd name="T10" fmla="*/ 14 w 277"/>
                  <a:gd name="T11" fmla="*/ 100 h 262"/>
                  <a:gd name="T12" fmla="*/ 28 w 277"/>
                  <a:gd name="T13" fmla="*/ 121 h 262"/>
                  <a:gd name="T14" fmla="*/ 46 w 277"/>
                  <a:gd name="T15" fmla="*/ 139 h 262"/>
                  <a:gd name="T16" fmla="*/ 53 w 277"/>
                  <a:gd name="T17" fmla="*/ 173 h 262"/>
                  <a:gd name="T18" fmla="*/ 85 w 277"/>
                  <a:gd name="T19" fmla="*/ 182 h 262"/>
                  <a:gd name="T20" fmla="*/ 94 w 277"/>
                  <a:gd name="T21" fmla="*/ 208 h 262"/>
                  <a:gd name="T22" fmla="*/ 115 w 277"/>
                  <a:gd name="T23" fmla="*/ 218 h 262"/>
                  <a:gd name="T24" fmla="*/ 119 w 277"/>
                  <a:gd name="T25" fmla="*/ 220 h 262"/>
                  <a:gd name="T26" fmla="*/ 130 w 277"/>
                  <a:gd name="T27" fmla="*/ 221 h 262"/>
                  <a:gd name="T28" fmla="*/ 145 w 277"/>
                  <a:gd name="T29" fmla="*/ 233 h 262"/>
                  <a:gd name="T30" fmla="*/ 173 w 277"/>
                  <a:gd name="T31" fmla="*/ 215 h 262"/>
                  <a:gd name="T32" fmla="*/ 193 w 277"/>
                  <a:gd name="T33" fmla="*/ 221 h 262"/>
                  <a:gd name="T34" fmla="*/ 202 w 277"/>
                  <a:gd name="T35" fmla="*/ 251 h 262"/>
                  <a:gd name="T36" fmla="*/ 236 w 277"/>
                  <a:gd name="T37" fmla="*/ 257 h 262"/>
                  <a:gd name="T38" fmla="*/ 256 w 277"/>
                  <a:gd name="T39" fmla="*/ 241 h 262"/>
                  <a:gd name="T40" fmla="*/ 268 w 277"/>
                  <a:gd name="T41" fmla="*/ 233 h 262"/>
                  <a:gd name="T42" fmla="*/ 277 w 277"/>
                  <a:gd name="T43" fmla="*/ 230 h 262"/>
                  <a:gd name="T44" fmla="*/ 269 w 277"/>
                  <a:gd name="T45" fmla="*/ 208 h 262"/>
                  <a:gd name="T46" fmla="*/ 253 w 277"/>
                  <a:gd name="T47" fmla="*/ 199 h 262"/>
                  <a:gd name="T48" fmla="*/ 248 w 277"/>
                  <a:gd name="T49" fmla="*/ 176 h 262"/>
                  <a:gd name="T50" fmla="*/ 251 w 277"/>
                  <a:gd name="T51" fmla="*/ 164 h 262"/>
                  <a:gd name="T52" fmla="*/ 243 w 277"/>
                  <a:gd name="T53" fmla="*/ 146 h 262"/>
                  <a:gd name="T54" fmla="*/ 239 w 277"/>
                  <a:gd name="T55" fmla="*/ 127 h 262"/>
                  <a:gd name="T56" fmla="*/ 247 w 277"/>
                  <a:gd name="T57" fmla="*/ 80 h 262"/>
                  <a:gd name="T58" fmla="*/ 227 w 277"/>
                  <a:gd name="T59" fmla="*/ 61 h 262"/>
                  <a:gd name="T60" fmla="*/ 209 w 277"/>
                  <a:gd name="T61" fmla="*/ 49 h 262"/>
                  <a:gd name="T62" fmla="*/ 185 w 277"/>
                  <a:gd name="T63" fmla="*/ 40 h 262"/>
                  <a:gd name="T64" fmla="*/ 165 w 277"/>
                  <a:gd name="T65" fmla="*/ 38 h 262"/>
                  <a:gd name="T66" fmla="*/ 146 w 277"/>
                  <a:gd name="T67" fmla="*/ 44 h 262"/>
                  <a:gd name="T68" fmla="*/ 128 w 277"/>
                  <a:gd name="T69" fmla="*/ 52 h 262"/>
                  <a:gd name="T70" fmla="*/ 97 w 277"/>
                  <a:gd name="T71" fmla="*/ 61 h 262"/>
                  <a:gd name="T72" fmla="*/ 73 w 277"/>
                  <a:gd name="T73" fmla="*/ 41 h 262"/>
                  <a:gd name="T74" fmla="*/ 53 w 277"/>
                  <a:gd name="T75" fmla="*/ 19 h 262"/>
                  <a:gd name="T76" fmla="*/ 43 w 277"/>
                  <a:gd name="T77" fmla="*/ 8 h 262"/>
                  <a:gd name="T78" fmla="*/ 31 w 277"/>
                  <a:gd name="T79" fmla="*/ 10 h 262"/>
                  <a:gd name="T80" fmla="*/ 17 w 277"/>
                  <a:gd name="T81" fmla="*/ 8 h 262"/>
                  <a:gd name="T82" fmla="*/ 5 w 277"/>
                  <a:gd name="T83" fmla="*/ 5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7" h="262">
                    <a:moveTo>
                      <a:pt x="5" y="5"/>
                    </a:moveTo>
                    <a:cubicBezTo>
                      <a:pt x="0" y="9"/>
                      <a:pt x="1" y="28"/>
                      <a:pt x="1" y="37"/>
                    </a:cubicBezTo>
                    <a:cubicBezTo>
                      <a:pt x="1" y="45"/>
                      <a:pt x="0" y="48"/>
                      <a:pt x="2" y="53"/>
                    </a:cubicBezTo>
                    <a:cubicBezTo>
                      <a:pt x="4" y="58"/>
                      <a:pt x="11" y="63"/>
                      <a:pt x="15" y="67"/>
                    </a:cubicBezTo>
                    <a:cubicBezTo>
                      <a:pt x="19" y="71"/>
                      <a:pt x="26" y="72"/>
                      <a:pt x="26" y="77"/>
                    </a:cubicBezTo>
                    <a:cubicBezTo>
                      <a:pt x="18" y="85"/>
                      <a:pt x="25" y="96"/>
                      <a:pt x="14" y="100"/>
                    </a:cubicBezTo>
                    <a:cubicBezTo>
                      <a:pt x="12" y="110"/>
                      <a:pt x="19" y="117"/>
                      <a:pt x="28" y="121"/>
                    </a:cubicBezTo>
                    <a:cubicBezTo>
                      <a:pt x="34" y="129"/>
                      <a:pt x="37" y="135"/>
                      <a:pt x="46" y="139"/>
                    </a:cubicBezTo>
                    <a:cubicBezTo>
                      <a:pt x="54" y="149"/>
                      <a:pt x="45" y="163"/>
                      <a:pt x="53" y="173"/>
                    </a:cubicBezTo>
                    <a:cubicBezTo>
                      <a:pt x="67" y="170"/>
                      <a:pt x="78" y="169"/>
                      <a:pt x="85" y="182"/>
                    </a:cubicBezTo>
                    <a:cubicBezTo>
                      <a:pt x="87" y="192"/>
                      <a:pt x="90" y="199"/>
                      <a:pt x="94" y="208"/>
                    </a:cubicBezTo>
                    <a:cubicBezTo>
                      <a:pt x="96" y="221"/>
                      <a:pt x="104" y="216"/>
                      <a:pt x="115" y="218"/>
                    </a:cubicBezTo>
                    <a:cubicBezTo>
                      <a:pt x="116" y="219"/>
                      <a:pt x="118" y="220"/>
                      <a:pt x="119" y="220"/>
                    </a:cubicBezTo>
                    <a:cubicBezTo>
                      <a:pt x="123" y="221"/>
                      <a:pt x="127" y="220"/>
                      <a:pt x="130" y="221"/>
                    </a:cubicBezTo>
                    <a:cubicBezTo>
                      <a:pt x="136" y="224"/>
                      <a:pt x="134" y="231"/>
                      <a:pt x="145" y="233"/>
                    </a:cubicBezTo>
                    <a:cubicBezTo>
                      <a:pt x="153" y="237"/>
                      <a:pt x="166" y="220"/>
                      <a:pt x="173" y="215"/>
                    </a:cubicBezTo>
                    <a:cubicBezTo>
                      <a:pt x="178" y="216"/>
                      <a:pt x="189" y="218"/>
                      <a:pt x="193" y="221"/>
                    </a:cubicBezTo>
                    <a:cubicBezTo>
                      <a:pt x="198" y="224"/>
                      <a:pt x="190" y="249"/>
                      <a:pt x="202" y="251"/>
                    </a:cubicBezTo>
                    <a:cubicBezTo>
                      <a:pt x="224" y="262"/>
                      <a:pt x="198" y="256"/>
                      <a:pt x="236" y="257"/>
                    </a:cubicBezTo>
                    <a:cubicBezTo>
                      <a:pt x="274" y="255"/>
                      <a:pt x="241" y="262"/>
                      <a:pt x="256" y="241"/>
                    </a:cubicBezTo>
                    <a:cubicBezTo>
                      <a:pt x="262" y="241"/>
                      <a:pt x="266" y="233"/>
                      <a:pt x="268" y="233"/>
                    </a:cubicBezTo>
                    <a:cubicBezTo>
                      <a:pt x="271" y="230"/>
                      <a:pt x="277" y="234"/>
                      <a:pt x="277" y="230"/>
                    </a:cubicBezTo>
                    <a:cubicBezTo>
                      <a:pt x="277" y="226"/>
                      <a:pt x="273" y="213"/>
                      <a:pt x="269" y="208"/>
                    </a:cubicBezTo>
                    <a:cubicBezTo>
                      <a:pt x="268" y="201"/>
                      <a:pt x="258" y="204"/>
                      <a:pt x="253" y="199"/>
                    </a:cubicBezTo>
                    <a:cubicBezTo>
                      <a:pt x="248" y="186"/>
                      <a:pt x="247" y="198"/>
                      <a:pt x="248" y="176"/>
                    </a:cubicBezTo>
                    <a:cubicBezTo>
                      <a:pt x="247" y="170"/>
                      <a:pt x="252" y="168"/>
                      <a:pt x="251" y="164"/>
                    </a:cubicBezTo>
                    <a:cubicBezTo>
                      <a:pt x="250" y="159"/>
                      <a:pt x="245" y="152"/>
                      <a:pt x="243" y="146"/>
                    </a:cubicBezTo>
                    <a:cubicBezTo>
                      <a:pt x="237" y="138"/>
                      <a:pt x="238" y="136"/>
                      <a:pt x="239" y="127"/>
                    </a:cubicBezTo>
                    <a:cubicBezTo>
                      <a:pt x="239" y="117"/>
                      <a:pt x="249" y="91"/>
                      <a:pt x="247" y="80"/>
                    </a:cubicBezTo>
                    <a:cubicBezTo>
                      <a:pt x="245" y="69"/>
                      <a:pt x="233" y="66"/>
                      <a:pt x="227" y="61"/>
                    </a:cubicBezTo>
                    <a:cubicBezTo>
                      <a:pt x="223" y="54"/>
                      <a:pt x="218" y="50"/>
                      <a:pt x="209" y="49"/>
                    </a:cubicBezTo>
                    <a:cubicBezTo>
                      <a:pt x="202" y="46"/>
                      <a:pt x="192" y="41"/>
                      <a:pt x="185" y="40"/>
                    </a:cubicBezTo>
                    <a:cubicBezTo>
                      <a:pt x="177" y="38"/>
                      <a:pt x="171" y="37"/>
                      <a:pt x="165" y="38"/>
                    </a:cubicBezTo>
                    <a:cubicBezTo>
                      <a:pt x="159" y="39"/>
                      <a:pt x="152" y="42"/>
                      <a:pt x="146" y="44"/>
                    </a:cubicBezTo>
                    <a:cubicBezTo>
                      <a:pt x="141" y="48"/>
                      <a:pt x="135" y="51"/>
                      <a:pt x="128" y="52"/>
                    </a:cubicBezTo>
                    <a:cubicBezTo>
                      <a:pt x="120" y="53"/>
                      <a:pt x="106" y="63"/>
                      <a:pt x="97" y="61"/>
                    </a:cubicBezTo>
                    <a:cubicBezTo>
                      <a:pt x="88" y="59"/>
                      <a:pt x="80" y="48"/>
                      <a:pt x="73" y="41"/>
                    </a:cubicBezTo>
                    <a:cubicBezTo>
                      <a:pt x="69" y="35"/>
                      <a:pt x="57" y="24"/>
                      <a:pt x="53" y="19"/>
                    </a:cubicBezTo>
                    <a:cubicBezTo>
                      <a:pt x="48" y="13"/>
                      <a:pt x="50" y="11"/>
                      <a:pt x="43" y="8"/>
                    </a:cubicBezTo>
                    <a:cubicBezTo>
                      <a:pt x="38" y="11"/>
                      <a:pt x="36" y="6"/>
                      <a:pt x="31" y="10"/>
                    </a:cubicBezTo>
                    <a:cubicBezTo>
                      <a:pt x="27" y="4"/>
                      <a:pt x="24" y="11"/>
                      <a:pt x="17" y="8"/>
                    </a:cubicBezTo>
                    <a:cubicBezTo>
                      <a:pt x="11" y="0"/>
                      <a:pt x="12" y="9"/>
                      <a:pt x="5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96" name="Freeform 88">
                <a:extLst>
                  <a:ext uri="{FF2B5EF4-FFF2-40B4-BE49-F238E27FC236}">
                    <a16:creationId xmlns:a16="http://schemas.microsoft.com/office/drawing/2014/main" id="{B62EE2D2-A73E-451E-B4BB-6204AF2DCD95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gray">
              <a:xfrm>
                <a:off x="5245101" y="3249613"/>
                <a:ext cx="241300" cy="228600"/>
              </a:xfrm>
              <a:custGeom>
                <a:avLst/>
                <a:gdLst>
                  <a:gd name="T0" fmla="*/ 92 w 149"/>
                  <a:gd name="T1" fmla="*/ 3 h 144"/>
                  <a:gd name="T2" fmla="*/ 76 w 149"/>
                  <a:gd name="T3" fmla="*/ 8 h 144"/>
                  <a:gd name="T4" fmla="*/ 49 w 149"/>
                  <a:gd name="T5" fmla="*/ 5 h 144"/>
                  <a:gd name="T6" fmla="*/ 41 w 149"/>
                  <a:gd name="T7" fmla="*/ 40 h 144"/>
                  <a:gd name="T8" fmla="*/ 32 w 149"/>
                  <a:gd name="T9" fmla="*/ 51 h 144"/>
                  <a:gd name="T10" fmla="*/ 22 w 149"/>
                  <a:gd name="T11" fmla="*/ 66 h 144"/>
                  <a:gd name="T12" fmla="*/ 7 w 149"/>
                  <a:gd name="T13" fmla="*/ 71 h 144"/>
                  <a:gd name="T14" fmla="*/ 20 w 149"/>
                  <a:gd name="T15" fmla="*/ 95 h 144"/>
                  <a:gd name="T16" fmla="*/ 34 w 149"/>
                  <a:gd name="T17" fmla="*/ 95 h 144"/>
                  <a:gd name="T18" fmla="*/ 49 w 149"/>
                  <a:gd name="T19" fmla="*/ 102 h 144"/>
                  <a:gd name="T20" fmla="*/ 58 w 149"/>
                  <a:gd name="T21" fmla="*/ 107 h 144"/>
                  <a:gd name="T22" fmla="*/ 71 w 149"/>
                  <a:gd name="T23" fmla="*/ 117 h 144"/>
                  <a:gd name="T24" fmla="*/ 83 w 149"/>
                  <a:gd name="T25" fmla="*/ 131 h 144"/>
                  <a:gd name="T26" fmla="*/ 97 w 149"/>
                  <a:gd name="T27" fmla="*/ 134 h 144"/>
                  <a:gd name="T28" fmla="*/ 110 w 149"/>
                  <a:gd name="T29" fmla="*/ 143 h 144"/>
                  <a:gd name="T30" fmla="*/ 128 w 149"/>
                  <a:gd name="T31" fmla="*/ 140 h 144"/>
                  <a:gd name="T32" fmla="*/ 146 w 149"/>
                  <a:gd name="T33" fmla="*/ 125 h 144"/>
                  <a:gd name="T34" fmla="*/ 147 w 149"/>
                  <a:gd name="T35" fmla="*/ 114 h 144"/>
                  <a:gd name="T36" fmla="*/ 145 w 149"/>
                  <a:gd name="T37" fmla="*/ 93 h 144"/>
                  <a:gd name="T38" fmla="*/ 122 w 149"/>
                  <a:gd name="T39" fmla="*/ 71 h 144"/>
                  <a:gd name="T40" fmla="*/ 110 w 149"/>
                  <a:gd name="T41" fmla="*/ 59 h 144"/>
                  <a:gd name="T42" fmla="*/ 119 w 149"/>
                  <a:gd name="T43" fmla="*/ 45 h 144"/>
                  <a:gd name="T44" fmla="*/ 119 w 149"/>
                  <a:gd name="T45" fmla="*/ 35 h 144"/>
                  <a:gd name="T46" fmla="*/ 121 w 149"/>
                  <a:gd name="T47" fmla="*/ 23 h 144"/>
                  <a:gd name="T48" fmla="*/ 113 w 149"/>
                  <a:gd name="T49" fmla="*/ 18 h 144"/>
                  <a:gd name="T50" fmla="*/ 103 w 149"/>
                  <a:gd name="T51" fmla="*/ 14 h 144"/>
                  <a:gd name="T52" fmla="*/ 95 w 149"/>
                  <a:gd name="T53" fmla="*/ 6 h 144"/>
                  <a:gd name="T54" fmla="*/ 92 w 149"/>
                  <a:gd name="T55" fmla="*/ 3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9" h="144">
                    <a:moveTo>
                      <a:pt x="92" y="3"/>
                    </a:moveTo>
                    <a:cubicBezTo>
                      <a:pt x="89" y="2"/>
                      <a:pt x="83" y="8"/>
                      <a:pt x="76" y="8"/>
                    </a:cubicBezTo>
                    <a:cubicBezTo>
                      <a:pt x="69" y="8"/>
                      <a:pt x="55" y="0"/>
                      <a:pt x="49" y="5"/>
                    </a:cubicBezTo>
                    <a:cubicBezTo>
                      <a:pt x="41" y="12"/>
                      <a:pt x="44" y="32"/>
                      <a:pt x="41" y="40"/>
                    </a:cubicBezTo>
                    <a:cubicBezTo>
                      <a:pt x="38" y="48"/>
                      <a:pt x="35" y="47"/>
                      <a:pt x="32" y="51"/>
                    </a:cubicBezTo>
                    <a:cubicBezTo>
                      <a:pt x="28" y="55"/>
                      <a:pt x="26" y="63"/>
                      <a:pt x="22" y="66"/>
                    </a:cubicBezTo>
                    <a:cubicBezTo>
                      <a:pt x="18" y="69"/>
                      <a:pt x="7" y="66"/>
                      <a:pt x="7" y="71"/>
                    </a:cubicBezTo>
                    <a:cubicBezTo>
                      <a:pt x="0" y="85"/>
                      <a:pt x="8" y="93"/>
                      <a:pt x="20" y="95"/>
                    </a:cubicBezTo>
                    <a:cubicBezTo>
                      <a:pt x="24" y="100"/>
                      <a:pt x="29" y="94"/>
                      <a:pt x="34" y="95"/>
                    </a:cubicBezTo>
                    <a:cubicBezTo>
                      <a:pt x="39" y="96"/>
                      <a:pt x="45" y="100"/>
                      <a:pt x="49" y="102"/>
                    </a:cubicBezTo>
                    <a:cubicBezTo>
                      <a:pt x="53" y="104"/>
                      <a:pt x="54" y="105"/>
                      <a:pt x="58" y="107"/>
                    </a:cubicBezTo>
                    <a:cubicBezTo>
                      <a:pt x="61" y="110"/>
                      <a:pt x="67" y="113"/>
                      <a:pt x="71" y="117"/>
                    </a:cubicBezTo>
                    <a:cubicBezTo>
                      <a:pt x="75" y="121"/>
                      <a:pt x="79" y="128"/>
                      <a:pt x="83" y="131"/>
                    </a:cubicBezTo>
                    <a:cubicBezTo>
                      <a:pt x="89" y="135"/>
                      <a:pt x="90" y="133"/>
                      <a:pt x="97" y="134"/>
                    </a:cubicBezTo>
                    <a:cubicBezTo>
                      <a:pt x="102" y="135"/>
                      <a:pt x="105" y="142"/>
                      <a:pt x="110" y="143"/>
                    </a:cubicBezTo>
                    <a:cubicBezTo>
                      <a:pt x="115" y="144"/>
                      <a:pt x="122" y="143"/>
                      <a:pt x="128" y="140"/>
                    </a:cubicBezTo>
                    <a:cubicBezTo>
                      <a:pt x="134" y="137"/>
                      <a:pt x="147" y="136"/>
                      <a:pt x="146" y="125"/>
                    </a:cubicBezTo>
                    <a:cubicBezTo>
                      <a:pt x="149" y="121"/>
                      <a:pt x="147" y="119"/>
                      <a:pt x="147" y="114"/>
                    </a:cubicBezTo>
                    <a:cubicBezTo>
                      <a:pt x="147" y="109"/>
                      <a:pt x="149" y="100"/>
                      <a:pt x="145" y="93"/>
                    </a:cubicBezTo>
                    <a:cubicBezTo>
                      <a:pt x="141" y="86"/>
                      <a:pt x="128" y="77"/>
                      <a:pt x="122" y="71"/>
                    </a:cubicBezTo>
                    <a:cubicBezTo>
                      <a:pt x="118" y="65"/>
                      <a:pt x="114" y="64"/>
                      <a:pt x="110" y="59"/>
                    </a:cubicBezTo>
                    <a:cubicBezTo>
                      <a:pt x="108" y="54"/>
                      <a:pt x="118" y="49"/>
                      <a:pt x="119" y="45"/>
                    </a:cubicBezTo>
                    <a:cubicBezTo>
                      <a:pt x="120" y="41"/>
                      <a:pt x="119" y="39"/>
                      <a:pt x="119" y="35"/>
                    </a:cubicBezTo>
                    <a:cubicBezTo>
                      <a:pt x="120" y="29"/>
                      <a:pt x="124" y="26"/>
                      <a:pt x="121" y="23"/>
                    </a:cubicBezTo>
                    <a:cubicBezTo>
                      <a:pt x="120" y="20"/>
                      <a:pt x="116" y="20"/>
                      <a:pt x="113" y="18"/>
                    </a:cubicBezTo>
                    <a:cubicBezTo>
                      <a:pt x="110" y="16"/>
                      <a:pt x="106" y="16"/>
                      <a:pt x="103" y="14"/>
                    </a:cubicBezTo>
                    <a:cubicBezTo>
                      <a:pt x="99" y="7"/>
                      <a:pt x="102" y="11"/>
                      <a:pt x="95" y="6"/>
                    </a:cubicBezTo>
                    <a:cubicBezTo>
                      <a:pt x="90" y="3"/>
                      <a:pt x="89" y="3"/>
                      <a:pt x="92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97" name="Freeform 89">
                <a:extLst>
                  <a:ext uri="{FF2B5EF4-FFF2-40B4-BE49-F238E27FC236}">
                    <a16:creationId xmlns:a16="http://schemas.microsoft.com/office/drawing/2014/main" id="{91AD754C-0204-4676-9217-F3B78497DA6F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gray">
              <a:xfrm>
                <a:off x="4602163" y="4108450"/>
                <a:ext cx="173038" cy="207963"/>
              </a:xfrm>
              <a:custGeom>
                <a:avLst/>
                <a:gdLst>
                  <a:gd name="T0" fmla="*/ 67 w 107"/>
                  <a:gd name="T1" fmla="*/ 14 h 131"/>
                  <a:gd name="T2" fmla="*/ 70 w 107"/>
                  <a:gd name="T3" fmla="*/ 16 h 131"/>
                  <a:gd name="T4" fmla="*/ 86 w 107"/>
                  <a:gd name="T5" fmla="*/ 1 h 131"/>
                  <a:gd name="T6" fmla="*/ 103 w 107"/>
                  <a:gd name="T7" fmla="*/ 2 h 131"/>
                  <a:gd name="T8" fmla="*/ 106 w 107"/>
                  <a:gd name="T9" fmla="*/ 29 h 131"/>
                  <a:gd name="T10" fmla="*/ 98 w 107"/>
                  <a:gd name="T11" fmla="*/ 43 h 131"/>
                  <a:gd name="T12" fmla="*/ 100 w 107"/>
                  <a:gd name="T13" fmla="*/ 64 h 131"/>
                  <a:gd name="T14" fmla="*/ 86 w 107"/>
                  <a:gd name="T15" fmla="*/ 73 h 131"/>
                  <a:gd name="T16" fmla="*/ 77 w 107"/>
                  <a:gd name="T17" fmla="*/ 86 h 131"/>
                  <a:gd name="T18" fmla="*/ 71 w 107"/>
                  <a:gd name="T19" fmla="*/ 101 h 131"/>
                  <a:gd name="T20" fmla="*/ 65 w 107"/>
                  <a:gd name="T21" fmla="*/ 113 h 131"/>
                  <a:gd name="T22" fmla="*/ 50 w 107"/>
                  <a:gd name="T23" fmla="*/ 119 h 131"/>
                  <a:gd name="T24" fmla="*/ 39 w 107"/>
                  <a:gd name="T25" fmla="*/ 119 h 131"/>
                  <a:gd name="T26" fmla="*/ 25 w 107"/>
                  <a:gd name="T27" fmla="*/ 121 h 131"/>
                  <a:gd name="T28" fmla="*/ 11 w 107"/>
                  <a:gd name="T29" fmla="*/ 130 h 131"/>
                  <a:gd name="T30" fmla="*/ 1 w 107"/>
                  <a:gd name="T31" fmla="*/ 115 h 131"/>
                  <a:gd name="T32" fmla="*/ 16 w 107"/>
                  <a:gd name="T33" fmla="*/ 103 h 131"/>
                  <a:gd name="T34" fmla="*/ 16 w 107"/>
                  <a:gd name="T35" fmla="*/ 88 h 131"/>
                  <a:gd name="T36" fmla="*/ 26 w 107"/>
                  <a:gd name="T37" fmla="*/ 80 h 131"/>
                  <a:gd name="T38" fmla="*/ 49 w 107"/>
                  <a:gd name="T39" fmla="*/ 85 h 131"/>
                  <a:gd name="T40" fmla="*/ 53 w 107"/>
                  <a:gd name="T41" fmla="*/ 71 h 131"/>
                  <a:gd name="T42" fmla="*/ 46 w 107"/>
                  <a:gd name="T43" fmla="*/ 50 h 131"/>
                  <a:gd name="T44" fmla="*/ 47 w 107"/>
                  <a:gd name="T45" fmla="*/ 37 h 131"/>
                  <a:gd name="T46" fmla="*/ 35 w 107"/>
                  <a:gd name="T47" fmla="*/ 37 h 131"/>
                  <a:gd name="T48" fmla="*/ 28 w 107"/>
                  <a:gd name="T49" fmla="*/ 20 h 131"/>
                  <a:gd name="T50" fmla="*/ 58 w 107"/>
                  <a:gd name="T51" fmla="*/ 22 h 131"/>
                  <a:gd name="T52" fmla="*/ 73 w 107"/>
                  <a:gd name="T53" fmla="*/ 1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7" h="131">
                    <a:moveTo>
                      <a:pt x="67" y="14"/>
                    </a:moveTo>
                    <a:cubicBezTo>
                      <a:pt x="76" y="18"/>
                      <a:pt x="67" y="23"/>
                      <a:pt x="70" y="16"/>
                    </a:cubicBezTo>
                    <a:cubicBezTo>
                      <a:pt x="67" y="7"/>
                      <a:pt x="76" y="2"/>
                      <a:pt x="86" y="1"/>
                    </a:cubicBezTo>
                    <a:cubicBezTo>
                      <a:pt x="92" y="1"/>
                      <a:pt x="98" y="0"/>
                      <a:pt x="103" y="2"/>
                    </a:cubicBezTo>
                    <a:cubicBezTo>
                      <a:pt x="106" y="6"/>
                      <a:pt x="107" y="22"/>
                      <a:pt x="106" y="29"/>
                    </a:cubicBezTo>
                    <a:cubicBezTo>
                      <a:pt x="105" y="36"/>
                      <a:pt x="99" y="37"/>
                      <a:pt x="98" y="43"/>
                    </a:cubicBezTo>
                    <a:cubicBezTo>
                      <a:pt x="97" y="53"/>
                      <a:pt x="102" y="59"/>
                      <a:pt x="100" y="64"/>
                    </a:cubicBezTo>
                    <a:cubicBezTo>
                      <a:pt x="98" y="69"/>
                      <a:pt x="90" y="69"/>
                      <a:pt x="86" y="73"/>
                    </a:cubicBezTo>
                    <a:cubicBezTo>
                      <a:pt x="85" y="81"/>
                      <a:pt x="81" y="80"/>
                      <a:pt x="77" y="86"/>
                    </a:cubicBezTo>
                    <a:cubicBezTo>
                      <a:pt x="75" y="92"/>
                      <a:pt x="73" y="97"/>
                      <a:pt x="71" y="101"/>
                    </a:cubicBezTo>
                    <a:cubicBezTo>
                      <a:pt x="69" y="105"/>
                      <a:pt x="68" y="110"/>
                      <a:pt x="65" y="113"/>
                    </a:cubicBezTo>
                    <a:cubicBezTo>
                      <a:pt x="60" y="117"/>
                      <a:pt x="56" y="118"/>
                      <a:pt x="50" y="119"/>
                    </a:cubicBezTo>
                    <a:cubicBezTo>
                      <a:pt x="46" y="120"/>
                      <a:pt x="43" y="119"/>
                      <a:pt x="39" y="119"/>
                    </a:cubicBezTo>
                    <a:cubicBezTo>
                      <a:pt x="35" y="119"/>
                      <a:pt x="30" y="119"/>
                      <a:pt x="25" y="121"/>
                    </a:cubicBezTo>
                    <a:cubicBezTo>
                      <a:pt x="19" y="121"/>
                      <a:pt x="15" y="131"/>
                      <a:pt x="11" y="130"/>
                    </a:cubicBezTo>
                    <a:cubicBezTo>
                      <a:pt x="7" y="129"/>
                      <a:pt x="0" y="119"/>
                      <a:pt x="1" y="115"/>
                    </a:cubicBezTo>
                    <a:cubicBezTo>
                      <a:pt x="0" y="109"/>
                      <a:pt x="14" y="107"/>
                      <a:pt x="16" y="103"/>
                    </a:cubicBezTo>
                    <a:cubicBezTo>
                      <a:pt x="18" y="99"/>
                      <a:pt x="14" y="92"/>
                      <a:pt x="16" y="88"/>
                    </a:cubicBezTo>
                    <a:cubicBezTo>
                      <a:pt x="18" y="84"/>
                      <a:pt x="21" y="80"/>
                      <a:pt x="26" y="80"/>
                    </a:cubicBezTo>
                    <a:cubicBezTo>
                      <a:pt x="31" y="80"/>
                      <a:pt x="45" y="86"/>
                      <a:pt x="49" y="85"/>
                    </a:cubicBezTo>
                    <a:cubicBezTo>
                      <a:pt x="53" y="84"/>
                      <a:pt x="53" y="77"/>
                      <a:pt x="53" y="71"/>
                    </a:cubicBezTo>
                    <a:cubicBezTo>
                      <a:pt x="53" y="65"/>
                      <a:pt x="47" y="56"/>
                      <a:pt x="46" y="50"/>
                    </a:cubicBezTo>
                    <a:cubicBezTo>
                      <a:pt x="45" y="44"/>
                      <a:pt x="49" y="39"/>
                      <a:pt x="47" y="37"/>
                    </a:cubicBezTo>
                    <a:cubicBezTo>
                      <a:pt x="45" y="35"/>
                      <a:pt x="38" y="40"/>
                      <a:pt x="35" y="37"/>
                    </a:cubicBezTo>
                    <a:cubicBezTo>
                      <a:pt x="32" y="34"/>
                      <a:pt x="24" y="22"/>
                      <a:pt x="28" y="20"/>
                    </a:cubicBezTo>
                    <a:cubicBezTo>
                      <a:pt x="32" y="18"/>
                      <a:pt x="51" y="23"/>
                      <a:pt x="58" y="22"/>
                    </a:cubicBezTo>
                    <a:cubicBezTo>
                      <a:pt x="65" y="21"/>
                      <a:pt x="70" y="13"/>
                      <a:pt x="73" y="11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98" name="Freeform 90">
                <a:extLst>
                  <a:ext uri="{FF2B5EF4-FFF2-40B4-BE49-F238E27FC236}">
                    <a16:creationId xmlns:a16="http://schemas.microsoft.com/office/drawing/2014/main" id="{FFAB0094-7C30-4D0F-A812-FD69BE95742B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4552951" y="4140200"/>
                <a:ext cx="134938" cy="152400"/>
              </a:xfrm>
              <a:custGeom>
                <a:avLst/>
                <a:gdLst>
                  <a:gd name="T0" fmla="*/ 4 w 83"/>
                  <a:gd name="T1" fmla="*/ 24 h 96"/>
                  <a:gd name="T2" fmla="*/ 32 w 83"/>
                  <a:gd name="T3" fmla="*/ 17 h 96"/>
                  <a:gd name="T4" fmla="*/ 37 w 83"/>
                  <a:gd name="T5" fmla="*/ 0 h 96"/>
                  <a:gd name="T6" fmla="*/ 55 w 83"/>
                  <a:gd name="T7" fmla="*/ 2 h 96"/>
                  <a:gd name="T8" fmla="*/ 65 w 83"/>
                  <a:gd name="T9" fmla="*/ 17 h 96"/>
                  <a:gd name="T10" fmla="*/ 80 w 83"/>
                  <a:gd name="T11" fmla="*/ 21 h 96"/>
                  <a:gd name="T12" fmla="*/ 79 w 83"/>
                  <a:gd name="T13" fmla="*/ 26 h 96"/>
                  <a:gd name="T14" fmla="*/ 77 w 83"/>
                  <a:gd name="T15" fmla="*/ 32 h 96"/>
                  <a:gd name="T16" fmla="*/ 77 w 83"/>
                  <a:gd name="T17" fmla="*/ 41 h 96"/>
                  <a:gd name="T18" fmla="*/ 81 w 83"/>
                  <a:gd name="T19" fmla="*/ 49 h 96"/>
                  <a:gd name="T20" fmla="*/ 79 w 83"/>
                  <a:gd name="T21" fmla="*/ 65 h 96"/>
                  <a:gd name="T22" fmla="*/ 56 w 83"/>
                  <a:gd name="T23" fmla="*/ 59 h 96"/>
                  <a:gd name="T24" fmla="*/ 49 w 83"/>
                  <a:gd name="T25" fmla="*/ 69 h 96"/>
                  <a:gd name="T26" fmla="*/ 29 w 83"/>
                  <a:gd name="T27" fmla="*/ 96 h 96"/>
                  <a:gd name="T28" fmla="*/ 8 w 83"/>
                  <a:gd name="T29" fmla="*/ 77 h 96"/>
                  <a:gd name="T30" fmla="*/ 4 w 83"/>
                  <a:gd name="T31" fmla="*/ 2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3" h="96">
                    <a:moveTo>
                      <a:pt x="4" y="24"/>
                    </a:moveTo>
                    <a:cubicBezTo>
                      <a:pt x="13" y="24"/>
                      <a:pt x="24" y="22"/>
                      <a:pt x="32" y="17"/>
                    </a:cubicBezTo>
                    <a:cubicBezTo>
                      <a:pt x="37" y="14"/>
                      <a:pt x="37" y="0"/>
                      <a:pt x="37" y="0"/>
                    </a:cubicBezTo>
                    <a:cubicBezTo>
                      <a:pt x="44" y="1"/>
                      <a:pt x="49" y="0"/>
                      <a:pt x="55" y="2"/>
                    </a:cubicBezTo>
                    <a:cubicBezTo>
                      <a:pt x="60" y="3"/>
                      <a:pt x="59" y="14"/>
                      <a:pt x="65" y="17"/>
                    </a:cubicBezTo>
                    <a:cubicBezTo>
                      <a:pt x="72" y="14"/>
                      <a:pt x="76" y="15"/>
                      <a:pt x="80" y="21"/>
                    </a:cubicBezTo>
                    <a:cubicBezTo>
                      <a:pt x="80" y="23"/>
                      <a:pt x="80" y="25"/>
                      <a:pt x="79" y="26"/>
                    </a:cubicBezTo>
                    <a:cubicBezTo>
                      <a:pt x="77" y="27"/>
                      <a:pt x="78" y="30"/>
                      <a:pt x="77" y="32"/>
                    </a:cubicBezTo>
                    <a:cubicBezTo>
                      <a:pt x="77" y="34"/>
                      <a:pt x="78" y="35"/>
                      <a:pt x="77" y="41"/>
                    </a:cubicBezTo>
                    <a:cubicBezTo>
                      <a:pt x="78" y="44"/>
                      <a:pt x="81" y="45"/>
                      <a:pt x="81" y="49"/>
                    </a:cubicBezTo>
                    <a:cubicBezTo>
                      <a:pt x="81" y="53"/>
                      <a:pt x="83" y="63"/>
                      <a:pt x="79" y="65"/>
                    </a:cubicBezTo>
                    <a:cubicBezTo>
                      <a:pt x="69" y="64"/>
                      <a:pt x="62" y="67"/>
                      <a:pt x="56" y="59"/>
                    </a:cubicBezTo>
                    <a:cubicBezTo>
                      <a:pt x="46" y="60"/>
                      <a:pt x="55" y="61"/>
                      <a:pt x="49" y="69"/>
                    </a:cubicBezTo>
                    <a:cubicBezTo>
                      <a:pt x="51" y="79"/>
                      <a:pt x="38" y="89"/>
                      <a:pt x="29" y="96"/>
                    </a:cubicBezTo>
                    <a:cubicBezTo>
                      <a:pt x="20" y="93"/>
                      <a:pt x="16" y="83"/>
                      <a:pt x="8" y="77"/>
                    </a:cubicBezTo>
                    <a:cubicBezTo>
                      <a:pt x="4" y="65"/>
                      <a:pt x="0" y="34"/>
                      <a:pt x="4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699" name="Freeform 91">
                <a:extLst>
                  <a:ext uri="{FF2B5EF4-FFF2-40B4-BE49-F238E27FC236}">
                    <a16:creationId xmlns:a16="http://schemas.microsoft.com/office/drawing/2014/main" id="{523953DC-5F27-41E0-A5FA-AD14B21A8E4E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gray">
              <a:xfrm>
                <a:off x="5065713" y="4440238"/>
                <a:ext cx="258763" cy="396875"/>
              </a:xfrm>
              <a:custGeom>
                <a:avLst/>
                <a:gdLst>
                  <a:gd name="T0" fmla="*/ 38 w 161"/>
                  <a:gd name="T1" fmla="*/ 237 h 250"/>
                  <a:gd name="T2" fmla="*/ 63 w 161"/>
                  <a:gd name="T3" fmla="*/ 221 h 250"/>
                  <a:gd name="T4" fmla="*/ 77 w 161"/>
                  <a:gd name="T5" fmla="*/ 204 h 250"/>
                  <a:gd name="T6" fmla="*/ 75 w 161"/>
                  <a:gd name="T7" fmla="*/ 173 h 250"/>
                  <a:gd name="T8" fmla="*/ 65 w 161"/>
                  <a:gd name="T9" fmla="*/ 150 h 250"/>
                  <a:gd name="T10" fmla="*/ 77 w 161"/>
                  <a:gd name="T11" fmla="*/ 134 h 250"/>
                  <a:gd name="T12" fmla="*/ 87 w 161"/>
                  <a:gd name="T13" fmla="*/ 123 h 250"/>
                  <a:gd name="T14" fmla="*/ 96 w 161"/>
                  <a:gd name="T15" fmla="*/ 116 h 250"/>
                  <a:gd name="T16" fmla="*/ 134 w 161"/>
                  <a:gd name="T17" fmla="*/ 102 h 250"/>
                  <a:gd name="T18" fmla="*/ 149 w 161"/>
                  <a:gd name="T19" fmla="*/ 71 h 250"/>
                  <a:gd name="T20" fmla="*/ 140 w 161"/>
                  <a:gd name="T21" fmla="*/ 0 h 250"/>
                  <a:gd name="T22" fmla="*/ 120 w 161"/>
                  <a:gd name="T23" fmla="*/ 15 h 250"/>
                  <a:gd name="T24" fmla="*/ 99 w 161"/>
                  <a:gd name="T25" fmla="*/ 23 h 250"/>
                  <a:gd name="T26" fmla="*/ 65 w 161"/>
                  <a:gd name="T27" fmla="*/ 24 h 250"/>
                  <a:gd name="T28" fmla="*/ 68 w 161"/>
                  <a:gd name="T29" fmla="*/ 47 h 250"/>
                  <a:gd name="T30" fmla="*/ 74 w 161"/>
                  <a:gd name="T31" fmla="*/ 62 h 250"/>
                  <a:gd name="T32" fmla="*/ 71 w 161"/>
                  <a:gd name="T33" fmla="*/ 99 h 250"/>
                  <a:gd name="T34" fmla="*/ 57 w 161"/>
                  <a:gd name="T35" fmla="*/ 86 h 250"/>
                  <a:gd name="T36" fmla="*/ 45 w 161"/>
                  <a:gd name="T37" fmla="*/ 63 h 250"/>
                  <a:gd name="T38" fmla="*/ 32 w 161"/>
                  <a:gd name="T39" fmla="*/ 54 h 250"/>
                  <a:gd name="T40" fmla="*/ 18 w 161"/>
                  <a:gd name="T41" fmla="*/ 63 h 250"/>
                  <a:gd name="T42" fmla="*/ 5 w 161"/>
                  <a:gd name="T43" fmla="*/ 72 h 250"/>
                  <a:gd name="T44" fmla="*/ 8 w 161"/>
                  <a:gd name="T45" fmla="*/ 84 h 250"/>
                  <a:gd name="T46" fmla="*/ 17 w 161"/>
                  <a:gd name="T47" fmla="*/ 87 h 250"/>
                  <a:gd name="T48" fmla="*/ 35 w 161"/>
                  <a:gd name="T49" fmla="*/ 99 h 250"/>
                  <a:gd name="T50" fmla="*/ 35 w 161"/>
                  <a:gd name="T51" fmla="*/ 138 h 250"/>
                  <a:gd name="T52" fmla="*/ 30 w 161"/>
                  <a:gd name="T53" fmla="*/ 158 h 250"/>
                  <a:gd name="T54" fmla="*/ 27 w 161"/>
                  <a:gd name="T55" fmla="*/ 174 h 250"/>
                  <a:gd name="T56" fmla="*/ 6 w 161"/>
                  <a:gd name="T57" fmla="*/ 189 h 250"/>
                  <a:gd name="T58" fmla="*/ 17 w 161"/>
                  <a:gd name="T59" fmla="*/ 206 h 250"/>
                  <a:gd name="T60" fmla="*/ 24 w 161"/>
                  <a:gd name="T61" fmla="*/ 230 h 250"/>
                  <a:gd name="T62" fmla="*/ 29 w 161"/>
                  <a:gd name="T63" fmla="*/ 249 h 250"/>
                  <a:gd name="T64" fmla="*/ 38 w 161"/>
                  <a:gd name="T65" fmla="*/ 237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1" h="250">
                    <a:moveTo>
                      <a:pt x="38" y="237"/>
                    </a:moveTo>
                    <a:cubicBezTo>
                      <a:pt x="40" y="223"/>
                      <a:pt x="51" y="222"/>
                      <a:pt x="63" y="221"/>
                    </a:cubicBezTo>
                    <a:cubicBezTo>
                      <a:pt x="70" y="218"/>
                      <a:pt x="73" y="211"/>
                      <a:pt x="77" y="204"/>
                    </a:cubicBezTo>
                    <a:cubicBezTo>
                      <a:pt x="79" y="194"/>
                      <a:pt x="80" y="183"/>
                      <a:pt x="75" y="173"/>
                    </a:cubicBezTo>
                    <a:cubicBezTo>
                      <a:pt x="73" y="164"/>
                      <a:pt x="70" y="158"/>
                      <a:pt x="65" y="150"/>
                    </a:cubicBezTo>
                    <a:cubicBezTo>
                      <a:pt x="66" y="135"/>
                      <a:pt x="65" y="136"/>
                      <a:pt x="77" y="134"/>
                    </a:cubicBezTo>
                    <a:cubicBezTo>
                      <a:pt x="87" y="129"/>
                      <a:pt x="82" y="129"/>
                      <a:pt x="87" y="123"/>
                    </a:cubicBezTo>
                    <a:cubicBezTo>
                      <a:pt x="89" y="120"/>
                      <a:pt x="96" y="116"/>
                      <a:pt x="96" y="116"/>
                    </a:cubicBezTo>
                    <a:cubicBezTo>
                      <a:pt x="104" y="102"/>
                      <a:pt x="119" y="104"/>
                      <a:pt x="134" y="102"/>
                    </a:cubicBezTo>
                    <a:cubicBezTo>
                      <a:pt x="135" y="89"/>
                      <a:pt x="143" y="82"/>
                      <a:pt x="149" y="71"/>
                    </a:cubicBezTo>
                    <a:cubicBezTo>
                      <a:pt x="148" y="50"/>
                      <a:pt x="161" y="15"/>
                      <a:pt x="140" y="0"/>
                    </a:cubicBezTo>
                    <a:cubicBezTo>
                      <a:pt x="134" y="7"/>
                      <a:pt x="129" y="14"/>
                      <a:pt x="120" y="15"/>
                    </a:cubicBezTo>
                    <a:cubicBezTo>
                      <a:pt x="107" y="13"/>
                      <a:pt x="109" y="22"/>
                      <a:pt x="99" y="23"/>
                    </a:cubicBezTo>
                    <a:cubicBezTo>
                      <a:pt x="88" y="24"/>
                      <a:pt x="76" y="24"/>
                      <a:pt x="65" y="24"/>
                    </a:cubicBezTo>
                    <a:cubicBezTo>
                      <a:pt x="62" y="33"/>
                      <a:pt x="59" y="42"/>
                      <a:pt x="68" y="47"/>
                    </a:cubicBezTo>
                    <a:cubicBezTo>
                      <a:pt x="72" y="52"/>
                      <a:pt x="72" y="56"/>
                      <a:pt x="74" y="62"/>
                    </a:cubicBezTo>
                    <a:cubicBezTo>
                      <a:pt x="76" y="74"/>
                      <a:pt x="83" y="90"/>
                      <a:pt x="71" y="99"/>
                    </a:cubicBezTo>
                    <a:cubicBezTo>
                      <a:pt x="60" y="97"/>
                      <a:pt x="61" y="94"/>
                      <a:pt x="57" y="86"/>
                    </a:cubicBezTo>
                    <a:cubicBezTo>
                      <a:pt x="56" y="62"/>
                      <a:pt x="60" y="68"/>
                      <a:pt x="45" y="63"/>
                    </a:cubicBezTo>
                    <a:cubicBezTo>
                      <a:pt x="41" y="58"/>
                      <a:pt x="38" y="56"/>
                      <a:pt x="32" y="54"/>
                    </a:cubicBezTo>
                    <a:cubicBezTo>
                      <a:pt x="28" y="61"/>
                      <a:pt x="26" y="62"/>
                      <a:pt x="18" y="63"/>
                    </a:cubicBezTo>
                    <a:cubicBezTo>
                      <a:pt x="14" y="70"/>
                      <a:pt x="11" y="68"/>
                      <a:pt x="5" y="72"/>
                    </a:cubicBezTo>
                    <a:cubicBezTo>
                      <a:pt x="1" y="78"/>
                      <a:pt x="0" y="82"/>
                      <a:pt x="8" y="84"/>
                    </a:cubicBezTo>
                    <a:cubicBezTo>
                      <a:pt x="11" y="85"/>
                      <a:pt x="14" y="85"/>
                      <a:pt x="17" y="87"/>
                    </a:cubicBezTo>
                    <a:cubicBezTo>
                      <a:pt x="24" y="92"/>
                      <a:pt x="25" y="97"/>
                      <a:pt x="35" y="99"/>
                    </a:cubicBezTo>
                    <a:cubicBezTo>
                      <a:pt x="38" y="107"/>
                      <a:pt x="36" y="128"/>
                      <a:pt x="35" y="138"/>
                    </a:cubicBezTo>
                    <a:cubicBezTo>
                      <a:pt x="34" y="148"/>
                      <a:pt x="31" y="152"/>
                      <a:pt x="30" y="158"/>
                    </a:cubicBezTo>
                    <a:cubicBezTo>
                      <a:pt x="29" y="165"/>
                      <a:pt x="33" y="170"/>
                      <a:pt x="27" y="174"/>
                    </a:cubicBezTo>
                    <a:cubicBezTo>
                      <a:pt x="24" y="182"/>
                      <a:pt x="13" y="185"/>
                      <a:pt x="6" y="189"/>
                    </a:cubicBezTo>
                    <a:cubicBezTo>
                      <a:pt x="8" y="194"/>
                      <a:pt x="15" y="201"/>
                      <a:pt x="17" y="206"/>
                    </a:cubicBezTo>
                    <a:cubicBezTo>
                      <a:pt x="18" y="222"/>
                      <a:pt x="16" y="220"/>
                      <a:pt x="24" y="230"/>
                    </a:cubicBezTo>
                    <a:cubicBezTo>
                      <a:pt x="26" y="243"/>
                      <a:pt x="18" y="247"/>
                      <a:pt x="29" y="249"/>
                    </a:cubicBezTo>
                    <a:cubicBezTo>
                      <a:pt x="31" y="250"/>
                      <a:pt x="32" y="242"/>
                      <a:pt x="38" y="2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00" name="Freeform 92">
                <a:extLst>
                  <a:ext uri="{FF2B5EF4-FFF2-40B4-BE49-F238E27FC236}">
                    <a16:creationId xmlns:a16="http://schemas.microsoft.com/office/drawing/2014/main" id="{6B963576-7EB6-41A5-ADBD-43461664CEEC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gray">
              <a:xfrm>
                <a:off x="5024438" y="4252913"/>
                <a:ext cx="47625" cy="49213"/>
              </a:xfrm>
              <a:custGeom>
                <a:avLst/>
                <a:gdLst>
                  <a:gd name="T0" fmla="*/ 25 w 29"/>
                  <a:gd name="T1" fmla="*/ 0 h 31"/>
                  <a:gd name="T2" fmla="*/ 3 w 29"/>
                  <a:gd name="T3" fmla="*/ 7 h 31"/>
                  <a:gd name="T4" fmla="*/ 4 w 29"/>
                  <a:gd name="T5" fmla="*/ 28 h 31"/>
                  <a:gd name="T6" fmla="*/ 18 w 29"/>
                  <a:gd name="T7" fmla="*/ 25 h 31"/>
                  <a:gd name="T8" fmla="*/ 27 w 29"/>
                  <a:gd name="T9" fmla="*/ 18 h 31"/>
                  <a:gd name="T10" fmla="*/ 25 w 29"/>
                  <a:gd name="T11" fmla="*/ 7 h 31"/>
                  <a:gd name="T12" fmla="*/ 25 w 29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1">
                    <a:moveTo>
                      <a:pt x="25" y="0"/>
                    </a:moveTo>
                    <a:cubicBezTo>
                      <a:pt x="16" y="1"/>
                      <a:pt x="9" y="0"/>
                      <a:pt x="3" y="7"/>
                    </a:cubicBezTo>
                    <a:cubicBezTo>
                      <a:pt x="0" y="11"/>
                      <a:pt x="2" y="25"/>
                      <a:pt x="4" y="28"/>
                    </a:cubicBezTo>
                    <a:cubicBezTo>
                      <a:pt x="6" y="31"/>
                      <a:pt x="14" y="27"/>
                      <a:pt x="18" y="25"/>
                    </a:cubicBezTo>
                    <a:cubicBezTo>
                      <a:pt x="21" y="23"/>
                      <a:pt x="26" y="21"/>
                      <a:pt x="27" y="18"/>
                    </a:cubicBezTo>
                    <a:cubicBezTo>
                      <a:pt x="28" y="15"/>
                      <a:pt x="25" y="10"/>
                      <a:pt x="25" y="7"/>
                    </a:cubicBezTo>
                    <a:cubicBezTo>
                      <a:pt x="25" y="4"/>
                      <a:pt x="29" y="0"/>
                      <a:pt x="25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01" name="Freeform 93">
                <a:extLst>
                  <a:ext uri="{FF2B5EF4-FFF2-40B4-BE49-F238E27FC236}">
                    <a16:creationId xmlns:a16="http://schemas.microsoft.com/office/drawing/2014/main" id="{52EEB8D2-4065-4D76-83DD-6FE3C83F21B5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gray">
              <a:xfrm>
                <a:off x="5027613" y="4217988"/>
                <a:ext cx="273050" cy="265113"/>
              </a:xfrm>
              <a:custGeom>
                <a:avLst/>
                <a:gdLst>
                  <a:gd name="T0" fmla="*/ 10 w 169"/>
                  <a:gd name="T1" fmla="*/ 2 h 167"/>
                  <a:gd name="T2" fmla="*/ 53 w 169"/>
                  <a:gd name="T3" fmla="*/ 2 h 167"/>
                  <a:gd name="T4" fmla="*/ 77 w 169"/>
                  <a:gd name="T5" fmla="*/ 5 h 167"/>
                  <a:gd name="T6" fmla="*/ 103 w 169"/>
                  <a:gd name="T7" fmla="*/ 13 h 167"/>
                  <a:gd name="T8" fmla="*/ 128 w 169"/>
                  <a:gd name="T9" fmla="*/ 37 h 167"/>
                  <a:gd name="T10" fmla="*/ 149 w 169"/>
                  <a:gd name="T11" fmla="*/ 49 h 167"/>
                  <a:gd name="T12" fmla="*/ 154 w 169"/>
                  <a:gd name="T13" fmla="*/ 106 h 167"/>
                  <a:gd name="T14" fmla="*/ 157 w 169"/>
                  <a:gd name="T15" fmla="*/ 122 h 167"/>
                  <a:gd name="T16" fmla="*/ 155 w 169"/>
                  <a:gd name="T17" fmla="*/ 151 h 167"/>
                  <a:gd name="T18" fmla="*/ 136 w 169"/>
                  <a:gd name="T19" fmla="*/ 155 h 167"/>
                  <a:gd name="T20" fmla="*/ 124 w 169"/>
                  <a:gd name="T21" fmla="*/ 163 h 167"/>
                  <a:gd name="T22" fmla="*/ 106 w 169"/>
                  <a:gd name="T23" fmla="*/ 164 h 167"/>
                  <a:gd name="T24" fmla="*/ 89 w 169"/>
                  <a:gd name="T25" fmla="*/ 160 h 167"/>
                  <a:gd name="T26" fmla="*/ 38 w 169"/>
                  <a:gd name="T27" fmla="*/ 121 h 167"/>
                  <a:gd name="T28" fmla="*/ 20 w 169"/>
                  <a:gd name="T29" fmla="*/ 109 h 167"/>
                  <a:gd name="T30" fmla="*/ 23 w 169"/>
                  <a:gd name="T31" fmla="*/ 92 h 167"/>
                  <a:gd name="T32" fmla="*/ 10 w 169"/>
                  <a:gd name="T33" fmla="*/ 85 h 167"/>
                  <a:gd name="T34" fmla="*/ 1 w 169"/>
                  <a:gd name="T35" fmla="*/ 73 h 167"/>
                  <a:gd name="T36" fmla="*/ 2 w 169"/>
                  <a:gd name="T37" fmla="*/ 53 h 167"/>
                  <a:gd name="T38" fmla="*/ 12 w 169"/>
                  <a:gd name="T39" fmla="*/ 52 h 167"/>
                  <a:gd name="T40" fmla="*/ 26 w 169"/>
                  <a:gd name="T41" fmla="*/ 38 h 167"/>
                  <a:gd name="T42" fmla="*/ 23 w 169"/>
                  <a:gd name="T43" fmla="*/ 23 h 167"/>
                  <a:gd name="T44" fmla="*/ 25 w 169"/>
                  <a:gd name="T45" fmla="*/ 13 h 167"/>
                  <a:gd name="T46" fmla="*/ 10 w 169"/>
                  <a:gd name="T47" fmla="*/ 2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9" h="167">
                    <a:moveTo>
                      <a:pt x="10" y="2"/>
                    </a:moveTo>
                    <a:cubicBezTo>
                      <a:pt x="15" y="0"/>
                      <a:pt x="38" y="0"/>
                      <a:pt x="53" y="2"/>
                    </a:cubicBezTo>
                    <a:cubicBezTo>
                      <a:pt x="64" y="2"/>
                      <a:pt x="69" y="3"/>
                      <a:pt x="77" y="5"/>
                    </a:cubicBezTo>
                    <a:cubicBezTo>
                      <a:pt x="85" y="7"/>
                      <a:pt x="95" y="8"/>
                      <a:pt x="103" y="13"/>
                    </a:cubicBezTo>
                    <a:cubicBezTo>
                      <a:pt x="113" y="20"/>
                      <a:pt x="117" y="32"/>
                      <a:pt x="128" y="37"/>
                    </a:cubicBezTo>
                    <a:cubicBezTo>
                      <a:pt x="136" y="48"/>
                      <a:pt x="136" y="45"/>
                      <a:pt x="149" y="49"/>
                    </a:cubicBezTo>
                    <a:cubicBezTo>
                      <a:pt x="138" y="64"/>
                      <a:pt x="147" y="89"/>
                      <a:pt x="154" y="106"/>
                    </a:cubicBezTo>
                    <a:cubicBezTo>
                      <a:pt x="155" y="113"/>
                      <a:pt x="153" y="117"/>
                      <a:pt x="157" y="122"/>
                    </a:cubicBezTo>
                    <a:cubicBezTo>
                      <a:pt x="159" y="134"/>
                      <a:pt x="169" y="149"/>
                      <a:pt x="155" y="151"/>
                    </a:cubicBezTo>
                    <a:cubicBezTo>
                      <a:pt x="152" y="157"/>
                      <a:pt x="141" y="153"/>
                      <a:pt x="136" y="155"/>
                    </a:cubicBezTo>
                    <a:cubicBezTo>
                      <a:pt x="131" y="157"/>
                      <a:pt x="129" y="162"/>
                      <a:pt x="124" y="163"/>
                    </a:cubicBezTo>
                    <a:cubicBezTo>
                      <a:pt x="119" y="164"/>
                      <a:pt x="112" y="164"/>
                      <a:pt x="106" y="164"/>
                    </a:cubicBezTo>
                    <a:cubicBezTo>
                      <a:pt x="100" y="167"/>
                      <a:pt x="95" y="161"/>
                      <a:pt x="89" y="160"/>
                    </a:cubicBezTo>
                    <a:cubicBezTo>
                      <a:pt x="87" y="131"/>
                      <a:pt x="64" y="122"/>
                      <a:pt x="38" y="121"/>
                    </a:cubicBezTo>
                    <a:cubicBezTo>
                      <a:pt x="32" y="117"/>
                      <a:pt x="26" y="113"/>
                      <a:pt x="20" y="109"/>
                    </a:cubicBezTo>
                    <a:cubicBezTo>
                      <a:pt x="17" y="105"/>
                      <a:pt x="25" y="96"/>
                      <a:pt x="23" y="92"/>
                    </a:cubicBezTo>
                    <a:cubicBezTo>
                      <a:pt x="21" y="88"/>
                      <a:pt x="14" y="88"/>
                      <a:pt x="10" y="85"/>
                    </a:cubicBezTo>
                    <a:cubicBezTo>
                      <a:pt x="8" y="78"/>
                      <a:pt x="2" y="78"/>
                      <a:pt x="1" y="73"/>
                    </a:cubicBezTo>
                    <a:cubicBezTo>
                      <a:pt x="0" y="68"/>
                      <a:pt x="0" y="56"/>
                      <a:pt x="2" y="53"/>
                    </a:cubicBezTo>
                    <a:cubicBezTo>
                      <a:pt x="4" y="50"/>
                      <a:pt x="8" y="54"/>
                      <a:pt x="12" y="52"/>
                    </a:cubicBezTo>
                    <a:cubicBezTo>
                      <a:pt x="16" y="50"/>
                      <a:pt x="24" y="43"/>
                      <a:pt x="26" y="38"/>
                    </a:cubicBezTo>
                    <a:cubicBezTo>
                      <a:pt x="25" y="32"/>
                      <a:pt x="26" y="29"/>
                      <a:pt x="23" y="23"/>
                    </a:cubicBezTo>
                    <a:cubicBezTo>
                      <a:pt x="25" y="20"/>
                      <a:pt x="24" y="16"/>
                      <a:pt x="25" y="13"/>
                    </a:cubicBezTo>
                    <a:cubicBezTo>
                      <a:pt x="29" y="2"/>
                      <a:pt x="15" y="3"/>
                      <a:pt x="10" y="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02" name="Freeform 94">
                <a:extLst>
                  <a:ext uri="{FF2B5EF4-FFF2-40B4-BE49-F238E27FC236}">
                    <a16:creationId xmlns:a16="http://schemas.microsoft.com/office/drawing/2014/main" id="{894E3EB0-389A-4C78-A0B8-72AADE363AA2}"/>
                  </a:ext>
                </a:extLst>
              </p:cNvPr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gray">
              <a:xfrm>
                <a:off x="5030788" y="4221163"/>
                <a:ext cx="52388" cy="39688"/>
              </a:xfrm>
              <a:custGeom>
                <a:avLst/>
                <a:gdLst>
                  <a:gd name="T0" fmla="*/ 11 w 32"/>
                  <a:gd name="T1" fmla="*/ 2 h 25"/>
                  <a:gd name="T2" fmla="*/ 21 w 32"/>
                  <a:gd name="T3" fmla="*/ 14 h 25"/>
                  <a:gd name="T4" fmla="*/ 0 w 32"/>
                  <a:gd name="T5" fmla="*/ 24 h 25"/>
                  <a:gd name="T6" fmla="*/ 6 w 32"/>
                  <a:gd name="T7" fmla="*/ 8 h 25"/>
                  <a:gd name="T8" fmla="*/ 11 w 32"/>
                  <a:gd name="T9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5">
                    <a:moveTo>
                      <a:pt x="11" y="2"/>
                    </a:moveTo>
                    <a:cubicBezTo>
                      <a:pt x="23" y="0"/>
                      <a:pt x="32" y="10"/>
                      <a:pt x="21" y="14"/>
                    </a:cubicBezTo>
                    <a:cubicBezTo>
                      <a:pt x="16" y="21"/>
                      <a:pt x="8" y="25"/>
                      <a:pt x="0" y="24"/>
                    </a:cubicBezTo>
                    <a:cubicBezTo>
                      <a:pt x="1" y="16"/>
                      <a:pt x="0" y="13"/>
                      <a:pt x="6" y="8"/>
                    </a:cubicBezTo>
                    <a:cubicBezTo>
                      <a:pt x="9" y="2"/>
                      <a:pt x="7" y="2"/>
                      <a:pt x="11" y="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03" name="Freeform 95">
                <a:extLst>
                  <a:ext uri="{FF2B5EF4-FFF2-40B4-BE49-F238E27FC236}">
                    <a16:creationId xmlns:a16="http://schemas.microsoft.com/office/drawing/2014/main" id="{71884566-EEF7-4352-8BD2-507040835D65}"/>
                  </a:ext>
                </a:extLst>
              </p:cNvPr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gray">
              <a:xfrm>
                <a:off x="5116513" y="4421188"/>
                <a:ext cx="76200" cy="176213"/>
              </a:xfrm>
              <a:custGeom>
                <a:avLst/>
                <a:gdLst>
                  <a:gd name="T0" fmla="*/ 7 w 47"/>
                  <a:gd name="T1" fmla="*/ 0 h 111"/>
                  <a:gd name="T2" fmla="*/ 33 w 47"/>
                  <a:gd name="T3" fmla="*/ 20 h 111"/>
                  <a:gd name="T4" fmla="*/ 34 w 47"/>
                  <a:gd name="T5" fmla="*/ 33 h 111"/>
                  <a:gd name="T6" fmla="*/ 31 w 47"/>
                  <a:gd name="T7" fmla="*/ 54 h 111"/>
                  <a:gd name="T8" fmla="*/ 45 w 47"/>
                  <a:gd name="T9" fmla="*/ 78 h 111"/>
                  <a:gd name="T10" fmla="*/ 45 w 47"/>
                  <a:gd name="T11" fmla="*/ 101 h 111"/>
                  <a:gd name="T12" fmla="*/ 30 w 47"/>
                  <a:gd name="T13" fmla="*/ 108 h 111"/>
                  <a:gd name="T14" fmla="*/ 24 w 47"/>
                  <a:gd name="T15" fmla="*/ 80 h 111"/>
                  <a:gd name="T16" fmla="*/ 9 w 47"/>
                  <a:gd name="T17" fmla="*/ 68 h 111"/>
                  <a:gd name="T18" fmla="*/ 1 w 47"/>
                  <a:gd name="T19" fmla="*/ 56 h 111"/>
                  <a:gd name="T20" fmla="*/ 12 w 47"/>
                  <a:gd name="T21" fmla="*/ 35 h 111"/>
                  <a:gd name="T22" fmla="*/ 7 w 47"/>
                  <a:gd name="T2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111">
                    <a:moveTo>
                      <a:pt x="7" y="0"/>
                    </a:moveTo>
                    <a:cubicBezTo>
                      <a:pt x="21" y="2"/>
                      <a:pt x="28" y="6"/>
                      <a:pt x="33" y="20"/>
                    </a:cubicBezTo>
                    <a:cubicBezTo>
                      <a:pt x="37" y="26"/>
                      <a:pt x="34" y="27"/>
                      <a:pt x="34" y="33"/>
                    </a:cubicBezTo>
                    <a:cubicBezTo>
                      <a:pt x="34" y="39"/>
                      <a:pt x="29" y="47"/>
                      <a:pt x="31" y="54"/>
                    </a:cubicBezTo>
                    <a:cubicBezTo>
                      <a:pt x="35" y="60"/>
                      <a:pt x="43" y="71"/>
                      <a:pt x="45" y="78"/>
                    </a:cubicBezTo>
                    <a:cubicBezTo>
                      <a:pt x="47" y="86"/>
                      <a:pt x="47" y="96"/>
                      <a:pt x="45" y="101"/>
                    </a:cubicBezTo>
                    <a:cubicBezTo>
                      <a:pt x="43" y="106"/>
                      <a:pt x="33" y="111"/>
                      <a:pt x="30" y="108"/>
                    </a:cubicBezTo>
                    <a:cubicBezTo>
                      <a:pt x="26" y="100"/>
                      <a:pt x="26" y="88"/>
                      <a:pt x="24" y="80"/>
                    </a:cubicBezTo>
                    <a:cubicBezTo>
                      <a:pt x="22" y="73"/>
                      <a:pt x="14" y="72"/>
                      <a:pt x="9" y="68"/>
                    </a:cubicBezTo>
                    <a:cubicBezTo>
                      <a:pt x="6" y="63"/>
                      <a:pt x="2" y="62"/>
                      <a:pt x="1" y="56"/>
                    </a:cubicBezTo>
                    <a:cubicBezTo>
                      <a:pt x="0" y="50"/>
                      <a:pt x="11" y="44"/>
                      <a:pt x="12" y="35"/>
                    </a:cubicBezTo>
                    <a:cubicBezTo>
                      <a:pt x="13" y="26"/>
                      <a:pt x="8" y="7"/>
                      <a:pt x="7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04" name="Freeform 96">
                <a:extLst>
                  <a:ext uri="{FF2B5EF4-FFF2-40B4-BE49-F238E27FC236}">
                    <a16:creationId xmlns:a16="http://schemas.microsoft.com/office/drawing/2014/main" id="{56FA9892-0165-41E5-BE96-7FEC33DE514A}"/>
                  </a:ext>
                </a:extLst>
              </p:cNvPr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gray">
              <a:xfrm>
                <a:off x="4521201" y="3248025"/>
                <a:ext cx="96838" cy="177800"/>
              </a:xfrm>
              <a:custGeom>
                <a:avLst/>
                <a:gdLst>
                  <a:gd name="T0" fmla="*/ 19 w 60"/>
                  <a:gd name="T1" fmla="*/ 9 h 112"/>
                  <a:gd name="T2" fmla="*/ 39 w 60"/>
                  <a:gd name="T3" fmla="*/ 4 h 112"/>
                  <a:gd name="T4" fmla="*/ 48 w 60"/>
                  <a:gd name="T5" fmla="*/ 34 h 112"/>
                  <a:gd name="T6" fmla="*/ 37 w 60"/>
                  <a:gd name="T7" fmla="*/ 51 h 112"/>
                  <a:gd name="T8" fmla="*/ 51 w 60"/>
                  <a:gd name="T9" fmla="*/ 73 h 112"/>
                  <a:gd name="T10" fmla="*/ 54 w 60"/>
                  <a:gd name="T11" fmla="*/ 90 h 112"/>
                  <a:gd name="T12" fmla="*/ 41 w 60"/>
                  <a:gd name="T13" fmla="*/ 99 h 112"/>
                  <a:gd name="T14" fmla="*/ 34 w 60"/>
                  <a:gd name="T15" fmla="*/ 103 h 112"/>
                  <a:gd name="T16" fmla="*/ 27 w 60"/>
                  <a:gd name="T17" fmla="*/ 109 h 112"/>
                  <a:gd name="T18" fmla="*/ 7 w 60"/>
                  <a:gd name="T19" fmla="*/ 87 h 112"/>
                  <a:gd name="T20" fmla="*/ 0 w 60"/>
                  <a:gd name="T21" fmla="*/ 73 h 112"/>
                  <a:gd name="T22" fmla="*/ 9 w 60"/>
                  <a:gd name="T23" fmla="*/ 34 h 112"/>
                  <a:gd name="T24" fmla="*/ 19 w 60"/>
                  <a:gd name="T25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0" h="112">
                    <a:moveTo>
                      <a:pt x="19" y="9"/>
                    </a:moveTo>
                    <a:cubicBezTo>
                      <a:pt x="24" y="0"/>
                      <a:pt x="29" y="3"/>
                      <a:pt x="39" y="4"/>
                    </a:cubicBezTo>
                    <a:cubicBezTo>
                      <a:pt x="49" y="12"/>
                      <a:pt x="43" y="23"/>
                      <a:pt x="48" y="34"/>
                    </a:cubicBezTo>
                    <a:cubicBezTo>
                      <a:pt x="50" y="44"/>
                      <a:pt x="47" y="48"/>
                      <a:pt x="37" y="51"/>
                    </a:cubicBezTo>
                    <a:cubicBezTo>
                      <a:pt x="35" y="64"/>
                      <a:pt x="38" y="70"/>
                      <a:pt x="51" y="73"/>
                    </a:cubicBezTo>
                    <a:cubicBezTo>
                      <a:pt x="55" y="80"/>
                      <a:pt x="60" y="86"/>
                      <a:pt x="54" y="90"/>
                    </a:cubicBezTo>
                    <a:cubicBezTo>
                      <a:pt x="52" y="94"/>
                      <a:pt x="44" y="97"/>
                      <a:pt x="41" y="99"/>
                    </a:cubicBezTo>
                    <a:cubicBezTo>
                      <a:pt x="38" y="101"/>
                      <a:pt x="36" y="101"/>
                      <a:pt x="34" y="103"/>
                    </a:cubicBezTo>
                    <a:cubicBezTo>
                      <a:pt x="32" y="105"/>
                      <a:pt x="32" y="112"/>
                      <a:pt x="27" y="109"/>
                    </a:cubicBezTo>
                    <a:cubicBezTo>
                      <a:pt x="25" y="100"/>
                      <a:pt x="15" y="92"/>
                      <a:pt x="7" y="87"/>
                    </a:cubicBezTo>
                    <a:cubicBezTo>
                      <a:pt x="4" y="82"/>
                      <a:pt x="1" y="79"/>
                      <a:pt x="0" y="73"/>
                    </a:cubicBezTo>
                    <a:cubicBezTo>
                      <a:pt x="1" y="61"/>
                      <a:pt x="3" y="45"/>
                      <a:pt x="9" y="34"/>
                    </a:cubicBezTo>
                    <a:cubicBezTo>
                      <a:pt x="9" y="28"/>
                      <a:pt x="8" y="9"/>
                      <a:pt x="19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05" name="Freeform 100">
                <a:extLst>
                  <a:ext uri="{FF2B5EF4-FFF2-40B4-BE49-F238E27FC236}">
                    <a16:creationId xmlns:a16="http://schemas.microsoft.com/office/drawing/2014/main" id="{EE725C9C-C9F1-4DBF-B99B-1CAE383D2EF3}"/>
                  </a:ext>
                </a:extLst>
              </p:cNvPr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gray">
              <a:xfrm>
                <a:off x="4660901" y="2652713"/>
                <a:ext cx="250825" cy="203200"/>
              </a:xfrm>
              <a:custGeom>
                <a:avLst/>
                <a:gdLst>
                  <a:gd name="T0" fmla="*/ 0 w 155"/>
                  <a:gd name="T1" fmla="*/ 18 h 128"/>
                  <a:gd name="T2" fmla="*/ 33 w 155"/>
                  <a:gd name="T3" fmla="*/ 15 h 128"/>
                  <a:gd name="T4" fmla="*/ 54 w 155"/>
                  <a:gd name="T5" fmla="*/ 0 h 128"/>
                  <a:gd name="T6" fmla="*/ 87 w 155"/>
                  <a:gd name="T7" fmla="*/ 4 h 128"/>
                  <a:gd name="T8" fmla="*/ 96 w 155"/>
                  <a:gd name="T9" fmla="*/ 16 h 128"/>
                  <a:gd name="T10" fmla="*/ 120 w 155"/>
                  <a:gd name="T11" fmla="*/ 15 h 128"/>
                  <a:gd name="T12" fmla="*/ 147 w 155"/>
                  <a:gd name="T13" fmla="*/ 19 h 128"/>
                  <a:gd name="T14" fmla="*/ 153 w 155"/>
                  <a:gd name="T15" fmla="*/ 39 h 128"/>
                  <a:gd name="T16" fmla="*/ 145 w 155"/>
                  <a:gd name="T17" fmla="*/ 57 h 128"/>
                  <a:gd name="T18" fmla="*/ 150 w 155"/>
                  <a:gd name="T19" fmla="*/ 76 h 128"/>
                  <a:gd name="T20" fmla="*/ 153 w 155"/>
                  <a:gd name="T21" fmla="*/ 99 h 128"/>
                  <a:gd name="T22" fmla="*/ 136 w 155"/>
                  <a:gd name="T23" fmla="*/ 118 h 128"/>
                  <a:gd name="T24" fmla="*/ 123 w 155"/>
                  <a:gd name="T25" fmla="*/ 124 h 128"/>
                  <a:gd name="T26" fmla="*/ 94 w 155"/>
                  <a:gd name="T27" fmla="*/ 127 h 128"/>
                  <a:gd name="T28" fmla="*/ 73 w 155"/>
                  <a:gd name="T29" fmla="*/ 121 h 128"/>
                  <a:gd name="T30" fmla="*/ 39 w 155"/>
                  <a:gd name="T31" fmla="*/ 96 h 128"/>
                  <a:gd name="T32" fmla="*/ 12 w 155"/>
                  <a:gd name="T33" fmla="*/ 88 h 128"/>
                  <a:gd name="T34" fmla="*/ 10 w 155"/>
                  <a:gd name="T35" fmla="*/ 52 h 128"/>
                  <a:gd name="T36" fmla="*/ 0 w 155"/>
                  <a:gd name="T37" fmla="*/ 1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5" h="128">
                    <a:moveTo>
                      <a:pt x="0" y="18"/>
                    </a:moveTo>
                    <a:cubicBezTo>
                      <a:pt x="5" y="17"/>
                      <a:pt x="33" y="15"/>
                      <a:pt x="33" y="15"/>
                    </a:cubicBezTo>
                    <a:cubicBezTo>
                      <a:pt x="42" y="10"/>
                      <a:pt x="42" y="2"/>
                      <a:pt x="54" y="0"/>
                    </a:cubicBezTo>
                    <a:cubicBezTo>
                      <a:pt x="78" y="1"/>
                      <a:pt x="63" y="0"/>
                      <a:pt x="87" y="4"/>
                    </a:cubicBezTo>
                    <a:cubicBezTo>
                      <a:pt x="91" y="5"/>
                      <a:pt x="96" y="16"/>
                      <a:pt x="96" y="16"/>
                    </a:cubicBezTo>
                    <a:cubicBezTo>
                      <a:pt x="100" y="18"/>
                      <a:pt x="112" y="15"/>
                      <a:pt x="120" y="15"/>
                    </a:cubicBezTo>
                    <a:cubicBezTo>
                      <a:pt x="128" y="15"/>
                      <a:pt x="142" y="15"/>
                      <a:pt x="147" y="19"/>
                    </a:cubicBezTo>
                    <a:cubicBezTo>
                      <a:pt x="153" y="23"/>
                      <a:pt x="153" y="33"/>
                      <a:pt x="153" y="39"/>
                    </a:cubicBezTo>
                    <a:cubicBezTo>
                      <a:pt x="153" y="45"/>
                      <a:pt x="145" y="51"/>
                      <a:pt x="145" y="57"/>
                    </a:cubicBezTo>
                    <a:cubicBezTo>
                      <a:pt x="148" y="73"/>
                      <a:pt x="146" y="67"/>
                      <a:pt x="150" y="76"/>
                    </a:cubicBezTo>
                    <a:cubicBezTo>
                      <a:pt x="151" y="83"/>
                      <a:pt x="155" y="92"/>
                      <a:pt x="153" y="99"/>
                    </a:cubicBezTo>
                    <a:cubicBezTo>
                      <a:pt x="151" y="106"/>
                      <a:pt x="141" y="114"/>
                      <a:pt x="136" y="118"/>
                    </a:cubicBezTo>
                    <a:cubicBezTo>
                      <a:pt x="131" y="120"/>
                      <a:pt x="127" y="121"/>
                      <a:pt x="123" y="124"/>
                    </a:cubicBezTo>
                    <a:cubicBezTo>
                      <a:pt x="117" y="125"/>
                      <a:pt x="102" y="128"/>
                      <a:pt x="94" y="127"/>
                    </a:cubicBezTo>
                    <a:cubicBezTo>
                      <a:pt x="86" y="126"/>
                      <a:pt x="82" y="126"/>
                      <a:pt x="73" y="121"/>
                    </a:cubicBezTo>
                    <a:cubicBezTo>
                      <a:pt x="61" y="120"/>
                      <a:pt x="52" y="99"/>
                      <a:pt x="39" y="96"/>
                    </a:cubicBezTo>
                    <a:cubicBezTo>
                      <a:pt x="28" y="88"/>
                      <a:pt x="25" y="92"/>
                      <a:pt x="12" y="88"/>
                    </a:cubicBezTo>
                    <a:cubicBezTo>
                      <a:pt x="6" y="80"/>
                      <a:pt x="11" y="64"/>
                      <a:pt x="10" y="52"/>
                    </a:cubicBezTo>
                    <a:cubicBezTo>
                      <a:pt x="8" y="40"/>
                      <a:pt x="1" y="25"/>
                      <a:pt x="0" y="1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06" name="Freeform 102">
                <a:extLst>
                  <a:ext uri="{FF2B5EF4-FFF2-40B4-BE49-F238E27FC236}">
                    <a16:creationId xmlns:a16="http://schemas.microsoft.com/office/drawing/2014/main" id="{53236250-3D5B-4CC7-8121-E4BBDBC9A337}"/>
                  </a:ext>
                </a:extLst>
              </p:cNvPr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gray">
              <a:xfrm>
                <a:off x="4524464" y="2525711"/>
                <a:ext cx="173435" cy="158852"/>
              </a:xfrm>
              <a:custGeom>
                <a:avLst/>
                <a:gdLst/>
                <a:ahLst/>
                <a:cxnLst/>
                <a:rect l="l" t="t" r="r" b="b"/>
                <a:pathLst>
                  <a:path w="173435" h="158852">
                    <a:moveTo>
                      <a:pt x="161866" y="104174"/>
                    </a:moveTo>
                    <a:cubicBezTo>
                      <a:pt x="177799" y="106608"/>
                      <a:pt x="177890" y="118745"/>
                      <a:pt x="158299" y="114301"/>
                    </a:cubicBezTo>
                    <a:close/>
                    <a:moveTo>
                      <a:pt x="158299" y="103189"/>
                    </a:moveTo>
                    <a:cubicBezTo>
                      <a:pt x="161692" y="103189"/>
                      <a:pt x="162413" y="102751"/>
                      <a:pt x="161866" y="104174"/>
                    </a:cubicBezTo>
                    <a:close/>
                    <a:moveTo>
                      <a:pt x="51691" y="0"/>
                    </a:moveTo>
                    <a:cubicBezTo>
                      <a:pt x="61383" y="3175"/>
                      <a:pt x="74297" y="22223"/>
                      <a:pt x="74297" y="22223"/>
                    </a:cubicBezTo>
                    <a:cubicBezTo>
                      <a:pt x="71074" y="39684"/>
                      <a:pt x="59766" y="44446"/>
                      <a:pt x="64606" y="57145"/>
                    </a:cubicBezTo>
                    <a:cubicBezTo>
                      <a:pt x="56531" y="79368"/>
                      <a:pt x="51691" y="74605"/>
                      <a:pt x="67840" y="79368"/>
                    </a:cubicBezTo>
                    <a:lnTo>
                      <a:pt x="78619" y="73638"/>
                    </a:lnTo>
                    <a:cubicBezTo>
                      <a:pt x="82783" y="68355"/>
                      <a:pt x="73087" y="65081"/>
                      <a:pt x="103383" y="69843"/>
                    </a:cubicBezTo>
                    <a:cubicBezTo>
                      <a:pt x="109840" y="87320"/>
                      <a:pt x="100148" y="109543"/>
                      <a:pt x="96914" y="127004"/>
                    </a:cubicBezTo>
                    <a:cubicBezTo>
                      <a:pt x="72691" y="119067"/>
                      <a:pt x="82383" y="125417"/>
                      <a:pt x="67840" y="111131"/>
                    </a:cubicBezTo>
                    <a:cubicBezTo>
                      <a:pt x="59766" y="134941"/>
                      <a:pt x="67840" y="128591"/>
                      <a:pt x="45223" y="133353"/>
                    </a:cubicBezTo>
                    <a:cubicBezTo>
                      <a:pt x="42000" y="136528"/>
                      <a:pt x="32297" y="133353"/>
                      <a:pt x="30692" y="138115"/>
                    </a:cubicBezTo>
                    <a:cubicBezTo>
                      <a:pt x="27457" y="142877"/>
                      <a:pt x="37149" y="160338"/>
                      <a:pt x="32297" y="158751"/>
                    </a:cubicBezTo>
                    <a:cubicBezTo>
                      <a:pt x="12914" y="155576"/>
                      <a:pt x="9692" y="109543"/>
                      <a:pt x="9692" y="98432"/>
                    </a:cubicBezTo>
                    <a:lnTo>
                      <a:pt x="9692" y="123829"/>
                    </a:lnTo>
                    <a:cubicBezTo>
                      <a:pt x="8074" y="115893"/>
                      <a:pt x="8074" y="106368"/>
                      <a:pt x="6457" y="98432"/>
                    </a:cubicBezTo>
                    <a:cubicBezTo>
                      <a:pt x="4840" y="92082"/>
                      <a:pt x="0" y="79368"/>
                      <a:pt x="0" y="79368"/>
                    </a:cubicBezTo>
                    <a:cubicBezTo>
                      <a:pt x="3223" y="44446"/>
                      <a:pt x="-4852" y="36509"/>
                      <a:pt x="32297" y="31747"/>
                    </a:cubicBezTo>
                    <a:cubicBezTo>
                      <a:pt x="43606" y="20636"/>
                      <a:pt x="48457" y="14286"/>
                      <a:pt x="51691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07" name="Freeform 105">
                <a:extLst>
                  <a:ext uri="{FF2B5EF4-FFF2-40B4-BE49-F238E27FC236}">
                    <a16:creationId xmlns:a16="http://schemas.microsoft.com/office/drawing/2014/main" id="{88A6DB5C-664F-47BF-AE3B-1C8DE32F5A6B}"/>
                  </a:ext>
                </a:extLst>
              </p:cNvPr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gray">
              <a:xfrm>
                <a:off x="5783263" y="3203575"/>
                <a:ext cx="265113" cy="266700"/>
              </a:xfrm>
              <a:custGeom>
                <a:avLst/>
                <a:gdLst>
                  <a:gd name="T0" fmla="*/ 165 w 165"/>
                  <a:gd name="T1" fmla="*/ 37 h 168"/>
                  <a:gd name="T2" fmla="*/ 159 w 165"/>
                  <a:gd name="T3" fmla="*/ 45 h 168"/>
                  <a:gd name="T4" fmla="*/ 159 w 165"/>
                  <a:gd name="T5" fmla="*/ 70 h 168"/>
                  <a:gd name="T6" fmla="*/ 159 w 165"/>
                  <a:gd name="T7" fmla="*/ 81 h 168"/>
                  <a:gd name="T8" fmla="*/ 147 w 165"/>
                  <a:gd name="T9" fmla="*/ 85 h 168"/>
                  <a:gd name="T10" fmla="*/ 133 w 165"/>
                  <a:gd name="T11" fmla="*/ 85 h 168"/>
                  <a:gd name="T12" fmla="*/ 144 w 165"/>
                  <a:gd name="T13" fmla="*/ 96 h 168"/>
                  <a:gd name="T14" fmla="*/ 132 w 165"/>
                  <a:gd name="T15" fmla="*/ 103 h 168"/>
                  <a:gd name="T16" fmla="*/ 130 w 165"/>
                  <a:gd name="T17" fmla="*/ 123 h 168"/>
                  <a:gd name="T18" fmla="*/ 112 w 165"/>
                  <a:gd name="T19" fmla="*/ 127 h 168"/>
                  <a:gd name="T20" fmla="*/ 84 w 165"/>
                  <a:gd name="T21" fmla="*/ 138 h 168"/>
                  <a:gd name="T22" fmla="*/ 84 w 165"/>
                  <a:gd name="T23" fmla="*/ 157 h 168"/>
                  <a:gd name="T24" fmla="*/ 70 w 165"/>
                  <a:gd name="T25" fmla="*/ 163 h 168"/>
                  <a:gd name="T26" fmla="*/ 58 w 165"/>
                  <a:gd name="T27" fmla="*/ 160 h 168"/>
                  <a:gd name="T28" fmla="*/ 48 w 165"/>
                  <a:gd name="T29" fmla="*/ 166 h 168"/>
                  <a:gd name="T30" fmla="*/ 7 w 165"/>
                  <a:gd name="T31" fmla="*/ 165 h 168"/>
                  <a:gd name="T32" fmla="*/ 14 w 165"/>
                  <a:gd name="T33" fmla="*/ 149 h 168"/>
                  <a:gd name="T34" fmla="*/ 10 w 165"/>
                  <a:gd name="T35" fmla="*/ 134 h 168"/>
                  <a:gd name="T36" fmla="*/ 10 w 165"/>
                  <a:gd name="T37" fmla="*/ 127 h 168"/>
                  <a:gd name="T38" fmla="*/ 0 w 165"/>
                  <a:gd name="T39" fmla="*/ 120 h 168"/>
                  <a:gd name="T40" fmla="*/ 7 w 165"/>
                  <a:gd name="T41" fmla="*/ 88 h 168"/>
                  <a:gd name="T42" fmla="*/ 10 w 165"/>
                  <a:gd name="T43" fmla="*/ 79 h 168"/>
                  <a:gd name="T44" fmla="*/ 10 w 165"/>
                  <a:gd name="T45" fmla="*/ 73 h 168"/>
                  <a:gd name="T46" fmla="*/ 9 w 165"/>
                  <a:gd name="T47" fmla="*/ 58 h 168"/>
                  <a:gd name="T48" fmla="*/ 25 w 165"/>
                  <a:gd name="T49" fmla="*/ 61 h 168"/>
                  <a:gd name="T50" fmla="*/ 35 w 165"/>
                  <a:gd name="T51" fmla="*/ 67 h 168"/>
                  <a:gd name="T52" fmla="*/ 46 w 165"/>
                  <a:gd name="T53" fmla="*/ 55 h 168"/>
                  <a:gd name="T54" fmla="*/ 58 w 165"/>
                  <a:gd name="T55" fmla="*/ 50 h 168"/>
                  <a:gd name="T56" fmla="*/ 67 w 165"/>
                  <a:gd name="T57" fmla="*/ 28 h 168"/>
                  <a:gd name="T58" fmla="*/ 79 w 165"/>
                  <a:gd name="T59" fmla="*/ 21 h 168"/>
                  <a:gd name="T60" fmla="*/ 94 w 165"/>
                  <a:gd name="T61" fmla="*/ 32 h 168"/>
                  <a:gd name="T62" fmla="*/ 112 w 165"/>
                  <a:gd name="T63" fmla="*/ 28 h 168"/>
                  <a:gd name="T64" fmla="*/ 136 w 165"/>
                  <a:gd name="T65" fmla="*/ 28 h 168"/>
                  <a:gd name="T66" fmla="*/ 149 w 165"/>
                  <a:gd name="T67" fmla="*/ 16 h 168"/>
                  <a:gd name="T68" fmla="*/ 153 w 165"/>
                  <a:gd name="T69" fmla="*/ 1 h 168"/>
                  <a:gd name="T70" fmla="*/ 162 w 165"/>
                  <a:gd name="T71" fmla="*/ 9 h 168"/>
                  <a:gd name="T72" fmla="*/ 165 w 165"/>
                  <a:gd name="T73" fmla="*/ 37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5" h="168">
                    <a:moveTo>
                      <a:pt x="165" y="37"/>
                    </a:moveTo>
                    <a:cubicBezTo>
                      <a:pt x="165" y="43"/>
                      <a:pt x="160" y="40"/>
                      <a:pt x="159" y="45"/>
                    </a:cubicBezTo>
                    <a:cubicBezTo>
                      <a:pt x="158" y="50"/>
                      <a:pt x="159" y="64"/>
                      <a:pt x="159" y="70"/>
                    </a:cubicBezTo>
                    <a:cubicBezTo>
                      <a:pt x="159" y="76"/>
                      <a:pt x="161" y="78"/>
                      <a:pt x="159" y="81"/>
                    </a:cubicBezTo>
                    <a:cubicBezTo>
                      <a:pt x="157" y="84"/>
                      <a:pt x="151" y="84"/>
                      <a:pt x="147" y="85"/>
                    </a:cubicBezTo>
                    <a:cubicBezTo>
                      <a:pt x="143" y="86"/>
                      <a:pt x="133" y="83"/>
                      <a:pt x="133" y="85"/>
                    </a:cubicBezTo>
                    <a:cubicBezTo>
                      <a:pt x="133" y="87"/>
                      <a:pt x="144" y="93"/>
                      <a:pt x="144" y="96"/>
                    </a:cubicBezTo>
                    <a:cubicBezTo>
                      <a:pt x="144" y="99"/>
                      <a:pt x="134" y="99"/>
                      <a:pt x="132" y="103"/>
                    </a:cubicBezTo>
                    <a:cubicBezTo>
                      <a:pt x="130" y="107"/>
                      <a:pt x="133" y="119"/>
                      <a:pt x="130" y="123"/>
                    </a:cubicBezTo>
                    <a:cubicBezTo>
                      <a:pt x="127" y="127"/>
                      <a:pt x="120" y="124"/>
                      <a:pt x="112" y="127"/>
                    </a:cubicBezTo>
                    <a:cubicBezTo>
                      <a:pt x="104" y="130"/>
                      <a:pt x="89" y="133"/>
                      <a:pt x="84" y="138"/>
                    </a:cubicBezTo>
                    <a:cubicBezTo>
                      <a:pt x="79" y="143"/>
                      <a:pt x="86" y="153"/>
                      <a:pt x="84" y="157"/>
                    </a:cubicBezTo>
                    <a:cubicBezTo>
                      <a:pt x="82" y="161"/>
                      <a:pt x="74" y="163"/>
                      <a:pt x="70" y="163"/>
                    </a:cubicBezTo>
                    <a:cubicBezTo>
                      <a:pt x="66" y="163"/>
                      <a:pt x="62" y="159"/>
                      <a:pt x="58" y="160"/>
                    </a:cubicBezTo>
                    <a:cubicBezTo>
                      <a:pt x="54" y="161"/>
                      <a:pt x="56" y="165"/>
                      <a:pt x="48" y="166"/>
                    </a:cubicBezTo>
                    <a:cubicBezTo>
                      <a:pt x="40" y="167"/>
                      <a:pt x="13" y="168"/>
                      <a:pt x="7" y="165"/>
                    </a:cubicBezTo>
                    <a:cubicBezTo>
                      <a:pt x="1" y="162"/>
                      <a:pt x="14" y="154"/>
                      <a:pt x="14" y="149"/>
                    </a:cubicBezTo>
                    <a:cubicBezTo>
                      <a:pt x="14" y="144"/>
                      <a:pt x="11" y="138"/>
                      <a:pt x="10" y="134"/>
                    </a:cubicBezTo>
                    <a:cubicBezTo>
                      <a:pt x="9" y="130"/>
                      <a:pt x="12" y="129"/>
                      <a:pt x="10" y="127"/>
                    </a:cubicBezTo>
                    <a:cubicBezTo>
                      <a:pt x="8" y="125"/>
                      <a:pt x="0" y="126"/>
                      <a:pt x="0" y="120"/>
                    </a:cubicBezTo>
                    <a:cubicBezTo>
                      <a:pt x="0" y="114"/>
                      <a:pt x="5" y="95"/>
                      <a:pt x="7" y="88"/>
                    </a:cubicBezTo>
                    <a:cubicBezTo>
                      <a:pt x="9" y="81"/>
                      <a:pt x="10" y="81"/>
                      <a:pt x="10" y="79"/>
                    </a:cubicBezTo>
                    <a:cubicBezTo>
                      <a:pt x="10" y="77"/>
                      <a:pt x="10" y="76"/>
                      <a:pt x="10" y="73"/>
                    </a:cubicBezTo>
                    <a:cubicBezTo>
                      <a:pt x="10" y="70"/>
                      <a:pt x="6" y="60"/>
                      <a:pt x="9" y="58"/>
                    </a:cubicBezTo>
                    <a:cubicBezTo>
                      <a:pt x="12" y="56"/>
                      <a:pt x="21" y="60"/>
                      <a:pt x="25" y="61"/>
                    </a:cubicBezTo>
                    <a:cubicBezTo>
                      <a:pt x="29" y="62"/>
                      <a:pt x="32" y="68"/>
                      <a:pt x="35" y="67"/>
                    </a:cubicBezTo>
                    <a:cubicBezTo>
                      <a:pt x="38" y="66"/>
                      <a:pt x="42" y="58"/>
                      <a:pt x="46" y="55"/>
                    </a:cubicBezTo>
                    <a:cubicBezTo>
                      <a:pt x="50" y="52"/>
                      <a:pt x="55" y="54"/>
                      <a:pt x="58" y="50"/>
                    </a:cubicBezTo>
                    <a:cubicBezTo>
                      <a:pt x="61" y="46"/>
                      <a:pt x="64" y="33"/>
                      <a:pt x="67" y="28"/>
                    </a:cubicBezTo>
                    <a:cubicBezTo>
                      <a:pt x="70" y="23"/>
                      <a:pt x="75" y="20"/>
                      <a:pt x="79" y="21"/>
                    </a:cubicBezTo>
                    <a:cubicBezTo>
                      <a:pt x="83" y="22"/>
                      <a:pt x="89" y="31"/>
                      <a:pt x="94" y="32"/>
                    </a:cubicBezTo>
                    <a:cubicBezTo>
                      <a:pt x="99" y="33"/>
                      <a:pt x="105" y="29"/>
                      <a:pt x="112" y="28"/>
                    </a:cubicBezTo>
                    <a:cubicBezTo>
                      <a:pt x="119" y="27"/>
                      <a:pt x="130" y="30"/>
                      <a:pt x="136" y="28"/>
                    </a:cubicBezTo>
                    <a:cubicBezTo>
                      <a:pt x="142" y="26"/>
                      <a:pt x="146" y="20"/>
                      <a:pt x="149" y="16"/>
                    </a:cubicBezTo>
                    <a:cubicBezTo>
                      <a:pt x="152" y="12"/>
                      <a:pt x="151" y="2"/>
                      <a:pt x="153" y="1"/>
                    </a:cubicBezTo>
                    <a:cubicBezTo>
                      <a:pt x="155" y="0"/>
                      <a:pt x="161" y="3"/>
                      <a:pt x="162" y="9"/>
                    </a:cubicBezTo>
                    <a:cubicBezTo>
                      <a:pt x="163" y="15"/>
                      <a:pt x="165" y="31"/>
                      <a:pt x="165" y="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08" name="Freeform 106">
                <a:extLst>
                  <a:ext uri="{FF2B5EF4-FFF2-40B4-BE49-F238E27FC236}">
                    <a16:creationId xmlns:a16="http://schemas.microsoft.com/office/drawing/2014/main" id="{84C43345-6F81-4950-AFC7-B1B13752B4F7}"/>
                  </a:ext>
                </a:extLst>
              </p:cNvPr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gray">
              <a:xfrm>
                <a:off x="5802313" y="3255963"/>
                <a:ext cx="331788" cy="355600"/>
              </a:xfrm>
              <a:custGeom>
                <a:avLst/>
                <a:gdLst>
                  <a:gd name="T0" fmla="*/ 3 w 206"/>
                  <a:gd name="T1" fmla="*/ 133 h 224"/>
                  <a:gd name="T2" fmla="*/ 6 w 206"/>
                  <a:gd name="T3" fmla="*/ 145 h 224"/>
                  <a:gd name="T4" fmla="*/ 19 w 206"/>
                  <a:gd name="T5" fmla="*/ 150 h 224"/>
                  <a:gd name="T6" fmla="*/ 25 w 206"/>
                  <a:gd name="T7" fmla="*/ 165 h 224"/>
                  <a:gd name="T8" fmla="*/ 28 w 206"/>
                  <a:gd name="T9" fmla="*/ 177 h 224"/>
                  <a:gd name="T10" fmla="*/ 16 w 206"/>
                  <a:gd name="T11" fmla="*/ 178 h 224"/>
                  <a:gd name="T12" fmla="*/ 7 w 206"/>
                  <a:gd name="T13" fmla="*/ 188 h 224"/>
                  <a:gd name="T14" fmla="*/ 7 w 206"/>
                  <a:gd name="T15" fmla="*/ 202 h 224"/>
                  <a:gd name="T16" fmla="*/ 25 w 206"/>
                  <a:gd name="T17" fmla="*/ 199 h 224"/>
                  <a:gd name="T18" fmla="*/ 37 w 206"/>
                  <a:gd name="T19" fmla="*/ 196 h 224"/>
                  <a:gd name="T20" fmla="*/ 55 w 206"/>
                  <a:gd name="T21" fmla="*/ 201 h 224"/>
                  <a:gd name="T22" fmla="*/ 64 w 206"/>
                  <a:gd name="T23" fmla="*/ 190 h 224"/>
                  <a:gd name="T24" fmla="*/ 75 w 206"/>
                  <a:gd name="T25" fmla="*/ 199 h 224"/>
                  <a:gd name="T26" fmla="*/ 88 w 206"/>
                  <a:gd name="T27" fmla="*/ 208 h 224"/>
                  <a:gd name="T28" fmla="*/ 94 w 206"/>
                  <a:gd name="T29" fmla="*/ 222 h 224"/>
                  <a:gd name="T30" fmla="*/ 108 w 206"/>
                  <a:gd name="T31" fmla="*/ 219 h 224"/>
                  <a:gd name="T32" fmla="*/ 143 w 206"/>
                  <a:gd name="T33" fmla="*/ 218 h 224"/>
                  <a:gd name="T34" fmla="*/ 149 w 206"/>
                  <a:gd name="T35" fmla="*/ 206 h 224"/>
                  <a:gd name="T36" fmla="*/ 130 w 206"/>
                  <a:gd name="T37" fmla="*/ 180 h 224"/>
                  <a:gd name="T38" fmla="*/ 123 w 206"/>
                  <a:gd name="T39" fmla="*/ 166 h 224"/>
                  <a:gd name="T40" fmla="*/ 135 w 206"/>
                  <a:gd name="T41" fmla="*/ 161 h 224"/>
                  <a:gd name="T42" fmla="*/ 165 w 206"/>
                  <a:gd name="T43" fmla="*/ 164 h 224"/>
                  <a:gd name="T44" fmla="*/ 165 w 206"/>
                  <a:gd name="T45" fmla="*/ 143 h 224"/>
                  <a:gd name="T46" fmla="*/ 180 w 206"/>
                  <a:gd name="T47" fmla="*/ 130 h 224"/>
                  <a:gd name="T48" fmla="*/ 202 w 206"/>
                  <a:gd name="T49" fmla="*/ 100 h 224"/>
                  <a:gd name="T50" fmla="*/ 204 w 206"/>
                  <a:gd name="T51" fmla="*/ 78 h 224"/>
                  <a:gd name="T52" fmla="*/ 187 w 206"/>
                  <a:gd name="T53" fmla="*/ 66 h 224"/>
                  <a:gd name="T54" fmla="*/ 181 w 206"/>
                  <a:gd name="T55" fmla="*/ 57 h 224"/>
                  <a:gd name="T56" fmla="*/ 180 w 206"/>
                  <a:gd name="T57" fmla="*/ 45 h 224"/>
                  <a:gd name="T58" fmla="*/ 186 w 206"/>
                  <a:gd name="T59" fmla="*/ 30 h 224"/>
                  <a:gd name="T60" fmla="*/ 168 w 206"/>
                  <a:gd name="T61" fmla="*/ 15 h 224"/>
                  <a:gd name="T62" fmla="*/ 165 w 206"/>
                  <a:gd name="T63" fmla="*/ 0 h 224"/>
                  <a:gd name="T64" fmla="*/ 145 w 206"/>
                  <a:gd name="T65" fmla="*/ 16 h 224"/>
                  <a:gd name="T66" fmla="*/ 147 w 206"/>
                  <a:gd name="T67" fmla="*/ 30 h 224"/>
                  <a:gd name="T68" fmla="*/ 147 w 206"/>
                  <a:gd name="T69" fmla="*/ 49 h 224"/>
                  <a:gd name="T70" fmla="*/ 135 w 206"/>
                  <a:gd name="T71" fmla="*/ 51 h 224"/>
                  <a:gd name="T72" fmla="*/ 131 w 206"/>
                  <a:gd name="T73" fmla="*/ 58 h 224"/>
                  <a:gd name="T74" fmla="*/ 121 w 206"/>
                  <a:gd name="T75" fmla="*/ 67 h 224"/>
                  <a:gd name="T76" fmla="*/ 117 w 206"/>
                  <a:gd name="T77" fmla="*/ 88 h 224"/>
                  <a:gd name="T78" fmla="*/ 97 w 206"/>
                  <a:gd name="T79" fmla="*/ 96 h 224"/>
                  <a:gd name="T80" fmla="*/ 76 w 206"/>
                  <a:gd name="T81" fmla="*/ 100 h 224"/>
                  <a:gd name="T82" fmla="*/ 72 w 206"/>
                  <a:gd name="T83" fmla="*/ 117 h 224"/>
                  <a:gd name="T84" fmla="*/ 69 w 206"/>
                  <a:gd name="T85" fmla="*/ 129 h 224"/>
                  <a:gd name="T86" fmla="*/ 58 w 206"/>
                  <a:gd name="T87" fmla="*/ 130 h 224"/>
                  <a:gd name="T88" fmla="*/ 48 w 206"/>
                  <a:gd name="T89" fmla="*/ 129 h 224"/>
                  <a:gd name="T90" fmla="*/ 27 w 206"/>
                  <a:gd name="T91" fmla="*/ 133 h 224"/>
                  <a:gd name="T92" fmla="*/ 3 w 206"/>
                  <a:gd name="T93" fmla="*/ 13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06" h="224">
                    <a:moveTo>
                      <a:pt x="3" y="133"/>
                    </a:moveTo>
                    <a:cubicBezTo>
                      <a:pt x="0" y="135"/>
                      <a:pt x="3" y="142"/>
                      <a:pt x="6" y="145"/>
                    </a:cubicBezTo>
                    <a:cubicBezTo>
                      <a:pt x="9" y="148"/>
                      <a:pt x="16" y="147"/>
                      <a:pt x="19" y="150"/>
                    </a:cubicBezTo>
                    <a:cubicBezTo>
                      <a:pt x="22" y="153"/>
                      <a:pt x="24" y="161"/>
                      <a:pt x="25" y="165"/>
                    </a:cubicBezTo>
                    <a:cubicBezTo>
                      <a:pt x="26" y="169"/>
                      <a:pt x="29" y="175"/>
                      <a:pt x="28" y="177"/>
                    </a:cubicBezTo>
                    <a:cubicBezTo>
                      <a:pt x="27" y="179"/>
                      <a:pt x="19" y="176"/>
                      <a:pt x="16" y="178"/>
                    </a:cubicBezTo>
                    <a:cubicBezTo>
                      <a:pt x="13" y="180"/>
                      <a:pt x="8" y="184"/>
                      <a:pt x="7" y="188"/>
                    </a:cubicBezTo>
                    <a:cubicBezTo>
                      <a:pt x="6" y="192"/>
                      <a:pt x="4" y="200"/>
                      <a:pt x="7" y="202"/>
                    </a:cubicBezTo>
                    <a:cubicBezTo>
                      <a:pt x="10" y="204"/>
                      <a:pt x="20" y="200"/>
                      <a:pt x="25" y="199"/>
                    </a:cubicBezTo>
                    <a:cubicBezTo>
                      <a:pt x="30" y="198"/>
                      <a:pt x="32" y="196"/>
                      <a:pt x="37" y="196"/>
                    </a:cubicBezTo>
                    <a:cubicBezTo>
                      <a:pt x="42" y="196"/>
                      <a:pt x="51" y="202"/>
                      <a:pt x="55" y="201"/>
                    </a:cubicBezTo>
                    <a:cubicBezTo>
                      <a:pt x="59" y="200"/>
                      <a:pt x="61" y="190"/>
                      <a:pt x="64" y="190"/>
                    </a:cubicBezTo>
                    <a:cubicBezTo>
                      <a:pt x="67" y="190"/>
                      <a:pt x="71" y="196"/>
                      <a:pt x="75" y="199"/>
                    </a:cubicBezTo>
                    <a:cubicBezTo>
                      <a:pt x="79" y="202"/>
                      <a:pt x="85" y="204"/>
                      <a:pt x="88" y="208"/>
                    </a:cubicBezTo>
                    <a:cubicBezTo>
                      <a:pt x="91" y="212"/>
                      <a:pt x="91" y="220"/>
                      <a:pt x="94" y="222"/>
                    </a:cubicBezTo>
                    <a:cubicBezTo>
                      <a:pt x="97" y="224"/>
                      <a:pt x="100" y="220"/>
                      <a:pt x="108" y="219"/>
                    </a:cubicBezTo>
                    <a:cubicBezTo>
                      <a:pt x="116" y="218"/>
                      <a:pt x="136" y="220"/>
                      <a:pt x="143" y="218"/>
                    </a:cubicBezTo>
                    <a:cubicBezTo>
                      <a:pt x="150" y="216"/>
                      <a:pt x="151" y="212"/>
                      <a:pt x="149" y="206"/>
                    </a:cubicBezTo>
                    <a:cubicBezTo>
                      <a:pt x="147" y="200"/>
                      <a:pt x="134" y="187"/>
                      <a:pt x="130" y="180"/>
                    </a:cubicBezTo>
                    <a:cubicBezTo>
                      <a:pt x="126" y="173"/>
                      <a:pt x="122" y="169"/>
                      <a:pt x="123" y="166"/>
                    </a:cubicBezTo>
                    <a:cubicBezTo>
                      <a:pt x="124" y="163"/>
                      <a:pt x="128" y="161"/>
                      <a:pt x="135" y="161"/>
                    </a:cubicBezTo>
                    <a:cubicBezTo>
                      <a:pt x="142" y="161"/>
                      <a:pt x="160" y="167"/>
                      <a:pt x="165" y="164"/>
                    </a:cubicBezTo>
                    <a:cubicBezTo>
                      <a:pt x="170" y="161"/>
                      <a:pt x="163" y="149"/>
                      <a:pt x="165" y="143"/>
                    </a:cubicBezTo>
                    <a:cubicBezTo>
                      <a:pt x="167" y="137"/>
                      <a:pt x="174" y="137"/>
                      <a:pt x="180" y="130"/>
                    </a:cubicBezTo>
                    <a:cubicBezTo>
                      <a:pt x="186" y="123"/>
                      <a:pt x="198" y="109"/>
                      <a:pt x="202" y="100"/>
                    </a:cubicBezTo>
                    <a:cubicBezTo>
                      <a:pt x="206" y="91"/>
                      <a:pt x="206" y="84"/>
                      <a:pt x="204" y="78"/>
                    </a:cubicBezTo>
                    <a:cubicBezTo>
                      <a:pt x="202" y="72"/>
                      <a:pt x="191" y="69"/>
                      <a:pt x="187" y="66"/>
                    </a:cubicBezTo>
                    <a:cubicBezTo>
                      <a:pt x="183" y="63"/>
                      <a:pt x="182" y="60"/>
                      <a:pt x="181" y="57"/>
                    </a:cubicBezTo>
                    <a:cubicBezTo>
                      <a:pt x="180" y="54"/>
                      <a:pt x="179" y="49"/>
                      <a:pt x="180" y="45"/>
                    </a:cubicBezTo>
                    <a:cubicBezTo>
                      <a:pt x="181" y="41"/>
                      <a:pt x="188" y="35"/>
                      <a:pt x="186" y="30"/>
                    </a:cubicBezTo>
                    <a:cubicBezTo>
                      <a:pt x="184" y="25"/>
                      <a:pt x="171" y="20"/>
                      <a:pt x="168" y="15"/>
                    </a:cubicBezTo>
                    <a:cubicBezTo>
                      <a:pt x="165" y="10"/>
                      <a:pt x="169" y="0"/>
                      <a:pt x="165" y="0"/>
                    </a:cubicBezTo>
                    <a:cubicBezTo>
                      <a:pt x="161" y="0"/>
                      <a:pt x="148" y="11"/>
                      <a:pt x="145" y="16"/>
                    </a:cubicBezTo>
                    <a:cubicBezTo>
                      <a:pt x="142" y="21"/>
                      <a:pt x="147" y="25"/>
                      <a:pt x="147" y="30"/>
                    </a:cubicBezTo>
                    <a:cubicBezTo>
                      <a:pt x="147" y="35"/>
                      <a:pt x="149" y="46"/>
                      <a:pt x="147" y="49"/>
                    </a:cubicBezTo>
                    <a:cubicBezTo>
                      <a:pt x="145" y="52"/>
                      <a:pt x="138" y="50"/>
                      <a:pt x="135" y="51"/>
                    </a:cubicBezTo>
                    <a:cubicBezTo>
                      <a:pt x="132" y="52"/>
                      <a:pt x="133" y="55"/>
                      <a:pt x="131" y="58"/>
                    </a:cubicBezTo>
                    <a:cubicBezTo>
                      <a:pt x="129" y="61"/>
                      <a:pt x="123" y="62"/>
                      <a:pt x="121" y="67"/>
                    </a:cubicBezTo>
                    <a:cubicBezTo>
                      <a:pt x="119" y="72"/>
                      <a:pt x="121" y="83"/>
                      <a:pt x="117" y="88"/>
                    </a:cubicBezTo>
                    <a:cubicBezTo>
                      <a:pt x="113" y="93"/>
                      <a:pt x="104" y="94"/>
                      <a:pt x="97" y="96"/>
                    </a:cubicBezTo>
                    <a:cubicBezTo>
                      <a:pt x="90" y="98"/>
                      <a:pt x="80" y="97"/>
                      <a:pt x="76" y="100"/>
                    </a:cubicBezTo>
                    <a:cubicBezTo>
                      <a:pt x="72" y="103"/>
                      <a:pt x="73" y="112"/>
                      <a:pt x="72" y="117"/>
                    </a:cubicBezTo>
                    <a:cubicBezTo>
                      <a:pt x="71" y="122"/>
                      <a:pt x="71" y="127"/>
                      <a:pt x="69" y="129"/>
                    </a:cubicBezTo>
                    <a:cubicBezTo>
                      <a:pt x="67" y="131"/>
                      <a:pt x="61" y="130"/>
                      <a:pt x="58" y="130"/>
                    </a:cubicBezTo>
                    <a:cubicBezTo>
                      <a:pt x="55" y="130"/>
                      <a:pt x="53" y="129"/>
                      <a:pt x="48" y="129"/>
                    </a:cubicBezTo>
                    <a:cubicBezTo>
                      <a:pt x="43" y="129"/>
                      <a:pt x="33" y="132"/>
                      <a:pt x="27" y="133"/>
                    </a:cubicBezTo>
                    <a:cubicBezTo>
                      <a:pt x="21" y="134"/>
                      <a:pt x="6" y="131"/>
                      <a:pt x="3" y="13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09" name="Freeform 107">
                <a:extLst>
                  <a:ext uri="{FF2B5EF4-FFF2-40B4-BE49-F238E27FC236}">
                    <a16:creationId xmlns:a16="http://schemas.microsoft.com/office/drawing/2014/main" id="{8455522A-FBF6-4D36-AA71-A3A075E798DB}"/>
                  </a:ext>
                </a:extLst>
              </p:cNvPr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gray">
              <a:xfrm>
                <a:off x="4583113" y="2867025"/>
                <a:ext cx="160338" cy="96838"/>
              </a:xfrm>
              <a:custGeom>
                <a:avLst/>
                <a:gdLst>
                  <a:gd name="T0" fmla="*/ 12 w 100"/>
                  <a:gd name="T1" fmla="*/ 37 h 61"/>
                  <a:gd name="T2" fmla="*/ 20 w 100"/>
                  <a:gd name="T3" fmla="*/ 31 h 61"/>
                  <a:gd name="T4" fmla="*/ 30 w 100"/>
                  <a:gd name="T5" fmla="*/ 29 h 61"/>
                  <a:gd name="T6" fmla="*/ 49 w 100"/>
                  <a:gd name="T7" fmla="*/ 7 h 61"/>
                  <a:gd name="T8" fmla="*/ 73 w 100"/>
                  <a:gd name="T9" fmla="*/ 0 h 61"/>
                  <a:gd name="T10" fmla="*/ 92 w 100"/>
                  <a:gd name="T11" fmla="*/ 6 h 61"/>
                  <a:gd name="T12" fmla="*/ 98 w 100"/>
                  <a:gd name="T13" fmla="*/ 21 h 61"/>
                  <a:gd name="T14" fmla="*/ 97 w 100"/>
                  <a:gd name="T15" fmla="*/ 33 h 61"/>
                  <a:gd name="T16" fmla="*/ 91 w 100"/>
                  <a:gd name="T17" fmla="*/ 34 h 61"/>
                  <a:gd name="T18" fmla="*/ 71 w 100"/>
                  <a:gd name="T19" fmla="*/ 52 h 61"/>
                  <a:gd name="T20" fmla="*/ 61 w 100"/>
                  <a:gd name="T21" fmla="*/ 60 h 61"/>
                  <a:gd name="T22" fmla="*/ 34 w 100"/>
                  <a:gd name="T23" fmla="*/ 51 h 61"/>
                  <a:gd name="T24" fmla="*/ 16 w 100"/>
                  <a:gd name="T25" fmla="*/ 51 h 61"/>
                  <a:gd name="T26" fmla="*/ 7 w 100"/>
                  <a:gd name="T27" fmla="*/ 51 h 61"/>
                  <a:gd name="T28" fmla="*/ 2 w 100"/>
                  <a:gd name="T29" fmla="*/ 49 h 61"/>
                  <a:gd name="T30" fmla="*/ 12 w 100"/>
                  <a:gd name="T31" fmla="*/ 3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" h="61">
                    <a:moveTo>
                      <a:pt x="12" y="37"/>
                    </a:moveTo>
                    <a:cubicBezTo>
                      <a:pt x="10" y="34"/>
                      <a:pt x="17" y="32"/>
                      <a:pt x="20" y="31"/>
                    </a:cubicBezTo>
                    <a:cubicBezTo>
                      <a:pt x="23" y="30"/>
                      <a:pt x="25" y="33"/>
                      <a:pt x="30" y="29"/>
                    </a:cubicBezTo>
                    <a:cubicBezTo>
                      <a:pt x="35" y="25"/>
                      <a:pt x="42" y="12"/>
                      <a:pt x="49" y="7"/>
                    </a:cubicBezTo>
                    <a:cubicBezTo>
                      <a:pt x="55" y="2"/>
                      <a:pt x="65" y="2"/>
                      <a:pt x="73" y="0"/>
                    </a:cubicBezTo>
                    <a:cubicBezTo>
                      <a:pt x="80" y="1"/>
                      <a:pt x="85" y="4"/>
                      <a:pt x="92" y="6"/>
                    </a:cubicBezTo>
                    <a:cubicBezTo>
                      <a:pt x="95" y="11"/>
                      <a:pt x="95" y="16"/>
                      <a:pt x="98" y="21"/>
                    </a:cubicBezTo>
                    <a:cubicBezTo>
                      <a:pt x="98" y="25"/>
                      <a:pt x="99" y="29"/>
                      <a:pt x="97" y="33"/>
                    </a:cubicBezTo>
                    <a:cubicBezTo>
                      <a:pt x="96" y="35"/>
                      <a:pt x="92" y="32"/>
                      <a:pt x="91" y="34"/>
                    </a:cubicBezTo>
                    <a:cubicBezTo>
                      <a:pt x="80" y="50"/>
                      <a:pt x="100" y="49"/>
                      <a:pt x="71" y="52"/>
                    </a:cubicBezTo>
                    <a:cubicBezTo>
                      <a:pt x="70" y="59"/>
                      <a:pt x="67" y="57"/>
                      <a:pt x="61" y="60"/>
                    </a:cubicBezTo>
                    <a:cubicBezTo>
                      <a:pt x="53" y="61"/>
                      <a:pt x="44" y="52"/>
                      <a:pt x="34" y="51"/>
                    </a:cubicBezTo>
                    <a:cubicBezTo>
                      <a:pt x="27" y="50"/>
                      <a:pt x="20" y="51"/>
                      <a:pt x="16" y="51"/>
                    </a:cubicBezTo>
                    <a:cubicBezTo>
                      <a:pt x="12" y="51"/>
                      <a:pt x="9" y="51"/>
                      <a:pt x="7" y="51"/>
                    </a:cubicBezTo>
                    <a:cubicBezTo>
                      <a:pt x="7" y="47"/>
                      <a:pt x="0" y="53"/>
                      <a:pt x="2" y="49"/>
                    </a:cubicBezTo>
                    <a:cubicBezTo>
                      <a:pt x="4" y="45"/>
                      <a:pt x="12" y="44"/>
                      <a:pt x="12" y="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10" name="Freeform 108">
                <a:extLst>
                  <a:ext uri="{FF2B5EF4-FFF2-40B4-BE49-F238E27FC236}">
                    <a16:creationId xmlns:a16="http://schemas.microsoft.com/office/drawing/2014/main" id="{8E0C3782-EE33-44C8-BC8C-4F443B03A1A9}"/>
                  </a:ext>
                </a:extLst>
              </p:cNvPr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gray">
              <a:xfrm>
                <a:off x="4645026" y="2944813"/>
                <a:ext cx="79375" cy="49213"/>
              </a:xfrm>
              <a:custGeom>
                <a:avLst/>
                <a:gdLst>
                  <a:gd name="T0" fmla="*/ 46 w 49"/>
                  <a:gd name="T1" fmla="*/ 2 h 31"/>
                  <a:gd name="T2" fmla="*/ 25 w 49"/>
                  <a:gd name="T3" fmla="*/ 12 h 31"/>
                  <a:gd name="T4" fmla="*/ 2 w 49"/>
                  <a:gd name="T5" fmla="*/ 9 h 31"/>
                  <a:gd name="T6" fmla="*/ 17 w 49"/>
                  <a:gd name="T7" fmla="*/ 27 h 31"/>
                  <a:gd name="T8" fmla="*/ 32 w 49"/>
                  <a:gd name="T9" fmla="*/ 27 h 31"/>
                  <a:gd name="T10" fmla="*/ 44 w 49"/>
                  <a:gd name="T11" fmla="*/ 15 h 31"/>
                  <a:gd name="T12" fmla="*/ 46 w 49"/>
                  <a:gd name="T13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1">
                    <a:moveTo>
                      <a:pt x="46" y="2"/>
                    </a:moveTo>
                    <a:cubicBezTo>
                      <a:pt x="43" y="0"/>
                      <a:pt x="32" y="11"/>
                      <a:pt x="25" y="12"/>
                    </a:cubicBezTo>
                    <a:cubicBezTo>
                      <a:pt x="18" y="13"/>
                      <a:pt x="3" y="7"/>
                      <a:pt x="2" y="9"/>
                    </a:cubicBezTo>
                    <a:cubicBezTo>
                      <a:pt x="0" y="19"/>
                      <a:pt x="6" y="26"/>
                      <a:pt x="17" y="27"/>
                    </a:cubicBezTo>
                    <a:cubicBezTo>
                      <a:pt x="22" y="31"/>
                      <a:pt x="25" y="26"/>
                      <a:pt x="32" y="27"/>
                    </a:cubicBezTo>
                    <a:cubicBezTo>
                      <a:pt x="36" y="22"/>
                      <a:pt x="39" y="18"/>
                      <a:pt x="44" y="15"/>
                    </a:cubicBezTo>
                    <a:cubicBezTo>
                      <a:pt x="49" y="8"/>
                      <a:pt x="44" y="16"/>
                      <a:pt x="46" y="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11" name="Freeform 109">
                <a:extLst>
                  <a:ext uri="{FF2B5EF4-FFF2-40B4-BE49-F238E27FC236}">
                    <a16:creationId xmlns:a16="http://schemas.microsoft.com/office/drawing/2014/main" id="{0637A182-E0B7-4598-AAA3-E7B15A15AB52}"/>
                  </a:ext>
                </a:extLst>
              </p:cNvPr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gray">
              <a:xfrm>
                <a:off x="5156201" y="3330575"/>
                <a:ext cx="49213" cy="88900"/>
              </a:xfrm>
              <a:custGeom>
                <a:avLst/>
                <a:gdLst>
                  <a:gd name="T0" fmla="*/ 29 w 30"/>
                  <a:gd name="T1" fmla="*/ 0 h 56"/>
                  <a:gd name="T2" fmla="*/ 15 w 30"/>
                  <a:gd name="T3" fmla="*/ 15 h 56"/>
                  <a:gd name="T4" fmla="*/ 3 w 30"/>
                  <a:gd name="T5" fmla="*/ 35 h 56"/>
                  <a:gd name="T6" fmla="*/ 2 w 30"/>
                  <a:gd name="T7" fmla="*/ 56 h 56"/>
                  <a:gd name="T8" fmla="*/ 20 w 30"/>
                  <a:gd name="T9" fmla="*/ 30 h 56"/>
                  <a:gd name="T10" fmla="*/ 29 w 30"/>
                  <a:gd name="T11" fmla="*/ 17 h 56"/>
                  <a:gd name="T12" fmla="*/ 29 w 30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56">
                    <a:moveTo>
                      <a:pt x="29" y="0"/>
                    </a:moveTo>
                    <a:cubicBezTo>
                      <a:pt x="17" y="3"/>
                      <a:pt x="20" y="6"/>
                      <a:pt x="15" y="15"/>
                    </a:cubicBezTo>
                    <a:cubicBezTo>
                      <a:pt x="13" y="24"/>
                      <a:pt x="12" y="32"/>
                      <a:pt x="3" y="35"/>
                    </a:cubicBezTo>
                    <a:cubicBezTo>
                      <a:pt x="1" y="45"/>
                      <a:pt x="0" y="44"/>
                      <a:pt x="2" y="56"/>
                    </a:cubicBezTo>
                    <a:cubicBezTo>
                      <a:pt x="17" y="52"/>
                      <a:pt x="8" y="37"/>
                      <a:pt x="20" y="30"/>
                    </a:cubicBezTo>
                    <a:cubicBezTo>
                      <a:pt x="23" y="26"/>
                      <a:pt x="26" y="21"/>
                      <a:pt x="29" y="17"/>
                    </a:cubicBezTo>
                    <a:cubicBezTo>
                      <a:pt x="30" y="11"/>
                      <a:pt x="29" y="6"/>
                      <a:pt x="2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12" name="Freeform 110">
                <a:extLst>
                  <a:ext uri="{FF2B5EF4-FFF2-40B4-BE49-F238E27FC236}">
                    <a16:creationId xmlns:a16="http://schemas.microsoft.com/office/drawing/2014/main" id="{E2D17FEB-E570-43CB-A8B9-13E3DBA9A4E1}"/>
                  </a:ext>
                </a:extLst>
              </p:cNvPr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gray">
              <a:xfrm>
                <a:off x="5140326" y="3406775"/>
                <a:ext cx="50800" cy="49213"/>
              </a:xfrm>
              <a:custGeom>
                <a:avLst/>
                <a:gdLst>
                  <a:gd name="T0" fmla="*/ 22 w 31"/>
                  <a:gd name="T1" fmla="*/ 0 h 31"/>
                  <a:gd name="T2" fmla="*/ 12 w 31"/>
                  <a:gd name="T3" fmla="*/ 29 h 31"/>
                  <a:gd name="T4" fmla="*/ 15 w 31"/>
                  <a:gd name="T5" fmla="*/ 2 h 31"/>
                  <a:gd name="T6" fmla="*/ 22 w 31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31">
                    <a:moveTo>
                      <a:pt x="22" y="0"/>
                    </a:moveTo>
                    <a:cubicBezTo>
                      <a:pt x="24" y="18"/>
                      <a:pt x="31" y="31"/>
                      <a:pt x="12" y="29"/>
                    </a:cubicBezTo>
                    <a:cubicBezTo>
                      <a:pt x="7" y="20"/>
                      <a:pt x="0" y="4"/>
                      <a:pt x="15" y="2"/>
                    </a:cubicBezTo>
                    <a:cubicBezTo>
                      <a:pt x="23" y="3"/>
                      <a:pt x="22" y="5"/>
                      <a:pt x="22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13" name="Freeform 111">
                <a:extLst>
                  <a:ext uri="{FF2B5EF4-FFF2-40B4-BE49-F238E27FC236}">
                    <a16:creationId xmlns:a16="http://schemas.microsoft.com/office/drawing/2014/main" id="{425C6821-19CB-447E-A2FC-1465C2B35EC7}"/>
                  </a:ext>
                </a:extLst>
              </p:cNvPr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gray">
              <a:xfrm>
                <a:off x="4552951" y="4146550"/>
                <a:ext cx="65088" cy="34925"/>
              </a:xfrm>
              <a:custGeom>
                <a:avLst/>
                <a:gdLst>
                  <a:gd name="T0" fmla="*/ 10 w 40"/>
                  <a:gd name="T1" fmla="*/ 5 h 22"/>
                  <a:gd name="T2" fmla="*/ 2 w 40"/>
                  <a:gd name="T3" fmla="*/ 22 h 22"/>
                  <a:gd name="T4" fmla="*/ 35 w 40"/>
                  <a:gd name="T5" fmla="*/ 14 h 22"/>
                  <a:gd name="T6" fmla="*/ 29 w 40"/>
                  <a:gd name="T7" fmla="*/ 1 h 22"/>
                  <a:gd name="T8" fmla="*/ 10 w 40"/>
                  <a:gd name="T9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2">
                    <a:moveTo>
                      <a:pt x="10" y="5"/>
                    </a:moveTo>
                    <a:cubicBezTo>
                      <a:pt x="6" y="12"/>
                      <a:pt x="0" y="13"/>
                      <a:pt x="2" y="22"/>
                    </a:cubicBezTo>
                    <a:cubicBezTo>
                      <a:pt x="11" y="21"/>
                      <a:pt x="28" y="19"/>
                      <a:pt x="35" y="14"/>
                    </a:cubicBezTo>
                    <a:cubicBezTo>
                      <a:pt x="40" y="11"/>
                      <a:pt x="33" y="2"/>
                      <a:pt x="29" y="1"/>
                    </a:cubicBezTo>
                    <a:cubicBezTo>
                      <a:pt x="25" y="0"/>
                      <a:pt x="14" y="4"/>
                      <a:pt x="10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14" name="Freeform 112">
                <a:extLst>
                  <a:ext uri="{FF2B5EF4-FFF2-40B4-BE49-F238E27FC236}">
                    <a16:creationId xmlns:a16="http://schemas.microsoft.com/office/drawing/2014/main" id="{AC6FB62A-92F0-45F8-83C4-57084FC1463B}"/>
                  </a:ext>
                </a:extLst>
              </p:cNvPr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gray">
              <a:xfrm>
                <a:off x="4832351" y="1851025"/>
                <a:ext cx="255588" cy="568325"/>
              </a:xfrm>
              <a:custGeom>
                <a:avLst/>
                <a:gdLst>
                  <a:gd name="T0" fmla="*/ 123 w 158"/>
                  <a:gd name="T1" fmla="*/ 16 h 358"/>
                  <a:gd name="T2" fmla="*/ 117 w 158"/>
                  <a:gd name="T3" fmla="*/ 41 h 358"/>
                  <a:gd name="T4" fmla="*/ 111 w 158"/>
                  <a:gd name="T5" fmla="*/ 49 h 358"/>
                  <a:gd name="T6" fmla="*/ 129 w 158"/>
                  <a:gd name="T7" fmla="*/ 92 h 358"/>
                  <a:gd name="T8" fmla="*/ 129 w 158"/>
                  <a:gd name="T9" fmla="*/ 131 h 358"/>
                  <a:gd name="T10" fmla="*/ 132 w 158"/>
                  <a:gd name="T11" fmla="*/ 154 h 358"/>
                  <a:gd name="T12" fmla="*/ 141 w 158"/>
                  <a:gd name="T13" fmla="*/ 188 h 358"/>
                  <a:gd name="T14" fmla="*/ 143 w 158"/>
                  <a:gd name="T15" fmla="*/ 256 h 358"/>
                  <a:gd name="T16" fmla="*/ 152 w 158"/>
                  <a:gd name="T17" fmla="*/ 271 h 358"/>
                  <a:gd name="T18" fmla="*/ 153 w 158"/>
                  <a:gd name="T19" fmla="*/ 298 h 358"/>
                  <a:gd name="T20" fmla="*/ 140 w 158"/>
                  <a:gd name="T21" fmla="*/ 308 h 358"/>
                  <a:gd name="T22" fmla="*/ 140 w 158"/>
                  <a:gd name="T23" fmla="*/ 323 h 358"/>
                  <a:gd name="T24" fmla="*/ 129 w 158"/>
                  <a:gd name="T25" fmla="*/ 331 h 358"/>
                  <a:gd name="T26" fmla="*/ 111 w 158"/>
                  <a:gd name="T27" fmla="*/ 329 h 358"/>
                  <a:gd name="T28" fmla="*/ 104 w 158"/>
                  <a:gd name="T29" fmla="*/ 346 h 358"/>
                  <a:gd name="T30" fmla="*/ 71 w 158"/>
                  <a:gd name="T31" fmla="*/ 349 h 358"/>
                  <a:gd name="T32" fmla="*/ 54 w 158"/>
                  <a:gd name="T33" fmla="*/ 353 h 358"/>
                  <a:gd name="T34" fmla="*/ 41 w 158"/>
                  <a:gd name="T35" fmla="*/ 358 h 358"/>
                  <a:gd name="T36" fmla="*/ 12 w 158"/>
                  <a:gd name="T37" fmla="*/ 334 h 358"/>
                  <a:gd name="T38" fmla="*/ 5 w 158"/>
                  <a:gd name="T39" fmla="*/ 265 h 358"/>
                  <a:gd name="T40" fmla="*/ 27 w 158"/>
                  <a:gd name="T41" fmla="*/ 247 h 358"/>
                  <a:gd name="T42" fmla="*/ 39 w 158"/>
                  <a:gd name="T43" fmla="*/ 221 h 358"/>
                  <a:gd name="T44" fmla="*/ 53 w 158"/>
                  <a:gd name="T45" fmla="*/ 211 h 358"/>
                  <a:gd name="T46" fmla="*/ 47 w 158"/>
                  <a:gd name="T47" fmla="*/ 175 h 358"/>
                  <a:gd name="T48" fmla="*/ 50 w 158"/>
                  <a:gd name="T49" fmla="*/ 116 h 358"/>
                  <a:gd name="T50" fmla="*/ 42 w 158"/>
                  <a:gd name="T51" fmla="*/ 88 h 358"/>
                  <a:gd name="T52" fmla="*/ 36 w 158"/>
                  <a:gd name="T53" fmla="*/ 76 h 358"/>
                  <a:gd name="T54" fmla="*/ 33 w 158"/>
                  <a:gd name="T55" fmla="*/ 71 h 358"/>
                  <a:gd name="T56" fmla="*/ 24 w 158"/>
                  <a:gd name="T57" fmla="*/ 62 h 358"/>
                  <a:gd name="T58" fmla="*/ 35 w 158"/>
                  <a:gd name="T59" fmla="*/ 55 h 358"/>
                  <a:gd name="T60" fmla="*/ 51 w 158"/>
                  <a:gd name="T61" fmla="*/ 55 h 358"/>
                  <a:gd name="T62" fmla="*/ 66 w 158"/>
                  <a:gd name="T63" fmla="*/ 64 h 358"/>
                  <a:gd name="T64" fmla="*/ 75 w 158"/>
                  <a:gd name="T65" fmla="*/ 38 h 358"/>
                  <a:gd name="T66" fmla="*/ 74 w 158"/>
                  <a:gd name="T67" fmla="*/ 25 h 358"/>
                  <a:gd name="T68" fmla="*/ 77 w 158"/>
                  <a:gd name="T69" fmla="*/ 13 h 358"/>
                  <a:gd name="T70" fmla="*/ 98 w 158"/>
                  <a:gd name="T71" fmla="*/ 10 h 358"/>
                  <a:gd name="T72" fmla="*/ 123 w 158"/>
                  <a:gd name="T73" fmla="*/ 16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358">
                    <a:moveTo>
                      <a:pt x="123" y="16"/>
                    </a:moveTo>
                    <a:cubicBezTo>
                      <a:pt x="122" y="24"/>
                      <a:pt x="121" y="33"/>
                      <a:pt x="117" y="41"/>
                    </a:cubicBezTo>
                    <a:cubicBezTo>
                      <a:pt x="116" y="44"/>
                      <a:pt x="111" y="46"/>
                      <a:pt x="111" y="49"/>
                    </a:cubicBezTo>
                    <a:cubicBezTo>
                      <a:pt x="109" y="74"/>
                      <a:pt x="119" y="75"/>
                      <a:pt x="129" y="92"/>
                    </a:cubicBezTo>
                    <a:cubicBezTo>
                      <a:pt x="131" y="105"/>
                      <a:pt x="135" y="119"/>
                      <a:pt x="129" y="131"/>
                    </a:cubicBezTo>
                    <a:cubicBezTo>
                      <a:pt x="131" y="138"/>
                      <a:pt x="130" y="147"/>
                      <a:pt x="132" y="154"/>
                    </a:cubicBezTo>
                    <a:cubicBezTo>
                      <a:pt x="133" y="167"/>
                      <a:pt x="140" y="175"/>
                      <a:pt x="141" y="188"/>
                    </a:cubicBezTo>
                    <a:cubicBezTo>
                      <a:pt x="141" y="211"/>
                      <a:pt x="134" y="229"/>
                      <a:pt x="143" y="256"/>
                    </a:cubicBezTo>
                    <a:cubicBezTo>
                      <a:pt x="146" y="262"/>
                      <a:pt x="149" y="263"/>
                      <a:pt x="152" y="271"/>
                    </a:cubicBezTo>
                    <a:cubicBezTo>
                      <a:pt x="153" y="280"/>
                      <a:pt x="158" y="290"/>
                      <a:pt x="153" y="298"/>
                    </a:cubicBezTo>
                    <a:cubicBezTo>
                      <a:pt x="152" y="305"/>
                      <a:pt x="145" y="304"/>
                      <a:pt x="140" y="308"/>
                    </a:cubicBezTo>
                    <a:cubicBezTo>
                      <a:pt x="137" y="311"/>
                      <a:pt x="142" y="319"/>
                      <a:pt x="140" y="323"/>
                    </a:cubicBezTo>
                    <a:cubicBezTo>
                      <a:pt x="138" y="327"/>
                      <a:pt x="134" y="330"/>
                      <a:pt x="129" y="331"/>
                    </a:cubicBezTo>
                    <a:cubicBezTo>
                      <a:pt x="126" y="334"/>
                      <a:pt x="111" y="329"/>
                      <a:pt x="111" y="329"/>
                    </a:cubicBezTo>
                    <a:cubicBezTo>
                      <a:pt x="109" y="337"/>
                      <a:pt x="113" y="345"/>
                      <a:pt x="104" y="346"/>
                    </a:cubicBezTo>
                    <a:cubicBezTo>
                      <a:pt x="93" y="347"/>
                      <a:pt x="71" y="349"/>
                      <a:pt x="71" y="349"/>
                    </a:cubicBezTo>
                    <a:cubicBezTo>
                      <a:pt x="65" y="350"/>
                      <a:pt x="60" y="352"/>
                      <a:pt x="54" y="353"/>
                    </a:cubicBezTo>
                    <a:cubicBezTo>
                      <a:pt x="50" y="355"/>
                      <a:pt x="45" y="356"/>
                      <a:pt x="41" y="358"/>
                    </a:cubicBezTo>
                    <a:cubicBezTo>
                      <a:pt x="29" y="353"/>
                      <a:pt x="22" y="342"/>
                      <a:pt x="12" y="334"/>
                    </a:cubicBezTo>
                    <a:cubicBezTo>
                      <a:pt x="0" y="311"/>
                      <a:pt x="18" y="287"/>
                      <a:pt x="5" y="265"/>
                    </a:cubicBezTo>
                    <a:cubicBezTo>
                      <a:pt x="7" y="254"/>
                      <a:pt x="20" y="254"/>
                      <a:pt x="27" y="247"/>
                    </a:cubicBezTo>
                    <a:cubicBezTo>
                      <a:pt x="32" y="235"/>
                      <a:pt x="29" y="228"/>
                      <a:pt x="39" y="221"/>
                    </a:cubicBezTo>
                    <a:cubicBezTo>
                      <a:pt x="44" y="212"/>
                      <a:pt x="41" y="213"/>
                      <a:pt x="53" y="211"/>
                    </a:cubicBezTo>
                    <a:cubicBezTo>
                      <a:pt x="59" y="201"/>
                      <a:pt x="56" y="182"/>
                      <a:pt x="47" y="175"/>
                    </a:cubicBezTo>
                    <a:cubicBezTo>
                      <a:pt x="46" y="159"/>
                      <a:pt x="51" y="130"/>
                      <a:pt x="50" y="116"/>
                    </a:cubicBezTo>
                    <a:cubicBezTo>
                      <a:pt x="49" y="102"/>
                      <a:pt x="44" y="95"/>
                      <a:pt x="42" y="88"/>
                    </a:cubicBezTo>
                    <a:cubicBezTo>
                      <a:pt x="40" y="81"/>
                      <a:pt x="37" y="79"/>
                      <a:pt x="36" y="76"/>
                    </a:cubicBezTo>
                    <a:cubicBezTo>
                      <a:pt x="35" y="73"/>
                      <a:pt x="35" y="73"/>
                      <a:pt x="33" y="71"/>
                    </a:cubicBezTo>
                    <a:cubicBezTo>
                      <a:pt x="31" y="69"/>
                      <a:pt x="24" y="65"/>
                      <a:pt x="24" y="62"/>
                    </a:cubicBezTo>
                    <a:cubicBezTo>
                      <a:pt x="24" y="59"/>
                      <a:pt x="31" y="56"/>
                      <a:pt x="35" y="55"/>
                    </a:cubicBezTo>
                    <a:cubicBezTo>
                      <a:pt x="39" y="54"/>
                      <a:pt x="46" y="54"/>
                      <a:pt x="51" y="55"/>
                    </a:cubicBezTo>
                    <a:cubicBezTo>
                      <a:pt x="58" y="52"/>
                      <a:pt x="62" y="67"/>
                      <a:pt x="66" y="64"/>
                    </a:cubicBezTo>
                    <a:cubicBezTo>
                      <a:pt x="70" y="61"/>
                      <a:pt x="74" y="45"/>
                      <a:pt x="75" y="38"/>
                    </a:cubicBezTo>
                    <a:cubicBezTo>
                      <a:pt x="76" y="31"/>
                      <a:pt x="74" y="29"/>
                      <a:pt x="74" y="25"/>
                    </a:cubicBezTo>
                    <a:cubicBezTo>
                      <a:pt x="74" y="21"/>
                      <a:pt x="73" y="15"/>
                      <a:pt x="77" y="13"/>
                    </a:cubicBezTo>
                    <a:cubicBezTo>
                      <a:pt x="84" y="11"/>
                      <a:pt x="91" y="11"/>
                      <a:pt x="98" y="10"/>
                    </a:cubicBezTo>
                    <a:cubicBezTo>
                      <a:pt x="112" y="0"/>
                      <a:pt x="112" y="16"/>
                      <a:pt x="123" y="1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15" name="Freeform 115">
                <a:extLst>
                  <a:ext uri="{FF2B5EF4-FFF2-40B4-BE49-F238E27FC236}">
                    <a16:creationId xmlns:a16="http://schemas.microsoft.com/office/drawing/2014/main" id="{12730468-48F0-47B9-8399-548E24AAE231}"/>
                  </a:ext>
                </a:extLst>
              </p:cNvPr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gray">
              <a:xfrm>
                <a:off x="4612867" y="1928816"/>
                <a:ext cx="302034" cy="680289"/>
              </a:xfrm>
              <a:custGeom>
                <a:avLst/>
                <a:gdLst/>
                <a:ahLst/>
                <a:cxnLst/>
                <a:rect l="l" t="t" r="r" b="b"/>
                <a:pathLst>
                  <a:path w="302034" h="680289">
                    <a:moveTo>
                      <a:pt x="184297" y="582611"/>
                    </a:moveTo>
                    <a:lnTo>
                      <a:pt x="189135" y="586183"/>
                    </a:lnTo>
                    <a:lnTo>
                      <a:pt x="184297" y="592136"/>
                    </a:lnTo>
                    <a:cubicBezTo>
                      <a:pt x="174620" y="598486"/>
                      <a:pt x="171394" y="608011"/>
                      <a:pt x="169782" y="619124"/>
                    </a:cubicBezTo>
                    <a:cubicBezTo>
                      <a:pt x="158492" y="642936"/>
                      <a:pt x="156879" y="652461"/>
                      <a:pt x="155266" y="606424"/>
                    </a:cubicBezTo>
                    <a:cubicBezTo>
                      <a:pt x="158492" y="584199"/>
                      <a:pt x="160105" y="585786"/>
                      <a:pt x="184297" y="582611"/>
                    </a:cubicBezTo>
                    <a:close/>
                    <a:moveTo>
                      <a:pt x="184559" y="558798"/>
                    </a:moveTo>
                    <a:cubicBezTo>
                      <a:pt x="182972" y="563561"/>
                      <a:pt x="184559" y="569911"/>
                      <a:pt x="181384" y="573086"/>
                    </a:cubicBezTo>
                    <a:cubicBezTo>
                      <a:pt x="176621" y="577848"/>
                      <a:pt x="173446" y="558798"/>
                      <a:pt x="184559" y="558798"/>
                    </a:cubicBezTo>
                    <a:close/>
                    <a:moveTo>
                      <a:pt x="242362" y="0"/>
                    </a:moveTo>
                    <a:cubicBezTo>
                      <a:pt x="242121" y="2178"/>
                      <a:pt x="239917" y="9529"/>
                      <a:pt x="242362" y="9529"/>
                    </a:cubicBezTo>
                    <a:lnTo>
                      <a:pt x="248820" y="19059"/>
                    </a:lnTo>
                    <a:cubicBezTo>
                      <a:pt x="253641" y="28589"/>
                      <a:pt x="255248" y="27001"/>
                      <a:pt x="266558" y="28589"/>
                    </a:cubicBezTo>
                    <a:cubicBezTo>
                      <a:pt x="277838" y="33354"/>
                      <a:pt x="269772" y="47648"/>
                      <a:pt x="281082" y="49237"/>
                    </a:cubicBezTo>
                    <a:cubicBezTo>
                      <a:pt x="282689" y="57178"/>
                      <a:pt x="295576" y="72992"/>
                      <a:pt x="295576" y="72992"/>
                    </a:cubicBezTo>
                    <a:cubicBezTo>
                      <a:pt x="297183" y="82522"/>
                      <a:pt x="302034" y="93640"/>
                      <a:pt x="302034" y="101581"/>
                    </a:cubicBezTo>
                    <a:cubicBezTo>
                      <a:pt x="302034" y="109523"/>
                      <a:pt x="298820" y="117464"/>
                      <a:pt x="297183" y="125406"/>
                    </a:cubicBezTo>
                    <a:cubicBezTo>
                      <a:pt x="295576" y="133347"/>
                      <a:pt x="297183" y="144465"/>
                      <a:pt x="297183" y="152407"/>
                    </a:cubicBezTo>
                    <a:cubicBezTo>
                      <a:pt x="295576" y="161937"/>
                      <a:pt x="293969" y="161937"/>
                      <a:pt x="297183" y="171466"/>
                    </a:cubicBezTo>
                    <a:cubicBezTo>
                      <a:pt x="290755" y="211105"/>
                      <a:pt x="269772" y="176231"/>
                      <a:pt x="242362" y="196879"/>
                    </a:cubicBezTo>
                    <a:cubicBezTo>
                      <a:pt x="232689" y="222223"/>
                      <a:pt x="231082" y="247635"/>
                      <a:pt x="219773" y="273048"/>
                    </a:cubicBezTo>
                    <a:cubicBezTo>
                      <a:pt x="218165" y="285755"/>
                      <a:pt x="218165" y="288931"/>
                      <a:pt x="208493" y="296873"/>
                    </a:cubicBezTo>
                    <a:cubicBezTo>
                      <a:pt x="202035" y="307991"/>
                      <a:pt x="198820" y="309579"/>
                      <a:pt x="185904" y="311167"/>
                    </a:cubicBezTo>
                    <a:cubicBezTo>
                      <a:pt x="177838" y="325462"/>
                      <a:pt x="156886" y="325462"/>
                      <a:pt x="145576" y="339757"/>
                    </a:cubicBezTo>
                    <a:cubicBezTo>
                      <a:pt x="140755" y="353982"/>
                      <a:pt x="143969" y="368277"/>
                      <a:pt x="131083" y="377807"/>
                    </a:cubicBezTo>
                    <a:cubicBezTo>
                      <a:pt x="129476" y="398454"/>
                      <a:pt x="121410" y="434985"/>
                      <a:pt x="135904" y="454045"/>
                    </a:cubicBezTo>
                    <a:cubicBezTo>
                      <a:pt x="137511" y="465163"/>
                      <a:pt x="150428" y="469928"/>
                      <a:pt x="160100" y="476281"/>
                    </a:cubicBezTo>
                    <a:cubicBezTo>
                      <a:pt x="169773" y="495271"/>
                      <a:pt x="168166" y="517507"/>
                      <a:pt x="145576" y="520684"/>
                    </a:cubicBezTo>
                    <a:cubicBezTo>
                      <a:pt x="140755" y="530214"/>
                      <a:pt x="132690" y="547685"/>
                      <a:pt x="126231" y="552450"/>
                    </a:cubicBezTo>
                    <a:cubicBezTo>
                      <a:pt x="119773" y="557215"/>
                      <a:pt x="108493" y="544509"/>
                      <a:pt x="106886" y="547685"/>
                    </a:cubicBezTo>
                    <a:cubicBezTo>
                      <a:pt x="108493" y="557215"/>
                      <a:pt x="111707" y="566745"/>
                      <a:pt x="113345" y="576274"/>
                    </a:cubicBezTo>
                    <a:cubicBezTo>
                      <a:pt x="111707" y="595334"/>
                      <a:pt x="121410" y="601687"/>
                      <a:pt x="108493" y="611217"/>
                    </a:cubicBezTo>
                    <a:lnTo>
                      <a:pt x="105849" y="624662"/>
                    </a:lnTo>
                    <a:cubicBezTo>
                      <a:pt x="106079" y="629935"/>
                      <a:pt x="113345" y="617156"/>
                      <a:pt x="113345" y="644502"/>
                    </a:cubicBezTo>
                    <a:cubicBezTo>
                      <a:pt x="113345" y="663562"/>
                      <a:pt x="63345" y="671503"/>
                      <a:pt x="50428" y="676268"/>
                    </a:cubicBezTo>
                    <a:cubicBezTo>
                      <a:pt x="35904" y="687386"/>
                      <a:pt x="35904" y="673091"/>
                      <a:pt x="31083" y="661973"/>
                    </a:cubicBezTo>
                    <a:cubicBezTo>
                      <a:pt x="29476" y="641325"/>
                      <a:pt x="19773" y="625442"/>
                      <a:pt x="6887" y="609629"/>
                    </a:cubicBezTo>
                    <a:cubicBezTo>
                      <a:pt x="5279" y="601687"/>
                      <a:pt x="2035" y="595334"/>
                      <a:pt x="428" y="587392"/>
                    </a:cubicBezTo>
                    <a:cubicBezTo>
                      <a:pt x="-1179" y="574686"/>
                      <a:pt x="2035" y="542920"/>
                      <a:pt x="5279" y="528626"/>
                    </a:cubicBezTo>
                    <a:cubicBezTo>
                      <a:pt x="8494" y="514331"/>
                      <a:pt x="11738" y="512743"/>
                      <a:pt x="14952" y="506389"/>
                    </a:cubicBezTo>
                    <a:cubicBezTo>
                      <a:pt x="19773" y="500036"/>
                      <a:pt x="21410" y="493683"/>
                      <a:pt x="24624" y="485742"/>
                    </a:cubicBezTo>
                    <a:cubicBezTo>
                      <a:pt x="23017" y="460398"/>
                      <a:pt x="31083" y="428632"/>
                      <a:pt x="6887" y="414337"/>
                    </a:cubicBezTo>
                    <a:cubicBezTo>
                      <a:pt x="5279" y="404808"/>
                      <a:pt x="5279" y="398454"/>
                      <a:pt x="10101" y="390513"/>
                    </a:cubicBezTo>
                    <a:cubicBezTo>
                      <a:pt x="11738" y="355570"/>
                      <a:pt x="428" y="320697"/>
                      <a:pt x="31083" y="301637"/>
                    </a:cubicBezTo>
                    <a:cubicBezTo>
                      <a:pt x="34297" y="287343"/>
                      <a:pt x="50428" y="292108"/>
                      <a:pt x="63345" y="290519"/>
                    </a:cubicBezTo>
                    <a:cubicBezTo>
                      <a:pt x="69773" y="279401"/>
                      <a:pt x="68166" y="277813"/>
                      <a:pt x="58493" y="271460"/>
                    </a:cubicBezTo>
                    <a:cubicBezTo>
                      <a:pt x="56886" y="265107"/>
                      <a:pt x="48821" y="263518"/>
                      <a:pt x="48821" y="258754"/>
                    </a:cubicBezTo>
                    <a:cubicBezTo>
                      <a:pt x="48821" y="253989"/>
                      <a:pt x="52035" y="249224"/>
                      <a:pt x="55279" y="239694"/>
                    </a:cubicBezTo>
                    <a:cubicBezTo>
                      <a:pt x="58493" y="230164"/>
                      <a:pt x="66559" y="207928"/>
                      <a:pt x="69773" y="196879"/>
                    </a:cubicBezTo>
                    <a:cubicBezTo>
                      <a:pt x="73017" y="185761"/>
                      <a:pt x="68166" y="179408"/>
                      <a:pt x="73017" y="173055"/>
                    </a:cubicBezTo>
                    <a:cubicBezTo>
                      <a:pt x="76231" y="165113"/>
                      <a:pt x="82690" y="160348"/>
                      <a:pt x="87541" y="152407"/>
                    </a:cubicBezTo>
                    <a:cubicBezTo>
                      <a:pt x="93969" y="142877"/>
                      <a:pt x="102035" y="138112"/>
                      <a:pt x="106886" y="128582"/>
                    </a:cubicBezTo>
                    <a:cubicBezTo>
                      <a:pt x="108493" y="117464"/>
                      <a:pt x="113345" y="107935"/>
                      <a:pt x="116559" y="96816"/>
                    </a:cubicBezTo>
                    <a:cubicBezTo>
                      <a:pt x="119773" y="84110"/>
                      <a:pt x="119773" y="68227"/>
                      <a:pt x="127838" y="58766"/>
                    </a:cubicBezTo>
                    <a:cubicBezTo>
                      <a:pt x="135904" y="49237"/>
                      <a:pt x="148821" y="49237"/>
                      <a:pt x="161707" y="42883"/>
                    </a:cubicBezTo>
                    <a:cubicBezTo>
                      <a:pt x="192362" y="23824"/>
                      <a:pt x="140755" y="27001"/>
                      <a:pt x="203642" y="20647"/>
                    </a:cubicBezTo>
                    <a:cubicBezTo>
                      <a:pt x="213314" y="14294"/>
                      <a:pt x="213314" y="7941"/>
                      <a:pt x="219773" y="4764"/>
                    </a:cubicBezTo>
                    <a:cubicBezTo>
                      <a:pt x="226231" y="1588"/>
                      <a:pt x="239148" y="0"/>
                      <a:pt x="242362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16" name="Freeform 116">
                <a:extLst>
                  <a:ext uri="{FF2B5EF4-FFF2-40B4-BE49-F238E27FC236}">
                    <a16:creationId xmlns:a16="http://schemas.microsoft.com/office/drawing/2014/main" id="{7F3C6E0A-67F4-4C67-924B-3A0D31D3D3FA}"/>
                  </a:ext>
                </a:extLst>
              </p:cNvPr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gray">
              <a:xfrm>
                <a:off x="4435476" y="1770063"/>
                <a:ext cx="650875" cy="744538"/>
              </a:xfrm>
              <a:custGeom>
                <a:avLst/>
                <a:gdLst>
                  <a:gd name="T0" fmla="*/ 369 w 403"/>
                  <a:gd name="T1" fmla="*/ 56 h 469"/>
                  <a:gd name="T2" fmla="*/ 398 w 403"/>
                  <a:gd name="T3" fmla="*/ 46 h 469"/>
                  <a:gd name="T4" fmla="*/ 380 w 403"/>
                  <a:gd name="T5" fmla="*/ 29 h 469"/>
                  <a:gd name="T6" fmla="*/ 330 w 403"/>
                  <a:gd name="T7" fmla="*/ 8 h 469"/>
                  <a:gd name="T8" fmla="*/ 266 w 403"/>
                  <a:gd name="T9" fmla="*/ 20 h 469"/>
                  <a:gd name="T10" fmla="*/ 246 w 403"/>
                  <a:gd name="T11" fmla="*/ 41 h 469"/>
                  <a:gd name="T12" fmla="*/ 213 w 403"/>
                  <a:gd name="T13" fmla="*/ 41 h 469"/>
                  <a:gd name="T14" fmla="*/ 188 w 403"/>
                  <a:gd name="T15" fmla="*/ 76 h 469"/>
                  <a:gd name="T16" fmla="*/ 171 w 403"/>
                  <a:gd name="T17" fmla="*/ 86 h 469"/>
                  <a:gd name="T18" fmla="*/ 144 w 403"/>
                  <a:gd name="T19" fmla="*/ 115 h 469"/>
                  <a:gd name="T20" fmla="*/ 111 w 403"/>
                  <a:gd name="T21" fmla="*/ 155 h 469"/>
                  <a:gd name="T22" fmla="*/ 155 w 403"/>
                  <a:gd name="T23" fmla="*/ 133 h 469"/>
                  <a:gd name="T24" fmla="*/ 134 w 403"/>
                  <a:gd name="T25" fmla="*/ 176 h 469"/>
                  <a:gd name="T26" fmla="*/ 108 w 403"/>
                  <a:gd name="T27" fmla="*/ 239 h 469"/>
                  <a:gd name="T28" fmla="*/ 90 w 403"/>
                  <a:gd name="T29" fmla="*/ 266 h 469"/>
                  <a:gd name="T30" fmla="*/ 60 w 403"/>
                  <a:gd name="T31" fmla="*/ 301 h 469"/>
                  <a:gd name="T32" fmla="*/ 5 w 403"/>
                  <a:gd name="T33" fmla="*/ 386 h 469"/>
                  <a:gd name="T34" fmla="*/ 11 w 403"/>
                  <a:gd name="T35" fmla="*/ 415 h 469"/>
                  <a:gd name="T36" fmla="*/ 24 w 403"/>
                  <a:gd name="T37" fmla="*/ 454 h 469"/>
                  <a:gd name="T38" fmla="*/ 65 w 403"/>
                  <a:gd name="T39" fmla="*/ 466 h 469"/>
                  <a:gd name="T40" fmla="*/ 78 w 403"/>
                  <a:gd name="T41" fmla="*/ 445 h 469"/>
                  <a:gd name="T42" fmla="*/ 92 w 403"/>
                  <a:gd name="T43" fmla="*/ 433 h 469"/>
                  <a:gd name="T44" fmla="*/ 113 w 403"/>
                  <a:gd name="T45" fmla="*/ 433 h 469"/>
                  <a:gd name="T46" fmla="*/ 122 w 403"/>
                  <a:gd name="T47" fmla="*/ 379 h 469"/>
                  <a:gd name="T48" fmla="*/ 119 w 403"/>
                  <a:gd name="T49" fmla="*/ 340 h 469"/>
                  <a:gd name="T50" fmla="*/ 119 w 403"/>
                  <a:gd name="T51" fmla="*/ 303 h 469"/>
                  <a:gd name="T52" fmla="*/ 143 w 403"/>
                  <a:gd name="T53" fmla="*/ 283 h 469"/>
                  <a:gd name="T54" fmla="*/ 140 w 403"/>
                  <a:gd name="T55" fmla="*/ 263 h 469"/>
                  <a:gd name="T56" fmla="*/ 153 w 403"/>
                  <a:gd name="T57" fmla="*/ 221 h 469"/>
                  <a:gd name="T58" fmla="*/ 177 w 403"/>
                  <a:gd name="T59" fmla="*/ 182 h 469"/>
                  <a:gd name="T60" fmla="*/ 192 w 403"/>
                  <a:gd name="T61" fmla="*/ 134 h 469"/>
                  <a:gd name="T62" fmla="*/ 215 w 403"/>
                  <a:gd name="T63" fmla="*/ 127 h 469"/>
                  <a:gd name="T64" fmla="*/ 221 w 403"/>
                  <a:gd name="T65" fmla="*/ 115 h 469"/>
                  <a:gd name="T66" fmla="*/ 240 w 403"/>
                  <a:gd name="T67" fmla="*/ 112 h 469"/>
                  <a:gd name="T68" fmla="*/ 254 w 403"/>
                  <a:gd name="T69" fmla="*/ 89 h 469"/>
                  <a:gd name="T70" fmla="*/ 269 w 403"/>
                  <a:gd name="T71" fmla="*/ 112 h 469"/>
                  <a:gd name="T72" fmla="*/ 293 w 403"/>
                  <a:gd name="T73" fmla="*/ 106 h 469"/>
                  <a:gd name="T74" fmla="*/ 320 w 403"/>
                  <a:gd name="T75" fmla="*/ 97 h 469"/>
                  <a:gd name="T76" fmla="*/ 342 w 403"/>
                  <a:gd name="T77" fmla="*/ 59 h 469"/>
                  <a:gd name="T78" fmla="*/ 368 w 403"/>
                  <a:gd name="T79" fmla="*/ 6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3" h="469">
                    <a:moveTo>
                      <a:pt x="368" y="68"/>
                    </a:moveTo>
                    <a:cubicBezTo>
                      <a:pt x="379" y="66"/>
                      <a:pt x="379" y="60"/>
                      <a:pt x="369" y="56"/>
                    </a:cubicBezTo>
                    <a:cubicBezTo>
                      <a:pt x="374" y="55"/>
                      <a:pt x="378" y="53"/>
                      <a:pt x="383" y="52"/>
                    </a:cubicBezTo>
                    <a:cubicBezTo>
                      <a:pt x="388" y="49"/>
                      <a:pt x="392" y="47"/>
                      <a:pt x="398" y="46"/>
                    </a:cubicBezTo>
                    <a:cubicBezTo>
                      <a:pt x="403" y="38"/>
                      <a:pt x="398" y="41"/>
                      <a:pt x="392" y="38"/>
                    </a:cubicBezTo>
                    <a:cubicBezTo>
                      <a:pt x="389" y="33"/>
                      <a:pt x="385" y="32"/>
                      <a:pt x="380" y="29"/>
                    </a:cubicBezTo>
                    <a:cubicBezTo>
                      <a:pt x="370" y="16"/>
                      <a:pt x="365" y="13"/>
                      <a:pt x="348" y="11"/>
                    </a:cubicBezTo>
                    <a:cubicBezTo>
                      <a:pt x="342" y="10"/>
                      <a:pt x="330" y="8"/>
                      <a:pt x="330" y="8"/>
                    </a:cubicBezTo>
                    <a:cubicBezTo>
                      <a:pt x="319" y="0"/>
                      <a:pt x="298" y="6"/>
                      <a:pt x="288" y="7"/>
                    </a:cubicBezTo>
                    <a:cubicBezTo>
                      <a:pt x="286" y="21"/>
                      <a:pt x="281" y="19"/>
                      <a:pt x="266" y="20"/>
                    </a:cubicBezTo>
                    <a:cubicBezTo>
                      <a:pt x="257" y="23"/>
                      <a:pt x="255" y="30"/>
                      <a:pt x="266" y="32"/>
                    </a:cubicBezTo>
                    <a:cubicBezTo>
                      <a:pt x="263" y="39"/>
                      <a:pt x="254" y="40"/>
                      <a:pt x="246" y="41"/>
                    </a:cubicBezTo>
                    <a:cubicBezTo>
                      <a:pt x="240" y="40"/>
                      <a:pt x="237" y="37"/>
                      <a:pt x="231" y="35"/>
                    </a:cubicBezTo>
                    <a:cubicBezTo>
                      <a:pt x="225" y="38"/>
                      <a:pt x="219" y="40"/>
                      <a:pt x="213" y="41"/>
                    </a:cubicBezTo>
                    <a:cubicBezTo>
                      <a:pt x="208" y="50"/>
                      <a:pt x="212" y="58"/>
                      <a:pt x="203" y="65"/>
                    </a:cubicBezTo>
                    <a:cubicBezTo>
                      <a:pt x="199" y="74"/>
                      <a:pt x="199" y="74"/>
                      <a:pt x="188" y="76"/>
                    </a:cubicBezTo>
                    <a:cubicBezTo>
                      <a:pt x="181" y="80"/>
                      <a:pt x="180" y="98"/>
                      <a:pt x="180" y="98"/>
                    </a:cubicBezTo>
                    <a:cubicBezTo>
                      <a:pt x="175" y="94"/>
                      <a:pt x="174" y="91"/>
                      <a:pt x="171" y="86"/>
                    </a:cubicBezTo>
                    <a:cubicBezTo>
                      <a:pt x="162" y="89"/>
                      <a:pt x="158" y="89"/>
                      <a:pt x="153" y="98"/>
                    </a:cubicBezTo>
                    <a:cubicBezTo>
                      <a:pt x="152" y="105"/>
                      <a:pt x="150" y="111"/>
                      <a:pt x="144" y="115"/>
                    </a:cubicBezTo>
                    <a:cubicBezTo>
                      <a:pt x="139" y="122"/>
                      <a:pt x="143" y="127"/>
                      <a:pt x="135" y="130"/>
                    </a:cubicBezTo>
                    <a:cubicBezTo>
                      <a:pt x="124" y="141"/>
                      <a:pt x="128" y="152"/>
                      <a:pt x="111" y="155"/>
                    </a:cubicBezTo>
                    <a:cubicBezTo>
                      <a:pt x="115" y="165"/>
                      <a:pt x="121" y="155"/>
                      <a:pt x="128" y="154"/>
                    </a:cubicBezTo>
                    <a:cubicBezTo>
                      <a:pt x="141" y="147"/>
                      <a:pt x="145" y="138"/>
                      <a:pt x="155" y="133"/>
                    </a:cubicBezTo>
                    <a:cubicBezTo>
                      <a:pt x="167" y="137"/>
                      <a:pt x="149" y="152"/>
                      <a:pt x="141" y="157"/>
                    </a:cubicBezTo>
                    <a:cubicBezTo>
                      <a:pt x="135" y="164"/>
                      <a:pt x="141" y="172"/>
                      <a:pt x="134" y="176"/>
                    </a:cubicBezTo>
                    <a:cubicBezTo>
                      <a:pt x="132" y="187"/>
                      <a:pt x="127" y="201"/>
                      <a:pt x="116" y="205"/>
                    </a:cubicBezTo>
                    <a:cubicBezTo>
                      <a:pt x="108" y="215"/>
                      <a:pt x="114" y="228"/>
                      <a:pt x="108" y="239"/>
                    </a:cubicBezTo>
                    <a:cubicBezTo>
                      <a:pt x="107" y="246"/>
                      <a:pt x="104" y="244"/>
                      <a:pt x="98" y="248"/>
                    </a:cubicBezTo>
                    <a:cubicBezTo>
                      <a:pt x="96" y="254"/>
                      <a:pt x="93" y="260"/>
                      <a:pt x="90" y="266"/>
                    </a:cubicBezTo>
                    <a:cubicBezTo>
                      <a:pt x="88" y="278"/>
                      <a:pt x="84" y="275"/>
                      <a:pt x="71" y="277"/>
                    </a:cubicBezTo>
                    <a:cubicBezTo>
                      <a:pt x="66" y="284"/>
                      <a:pt x="64" y="293"/>
                      <a:pt x="60" y="301"/>
                    </a:cubicBezTo>
                    <a:cubicBezTo>
                      <a:pt x="54" y="312"/>
                      <a:pt x="23" y="331"/>
                      <a:pt x="11" y="337"/>
                    </a:cubicBezTo>
                    <a:cubicBezTo>
                      <a:pt x="0" y="352"/>
                      <a:pt x="6" y="364"/>
                      <a:pt x="5" y="386"/>
                    </a:cubicBezTo>
                    <a:cubicBezTo>
                      <a:pt x="5" y="395"/>
                      <a:pt x="4" y="404"/>
                      <a:pt x="6" y="413"/>
                    </a:cubicBezTo>
                    <a:cubicBezTo>
                      <a:pt x="6" y="415"/>
                      <a:pt x="11" y="413"/>
                      <a:pt x="11" y="415"/>
                    </a:cubicBezTo>
                    <a:cubicBezTo>
                      <a:pt x="12" y="420"/>
                      <a:pt x="15" y="436"/>
                      <a:pt x="17" y="442"/>
                    </a:cubicBezTo>
                    <a:cubicBezTo>
                      <a:pt x="19" y="448"/>
                      <a:pt x="20" y="449"/>
                      <a:pt x="24" y="454"/>
                    </a:cubicBezTo>
                    <a:cubicBezTo>
                      <a:pt x="31" y="463"/>
                      <a:pt x="29" y="466"/>
                      <a:pt x="41" y="469"/>
                    </a:cubicBezTo>
                    <a:cubicBezTo>
                      <a:pt x="52" y="468"/>
                      <a:pt x="55" y="469"/>
                      <a:pt x="65" y="466"/>
                    </a:cubicBezTo>
                    <a:cubicBezTo>
                      <a:pt x="71" y="465"/>
                      <a:pt x="69" y="460"/>
                      <a:pt x="71" y="457"/>
                    </a:cubicBezTo>
                    <a:cubicBezTo>
                      <a:pt x="73" y="454"/>
                      <a:pt x="74" y="446"/>
                      <a:pt x="78" y="445"/>
                    </a:cubicBezTo>
                    <a:cubicBezTo>
                      <a:pt x="80" y="442"/>
                      <a:pt x="92" y="451"/>
                      <a:pt x="93" y="448"/>
                    </a:cubicBezTo>
                    <a:cubicBezTo>
                      <a:pt x="95" y="447"/>
                      <a:pt x="92" y="435"/>
                      <a:pt x="92" y="433"/>
                    </a:cubicBezTo>
                    <a:cubicBezTo>
                      <a:pt x="92" y="431"/>
                      <a:pt x="92" y="436"/>
                      <a:pt x="95" y="436"/>
                    </a:cubicBezTo>
                    <a:cubicBezTo>
                      <a:pt x="99" y="432"/>
                      <a:pt x="107" y="434"/>
                      <a:pt x="113" y="433"/>
                    </a:cubicBezTo>
                    <a:cubicBezTo>
                      <a:pt x="120" y="425"/>
                      <a:pt x="118" y="413"/>
                      <a:pt x="126" y="407"/>
                    </a:cubicBezTo>
                    <a:cubicBezTo>
                      <a:pt x="130" y="398"/>
                      <a:pt x="128" y="386"/>
                      <a:pt x="122" y="379"/>
                    </a:cubicBezTo>
                    <a:cubicBezTo>
                      <a:pt x="119" y="356"/>
                      <a:pt x="120" y="368"/>
                      <a:pt x="114" y="355"/>
                    </a:cubicBezTo>
                    <a:cubicBezTo>
                      <a:pt x="116" y="350"/>
                      <a:pt x="117" y="345"/>
                      <a:pt x="119" y="340"/>
                    </a:cubicBezTo>
                    <a:cubicBezTo>
                      <a:pt x="120" y="335"/>
                      <a:pt x="117" y="334"/>
                      <a:pt x="117" y="328"/>
                    </a:cubicBezTo>
                    <a:cubicBezTo>
                      <a:pt x="117" y="322"/>
                      <a:pt x="117" y="310"/>
                      <a:pt x="119" y="303"/>
                    </a:cubicBezTo>
                    <a:cubicBezTo>
                      <a:pt x="121" y="296"/>
                      <a:pt x="125" y="290"/>
                      <a:pt x="129" y="287"/>
                    </a:cubicBezTo>
                    <a:cubicBezTo>
                      <a:pt x="133" y="284"/>
                      <a:pt x="140" y="285"/>
                      <a:pt x="143" y="283"/>
                    </a:cubicBezTo>
                    <a:cubicBezTo>
                      <a:pt x="146" y="281"/>
                      <a:pt x="147" y="278"/>
                      <a:pt x="147" y="275"/>
                    </a:cubicBezTo>
                    <a:cubicBezTo>
                      <a:pt x="147" y="272"/>
                      <a:pt x="140" y="268"/>
                      <a:pt x="140" y="263"/>
                    </a:cubicBezTo>
                    <a:cubicBezTo>
                      <a:pt x="141" y="256"/>
                      <a:pt x="143" y="252"/>
                      <a:pt x="146" y="245"/>
                    </a:cubicBezTo>
                    <a:cubicBezTo>
                      <a:pt x="147" y="238"/>
                      <a:pt x="150" y="228"/>
                      <a:pt x="153" y="221"/>
                    </a:cubicBezTo>
                    <a:cubicBezTo>
                      <a:pt x="156" y="214"/>
                      <a:pt x="158" y="210"/>
                      <a:pt x="162" y="203"/>
                    </a:cubicBezTo>
                    <a:cubicBezTo>
                      <a:pt x="166" y="195"/>
                      <a:pt x="169" y="186"/>
                      <a:pt x="177" y="182"/>
                    </a:cubicBezTo>
                    <a:cubicBezTo>
                      <a:pt x="180" y="175"/>
                      <a:pt x="179" y="172"/>
                      <a:pt x="182" y="164"/>
                    </a:cubicBezTo>
                    <a:cubicBezTo>
                      <a:pt x="185" y="156"/>
                      <a:pt x="187" y="140"/>
                      <a:pt x="192" y="134"/>
                    </a:cubicBezTo>
                    <a:cubicBezTo>
                      <a:pt x="198" y="131"/>
                      <a:pt x="205" y="132"/>
                      <a:pt x="212" y="131"/>
                    </a:cubicBezTo>
                    <a:cubicBezTo>
                      <a:pt x="213" y="130"/>
                      <a:pt x="215" y="129"/>
                      <a:pt x="215" y="127"/>
                    </a:cubicBezTo>
                    <a:cubicBezTo>
                      <a:pt x="216" y="122"/>
                      <a:pt x="214" y="117"/>
                      <a:pt x="216" y="113"/>
                    </a:cubicBezTo>
                    <a:cubicBezTo>
                      <a:pt x="217" y="111"/>
                      <a:pt x="219" y="114"/>
                      <a:pt x="221" y="115"/>
                    </a:cubicBezTo>
                    <a:cubicBezTo>
                      <a:pt x="230" y="119"/>
                      <a:pt x="224" y="117"/>
                      <a:pt x="233" y="119"/>
                    </a:cubicBezTo>
                    <a:cubicBezTo>
                      <a:pt x="236" y="119"/>
                      <a:pt x="237" y="115"/>
                      <a:pt x="240" y="112"/>
                    </a:cubicBezTo>
                    <a:cubicBezTo>
                      <a:pt x="243" y="109"/>
                      <a:pt x="250" y="107"/>
                      <a:pt x="252" y="103"/>
                    </a:cubicBezTo>
                    <a:cubicBezTo>
                      <a:pt x="261" y="115"/>
                      <a:pt x="253" y="91"/>
                      <a:pt x="254" y="89"/>
                    </a:cubicBezTo>
                    <a:cubicBezTo>
                      <a:pt x="255" y="88"/>
                      <a:pt x="257" y="90"/>
                      <a:pt x="258" y="91"/>
                    </a:cubicBezTo>
                    <a:cubicBezTo>
                      <a:pt x="262" y="99"/>
                      <a:pt x="261" y="108"/>
                      <a:pt x="269" y="112"/>
                    </a:cubicBezTo>
                    <a:cubicBezTo>
                      <a:pt x="273" y="115"/>
                      <a:pt x="274" y="110"/>
                      <a:pt x="278" y="109"/>
                    </a:cubicBezTo>
                    <a:cubicBezTo>
                      <a:pt x="282" y="108"/>
                      <a:pt x="288" y="105"/>
                      <a:pt x="293" y="106"/>
                    </a:cubicBezTo>
                    <a:cubicBezTo>
                      <a:pt x="298" y="107"/>
                      <a:pt x="305" y="116"/>
                      <a:pt x="309" y="115"/>
                    </a:cubicBezTo>
                    <a:cubicBezTo>
                      <a:pt x="312" y="114"/>
                      <a:pt x="319" y="105"/>
                      <a:pt x="320" y="97"/>
                    </a:cubicBezTo>
                    <a:cubicBezTo>
                      <a:pt x="323" y="89"/>
                      <a:pt x="320" y="73"/>
                      <a:pt x="324" y="67"/>
                    </a:cubicBezTo>
                    <a:cubicBezTo>
                      <a:pt x="328" y="61"/>
                      <a:pt x="337" y="60"/>
                      <a:pt x="342" y="59"/>
                    </a:cubicBezTo>
                    <a:cubicBezTo>
                      <a:pt x="347" y="59"/>
                      <a:pt x="350" y="58"/>
                      <a:pt x="354" y="59"/>
                    </a:cubicBezTo>
                    <a:cubicBezTo>
                      <a:pt x="358" y="60"/>
                      <a:pt x="365" y="66"/>
                      <a:pt x="368" y="6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17" name="Freeform 117">
                <a:extLst>
                  <a:ext uri="{FF2B5EF4-FFF2-40B4-BE49-F238E27FC236}">
                    <a16:creationId xmlns:a16="http://schemas.microsoft.com/office/drawing/2014/main" id="{B88CAAA0-F2DE-4652-8C05-B784B82828B1}"/>
                  </a:ext>
                </a:extLst>
              </p:cNvPr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gray">
              <a:xfrm>
                <a:off x="4856163" y="2435225"/>
                <a:ext cx="173038" cy="133350"/>
              </a:xfrm>
              <a:custGeom>
                <a:avLst/>
                <a:gdLst>
                  <a:gd name="T0" fmla="*/ 8 w 107"/>
                  <a:gd name="T1" fmla="*/ 26 h 84"/>
                  <a:gd name="T2" fmla="*/ 29 w 107"/>
                  <a:gd name="T3" fmla="*/ 17 h 84"/>
                  <a:gd name="T4" fmla="*/ 47 w 107"/>
                  <a:gd name="T5" fmla="*/ 6 h 84"/>
                  <a:gd name="T6" fmla="*/ 60 w 107"/>
                  <a:gd name="T7" fmla="*/ 0 h 84"/>
                  <a:gd name="T8" fmla="*/ 101 w 107"/>
                  <a:gd name="T9" fmla="*/ 8 h 84"/>
                  <a:gd name="T10" fmla="*/ 92 w 107"/>
                  <a:gd name="T11" fmla="*/ 42 h 84"/>
                  <a:gd name="T12" fmla="*/ 92 w 107"/>
                  <a:gd name="T13" fmla="*/ 59 h 84"/>
                  <a:gd name="T14" fmla="*/ 51 w 107"/>
                  <a:gd name="T15" fmla="*/ 45 h 84"/>
                  <a:gd name="T16" fmla="*/ 38 w 107"/>
                  <a:gd name="T17" fmla="*/ 54 h 84"/>
                  <a:gd name="T18" fmla="*/ 5 w 107"/>
                  <a:gd name="T19" fmla="*/ 63 h 84"/>
                  <a:gd name="T20" fmla="*/ 5 w 107"/>
                  <a:gd name="T21" fmla="*/ 51 h 84"/>
                  <a:gd name="T22" fmla="*/ 8 w 107"/>
                  <a:gd name="T23" fmla="*/ 2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7" h="84">
                    <a:moveTo>
                      <a:pt x="8" y="26"/>
                    </a:moveTo>
                    <a:cubicBezTo>
                      <a:pt x="16" y="22"/>
                      <a:pt x="19" y="19"/>
                      <a:pt x="29" y="17"/>
                    </a:cubicBezTo>
                    <a:cubicBezTo>
                      <a:pt x="35" y="7"/>
                      <a:pt x="34" y="8"/>
                      <a:pt x="47" y="6"/>
                    </a:cubicBezTo>
                    <a:cubicBezTo>
                      <a:pt x="51" y="3"/>
                      <a:pt x="55" y="2"/>
                      <a:pt x="60" y="0"/>
                    </a:cubicBezTo>
                    <a:cubicBezTo>
                      <a:pt x="74" y="2"/>
                      <a:pt x="88" y="0"/>
                      <a:pt x="101" y="8"/>
                    </a:cubicBezTo>
                    <a:cubicBezTo>
                      <a:pt x="107" y="14"/>
                      <a:pt x="94" y="34"/>
                      <a:pt x="92" y="42"/>
                    </a:cubicBezTo>
                    <a:cubicBezTo>
                      <a:pt x="90" y="51"/>
                      <a:pt x="99" y="59"/>
                      <a:pt x="92" y="59"/>
                    </a:cubicBezTo>
                    <a:cubicBezTo>
                      <a:pt x="54" y="58"/>
                      <a:pt x="71" y="57"/>
                      <a:pt x="51" y="45"/>
                    </a:cubicBezTo>
                    <a:cubicBezTo>
                      <a:pt x="35" y="48"/>
                      <a:pt x="47" y="50"/>
                      <a:pt x="38" y="54"/>
                    </a:cubicBezTo>
                    <a:cubicBezTo>
                      <a:pt x="35" y="84"/>
                      <a:pt x="26" y="66"/>
                      <a:pt x="5" y="63"/>
                    </a:cubicBezTo>
                    <a:cubicBezTo>
                      <a:pt x="0" y="55"/>
                      <a:pt x="1" y="60"/>
                      <a:pt x="5" y="51"/>
                    </a:cubicBezTo>
                    <a:cubicBezTo>
                      <a:pt x="7" y="42"/>
                      <a:pt x="6" y="36"/>
                      <a:pt x="8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18" name="Freeform 118">
                <a:extLst>
                  <a:ext uri="{FF2B5EF4-FFF2-40B4-BE49-F238E27FC236}">
                    <a16:creationId xmlns:a16="http://schemas.microsoft.com/office/drawing/2014/main" id="{A1043722-A917-4614-9F48-3574EEFF882A}"/>
                  </a:ext>
                </a:extLst>
              </p:cNvPr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gray">
              <a:xfrm>
                <a:off x="4051301" y="3579813"/>
                <a:ext cx="387350" cy="369888"/>
              </a:xfrm>
              <a:custGeom>
                <a:avLst/>
                <a:gdLst>
                  <a:gd name="T0" fmla="*/ 1 w 240"/>
                  <a:gd name="T1" fmla="*/ 157 h 233"/>
                  <a:gd name="T2" fmla="*/ 82 w 240"/>
                  <a:gd name="T3" fmla="*/ 158 h 233"/>
                  <a:gd name="T4" fmla="*/ 96 w 240"/>
                  <a:gd name="T5" fmla="*/ 145 h 233"/>
                  <a:gd name="T6" fmla="*/ 85 w 240"/>
                  <a:gd name="T7" fmla="*/ 73 h 233"/>
                  <a:gd name="T8" fmla="*/ 73 w 240"/>
                  <a:gd name="T9" fmla="*/ 25 h 233"/>
                  <a:gd name="T10" fmla="*/ 82 w 240"/>
                  <a:gd name="T11" fmla="*/ 10 h 233"/>
                  <a:gd name="T12" fmla="*/ 99 w 240"/>
                  <a:gd name="T13" fmla="*/ 5 h 233"/>
                  <a:gd name="T14" fmla="*/ 120 w 240"/>
                  <a:gd name="T15" fmla="*/ 14 h 233"/>
                  <a:gd name="T16" fmla="*/ 133 w 240"/>
                  <a:gd name="T17" fmla="*/ 26 h 233"/>
                  <a:gd name="T18" fmla="*/ 147 w 240"/>
                  <a:gd name="T19" fmla="*/ 35 h 233"/>
                  <a:gd name="T20" fmla="*/ 165 w 240"/>
                  <a:gd name="T21" fmla="*/ 47 h 233"/>
                  <a:gd name="T22" fmla="*/ 178 w 240"/>
                  <a:gd name="T23" fmla="*/ 56 h 233"/>
                  <a:gd name="T24" fmla="*/ 186 w 240"/>
                  <a:gd name="T25" fmla="*/ 62 h 233"/>
                  <a:gd name="T26" fmla="*/ 201 w 240"/>
                  <a:gd name="T27" fmla="*/ 79 h 233"/>
                  <a:gd name="T28" fmla="*/ 210 w 240"/>
                  <a:gd name="T29" fmla="*/ 86 h 233"/>
                  <a:gd name="T30" fmla="*/ 235 w 240"/>
                  <a:gd name="T31" fmla="*/ 98 h 233"/>
                  <a:gd name="T32" fmla="*/ 237 w 240"/>
                  <a:gd name="T33" fmla="*/ 119 h 233"/>
                  <a:gd name="T34" fmla="*/ 237 w 240"/>
                  <a:gd name="T35" fmla="*/ 142 h 233"/>
                  <a:gd name="T36" fmla="*/ 226 w 240"/>
                  <a:gd name="T37" fmla="*/ 152 h 233"/>
                  <a:gd name="T38" fmla="*/ 202 w 240"/>
                  <a:gd name="T39" fmla="*/ 155 h 233"/>
                  <a:gd name="T40" fmla="*/ 172 w 240"/>
                  <a:gd name="T41" fmla="*/ 160 h 233"/>
                  <a:gd name="T42" fmla="*/ 148 w 240"/>
                  <a:gd name="T43" fmla="*/ 167 h 233"/>
                  <a:gd name="T44" fmla="*/ 127 w 240"/>
                  <a:gd name="T45" fmla="*/ 181 h 233"/>
                  <a:gd name="T46" fmla="*/ 115 w 240"/>
                  <a:gd name="T47" fmla="*/ 185 h 233"/>
                  <a:gd name="T48" fmla="*/ 102 w 240"/>
                  <a:gd name="T49" fmla="*/ 206 h 233"/>
                  <a:gd name="T50" fmla="*/ 93 w 240"/>
                  <a:gd name="T51" fmla="*/ 233 h 233"/>
                  <a:gd name="T52" fmla="*/ 49 w 240"/>
                  <a:gd name="T53" fmla="*/ 230 h 233"/>
                  <a:gd name="T54" fmla="*/ 28 w 240"/>
                  <a:gd name="T55" fmla="*/ 208 h 233"/>
                  <a:gd name="T56" fmla="*/ 6 w 240"/>
                  <a:gd name="T57" fmla="*/ 202 h 233"/>
                  <a:gd name="T58" fmla="*/ 1 w 240"/>
                  <a:gd name="T59" fmla="*/ 157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33">
                    <a:moveTo>
                      <a:pt x="1" y="157"/>
                    </a:moveTo>
                    <a:cubicBezTo>
                      <a:pt x="30" y="160"/>
                      <a:pt x="52" y="159"/>
                      <a:pt x="82" y="158"/>
                    </a:cubicBezTo>
                    <a:cubicBezTo>
                      <a:pt x="90" y="156"/>
                      <a:pt x="92" y="152"/>
                      <a:pt x="96" y="145"/>
                    </a:cubicBezTo>
                    <a:cubicBezTo>
                      <a:pt x="94" y="120"/>
                      <a:pt x="93" y="97"/>
                      <a:pt x="85" y="73"/>
                    </a:cubicBezTo>
                    <a:cubicBezTo>
                      <a:pt x="82" y="58"/>
                      <a:pt x="73" y="35"/>
                      <a:pt x="73" y="25"/>
                    </a:cubicBezTo>
                    <a:cubicBezTo>
                      <a:pt x="73" y="15"/>
                      <a:pt x="78" y="13"/>
                      <a:pt x="82" y="10"/>
                    </a:cubicBezTo>
                    <a:cubicBezTo>
                      <a:pt x="84" y="0"/>
                      <a:pt x="93" y="4"/>
                      <a:pt x="99" y="5"/>
                    </a:cubicBezTo>
                    <a:cubicBezTo>
                      <a:pt x="105" y="6"/>
                      <a:pt x="114" y="11"/>
                      <a:pt x="120" y="14"/>
                    </a:cubicBezTo>
                    <a:cubicBezTo>
                      <a:pt x="121" y="20"/>
                      <a:pt x="127" y="23"/>
                      <a:pt x="133" y="26"/>
                    </a:cubicBezTo>
                    <a:cubicBezTo>
                      <a:pt x="138" y="33"/>
                      <a:pt x="139" y="34"/>
                      <a:pt x="147" y="35"/>
                    </a:cubicBezTo>
                    <a:cubicBezTo>
                      <a:pt x="155" y="38"/>
                      <a:pt x="158" y="43"/>
                      <a:pt x="165" y="47"/>
                    </a:cubicBezTo>
                    <a:cubicBezTo>
                      <a:pt x="169" y="54"/>
                      <a:pt x="172" y="52"/>
                      <a:pt x="178" y="56"/>
                    </a:cubicBezTo>
                    <a:cubicBezTo>
                      <a:pt x="180" y="59"/>
                      <a:pt x="185" y="59"/>
                      <a:pt x="186" y="62"/>
                    </a:cubicBezTo>
                    <a:cubicBezTo>
                      <a:pt x="188" y="66"/>
                      <a:pt x="197" y="75"/>
                      <a:pt x="201" y="79"/>
                    </a:cubicBezTo>
                    <a:cubicBezTo>
                      <a:pt x="205" y="83"/>
                      <a:pt x="204" y="83"/>
                      <a:pt x="210" y="86"/>
                    </a:cubicBezTo>
                    <a:cubicBezTo>
                      <a:pt x="220" y="89"/>
                      <a:pt x="227" y="92"/>
                      <a:pt x="235" y="98"/>
                    </a:cubicBezTo>
                    <a:cubicBezTo>
                      <a:pt x="240" y="104"/>
                      <a:pt x="238" y="110"/>
                      <a:pt x="237" y="119"/>
                    </a:cubicBezTo>
                    <a:cubicBezTo>
                      <a:pt x="237" y="126"/>
                      <a:pt x="239" y="137"/>
                      <a:pt x="237" y="142"/>
                    </a:cubicBezTo>
                    <a:cubicBezTo>
                      <a:pt x="235" y="147"/>
                      <a:pt x="232" y="150"/>
                      <a:pt x="226" y="152"/>
                    </a:cubicBezTo>
                    <a:cubicBezTo>
                      <a:pt x="220" y="162"/>
                      <a:pt x="211" y="154"/>
                      <a:pt x="202" y="155"/>
                    </a:cubicBezTo>
                    <a:cubicBezTo>
                      <a:pt x="193" y="156"/>
                      <a:pt x="181" y="158"/>
                      <a:pt x="172" y="160"/>
                    </a:cubicBezTo>
                    <a:cubicBezTo>
                      <a:pt x="162" y="161"/>
                      <a:pt x="157" y="165"/>
                      <a:pt x="148" y="167"/>
                    </a:cubicBezTo>
                    <a:cubicBezTo>
                      <a:pt x="140" y="171"/>
                      <a:pt x="135" y="179"/>
                      <a:pt x="127" y="181"/>
                    </a:cubicBezTo>
                    <a:cubicBezTo>
                      <a:pt x="122" y="187"/>
                      <a:pt x="123" y="184"/>
                      <a:pt x="115" y="185"/>
                    </a:cubicBezTo>
                    <a:cubicBezTo>
                      <a:pt x="108" y="196"/>
                      <a:pt x="113" y="199"/>
                      <a:pt x="102" y="206"/>
                    </a:cubicBezTo>
                    <a:cubicBezTo>
                      <a:pt x="97" y="213"/>
                      <a:pt x="102" y="229"/>
                      <a:pt x="93" y="233"/>
                    </a:cubicBezTo>
                    <a:cubicBezTo>
                      <a:pt x="81" y="232"/>
                      <a:pt x="61" y="232"/>
                      <a:pt x="49" y="230"/>
                    </a:cubicBezTo>
                    <a:cubicBezTo>
                      <a:pt x="54" y="230"/>
                      <a:pt x="37" y="210"/>
                      <a:pt x="28" y="208"/>
                    </a:cubicBezTo>
                    <a:cubicBezTo>
                      <a:pt x="22" y="205"/>
                      <a:pt x="13" y="203"/>
                      <a:pt x="6" y="202"/>
                    </a:cubicBezTo>
                    <a:cubicBezTo>
                      <a:pt x="0" y="193"/>
                      <a:pt x="2" y="167"/>
                      <a:pt x="1" y="15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19" name="Freeform 119">
                <a:extLst>
                  <a:ext uri="{FF2B5EF4-FFF2-40B4-BE49-F238E27FC236}">
                    <a16:creationId xmlns:a16="http://schemas.microsoft.com/office/drawing/2014/main" id="{81CE6DA2-C62C-4D43-9F77-5CB122C7A0D9}"/>
                  </a:ext>
                </a:extLst>
              </p:cNvPr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gray">
              <a:xfrm>
                <a:off x="4935538" y="4554538"/>
                <a:ext cx="195263" cy="185738"/>
              </a:xfrm>
              <a:custGeom>
                <a:avLst/>
                <a:gdLst>
                  <a:gd name="T0" fmla="*/ 2 w 121"/>
                  <a:gd name="T1" fmla="*/ 42 h 117"/>
                  <a:gd name="T2" fmla="*/ 34 w 121"/>
                  <a:gd name="T3" fmla="*/ 36 h 117"/>
                  <a:gd name="T4" fmla="*/ 49 w 121"/>
                  <a:gd name="T5" fmla="*/ 20 h 117"/>
                  <a:gd name="T6" fmla="*/ 58 w 121"/>
                  <a:gd name="T7" fmla="*/ 11 h 117"/>
                  <a:gd name="T8" fmla="*/ 77 w 121"/>
                  <a:gd name="T9" fmla="*/ 0 h 117"/>
                  <a:gd name="T10" fmla="*/ 92 w 121"/>
                  <a:gd name="T11" fmla="*/ 12 h 117"/>
                  <a:gd name="T12" fmla="*/ 109 w 121"/>
                  <a:gd name="T13" fmla="*/ 21 h 117"/>
                  <a:gd name="T14" fmla="*/ 110 w 121"/>
                  <a:gd name="T15" fmla="*/ 92 h 117"/>
                  <a:gd name="T16" fmla="*/ 101 w 121"/>
                  <a:gd name="T17" fmla="*/ 108 h 117"/>
                  <a:gd name="T18" fmla="*/ 83 w 121"/>
                  <a:gd name="T19" fmla="*/ 114 h 117"/>
                  <a:gd name="T20" fmla="*/ 44 w 121"/>
                  <a:gd name="T21" fmla="*/ 98 h 117"/>
                  <a:gd name="T22" fmla="*/ 32 w 121"/>
                  <a:gd name="T23" fmla="*/ 89 h 117"/>
                  <a:gd name="T24" fmla="*/ 26 w 121"/>
                  <a:gd name="T25" fmla="*/ 78 h 117"/>
                  <a:gd name="T26" fmla="*/ 14 w 121"/>
                  <a:gd name="T27" fmla="*/ 71 h 117"/>
                  <a:gd name="T28" fmla="*/ 6 w 121"/>
                  <a:gd name="T29" fmla="*/ 59 h 117"/>
                  <a:gd name="T30" fmla="*/ 2 w 121"/>
                  <a:gd name="T31" fmla="*/ 51 h 117"/>
                  <a:gd name="T32" fmla="*/ 2 w 121"/>
                  <a:gd name="T33" fmla="*/ 4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1" h="117">
                    <a:moveTo>
                      <a:pt x="2" y="42"/>
                    </a:moveTo>
                    <a:cubicBezTo>
                      <a:pt x="22" y="41"/>
                      <a:pt x="22" y="43"/>
                      <a:pt x="34" y="36"/>
                    </a:cubicBezTo>
                    <a:cubicBezTo>
                      <a:pt x="27" y="23"/>
                      <a:pt x="39" y="21"/>
                      <a:pt x="49" y="20"/>
                    </a:cubicBezTo>
                    <a:cubicBezTo>
                      <a:pt x="53" y="14"/>
                      <a:pt x="51" y="12"/>
                      <a:pt x="58" y="11"/>
                    </a:cubicBezTo>
                    <a:cubicBezTo>
                      <a:pt x="64" y="8"/>
                      <a:pt x="71" y="3"/>
                      <a:pt x="77" y="0"/>
                    </a:cubicBezTo>
                    <a:cubicBezTo>
                      <a:pt x="88" y="4"/>
                      <a:pt x="80" y="10"/>
                      <a:pt x="92" y="12"/>
                    </a:cubicBezTo>
                    <a:cubicBezTo>
                      <a:pt x="99" y="15"/>
                      <a:pt x="101" y="19"/>
                      <a:pt x="109" y="21"/>
                    </a:cubicBezTo>
                    <a:cubicBezTo>
                      <a:pt x="120" y="40"/>
                      <a:pt x="121" y="71"/>
                      <a:pt x="110" y="92"/>
                    </a:cubicBezTo>
                    <a:cubicBezTo>
                      <a:pt x="109" y="99"/>
                      <a:pt x="108" y="107"/>
                      <a:pt x="101" y="108"/>
                    </a:cubicBezTo>
                    <a:cubicBezTo>
                      <a:pt x="95" y="117"/>
                      <a:pt x="95" y="116"/>
                      <a:pt x="83" y="114"/>
                    </a:cubicBezTo>
                    <a:cubicBezTo>
                      <a:pt x="79" y="111"/>
                      <a:pt x="50" y="99"/>
                      <a:pt x="44" y="98"/>
                    </a:cubicBezTo>
                    <a:cubicBezTo>
                      <a:pt x="39" y="95"/>
                      <a:pt x="35" y="94"/>
                      <a:pt x="32" y="89"/>
                    </a:cubicBezTo>
                    <a:cubicBezTo>
                      <a:pt x="29" y="85"/>
                      <a:pt x="29" y="81"/>
                      <a:pt x="26" y="78"/>
                    </a:cubicBezTo>
                    <a:cubicBezTo>
                      <a:pt x="23" y="75"/>
                      <a:pt x="17" y="74"/>
                      <a:pt x="14" y="71"/>
                    </a:cubicBezTo>
                    <a:cubicBezTo>
                      <a:pt x="9" y="66"/>
                      <a:pt x="8" y="62"/>
                      <a:pt x="6" y="59"/>
                    </a:cubicBezTo>
                    <a:cubicBezTo>
                      <a:pt x="4" y="56"/>
                      <a:pt x="3" y="54"/>
                      <a:pt x="2" y="51"/>
                    </a:cubicBezTo>
                    <a:cubicBezTo>
                      <a:pt x="1" y="44"/>
                      <a:pt x="0" y="47"/>
                      <a:pt x="2" y="4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20" name="Freeform 120">
                <a:extLst>
                  <a:ext uri="{FF2B5EF4-FFF2-40B4-BE49-F238E27FC236}">
                    <a16:creationId xmlns:a16="http://schemas.microsoft.com/office/drawing/2014/main" id="{021D6C92-58CB-458E-9D0B-3F848C30EA06}"/>
                  </a:ext>
                </a:extLst>
              </p:cNvPr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gray">
              <a:xfrm>
                <a:off x="5370513" y="3125788"/>
                <a:ext cx="66675" cy="61913"/>
              </a:xfrm>
              <a:custGeom>
                <a:avLst/>
                <a:gdLst>
                  <a:gd name="T0" fmla="*/ 0 w 42"/>
                  <a:gd name="T1" fmla="*/ 3 h 39"/>
                  <a:gd name="T2" fmla="*/ 23 w 42"/>
                  <a:gd name="T3" fmla="*/ 0 h 39"/>
                  <a:gd name="T4" fmla="*/ 31 w 42"/>
                  <a:gd name="T5" fmla="*/ 16 h 39"/>
                  <a:gd name="T6" fmla="*/ 36 w 42"/>
                  <a:gd name="T7" fmla="*/ 27 h 39"/>
                  <a:gd name="T8" fmla="*/ 42 w 42"/>
                  <a:gd name="T9" fmla="*/ 38 h 39"/>
                  <a:gd name="T10" fmla="*/ 27 w 42"/>
                  <a:gd name="T11" fmla="*/ 33 h 39"/>
                  <a:gd name="T12" fmla="*/ 18 w 42"/>
                  <a:gd name="T13" fmla="*/ 39 h 39"/>
                  <a:gd name="T14" fmla="*/ 2 w 42"/>
                  <a:gd name="T15" fmla="*/ 17 h 39"/>
                  <a:gd name="T16" fmla="*/ 0 w 42"/>
                  <a:gd name="T17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39">
                    <a:moveTo>
                      <a:pt x="0" y="3"/>
                    </a:moveTo>
                    <a:lnTo>
                      <a:pt x="23" y="0"/>
                    </a:lnTo>
                    <a:lnTo>
                      <a:pt x="31" y="16"/>
                    </a:lnTo>
                    <a:lnTo>
                      <a:pt x="36" y="27"/>
                    </a:lnTo>
                    <a:lnTo>
                      <a:pt x="42" y="38"/>
                    </a:lnTo>
                    <a:lnTo>
                      <a:pt x="27" y="33"/>
                    </a:lnTo>
                    <a:lnTo>
                      <a:pt x="18" y="39"/>
                    </a:lnTo>
                    <a:lnTo>
                      <a:pt x="2" y="17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21" name="Freeform 127">
                <a:extLst>
                  <a:ext uri="{FF2B5EF4-FFF2-40B4-BE49-F238E27FC236}">
                    <a16:creationId xmlns:a16="http://schemas.microsoft.com/office/drawing/2014/main" id="{8CF2DE19-AC49-487B-B66B-C4CA3D6E7F29}"/>
                  </a:ext>
                </a:extLst>
              </p:cNvPr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gray">
              <a:xfrm>
                <a:off x="3930651" y="3863975"/>
                <a:ext cx="96838" cy="34925"/>
              </a:xfrm>
              <a:custGeom>
                <a:avLst/>
                <a:gdLst>
                  <a:gd name="T0" fmla="*/ 0 w 60"/>
                  <a:gd name="T1" fmla="*/ 9 h 22"/>
                  <a:gd name="T2" fmla="*/ 27 w 60"/>
                  <a:gd name="T3" fmla="*/ 9 h 22"/>
                  <a:gd name="T4" fmla="*/ 39 w 60"/>
                  <a:gd name="T5" fmla="*/ 8 h 22"/>
                  <a:gd name="T6" fmla="*/ 48 w 60"/>
                  <a:gd name="T7" fmla="*/ 0 h 22"/>
                  <a:gd name="T8" fmla="*/ 60 w 60"/>
                  <a:gd name="T9" fmla="*/ 9 h 22"/>
                  <a:gd name="T10" fmla="*/ 49 w 60"/>
                  <a:gd name="T11" fmla="*/ 19 h 22"/>
                  <a:gd name="T12" fmla="*/ 40 w 60"/>
                  <a:gd name="T13" fmla="*/ 16 h 22"/>
                  <a:gd name="T14" fmla="*/ 30 w 60"/>
                  <a:gd name="T15" fmla="*/ 22 h 22"/>
                  <a:gd name="T16" fmla="*/ 3 w 60"/>
                  <a:gd name="T17" fmla="*/ 21 h 22"/>
                  <a:gd name="T18" fmla="*/ 0 w 60"/>
                  <a:gd name="T19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22">
                    <a:moveTo>
                      <a:pt x="0" y="9"/>
                    </a:moveTo>
                    <a:lnTo>
                      <a:pt x="27" y="9"/>
                    </a:lnTo>
                    <a:lnTo>
                      <a:pt x="39" y="8"/>
                    </a:lnTo>
                    <a:lnTo>
                      <a:pt x="48" y="0"/>
                    </a:lnTo>
                    <a:lnTo>
                      <a:pt x="60" y="9"/>
                    </a:lnTo>
                    <a:lnTo>
                      <a:pt x="49" y="19"/>
                    </a:lnTo>
                    <a:lnTo>
                      <a:pt x="40" y="16"/>
                    </a:lnTo>
                    <a:lnTo>
                      <a:pt x="30" y="22"/>
                    </a:lnTo>
                    <a:lnTo>
                      <a:pt x="3" y="2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22" name="Freeform 128">
                <a:extLst>
                  <a:ext uri="{FF2B5EF4-FFF2-40B4-BE49-F238E27FC236}">
                    <a16:creationId xmlns:a16="http://schemas.microsoft.com/office/drawing/2014/main" id="{390A4E1A-4EC7-436A-87E0-971E23965321}"/>
                  </a:ext>
                </a:extLst>
              </p:cNvPr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gray">
              <a:xfrm>
                <a:off x="3932238" y="3892550"/>
                <a:ext cx="77788" cy="46038"/>
              </a:xfrm>
              <a:custGeom>
                <a:avLst/>
                <a:gdLst>
                  <a:gd name="T0" fmla="*/ 0 w 48"/>
                  <a:gd name="T1" fmla="*/ 23 h 29"/>
                  <a:gd name="T2" fmla="*/ 21 w 48"/>
                  <a:gd name="T3" fmla="*/ 29 h 29"/>
                  <a:gd name="T4" fmla="*/ 30 w 48"/>
                  <a:gd name="T5" fmla="*/ 21 h 29"/>
                  <a:gd name="T6" fmla="*/ 48 w 48"/>
                  <a:gd name="T7" fmla="*/ 0 h 29"/>
                  <a:gd name="T8" fmla="*/ 26 w 48"/>
                  <a:gd name="T9" fmla="*/ 3 h 29"/>
                  <a:gd name="T10" fmla="*/ 3 w 48"/>
                  <a:gd name="T11" fmla="*/ 3 h 29"/>
                  <a:gd name="T12" fmla="*/ 2 w 48"/>
                  <a:gd name="T13" fmla="*/ 14 h 29"/>
                  <a:gd name="T14" fmla="*/ 0 w 48"/>
                  <a:gd name="T15" fmla="*/ 2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29">
                    <a:moveTo>
                      <a:pt x="0" y="23"/>
                    </a:moveTo>
                    <a:lnTo>
                      <a:pt x="21" y="29"/>
                    </a:lnTo>
                    <a:lnTo>
                      <a:pt x="30" y="21"/>
                    </a:lnTo>
                    <a:lnTo>
                      <a:pt x="48" y="0"/>
                    </a:lnTo>
                    <a:lnTo>
                      <a:pt x="26" y="3"/>
                    </a:lnTo>
                    <a:lnTo>
                      <a:pt x="3" y="3"/>
                    </a:lnTo>
                    <a:lnTo>
                      <a:pt x="2" y="14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23" name="Freeform 129">
                <a:extLst>
                  <a:ext uri="{FF2B5EF4-FFF2-40B4-BE49-F238E27FC236}">
                    <a16:creationId xmlns:a16="http://schemas.microsoft.com/office/drawing/2014/main" id="{C58816A5-6711-4390-B703-BF40845D930F}"/>
                  </a:ext>
                </a:extLst>
              </p:cNvPr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gray">
              <a:xfrm>
                <a:off x="3925888" y="3795713"/>
                <a:ext cx="127000" cy="109538"/>
              </a:xfrm>
              <a:custGeom>
                <a:avLst/>
                <a:gdLst>
                  <a:gd name="T0" fmla="*/ 10 w 79"/>
                  <a:gd name="T1" fmla="*/ 4 h 69"/>
                  <a:gd name="T2" fmla="*/ 27 w 79"/>
                  <a:gd name="T3" fmla="*/ 0 h 69"/>
                  <a:gd name="T4" fmla="*/ 55 w 79"/>
                  <a:gd name="T5" fmla="*/ 10 h 69"/>
                  <a:gd name="T6" fmla="*/ 63 w 79"/>
                  <a:gd name="T7" fmla="*/ 21 h 69"/>
                  <a:gd name="T8" fmla="*/ 79 w 79"/>
                  <a:gd name="T9" fmla="*/ 22 h 69"/>
                  <a:gd name="T10" fmla="*/ 79 w 79"/>
                  <a:gd name="T11" fmla="*/ 51 h 69"/>
                  <a:gd name="T12" fmla="*/ 79 w 79"/>
                  <a:gd name="T13" fmla="*/ 69 h 69"/>
                  <a:gd name="T14" fmla="*/ 66 w 79"/>
                  <a:gd name="T15" fmla="*/ 64 h 69"/>
                  <a:gd name="T16" fmla="*/ 57 w 79"/>
                  <a:gd name="T17" fmla="*/ 58 h 69"/>
                  <a:gd name="T18" fmla="*/ 4 w 79"/>
                  <a:gd name="T19" fmla="*/ 67 h 69"/>
                  <a:gd name="T20" fmla="*/ 22 w 79"/>
                  <a:gd name="T21" fmla="*/ 63 h 69"/>
                  <a:gd name="T22" fmla="*/ 46 w 79"/>
                  <a:gd name="T23" fmla="*/ 61 h 69"/>
                  <a:gd name="T24" fmla="*/ 60 w 79"/>
                  <a:gd name="T25" fmla="*/ 54 h 69"/>
                  <a:gd name="T26" fmla="*/ 51 w 79"/>
                  <a:gd name="T27" fmla="*/ 43 h 69"/>
                  <a:gd name="T28" fmla="*/ 42 w 79"/>
                  <a:gd name="T29" fmla="*/ 52 h 69"/>
                  <a:gd name="T30" fmla="*/ 1 w 79"/>
                  <a:gd name="T31" fmla="*/ 54 h 69"/>
                  <a:gd name="T32" fmla="*/ 0 w 79"/>
                  <a:gd name="T33" fmla="*/ 28 h 69"/>
                  <a:gd name="T34" fmla="*/ 6 w 79"/>
                  <a:gd name="T35" fmla="*/ 16 h 69"/>
                  <a:gd name="T36" fmla="*/ 10 w 79"/>
                  <a:gd name="T37" fmla="*/ 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9" h="69">
                    <a:moveTo>
                      <a:pt x="10" y="4"/>
                    </a:moveTo>
                    <a:lnTo>
                      <a:pt x="27" y="0"/>
                    </a:lnTo>
                    <a:lnTo>
                      <a:pt x="55" y="10"/>
                    </a:lnTo>
                    <a:lnTo>
                      <a:pt x="63" y="21"/>
                    </a:lnTo>
                    <a:lnTo>
                      <a:pt x="79" y="22"/>
                    </a:lnTo>
                    <a:lnTo>
                      <a:pt x="79" y="51"/>
                    </a:lnTo>
                    <a:lnTo>
                      <a:pt x="79" y="69"/>
                    </a:lnTo>
                    <a:lnTo>
                      <a:pt x="66" y="64"/>
                    </a:lnTo>
                    <a:lnTo>
                      <a:pt x="57" y="58"/>
                    </a:lnTo>
                    <a:lnTo>
                      <a:pt x="4" y="67"/>
                    </a:lnTo>
                    <a:lnTo>
                      <a:pt x="22" y="63"/>
                    </a:lnTo>
                    <a:lnTo>
                      <a:pt x="46" y="61"/>
                    </a:lnTo>
                    <a:lnTo>
                      <a:pt x="60" y="54"/>
                    </a:lnTo>
                    <a:lnTo>
                      <a:pt x="51" y="43"/>
                    </a:lnTo>
                    <a:lnTo>
                      <a:pt x="42" y="52"/>
                    </a:lnTo>
                    <a:lnTo>
                      <a:pt x="1" y="54"/>
                    </a:lnTo>
                    <a:lnTo>
                      <a:pt x="0" y="28"/>
                    </a:lnTo>
                    <a:lnTo>
                      <a:pt x="6" y="16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24" name="Freeform 130">
                <a:extLst>
                  <a:ext uri="{FF2B5EF4-FFF2-40B4-BE49-F238E27FC236}">
                    <a16:creationId xmlns:a16="http://schemas.microsoft.com/office/drawing/2014/main" id="{06F86C16-1178-4058-8D76-3D4CC3D6D93F}"/>
                  </a:ext>
                </a:extLst>
              </p:cNvPr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gray">
              <a:xfrm>
                <a:off x="5331622" y="3894932"/>
                <a:ext cx="47625" cy="50800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25" name="Freeform 131">
                <a:extLst>
                  <a:ext uri="{FF2B5EF4-FFF2-40B4-BE49-F238E27FC236}">
                    <a16:creationId xmlns:a16="http://schemas.microsoft.com/office/drawing/2014/main" id="{5056A98A-216B-4EF8-BF40-D78AD9A5023D}"/>
                  </a:ext>
                </a:extLst>
              </p:cNvPr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gray">
              <a:xfrm>
                <a:off x="5416551" y="3433763"/>
                <a:ext cx="49213" cy="50800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26" name="Freeform 132">
                <a:extLst>
                  <a:ext uri="{FF2B5EF4-FFF2-40B4-BE49-F238E27FC236}">
                    <a16:creationId xmlns:a16="http://schemas.microsoft.com/office/drawing/2014/main" id="{46FB579A-34AE-4998-938D-8D91F1AD20BC}"/>
                  </a:ext>
                </a:extLst>
              </p:cNvPr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gray">
              <a:xfrm>
                <a:off x="6011863" y="3071813"/>
                <a:ext cx="203200" cy="114300"/>
              </a:xfrm>
              <a:custGeom>
                <a:avLst/>
                <a:gdLst>
                  <a:gd name="T0" fmla="*/ 10 w 126"/>
                  <a:gd name="T1" fmla="*/ 15 h 72"/>
                  <a:gd name="T2" fmla="*/ 22 w 126"/>
                  <a:gd name="T3" fmla="*/ 7 h 72"/>
                  <a:gd name="T4" fmla="*/ 40 w 126"/>
                  <a:gd name="T5" fmla="*/ 15 h 72"/>
                  <a:gd name="T6" fmla="*/ 48 w 126"/>
                  <a:gd name="T7" fmla="*/ 7 h 72"/>
                  <a:gd name="T8" fmla="*/ 58 w 126"/>
                  <a:gd name="T9" fmla="*/ 0 h 72"/>
                  <a:gd name="T10" fmla="*/ 84 w 126"/>
                  <a:gd name="T11" fmla="*/ 9 h 72"/>
                  <a:gd name="T12" fmla="*/ 108 w 126"/>
                  <a:gd name="T13" fmla="*/ 6 h 72"/>
                  <a:gd name="T14" fmla="*/ 124 w 126"/>
                  <a:gd name="T15" fmla="*/ 9 h 72"/>
                  <a:gd name="T16" fmla="*/ 126 w 126"/>
                  <a:gd name="T17" fmla="*/ 19 h 72"/>
                  <a:gd name="T18" fmla="*/ 108 w 126"/>
                  <a:gd name="T19" fmla="*/ 39 h 72"/>
                  <a:gd name="T20" fmla="*/ 85 w 126"/>
                  <a:gd name="T21" fmla="*/ 52 h 72"/>
                  <a:gd name="T22" fmla="*/ 73 w 126"/>
                  <a:gd name="T23" fmla="*/ 55 h 72"/>
                  <a:gd name="T24" fmla="*/ 52 w 126"/>
                  <a:gd name="T25" fmla="*/ 60 h 72"/>
                  <a:gd name="T26" fmla="*/ 51 w 126"/>
                  <a:gd name="T27" fmla="*/ 72 h 72"/>
                  <a:gd name="T28" fmla="*/ 9 w 126"/>
                  <a:gd name="T29" fmla="*/ 70 h 72"/>
                  <a:gd name="T30" fmla="*/ 0 w 126"/>
                  <a:gd name="T31" fmla="*/ 51 h 72"/>
                  <a:gd name="T32" fmla="*/ 25 w 126"/>
                  <a:gd name="T33" fmla="*/ 51 h 72"/>
                  <a:gd name="T34" fmla="*/ 34 w 126"/>
                  <a:gd name="T35" fmla="*/ 36 h 72"/>
                  <a:gd name="T36" fmla="*/ 28 w 126"/>
                  <a:gd name="T37" fmla="*/ 28 h 72"/>
                  <a:gd name="T38" fmla="*/ 22 w 126"/>
                  <a:gd name="T39" fmla="*/ 2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72">
                    <a:moveTo>
                      <a:pt x="10" y="15"/>
                    </a:moveTo>
                    <a:lnTo>
                      <a:pt x="22" y="7"/>
                    </a:lnTo>
                    <a:lnTo>
                      <a:pt x="40" y="15"/>
                    </a:lnTo>
                    <a:lnTo>
                      <a:pt x="48" y="7"/>
                    </a:lnTo>
                    <a:lnTo>
                      <a:pt x="58" y="0"/>
                    </a:lnTo>
                    <a:lnTo>
                      <a:pt x="84" y="9"/>
                    </a:lnTo>
                    <a:lnTo>
                      <a:pt x="108" y="6"/>
                    </a:lnTo>
                    <a:lnTo>
                      <a:pt x="124" y="9"/>
                    </a:lnTo>
                    <a:lnTo>
                      <a:pt x="126" y="19"/>
                    </a:lnTo>
                    <a:lnTo>
                      <a:pt x="108" y="39"/>
                    </a:lnTo>
                    <a:lnTo>
                      <a:pt x="85" y="52"/>
                    </a:lnTo>
                    <a:lnTo>
                      <a:pt x="73" y="55"/>
                    </a:lnTo>
                    <a:lnTo>
                      <a:pt x="52" y="60"/>
                    </a:lnTo>
                    <a:lnTo>
                      <a:pt x="51" y="72"/>
                    </a:lnTo>
                    <a:lnTo>
                      <a:pt x="9" y="70"/>
                    </a:lnTo>
                    <a:lnTo>
                      <a:pt x="0" y="51"/>
                    </a:lnTo>
                    <a:lnTo>
                      <a:pt x="25" y="51"/>
                    </a:lnTo>
                    <a:lnTo>
                      <a:pt x="34" y="36"/>
                    </a:lnTo>
                    <a:lnTo>
                      <a:pt x="28" y="28"/>
                    </a:lnTo>
                    <a:lnTo>
                      <a:pt x="22" y="25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27" name="Freeform 133">
                <a:extLst>
                  <a:ext uri="{FF2B5EF4-FFF2-40B4-BE49-F238E27FC236}">
                    <a16:creationId xmlns:a16="http://schemas.microsoft.com/office/drawing/2014/main" id="{3782BA20-D898-4387-A7B7-C1C4C6D97DCE}"/>
                  </a:ext>
                </a:extLst>
              </p:cNvPr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gray">
              <a:xfrm>
                <a:off x="6248401" y="3446463"/>
                <a:ext cx="206375" cy="109538"/>
              </a:xfrm>
              <a:custGeom>
                <a:avLst/>
                <a:gdLst>
                  <a:gd name="T0" fmla="*/ 17 w 127"/>
                  <a:gd name="T1" fmla="*/ 1 h 69"/>
                  <a:gd name="T2" fmla="*/ 8 w 127"/>
                  <a:gd name="T3" fmla="*/ 16 h 69"/>
                  <a:gd name="T4" fmla="*/ 2 w 127"/>
                  <a:gd name="T5" fmla="*/ 25 h 69"/>
                  <a:gd name="T6" fmla="*/ 20 w 127"/>
                  <a:gd name="T7" fmla="*/ 29 h 69"/>
                  <a:gd name="T8" fmla="*/ 29 w 127"/>
                  <a:gd name="T9" fmla="*/ 38 h 69"/>
                  <a:gd name="T10" fmla="*/ 42 w 127"/>
                  <a:gd name="T11" fmla="*/ 41 h 69"/>
                  <a:gd name="T12" fmla="*/ 64 w 127"/>
                  <a:gd name="T13" fmla="*/ 53 h 69"/>
                  <a:gd name="T14" fmla="*/ 80 w 127"/>
                  <a:gd name="T15" fmla="*/ 61 h 69"/>
                  <a:gd name="T16" fmla="*/ 92 w 127"/>
                  <a:gd name="T17" fmla="*/ 59 h 69"/>
                  <a:gd name="T18" fmla="*/ 117 w 127"/>
                  <a:gd name="T19" fmla="*/ 67 h 69"/>
                  <a:gd name="T20" fmla="*/ 123 w 127"/>
                  <a:gd name="T21" fmla="*/ 47 h 69"/>
                  <a:gd name="T22" fmla="*/ 125 w 127"/>
                  <a:gd name="T23" fmla="*/ 37 h 69"/>
                  <a:gd name="T24" fmla="*/ 111 w 127"/>
                  <a:gd name="T25" fmla="*/ 37 h 69"/>
                  <a:gd name="T26" fmla="*/ 93 w 127"/>
                  <a:gd name="T27" fmla="*/ 29 h 69"/>
                  <a:gd name="T28" fmla="*/ 71 w 127"/>
                  <a:gd name="T29" fmla="*/ 19 h 69"/>
                  <a:gd name="T30" fmla="*/ 54 w 127"/>
                  <a:gd name="T31" fmla="*/ 11 h 69"/>
                  <a:gd name="T32" fmla="*/ 33 w 127"/>
                  <a:gd name="T33" fmla="*/ 2 h 69"/>
                  <a:gd name="T34" fmla="*/ 17 w 127"/>
                  <a:gd name="T35" fmla="*/ 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7" h="69">
                    <a:moveTo>
                      <a:pt x="17" y="1"/>
                    </a:moveTo>
                    <a:cubicBezTo>
                      <a:pt x="12" y="4"/>
                      <a:pt x="10" y="12"/>
                      <a:pt x="8" y="16"/>
                    </a:cubicBezTo>
                    <a:cubicBezTo>
                      <a:pt x="6" y="20"/>
                      <a:pt x="0" y="23"/>
                      <a:pt x="2" y="25"/>
                    </a:cubicBezTo>
                    <a:cubicBezTo>
                      <a:pt x="4" y="27"/>
                      <a:pt x="16" y="27"/>
                      <a:pt x="20" y="29"/>
                    </a:cubicBezTo>
                    <a:cubicBezTo>
                      <a:pt x="24" y="31"/>
                      <a:pt x="25" y="36"/>
                      <a:pt x="29" y="38"/>
                    </a:cubicBezTo>
                    <a:cubicBezTo>
                      <a:pt x="33" y="40"/>
                      <a:pt x="36" y="39"/>
                      <a:pt x="42" y="41"/>
                    </a:cubicBezTo>
                    <a:cubicBezTo>
                      <a:pt x="48" y="43"/>
                      <a:pt x="58" y="50"/>
                      <a:pt x="64" y="53"/>
                    </a:cubicBezTo>
                    <a:cubicBezTo>
                      <a:pt x="70" y="56"/>
                      <a:pt x="75" y="60"/>
                      <a:pt x="80" y="61"/>
                    </a:cubicBezTo>
                    <a:cubicBezTo>
                      <a:pt x="85" y="62"/>
                      <a:pt x="86" y="58"/>
                      <a:pt x="92" y="59"/>
                    </a:cubicBezTo>
                    <a:cubicBezTo>
                      <a:pt x="98" y="60"/>
                      <a:pt x="112" y="69"/>
                      <a:pt x="117" y="67"/>
                    </a:cubicBezTo>
                    <a:cubicBezTo>
                      <a:pt x="122" y="65"/>
                      <a:pt x="122" y="52"/>
                      <a:pt x="123" y="47"/>
                    </a:cubicBezTo>
                    <a:cubicBezTo>
                      <a:pt x="124" y="42"/>
                      <a:pt x="127" y="39"/>
                      <a:pt x="125" y="37"/>
                    </a:cubicBezTo>
                    <a:cubicBezTo>
                      <a:pt x="123" y="35"/>
                      <a:pt x="116" y="38"/>
                      <a:pt x="111" y="37"/>
                    </a:cubicBezTo>
                    <a:cubicBezTo>
                      <a:pt x="106" y="36"/>
                      <a:pt x="100" y="32"/>
                      <a:pt x="93" y="29"/>
                    </a:cubicBezTo>
                    <a:cubicBezTo>
                      <a:pt x="86" y="26"/>
                      <a:pt x="77" y="22"/>
                      <a:pt x="71" y="19"/>
                    </a:cubicBezTo>
                    <a:cubicBezTo>
                      <a:pt x="65" y="16"/>
                      <a:pt x="60" y="14"/>
                      <a:pt x="54" y="11"/>
                    </a:cubicBezTo>
                    <a:cubicBezTo>
                      <a:pt x="48" y="8"/>
                      <a:pt x="39" y="4"/>
                      <a:pt x="33" y="2"/>
                    </a:cubicBezTo>
                    <a:cubicBezTo>
                      <a:pt x="27" y="0"/>
                      <a:pt x="20" y="1"/>
                      <a:pt x="17" y="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28" name="Freeform 134">
                <a:extLst>
                  <a:ext uri="{FF2B5EF4-FFF2-40B4-BE49-F238E27FC236}">
                    <a16:creationId xmlns:a16="http://schemas.microsoft.com/office/drawing/2014/main" id="{E12B95D1-7FE5-4DE3-9378-EA07642DB6E0}"/>
                  </a:ext>
                </a:extLst>
              </p:cNvPr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gray">
              <a:xfrm>
                <a:off x="6088063" y="2697163"/>
                <a:ext cx="1493838" cy="1057275"/>
              </a:xfrm>
              <a:custGeom>
                <a:avLst/>
                <a:gdLst>
                  <a:gd name="T0" fmla="*/ 637 w 926"/>
                  <a:gd name="T1" fmla="*/ 140 h 666"/>
                  <a:gd name="T2" fmla="*/ 682 w 926"/>
                  <a:gd name="T3" fmla="*/ 137 h 666"/>
                  <a:gd name="T4" fmla="*/ 642 w 926"/>
                  <a:gd name="T5" fmla="*/ 170 h 666"/>
                  <a:gd name="T6" fmla="*/ 603 w 926"/>
                  <a:gd name="T7" fmla="*/ 201 h 666"/>
                  <a:gd name="T8" fmla="*/ 571 w 926"/>
                  <a:gd name="T9" fmla="*/ 213 h 666"/>
                  <a:gd name="T10" fmla="*/ 531 w 926"/>
                  <a:gd name="T11" fmla="*/ 243 h 666"/>
                  <a:gd name="T12" fmla="*/ 474 w 926"/>
                  <a:gd name="T13" fmla="*/ 264 h 666"/>
                  <a:gd name="T14" fmla="*/ 418 w 926"/>
                  <a:gd name="T15" fmla="*/ 243 h 666"/>
                  <a:gd name="T16" fmla="*/ 331 w 926"/>
                  <a:gd name="T17" fmla="*/ 219 h 666"/>
                  <a:gd name="T18" fmla="*/ 294 w 926"/>
                  <a:gd name="T19" fmla="*/ 197 h 666"/>
                  <a:gd name="T20" fmla="*/ 268 w 926"/>
                  <a:gd name="T21" fmla="*/ 155 h 666"/>
                  <a:gd name="T22" fmla="*/ 232 w 926"/>
                  <a:gd name="T23" fmla="*/ 117 h 666"/>
                  <a:gd name="T24" fmla="*/ 195 w 926"/>
                  <a:gd name="T25" fmla="*/ 156 h 666"/>
                  <a:gd name="T26" fmla="*/ 141 w 926"/>
                  <a:gd name="T27" fmla="*/ 179 h 666"/>
                  <a:gd name="T28" fmla="*/ 111 w 926"/>
                  <a:gd name="T29" fmla="*/ 194 h 666"/>
                  <a:gd name="T30" fmla="*/ 120 w 926"/>
                  <a:gd name="T31" fmla="*/ 249 h 666"/>
                  <a:gd name="T32" fmla="*/ 70 w 926"/>
                  <a:gd name="T33" fmla="*/ 272 h 666"/>
                  <a:gd name="T34" fmla="*/ 25 w 926"/>
                  <a:gd name="T35" fmla="*/ 287 h 666"/>
                  <a:gd name="T36" fmla="*/ 16 w 926"/>
                  <a:gd name="T37" fmla="*/ 327 h 666"/>
                  <a:gd name="T38" fmla="*/ 64 w 926"/>
                  <a:gd name="T39" fmla="*/ 374 h 666"/>
                  <a:gd name="T40" fmla="*/ 103 w 926"/>
                  <a:gd name="T41" fmla="*/ 396 h 666"/>
                  <a:gd name="T42" fmla="*/ 87 w 926"/>
                  <a:gd name="T43" fmla="*/ 437 h 666"/>
                  <a:gd name="T44" fmla="*/ 129 w 926"/>
                  <a:gd name="T45" fmla="*/ 474 h 666"/>
                  <a:gd name="T46" fmla="*/ 227 w 926"/>
                  <a:gd name="T47" fmla="*/ 503 h 666"/>
                  <a:gd name="T48" fmla="*/ 298 w 926"/>
                  <a:gd name="T49" fmla="*/ 498 h 666"/>
                  <a:gd name="T50" fmla="*/ 367 w 926"/>
                  <a:gd name="T51" fmla="*/ 498 h 666"/>
                  <a:gd name="T52" fmla="*/ 369 w 926"/>
                  <a:gd name="T53" fmla="*/ 578 h 666"/>
                  <a:gd name="T54" fmla="*/ 405 w 926"/>
                  <a:gd name="T55" fmla="*/ 615 h 666"/>
                  <a:gd name="T56" fmla="*/ 459 w 926"/>
                  <a:gd name="T57" fmla="*/ 600 h 666"/>
                  <a:gd name="T58" fmla="*/ 514 w 926"/>
                  <a:gd name="T59" fmla="*/ 618 h 666"/>
                  <a:gd name="T60" fmla="*/ 532 w 926"/>
                  <a:gd name="T61" fmla="*/ 665 h 666"/>
                  <a:gd name="T62" fmla="*/ 568 w 926"/>
                  <a:gd name="T63" fmla="*/ 624 h 666"/>
                  <a:gd name="T64" fmla="*/ 607 w 926"/>
                  <a:gd name="T65" fmla="*/ 606 h 666"/>
                  <a:gd name="T66" fmla="*/ 696 w 926"/>
                  <a:gd name="T67" fmla="*/ 537 h 666"/>
                  <a:gd name="T68" fmla="*/ 724 w 926"/>
                  <a:gd name="T69" fmla="*/ 456 h 666"/>
                  <a:gd name="T70" fmla="*/ 690 w 926"/>
                  <a:gd name="T71" fmla="*/ 392 h 666"/>
                  <a:gd name="T72" fmla="*/ 700 w 926"/>
                  <a:gd name="T73" fmla="*/ 347 h 666"/>
                  <a:gd name="T74" fmla="*/ 660 w 926"/>
                  <a:gd name="T75" fmla="*/ 314 h 666"/>
                  <a:gd name="T76" fmla="*/ 729 w 926"/>
                  <a:gd name="T77" fmla="*/ 279 h 666"/>
                  <a:gd name="T78" fmla="*/ 747 w 926"/>
                  <a:gd name="T79" fmla="*/ 296 h 666"/>
                  <a:gd name="T80" fmla="*/ 795 w 926"/>
                  <a:gd name="T81" fmla="*/ 264 h 666"/>
                  <a:gd name="T82" fmla="*/ 841 w 926"/>
                  <a:gd name="T83" fmla="*/ 236 h 666"/>
                  <a:gd name="T84" fmla="*/ 868 w 926"/>
                  <a:gd name="T85" fmla="*/ 197 h 666"/>
                  <a:gd name="T86" fmla="*/ 915 w 926"/>
                  <a:gd name="T87" fmla="*/ 153 h 666"/>
                  <a:gd name="T88" fmla="*/ 858 w 926"/>
                  <a:gd name="T89" fmla="*/ 128 h 666"/>
                  <a:gd name="T90" fmla="*/ 807 w 926"/>
                  <a:gd name="T91" fmla="*/ 59 h 666"/>
                  <a:gd name="T92" fmla="*/ 700 w 926"/>
                  <a:gd name="T93" fmla="*/ 14 h 666"/>
                  <a:gd name="T94" fmla="*/ 691 w 926"/>
                  <a:gd name="T95" fmla="*/ 87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26" h="666">
                    <a:moveTo>
                      <a:pt x="640" y="99"/>
                    </a:moveTo>
                    <a:cubicBezTo>
                      <a:pt x="637" y="101"/>
                      <a:pt x="635" y="112"/>
                      <a:pt x="634" y="116"/>
                    </a:cubicBezTo>
                    <a:cubicBezTo>
                      <a:pt x="633" y="120"/>
                      <a:pt x="636" y="122"/>
                      <a:pt x="636" y="126"/>
                    </a:cubicBezTo>
                    <a:cubicBezTo>
                      <a:pt x="636" y="130"/>
                      <a:pt x="636" y="139"/>
                      <a:pt x="637" y="140"/>
                    </a:cubicBezTo>
                    <a:cubicBezTo>
                      <a:pt x="638" y="141"/>
                      <a:pt x="641" y="132"/>
                      <a:pt x="645" y="132"/>
                    </a:cubicBezTo>
                    <a:cubicBezTo>
                      <a:pt x="649" y="132"/>
                      <a:pt x="657" y="142"/>
                      <a:pt x="661" y="141"/>
                    </a:cubicBezTo>
                    <a:cubicBezTo>
                      <a:pt x="665" y="140"/>
                      <a:pt x="667" y="129"/>
                      <a:pt x="670" y="128"/>
                    </a:cubicBezTo>
                    <a:cubicBezTo>
                      <a:pt x="673" y="127"/>
                      <a:pt x="679" y="132"/>
                      <a:pt x="682" y="137"/>
                    </a:cubicBezTo>
                    <a:cubicBezTo>
                      <a:pt x="685" y="142"/>
                      <a:pt x="694" y="154"/>
                      <a:pt x="691" y="158"/>
                    </a:cubicBezTo>
                    <a:cubicBezTo>
                      <a:pt x="688" y="162"/>
                      <a:pt x="672" y="160"/>
                      <a:pt x="666" y="161"/>
                    </a:cubicBezTo>
                    <a:cubicBezTo>
                      <a:pt x="660" y="162"/>
                      <a:pt x="658" y="163"/>
                      <a:pt x="654" y="164"/>
                    </a:cubicBezTo>
                    <a:cubicBezTo>
                      <a:pt x="650" y="165"/>
                      <a:pt x="645" y="167"/>
                      <a:pt x="642" y="170"/>
                    </a:cubicBezTo>
                    <a:cubicBezTo>
                      <a:pt x="639" y="173"/>
                      <a:pt x="638" y="182"/>
                      <a:pt x="634" y="185"/>
                    </a:cubicBezTo>
                    <a:cubicBezTo>
                      <a:pt x="630" y="188"/>
                      <a:pt x="624" y="185"/>
                      <a:pt x="621" y="186"/>
                    </a:cubicBezTo>
                    <a:cubicBezTo>
                      <a:pt x="618" y="187"/>
                      <a:pt x="616" y="192"/>
                      <a:pt x="613" y="194"/>
                    </a:cubicBezTo>
                    <a:cubicBezTo>
                      <a:pt x="610" y="196"/>
                      <a:pt x="607" y="201"/>
                      <a:pt x="603" y="201"/>
                    </a:cubicBezTo>
                    <a:cubicBezTo>
                      <a:pt x="599" y="201"/>
                      <a:pt x="593" y="196"/>
                      <a:pt x="589" y="195"/>
                    </a:cubicBezTo>
                    <a:cubicBezTo>
                      <a:pt x="585" y="194"/>
                      <a:pt x="579" y="191"/>
                      <a:pt x="576" y="192"/>
                    </a:cubicBezTo>
                    <a:cubicBezTo>
                      <a:pt x="573" y="193"/>
                      <a:pt x="571" y="197"/>
                      <a:pt x="570" y="200"/>
                    </a:cubicBezTo>
                    <a:cubicBezTo>
                      <a:pt x="569" y="203"/>
                      <a:pt x="571" y="208"/>
                      <a:pt x="571" y="213"/>
                    </a:cubicBezTo>
                    <a:cubicBezTo>
                      <a:pt x="571" y="218"/>
                      <a:pt x="570" y="224"/>
                      <a:pt x="568" y="228"/>
                    </a:cubicBezTo>
                    <a:cubicBezTo>
                      <a:pt x="566" y="232"/>
                      <a:pt x="563" y="233"/>
                      <a:pt x="559" y="236"/>
                    </a:cubicBezTo>
                    <a:cubicBezTo>
                      <a:pt x="555" y="239"/>
                      <a:pt x="549" y="245"/>
                      <a:pt x="544" y="246"/>
                    </a:cubicBezTo>
                    <a:cubicBezTo>
                      <a:pt x="539" y="247"/>
                      <a:pt x="536" y="242"/>
                      <a:pt x="531" y="243"/>
                    </a:cubicBezTo>
                    <a:cubicBezTo>
                      <a:pt x="526" y="244"/>
                      <a:pt x="521" y="248"/>
                      <a:pt x="516" y="249"/>
                    </a:cubicBezTo>
                    <a:cubicBezTo>
                      <a:pt x="511" y="250"/>
                      <a:pt x="503" y="248"/>
                      <a:pt x="498" y="249"/>
                    </a:cubicBezTo>
                    <a:cubicBezTo>
                      <a:pt x="493" y="250"/>
                      <a:pt x="490" y="252"/>
                      <a:pt x="486" y="255"/>
                    </a:cubicBezTo>
                    <a:cubicBezTo>
                      <a:pt x="482" y="258"/>
                      <a:pt x="479" y="263"/>
                      <a:pt x="474" y="264"/>
                    </a:cubicBezTo>
                    <a:cubicBezTo>
                      <a:pt x="469" y="265"/>
                      <a:pt x="462" y="262"/>
                      <a:pt x="457" y="261"/>
                    </a:cubicBezTo>
                    <a:cubicBezTo>
                      <a:pt x="452" y="260"/>
                      <a:pt x="448" y="257"/>
                      <a:pt x="444" y="255"/>
                    </a:cubicBezTo>
                    <a:cubicBezTo>
                      <a:pt x="440" y="253"/>
                      <a:pt x="439" y="248"/>
                      <a:pt x="435" y="246"/>
                    </a:cubicBezTo>
                    <a:cubicBezTo>
                      <a:pt x="431" y="244"/>
                      <a:pt x="424" y="243"/>
                      <a:pt x="418" y="243"/>
                    </a:cubicBezTo>
                    <a:cubicBezTo>
                      <a:pt x="412" y="243"/>
                      <a:pt x="409" y="243"/>
                      <a:pt x="400" y="243"/>
                    </a:cubicBezTo>
                    <a:cubicBezTo>
                      <a:pt x="391" y="243"/>
                      <a:pt x="372" y="244"/>
                      <a:pt x="364" y="243"/>
                    </a:cubicBezTo>
                    <a:cubicBezTo>
                      <a:pt x="356" y="242"/>
                      <a:pt x="357" y="243"/>
                      <a:pt x="352" y="239"/>
                    </a:cubicBezTo>
                    <a:cubicBezTo>
                      <a:pt x="347" y="235"/>
                      <a:pt x="334" y="224"/>
                      <a:pt x="331" y="219"/>
                    </a:cubicBezTo>
                    <a:cubicBezTo>
                      <a:pt x="328" y="214"/>
                      <a:pt x="336" y="208"/>
                      <a:pt x="334" y="206"/>
                    </a:cubicBezTo>
                    <a:cubicBezTo>
                      <a:pt x="332" y="204"/>
                      <a:pt x="324" y="208"/>
                      <a:pt x="321" y="206"/>
                    </a:cubicBezTo>
                    <a:cubicBezTo>
                      <a:pt x="318" y="204"/>
                      <a:pt x="316" y="196"/>
                      <a:pt x="312" y="195"/>
                    </a:cubicBezTo>
                    <a:cubicBezTo>
                      <a:pt x="308" y="194"/>
                      <a:pt x="299" y="198"/>
                      <a:pt x="294" y="197"/>
                    </a:cubicBezTo>
                    <a:cubicBezTo>
                      <a:pt x="289" y="196"/>
                      <a:pt x="286" y="192"/>
                      <a:pt x="282" y="191"/>
                    </a:cubicBezTo>
                    <a:cubicBezTo>
                      <a:pt x="278" y="190"/>
                      <a:pt x="272" y="194"/>
                      <a:pt x="270" y="191"/>
                    </a:cubicBezTo>
                    <a:cubicBezTo>
                      <a:pt x="268" y="188"/>
                      <a:pt x="267" y="179"/>
                      <a:pt x="267" y="173"/>
                    </a:cubicBezTo>
                    <a:cubicBezTo>
                      <a:pt x="267" y="167"/>
                      <a:pt x="269" y="160"/>
                      <a:pt x="268" y="155"/>
                    </a:cubicBezTo>
                    <a:cubicBezTo>
                      <a:pt x="267" y="150"/>
                      <a:pt x="264" y="147"/>
                      <a:pt x="261" y="143"/>
                    </a:cubicBezTo>
                    <a:cubicBezTo>
                      <a:pt x="258" y="139"/>
                      <a:pt x="256" y="131"/>
                      <a:pt x="252" y="129"/>
                    </a:cubicBezTo>
                    <a:cubicBezTo>
                      <a:pt x="248" y="127"/>
                      <a:pt x="241" y="131"/>
                      <a:pt x="238" y="129"/>
                    </a:cubicBezTo>
                    <a:cubicBezTo>
                      <a:pt x="235" y="127"/>
                      <a:pt x="234" y="120"/>
                      <a:pt x="232" y="117"/>
                    </a:cubicBezTo>
                    <a:cubicBezTo>
                      <a:pt x="230" y="114"/>
                      <a:pt x="227" y="108"/>
                      <a:pt x="223" y="108"/>
                    </a:cubicBezTo>
                    <a:cubicBezTo>
                      <a:pt x="219" y="108"/>
                      <a:pt x="215" y="117"/>
                      <a:pt x="210" y="120"/>
                    </a:cubicBezTo>
                    <a:cubicBezTo>
                      <a:pt x="205" y="123"/>
                      <a:pt x="194" y="119"/>
                      <a:pt x="192" y="125"/>
                    </a:cubicBezTo>
                    <a:cubicBezTo>
                      <a:pt x="190" y="131"/>
                      <a:pt x="197" y="152"/>
                      <a:pt x="195" y="156"/>
                    </a:cubicBezTo>
                    <a:cubicBezTo>
                      <a:pt x="193" y="160"/>
                      <a:pt x="186" y="150"/>
                      <a:pt x="180" y="149"/>
                    </a:cubicBezTo>
                    <a:cubicBezTo>
                      <a:pt x="174" y="148"/>
                      <a:pt x="165" y="149"/>
                      <a:pt x="160" y="150"/>
                    </a:cubicBezTo>
                    <a:cubicBezTo>
                      <a:pt x="155" y="151"/>
                      <a:pt x="151" y="148"/>
                      <a:pt x="148" y="153"/>
                    </a:cubicBezTo>
                    <a:cubicBezTo>
                      <a:pt x="145" y="158"/>
                      <a:pt x="142" y="171"/>
                      <a:pt x="141" y="179"/>
                    </a:cubicBezTo>
                    <a:cubicBezTo>
                      <a:pt x="140" y="187"/>
                      <a:pt x="146" y="202"/>
                      <a:pt x="145" y="203"/>
                    </a:cubicBezTo>
                    <a:cubicBezTo>
                      <a:pt x="144" y="204"/>
                      <a:pt x="138" y="188"/>
                      <a:pt x="136" y="186"/>
                    </a:cubicBezTo>
                    <a:cubicBezTo>
                      <a:pt x="134" y="184"/>
                      <a:pt x="136" y="188"/>
                      <a:pt x="132" y="189"/>
                    </a:cubicBezTo>
                    <a:cubicBezTo>
                      <a:pt x="128" y="190"/>
                      <a:pt x="115" y="192"/>
                      <a:pt x="111" y="194"/>
                    </a:cubicBezTo>
                    <a:cubicBezTo>
                      <a:pt x="107" y="196"/>
                      <a:pt x="107" y="198"/>
                      <a:pt x="108" y="204"/>
                    </a:cubicBezTo>
                    <a:cubicBezTo>
                      <a:pt x="109" y="210"/>
                      <a:pt x="118" y="228"/>
                      <a:pt x="118" y="233"/>
                    </a:cubicBezTo>
                    <a:cubicBezTo>
                      <a:pt x="118" y="238"/>
                      <a:pt x="109" y="234"/>
                      <a:pt x="109" y="237"/>
                    </a:cubicBezTo>
                    <a:cubicBezTo>
                      <a:pt x="109" y="240"/>
                      <a:pt x="120" y="246"/>
                      <a:pt x="120" y="249"/>
                    </a:cubicBezTo>
                    <a:cubicBezTo>
                      <a:pt x="120" y="252"/>
                      <a:pt x="116" y="256"/>
                      <a:pt x="111" y="258"/>
                    </a:cubicBezTo>
                    <a:cubicBezTo>
                      <a:pt x="106" y="260"/>
                      <a:pt x="96" y="262"/>
                      <a:pt x="91" y="264"/>
                    </a:cubicBezTo>
                    <a:cubicBezTo>
                      <a:pt x="86" y="266"/>
                      <a:pt x="84" y="268"/>
                      <a:pt x="81" y="269"/>
                    </a:cubicBezTo>
                    <a:cubicBezTo>
                      <a:pt x="78" y="270"/>
                      <a:pt x="74" y="271"/>
                      <a:pt x="70" y="272"/>
                    </a:cubicBezTo>
                    <a:cubicBezTo>
                      <a:pt x="66" y="273"/>
                      <a:pt x="61" y="273"/>
                      <a:pt x="57" y="276"/>
                    </a:cubicBezTo>
                    <a:cubicBezTo>
                      <a:pt x="53" y="279"/>
                      <a:pt x="51" y="288"/>
                      <a:pt x="48" y="290"/>
                    </a:cubicBezTo>
                    <a:cubicBezTo>
                      <a:pt x="45" y="292"/>
                      <a:pt x="40" y="287"/>
                      <a:pt x="36" y="287"/>
                    </a:cubicBezTo>
                    <a:cubicBezTo>
                      <a:pt x="32" y="287"/>
                      <a:pt x="30" y="285"/>
                      <a:pt x="25" y="287"/>
                    </a:cubicBezTo>
                    <a:cubicBezTo>
                      <a:pt x="20" y="289"/>
                      <a:pt x="6" y="295"/>
                      <a:pt x="3" y="299"/>
                    </a:cubicBezTo>
                    <a:cubicBezTo>
                      <a:pt x="0" y="303"/>
                      <a:pt x="7" y="307"/>
                      <a:pt x="7" y="311"/>
                    </a:cubicBezTo>
                    <a:cubicBezTo>
                      <a:pt x="7" y="315"/>
                      <a:pt x="2" y="318"/>
                      <a:pt x="4" y="321"/>
                    </a:cubicBezTo>
                    <a:cubicBezTo>
                      <a:pt x="6" y="324"/>
                      <a:pt x="12" y="325"/>
                      <a:pt x="16" y="327"/>
                    </a:cubicBezTo>
                    <a:cubicBezTo>
                      <a:pt x="20" y="329"/>
                      <a:pt x="27" y="330"/>
                      <a:pt x="30" y="335"/>
                    </a:cubicBezTo>
                    <a:cubicBezTo>
                      <a:pt x="33" y="340"/>
                      <a:pt x="33" y="351"/>
                      <a:pt x="37" y="356"/>
                    </a:cubicBezTo>
                    <a:cubicBezTo>
                      <a:pt x="41" y="361"/>
                      <a:pt x="51" y="360"/>
                      <a:pt x="55" y="363"/>
                    </a:cubicBezTo>
                    <a:cubicBezTo>
                      <a:pt x="59" y="366"/>
                      <a:pt x="58" y="373"/>
                      <a:pt x="64" y="374"/>
                    </a:cubicBezTo>
                    <a:cubicBezTo>
                      <a:pt x="70" y="375"/>
                      <a:pt x="84" y="372"/>
                      <a:pt x="89" y="371"/>
                    </a:cubicBezTo>
                    <a:cubicBezTo>
                      <a:pt x="94" y="370"/>
                      <a:pt x="94" y="365"/>
                      <a:pt x="97" y="366"/>
                    </a:cubicBezTo>
                    <a:cubicBezTo>
                      <a:pt x="100" y="367"/>
                      <a:pt x="105" y="375"/>
                      <a:pt x="106" y="380"/>
                    </a:cubicBezTo>
                    <a:cubicBezTo>
                      <a:pt x="107" y="385"/>
                      <a:pt x="105" y="391"/>
                      <a:pt x="103" y="396"/>
                    </a:cubicBezTo>
                    <a:cubicBezTo>
                      <a:pt x="101" y="401"/>
                      <a:pt x="92" y="409"/>
                      <a:pt x="91" y="413"/>
                    </a:cubicBezTo>
                    <a:cubicBezTo>
                      <a:pt x="90" y="417"/>
                      <a:pt x="96" y="416"/>
                      <a:pt x="97" y="419"/>
                    </a:cubicBezTo>
                    <a:cubicBezTo>
                      <a:pt x="98" y="422"/>
                      <a:pt x="101" y="426"/>
                      <a:pt x="99" y="429"/>
                    </a:cubicBezTo>
                    <a:cubicBezTo>
                      <a:pt x="97" y="432"/>
                      <a:pt x="88" y="433"/>
                      <a:pt x="87" y="437"/>
                    </a:cubicBezTo>
                    <a:cubicBezTo>
                      <a:pt x="86" y="441"/>
                      <a:pt x="88" y="448"/>
                      <a:pt x="90" y="452"/>
                    </a:cubicBezTo>
                    <a:cubicBezTo>
                      <a:pt x="92" y="456"/>
                      <a:pt x="94" y="458"/>
                      <a:pt x="99" y="462"/>
                    </a:cubicBezTo>
                    <a:cubicBezTo>
                      <a:pt x="104" y="466"/>
                      <a:pt x="113" y="471"/>
                      <a:pt x="118" y="473"/>
                    </a:cubicBezTo>
                    <a:cubicBezTo>
                      <a:pt x="123" y="475"/>
                      <a:pt x="124" y="472"/>
                      <a:pt x="129" y="474"/>
                    </a:cubicBezTo>
                    <a:cubicBezTo>
                      <a:pt x="134" y="476"/>
                      <a:pt x="136" y="478"/>
                      <a:pt x="148" y="483"/>
                    </a:cubicBezTo>
                    <a:cubicBezTo>
                      <a:pt x="160" y="488"/>
                      <a:pt x="192" y="500"/>
                      <a:pt x="203" y="504"/>
                    </a:cubicBezTo>
                    <a:cubicBezTo>
                      <a:pt x="214" y="508"/>
                      <a:pt x="213" y="510"/>
                      <a:pt x="217" y="510"/>
                    </a:cubicBezTo>
                    <a:cubicBezTo>
                      <a:pt x="221" y="510"/>
                      <a:pt x="222" y="504"/>
                      <a:pt x="227" y="503"/>
                    </a:cubicBezTo>
                    <a:cubicBezTo>
                      <a:pt x="232" y="502"/>
                      <a:pt x="242" y="506"/>
                      <a:pt x="249" y="506"/>
                    </a:cubicBezTo>
                    <a:cubicBezTo>
                      <a:pt x="256" y="506"/>
                      <a:pt x="263" y="504"/>
                      <a:pt x="268" y="506"/>
                    </a:cubicBezTo>
                    <a:cubicBezTo>
                      <a:pt x="273" y="508"/>
                      <a:pt x="274" y="517"/>
                      <a:pt x="279" y="516"/>
                    </a:cubicBezTo>
                    <a:cubicBezTo>
                      <a:pt x="284" y="515"/>
                      <a:pt x="291" y="502"/>
                      <a:pt x="298" y="498"/>
                    </a:cubicBezTo>
                    <a:cubicBezTo>
                      <a:pt x="305" y="494"/>
                      <a:pt x="314" y="494"/>
                      <a:pt x="319" y="492"/>
                    </a:cubicBezTo>
                    <a:cubicBezTo>
                      <a:pt x="324" y="490"/>
                      <a:pt x="324" y="488"/>
                      <a:pt x="328" y="488"/>
                    </a:cubicBezTo>
                    <a:cubicBezTo>
                      <a:pt x="332" y="488"/>
                      <a:pt x="339" y="490"/>
                      <a:pt x="345" y="492"/>
                    </a:cubicBezTo>
                    <a:cubicBezTo>
                      <a:pt x="351" y="494"/>
                      <a:pt x="361" y="494"/>
                      <a:pt x="367" y="498"/>
                    </a:cubicBezTo>
                    <a:cubicBezTo>
                      <a:pt x="373" y="502"/>
                      <a:pt x="378" y="508"/>
                      <a:pt x="381" y="516"/>
                    </a:cubicBezTo>
                    <a:cubicBezTo>
                      <a:pt x="384" y="524"/>
                      <a:pt x="386" y="539"/>
                      <a:pt x="384" y="546"/>
                    </a:cubicBezTo>
                    <a:cubicBezTo>
                      <a:pt x="382" y="553"/>
                      <a:pt x="371" y="556"/>
                      <a:pt x="369" y="561"/>
                    </a:cubicBezTo>
                    <a:cubicBezTo>
                      <a:pt x="367" y="566"/>
                      <a:pt x="367" y="576"/>
                      <a:pt x="369" y="578"/>
                    </a:cubicBezTo>
                    <a:cubicBezTo>
                      <a:pt x="371" y="580"/>
                      <a:pt x="376" y="571"/>
                      <a:pt x="379" y="573"/>
                    </a:cubicBezTo>
                    <a:cubicBezTo>
                      <a:pt x="382" y="575"/>
                      <a:pt x="385" y="586"/>
                      <a:pt x="388" y="590"/>
                    </a:cubicBezTo>
                    <a:cubicBezTo>
                      <a:pt x="391" y="594"/>
                      <a:pt x="391" y="595"/>
                      <a:pt x="394" y="599"/>
                    </a:cubicBezTo>
                    <a:cubicBezTo>
                      <a:pt x="397" y="603"/>
                      <a:pt x="401" y="612"/>
                      <a:pt x="405" y="615"/>
                    </a:cubicBezTo>
                    <a:cubicBezTo>
                      <a:pt x="409" y="618"/>
                      <a:pt x="415" y="618"/>
                      <a:pt x="420" y="615"/>
                    </a:cubicBezTo>
                    <a:cubicBezTo>
                      <a:pt x="425" y="612"/>
                      <a:pt x="431" y="600"/>
                      <a:pt x="435" y="596"/>
                    </a:cubicBezTo>
                    <a:cubicBezTo>
                      <a:pt x="439" y="592"/>
                      <a:pt x="440" y="589"/>
                      <a:pt x="444" y="590"/>
                    </a:cubicBezTo>
                    <a:cubicBezTo>
                      <a:pt x="448" y="591"/>
                      <a:pt x="453" y="600"/>
                      <a:pt x="459" y="600"/>
                    </a:cubicBezTo>
                    <a:cubicBezTo>
                      <a:pt x="465" y="600"/>
                      <a:pt x="474" y="589"/>
                      <a:pt x="480" y="588"/>
                    </a:cubicBezTo>
                    <a:cubicBezTo>
                      <a:pt x="486" y="587"/>
                      <a:pt x="490" y="591"/>
                      <a:pt x="495" y="594"/>
                    </a:cubicBezTo>
                    <a:cubicBezTo>
                      <a:pt x="500" y="597"/>
                      <a:pt x="505" y="604"/>
                      <a:pt x="508" y="608"/>
                    </a:cubicBezTo>
                    <a:cubicBezTo>
                      <a:pt x="511" y="612"/>
                      <a:pt x="511" y="616"/>
                      <a:pt x="514" y="618"/>
                    </a:cubicBezTo>
                    <a:cubicBezTo>
                      <a:pt x="517" y="620"/>
                      <a:pt x="524" y="618"/>
                      <a:pt x="529" y="621"/>
                    </a:cubicBezTo>
                    <a:cubicBezTo>
                      <a:pt x="534" y="624"/>
                      <a:pt x="543" y="633"/>
                      <a:pt x="543" y="638"/>
                    </a:cubicBezTo>
                    <a:cubicBezTo>
                      <a:pt x="543" y="643"/>
                      <a:pt x="533" y="650"/>
                      <a:pt x="531" y="654"/>
                    </a:cubicBezTo>
                    <a:cubicBezTo>
                      <a:pt x="529" y="658"/>
                      <a:pt x="529" y="664"/>
                      <a:pt x="532" y="665"/>
                    </a:cubicBezTo>
                    <a:cubicBezTo>
                      <a:pt x="535" y="666"/>
                      <a:pt x="543" y="663"/>
                      <a:pt x="547" y="663"/>
                    </a:cubicBezTo>
                    <a:cubicBezTo>
                      <a:pt x="551" y="663"/>
                      <a:pt x="552" y="666"/>
                      <a:pt x="555" y="662"/>
                    </a:cubicBezTo>
                    <a:cubicBezTo>
                      <a:pt x="558" y="658"/>
                      <a:pt x="565" y="642"/>
                      <a:pt x="567" y="636"/>
                    </a:cubicBezTo>
                    <a:cubicBezTo>
                      <a:pt x="569" y="630"/>
                      <a:pt x="564" y="627"/>
                      <a:pt x="568" y="624"/>
                    </a:cubicBezTo>
                    <a:cubicBezTo>
                      <a:pt x="572" y="621"/>
                      <a:pt x="584" y="619"/>
                      <a:pt x="589" y="615"/>
                    </a:cubicBezTo>
                    <a:cubicBezTo>
                      <a:pt x="594" y="611"/>
                      <a:pt x="595" y="604"/>
                      <a:pt x="597" y="600"/>
                    </a:cubicBezTo>
                    <a:cubicBezTo>
                      <a:pt x="599" y="596"/>
                      <a:pt x="599" y="589"/>
                      <a:pt x="601" y="590"/>
                    </a:cubicBezTo>
                    <a:cubicBezTo>
                      <a:pt x="603" y="591"/>
                      <a:pt x="603" y="605"/>
                      <a:pt x="607" y="606"/>
                    </a:cubicBezTo>
                    <a:cubicBezTo>
                      <a:pt x="611" y="607"/>
                      <a:pt x="616" y="599"/>
                      <a:pt x="624" y="596"/>
                    </a:cubicBezTo>
                    <a:cubicBezTo>
                      <a:pt x="632" y="593"/>
                      <a:pt x="644" y="592"/>
                      <a:pt x="654" y="585"/>
                    </a:cubicBezTo>
                    <a:cubicBezTo>
                      <a:pt x="664" y="578"/>
                      <a:pt x="677" y="565"/>
                      <a:pt x="684" y="557"/>
                    </a:cubicBezTo>
                    <a:cubicBezTo>
                      <a:pt x="691" y="549"/>
                      <a:pt x="690" y="546"/>
                      <a:pt x="696" y="537"/>
                    </a:cubicBezTo>
                    <a:cubicBezTo>
                      <a:pt x="702" y="528"/>
                      <a:pt x="712" y="515"/>
                      <a:pt x="718" y="503"/>
                    </a:cubicBezTo>
                    <a:cubicBezTo>
                      <a:pt x="724" y="491"/>
                      <a:pt x="735" y="472"/>
                      <a:pt x="733" y="467"/>
                    </a:cubicBezTo>
                    <a:cubicBezTo>
                      <a:pt x="731" y="462"/>
                      <a:pt x="709" y="475"/>
                      <a:pt x="708" y="473"/>
                    </a:cubicBezTo>
                    <a:cubicBezTo>
                      <a:pt x="707" y="471"/>
                      <a:pt x="723" y="461"/>
                      <a:pt x="724" y="456"/>
                    </a:cubicBezTo>
                    <a:cubicBezTo>
                      <a:pt x="725" y="451"/>
                      <a:pt x="718" y="450"/>
                      <a:pt x="715" y="444"/>
                    </a:cubicBezTo>
                    <a:cubicBezTo>
                      <a:pt x="712" y="438"/>
                      <a:pt x="710" y="423"/>
                      <a:pt x="708" y="417"/>
                    </a:cubicBezTo>
                    <a:cubicBezTo>
                      <a:pt x="706" y="411"/>
                      <a:pt x="705" y="411"/>
                      <a:pt x="702" y="407"/>
                    </a:cubicBezTo>
                    <a:cubicBezTo>
                      <a:pt x="699" y="403"/>
                      <a:pt x="690" y="399"/>
                      <a:pt x="690" y="392"/>
                    </a:cubicBezTo>
                    <a:cubicBezTo>
                      <a:pt x="690" y="385"/>
                      <a:pt x="698" y="373"/>
                      <a:pt x="705" y="365"/>
                    </a:cubicBezTo>
                    <a:cubicBezTo>
                      <a:pt x="712" y="357"/>
                      <a:pt x="732" y="350"/>
                      <a:pt x="733" y="345"/>
                    </a:cubicBezTo>
                    <a:cubicBezTo>
                      <a:pt x="734" y="340"/>
                      <a:pt x="719" y="336"/>
                      <a:pt x="714" y="336"/>
                    </a:cubicBezTo>
                    <a:cubicBezTo>
                      <a:pt x="709" y="336"/>
                      <a:pt x="704" y="345"/>
                      <a:pt x="700" y="347"/>
                    </a:cubicBezTo>
                    <a:cubicBezTo>
                      <a:pt x="696" y="349"/>
                      <a:pt x="690" y="354"/>
                      <a:pt x="687" y="351"/>
                    </a:cubicBezTo>
                    <a:cubicBezTo>
                      <a:pt x="684" y="348"/>
                      <a:pt x="685" y="334"/>
                      <a:pt x="682" y="330"/>
                    </a:cubicBezTo>
                    <a:cubicBezTo>
                      <a:pt x="679" y="326"/>
                      <a:pt x="670" y="329"/>
                      <a:pt x="666" y="326"/>
                    </a:cubicBezTo>
                    <a:cubicBezTo>
                      <a:pt x="662" y="323"/>
                      <a:pt x="657" y="316"/>
                      <a:pt x="660" y="314"/>
                    </a:cubicBezTo>
                    <a:cubicBezTo>
                      <a:pt x="663" y="312"/>
                      <a:pt x="677" y="315"/>
                      <a:pt x="684" y="311"/>
                    </a:cubicBezTo>
                    <a:cubicBezTo>
                      <a:pt x="691" y="307"/>
                      <a:pt x="699" y="295"/>
                      <a:pt x="703" y="290"/>
                    </a:cubicBezTo>
                    <a:cubicBezTo>
                      <a:pt x="707" y="285"/>
                      <a:pt x="705" y="283"/>
                      <a:pt x="709" y="281"/>
                    </a:cubicBezTo>
                    <a:cubicBezTo>
                      <a:pt x="713" y="279"/>
                      <a:pt x="726" y="276"/>
                      <a:pt x="729" y="279"/>
                    </a:cubicBezTo>
                    <a:cubicBezTo>
                      <a:pt x="732" y="282"/>
                      <a:pt x="729" y="290"/>
                      <a:pt x="727" y="296"/>
                    </a:cubicBezTo>
                    <a:cubicBezTo>
                      <a:pt x="725" y="302"/>
                      <a:pt x="716" y="316"/>
                      <a:pt x="718" y="317"/>
                    </a:cubicBezTo>
                    <a:cubicBezTo>
                      <a:pt x="720" y="318"/>
                      <a:pt x="736" y="308"/>
                      <a:pt x="741" y="305"/>
                    </a:cubicBezTo>
                    <a:cubicBezTo>
                      <a:pt x="746" y="302"/>
                      <a:pt x="744" y="297"/>
                      <a:pt x="747" y="296"/>
                    </a:cubicBezTo>
                    <a:cubicBezTo>
                      <a:pt x="750" y="295"/>
                      <a:pt x="756" y="297"/>
                      <a:pt x="760" y="296"/>
                    </a:cubicBezTo>
                    <a:cubicBezTo>
                      <a:pt x="764" y="295"/>
                      <a:pt x="766" y="291"/>
                      <a:pt x="769" y="288"/>
                    </a:cubicBezTo>
                    <a:cubicBezTo>
                      <a:pt x="772" y="285"/>
                      <a:pt x="776" y="279"/>
                      <a:pt x="780" y="275"/>
                    </a:cubicBezTo>
                    <a:cubicBezTo>
                      <a:pt x="784" y="271"/>
                      <a:pt x="790" y="266"/>
                      <a:pt x="795" y="264"/>
                    </a:cubicBezTo>
                    <a:cubicBezTo>
                      <a:pt x="800" y="262"/>
                      <a:pt x="806" y="266"/>
                      <a:pt x="810" y="264"/>
                    </a:cubicBezTo>
                    <a:cubicBezTo>
                      <a:pt x="814" y="262"/>
                      <a:pt x="813" y="257"/>
                      <a:pt x="817" y="255"/>
                    </a:cubicBezTo>
                    <a:cubicBezTo>
                      <a:pt x="821" y="253"/>
                      <a:pt x="830" y="254"/>
                      <a:pt x="834" y="251"/>
                    </a:cubicBezTo>
                    <a:cubicBezTo>
                      <a:pt x="838" y="248"/>
                      <a:pt x="837" y="238"/>
                      <a:pt x="841" y="236"/>
                    </a:cubicBezTo>
                    <a:cubicBezTo>
                      <a:pt x="845" y="234"/>
                      <a:pt x="854" y="238"/>
                      <a:pt x="858" y="236"/>
                    </a:cubicBezTo>
                    <a:cubicBezTo>
                      <a:pt x="862" y="234"/>
                      <a:pt x="863" y="231"/>
                      <a:pt x="864" y="227"/>
                    </a:cubicBezTo>
                    <a:cubicBezTo>
                      <a:pt x="865" y="223"/>
                      <a:pt x="863" y="215"/>
                      <a:pt x="864" y="210"/>
                    </a:cubicBezTo>
                    <a:cubicBezTo>
                      <a:pt x="865" y="205"/>
                      <a:pt x="866" y="199"/>
                      <a:pt x="868" y="197"/>
                    </a:cubicBezTo>
                    <a:cubicBezTo>
                      <a:pt x="870" y="195"/>
                      <a:pt x="875" y="195"/>
                      <a:pt x="879" y="195"/>
                    </a:cubicBezTo>
                    <a:cubicBezTo>
                      <a:pt x="883" y="195"/>
                      <a:pt x="890" y="199"/>
                      <a:pt x="895" y="195"/>
                    </a:cubicBezTo>
                    <a:cubicBezTo>
                      <a:pt x="900" y="191"/>
                      <a:pt x="906" y="178"/>
                      <a:pt x="909" y="171"/>
                    </a:cubicBezTo>
                    <a:cubicBezTo>
                      <a:pt x="912" y="164"/>
                      <a:pt x="913" y="160"/>
                      <a:pt x="915" y="153"/>
                    </a:cubicBezTo>
                    <a:cubicBezTo>
                      <a:pt x="917" y="146"/>
                      <a:pt x="926" y="130"/>
                      <a:pt x="922" y="128"/>
                    </a:cubicBezTo>
                    <a:cubicBezTo>
                      <a:pt x="918" y="126"/>
                      <a:pt x="900" y="136"/>
                      <a:pt x="892" y="140"/>
                    </a:cubicBezTo>
                    <a:cubicBezTo>
                      <a:pt x="884" y="144"/>
                      <a:pt x="877" y="152"/>
                      <a:pt x="871" y="150"/>
                    </a:cubicBezTo>
                    <a:cubicBezTo>
                      <a:pt x="865" y="148"/>
                      <a:pt x="861" y="134"/>
                      <a:pt x="858" y="128"/>
                    </a:cubicBezTo>
                    <a:cubicBezTo>
                      <a:pt x="855" y="122"/>
                      <a:pt x="857" y="116"/>
                      <a:pt x="852" y="113"/>
                    </a:cubicBezTo>
                    <a:cubicBezTo>
                      <a:pt x="847" y="110"/>
                      <a:pt x="834" y="112"/>
                      <a:pt x="828" y="107"/>
                    </a:cubicBezTo>
                    <a:cubicBezTo>
                      <a:pt x="822" y="102"/>
                      <a:pt x="818" y="91"/>
                      <a:pt x="814" y="83"/>
                    </a:cubicBezTo>
                    <a:cubicBezTo>
                      <a:pt x="810" y="75"/>
                      <a:pt x="811" y="67"/>
                      <a:pt x="807" y="59"/>
                    </a:cubicBezTo>
                    <a:cubicBezTo>
                      <a:pt x="803" y="51"/>
                      <a:pt x="796" y="43"/>
                      <a:pt x="792" y="35"/>
                    </a:cubicBezTo>
                    <a:cubicBezTo>
                      <a:pt x="788" y="27"/>
                      <a:pt x="790" y="17"/>
                      <a:pt x="783" y="11"/>
                    </a:cubicBezTo>
                    <a:cubicBezTo>
                      <a:pt x="776" y="5"/>
                      <a:pt x="761" y="0"/>
                      <a:pt x="747" y="0"/>
                    </a:cubicBezTo>
                    <a:cubicBezTo>
                      <a:pt x="733" y="0"/>
                      <a:pt x="706" y="7"/>
                      <a:pt x="700" y="14"/>
                    </a:cubicBezTo>
                    <a:cubicBezTo>
                      <a:pt x="694" y="21"/>
                      <a:pt x="708" y="36"/>
                      <a:pt x="708" y="45"/>
                    </a:cubicBezTo>
                    <a:cubicBezTo>
                      <a:pt x="708" y="54"/>
                      <a:pt x="702" y="61"/>
                      <a:pt x="700" y="66"/>
                    </a:cubicBezTo>
                    <a:cubicBezTo>
                      <a:pt x="698" y="71"/>
                      <a:pt x="695" y="71"/>
                      <a:pt x="694" y="74"/>
                    </a:cubicBezTo>
                    <a:cubicBezTo>
                      <a:pt x="693" y="77"/>
                      <a:pt x="694" y="83"/>
                      <a:pt x="691" y="87"/>
                    </a:cubicBezTo>
                    <a:cubicBezTo>
                      <a:pt x="688" y="91"/>
                      <a:pt x="685" y="96"/>
                      <a:pt x="679" y="98"/>
                    </a:cubicBezTo>
                    <a:cubicBezTo>
                      <a:pt x="673" y="100"/>
                      <a:pt x="661" y="100"/>
                      <a:pt x="655" y="101"/>
                    </a:cubicBezTo>
                    <a:cubicBezTo>
                      <a:pt x="649" y="102"/>
                      <a:pt x="643" y="97"/>
                      <a:pt x="640" y="9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29" name="Freeform 135">
                <a:extLst>
                  <a:ext uri="{FF2B5EF4-FFF2-40B4-BE49-F238E27FC236}">
                    <a16:creationId xmlns:a16="http://schemas.microsoft.com/office/drawing/2014/main" id="{0E726DD4-A83A-497C-A015-24F9FBF3953F}"/>
                  </a:ext>
                </a:extLst>
              </p:cNvPr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gray">
              <a:xfrm>
                <a:off x="6451601" y="2773363"/>
                <a:ext cx="760413" cy="346075"/>
              </a:xfrm>
              <a:custGeom>
                <a:avLst/>
                <a:gdLst>
                  <a:gd name="T0" fmla="*/ 4 w 472"/>
                  <a:gd name="T1" fmla="*/ 66 h 218"/>
                  <a:gd name="T2" fmla="*/ 7 w 472"/>
                  <a:gd name="T3" fmla="*/ 78 h 218"/>
                  <a:gd name="T4" fmla="*/ 28 w 472"/>
                  <a:gd name="T5" fmla="*/ 81 h 218"/>
                  <a:gd name="T6" fmla="*/ 45 w 472"/>
                  <a:gd name="T7" fmla="*/ 113 h 218"/>
                  <a:gd name="T8" fmla="*/ 43 w 472"/>
                  <a:gd name="T9" fmla="*/ 123 h 218"/>
                  <a:gd name="T10" fmla="*/ 40 w 472"/>
                  <a:gd name="T11" fmla="*/ 141 h 218"/>
                  <a:gd name="T12" fmla="*/ 57 w 472"/>
                  <a:gd name="T13" fmla="*/ 147 h 218"/>
                  <a:gd name="T14" fmla="*/ 88 w 472"/>
                  <a:gd name="T15" fmla="*/ 149 h 218"/>
                  <a:gd name="T16" fmla="*/ 103 w 472"/>
                  <a:gd name="T17" fmla="*/ 161 h 218"/>
                  <a:gd name="T18" fmla="*/ 118 w 472"/>
                  <a:gd name="T19" fmla="*/ 185 h 218"/>
                  <a:gd name="T20" fmla="*/ 133 w 472"/>
                  <a:gd name="T21" fmla="*/ 197 h 218"/>
                  <a:gd name="T22" fmla="*/ 156 w 472"/>
                  <a:gd name="T23" fmla="*/ 197 h 218"/>
                  <a:gd name="T24" fmla="*/ 199 w 472"/>
                  <a:gd name="T25" fmla="*/ 197 h 218"/>
                  <a:gd name="T26" fmla="*/ 238 w 472"/>
                  <a:gd name="T27" fmla="*/ 215 h 218"/>
                  <a:gd name="T28" fmla="*/ 252 w 472"/>
                  <a:gd name="T29" fmla="*/ 213 h 218"/>
                  <a:gd name="T30" fmla="*/ 271 w 472"/>
                  <a:gd name="T31" fmla="*/ 204 h 218"/>
                  <a:gd name="T32" fmla="*/ 282 w 472"/>
                  <a:gd name="T33" fmla="*/ 200 h 218"/>
                  <a:gd name="T34" fmla="*/ 297 w 472"/>
                  <a:gd name="T35" fmla="*/ 200 h 218"/>
                  <a:gd name="T36" fmla="*/ 322 w 472"/>
                  <a:gd name="T37" fmla="*/ 195 h 218"/>
                  <a:gd name="T38" fmla="*/ 342 w 472"/>
                  <a:gd name="T39" fmla="*/ 183 h 218"/>
                  <a:gd name="T40" fmla="*/ 349 w 472"/>
                  <a:gd name="T41" fmla="*/ 168 h 218"/>
                  <a:gd name="T42" fmla="*/ 349 w 472"/>
                  <a:gd name="T43" fmla="*/ 150 h 218"/>
                  <a:gd name="T44" fmla="*/ 354 w 472"/>
                  <a:gd name="T45" fmla="*/ 141 h 218"/>
                  <a:gd name="T46" fmla="*/ 385 w 472"/>
                  <a:gd name="T47" fmla="*/ 153 h 218"/>
                  <a:gd name="T48" fmla="*/ 393 w 472"/>
                  <a:gd name="T49" fmla="*/ 144 h 218"/>
                  <a:gd name="T50" fmla="*/ 400 w 472"/>
                  <a:gd name="T51" fmla="*/ 135 h 218"/>
                  <a:gd name="T52" fmla="*/ 417 w 472"/>
                  <a:gd name="T53" fmla="*/ 131 h 218"/>
                  <a:gd name="T54" fmla="*/ 430 w 472"/>
                  <a:gd name="T55" fmla="*/ 113 h 218"/>
                  <a:gd name="T56" fmla="*/ 469 w 472"/>
                  <a:gd name="T57" fmla="*/ 110 h 218"/>
                  <a:gd name="T58" fmla="*/ 451 w 472"/>
                  <a:gd name="T59" fmla="*/ 81 h 218"/>
                  <a:gd name="T60" fmla="*/ 436 w 472"/>
                  <a:gd name="T61" fmla="*/ 90 h 218"/>
                  <a:gd name="T62" fmla="*/ 420 w 472"/>
                  <a:gd name="T63" fmla="*/ 83 h 218"/>
                  <a:gd name="T64" fmla="*/ 412 w 472"/>
                  <a:gd name="T65" fmla="*/ 92 h 218"/>
                  <a:gd name="T66" fmla="*/ 415 w 472"/>
                  <a:gd name="T67" fmla="*/ 78 h 218"/>
                  <a:gd name="T68" fmla="*/ 408 w 472"/>
                  <a:gd name="T69" fmla="*/ 66 h 218"/>
                  <a:gd name="T70" fmla="*/ 418 w 472"/>
                  <a:gd name="T71" fmla="*/ 47 h 218"/>
                  <a:gd name="T72" fmla="*/ 403 w 472"/>
                  <a:gd name="T73" fmla="*/ 47 h 218"/>
                  <a:gd name="T74" fmla="*/ 391 w 472"/>
                  <a:gd name="T75" fmla="*/ 44 h 218"/>
                  <a:gd name="T76" fmla="*/ 352 w 472"/>
                  <a:gd name="T77" fmla="*/ 65 h 218"/>
                  <a:gd name="T78" fmla="*/ 334 w 472"/>
                  <a:gd name="T79" fmla="*/ 66 h 218"/>
                  <a:gd name="T80" fmla="*/ 316 w 472"/>
                  <a:gd name="T81" fmla="*/ 69 h 218"/>
                  <a:gd name="T82" fmla="*/ 303 w 472"/>
                  <a:gd name="T83" fmla="*/ 66 h 218"/>
                  <a:gd name="T84" fmla="*/ 294 w 472"/>
                  <a:gd name="T85" fmla="*/ 56 h 218"/>
                  <a:gd name="T86" fmla="*/ 286 w 472"/>
                  <a:gd name="T87" fmla="*/ 44 h 218"/>
                  <a:gd name="T88" fmla="*/ 267 w 472"/>
                  <a:gd name="T89" fmla="*/ 38 h 218"/>
                  <a:gd name="T90" fmla="*/ 226 w 472"/>
                  <a:gd name="T91" fmla="*/ 41 h 218"/>
                  <a:gd name="T92" fmla="*/ 207 w 472"/>
                  <a:gd name="T93" fmla="*/ 17 h 218"/>
                  <a:gd name="T94" fmla="*/ 162 w 472"/>
                  <a:gd name="T95" fmla="*/ 3 h 218"/>
                  <a:gd name="T96" fmla="*/ 148 w 472"/>
                  <a:gd name="T97" fmla="*/ 35 h 218"/>
                  <a:gd name="T98" fmla="*/ 147 w 472"/>
                  <a:gd name="T99" fmla="*/ 48 h 218"/>
                  <a:gd name="T100" fmla="*/ 142 w 472"/>
                  <a:gd name="T101" fmla="*/ 48 h 218"/>
                  <a:gd name="T102" fmla="*/ 136 w 472"/>
                  <a:gd name="T103" fmla="*/ 56 h 218"/>
                  <a:gd name="T104" fmla="*/ 112 w 472"/>
                  <a:gd name="T105" fmla="*/ 53 h 218"/>
                  <a:gd name="T106" fmla="*/ 100 w 472"/>
                  <a:gd name="T107" fmla="*/ 47 h 218"/>
                  <a:gd name="T108" fmla="*/ 85 w 472"/>
                  <a:gd name="T109" fmla="*/ 36 h 218"/>
                  <a:gd name="T110" fmla="*/ 73 w 472"/>
                  <a:gd name="T111" fmla="*/ 30 h 218"/>
                  <a:gd name="T112" fmla="*/ 55 w 472"/>
                  <a:gd name="T113" fmla="*/ 29 h 218"/>
                  <a:gd name="T114" fmla="*/ 42 w 472"/>
                  <a:gd name="T115" fmla="*/ 37 h 218"/>
                  <a:gd name="T116" fmla="*/ 33 w 472"/>
                  <a:gd name="T117" fmla="*/ 47 h 218"/>
                  <a:gd name="T118" fmla="*/ 16 w 472"/>
                  <a:gd name="T119" fmla="*/ 54 h 218"/>
                  <a:gd name="T120" fmla="*/ 4 w 472"/>
                  <a:gd name="T121" fmla="*/ 6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2" h="218">
                    <a:moveTo>
                      <a:pt x="4" y="66"/>
                    </a:moveTo>
                    <a:cubicBezTo>
                      <a:pt x="0" y="71"/>
                      <a:pt x="3" y="76"/>
                      <a:pt x="7" y="78"/>
                    </a:cubicBezTo>
                    <a:cubicBezTo>
                      <a:pt x="11" y="80"/>
                      <a:pt x="22" y="75"/>
                      <a:pt x="28" y="81"/>
                    </a:cubicBezTo>
                    <a:cubicBezTo>
                      <a:pt x="34" y="87"/>
                      <a:pt x="43" y="106"/>
                      <a:pt x="45" y="113"/>
                    </a:cubicBezTo>
                    <a:cubicBezTo>
                      <a:pt x="47" y="120"/>
                      <a:pt x="44" y="118"/>
                      <a:pt x="43" y="123"/>
                    </a:cubicBezTo>
                    <a:cubicBezTo>
                      <a:pt x="42" y="128"/>
                      <a:pt x="38" y="137"/>
                      <a:pt x="40" y="141"/>
                    </a:cubicBezTo>
                    <a:cubicBezTo>
                      <a:pt x="42" y="145"/>
                      <a:pt x="49" y="146"/>
                      <a:pt x="57" y="147"/>
                    </a:cubicBezTo>
                    <a:cubicBezTo>
                      <a:pt x="65" y="148"/>
                      <a:pt x="80" y="147"/>
                      <a:pt x="88" y="149"/>
                    </a:cubicBezTo>
                    <a:cubicBezTo>
                      <a:pt x="96" y="151"/>
                      <a:pt x="98" y="155"/>
                      <a:pt x="103" y="161"/>
                    </a:cubicBezTo>
                    <a:cubicBezTo>
                      <a:pt x="108" y="167"/>
                      <a:pt x="113" y="179"/>
                      <a:pt x="118" y="185"/>
                    </a:cubicBezTo>
                    <a:cubicBezTo>
                      <a:pt x="123" y="191"/>
                      <a:pt x="127" y="195"/>
                      <a:pt x="133" y="197"/>
                    </a:cubicBezTo>
                    <a:cubicBezTo>
                      <a:pt x="139" y="199"/>
                      <a:pt x="145" y="197"/>
                      <a:pt x="156" y="197"/>
                    </a:cubicBezTo>
                    <a:cubicBezTo>
                      <a:pt x="167" y="197"/>
                      <a:pt x="185" y="194"/>
                      <a:pt x="199" y="197"/>
                    </a:cubicBezTo>
                    <a:cubicBezTo>
                      <a:pt x="213" y="200"/>
                      <a:pt x="229" y="212"/>
                      <a:pt x="238" y="215"/>
                    </a:cubicBezTo>
                    <a:cubicBezTo>
                      <a:pt x="247" y="218"/>
                      <a:pt x="247" y="215"/>
                      <a:pt x="252" y="213"/>
                    </a:cubicBezTo>
                    <a:cubicBezTo>
                      <a:pt x="257" y="211"/>
                      <a:pt x="266" y="206"/>
                      <a:pt x="271" y="204"/>
                    </a:cubicBezTo>
                    <a:cubicBezTo>
                      <a:pt x="276" y="202"/>
                      <a:pt x="278" y="201"/>
                      <a:pt x="282" y="200"/>
                    </a:cubicBezTo>
                    <a:cubicBezTo>
                      <a:pt x="286" y="199"/>
                      <a:pt x="290" y="201"/>
                      <a:pt x="297" y="200"/>
                    </a:cubicBezTo>
                    <a:cubicBezTo>
                      <a:pt x="304" y="199"/>
                      <a:pt x="315" y="198"/>
                      <a:pt x="322" y="195"/>
                    </a:cubicBezTo>
                    <a:cubicBezTo>
                      <a:pt x="329" y="192"/>
                      <a:pt x="338" y="187"/>
                      <a:pt x="342" y="183"/>
                    </a:cubicBezTo>
                    <a:cubicBezTo>
                      <a:pt x="346" y="179"/>
                      <a:pt x="348" y="173"/>
                      <a:pt x="349" y="168"/>
                    </a:cubicBezTo>
                    <a:cubicBezTo>
                      <a:pt x="350" y="163"/>
                      <a:pt x="348" y="154"/>
                      <a:pt x="349" y="150"/>
                    </a:cubicBezTo>
                    <a:cubicBezTo>
                      <a:pt x="350" y="146"/>
                      <a:pt x="348" y="140"/>
                      <a:pt x="354" y="141"/>
                    </a:cubicBezTo>
                    <a:cubicBezTo>
                      <a:pt x="360" y="142"/>
                      <a:pt x="379" y="153"/>
                      <a:pt x="385" y="153"/>
                    </a:cubicBezTo>
                    <a:cubicBezTo>
                      <a:pt x="391" y="153"/>
                      <a:pt x="391" y="147"/>
                      <a:pt x="393" y="144"/>
                    </a:cubicBezTo>
                    <a:cubicBezTo>
                      <a:pt x="395" y="141"/>
                      <a:pt x="396" y="137"/>
                      <a:pt x="400" y="135"/>
                    </a:cubicBezTo>
                    <a:cubicBezTo>
                      <a:pt x="404" y="133"/>
                      <a:pt x="412" y="135"/>
                      <a:pt x="417" y="131"/>
                    </a:cubicBezTo>
                    <a:cubicBezTo>
                      <a:pt x="422" y="127"/>
                      <a:pt x="421" y="116"/>
                      <a:pt x="430" y="113"/>
                    </a:cubicBezTo>
                    <a:cubicBezTo>
                      <a:pt x="439" y="110"/>
                      <a:pt x="466" y="115"/>
                      <a:pt x="469" y="110"/>
                    </a:cubicBezTo>
                    <a:cubicBezTo>
                      <a:pt x="472" y="105"/>
                      <a:pt x="456" y="84"/>
                      <a:pt x="451" y="81"/>
                    </a:cubicBezTo>
                    <a:cubicBezTo>
                      <a:pt x="446" y="78"/>
                      <a:pt x="441" y="90"/>
                      <a:pt x="436" y="90"/>
                    </a:cubicBezTo>
                    <a:cubicBezTo>
                      <a:pt x="431" y="90"/>
                      <a:pt x="424" y="83"/>
                      <a:pt x="420" y="83"/>
                    </a:cubicBezTo>
                    <a:cubicBezTo>
                      <a:pt x="416" y="83"/>
                      <a:pt x="413" y="93"/>
                      <a:pt x="412" y="92"/>
                    </a:cubicBezTo>
                    <a:cubicBezTo>
                      <a:pt x="411" y="91"/>
                      <a:pt x="416" y="82"/>
                      <a:pt x="415" y="78"/>
                    </a:cubicBezTo>
                    <a:cubicBezTo>
                      <a:pt x="414" y="74"/>
                      <a:pt x="408" y="71"/>
                      <a:pt x="408" y="66"/>
                    </a:cubicBezTo>
                    <a:cubicBezTo>
                      <a:pt x="408" y="61"/>
                      <a:pt x="419" y="50"/>
                      <a:pt x="418" y="47"/>
                    </a:cubicBezTo>
                    <a:cubicBezTo>
                      <a:pt x="417" y="44"/>
                      <a:pt x="407" y="47"/>
                      <a:pt x="403" y="47"/>
                    </a:cubicBezTo>
                    <a:cubicBezTo>
                      <a:pt x="399" y="47"/>
                      <a:pt x="399" y="41"/>
                      <a:pt x="391" y="44"/>
                    </a:cubicBezTo>
                    <a:cubicBezTo>
                      <a:pt x="383" y="47"/>
                      <a:pt x="361" y="61"/>
                      <a:pt x="352" y="65"/>
                    </a:cubicBezTo>
                    <a:cubicBezTo>
                      <a:pt x="343" y="69"/>
                      <a:pt x="340" y="65"/>
                      <a:pt x="334" y="66"/>
                    </a:cubicBezTo>
                    <a:cubicBezTo>
                      <a:pt x="328" y="67"/>
                      <a:pt x="321" y="69"/>
                      <a:pt x="316" y="69"/>
                    </a:cubicBezTo>
                    <a:cubicBezTo>
                      <a:pt x="311" y="69"/>
                      <a:pt x="307" y="68"/>
                      <a:pt x="303" y="66"/>
                    </a:cubicBezTo>
                    <a:cubicBezTo>
                      <a:pt x="299" y="64"/>
                      <a:pt x="297" y="60"/>
                      <a:pt x="294" y="56"/>
                    </a:cubicBezTo>
                    <a:cubicBezTo>
                      <a:pt x="291" y="52"/>
                      <a:pt x="290" y="47"/>
                      <a:pt x="286" y="44"/>
                    </a:cubicBezTo>
                    <a:cubicBezTo>
                      <a:pt x="282" y="41"/>
                      <a:pt x="277" y="38"/>
                      <a:pt x="267" y="38"/>
                    </a:cubicBezTo>
                    <a:cubicBezTo>
                      <a:pt x="257" y="38"/>
                      <a:pt x="236" y="44"/>
                      <a:pt x="226" y="41"/>
                    </a:cubicBezTo>
                    <a:cubicBezTo>
                      <a:pt x="216" y="38"/>
                      <a:pt x="218" y="23"/>
                      <a:pt x="207" y="17"/>
                    </a:cubicBezTo>
                    <a:cubicBezTo>
                      <a:pt x="196" y="11"/>
                      <a:pt x="172" y="0"/>
                      <a:pt x="162" y="3"/>
                    </a:cubicBezTo>
                    <a:cubicBezTo>
                      <a:pt x="152" y="6"/>
                      <a:pt x="150" y="28"/>
                      <a:pt x="148" y="35"/>
                    </a:cubicBezTo>
                    <a:cubicBezTo>
                      <a:pt x="146" y="42"/>
                      <a:pt x="148" y="46"/>
                      <a:pt x="147" y="48"/>
                    </a:cubicBezTo>
                    <a:cubicBezTo>
                      <a:pt x="146" y="50"/>
                      <a:pt x="144" y="47"/>
                      <a:pt x="142" y="48"/>
                    </a:cubicBezTo>
                    <a:cubicBezTo>
                      <a:pt x="140" y="49"/>
                      <a:pt x="141" y="55"/>
                      <a:pt x="136" y="56"/>
                    </a:cubicBezTo>
                    <a:cubicBezTo>
                      <a:pt x="131" y="57"/>
                      <a:pt x="118" y="54"/>
                      <a:pt x="112" y="53"/>
                    </a:cubicBezTo>
                    <a:cubicBezTo>
                      <a:pt x="106" y="52"/>
                      <a:pt x="104" y="50"/>
                      <a:pt x="100" y="47"/>
                    </a:cubicBezTo>
                    <a:cubicBezTo>
                      <a:pt x="96" y="44"/>
                      <a:pt x="89" y="39"/>
                      <a:pt x="85" y="36"/>
                    </a:cubicBezTo>
                    <a:cubicBezTo>
                      <a:pt x="81" y="33"/>
                      <a:pt x="78" y="31"/>
                      <a:pt x="73" y="30"/>
                    </a:cubicBezTo>
                    <a:cubicBezTo>
                      <a:pt x="68" y="29"/>
                      <a:pt x="60" y="28"/>
                      <a:pt x="55" y="29"/>
                    </a:cubicBezTo>
                    <a:cubicBezTo>
                      <a:pt x="50" y="30"/>
                      <a:pt x="46" y="34"/>
                      <a:pt x="42" y="37"/>
                    </a:cubicBezTo>
                    <a:cubicBezTo>
                      <a:pt x="38" y="40"/>
                      <a:pt x="37" y="44"/>
                      <a:pt x="33" y="47"/>
                    </a:cubicBezTo>
                    <a:cubicBezTo>
                      <a:pt x="29" y="50"/>
                      <a:pt x="21" y="51"/>
                      <a:pt x="16" y="54"/>
                    </a:cubicBezTo>
                    <a:cubicBezTo>
                      <a:pt x="11" y="57"/>
                      <a:pt x="6" y="64"/>
                      <a:pt x="4" y="6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30" name="Freeform 136">
                <a:extLst>
                  <a:ext uri="{FF2B5EF4-FFF2-40B4-BE49-F238E27FC236}">
                    <a16:creationId xmlns:a16="http://schemas.microsoft.com/office/drawing/2014/main" id="{FBE2D389-4223-491D-AC7F-AEDBA9CE9006}"/>
                  </a:ext>
                </a:extLst>
              </p:cNvPr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gray">
              <a:xfrm>
                <a:off x="6446838" y="3552825"/>
                <a:ext cx="103188" cy="122238"/>
              </a:xfrm>
              <a:custGeom>
                <a:avLst/>
                <a:gdLst>
                  <a:gd name="T0" fmla="*/ 36 w 63"/>
                  <a:gd name="T1" fmla="*/ 73 h 77"/>
                  <a:gd name="T2" fmla="*/ 48 w 63"/>
                  <a:gd name="T3" fmla="*/ 42 h 77"/>
                  <a:gd name="T4" fmla="*/ 63 w 63"/>
                  <a:gd name="T5" fmla="*/ 34 h 77"/>
                  <a:gd name="T6" fmla="*/ 54 w 63"/>
                  <a:gd name="T7" fmla="*/ 21 h 77"/>
                  <a:gd name="T8" fmla="*/ 24 w 63"/>
                  <a:gd name="T9" fmla="*/ 15 h 77"/>
                  <a:gd name="T10" fmla="*/ 6 w 63"/>
                  <a:gd name="T11" fmla="*/ 0 h 77"/>
                  <a:gd name="T12" fmla="*/ 11 w 63"/>
                  <a:gd name="T13" fmla="*/ 10 h 77"/>
                  <a:gd name="T14" fmla="*/ 0 w 63"/>
                  <a:gd name="T15" fmla="*/ 28 h 77"/>
                  <a:gd name="T16" fmla="*/ 11 w 63"/>
                  <a:gd name="T17" fmla="*/ 33 h 77"/>
                  <a:gd name="T18" fmla="*/ 17 w 63"/>
                  <a:gd name="T19" fmla="*/ 67 h 77"/>
                  <a:gd name="T20" fmla="*/ 21 w 63"/>
                  <a:gd name="T21" fmla="*/ 75 h 77"/>
                  <a:gd name="T22" fmla="*/ 33 w 63"/>
                  <a:gd name="T23" fmla="*/ 69 h 77"/>
                  <a:gd name="T24" fmla="*/ 30 w 63"/>
                  <a:gd name="T25" fmla="*/ 73 h 77"/>
                  <a:gd name="T26" fmla="*/ 36 w 63"/>
                  <a:gd name="T27" fmla="*/ 7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77">
                    <a:moveTo>
                      <a:pt x="36" y="73"/>
                    </a:moveTo>
                    <a:cubicBezTo>
                      <a:pt x="39" y="30"/>
                      <a:pt x="32" y="54"/>
                      <a:pt x="48" y="42"/>
                    </a:cubicBezTo>
                    <a:cubicBezTo>
                      <a:pt x="51" y="34"/>
                      <a:pt x="56" y="37"/>
                      <a:pt x="63" y="34"/>
                    </a:cubicBezTo>
                    <a:cubicBezTo>
                      <a:pt x="62" y="26"/>
                      <a:pt x="63" y="22"/>
                      <a:pt x="54" y="21"/>
                    </a:cubicBezTo>
                    <a:cubicBezTo>
                      <a:pt x="44" y="16"/>
                      <a:pt x="36" y="16"/>
                      <a:pt x="24" y="15"/>
                    </a:cubicBezTo>
                    <a:cubicBezTo>
                      <a:pt x="22" y="6"/>
                      <a:pt x="15" y="2"/>
                      <a:pt x="6" y="0"/>
                    </a:cubicBezTo>
                    <a:cubicBezTo>
                      <a:pt x="1" y="7"/>
                      <a:pt x="4" y="9"/>
                      <a:pt x="11" y="10"/>
                    </a:cubicBezTo>
                    <a:cubicBezTo>
                      <a:pt x="9" y="23"/>
                      <a:pt x="10" y="22"/>
                      <a:pt x="0" y="28"/>
                    </a:cubicBezTo>
                    <a:cubicBezTo>
                      <a:pt x="3" y="30"/>
                      <a:pt x="10" y="29"/>
                      <a:pt x="11" y="33"/>
                    </a:cubicBezTo>
                    <a:cubicBezTo>
                      <a:pt x="15" y="44"/>
                      <a:pt x="11" y="56"/>
                      <a:pt x="17" y="67"/>
                    </a:cubicBezTo>
                    <a:cubicBezTo>
                      <a:pt x="17" y="71"/>
                      <a:pt x="18" y="73"/>
                      <a:pt x="21" y="75"/>
                    </a:cubicBezTo>
                    <a:cubicBezTo>
                      <a:pt x="22" y="77"/>
                      <a:pt x="31" y="69"/>
                      <a:pt x="33" y="69"/>
                    </a:cubicBezTo>
                    <a:cubicBezTo>
                      <a:pt x="34" y="69"/>
                      <a:pt x="30" y="72"/>
                      <a:pt x="30" y="73"/>
                    </a:cubicBezTo>
                    <a:cubicBezTo>
                      <a:pt x="30" y="74"/>
                      <a:pt x="35" y="73"/>
                      <a:pt x="36" y="7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31" name="Freeform 137">
                <a:extLst>
                  <a:ext uri="{FF2B5EF4-FFF2-40B4-BE49-F238E27FC236}">
                    <a16:creationId xmlns:a16="http://schemas.microsoft.com/office/drawing/2014/main" id="{95D97CF5-764C-469F-9FB7-CB3CCD3E098E}"/>
                  </a:ext>
                </a:extLst>
              </p:cNvPr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gray">
              <a:xfrm>
                <a:off x="6473826" y="3494088"/>
                <a:ext cx="76200" cy="46038"/>
              </a:xfrm>
              <a:custGeom>
                <a:avLst/>
                <a:gdLst>
                  <a:gd name="T0" fmla="*/ 4 w 47"/>
                  <a:gd name="T1" fmla="*/ 26 h 29"/>
                  <a:gd name="T2" fmla="*/ 28 w 47"/>
                  <a:gd name="T3" fmla="*/ 26 h 29"/>
                  <a:gd name="T4" fmla="*/ 43 w 47"/>
                  <a:gd name="T5" fmla="*/ 26 h 29"/>
                  <a:gd name="T6" fmla="*/ 46 w 47"/>
                  <a:gd name="T7" fmla="*/ 16 h 29"/>
                  <a:gd name="T8" fmla="*/ 38 w 47"/>
                  <a:gd name="T9" fmla="*/ 16 h 29"/>
                  <a:gd name="T10" fmla="*/ 29 w 47"/>
                  <a:gd name="T11" fmla="*/ 2 h 29"/>
                  <a:gd name="T12" fmla="*/ 16 w 47"/>
                  <a:gd name="T13" fmla="*/ 2 h 29"/>
                  <a:gd name="T14" fmla="*/ 2 w 47"/>
                  <a:gd name="T15" fmla="*/ 10 h 29"/>
                  <a:gd name="T16" fmla="*/ 4 w 47"/>
                  <a:gd name="T17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29">
                    <a:moveTo>
                      <a:pt x="4" y="26"/>
                    </a:moveTo>
                    <a:cubicBezTo>
                      <a:pt x="9" y="29"/>
                      <a:pt x="22" y="26"/>
                      <a:pt x="28" y="26"/>
                    </a:cubicBezTo>
                    <a:cubicBezTo>
                      <a:pt x="34" y="26"/>
                      <a:pt x="40" y="28"/>
                      <a:pt x="43" y="26"/>
                    </a:cubicBezTo>
                    <a:cubicBezTo>
                      <a:pt x="46" y="24"/>
                      <a:pt x="47" y="18"/>
                      <a:pt x="46" y="16"/>
                    </a:cubicBezTo>
                    <a:cubicBezTo>
                      <a:pt x="45" y="14"/>
                      <a:pt x="41" y="18"/>
                      <a:pt x="38" y="16"/>
                    </a:cubicBezTo>
                    <a:cubicBezTo>
                      <a:pt x="35" y="14"/>
                      <a:pt x="33" y="4"/>
                      <a:pt x="29" y="2"/>
                    </a:cubicBezTo>
                    <a:cubicBezTo>
                      <a:pt x="25" y="0"/>
                      <a:pt x="20" y="1"/>
                      <a:pt x="16" y="2"/>
                    </a:cubicBezTo>
                    <a:cubicBezTo>
                      <a:pt x="12" y="3"/>
                      <a:pt x="4" y="6"/>
                      <a:pt x="2" y="10"/>
                    </a:cubicBezTo>
                    <a:cubicBezTo>
                      <a:pt x="0" y="14"/>
                      <a:pt x="4" y="23"/>
                      <a:pt x="4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32" name="Freeform 138">
                <a:extLst>
                  <a:ext uri="{FF2B5EF4-FFF2-40B4-BE49-F238E27FC236}">
                    <a16:creationId xmlns:a16="http://schemas.microsoft.com/office/drawing/2014/main" id="{50E9773E-0327-42EA-B50B-F5B0A6F87F90}"/>
                  </a:ext>
                </a:extLst>
              </p:cNvPr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gray">
              <a:xfrm>
                <a:off x="6543676" y="3500438"/>
                <a:ext cx="200025" cy="319088"/>
              </a:xfrm>
              <a:custGeom>
                <a:avLst/>
                <a:gdLst>
                  <a:gd name="T0" fmla="*/ 2 w 124"/>
                  <a:gd name="T1" fmla="*/ 106 h 201"/>
                  <a:gd name="T2" fmla="*/ 6 w 124"/>
                  <a:gd name="T3" fmla="*/ 117 h 201"/>
                  <a:gd name="T4" fmla="*/ 24 w 124"/>
                  <a:gd name="T5" fmla="*/ 141 h 201"/>
                  <a:gd name="T6" fmla="*/ 33 w 124"/>
                  <a:gd name="T7" fmla="*/ 153 h 201"/>
                  <a:gd name="T8" fmla="*/ 36 w 124"/>
                  <a:gd name="T9" fmla="*/ 192 h 201"/>
                  <a:gd name="T10" fmla="*/ 65 w 124"/>
                  <a:gd name="T11" fmla="*/ 183 h 201"/>
                  <a:gd name="T12" fmla="*/ 71 w 124"/>
                  <a:gd name="T13" fmla="*/ 175 h 201"/>
                  <a:gd name="T14" fmla="*/ 80 w 124"/>
                  <a:gd name="T15" fmla="*/ 183 h 201"/>
                  <a:gd name="T16" fmla="*/ 86 w 124"/>
                  <a:gd name="T17" fmla="*/ 199 h 201"/>
                  <a:gd name="T18" fmla="*/ 98 w 124"/>
                  <a:gd name="T19" fmla="*/ 195 h 201"/>
                  <a:gd name="T20" fmla="*/ 86 w 124"/>
                  <a:gd name="T21" fmla="*/ 175 h 201"/>
                  <a:gd name="T22" fmla="*/ 81 w 124"/>
                  <a:gd name="T23" fmla="*/ 165 h 201"/>
                  <a:gd name="T24" fmla="*/ 83 w 124"/>
                  <a:gd name="T25" fmla="*/ 145 h 201"/>
                  <a:gd name="T26" fmla="*/ 90 w 124"/>
                  <a:gd name="T27" fmla="*/ 132 h 201"/>
                  <a:gd name="T28" fmla="*/ 105 w 124"/>
                  <a:gd name="T29" fmla="*/ 132 h 201"/>
                  <a:gd name="T30" fmla="*/ 116 w 124"/>
                  <a:gd name="T31" fmla="*/ 123 h 201"/>
                  <a:gd name="T32" fmla="*/ 122 w 124"/>
                  <a:gd name="T33" fmla="*/ 114 h 201"/>
                  <a:gd name="T34" fmla="*/ 105 w 124"/>
                  <a:gd name="T35" fmla="*/ 84 h 201"/>
                  <a:gd name="T36" fmla="*/ 98 w 124"/>
                  <a:gd name="T37" fmla="*/ 70 h 201"/>
                  <a:gd name="T38" fmla="*/ 86 w 124"/>
                  <a:gd name="T39" fmla="*/ 72 h 201"/>
                  <a:gd name="T40" fmla="*/ 83 w 124"/>
                  <a:gd name="T41" fmla="*/ 57 h 201"/>
                  <a:gd name="T42" fmla="*/ 98 w 124"/>
                  <a:gd name="T43" fmla="*/ 40 h 201"/>
                  <a:gd name="T44" fmla="*/ 99 w 124"/>
                  <a:gd name="T45" fmla="*/ 16 h 201"/>
                  <a:gd name="T46" fmla="*/ 89 w 124"/>
                  <a:gd name="T47" fmla="*/ 0 h 201"/>
                  <a:gd name="T48" fmla="*/ 60 w 124"/>
                  <a:gd name="T49" fmla="*/ 19 h 201"/>
                  <a:gd name="T50" fmla="*/ 47 w 124"/>
                  <a:gd name="T51" fmla="*/ 21 h 201"/>
                  <a:gd name="T52" fmla="*/ 47 w 124"/>
                  <a:gd name="T53" fmla="*/ 46 h 201"/>
                  <a:gd name="T54" fmla="*/ 33 w 124"/>
                  <a:gd name="T55" fmla="*/ 75 h 201"/>
                  <a:gd name="T56" fmla="*/ 18 w 124"/>
                  <a:gd name="T57" fmla="*/ 70 h 201"/>
                  <a:gd name="T58" fmla="*/ 21 w 124"/>
                  <a:gd name="T59" fmla="*/ 97 h 201"/>
                  <a:gd name="T60" fmla="*/ 2 w 124"/>
                  <a:gd name="T61" fmla="*/ 106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4" h="201">
                    <a:moveTo>
                      <a:pt x="2" y="106"/>
                    </a:moveTo>
                    <a:cubicBezTo>
                      <a:pt x="0" y="109"/>
                      <a:pt x="2" y="111"/>
                      <a:pt x="6" y="117"/>
                    </a:cubicBezTo>
                    <a:cubicBezTo>
                      <a:pt x="10" y="123"/>
                      <a:pt x="19" y="135"/>
                      <a:pt x="24" y="141"/>
                    </a:cubicBezTo>
                    <a:cubicBezTo>
                      <a:pt x="29" y="147"/>
                      <a:pt x="31" y="145"/>
                      <a:pt x="33" y="153"/>
                    </a:cubicBezTo>
                    <a:cubicBezTo>
                      <a:pt x="35" y="161"/>
                      <a:pt x="31" y="187"/>
                      <a:pt x="36" y="192"/>
                    </a:cubicBezTo>
                    <a:cubicBezTo>
                      <a:pt x="41" y="197"/>
                      <a:pt x="59" y="186"/>
                      <a:pt x="65" y="183"/>
                    </a:cubicBezTo>
                    <a:cubicBezTo>
                      <a:pt x="71" y="180"/>
                      <a:pt x="69" y="175"/>
                      <a:pt x="71" y="175"/>
                    </a:cubicBezTo>
                    <a:cubicBezTo>
                      <a:pt x="73" y="175"/>
                      <a:pt x="77" y="179"/>
                      <a:pt x="80" y="183"/>
                    </a:cubicBezTo>
                    <a:cubicBezTo>
                      <a:pt x="83" y="187"/>
                      <a:pt x="83" y="197"/>
                      <a:pt x="86" y="199"/>
                    </a:cubicBezTo>
                    <a:cubicBezTo>
                      <a:pt x="89" y="201"/>
                      <a:pt x="98" y="199"/>
                      <a:pt x="98" y="195"/>
                    </a:cubicBezTo>
                    <a:cubicBezTo>
                      <a:pt x="98" y="191"/>
                      <a:pt x="89" y="180"/>
                      <a:pt x="86" y="175"/>
                    </a:cubicBezTo>
                    <a:cubicBezTo>
                      <a:pt x="83" y="170"/>
                      <a:pt x="81" y="170"/>
                      <a:pt x="81" y="165"/>
                    </a:cubicBezTo>
                    <a:cubicBezTo>
                      <a:pt x="81" y="160"/>
                      <a:pt x="82" y="150"/>
                      <a:pt x="83" y="145"/>
                    </a:cubicBezTo>
                    <a:cubicBezTo>
                      <a:pt x="84" y="140"/>
                      <a:pt x="86" y="134"/>
                      <a:pt x="90" y="132"/>
                    </a:cubicBezTo>
                    <a:cubicBezTo>
                      <a:pt x="94" y="130"/>
                      <a:pt x="101" y="133"/>
                      <a:pt x="105" y="132"/>
                    </a:cubicBezTo>
                    <a:cubicBezTo>
                      <a:pt x="109" y="131"/>
                      <a:pt x="113" y="126"/>
                      <a:pt x="116" y="123"/>
                    </a:cubicBezTo>
                    <a:cubicBezTo>
                      <a:pt x="119" y="120"/>
                      <a:pt x="124" y="120"/>
                      <a:pt x="122" y="114"/>
                    </a:cubicBezTo>
                    <a:cubicBezTo>
                      <a:pt x="120" y="108"/>
                      <a:pt x="109" y="91"/>
                      <a:pt x="105" y="84"/>
                    </a:cubicBezTo>
                    <a:cubicBezTo>
                      <a:pt x="101" y="77"/>
                      <a:pt x="101" y="72"/>
                      <a:pt x="98" y="70"/>
                    </a:cubicBezTo>
                    <a:cubicBezTo>
                      <a:pt x="95" y="68"/>
                      <a:pt x="88" y="74"/>
                      <a:pt x="86" y="72"/>
                    </a:cubicBezTo>
                    <a:cubicBezTo>
                      <a:pt x="84" y="70"/>
                      <a:pt x="81" y="62"/>
                      <a:pt x="83" y="57"/>
                    </a:cubicBezTo>
                    <a:cubicBezTo>
                      <a:pt x="85" y="52"/>
                      <a:pt x="95" y="47"/>
                      <a:pt x="98" y="40"/>
                    </a:cubicBezTo>
                    <a:cubicBezTo>
                      <a:pt x="101" y="33"/>
                      <a:pt x="100" y="23"/>
                      <a:pt x="99" y="16"/>
                    </a:cubicBezTo>
                    <a:cubicBezTo>
                      <a:pt x="98" y="9"/>
                      <a:pt x="95" y="0"/>
                      <a:pt x="89" y="0"/>
                    </a:cubicBezTo>
                    <a:cubicBezTo>
                      <a:pt x="83" y="0"/>
                      <a:pt x="67" y="16"/>
                      <a:pt x="60" y="19"/>
                    </a:cubicBezTo>
                    <a:cubicBezTo>
                      <a:pt x="53" y="22"/>
                      <a:pt x="49" y="17"/>
                      <a:pt x="47" y="21"/>
                    </a:cubicBezTo>
                    <a:cubicBezTo>
                      <a:pt x="45" y="25"/>
                      <a:pt x="49" y="37"/>
                      <a:pt x="47" y="46"/>
                    </a:cubicBezTo>
                    <a:cubicBezTo>
                      <a:pt x="45" y="55"/>
                      <a:pt x="38" y="71"/>
                      <a:pt x="33" y="75"/>
                    </a:cubicBezTo>
                    <a:cubicBezTo>
                      <a:pt x="28" y="79"/>
                      <a:pt x="20" y="66"/>
                      <a:pt x="18" y="70"/>
                    </a:cubicBezTo>
                    <a:cubicBezTo>
                      <a:pt x="16" y="74"/>
                      <a:pt x="23" y="91"/>
                      <a:pt x="21" y="97"/>
                    </a:cubicBezTo>
                    <a:cubicBezTo>
                      <a:pt x="19" y="103"/>
                      <a:pt x="4" y="103"/>
                      <a:pt x="2" y="10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33" name="Freeform 139">
                <a:extLst>
                  <a:ext uri="{FF2B5EF4-FFF2-40B4-BE49-F238E27FC236}">
                    <a16:creationId xmlns:a16="http://schemas.microsoft.com/office/drawing/2014/main" id="{CE971FC9-552F-4175-B4A1-F2DD987ECD78}"/>
                  </a:ext>
                </a:extLst>
              </p:cNvPr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gray">
              <a:xfrm>
                <a:off x="6248401" y="3967163"/>
                <a:ext cx="49213" cy="90488"/>
              </a:xfrm>
              <a:custGeom>
                <a:avLst/>
                <a:gdLst>
                  <a:gd name="T0" fmla="*/ 6 w 30"/>
                  <a:gd name="T1" fmla="*/ 52 h 57"/>
                  <a:gd name="T2" fmla="*/ 29 w 30"/>
                  <a:gd name="T3" fmla="*/ 43 h 57"/>
                  <a:gd name="T4" fmla="*/ 24 w 30"/>
                  <a:gd name="T5" fmla="*/ 22 h 57"/>
                  <a:gd name="T6" fmla="*/ 17 w 30"/>
                  <a:gd name="T7" fmla="*/ 7 h 57"/>
                  <a:gd name="T8" fmla="*/ 6 w 30"/>
                  <a:gd name="T9" fmla="*/ 3 h 57"/>
                  <a:gd name="T10" fmla="*/ 0 w 30"/>
                  <a:gd name="T11" fmla="*/ 27 h 57"/>
                  <a:gd name="T12" fmla="*/ 2 w 30"/>
                  <a:gd name="T13" fmla="*/ 51 h 57"/>
                  <a:gd name="T14" fmla="*/ 6 w 30"/>
                  <a:gd name="T15" fmla="*/ 5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57">
                    <a:moveTo>
                      <a:pt x="6" y="52"/>
                    </a:moveTo>
                    <a:cubicBezTo>
                      <a:pt x="18" y="57"/>
                      <a:pt x="23" y="53"/>
                      <a:pt x="29" y="43"/>
                    </a:cubicBezTo>
                    <a:cubicBezTo>
                      <a:pt x="30" y="34"/>
                      <a:pt x="29" y="30"/>
                      <a:pt x="24" y="22"/>
                    </a:cubicBezTo>
                    <a:cubicBezTo>
                      <a:pt x="27" y="0"/>
                      <a:pt x="27" y="15"/>
                      <a:pt x="17" y="7"/>
                    </a:cubicBezTo>
                    <a:cubicBezTo>
                      <a:pt x="14" y="1"/>
                      <a:pt x="12" y="0"/>
                      <a:pt x="6" y="3"/>
                    </a:cubicBezTo>
                    <a:cubicBezTo>
                      <a:pt x="1" y="10"/>
                      <a:pt x="3" y="19"/>
                      <a:pt x="0" y="27"/>
                    </a:cubicBezTo>
                    <a:cubicBezTo>
                      <a:pt x="1" y="35"/>
                      <a:pt x="0" y="43"/>
                      <a:pt x="2" y="51"/>
                    </a:cubicBezTo>
                    <a:cubicBezTo>
                      <a:pt x="2" y="52"/>
                      <a:pt x="6" y="53"/>
                      <a:pt x="6" y="5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34" name="Freeform 146">
                <a:extLst>
                  <a:ext uri="{FF2B5EF4-FFF2-40B4-BE49-F238E27FC236}">
                    <a16:creationId xmlns:a16="http://schemas.microsoft.com/office/drawing/2014/main" id="{DB5E0376-8144-4DC4-BCA2-1038E66825EB}"/>
                  </a:ext>
                </a:extLst>
              </p:cNvPr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gray">
              <a:xfrm>
                <a:off x="5978882" y="3257162"/>
                <a:ext cx="706099" cy="778080"/>
              </a:xfrm>
              <a:custGeom>
                <a:avLst/>
                <a:gdLst/>
                <a:ahLst/>
                <a:cxnLst/>
                <a:rect l="l" t="t" r="r" b="b"/>
                <a:pathLst>
                  <a:path w="706099" h="778080">
                    <a:moveTo>
                      <a:pt x="599618" y="738575"/>
                    </a:moveTo>
                    <a:cubicBezTo>
                      <a:pt x="602843" y="757625"/>
                      <a:pt x="604456" y="757625"/>
                      <a:pt x="612519" y="771913"/>
                    </a:cubicBezTo>
                    <a:cubicBezTo>
                      <a:pt x="607681" y="781438"/>
                      <a:pt x="602843" y="778263"/>
                      <a:pt x="593167" y="773501"/>
                    </a:cubicBezTo>
                    <a:cubicBezTo>
                      <a:pt x="596392" y="748100"/>
                      <a:pt x="577040" y="756038"/>
                      <a:pt x="599618" y="738575"/>
                    </a:cubicBezTo>
                    <a:close/>
                    <a:moveTo>
                      <a:pt x="575428" y="711588"/>
                    </a:moveTo>
                    <a:cubicBezTo>
                      <a:pt x="580266" y="713176"/>
                      <a:pt x="585104" y="711588"/>
                      <a:pt x="588329" y="714763"/>
                    </a:cubicBezTo>
                    <a:cubicBezTo>
                      <a:pt x="591554" y="719526"/>
                      <a:pt x="577040" y="725876"/>
                      <a:pt x="573815" y="721113"/>
                    </a:cubicBezTo>
                    <a:cubicBezTo>
                      <a:pt x="572202" y="717938"/>
                      <a:pt x="575428" y="714763"/>
                      <a:pt x="575428" y="711588"/>
                    </a:cubicBezTo>
                    <a:close/>
                    <a:moveTo>
                      <a:pt x="578250" y="683212"/>
                    </a:moveTo>
                    <a:cubicBezTo>
                      <a:pt x="581476" y="684601"/>
                      <a:pt x="582685" y="688569"/>
                      <a:pt x="580266" y="695713"/>
                    </a:cubicBezTo>
                    <a:cubicBezTo>
                      <a:pt x="573815" y="694126"/>
                      <a:pt x="564139" y="686188"/>
                      <a:pt x="564139" y="686188"/>
                    </a:cubicBezTo>
                    <a:cubicBezTo>
                      <a:pt x="569784" y="683013"/>
                      <a:pt x="575025" y="681823"/>
                      <a:pt x="578250" y="683212"/>
                    </a:cubicBezTo>
                    <a:close/>
                    <a:moveTo>
                      <a:pt x="580266" y="616338"/>
                    </a:moveTo>
                    <a:cubicBezTo>
                      <a:pt x="601231" y="630626"/>
                      <a:pt x="610907" y="660788"/>
                      <a:pt x="580266" y="667138"/>
                    </a:cubicBezTo>
                    <a:cubicBezTo>
                      <a:pt x="567364" y="657613"/>
                      <a:pt x="570590" y="648088"/>
                      <a:pt x="573815" y="633801"/>
                    </a:cubicBezTo>
                    <a:cubicBezTo>
                      <a:pt x="568977" y="624276"/>
                      <a:pt x="570590" y="621101"/>
                      <a:pt x="580266" y="616338"/>
                    </a:cubicBezTo>
                    <a:close/>
                    <a:moveTo>
                      <a:pt x="589942" y="592525"/>
                    </a:moveTo>
                    <a:lnTo>
                      <a:pt x="599417" y="597089"/>
                    </a:lnTo>
                    <a:cubicBezTo>
                      <a:pt x="600425" y="598081"/>
                      <a:pt x="600425" y="599669"/>
                      <a:pt x="602844" y="605225"/>
                    </a:cubicBezTo>
                    <a:lnTo>
                      <a:pt x="597426" y="609715"/>
                    </a:lnTo>
                    <a:cubicBezTo>
                      <a:pt x="593571" y="609789"/>
                      <a:pt x="593571" y="598478"/>
                      <a:pt x="589942" y="592525"/>
                    </a:cubicBezTo>
                    <a:close/>
                    <a:moveTo>
                      <a:pt x="483499" y="235374"/>
                    </a:moveTo>
                    <a:cubicBezTo>
                      <a:pt x="488335" y="232147"/>
                      <a:pt x="496372" y="249589"/>
                      <a:pt x="498007" y="262343"/>
                    </a:cubicBezTo>
                    <a:lnTo>
                      <a:pt x="496612" y="281584"/>
                    </a:lnTo>
                    <a:cubicBezTo>
                      <a:pt x="487515" y="281701"/>
                      <a:pt x="478649" y="281924"/>
                      <a:pt x="471855" y="282419"/>
                    </a:cubicBezTo>
                    <a:cubicBezTo>
                      <a:pt x="472068" y="282114"/>
                      <a:pt x="472131" y="281764"/>
                      <a:pt x="472191" y="281398"/>
                    </a:cubicBezTo>
                    <a:cubicBezTo>
                      <a:pt x="473827" y="271871"/>
                      <a:pt x="478663" y="238524"/>
                      <a:pt x="483499" y="235374"/>
                    </a:cubicBezTo>
                    <a:close/>
                    <a:moveTo>
                      <a:pt x="656036" y="216319"/>
                    </a:moveTo>
                    <a:cubicBezTo>
                      <a:pt x="668980" y="219469"/>
                      <a:pt x="704469" y="232147"/>
                      <a:pt x="706033" y="240061"/>
                    </a:cubicBezTo>
                    <a:cubicBezTo>
                      <a:pt x="707669" y="248052"/>
                      <a:pt x="678652" y="259116"/>
                      <a:pt x="670544" y="263880"/>
                    </a:cubicBezTo>
                    <a:cubicBezTo>
                      <a:pt x="662508" y="268644"/>
                      <a:pt x="660872" y="268644"/>
                      <a:pt x="656036" y="271871"/>
                    </a:cubicBezTo>
                    <a:cubicBezTo>
                      <a:pt x="651200" y="275021"/>
                      <a:pt x="639963" y="276635"/>
                      <a:pt x="638327" y="281398"/>
                    </a:cubicBezTo>
                    <a:cubicBezTo>
                      <a:pt x="636691" y="286162"/>
                      <a:pt x="644799" y="295690"/>
                      <a:pt x="643163" y="305217"/>
                    </a:cubicBezTo>
                    <a:cubicBezTo>
                      <a:pt x="641527" y="314745"/>
                      <a:pt x="636691" y="332186"/>
                      <a:pt x="631855" y="340100"/>
                    </a:cubicBezTo>
                    <a:cubicBezTo>
                      <a:pt x="627019" y="348014"/>
                      <a:pt x="620618" y="352778"/>
                      <a:pt x="614146" y="354392"/>
                    </a:cubicBezTo>
                    <a:cubicBezTo>
                      <a:pt x="607674" y="356005"/>
                      <a:pt x="596366" y="340100"/>
                      <a:pt x="594802" y="348014"/>
                    </a:cubicBezTo>
                    <a:cubicBezTo>
                      <a:pt x="593166" y="356005"/>
                      <a:pt x="602838" y="389351"/>
                      <a:pt x="602838" y="400416"/>
                    </a:cubicBezTo>
                    <a:cubicBezTo>
                      <a:pt x="602838" y="411557"/>
                      <a:pt x="596366" y="408407"/>
                      <a:pt x="591530" y="411557"/>
                    </a:cubicBezTo>
                    <a:cubicBezTo>
                      <a:pt x="586694" y="414707"/>
                      <a:pt x="573821" y="419471"/>
                      <a:pt x="570621" y="414707"/>
                    </a:cubicBezTo>
                    <a:cubicBezTo>
                      <a:pt x="567349" y="409943"/>
                      <a:pt x="573821" y="387738"/>
                      <a:pt x="570621" y="382974"/>
                    </a:cubicBezTo>
                    <a:cubicBezTo>
                      <a:pt x="567349" y="378210"/>
                      <a:pt x="556041" y="381361"/>
                      <a:pt x="549640" y="382974"/>
                    </a:cubicBezTo>
                    <a:cubicBezTo>
                      <a:pt x="543169" y="384588"/>
                      <a:pt x="533496" y="397266"/>
                      <a:pt x="530296" y="397266"/>
                    </a:cubicBezTo>
                    <a:cubicBezTo>
                      <a:pt x="527024" y="397266"/>
                      <a:pt x="527024" y="387738"/>
                      <a:pt x="530296" y="381361"/>
                    </a:cubicBezTo>
                    <a:cubicBezTo>
                      <a:pt x="533496" y="375060"/>
                      <a:pt x="544804" y="362306"/>
                      <a:pt x="551205" y="357542"/>
                    </a:cubicBezTo>
                    <a:cubicBezTo>
                      <a:pt x="557677" y="352778"/>
                      <a:pt x="564149" y="352778"/>
                      <a:pt x="567349" y="348014"/>
                    </a:cubicBezTo>
                    <a:cubicBezTo>
                      <a:pt x="570621" y="343250"/>
                      <a:pt x="575457" y="333800"/>
                      <a:pt x="570621" y="329036"/>
                    </a:cubicBezTo>
                    <a:cubicBezTo>
                      <a:pt x="565785" y="324272"/>
                      <a:pt x="548005" y="322659"/>
                      <a:pt x="536697" y="319508"/>
                    </a:cubicBezTo>
                    <a:cubicBezTo>
                      <a:pt x="525460" y="316281"/>
                      <a:pt x="504479" y="319508"/>
                      <a:pt x="498007" y="309981"/>
                    </a:cubicBezTo>
                    <a:cubicBezTo>
                      <a:pt x="494097" y="304225"/>
                      <a:pt x="495509" y="292664"/>
                      <a:pt x="496612" y="281584"/>
                    </a:cubicBezTo>
                    <a:lnTo>
                      <a:pt x="530296" y="281398"/>
                    </a:lnTo>
                    <a:cubicBezTo>
                      <a:pt x="548005" y="281398"/>
                      <a:pt x="564149" y="284549"/>
                      <a:pt x="570621" y="281398"/>
                    </a:cubicBezTo>
                    <a:cubicBezTo>
                      <a:pt x="577022" y="278171"/>
                      <a:pt x="570621" y="268644"/>
                      <a:pt x="570621" y="262343"/>
                    </a:cubicBezTo>
                    <a:cubicBezTo>
                      <a:pt x="570621" y="255966"/>
                      <a:pt x="570621" y="249589"/>
                      <a:pt x="573821" y="244825"/>
                    </a:cubicBezTo>
                    <a:cubicBezTo>
                      <a:pt x="577022" y="240061"/>
                      <a:pt x="580293" y="233761"/>
                      <a:pt x="588330" y="230610"/>
                    </a:cubicBezTo>
                    <a:cubicBezTo>
                      <a:pt x="596366" y="227383"/>
                      <a:pt x="612510" y="222620"/>
                      <a:pt x="623819" y="221083"/>
                    </a:cubicBezTo>
                    <a:cubicBezTo>
                      <a:pt x="635127" y="219469"/>
                      <a:pt x="643163" y="213092"/>
                      <a:pt x="656036" y="216319"/>
                    </a:cubicBezTo>
                    <a:close/>
                    <a:moveTo>
                      <a:pt x="154942" y="0"/>
                    </a:moveTo>
                    <a:cubicBezTo>
                      <a:pt x="155351" y="393"/>
                      <a:pt x="155351" y="1181"/>
                      <a:pt x="157769" y="1949"/>
                    </a:cubicBezTo>
                    <a:lnTo>
                      <a:pt x="178679" y="6713"/>
                    </a:lnTo>
                    <a:cubicBezTo>
                      <a:pt x="185151" y="9940"/>
                      <a:pt x="194823" y="14704"/>
                      <a:pt x="201295" y="19468"/>
                    </a:cubicBezTo>
                    <a:cubicBezTo>
                      <a:pt x="207767" y="24231"/>
                      <a:pt x="210967" y="32146"/>
                      <a:pt x="215803" y="33759"/>
                    </a:cubicBezTo>
                    <a:cubicBezTo>
                      <a:pt x="220639" y="35296"/>
                      <a:pt x="227111" y="32146"/>
                      <a:pt x="235148" y="30532"/>
                    </a:cubicBezTo>
                    <a:cubicBezTo>
                      <a:pt x="243185" y="28995"/>
                      <a:pt x="257693" y="16241"/>
                      <a:pt x="265801" y="21004"/>
                    </a:cubicBezTo>
                    <a:cubicBezTo>
                      <a:pt x="273837" y="25768"/>
                      <a:pt x="280309" y="49587"/>
                      <a:pt x="280309" y="59115"/>
                    </a:cubicBezTo>
                    <a:cubicBezTo>
                      <a:pt x="280309" y="68642"/>
                      <a:pt x="267436" y="70256"/>
                      <a:pt x="264165" y="76556"/>
                    </a:cubicBezTo>
                    <a:cubicBezTo>
                      <a:pt x="260965" y="82933"/>
                      <a:pt x="259329" y="90847"/>
                      <a:pt x="259329" y="97225"/>
                    </a:cubicBezTo>
                    <a:cubicBezTo>
                      <a:pt x="259329" y="103602"/>
                      <a:pt x="270637" y="111516"/>
                      <a:pt x="269001" y="116280"/>
                    </a:cubicBezTo>
                    <a:cubicBezTo>
                      <a:pt x="267436" y="121044"/>
                      <a:pt x="257693" y="121044"/>
                      <a:pt x="254493" y="125807"/>
                    </a:cubicBezTo>
                    <a:cubicBezTo>
                      <a:pt x="251292" y="130571"/>
                      <a:pt x="246456" y="136948"/>
                      <a:pt x="249656" y="144862"/>
                    </a:cubicBezTo>
                    <a:cubicBezTo>
                      <a:pt x="252857" y="152776"/>
                      <a:pt x="262529" y="165454"/>
                      <a:pt x="270637" y="171832"/>
                    </a:cubicBezTo>
                    <a:cubicBezTo>
                      <a:pt x="278673" y="178209"/>
                      <a:pt x="298018" y="176595"/>
                      <a:pt x="299654" y="186123"/>
                    </a:cubicBezTo>
                    <a:cubicBezTo>
                      <a:pt x="301290" y="195650"/>
                      <a:pt x="280309" y="217856"/>
                      <a:pt x="280309" y="225847"/>
                    </a:cubicBezTo>
                    <a:cubicBezTo>
                      <a:pt x="280309" y="233761"/>
                      <a:pt x="293182" y="232147"/>
                      <a:pt x="299654" y="235374"/>
                    </a:cubicBezTo>
                    <a:cubicBezTo>
                      <a:pt x="306126" y="238524"/>
                      <a:pt x="315798" y="243288"/>
                      <a:pt x="322199" y="248052"/>
                    </a:cubicBezTo>
                    <a:cubicBezTo>
                      <a:pt x="328671" y="252816"/>
                      <a:pt x="335143" y="255966"/>
                      <a:pt x="341615" y="259116"/>
                    </a:cubicBezTo>
                    <a:cubicBezTo>
                      <a:pt x="348015" y="262343"/>
                      <a:pt x="357688" y="265493"/>
                      <a:pt x="367360" y="268644"/>
                    </a:cubicBezTo>
                    <a:cubicBezTo>
                      <a:pt x="377032" y="271871"/>
                      <a:pt x="388340" y="279785"/>
                      <a:pt x="396448" y="282935"/>
                    </a:cubicBezTo>
                    <a:cubicBezTo>
                      <a:pt x="404485" y="286162"/>
                      <a:pt x="406120" y="284549"/>
                      <a:pt x="414157" y="286162"/>
                    </a:cubicBezTo>
                    <a:cubicBezTo>
                      <a:pt x="422193" y="287699"/>
                      <a:pt x="441609" y="292463"/>
                      <a:pt x="449646" y="292463"/>
                    </a:cubicBezTo>
                    <a:cubicBezTo>
                      <a:pt x="457682" y="292463"/>
                      <a:pt x="451282" y="284549"/>
                      <a:pt x="464154" y="282935"/>
                    </a:cubicBezTo>
                    <a:cubicBezTo>
                      <a:pt x="466201" y="282691"/>
                      <a:pt x="468820" y="282485"/>
                      <a:pt x="471855" y="282419"/>
                    </a:cubicBezTo>
                    <a:cubicBezTo>
                      <a:pt x="470382" y="290816"/>
                      <a:pt x="467418" y="289616"/>
                      <a:pt x="468990" y="297226"/>
                    </a:cubicBezTo>
                    <a:cubicBezTo>
                      <a:pt x="470626" y="305217"/>
                      <a:pt x="483499" y="319508"/>
                      <a:pt x="483499" y="325809"/>
                    </a:cubicBezTo>
                    <a:cubicBezTo>
                      <a:pt x="483499" y="332186"/>
                      <a:pt x="467355" y="335336"/>
                      <a:pt x="467355" y="338487"/>
                    </a:cubicBezTo>
                    <a:cubicBezTo>
                      <a:pt x="467355" y="341714"/>
                      <a:pt x="481863" y="344864"/>
                      <a:pt x="486699" y="348014"/>
                    </a:cubicBezTo>
                    <a:cubicBezTo>
                      <a:pt x="491535" y="351241"/>
                      <a:pt x="493171" y="352778"/>
                      <a:pt x="493171" y="362306"/>
                    </a:cubicBezTo>
                    <a:cubicBezTo>
                      <a:pt x="493171" y="371833"/>
                      <a:pt x="493171" y="397266"/>
                      <a:pt x="488335" y="405180"/>
                    </a:cubicBezTo>
                    <a:cubicBezTo>
                      <a:pt x="483499" y="413170"/>
                      <a:pt x="465790" y="406793"/>
                      <a:pt x="459318" y="411557"/>
                    </a:cubicBezTo>
                    <a:cubicBezTo>
                      <a:pt x="452846" y="416321"/>
                      <a:pt x="454482" y="432149"/>
                      <a:pt x="448010" y="438526"/>
                    </a:cubicBezTo>
                    <a:cubicBezTo>
                      <a:pt x="441609" y="444903"/>
                      <a:pt x="433502" y="448053"/>
                      <a:pt x="423829" y="454431"/>
                    </a:cubicBezTo>
                    <a:cubicBezTo>
                      <a:pt x="414157" y="460731"/>
                      <a:pt x="393177" y="465495"/>
                      <a:pt x="385140" y="473486"/>
                    </a:cubicBezTo>
                    <a:cubicBezTo>
                      <a:pt x="377032" y="481400"/>
                      <a:pt x="380304" y="492541"/>
                      <a:pt x="372196" y="500455"/>
                    </a:cubicBezTo>
                    <a:cubicBezTo>
                      <a:pt x="364160" y="508369"/>
                      <a:pt x="344815" y="513133"/>
                      <a:pt x="338343" y="521124"/>
                    </a:cubicBezTo>
                    <a:cubicBezTo>
                      <a:pt x="331942" y="529038"/>
                      <a:pt x="336778" y="543329"/>
                      <a:pt x="331942" y="548093"/>
                    </a:cubicBezTo>
                    <a:cubicBezTo>
                      <a:pt x="327106" y="552856"/>
                      <a:pt x="320634" y="544866"/>
                      <a:pt x="312526" y="548093"/>
                    </a:cubicBezTo>
                    <a:cubicBezTo>
                      <a:pt x="304490" y="551243"/>
                      <a:pt x="288346" y="557620"/>
                      <a:pt x="283510" y="567148"/>
                    </a:cubicBezTo>
                    <a:cubicBezTo>
                      <a:pt x="278673" y="576675"/>
                      <a:pt x="283510" y="587740"/>
                      <a:pt x="283510" y="602031"/>
                    </a:cubicBezTo>
                    <a:cubicBezTo>
                      <a:pt x="283510" y="616322"/>
                      <a:pt x="286781" y="636991"/>
                      <a:pt x="283510" y="652819"/>
                    </a:cubicBezTo>
                    <a:cubicBezTo>
                      <a:pt x="280309" y="668724"/>
                      <a:pt x="269001" y="686165"/>
                      <a:pt x="260965" y="700456"/>
                    </a:cubicBezTo>
                    <a:cubicBezTo>
                      <a:pt x="252857" y="714748"/>
                      <a:pt x="244820" y="727426"/>
                      <a:pt x="236784" y="735416"/>
                    </a:cubicBezTo>
                    <a:cubicBezTo>
                      <a:pt x="230703" y="741352"/>
                      <a:pt x="228303" y="756234"/>
                      <a:pt x="220672" y="753936"/>
                    </a:cubicBezTo>
                    <a:lnTo>
                      <a:pt x="210967" y="744944"/>
                    </a:lnTo>
                    <a:cubicBezTo>
                      <a:pt x="194823" y="722662"/>
                      <a:pt x="157769" y="643291"/>
                      <a:pt x="139989" y="597267"/>
                    </a:cubicBezTo>
                    <a:cubicBezTo>
                      <a:pt x="122281" y="551243"/>
                      <a:pt x="112608" y="495691"/>
                      <a:pt x="104501" y="463958"/>
                    </a:cubicBezTo>
                    <a:cubicBezTo>
                      <a:pt x="96464" y="432149"/>
                      <a:pt x="101300" y="414707"/>
                      <a:pt x="94828" y="409943"/>
                    </a:cubicBezTo>
                    <a:cubicBezTo>
                      <a:pt x="88427" y="405180"/>
                      <a:pt x="77119" y="436912"/>
                      <a:pt x="65811" y="438526"/>
                    </a:cubicBezTo>
                    <a:cubicBezTo>
                      <a:pt x="54503" y="440139"/>
                      <a:pt x="28758" y="425848"/>
                      <a:pt x="22286" y="419471"/>
                    </a:cubicBezTo>
                    <a:cubicBezTo>
                      <a:pt x="15814" y="413170"/>
                      <a:pt x="17450" y="402029"/>
                      <a:pt x="22286" y="397266"/>
                    </a:cubicBezTo>
                    <a:cubicBezTo>
                      <a:pt x="27122" y="392502"/>
                      <a:pt x="54503" y="389351"/>
                      <a:pt x="51303" y="387738"/>
                    </a:cubicBezTo>
                    <a:cubicBezTo>
                      <a:pt x="48102" y="386124"/>
                      <a:pt x="12614" y="387738"/>
                      <a:pt x="4506" y="382974"/>
                    </a:cubicBezTo>
                    <a:cubicBezTo>
                      <a:pt x="-3531" y="378210"/>
                      <a:pt x="1306" y="367069"/>
                      <a:pt x="2941" y="362306"/>
                    </a:cubicBezTo>
                    <a:lnTo>
                      <a:pt x="19014" y="349628"/>
                    </a:lnTo>
                    <a:cubicBezTo>
                      <a:pt x="27122" y="348014"/>
                      <a:pt x="44831" y="351241"/>
                      <a:pt x="52939" y="349628"/>
                    </a:cubicBezTo>
                    <a:cubicBezTo>
                      <a:pt x="60975" y="348014"/>
                      <a:pt x="64176" y="343250"/>
                      <a:pt x="65811" y="338487"/>
                    </a:cubicBezTo>
                    <a:lnTo>
                      <a:pt x="65811" y="319508"/>
                    </a:lnTo>
                    <a:cubicBezTo>
                      <a:pt x="64176" y="314745"/>
                      <a:pt x="54503" y="316281"/>
                      <a:pt x="51303" y="311518"/>
                    </a:cubicBezTo>
                    <a:cubicBezTo>
                      <a:pt x="48102" y="306754"/>
                      <a:pt x="46467" y="294076"/>
                      <a:pt x="41631" y="287699"/>
                    </a:cubicBezTo>
                    <a:cubicBezTo>
                      <a:pt x="36794" y="281398"/>
                      <a:pt x="20650" y="273407"/>
                      <a:pt x="22286" y="268644"/>
                    </a:cubicBezTo>
                    <a:cubicBezTo>
                      <a:pt x="23851" y="263880"/>
                      <a:pt x="46467" y="259116"/>
                      <a:pt x="56139" y="257579"/>
                    </a:cubicBezTo>
                    <a:cubicBezTo>
                      <a:pt x="65811" y="255966"/>
                      <a:pt x="77119" y="263880"/>
                      <a:pt x="85156" y="257579"/>
                    </a:cubicBezTo>
                    <a:cubicBezTo>
                      <a:pt x="93264" y="251202"/>
                      <a:pt x="89992" y="233761"/>
                      <a:pt x="99664" y="221083"/>
                    </a:cubicBezTo>
                    <a:cubicBezTo>
                      <a:pt x="109337" y="208328"/>
                      <a:pt x="133518" y="192500"/>
                      <a:pt x="143190" y="178209"/>
                    </a:cubicBezTo>
                    <a:cubicBezTo>
                      <a:pt x="152933" y="163918"/>
                      <a:pt x="164170" y="141712"/>
                      <a:pt x="162606" y="130571"/>
                    </a:cubicBezTo>
                    <a:cubicBezTo>
                      <a:pt x="160970" y="119430"/>
                      <a:pt x="136789" y="124194"/>
                      <a:pt x="130317" y="114666"/>
                    </a:cubicBezTo>
                    <a:cubicBezTo>
                      <a:pt x="123845" y="105139"/>
                      <a:pt x="123845" y="82933"/>
                      <a:pt x="122281" y="76556"/>
                    </a:cubicBezTo>
                    <a:cubicBezTo>
                      <a:pt x="121076" y="71917"/>
                      <a:pt x="117250" y="74110"/>
                      <a:pt x="115809" y="73406"/>
                    </a:cubicBezTo>
                    <a:cubicBezTo>
                      <a:pt x="117444" y="70256"/>
                      <a:pt x="127117" y="57501"/>
                      <a:pt x="128681" y="52737"/>
                    </a:cubicBezTo>
                    <a:cubicBezTo>
                      <a:pt x="130317" y="47974"/>
                      <a:pt x="128681" y="46437"/>
                      <a:pt x="123845" y="43287"/>
                    </a:cubicBezTo>
                    <a:cubicBezTo>
                      <a:pt x="119009" y="40060"/>
                      <a:pt x="102936" y="33759"/>
                      <a:pt x="99664" y="28995"/>
                    </a:cubicBezTo>
                    <a:cubicBezTo>
                      <a:pt x="96464" y="24231"/>
                      <a:pt x="99664" y="14704"/>
                      <a:pt x="104501" y="9940"/>
                    </a:cubicBezTo>
                    <a:cubicBezTo>
                      <a:pt x="109337" y="5176"/>
                      <a:pt x="125481" y="3563"/>
                      <a:pt x="128681" y="1949"/>
                    </a:cubicBezTo>
                    <a:lnTo>
                      <a:pt x="125706" y="4890"/>
                    </a:lnTo>
                    <a:lnTo>
                      <a:pt x="106136" y="9940"/>
                    </a:lnTo>
                    <a:cubicBezTo>
                      <a:pt x="99664" y="13090"/>
                      <a:pt x="106136" y="21004"/>
                      <a:pt x="106136" y="24231"/>
                    </a:cubicBezTo>
                    <a:lnTo>
                      <a:pt x="125706" y="4890"/>
                    </a:lnTo>
                    <a:cubicBezTo>
                      <a:pt x="135262" y="2946"/>
                      <a:pt x="145405" y="1227"/>
                      <a:pt x="149662" y="4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35" name="Freeform 147">
                <a:extLst>
                  <a:ext uri="{FF2B5EF4-FFF2-40B4-BE49-F238E27FC236}">
                    <a16:creationId xmlns:a16="http://schemas.microsoft.com/office/drawing/2014/main" id="{C2A357C7-10A8-4F68-ADC8-6F38412B03EF}"/>
                  </a:ext>
                </a:extLst>
              </p:cNvPr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gray">
              <a:xfrm>
                <a:off x="6667501" y="3700463"/>
                <a:ext cx="201613" cy="363538"/>
              </a:xfrm>
              <a:custGeom>
                <a:avLst/>
                <a:gdLst>
                  <a:gd name="T0" fmla="*/ 65 w 125"/>
                  <a:gd name="T1" fmla="*/ 217 h 229"/>
                  <a:gd name="T2" fmla="*/ 50 w 125"/>
                  <a:gd name="T3" fmla="*/ 208 h 229"/>
                  <a:gd name="T4" fmla="*/ 46 w 125"/>
                  <a:gd name="T5" fmla="*/ 192 h 229"/>
                  <a:gd name="T6" fmla="*/ 43 w 125"/>
                  <a:gd name="T7" fmla="*/ 180 h 229"/>
                  <a:gd name="T8" fmla="*/ 46 w 125"/>
                  <a:gd name="T9" fmla="*/ 168 h 229"/>
                  <a:gd name="T10" fmla="*/ 34 w 125"/>
                  <a:gd name="T11" fmla="*/ 171 h 229"/>
                  <a:gd name="T12" fmla="*/ 28 w 125"/>
                  <a:gd name="T13" fmla="*/ 157 h 229"/>
                  <a:gd name="T14" fmla="*/ 41 w 125"/>
                  <a:gd name="T15" fmla="*/ 142 h 229"/>
                  <a:gd name="T16" fmla="*/ 43 w 125"/>
                  <a:gd name="T17" fmla="*/ 127 h 229"/>
                  <a:gd name="T18" fmla="*/ 44 w 125"/>
                  <a:gd name="T19" fmla="*/ 112 h 229"/>
                  <a:gd name="T20" fmla="*/ 53 w 125"/>
                  <a:gd name="T21" fmla="*/ 108 h 229"/>
                  <a:gd name="T22" fmla="*/ 58 w 125"/>
                  <a:gd name="T23" fmla="*/ 124 h 229"/>
                  <a:gd name="T24" fmla="*/ 71 w 125"/>
                  <a:gd name="T25" fmla="*/ 126 h 229"/>
                  <a:gd name="T26" fmla="*/ 82 w 125"/>
                  <a:gd name="T27" fmla="*/ 139 h 229"/>
                  <a:gd name="T28" fmla="*/ 91 w 125"/>
                  <a:gd name="T29" fmla="*/ 153 h 229"/>
                  <a:gd name="T30" fmla="*/ 101 w 125"/>
                  <a:gd name="T31" fmla="*/ 157 h 229"/>
                  <a:gd name="T32" fmla="*/ 112 w 125"/>
                  <a:gd name="T33" fmla="*/ 159 h 229"/>
                  <a:gd name="T34" fmla="*/ 100 w 125"/>
                  <a:gd name="T35" fmla="*/ 147 h 229"/>
                  <a:gd name="T36" fmla="*/ 83 w 125"/>
                  <a:gd name="T37" fmla="*/ 126 h 229"/>
                  <a:gd name="T38" fmla="*/ 83 w 125"/>
                  <a:gd name="T39" fmla="*/ 100 h 229"/>
                  <a:gd name="T40" fmla="*/ 106 w 125"/>
                  <a:gd name="T41" fmla="*/ 99 h 229"/>
                  <a:gd name="T42" fmla="*/ 122 w 125"/>
                  <a:gd name="T43" fmla="*/ 94 h 229"/>
                  <a:gd name="T44" fmla="*/ 124 w 125"/>
                  <a:gd name="T45" fmla="*/ 73 h 229"/>
                  <a:gd name="T46" fmla="*/ 113 w 125"/>
                  <a:gd name="T47" fmla="*/ 63 h 229"/>
                  <a:gd name="T48" fmla="*/ 115 w 125"/>
                  <a:gd name="T49" fmla="*/ 46 h 229"/>
                  <a:gd name="T50" fmla="*/ 97 w 125"/>
                  <a:gd name="T51" fmla="*/ 33 h 229"/>
                  <a:gd name="T52" fmla="*/ 83 w 125"/>
                  <a:gd name="T53" fmla="*/ 39 h 229"/>
                  <a:gd name="T54" fmla="*/ 68 w 125"/>
                  <a:gd name="T55" fmla="*/ 36 h 229"/>
                  <a:gd name="T56" fmla="*/ 58 w 125"/>
                  <a:gd name="T57" fmla="*/ 46 h 229"/>
                  <a:gd name="T58" fmla="*/ 62 w 125"/>
                  <a:gd name="T59" fmla="*/ 19 h 229"/>
                  <a:gd name="T60" fmla="*/ 50 w 125"/>
                  <a:gd name="T61" fmla="*/ 9 h 229"/>
                  <a:gd name="T62" fmla="*/ 43 w 125"/>
                  <a:gd name="T63" fmla="*/ 0 h 229"/>
                  <a:gd name="T64" fmla="*/ 17 w 125"/>
                  <a:gd name="T65" fmla="*/ 7 h 229"/>
                  <a:gd name="T66" fmla="*/ 5 w 125"/>
                  <a:gd name="T67" fmla="*/ 18 h 229"/>
                  <a:gd name="T68" fmla="*/ 5 w 125"/>
                  <a:gd name="T69" fmla="*/ 37 h 229"/>
                  <a:gd name="T70" fmla="*/ 17 w 125"/>
                  <a:gd name="T71" fmla="*/ 57 h 229"/>
                  <a:gd name="T72" fmla="*/ 16 w 125"/>
                  <a:gd name="T73" fmla="*/ 73 h 229"/>
                  <a:gd name="T74" fmla="*/ 3 w 125"/>
                  <a:gd name="T75" fmla="*/ 63 h 229"/>
                  <a:gd name="T76" fmla="*/ 1 w 125"/>
                  <a:gd name="T77" fmla="*/ 57 h 229"/>
                  <a:gd name="T78" fmla="*/ 7 w 125"/>
                  <a:gd name="T79" fmla="*/ 90 h 229"/>
                  <a:gd name="T80" fmla="*/ 8 w 125"/>
                  <a:gd name="T81" fmla="*/ 100 h 229"/>
                  <a:gd name="T82" fmla="*/ 17 w 125"/>
                  <a:gd name="T83" fmla="*/ 111 h 229"/>
                  <a:gd name="T84" fmla="*/ 5 w 125"/>
                  <a:gd name="T85" fmla="*/ 117 h 229"/>
                  <a:gd name="T86" fmla="*/ 2 w 125"/>
                  <a:gd name="T87" fmla="*/ 124 h 229"/>
                  <a:gd name="T88" fmla="*/ 14 w 125"/>
                  <a:gd name="T89" fmla="*/ 150 h 229"/>
                  <a:gd name="T90" fmla="*/ 14 w 125"/>
                  <a:gd name="T91" fmla="*/ 163 h 229"/>
                  <a:gd name="T92" fmla="*/ 25 w 125"/>
                  <a:gd name="T93" fmla="*/ 192 h 229"/>
                  <a:gd name="T94" fmla="*/ 38 w 125"/>
                  <a:gd name="T95" fmla="*/ 213 h 229"/>
                  <a:gd name="T96" fmla="*/ 58 w 125"/>
                  <a:gd name="T97" fmla="*/ 229 h 229"/>
                  <a:gd name="T98" fmla="*/ 65 w 125"/>
                  <a:gd name="T99" fmla="*/ 217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5" h="229">
                    <a:moveTo>
                      <a:pt x="65" y="217"/>
                    </a:moveTo>
                    <a:cubicBezTo>
                      <a:pt x="64" y="214"/>
                      <a:pt x="53" y="212"/>
                      <a:pt x="50" y="208"/>
                    </a:cubicBezTo>
                    <a:cubicBezTo>
                      <a:pt x="47" y="204"/>
                      <a:pt x="47" y="197"/>
                      <a:pt x="46" y="192"/>
                    </a:cubicBezTo>
                    <a:cubicBezTo>
                      <a:pt x="45" y="187"/>
                      <a:pt x="43" y="184"/>
                      <a:pt x="43" y="180"/>
                    </a:cubicBezTo>
                    <a:cubicBezTo>
                      <a:pt x="43" y="176"/>
                      <a:pt x="47" y="169"/>
                      <a:pt x="46" y="168"/>
                    </a:cubicBezTo>
                    <a:cubicBezTo>
                      <a:pt x="45" y="167"/>
                      <a:pt x="37" y="173"/>
                      <a:pt x="34" y="171"/>
                    </a:cubicBezTo>
                    <a:cubicBezTo>
                      <a:pt x="31" y="169"/>
                      <a:pt x="27" y="162"/>
                      <a:pt x="28" y="157"/>
                    </a:cubicBezTo>
                    <a:cubicBezTo>
                      <a:pt x="29" y="152"/>
                      <a:pt x="39" y="147"/>
                      <a:pt x="41" y="142"/>
                    </a:cubicBezTo>
                    <a:cubicBezTo>
                      <a:pt x="43" y="137"/>
                      <a:pt x="43" y="132"/>
                      <a:pt x="43" y="127"/>
                    </a:cubicBezTo>
                    <a:cubicBezTo>
                      <a:pt x="43" y="122"/>
                      <a:pt x="42" y="115"/>
                      <a:pt x="44" y="112"/>
                    </a:cubicBezTo>
                    <a:cubicBezTo>
                      <a:pt x="46" y="109"/>
                      <a:pt x="51" y="106"/>
                      <a:pt x="53" y="108"/>
                    </a:cubicBezTo>
                    <a:cubicBezTo>
                      <a:pt x="55" y="110"/>
                      <a:pt x="55" y="121"/>
                      <a:pt x="58" y="124"/>
                    </a:cubicBezTo>
                    <a:cubicBezTo>
                      <a:pt x="61" y="127"/>
                      <a:pt x="67" y="124"/>
                      <a:pt x="71" y="126"/>
                    </a:cubicBezTo>
                    <a:cubicBezTo>
                      <a:pt x="75" y="128"/>
                      <a:pt x="79" y="134"/>
                      <a:pt x="82" y="139"/>
                    </a:cubicBezTo>
                    <a:cubicBezTo>
                      <a:pt x="85" y="144"/>
                      <a:pt x="88" y="150"/>
                      <a:pt x="91" y="153"/>
                    </a:cubicBezTo>
                    <a:cubicBezTo>
                      <a:pt x="94" y="156"/>
                      <a:pt x="97" y="156"/>
                      <a:pt x="101" y="157"/>
                    </a:cubicBezTo>
                    <a:cubicBezTo>
                      <a:pt x="105" y="158"/>
                      <a:pt x="112" y="161"/>
                      <a:pt x="112" y="159"/>
                    </a:cubicBezTo>
                    <a:cubicBezTo>
                      <a:pt x="112" y="157"/>
                      <a:pt x="105" y="152"/>
                      <a:pt x="100" y="147"/>
                    </a:cubicBezTo>
                    <a:cubicBezTo>
                      <a:pt x="95" y="142"/>
                      <a:pt x="86" y="134"/>
                      <a:pt x="83" y="126"/>
                    </a:cubicBezTo>
                    <a:cubicBezTo>
                      <a:pt x="80" y="118"/>
                      <a:pt x="79" y="104"/>
                      <a:pt x="83" y="100"/>
                    </a:cubicBezTo>
                    <a:cubicBezTo>
                      <a:pt x="87" y="96"/>
                      <a:pt x="100" y="100"/>
                      <a:pt x="106" y="99"/>
                    </a:cubicBezTo>
                    <a:cubicBezTo>
                      <a:pt x="112" y="98"/>
                      <a:pt x="119" y="98"/>
                      <a:pt x="122" y="94"/>
                    </a:cubicBezTo>
                    <a:cubicBezTo>
                      <a:pt x="125" y="90"/>
                      <a:pt x="125" y="78"/>
                      <a:pt x="124" y="73"/>
                    </a:cubicBezTo>
                    <a:cubicBezTo>
                      <a:pt x="123" y="68"/>
                      <a:pt x="114" y="67"/>
                      <a:pt x="113" y="63"/>
                    </a:cubicBezTo>
                    <a:cubicBezTo>
                      <a:pt x="112" y="59"/>
                      <a:pt x="118" y="51"/>
                      <a:pt x="115" y="46"/>
                    </a:cubicBezTo>
                    <a:cubicBezTo>
                      <a:pt x="112" y="41"/>
                      <a:pt x="102" y="34"/>
                      <a:pt x="97" y="33"/>
                    </a:cubicBezTo>
                    <a:cubicBezTo>
                      <a:pt x="92" y="32"/>
                      <a:pt x="88" y="39"/>
                      <a:pt x="83" y="39"/>
                    </a:cubicBezTo>
                    <a:cubicBezTo>
                      <a:pt x="78" y="39"/>
                      <a:pt x="72" y="35"/>
                      <a:pt x="68" y="36"/>
                    </a:cubicBezTo>
                    <a:cubicBezTo>
                      <a:pt x="64" y="37"/>
                      <a:pt x="59" y="49"/>
                      <a:pt x="58" y="46"/>
                    </a:cubicBezTo>
                    <a:cubicBezTo>
                      <a:pt x="57" y="43"/>
                      <a:pt x="63" y="25"/>
                      <a:pt x="62" y="19"/>
                    </a:cubicBezTo>
                    <a:cubicBezTo>
                      <a:pt x="61" y="13"/>
                      <a:pt x="53" y="12"/>
                      <a:pt x="50" y="9"/>
                    </a:cubicBezTo>
                    <a:cubicBezTo>
                      <a:pt x="47" y="6"/>
                      <a:pt x="48" y="0"/>
                      <a:pt x="43" y="0"/>
                    </a:cubicBezTo>
                    <a:cubicBezTo>
                      <a:pt x="38" y="0"/>
                      <a:pt x="23" y="4"/>
                      <a:pt x="17" y="7"/>
                    </a:cubicBezTo>
                    <a:cubicBezTo>
                      <a:pt x="11" y="10"/>
                      <a:pt x="7" y="13"/>
                      <a:pt x="5" y="18"/>
                    </a:cubicBezTo>
                    <a:cubicBezTo>
                      <a:pt x="3" y="23"/>
                      <a:pt x="3" y="30"/>
                      <a:pt x="5" y="37"/>
                    </a:cubicBezTo>
                    <a:cubicBezTo>
                      <a:pt x="7" y="44"/>
                      <a:pt x="15" y="51"/>
                      <a:pt x="17" y="57"/>
                    </a:cubicBezTo>
                    <a:cubicBezTo>
                      <a:pt x="19" y="63"/>
                      <a:pt x="18" y="72"/>
                      <a:pt x="16" y="73"/>
                    </a:cubicBezTo>
                    <a:cubicBezTo>
                      <a:pt x="14" y="74"/>
                      <a:pt x="5" y="66"/>
                      <a:pt x="3" y="63"/>
                    </a:cubicBezTo>
                    <a:cubicBezTo>
                      <a:pt x="1" y="60"/>
                      <a:pt x="0" y="53"/>
                      <a:pt x="1" y="57"/>
                    </a:cubicBezTo>
                    <a:cubicBezTo>
                      <a:pt x="2" y="61"/>
                      <a:pt x="6" y="83"/>
                      <a:pt x="7" y="90"/>
                    </a:cubicBezTo>
                    <a:cubicBezTo>
                      <a:pt x="8" y="97"/>
                      <a:pt x="6" y="97"/>
                      <a:pt x="8" y="100"/>
                    </a:cubicBezTo>
                    <a:cubicBezTo>
                      <a:pt x="10" y="103"/>
                      <a:pt x="17" y="108"/>
                      <a:pt x="17" y="111"/>
                    </a:cubicBezTo>
                    <a:cubicBezTo>
                      <a:pt x="17" y="114"/>
                      <a:pt x="7" y="115"/>
                      <a:pt x="5" y="117"/>
                    </a:cubicBezTo>
                    <a:cubicBezTo>
                      <a:pt x="3" y="119"/>
                      <a:pt x="1" y="119"/>
                      <a:pt x="2" y="124"/>
                    </a:cubicBezTo>
                    <a:cubicBezTo>
                      <a:pt x="3" y="129"/>
                      <a:pt x="12" y="144"/>
                      <a:pt x="14" y="150"/>
                    </a:cubicBezTo>
                    <a:cubicBezTo>
                      <a:pt x="16" y="156"/>
                      <a:pt x="12" y="156"/>
                      <a:pt x="14" y="163"/>
                    </a:cubicBezTo>
                    <a:cubicBezTo>
                      <a:pt x="16" y="170"/>
                      <a:pt x="21" y="184"/>
                      <a:pt x="25" y="192"/>
                    </a:cubicBezTo>
                    <a:cubicBezTo>
                      <a:pt x="29" y="200"/>
                      <a:pt x="33" y="207"/>
                      <a:pt x="38" y="213"/>
                    </a:cubicBezTo>
                    <a:cubicBezTo>
                      <a:pt x="43" y="219"/>
                      <a:pt x="53" y="229"/>
                      <a:pt x="58" y="229"/>
                    </a:cubicBezTo>
                    <a:cubicBezTo>
                      <a:pt x="63" y="229"/>
                      <a:pt x="66" y="220"/>
                      <a:pt x="65" y="21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36" name="Freeform 148">
                <a:extLst>
                  <a:ext uri="{FF2B5EF4-FFF2-40B4-BE49-F238E27FC236}">
                    <a16:creationId xmlns:a16="http://schemas.microsoft.com/office/drawing/2014/main" id="{0DFB47D5-9876-455B-9735-89C0F5CFA5C7}"/>
                  </a:ext>
                </a:extLst>
              </p:cNvPr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gray">
              <a:xfrm>
                <a:off x="6789738" y="3622675"/>
                <a:ext cx="176213" cy="373063"/>
              </a:xfrm>
              <a:custGeom>
                <a:avLst/>
                <a:gdLst>
                  <a:gd name="T0" fmla="*/ 33 w 109"/>
                  <a:gd name="T1" fmla="*/ 202 h 235"/>
                  <a:gd name="T2" fmla="*/ 49 w 109"/>
                  <a:gd name="T3" fmla="*/ 187 h 235"/>
                  <a:gd name="T4" fmla="*/ 75 w 109"/>
                  <a:gd name="T5" fmla="*/ 176 h 235"/>
                  <a:gd name="T6" fmla="*/ 75 w 109"/>
                  <a:gd name="T7" fmla="*/ 148 h 235"/>
                  <a:gd name="T8" fmla="*/ 54 w 109"/>
                  <a:gd name="T9" fmla="*/ 143 h 235"/>
                  <a:gd name="T10" fmla="*/ 76 w 109"/>
                  <a:gd name="T11" fmla="*/ 139 h 235"/>
                  <a:gd name="T12" fmla="*/ 64 w 109"/>
                  <a:gd name="T13" fmla="*/ 110 h 235"/>
                  <a:gd name="T14" fmla="*/ 45 w 109"/>
                  <a:gd name="T15" fmla="*/ 86 h 235"/>
                  <a:gd name="T16" fmla="*/ 25 w 109"/>
                  <a:gd name="T17" fmla="*/ 70 h 235"/>
                  <a:gd name="T18" fmla="*/ 39 w 109"/>
                  <a:gd name="T19" fmla="*/ 53 h 235"/>
                  <a:gd name="T20" fmla="*/ 27 w 109"/>
                  <a:gd name="T21" fmla="*/ 45 h 235"/>
                  <a:gd name="T22" fmla="*/ 20 w 109"/>
                  <a:gd name="T23" fmla="*/ 38 h 235"/>
                  <a:gd name="T24" fmla="*/ 6 w 109"/>
                  <a:gd name="T25" fmla="*/ 28 h 235"/>
                  <a:gd name="T26" fmla="*/ 0 w 109"/>
                  <a:gd name="T27" fmla="*/ 16 h 235"/>
                  <a:gd name="T28" fmla="*/ 6 w 109"/>
                  <a:gd name="T29" fmla="*/ 7 h 235"/>
                  <a:gd name="T30" fmla="*/ 19 w 109"/>
                  <a:gd name="T31" fmla="*/ 16 h 235"/>
                  <a:gd name="T32" fmla="*/ 34 w 109"/>
                  <a:gd name="T33" fmla="*/ 10 h 235"/>
                  <a:gd name="T34" fmla="*/ 45 w 109"/>
                  <a:gd name="T35" fmla="*/ 4 h 235"/>
                  <a:gd name="T36" fmla="*/ 81 w 109"/>
                  <a:gd name="T37" fmla="*/ 32 h 235"/>
                  <a:gd name="T38" fmla="*/ 63 w 109"/>
                  <a:gd name="T39" fmla="*/ 49 h 235"/>
                  <a:gd name="T40" fmla="*/ 51 w 109"/>
                  <a:gd name="T41" fmla="*/ 65 h 235"/>
                  <a:gd name="T42" fmla="*/ 55 w 109"/>
                  <a:gd name="T43" fmla="*/ 82 h 235"/>
                  <a:gd name="T44" fmla="*/ 79 w 109"/>
                  <a:gd name="T45" fmla="*/ 110 h 235"/>
                  <a:gd name="T46" fmla="*/ 94 w 109"/>
                  <a:gd name="T47" fmla="*/ 130 h 235"/>
                  <a:gd name="T48" fmla="*/ 105 w 109"/>
                  <a:gd name="T49" fmla="*/ 154 h 235"/>
                  <a:gd name="T50" fmla="*/ 105 w 109"/>
                  <a:gd name="T51" fmla="*/ 193 h 235"/>
                  <a:gd name="T52" fmla="*/ 81 w 109"/>
                  <a:gd name="T53" fmla="*/ 197 h 235"/>
                  <a:gd name="T54" fmla="*/ 64 w 109"/>
                  <a:gd name="T55" fmla="*/ 209 h 235"/>
                  <a:gd name="T56" fmla="*/ 61 w 109"/>
                  <a:gd name="T57" fmla="*/ 221 h 235"/>
                  <a:gd name="T58" fmla="*/ 43 w 109"/>
                  <a:gd name="T59" fmla="*/ 235 h 235"/>
                  <a:gd name="T60" fmla="*/ 36 w 109"/>
                  <a:gd name="T61" fmla="*/ 220 h 235"/>
                  <a:gd name="T62" fmla="*/ 33 w 109"/>
                  <a:gd name="T63" fmla="*/ 20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9" h="235">
                    <a:moveTo>
                      <a:pt x="33" y="202"/>
                    </a:moveTo>
                    <a:cubicBezTo>
                      <a:pt x="35" y="197"/>
                      <a:pt x="42" y="191"/>
                      <a:pt x="49" y="187"/>
                    </a:cubicBezTo>
                    <a:cubicBezTo>
                      <a:pt x="56" y="183"/>
                      <a:pt x="71" y="182"/>
                      <a:pt x="75" y="176"/>
                    </a:cubicBezTo>
                    <a:cubicBezTo>
                      <a:pt x="79" y="170"/>
                      <a:pt x="78" y="153"/>
                      <a:pt x="75" y="148"/>
                    </a:cubicBezTo>
                    <a:cubicBezTo>
                      <a:pt x="72" y="143"/>
                      <a:pt x="54" y="144"/>
                      <a:pt x="54" y="143"/>
                    </a:cubicBezTo>
                    <a:cubicBezTo>
                      <a:pt x="54" y="142"/>
                      <a:pt x="74" y="144"/>
                      <a:pt x="76" y="139"/>
                    </a:cubicBezTo>
                    <a:cubicBezTo>
                      <a:pt x="78" y="134"/>
                      <a:pt x="69" y="119"/>
                      <a:pt x="64" y="110"/>
                    </a:cubicBezTo>
                    <a:cubicBezTo>
                      <a:pt x="59" y="101"/>
                      <a:pt x="51" y="93"/>
                      <a:pt x="45" y="86"/>
                    </a:cubicBezTo>
                    <a:cubicBezTo>
                      <a:pt x="39" y="79"/>
                      <a:pt x="26" y="75"/>
                      <a:pt x="25" y="70"/>
                    </a:cubicBezTo>
                    <a:cubicBezTo>
                      <a:pt x="24" y="65"/>
                      <a:pt x="39" y="57"/>
                      <a:pt x="39" y="53"/>
                    </a:cubicBezTo>
                    <a:cubicBezTo>
                      <a:pt x="39" y="49"/>
                      <a:pt x="30" y="47"/>
                      <a:pt x="27" y="45"/>
                    </a:cubicBezTo>
                    <a:cubicBezTo>
                      <a:pt x="24" y="43"/>
                      <a:pt x="23" y="41"/>
                      <a:pt x="20" y="38"/>
                    </a:cubicBezTo>
                    <a:cubicBezTo>
                      <a:pt x="17" y="35"/>
                      <a:pt x="9" y="32"/>
                      <a:pt x="6" y="28"/>
                    </a:cubicBezTo>
                    <a:cubicBezTo>
                      <a:pt x="3" y="24"/>
                      <a:pt x="0" y="19"/>
                      <a:pt x="0" y="16"/>
                    </a:cubicBezTo>
                    <a:cubicBezTo>
                      <a:pt x="0" y="13"/>
                      <a:pt x="3" y="7"/>
                      <a:pt x="6" y="7"/>
                    </a:cubicBezTo>
                    <a:cubicBezTo>
                      <a:pt x="9" y="7"/>
                      <a:pt x="14" y="15"/>
                      <a:pt x="19" y="16"/>
                    </a:cubicBezTo>
                    <a:cubicBezTo>
                      <a:pt x="24" y="17"/>
                      <a:pt x="30" y="12"/>
                      <a:pt x="34" y="10"/>
                    </a:cubicBezTo>
                    <a:cubicBezTo>
                      <a:pt x="38" y="8"/>
                      <a:pt x="37" y="0"/>
                      <a:pt x="45" y="4"/>
                    </a:cubicBezTo>
                    <a:cubicBezTo>
                      <a:pt x="53" y="8"/>
                      <a:pt x="78" y="25"/>
                      <a:pt x="81" y="32"/>
                    </a:cubicBezTo>
                    <a:cubicBezTo>
                      <a:pt x="84" y="39"/>
                      <a:pt x="68" y="43"/>
                      <a:pt x="63" y="49"/>
                    </a:cubicBezTo>
                    <a:cubicBezTo>
                      <a:pt x="58" y="55"/>
                      <a:pt x="52" y="60"/>
                      <a:pt x="51" y="65"/>
                    </a:cubicBezTo>
                    <a:cubicBezTo>
                      <a:pt x="50" y="70"/>
                      <a:pt x="50" y="75"/>
                      <a:pt x="55" y="82"/>
                    </a:cubicBezTo>
                    <a:cubicBezTo>
                      <a:pt x="60" y="89"/>
                      <a:pt x="72" y="102"/>
                      <a:pt x="79" y="110"/>
                    </a:cubicBezTo>
                    <a:cubicBezTo>
                      <a:pt x="86" y="118"/>
                      <a:pt x="90" y="123"/>
                      <a:pt x="94" y="130"/>
                    </a:cubicBezTo>
                    <a:cubicBezTo>
                      <a:pt x="98" y="137"/>
                      <a:pt x="103" y="144"/>
                      <a:pt x="105" y="154"/>
                    </a:cubicBezTo>
                    <a:cubicBezTo>
                      <a:pt x="107" y="164"/>
                      <a:pt x="109" y="186"/>
                      <a:pt x="105" y="193"/>
                    </a:cubicBezTo>
                    <a:cubicBezTo>
                      <a:pt x="101" y="200"/>
                      <a:pt x="88" y="194"/>
                      <a:pt x="81" y="197"/>
                    </a:cubicBezTo>
                    <a:cubicBezTo>
                      <a:pt x="74" y="200"/>
                      <a:pt x="67" y="205"/>
                      <a:pt x="64" y="209"/>
                    </a:cubicBezTo>
                    <a:cubicBezTo>
                      <a:pt x="61" y="213"/>
                      <a:pt x="65" y="217"/>
                      <a:pt x="61" y="221"/>
                    </a:cubicBezTo>
                    <a:cubicBezTo>
                      <a:pt x="57" y="225"/>
                      <a:pt x="47" y="235"/>
                      <a:pt x="43" y="235"/>
                    </a:cubicBezTo>
                    <a:cubicBezTo>
                      <a:pt x="39" y="235"/>
                      <a:pt x="37" y="225"/>
                      <a:pt x="36" y="220"/>
                    </a:cubicBezTo>
                    <a:cubicBezTo>
                      <a:pt x="35" y="215"/>
                      <a:pt x="31" y="207"/>
                      <a:pt x="33" y="20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37" name="Freeform 154">
                <a:extLst>
                  <a:ext uri="{FF2B5EF4-FFF2-40B4-BE49-F238E27FC236}">
                    <a16:creationId xmlns:a16="http://schemas.microsoft.com/office/drawing/2014/main" id="{72E90225-CCED-4B56-A225-FDB8ADE93739}"/>
                  </a:ext>
                </a:extLst>
              </p:cNvPr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gray">
              <a:xfrm>
                <a:off x="8318501" y="5086350"/>
                <a:ext cx="290513" cy="414338"/>
              </a:xfrm>
              <a:custGeom>
                <a:avLst/>
                <a:gdLst>
                  <a:gd name="T0" fmla="*/ 36 w 180"/>
                  <a:gd name="T1" fmla="*/ 244 h 261"/>
                  <a:gd name="T2" fmla="*/ 55 w 180"/>
                  <a:gd name="T3" fmla="*/ 237 h 261"/>
                  <a:gd name="T4" fmla="*/ 66 w 180"/>
                  <a:gd name="T5" fmla="*/ 214 h 261"/>
                  <a:gd name="T6" fmla="*/ 81 w 180"/>
                  <a:gd name="T7" fmla="*/ 198 h 261"/>
                  <a:gd name="T8" fmla="*/ 85 w 180"/>
                  <a:gd name="T9" fmla="*/ 186 h 261"/>
                  <a:gd name="T10" fmla="*/ 108 w 180"/>
                  <a:gd name="T11" fmla="*/ 186 h 261"/>
                  <a:gd name="T12" fmla="*/ 96 w 180"/>
                  <a:gd name="T13" fmla="*/ 172 h 261"/>
                  <a:gd name="T14" fmla="*/ 105 w 180"/>
                  <a:gd name="T15" fmla="*/ 156 h 261"/>
                  <a:gd name="T16" fmla="*/ 121 w 180"/>
                  <a:gd name="T17" fmla="*/ 136 h 261"/>
                  <a:gd name="T18" fmla="*/ 129 w 180"/>
                  <a:gd name="T19" fmla="*/ 129 h 261"/>
                  <a:gd name="T20" fmla="*/ 142 w 180"/>
                  <a:gd name="T21" fmla="*/ 135 h 261"/>
                  <a:gd name="T22" fmla="*/ 156 w 180"/>
                  <a:gd name="T23" fmla="*/ 108 h 261"/>
                  <a:gd name="T24" fmla="*/ 162 w 180"/>
                  <a:gd name="T25" fmla="*/ 97 h 261"/>
                  <a:gd name="T26" fmla="*/ 175 w 180"/>
                  <a:gd name="T27" fmla="*/ 82 h 261"/>
                  <a:gd name="T28" fmla="*/ 178 w 180"/>
                  <a:gd name="T29" fmla="*/ 64 h 261"/>
                  <a:gd name="T30" fmla="*/ 162 w 180"/>
                  <a:gd name="T31" fmla="*/ 69 h 261"/>
                  <a:gd name="T32" fmla="*/ 147 w 180"/>
                  <a:gd name="T33" fmla="*/ 60 h 261"/>
                  <a:gd name="T34" fmla="*/ 144 w 180"/>
                  <a:gd name="T35" fmla="*/ 34 h 261"/>
                  <a:gd name="T36" fmla="*/ 135 w 180"/>
                  <a:gd name="T37" fmla="*/ 27 h 261"/>
                  <a:gd name="T38" fmla="*/ 124 w 180"/>
                  <a:gd name="T39" fmla="*/ 19 h 261"/>
                  <a:gd name="T40" fmla="*/ 112 w 180"/>
                  <a:gd name="T41" fmla="*/ 9 h 261"/>
                  <a:gd name="T42" fmla="*/ 100 w 180"/>
                  <a:gd name="T43" fmla="*/ 3 h 261"/>
                  <a:gd name="T44" fmla="*/ 103 w 180"/>
                  <a:gd name="T45" fmla="*/ 27 h 261"/>
                  <a:gd name="T46" fmla="*/ 121 w 180"/>
                  <a:gd name="T47" fmla="*/ 52 h 261"/>
                  <a:gd name="T48" fmla="*/ 130 w 180"/>
                  <a:gd name="T49" fmla="*/ 72 h 261"/>
                  <a:gd name="T50" fmla="*/ 123 w 180"/>
                  <a:gd name="T51" fmla="*/ 84 h 261"/>
                  <a:gd name="T52" fmla="*/ 114 w 180"/>
                  <a:gd name="T53" fmla="*/ 91 h 261"/>
                  <a:gd name="T54" fmla="*/ 136 w 180"/>
                  <a:gd name="T55" fmla="*/ 115 h 261"/>
                  <a:gd name="T56" fmla="*/ 121 w 180"/>
                  <a:gd name="T57" fmla="*/ 132 h 261"/>
                  <a:gd name="T58" fmla="*/ 103 w 180"/>
                  <a:gd name="T59" fmla="*/ 129 h 261"/>
                  <a:gd name="T60" fmla="*/ 99 w 180"/>
                  <a:gd name="T61" fmla="*/ 117 h 261"/>
                  <a:gd name="T62" fmla="*/ 79 w 180"/>
                  <a:gd name="T63" fmla="*/ 129 h 261"/>
                  <a:gd name="T64" fmla="*/ 79 w 180"/>
                  <a:gd name="T65" fmla="*/ 142 h 261"/>
                  <a:gd name="T66" fmla="*/ 75 w 180"/>
                  <a:gd name="T67" fmla="*/ 157 h 261"/>
                  <a:gd name="T68" fmla="*/ 45 w 180"/>
                  <a:gd name="T69" fmla="*/ 186 h 261"/>
                  <a:gd name="T70" fmla="*/ 28 w 180"/>
                  <a:gd name="T71" fmla="*/ 189 h 261"/>
                  <a:gd name="T72" fmla="*/ 4 w 180"/>
                  <a:gd name="T73" fmla="*/ 210 h 261"/>
                  <a:gd name="T74" fmla="*/ 3 w 180"/>
                  <a:gd name="T75" fmla="*/ 229 h 261"/>
                  <a:gd name="T76" fmla="*/ 15 w 180"/>
                  <a:gd name="T77" fmla="*/ 237 h 261"/>
                  <a:gd name="T78" fmla="*/ 19 w 180"/>
                  <a:gd name="T79" fmla="*/ 258 h 261"/>
                  <a:gd name="T80" fmla="*/ 33 w 180"/>
                  <a:gd name="T81" fmla="*/ 256 h 261"/>
                  <a:gd name="T82" fmla="*/ 36 w 180"/>
                  <a:gd name="T83" fmla="*/ 244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0" h="261">
                    <a:moveTo>
                      <a:pt x="36" y="244"/>
                    </a:moveTo>
                    <a:cubicBezTo>
                      <a:pt x="40" y="241"/>
                      <a:pt x="50" y="242"/>
                      <a:pt x="55" y="237"/>
                    </a:cubicBezTo>
                    <a:cubicBezTo>
                      <a:pt x="60" y="232"/>
                      <a:pt x="62" y="220"/>
                      <a:pt x="66" y="214"/>
                    </a:cubicBezTo>
                    <a:cubicBezTo>
                      <a:pt x="70" y="208"/>
                      <a:pt x="78" y="203"/>
                      <a:pt x="81" y="198"/>
                    </a:cubicBezTo>
                    <a:cubicBezTo>
                      <a:pt x="84" y="193"/>
                      <a:pt x="81" y="188"/>
                      <a:pt x="85" y="186"/>
                    </a:cubicBezTo>
                    <a:cubicBezTo>
                      <a:pt x="89" y="184"/>
                      <a:pt x="106" y="188"/>
                      <a:pt x="108" y="186"/>
                    </a:cubicBezTo>
                    <a:cubicBezTo>
                      <a:pt x="110" y="184"/>
                      <a:pt x="97" y="177"/>
                      <a:pt x="96" y="172"/>
                    </a:cubicBezTo>
                    <a:cubicBezTo>
                      <a:pt x="95" y="167"/>
                      <a:pt x="101" y="162"/>
                      <a:pt x="105" y="156"/>
                    </a:cubicBezTo>
                    <a:cubicBezTo>
                      <a:pt x="109" y="150"/>
                      <a:pt x="117" y="141"/>
                      <a:pt x="121" y="136"/>
                    </a:cubicBezTo>
                    <a:cubicBezTo>
                      <a:pt x="125" y="131"/>
                      <a:pt x="126" y="129"/>
                      <a:pt x="129" y="129"/>
                    </a:cubicBezTo>
                    <a:cubicBezTo>
                      <a:pt x="132" y="129"/>
                      <a:pt x="138" y="138"/>
                      <a:pt x="142" y="135"/>
                    </a:cubicBezTo>
                    <a:cubicBezTo>
                      <a:pt x="146" y="132"/>
                      <a:pt x="153" y="114"/>
                      <a:pt x="156" y="108"/>
                    </a:cubicBezTo>
                    <a:cubicBezTo>
                      <a:pt x="159" y="102"/>
                      <a:pt x="159" y="101"/>
                      <a:pt x="162" y="97"/>
                    </a:cubicBezTo>
                    <a:cubicBezTo>
                      <a:pt x="165" y="93"/>
                      <a:pt x="172" y="87"/>
                      <a:pt x="175" y="82"/>
                    </a:cubicBezTo>
                    <a:cubicBezTo>
                      <a:pt x="178" y="77"/>
                      <a:pt x="180" y="66"/>
                      <a:pt x="178" y="64"/>
                    </a:cubicBezTo>
                    <a:cubicBezTo>
                      <a:pt x="176" y="62"/>
                      <a:pt x="167" y="70"/>
                      <a:pt x="162" y="69"/>
                    </a:cubicBezTo>
                    <a:cubicBezTo>
                      <a:pt x="157" y="68"/>
                      <a:pt x="150" y="66"/>
                      <a:pt x="147" y="60"/>
                    </a:cubicBezTo>
                    <a:cubicBezTo>
                      <a:pt x="144" y="54"/>
                      <a:pt x="146" y="39"/>
                      <a:pt x="144" y="34"/>
                    </a:cubicBezTo>
                    <a:cubicBezTo>
                      <a:pt x="142" y="29"/>
                      <a:pt x="138" y="29"/>
                      <a:pt x="135" y="27"/>
                    </a:cubicBezTo>
                    <a:cubicBezTo>
                      <a:pt x="132" y="25"/>
                      <a:pt x="128" y="22"/>
                      <a:pt x="124" y="19"/>
                    </a:cubicBezTo>
                    <a:cubicBezTo>
                      <a:pt x="120" y="16"/>
                      <a:pt x="116" y="12"/>
                      <a:pt x="112" y="9"/>
                    </a:cubicBezTo>
                    <a:cubicBezTo>
                      <a:pt x="108" y="6"/>
                      <a:pt x="101" y="0"/>
                      <a:pt x="100" y="3"/>
                    </a:cubicBezTo>
                    <a:cubicBezTo>
                      <a:pt x="99" y="6"/>
                      <a:pt x="100" y="19"/>
                      <a:pt x="103" y="27"/>
                    </a:cubicBezTo>
                    <a:cubicBezTo>
                      <a:pt x="106" y="35"/>
                      <a:pt x="117" y="45"/>
                      <a:pt x="121" y="52"/>
                    </a:cubicBezTo>
                    <a:cubicBezTo>
                      <a:pt x="125" y="59"/>
                      <a:pt x="130" y="67"/>
                      <a:pt x="130" y="72"/>
                    </a:cubicBezTo>
                    <a:cubicBezTo>
                      <a:pt x="130" y="77"/>
                      <a:pt x="126" y="81"/>
                      <a:pt x="123" y="84"/>
                    </a:cubicBezTo>
                    <a:cubicBezTo>
                      <a:pt x="120" y="87"/>
                      <a:pt x="112" y="86"/>
                      <a:pt x="114" y="91"/>
                    </a:cubicBezTo>
                    <a:cubicBezTo>
                      <a:pt x="116" y="96"/>
                      <a:pt x="135" y="108"/>
                      <a:pt x="136" y="115"/>
                    </a:cubicBezTo>
                    <a:cubicBezTo>
                      <a:pt x="137" y="122"/>
                      <a:pt x="126" y="130"/>
                      <a:pt x="121" y="132"/>
                    </a:cubicBezTo>
                    <a:cubicBezTo>
                      <a:pt x="116" y="134"/>
                      <a:pt x="107" y="131"/>
                      <a:pt x="103" y="129"/>
                    </a:cubicBezTo>
                    <a:cubicBezTo>
                      <a:pt x="99" y="127"/>
                      <a:pt x="103" y="117"/>
                      <a:pt x="99" y="117"/>
                    </a:cubicBezTo>
                    <a:cubicBezTo>
                      <a:pt x="95" y="117"/>
                      <a:pt x="82" y="125"/>
                      <a:pt x="79" y="129"/>
                    </a:cubicBezTo>
                    <a:cubicBezTo>
                      <a:pt x="76" y="133"/>
                      <a:pt x="80" y="137"/>
                      <a:pt x="79" y="142"/>
                    </a:cubicBezTo>
                    <a:cubicBezTo>
                      <a:pt x="78" y="147"/>
                      <a:pt x="81" y="150"/>
                      <a:pt x="75" y="157"/>
                    </a:cubicBezTo>
                    <a:cubicBezTo>
                      <a:pt x="69" y="164"/>
                      <a:pt x="53" y="181"/>
                      <a:pt x="45" y="186"/>
                    </a:cubicBezTo>
                    <a:cubicBezTo>
                      <a:pt x="37" y="191"/>
                      <a:pt x="35" y="185"/>
                      <a:pt x="28" y="189"/>
                    </a:cubicBezTo>
                    <a:cubicBezTo>
                      <a:pt x="21" y="193"/>
                      <a:pt x="8" y="203"/>
                      <a:pt x="4" y="210"/>
                    </a:cubicBezTo>
                    <a:cubicBezTo>
                      <a:pt x="0" y="217"/>
                      <a:pt x="1" y="225"/>
                      <a:pt x="3" y="229"/>
                    </a:cubicBezTo>
                    <a:cubicBezTo>
                      <a:pt x="5" y="233"/>
                      <a:pt x="12" y="232"/>
                      <a:pt x="15" y="237"/>
                    </a:cubicBezTo>
                    <a:cubicBezTo>
                      <a:pt x="18" y="242"/>
                      <a:pt x="16" y="255"/>
                      <a:pt x="19" y="258"/>
                    </a:cubicBezTo>
                    <a:cubicBezTo>
                      <a:pt x="22" y="261"/>
                      <a:pt x="30" y="258"/>
                      <a:pt x="33" y="256"/>
                    </a:cubicBezTo>
                    <a:cubicBezTo>
                      <a:pt x="36" y="254"/>
                      <a:pt x="32" y="247"/>
                      <a:pt x="36" y="24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38" name="Freeform 164">
                <a:extLst>
                  <a:ext uri="{FF2B5EF4-FFF2-40B4-BE49-F238E27FC236}">
                    <a16:creationId xmlns:a16="http://schemas.microsoft.com/office/drawing/2014/main" id="{F751E220-70FD-40CD-B515-EEAC7AE40D0C}"/>
                  </a:ext>
                </a:extLst>
              </p:cNvPr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gray">
              <a:xfrm>
                <a:off x="7200900" y="3687763"/>
                <a:ext cx="179388" cy="371381"/>
              </a:xfrm>
              <a:custGeom>
                <a:avLst/>
                <a:gdLst/>
                <a:ahLst/>
                <a:cxnLst/>
                <a:rect l="l" t="t" r="r" b="b"/>
                <a:pathLst>
                  <a:path w="179388" h="371381">
                    <a:moveTo>
                      <a:pt x="84324" y="270723"/>
                    </a:moveTo>
                    <a:lnTo>
                      <a:pt x="84038" y="271462"/>
                    </a:lnTo>
                    <a:cubicBezTo>
                      <a:pt x="78442" y="272731"/>
                      <a:pt x="79725" y="272085"/>
                      <a:pt x="84324" y="270723"/>
                    </a:cubicBezTo>
                    <a:close/>
                    <a:moveTo>
                      <a:pt x="54140" y="47625"/>
                    </a:moveTo>
                    <a:cubicBezTo>
                      <a:pt x="58584" y="47228"/>
                      <a:pt x="62220" y="48418"/>
                      <a:pt x="67877" y="53975"/>
                    </a:cubicBezTo>
                    <a:cubicBezTo>
                      <a:pt x="69493" y="65087"/>
                      <a:pt x="69493" y="74612"/>
                      <a:pt x="64645" y="84137"/>
                    </a:cubicBezTo>
                    <a:cubicBezTo>
                      <a:pt x="72725" y="103187"/>
                      <a:pt x="71109" y="115887"/>
                      <a:pt x="50099" y="120650"/>
                    </a:cubicBezTo>
                    <a:cubicBezTo>
                      <a:pt x="32322" y="142875"/>
                      <a:pt x="48483" y="144462"/>
                      <a:pt x="72725" y="146050"/>
                    </a:cubicBezTo>
                    <a:cubicBezTo>
                      <a:pt x="79190" y="174625"/>
                      <a:pt x="79190" y="168275"/>
                      <a:pt x="117976" y="169862"/>
                    </a:cubicBezTo>
                    <a:cubicBezTo>
                      <a:pt x="113128" y="193675"/>
                      <a:pt x="121208" y="201612"/>
                      <a:pt x="142218" y="211137"/>
                    </a:cubicBezTo>
                    <a:cubicBezTo>
                      <a:pt x="145450" y="236537"/>
                      <a:pt x="148682" y="239712"/>
                      <a:pt x="159995" y="258762"/>
                    </a:cubicBezTo>
                    <a:cubicBezTo>
                      <a:pt x="161611" y="290513"/>
                      <a:pt x="161611" y="303213"/>
                      <a:pt x="179388" y="327025"/>
                    </a:cubicBezTo>
                    <a:cubicBezTo>
                      <a:pt x="156763" y="341313"/>
                      <a:pt x="176156" y="352425"/>
                      <a:pt x="142218" y="355600"/>
                    </a:cubicBezTo>
                    <a:lnTo>
                      <a:pt x="137370" y="371078"/>
                    </a:lnTo>
                    <a:cubicBezTo>
                      <a:pt x="134945" y="372269"/>
                      <a:pt x="130905" y="369888"/>
                      <a:pt x="122824" y="365125"/>
                    </a:cubicBezTo>
                    <a:cubicBezTo>
                      <a:pt x="114744" y="354013"/>
                      <a:pt x="105047" y="346075"/>
                      <a:pt x="98583" y="331788"/>
                    </a:cubicBezTo>
                    <a:cubicBezTo>
                      <a:pt x="98583" y="315913"/>
                      <a:pt x="124441" y="276225"/>
                      <a:pt x="122824" y="266700"/>
                    </a:cubicBezTo>
                    <a:cubicBezTo>
                      <a:pt x="122554" y="260449"/>
                      <a:pt x="94803" y="267516"/>
                      <a:pt x="84324" y="270723"/>
                    </a:cubicBezTo>
                    <a:cubicBezTo>
                      <a:pt x="100983" y="262770"/>
                      <a:pt x="61496" y="226831"/>
                      <a:pt x="69493" y="209550"/>
                    </a:cubicBezTo>
                    <a:cubicBezTo>
                      <a:pt x="59796" y="200025"/>
                      <a:pt x="32322" y="215900"/>
                      <a:pt x="25857" y="212725"/>
                    </a:cubicBezTo>
                    <a:cubicBezTo>
                      <a:pt x="33938" y="207962"/>
                      <a:pt x="40402" y="207962"/>
                      <a:pt x="30706" y="193675"/>
                    </a:cubicBezTo>
                    <a:cubicBezTo>
                      <a:pt x="27474" y="188912"/>
                      <a:pt x="16161" y="182562"/>
                      <a:pt x="16161" y="182562"/>
                    </a:cubicBezTo>
                    <a:cubicBezTo>
                      <a:pt x="21009" y="155575"/>
                      <a:pt x="12929" y="147637"/>
                      <a:pt x="0" y="127000"/>
                    </a:cubicBezTo>
                    <a:cubicBezTo>
                      <a:pt x="4848" y="117475"/>
                      <a:pt x="9696" y="114300"/>
                      <a:pt x="14545" y="106362"/>
                    </a:cubicBezTo>
                    <a:cubicBezTo>
                      <a:pt x="14545" y="93662"/>
                      <a:pt x="12929" y="80962"/>
                      <a:pt x="16161" y="69850"/>
                    </a:cubicBezTo>
                    <a:cubicBezTo>
                      <a:pt x="17777" y="61912"/>
                      <a:pt x="35554" y="60325"/>
                      <a:pt x="35554" y="50800"/>
                    </a:cubicBezTo>
                    <a:cubicBezTo>
                      <a:pt x="44443" y="50006"/>
                      <a:pt x="49695" y="48022"/>
                      <a:pt x="54140" y="47625"/>
                    </a:cubicBezTo>
                    <a:close/>
                    <a:moveTo>
                      <a:pt x="55562" y="0"/>
                    </a:moveTo>
                    <a:cubicBezTo>
                      <a:pt x="60325" y="12700"/>
                      <a:pt x="53975" y="22225"/>
                      <a:pt x="69850" y="26988"/>
                    </a:cubicBezTo>
                    <a:cubicBezTo>
                      <a:pt x="58738" y="41275"/>
                      <a:pt x="53975" y="26988"/>
                      <a:pt x="46037" y="17463"/>
                    </a:cubicBezTo>
                    <a:cubicBezTo>
                      <a:pt x="49212" y="1588"/>
                      <a:pt x="46037" y="7938"/>
                      <a:pt x="55562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39" name="Freeform 166">
                <a:extLst>
                  <a:ext uri="{FF2B5EF4-FFF2-40B4-BE49-F238E27FC236}">
                    <a16:creationId xmlns:a16="http://schemas.microsoft.com/office/drawing/2014/main" id="{18301052-15E5-4374-A942-E8A4E6A4A0BF}"/>
                  </a:ext>
                </a:extLst>
              </p:cNvPr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gray">
              <a:xfrm>
                <a:off x="7316788" y="3076575"/>
                <a:ext cx="147638" cy="150813"/>
              </a:xfrm>
              <a:custGeom>
                <a:avLst/>
                <a:gdLst>
                  <a:gd name="T0" fmla="*/ 1 w 91"/>
                  <a:gd name="T1" fmla="*/ 61 h 95"/>
                  <a:gd name="T2" fmla="*/ 12 w 91"/>
                  <a:gd name="T3" fmla="*/ 63 h 95"/>
                  <a:gd name="T4" fmla="*/ 9 w 91"/>
                  <a:gd name="T5" fmla="*/ 84 h 95"/>
                  <a:gd name="T6" fmla="*/ 4 w 91"/>
                  <a:gd name="T7" fmla="*/ 94 h 95"/>
                  <a:gd name="T8" fmla="*/ 24 w 91"/>
                  <a:gd name="T9" fmla="*/ 90 h 95"/>
                  <a:gd name="T10" fmla="*/ 51 w 91"/>
                  <a:gd name="T11" fmla="*/ 69 h 95"/>
                  <a:gd name="T12" fmla="*/ 58 w 91"/>
                  <a:gd name="T13" fmla="*/ 52 h 95"/>
                  <a:gd name="T14" fmla="*/ 79 w 91"/>
                  <a:gd name="T15" fmla="*/ 37 h 95"/>
                  <a:gd name="T16" fmla="*/ 91 w 91"/>
                  <a:gd name="T17" fmla="*/ 13 h 95"/>
                  <a:gd name="T18" fmla="*/ 78 w 91"/>
                  <a:gd name="T19" fmla="*/ 1 h 95"/>
                  <a:gd name="T20" fmla="*/ 72 w 91"/>
                  <a:gd name="T21" fmla="*/ 9 h 95"/>
                  <a:gd name="T22" fmla="*/ 55 w 91"/>
                  <a:gd name="T23" fmla="*/ 13 h 95"/>
                  <a:gd name="T24" fmla="*/ 46 w 91"/>
                  <a:gd name="T25" fmla="*/ 24 h 95"/>
                  <a:gd name="T26" fmla="*/ 31 w 91"/>
                  <a:gd name="T27" fmla="*/ 28 h 95"/>
                  <a:gd name="T28" fmla="*/ 6 w 91"/>
                  <a:gd name="T29" fmla="*/ 46 h 95"/>
                  <a:gd name="T30" fmla="*/ 1 w 91"/>
                  <a:gd name="T31" fmla="*/ 6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1" h="95">
                    <a:moveTo>
                      <a:pt x="1" y="61"/>
                    </a:moveTo>
                    <a:cubicBezTo>
                      <a:pt x="2" y="64"/>
                      <a:pt x="11" y="59"/>
                      <a:pt x="12" y="63"/>
                    </a:cubicBezTo>
                    <a:cubicBezTo>
                      <a:pt x="13" y="67"/>
                      <a:pt x="10" y="79"/>
                      <a:pt x="9" y="84"/>
                    </a:cubicBezTo>
                    <a:cubicBezTo>
                      <a:pt x="8" y="89"/>
                      <a:pt x="2" y="93"/>
                      <a:pt x="4" y="94"/>
                    </a:cubicBezTo>
                    <a:cubicBezTo>
                      <a:pt x="6" y="95"/>
                      <a:pt x="16" y="94"/>
                      <a:pt x="24" y="90"/>
                    </a:cubicBezTo>
                    <a:cubicBezTo>
                      <a:pt x="32" y="86"/>
                      <a:pt x="45" y="75"/>
                      <a:pt x="51" y="69"/>
                    </a:cubicBezTo>
                    <a:cubicBezTo>
                      <a:pt x="57" y="63"/>
                      <a:pt x="53" y="57"/>
                      <a:pt x="58" y="52"/>
                    </a:cubicBezTo>
                    <a:cubicBezTo>
                      <a:pt x="63" y="47"/>
                      <a:pt x="74" y="43"/>
                      <a:pt x="79" y="37"/>
                    </a:cubicBezTo>
                    <a:cubicBezTo>
                      <a:pt x="84" y="31"/>
                      <a:pt x="91" y="19"/>
                      <a:pt x="91" y="13"/>
                    </a:cubicBezTo>
                    <a:cubicBezTo>
                      <a:pt x="91" y="7"/>
                      <a:pt x="81" y="2"/>
                      <a:pt x="78" y="1"/>
                    </a:cubicBezTo>
                    <a:cubicBezTo>
                      <a:pt x="75" y="0"/>
                      <a:pt x="76" y="7"/>
                      <a:pt x="72" y="9"/>
                    </a:cubicBezTo>
                    <a:cubicBezTo>
                      <a:pt x="68" y="11"/>
                      <a:pt x="59" y="10"/>
                      <a:pt x="55" y="13"/>
                    </a:cubicBezTo>
                    <a:cubicBezTo>
                      <a:pt x="51" y="16"/>
                      <a:pt x="50" y="21"/>
                      <a:pt x="46" y="24"/>
                    </a:cubicBezTo>
                    <a:cubicBezTo>
                      <a:pt x="42" y="27"/>
                      <a:pt x="38" y="24"/>
                      <a:pt x="31" y="28"/>
                    </a:cubicBezTo>
                    <a:cubicBezTo>
                      <a:pt x="24" y="32"/>
                      <a:pt x="11" y="42"/>
                      <a:pt x="6" y="46"/>
                    </a:cubicBezTo>
                    <a:cubicBezTo>
                      <a:pt x="1" y="50"/>
                      <a:pt x="0" y="58"/>
                      <a:pt x="1" y="6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40" name="Freeform 168">
                <a:extLst>
                  <a:ext uri="{FF2B5EF4-FFF2-40B4-BE49-F238E27FC236}">
                    <a16:creationId xmlns:a16="http://schemas.microsoft.com/office/drawing/2014/main" id="{4D37473F-506D-4DC3-8540-783DFED5AE52}"/>
                  </a:ext>
                </a:extLst>
              </p:cNvPr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gray">
              <a:xfrm>
                <a:off x="7331076" y="3186113"/>
                <a:ext cx="112713" cy="153988"/>
              </a:xfrm>
              <a:custGeom>
                <a:avLst/>
                <a:gdLst>
                  <a:gd name="T0" fmla="*/ 0 w 69"/>
                  <a:gd name="T1" fmla="*/ 24 h 97"/>
                  <a:gd name="T2" fmla="*/ 24 w 69"/>
                  <a:gd name="T3" fmla="*/ 15 h 97"/>
                  <a:gd name="T4" fmla="*/ 39 w 69"/>
                  <a:gd name="T5" fmla="*/ 0 h 97"/>
                  <a:gd name="T6" fmla="*/ 58 w 69"/>
                  <a:gd name="T7" fmla="*/ 21 h 97"/>
                  <a:gd name="T8" fmla="*/ 69 w 69"/>
                  <a:gd name="T9" fmla="*/ 45 h 97"/>
                  <a:gd name="T10" fmla="*/ 34 w 69"/>
                  <a:gd name="T11" fmla="*/ 87 h 97"/>
                  <a:gd name="T12" fmla="*/ 22 w 69"/>
                  <a:gd name="T13" fmla="*/ 94 h 97"/>
                  <a:gd name="T14" fmla="*/ 21 w 69"/>
                  <a:gd name="T15" fmla="*/ 54 h 97"/>
                  <a:gd name="T16" fmla="*/ 7 w 69"/>
                  <a:gd name="T17" fmla="*/ 30 h 97"/>
                  <a:gd name="T18" fmla="*/ 0 w 69"/>
                  <a:gd name="T19" fmla="*/ 2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97">
                    <a:moveTo>
                      <a:pt x="0" y="24"/>
                    </a:moveTo>
                    <a:cubicBezTo>
                      <a:pt x="19" y="21"/>
                      <a:pt x="11" y="25"/>
                      <a:pt x="24" y="15"/>
                    </a:cubicBezTo>
                    <a:cubicBezTo>
                      <a:pt x="32" y="9"/>
                      <a:pt x="28" y="2"/>
                      <a:pt x="39" y="0"/>
                    </a:cubicBezTo>
                    <a:cubicBezTo>
                      <a:pt x="49" y="2"/>
                      <a:pt x="48" y="16"/>
                      <a:pt x="58" y="21"/>
                    </a:cubicBezTo>
                    <a:cubicBezTo>
                      <a:pt x="64" y="28"/>
                      <a:pt x="64" y="37"/>
                      <a:pt x="69" y="45"/>
                    </a:cubicBezTo>
                    <a:cubicBezTo>
                      <a:pt x="66" y="74"/>
                      <a:pt x="65" y="83"/>
                      <a:pt x="34" y="87"/>
                    </a:cubicBezTo>
                    <a:cubicBezTo>
                      <a:pt x="26" y="91"/>
                      <a:pt x="30" y="97"/>
                      <a:pt x="22" y="94"/>
                    </a:cubicBezTo>
                    <a:cubicBezTo>
                      <a:pt x="20" y="81"/>
                      <a:pt x="13" y="69"/>
                      <a:pt x="21" y="54"/>
                    </a:cubicBezTo>
                    <a:cubicBezTo>
                      <a:pt x="19" y="42"/>
                      <a:pt x="20" y="33"/>
                      <a:pt x="7" y="30"/>
                    </a:cubicBezTo>
                    <a:cubicBezTo>
                      <a:pt x="2" y="26"/>
                      <a:pt x="4" y="28"/>
                      <a:pt x="0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41" name="Freeform 169">
                <a:extLst>
                  <a:ext uri="{FF2B5EF4-FFF2-40B4-BE49-F238E27FC236}">
                    <a16:creationId xmlns:a16="http://schemas.microsoft.com/office/drawing/2014/main" id="{9A9ADE08-562C-451C-852C-84B01661C2AF}"/>
                  </a:ext>
                </a:extLst>
              </p:cNvPr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gray">
              <a:xfrm>
                <a:off x="6792913" y="3843338"/>
                <a:ext cx="123825" cy="107950"/>
              </a:xfrm>
              <a:custGeom>
                <a:avLst/>
                <a:gdLst>
                  <a:gd name="T0" fmla="*/ 47 w 77"/>
                  <a:gd name="T1" fmla="*/ 3 h 68"/>
                  <a:gd name="T2" fmla="*/ 76 w 77"/>
                  <a:gd name="T3" fmla="*/ 10 h 68"/>
                  <a:gd name="T4" fmla="*/ 68 w 77"/>
                  <a:gd name="T5" fmla="*/ 37 h 68"/>
                  <a:gd name="T6" fmla="*/ 56 w 77"/>
                  <a:gd name="T7" fmla="*/ 46 h 68"/>
                  <a:gd name="T8" fmla="*/ 44 w 77"/>
                  <a:gd name="T9" fmla="*/ 48 h 68"/>
                  <a:gd name="T10" fmla="*/ 35 w 77"/>
                  <a:gd name="T11" fmla="*/ 61 h 68"/>
                  <a:gd name="T12" fmla="*/ 23 w 77"/>
                  <a:gd name="T13" fmla="*/ 61 h 68"/>
                  <a:gd name="T14" fmla="*/ 8 w 77"/>
                  <a:gd name="T15" fmla="*/ 39 h 68"/>
                  <a:gd name="T16" fmla="*/ 44 w 77"/>
                  <a:gd name="T17" fmla="*/ 7 h 68"/>
                  <a:gd name="T18" fmla="*/ 47 w 77"/>
                  <a:gd name="T19" fmla="*/ 3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68">
                    <a:moveTo>
                      <a:pt x="47" y="3"/>
                    </a:moveTo>
                    <a:cubicBezTo>
                      <a:pt x="57" y="5"/>
                      <a:pt x="67" y="3"/>
                      <a:pt x="76" y="10"/>
                    </a:cubicBezTo>
                    <a:cubicBezTo>
                      <a:pt x="75" y="20"/>
                      <a:pt x="77" y="32"/>
                      <a:pt x="68" y="37"/>
                    </a:cubicBezTo>
                    <a:cubicBezTo>
                      <a:pt x="64" y="43"/>
                      <a:pt x="63" y="45"/>
                      <a:pt x="56" y="46"/>
                    </a:cubicBezTo>
                    <a:cubicBezTo>
                      <a:pt x="52" y="49"/>
                      <a:pt x="47" y="46"/>
                      <a:pt x="44" y="48"/>
                    </a:cubicBezTo>
                    <a:cubicBezTo>
                      <a:pt x="41" y="50"/>
                      <a:pt x="38" y="59"/>
                      <a:pt x="35" y="61"/>
                    </a:cubicBezTo>
                    <a:cubicBezTo>
                      <a:pt x="31" y="68"/>
                      <a:pt x="30" y="65"/>
                      <a:pt x="23" y="61"/>
                    </a:cubicBezTo>
                    <a:cubicBezTo>
                      <a:pt x="18" y="54"/>
                      <a:pt x="13" y="46"/>
                      <a:pt x="8" y="39"/>
                    </a:cubicBezTo>
                    <a:cubicBezTo>
                      <a:pt x="0" y="0"/>
                      <a:pt x="1" y="10"/>
                      <a:pt x="44" y="7"/>
                    </a:cubicBezTo>
                    <a:cubicBezTo>
                      <a:pt x="50" y="4"/>
                      <a:pt x="51" y="5"/>
                      <a:pt x="47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42" name="Freeform 170">
                <a:extLst>
                  <a:ext uri="{FF2B5EF4-FFF2-40B4-BE49-F238E27FC236}">
                    <a16:creationId xmlns:a16="http://schemas.microsoft.com/office/drawing/2014/main" id="{BE4E2C5C-3797-4E11-A315-5822AF74E59A}"/>
                  </a:ext>
                </a:extLst>
              </p:cNvPr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gray">
              <a:xfrm>
                <a:off x="6727826" y="3652838"/>
                <a:ext cx="185738" cy="201613"/>
              </a:xfrm>
              <a:custGeom>
                <a:avLst/>
                <a:gdLst>
                  <a:gd name="T0" fmla="*/ 11 w 115"/>
                  <a:gd name="T1" fmla="*/ 15 h 127"/>
                  <a:gd name="T2" fmla="*/ 35 w 115"/>
                  <a:gd name="T3" fmla="*/ 6 h 127"/>
                  <a:gd name="T4" fmla="*/ 38 w 115"/>
                  <a:gd name="T5" fmla="*/ 1 h 127"/>
                  <a:gd name="T6" fmla="*/ 44 w 115"/>
                  <a:gd name="T7" fmla="*/ 9 h 127"/>
                  <a:gd name="T8" fmla="*/ 65 w 115"/>
                  <a:gd name="T9" fmla="*/ 22 h 127"/>
                  <a:gd name="T10" fmla="*/ 75 w 115"/>
                  <a:gd name="T11" fmla="*/ 33 h 127"/>
                  <a:gd name="T12" fmla="*/ 63 w 115"/>
                  <a:gd name="T13" fmla="*/ 48 h 127"/>
                  <a:gd name="T14" fmla="*/ 89 w 115"/>
                  <a:gd name="T15" fmla="*/ 70 h 127"/>
                  <a:gd name="T16" fmla="*/ 96 w 115"/>
                  <a:gd name="T17" fmla="*/ 85 h 127"/>
                  <a:gd name="T18" fmla="*/ 108 w 115"/>
                  <a:gd name="T19" fmla="*/ 99 h 127"/>
                  <a:gd name="T20" fmla="*/ 115 w 115"/>
                  <a:gd name="T21" fmla="*/ 111 h 127"/>
                  <a:gd name="T22" fmla="*/ 110 w 115"/>
                  <a:gd name="T23" fmla="*/ 124 h 127"/>
                  <a:gd name="T24" fmla="*/ 90 w 115"/>
                  <a:gd name="T25" fmla="*/ 123 h 127"/>
                  <a:gd name="T26" fmla="*/ 83 w 115"/>
                  <a:gd name="T27" fmla="*/ 103 h 127"/>
                  <a:gd name="T28" fmla="*/ 75 w 115"/>
                  <a:gd name="T29" fmla="*/ 73 h 127"/>
                  <a:gd name="T30" fmla="*/ 59 w 115"/>
                  <a:gd name="T31" fmla="*/ 61 h 127"/>
                  <a:gd name="T32" fmla="*/ 44 w 115"/>
                  <a:gd name="T33" fmla="*/ 69 h 127"/>
                  <a:gd name="T34" fmla="*/ 24 w 115"/>
                  <a:gd name="T35" fmla="*/ 69 h 127"/>
                  <a:gd name="T36" fmla="*/ 27 w 115"/>
                  <a:gd name="T37" fmla="*/ 51 h 127"/>
                  <a:gd name="T38" fmla="*/ 9 w 115"/>
                  <a:gd name="T39" fmla="*/ 36 h 127"/>
                  <a:gd name="T40" fmla="*/ 8 w 115"/>
                  <a:gd name="T41" fmla="*/ 25 h 127"/>
                  <a:gd name="T42" fmla="*/ 11 w 115"/>
                  <a:gd name="T43" fmla="*/ 1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5" h="127">
                    <a:moveTo>
                      <a:pt x="11" y="15"/>
                    </a:moveTo>
                    <a:cubicBezTo>
                      <a:pt x="31" y="11"/>
                      <a:pt x="23" y="8"/>
                      <a:pt x="35" y="6"/>
                    </a:cubicBezTo>
                    <a:cubicBezTo>
                      <a:pt x="36" y="4"/>
                      <a:pt x="36" y="2"/>
                      <a:pt x="38" y="1"/>
                    </a:cubicBezTo>
                    <a:cubicBezTo>
                      <a:pt x="42" y="0"/>
                      <a:pt x="43" y="8"/>
                      <a:pt x="44" y="9"/>
                    </a:cubicBezTo>
                    <a:cubicBezTo>
                      <a:pt x="49" y="16"/>
                      <a:pt x="57" y="20"/>
                      <a:pt x="65" y="22"/>
                    </a:cubicBezTo>
                    <a:cubicBezTo>
                      <a:pt x="71" y="27"/>
                      <a:pt x="74" y="25"/>
                      <a:pt x="75" y="33"/>
                    </a:cubicBezTo>
                    <a:cubicBezTo>
                      <a:pt x="73" y="43"/>
                      <a:pt x="71" y="43"/>
                      <a:pt x="63" y="48"/>
                    </a:cubicBezTo>
                    <a:cubicBezTo>
                      <a:pt x="69" y="59"/>
                      <a:pt x="76" y="67"/>
                      <a:pt x="89" y="70"/>
                    </a:cubicBezTo>
                    <a:cubicBezTo>
                      <a:pt x="94" y="76"/>
                      <a:pt x="93" y="80"/>
                      <a:pt x="96" y="85"/>
                    </a:cubicBezTo>
                    <a:cubicBezTo>
                      <a:pt x="99" y="90"/>
                      <a:pt x="105" y="95"/>
                      <a:pt x="108" y="99"/>
                    </a:cubicBezTo>
                    <a:cubicBezTo>
                      <a:pt x="110" y="103"/>
                      <a:pt x="115" y="107"/>
                      <a:pt x="115" y="111"/>
                    </a:cubicBezTo>
                    <a:cubicBezTo>
                      <a:pt x="115" y="115"/>
                      <a:pt x="114" y="122"/>
                      <a:pt x="110" y="124"/>
                    </a:cubicBezTo>
                    <a:cubicBezTo>
                      <a:pt x="103" y="124"/>
                      <a:pt x="95" y="127"/>
                      <a:pt x="90" y="123"/>
                    </a:cubicBezTo>
                    <a:cubicBezTo>
                      <a:pt x="81" y="117"/>
                      <a:pt x="94" y="108"/>
                      <a:pt x="83" y="103"/>
                    </a:cubicBezTo>
                    <a:cubicBezTo>
                      <a:pt x="74" y="91"/>
                      <a:pt x="80" y="92"/>
                      <a:pt x="75" y="73"/>
                    </a:cubicBezTo>
                    <a:cubicBezTo>
                      <a:pt x="74" y="68"/>
                      <a:pt x="63" y="64"/>
                      <a:pt x="59" y="61"/>
                    </a:cubicBezTo>
                    <a:cubicBezTo>
                      <a:pt x="54" y="60"/>
                      <a:pt x="50" y="68"/>
                      <a:pt x="44" y="69"/>
                    </a:cubicBezTo>
                    <a:cubicBezTo>
                      <a:pt x="38" y="70"/>
                      <a:pt x="27" y="72"/>
                      <a:pt x="24" y="69"/>
                    </a:cubicBezTo>
                    <a:cubicBezTo>
                      <a:pt x="17" y="68"/>
                      <a:pt x="29" y="56"/>
                      <a:pt x="27" y="51"/>
                    </a:cubicBezTo>
                    <a:cubicBezTo>
                      <a:pt x="25" y="46"/>
                      <a:pt x="12" y="40"/>
                      <a:pt x="9" y="36"/>
                    </a:cubicBezTo>
                    <a:cubicBezTo>
                      <a:pt x="5" y="30"/>
                      <a:pt x="0" y="28"/>
                      <a:pt x="8" y="25"/>
                    </a:cubicBezTo>
                    <a:cubicBezTo>
                      <a:pt x="9" y="18"/>
                      <a:pt x="8" y="21"/>
                      <a:pt x="11" y="1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43" name="Freeform 171">
                <a:extLst>
                  <a:ext uri="{FF2B5EF4-FFF2-40B4-BE49-F238E27FC236}">
                    <a16:creationId xmlns:a16="http://schemas.microsoft.com/office/drawing/2014/main" id="{A7888B0F-D29C-4F0E-9A77-87A2D8DEF1F0}"/>
                  </a:ext>
                </a:extLst>
              </p:cNvPr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gray">
              <a:xfrm>
                <a:off x="7069138" y="4079875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14 w 17"/>
                  <a:gd name="T3" fmla="*/ 13 h 18"/>
                  <a:gd name="T4" fmla="*/ 6 w 17"/>
                  <a:gd name="T5" fmla="*/ 3 h 18"/>
                  <a:gd name="T6" fmla="*/ 0 w 17"/>
                  <a:gd name="T7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cubicBezTo>
                      <a:pt x="3" y="18"/>
                      <a:pt x="6" y="18"/>
                      <a:pt x="14" y="13"/>
                    </a:cubicBezTo>
                    <a:cubicBezTo>
                      <a:pt x="17" y="3"/>
                      <a:pt x="17" y="0"/>
                      <a:pt x="6" y="3"/>
                    </a:cubicBezTo>
                    <a:cubicBezTo>
                      <a:pt x="2" y="10"/>
                      <a:pt x="4" y="9"/>
                      <a:pt x="0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44" name="Freeform 172">
                <a:extLst>
                  <a:ext uri="{FF2B5EF4-FFF2-40B4-BE49-F238E27FC236}">
                    <a16:creationId xmlns:a16="http://schemas.microsoft.com/office/drawing/2014/main" id="{25D08C97-D32F-4CBC-958F-79A425E4E55A}"/>
                  </a:ext>
                </a:extLst>
              </p:cNvPr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gray">
              <a:xfrm>
                <a:off x="7189788" y="3581400"/>
                <a:ext cx="80963" cy="92075"/>
              </a:xfrm>
              <a:custGeom>
                <a:avLst/>
                <a:gdLst>
                  <a:gd name="T0" fmla="*/ 4 w 50"/>
                  <a:gd name="T1" fmla="*/ 24 h 58"/>
                  <a:gd name="T2" fmla="*/ 16 w 50"/>
                  <a:gd name="T3" fmla="*/ 22 h 58"/>
                  <a:gd name="T4" fmla="*/ 22 w 50"/>
                  <a:gd name="T5" fmla="*/ 12 h 58"/>
                  <a:gd name="T6" fmla="*/ 37 w 50"/>
                  <a:gd name="T7" fmla="*/ 0 h 58"/>
                  <a:gd name="T8" fmla="*/ 38 w 50"/>
                  <a:gd name="T9" fmla="*/ 22 h 58"/>
                  <a:gd name="T10" fmla="*/ 25 w 50"/>
                  <a:gd name="T11" fmla="*/ 39 h 58"/>
                  <a:gd name="T12" fmla="*/ 17 w 50"/>
                  <a:gd name="T13" fmla="*/ 46 h 58"/>
                  <a:gd name="T14" fmla="*/ 4 w 50"/>
                  <a:gd name="T15" fmla="*/ 30 h 58"/>
                  <a:gd name="T16" fmla="*/ 4 w 50"/>
                  <a:gd name="T17" fmla="*/ 2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58">
                    <a:moveTo>
                      <a:pt x="4" y="24"/>
                    </a:moveTo>
                    <a:cubicBezTo>
                      <a:pt x="8" y="23"/>
                      <a:pt x="13" y="25"/>
                      <a:pt x="16" y="22"/>
                    </a:cubicBezTo>
                    <a:cubicBezTo>
                      <a:pt x="32" y="8"/>
                      <a:pt x="6" y="15"/>
                      <a:pt x="22" y="12"/>
                    </a:cubicBezTo>
                    <a:cubicBezTo>
                      <a:pt x="29" y="7"/>
                      <a:pt x="28" y="2"/>
                      <a:pt x="37" y="0"/>
                    </a:cubicBezTo>
                    <a:cubicBezTo>
                      <a:pt x="50" y="2"/>
                      <a:pt x="44" y="14"/>
                      <a:pt x="38" y="22"/>
                    </a:cubicBezTo>
                    <a:cubicBezTo>
                      <a:pt x="34" y="40"/>
                      <a:pt x="40" y="36"/>
                      <a:pt x="25" y="39"/>
                    </a:cubicBezTo>
                    <a:cubicBezTo>
                      <a:pt x="24" y="45"/>
                      <a:pt x="22" y="58"/>
                      <a:pt x="17" y="46"/>
                    </a:cubicBezTo>
                    <a:cubicBezTo>
                      <a:pt x="15" y="37"/>
                      <a:pt x="11" y="35"/>
                      <a:pt x="4" y="30"/>
                    </a:cubicBezTo>
                    <a:cubicBezTo>
                      <a:pt x="2" y="24"/>
                      <a:pt x="0" y="26"/>
                      <a:pt x="4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45" name="Freeform 205">
                <a:extLst>
                  <a:ext uri="{FF2B5EF4-FFF2-40B4-BE49-F238E27FC236}">
                    <a16:creationId xmlns:a16="http://schemas.microsoft.com/office/drawing/2014/main" id="{F3B942C1-34B0-4CEC-A6FC-7E376041B36B}"/>
                  </a:ext>
                </a:extLst>
              </p:cNvPr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gray">
              <a:xfrm>
                <a:off x="8030093" y="4440238"/>
                <a:ext cx="49867" cy="38100"/>
              </a:xfrm>
              <a:custGeom>
                <a:avLst/>
                <a:gdLst>
                  <a:gd name="T0" fmla="*/ 1 w 31"/>
                  <a:gd name="T1" fmla="*/ 0 h 24"/>
                  <a:gd name="T2" fmla="*/ 12 w 31"/>
                  <a:gd name="T3" fmla="*/ 3 h 24"/>
                  <a:gd name="T4" fmla="*/ 31 w 31"/>
                  <a:gd name="T5" fmla="*/ 14 h 24"/>
                  <a:gd name="T6" fmla="*/ 3 w 31"/>
                  <a:gd name="T7" fmla="*/ 14 h 24"/>
                  <a:gd name="T8" fmla="*/ 1 w 31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4">
                    <a:moveTo>
                      <a:pt x="1" y="0"/>
                    </a:moveTo>
                    <a:cubicBezTo>
                      <a:pt x="5" y="1"/>
                      <a:pt x="9" y="1"/>
                      <a:pt x="12" y="3"/>
                    </a:cubicBezTo>
                    <a:cubicBezTo>
                      <a:pt x="25" y="11"/>
                      <a:pt x="8" y="10"/>
                      <a:pt x="31" y="14"/>
                    </a:cubicBezTo>
                    <a:cubicBezTo>
                      <a:pt x="24" y="24"/>
                      <a:pt x="12" y="16"/>
                      <a:pt x="3" y="14"/>
                    </a:cubicBezTo>
                    <a:cubicBezTo>
                      <a:pt x="0" y="7"/>
                      <a:pt x="4" y="7"/>
                      <a:pt x="1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46" name="Freeform 206">
                <a:extLst>
                  <a:ext uri="{FF2B5EF4-FFF2-40B4-BE49-F238E27FC236}">
                    <a16:creationId xmlns:a16="http://schemas.microsoft.com/office/drawing/2014/main" id="{C6429AE3-F426-4571-B91D-DC79940014B2}"/>
                  </a:ext>
                </a:extLst>
              </p:cNvPr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gray">
              <a:xfrm>
                <a:off x="7748588" y="4256088"/>
                <a:ext cx="236464" cy="201613"/>
              </a:xfrm>
              <a:custGeom>
                <a:avLst/>
                <a:gdLst>
                  <a:gd name="T0" fmla="*/ 0 w 123"/>
                  <a:gd name="T1" fmla="*/ 80 h 106"/>
                  <a:gd name="T2" fmla="*/ 0 w 123"/>
                  <a:gd name="T3" fmla="*/ 33 h 106"/>
                  <a:gd name="T4" fmla="*/ 0 w 123"/>
                  <a:gd name="T5" fmla="*/ 0 h 106"/>
                  <a:gd name="T6" fmla="*/ 32 w 123"/>
                  <a:gd name="T7" fmla="*/ 9 h 106"/>
                  <a:gd name="T8" fmla="*/ 57 w 123"/>
                  <a:gd name="T9" fmla="*/ 25 h 106"/>
                  <a:gd name="T10" fmla="*/ 57 w 123"/>
                  <a:gd name="T11" fmla="*/ 33 h 106"/>
                  <a:gd name="T12" fmla="*/ 88 w 123"/>
                  <a:gd name="T13" fmla="*/ 49 h 106"/>
                  <a:gd name="T14" fmla="*/ 72 w 123"/>
                  <a:gd name="T15" fmla="*/ 57 h 106"/>
                  <a:gd name="T16" fmla="*/ 81 w 123"/>
                  <a:gd name="T17" fmla="*/ 57 h 106"/>
                  <a:gd name="T18" fmla="*/ 88 w 123"/>
                  <a:gd name="T19" fmla="*/ 65 h 106"/>
                  <a:gd name="T20" fmla="*/ 97 w 123"/>
                  <a:gd name="T21" fmla="*/ 80 h 106"/>
                  <a:gd name="T22" fmla="*/ 104 w 123"/>
                  <a:gd name="T23" fmla="*/ 80 h 106"/>
                  <a:gd name="T24" fmla="*/ 104 w 123"/>
                  <a:gd name="T25" fmla="*/ 90 h 106"/>
                  <a:gd name="T26" fmla="*/ 122 w 123"/>
                  <a:gd name="T27" fmla="*/ 99 h 106"/>
                  <a:gd name="T28" fmla="*/ 122 w 123"/>
                  <a:gd name="T29" fmla="*/ 105 h 106"/>
                  <a:gd name="T30" fmla="*/ 81 w 123"/>
                  <a:gd name="T31" fmla="*/ 99 h 106"/>
                  <a:gd name="T32" fmla="*/ 63 w 123"/>
                  <a:gd name="T33" fmla="*/ 65 h 106"/>
                  <a:gd name="T34" fmla="*/ 47 w 123"/>
                  <a:gd name="T35" fmla="*/ 65 h 106"/>
                  <a:gd name="T36" fmla="*/ 40 w 123"/>
                  <a:gd name="T37" fmla="*/ 65 h 106"/>
                  <a:gd name="T38" fmla="*/ 23 w 123"/>
                  <a:gd name="T39" fmla="*/ 74 h 106"/>
                  <a:gd name="T40" fmla="*/ 32 w 123"/>
                  <a:gd name="T41" fmla="*/ 80 h 106"/>
                  <a:gd name="T42" fmla="*/ 15 w 123"/>
                  <a:gd name="T43" fmla="*/ 80 h 106"/>
                  <a:gd name="T44" fmla="*/ 0 w 123"/>
                  <a:gd name="T4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23" h="106">
                    <a:moveTo>
                      <a:pt x="0" y="8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2" y="9"/>
                    </a:lnTo>
                    <a:lnTo>
                      <a:pt x="57" y="25"/>
                    </a:lnTo>
                    <a:lnTo>
                      <a:pt x="57" y="33"/>
                    </a:lnTo>
                    <a:lnTo>
                      <a:pt x="88" y="49"/>
                    </a:lnTo>
                    <a:lnTo>
                      <a:pt x="72" y="57"/>
                    </a:lnTo>
                    <a:lnTo>
                      <a:pt x="81" y="57"/>
                    </a:lnTo>
                    <a:lnTo>
                      <a:pt x="88" y="65"/>
                    </a:lnTo>
                    <a:lnTo>
                      <a:pt x="97" y="80"/>
                    </a:lnTo>
                    <a:lnTo>
                      <a:pt x="104" y="80"/>
                    </a:lnTo>
                    <a:lnTo>
                      <a:pt x="104" y="90"/>
                    </a:lnTo>
                    <a:lnTo>
                      <a:pt x="122" y="99"/>
                    </a:lnTo>
                    <a:lnTo>
                      <a:pt x="122" y="105"/>
                    </a:lnTo>
                    <a:lnTo>
                      <a:pt x="81" y="99"/>
                    </a:lnTo>
                    <a:lnTo>
                      <a:pt x="63" y="65"/>
                    </a:lnTo>
                    <a:lnTo>
                      <a:pt x="47" y="65"/>
                    </a:lnTo>
                    <a:lnTo>
                      <a:pt x="40" y="65"/>
                    </a:lnTo>
                    <a:lnTo>
                      <a:pt x="23" y="74"/>
                    </a:lnTo>
                    <a:lnTo>
                      <a:pt x="32" y="80"/>
                    </a:lnTo>
                    <a:lnTo>
                      <a:pt x="15" y="80"/>
                    </a:lnTo>
                    <a:lnTo>
                      <a:pt x="0" y="8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47" name="Freeform 207">
                <a:extLst>
                  <a:ext uri="{FF2B5EF4-FFF2-40B4-BE49-F238E27FC236}">
                    <a16:creationId xmlns:a16="http://schemas.microsoft.com/office/drawing/2014/main" id="{414CC519-CB54-4EBF-9DB0-93F43F5DD6B6}"/>
                  </a:ext>
                </a:extLst>
              </p:cNvPr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gray">
              <a:xfrm>
                <a:off x="7919099" y="4286251"/>
                <a:ext cx="109385" cy="63500"/>
              </a:xfrm>
              <a:custGeom>
                <a:avLst/>
                <a:gdLst>
                  <a:gd name="T0" fmla="*/ 0 w 57"/>
                  <a:gd name="T1" fmla="*/ 16 h 33"/>
                  <a:gd name="T2" fmla="*/ 16 w 57"/>
                  <a:gd name="T3" fmla="*/ 32 h 33"/>
                  <a:gd name="T4" fmla="*/ 34 w 57"/>
                  <a:gd name="T5" fmla="*/ 32 h 33"/>
                  <a:gd name="T6" fmla="*/ 49 w 57"/>
                  <a:gd name="T7" fmla="*/ 23 h 33"/>
                  <a:gd name="T8" fmla="*/ 56 w 57"/>
                  <a:gd name="T9" fmla="*/ 8 h 33"/>
                  <a:gd name="T10" fmla="*/ 56 w 57"/>
                  <a:gd name="T11" fmla="*/ 0 h 33"/>
                  <a:gd name="T12" fmla="*/ 49 w 57"/>
                  <a:gd name="T13" fmla="*/ 0 h 33"/>
                  <a:gd name="T14" fmla="*/ 49 w 57"/>
                  <a:gd name="T15" fmla="*/ 16 h 33"/>
                  <a:gd name="T16" fmla="*/ 41 w 57"/>
                  <a:gd name="T17" fmla="*/ 16 h 33"/>
                  <a:gd name="T18" fmla="*/ 34 w 57"/>
                  <a:gd name="T19" fmla="*/ 16 h 33"/>
                  <a:gd name="T20" fmla="*/ 0 w 57"/>
                  <a:gd name="T21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" h="33">
                    <a:moveTo>
                      <a:pt x="0" y="16"/>
                    </a:moveTo>
                    <a:lnTo>
                      <a:pt x="16" y="32"/>
                    </a:lnTo>
                    <a:lnTo>
                      <a:pt x="34" y="32"/>
                    </a:lnTo>
                    <a:lnTo>
                      <a:pt x="49" y="23"/>
                    </a:lnTo>
                    <a:lnTo>
                      <a:pt x="56" y="8"/>
                    </a:lnTo>
                    <a:lnTo>
                      <a:pt x="56" y="0"/>
                    </a:lnTo>
                    <a:lnTo>
                      <a:pt x="49" y="0"/>
                    </a:lnTo>
                    <a:lnTo>
                      <a:pt x="49" y="16"/>
                    </a:lnTo>
                    <a:lnTo>
                      <a:pt x="41" y="16"/>
                    </a:lnTo>
                    <a:lnTo>
                      <a:pt x="34" y="16"/>
                    </a:lnTo>
                    <a:lnTo>
                      <a:pt x="0" y="16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48" name="Freeform 208">
                <a:extLst>
                  <a:ext uri="{FF2B5EF4-FFF2-40B4-BE49-F238E27FC236}">
                    <a16:creationId xmlns:a16="http://schemas.microsoft.com/office/drawing/2014/main" id="{FAC0FDDA-561A-4203-9738-98278D7E9BF6}"/>
                  </a:ext>
                </a:extLst>
              </p:cNvPr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gray">
              <a:xfrm>
                <a:off x="7997921" y="4273551"/>
                <a:ext cx="48258" cy="31750"/>
              </a:xfrm>
              <a:custGeom>
                <a:avLst/>
                <a:gdLst>
                  <a:gd name="T0" fmla="*/ 0 w 25"/>
                  <a:gd name="T1" fmla="*/ 0 h 17"/>
                  <a:gd name="T2" fmla="*/ 15 w 25"/>
                  <a:gd name="T3" fmla="*/ 8 h 17"/>
                  <a:gd name="T4" fmla="*/ 24 w 25"/>
                  <a:gd name="T5" fmla="*/ 16 h 17"/>
                  <a:gd name="T6" fmla="*/ 24 w 25"/>
                  <a:gd name="T7" fmla="*/ 8 h 17"/>
                  <a:gd name="T8" fmla="*/ 0 w 2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7">
                    <a:moveTo>
                      <a:pt x="0" y="0"/>
                    </a:moveTo>
                    <a:lnTo>
                      <a:pt x="15" y="8"/>
                    </a:lnTo>
                    <a:lnTo>
                      <a:pt x="24" y="16"/>
                    </a:lnTo>
                    <a:lnTo>
                      <a:pt x="24" y="8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49" name="Freeform 209">
                <a:extLst>
                  <a:ext uri="{FF2B5EF4-FFF2-40B4-BE49-F238E27FC236}">
                    <a16:creationId xmlns:a16="http://schemas.microsoft.com/office/drawing/2014/main" id="{F10B45DE-A026-425B-87C3-87B1F525DFCF}"/>
                  </a:ext>
                </a:extLst>
              </p:cNvPr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gray">
              <a:xfrm>
                <a:off x="8091219" y="4318001"/>
                <a:ext cx="35389" cy="46038"/>
              </a:xfrm>
              <a:custGeom>
                <a:avLst/>
                <a:gdLst>
                  <a:gd name="T0" fmla="*/ 0 w 18"/>
                  <a:gd name="T1" fmla="*/ 0 h 25"/>
                  <a:gd name="T2" fmla="*/ 8 w 18"/>
                  <a:gd name="T3" fmla="*/ 24 h 25"/>
                  <a:gd name="T4" fmla="*/ 17 w 18"/>
                  <a:gd name="T5" fmla="*/ 16 h 25"/>
                  <a:gd name="T6" fmla="*/ 0 w 18"/>
                  <a:gd name="T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5">
                    <a:moveTo>
                      <a:pt x="0" y="0"/>
                    </a:moveTo>
                    <a:lnTo>
                      <a:pt x="8" y="24"/>
                    </a:lnTo>
                    <a:lnTo>
                      <a:pt x="17" y="16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50" name="Freeform 210">
                <a:extLst>
                  <a:ext uri="{FF2B5EF4-FFF2-40B4-BE49-F238E27FC236}">
                    <a16:creationId xmlns:a16="http://schemas.microsoft.com/office/drawing/2014/main" id="{A78A49C6-736C-4D37-997C-64D0A40BEE17}"/>
                  </a:ext>
                </a:extLst>
              </p:cNvPr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gray">
              <a:xfrm>
                <a:off x="8200604" y="4406901"/>
                <a:ext cx="32172" cy="31750"/>
              </a:xfrm>
              <a:custGeom>
                <a:avLst/>
                <a:gdLst>
                  <a:gd name="T0" fmla="*/ 0 w 17"/>
                  <a:gd name="T1" fmla="*/ 0 h 17"/>
                  <a:gd name="T2" fmla="*/ 0 w 17"/>
                  <a:gd name="T3" fmla="*/ 16 h 17"/>
                  <a:gd name="T4" fmla="*/ 16 w 17"/>
                  <a:gd name="T5" fmla="*/ 16 h 17"/>
                  <a:gd name="T6" fmla="*/ 0 w 17"/>
                  <a:gd name="T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7">
                    <a:moveTo>
                      <a:pt x="0" y="0"/>
                    </a:moveTo>
                    <a:lnTo>
                      <a:pt x="0" y="16"/>
                    </a:lnTo>
                    <a:lnTo>
                      <a:pt x="16" y="16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51" name="Freeform 213">
                <a:extLst>
                  <a:ext uri="{FF2B5EF4-FFF2-40B4-BE49-F238E27FC236}">
                    <a16:creationId xmlns:a16="http://schemas.microsoft.com/office/drawing/2014/main" id="{8AE35C8E-3E15-4E5A-B6E6-843FDD608880}"/>
                  </a:ext>
                </a:extLst>
              </p:cNvPr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gray">
              <a:xfrm>
                <a:off x="6742113" y="4021138"/>
                <a:ext cx="471173" cy="137842"/>
              </a:xfrm>
              <a:custGeom>
                <a:avLst/>
                <a:gdLst/>
                <a:ahLst/>
                <a:cxnLst/>
                <a:rect l="l" t="t" r="r" b="b"/>
                <a:pathLst>
                  <a:path w="471173" h="137842">
                    <a:moveTo>
                      <a:pt x="406205" y="0"/>
                    </a:moveTo>
                    <a:lnTo>
                      <a:pt x="423398" y="16764"/>
                    </a:lnTo>
                    <a:lnTo>
                      <a:pt x="423398" y="33528"/>
                    </a:lnTo>
                    <a:lnTo>
                      <a:pt x="471173" y="46562"/>
                    </a:lnTo>
                    <a:lnTo>
                      <a:pt x="436787" y="46562"/>
                    </a:lnTo>
                    <a:lnTo>
                      <a:pt x="452053" y="63326"/>
                    </a:lnTo>
                    <a:lnTo>
                      <a:pt x="436787" y="63326"/>
                    </a:lnTo>
                    <a:lnTo>
                      <a:pt x="392841" y="63326"/>
                    </a:lnTo>
                    <a:lnTo>
                      <a:pt x="346993" y="121078"/>
                    </a:lnTo>
                    <a:lnTo>
                      <a:pt x="329800" y="137842"/>
                    </a:lnTo>
                    <a:lnTo>
                      <a:pt x="299218" y="121078"/>
                    </a:lnTo>
                    <a:lnTo>
                      <a:pt x="282025" y="137842"/>
                    </a:lnTo>
                    <a:lnTo>
                      <a:pt x="251468" y="137842"/>
                    </a:lnTo>
                    <a:lnTo>
                      <a:pt x="222813" y="121078"/>
                    </a:lnTo>
                    <a:lnTo>
                      <a:pt x="270563" y="121078"/>
                    </a:lnTo>
                    <a:lnTo>
                      <a:pt x="270563" y="93138"/>
                    </a:lnTo>
                    <a:lnTo>
                      <a:pt x="299218" y="93138"/>
                    </a:lnTo>
                    <a:lnTo>
                      <a:pt x="329800" y="63326"/>
                    </a:lnTo>
                    <a:lnTo>
                      <a:pt x="346993" y="63326"/>
                    </a:lnTo>
                    <a:lnTo>
                      <a:pt x="358455" y="63326"/>
                    </a:lnTo>
                    <a:lnTo>
                      <a:pt x="375648" y="46562"/>
                    </a:lnTo>
                    <a:lnTo>
                      <a:pt x="358455" y="46562"/>
                    </a:lnTo>
                    <a:lnTo>
                      <a:pt x="375648" y="33528"/>
                    </a:lnTo>
                    <a:close/>
                    <a:moveTo>
                      <a:pt x="0" y="0"/>
                    </a:moveTo>
                    <a:lnTo>
                      <a:pt x="17728" y="16764"/>
                    </a:lnTo>
                    <a:lnTo>
                      <a:pt x="35457" y="33528"/>
                    </a:lnTo>
                    <a:lnTo>
                      <a:pt x="47275" y="16764"/>
                    </a:lnTo>
                    <a:lnTo>
                      <a:pt x="84701" y="46562"/>
                    </a:lnTo>
                    <a:lnTo>
                      <a:pt x="84701" y="93138"/>
                    </a:lnTo>
                    <a:lnTo>
                      <a:pt x="96520" y="137842"/>
                    </a:lnTo>
                    <a:lnTo>
                      <a:pt x="84701" y="137842"/>
                    </a:lnTo>
                    <a:lnTo>
                      <a:pt x="35457" y="93138"/>
                    </a:lnTo>
                    <a:lnTo>
                      <a:pt x="0" y="63326"/>
                    </a:lnTo>
                    <a:lnTo>
                      <a:pt x="0" y="1676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52" name="Freeform 215">
                <a:extLst>
                  <a:ext uri="{FF2B5EF4-FFF2-40B4-BE49-F238E27FC236}">
                    <a16:creationId xmlns:a16="http://schemas.microsoft.com/office/drawing/2014/main" id="{5DFF5BD4-6968-49F6-84E3-E4DB55054379}"/>
                  </a:ext>
                </a:extLst>
              </p:cNvPr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gray">
              <a:xfrm>
                <a:off x="7073104" y="4067176"/>
                <a:ext cx="48438" cy="31750"/>
              </a:xfrm>
              <a:custGeom>
                <a:avLst/>
                <a:gdLst>
                  <a:gd name="T0" fmla="*/ 0 w 25"/>
                  <a:gd name="T1" fmla="*/ 16 h 17"/>
                  <a:gd name="T2" fmla="*/ 9 w 25"/>
                  <a:gd name="T3" fmla="*/ 16 h 17"/>
                  <a:gd name="T4" fmla="*/ 15 w 25"/>
                  <a:gd name="T5" fmla="*/ 16 h 17"/>
                  <a:gd name="T6" fmla="*/ 24 w 25"/>
                  <a:gd name="T7" fmla="*/ 0 h 17"/>
                  <a:gd name="T8" fmla="*/ 15 w 25"/>
                  <a:gd name="T9" fmla="*/ 0 h 17"/>
                  <a:gd name="T10" fmla="*/ 0 w 25"/>
                  <a:gd name="T11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7">
                    <a:moveTo>
                      <a:pt x="0" y="16"/>
                    </a:moveTo>
                    <a:lnTo>
                      <a:pt x="9" y="16"/>
                    </a:lnTo>
                    <a:lnTo>
                      <a:pt x="15" y="16"/>
                    </a:lnTo>
                    <a:lnTo>
                      <a:pt x="24" y="0"/>
                    </a:lnTo>
                    <a:lnTo>
                      <a:pt x="15" y="0"/>
                    </a:lnTo>
                    <a:lnTo>
                      <a:pt x="0" y="16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53" name="Oval 216">
                <a:extLst>
                  <a:ext uri="{FF2B5EF4-FFF2-40B4-BE49-F238E27FC236}">
                    <a16:creationId xmlns:a16="http://schemas.microsoft.com/office/drawing/2014/main" id="{38AD44A2-9ED3-4E4A-8606-ACC28A128CB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6"/>
                </p:custDataLst>
              </p:nvPr>
            </p:nvSpPr>
            <p:spPr bwMode="gray">
              <a:xfrm>
                <a:off x="6809926" y="4129088"/>
                <a:ext cx="27448" cy="26988"/>
              </a:xfrm>
              <a:prstGeom prst="ellipse">
                <a:avLst/>
              </a:pr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grpSp>
            <p:nvGrpSpPr>
              <p:cNvPr id="754" name="Group 233">
                <a:extLst>
                  <a:ext uri="{FF2B5EF4-FFF2-40B4-BE49-F238E27FC236}">
                    <a16:creationId xmlns:a16="http://schemas.microsoft.com/office/drawing/2014/main" id="{4EBB1D32-1DE1-4AD2-95A1-545FB71B1C5E}"/>
                  </a:ext>
                </a:extLst>
              </p:cNvPr>
              <p:cNvGrpSpPr>
                <a:grpSpLocks/>
              </p:cNvGrpSpPr>
              <p:nvPr>
                <p:custDataLst>
                  <p:tags r:id="rId147"/>
                </p:custDataLst>
              </p:nvPr>
            </p:nvGrpSpPr>
            <p:grpSpPr bwMode="auto">
              <a:xfrm>
                <a:off x="5432426" y="2643188"/>
                <a:ext cx="1014413" cy="495300"/>
                <a:chOff x="3419" y="1862"/>
                <a:chExt cx="629" cy="312"/>
              </a:xfrm>
              <a:grpFill/>
            </p:grpSpPr>
            <p:sp>
              <p:nvSpPr>
                <p:cNvPr id="808" name="Freeform 234">
                  <a:extLst>
                    <a:ext uri="{FF2B5EF4-FFF2-40B4-BE49-F238E27FC236}">
                      <a16:creationId xmlns:a16="http://schemas.microsoft.com/office/drawing/2014/main" id="{DAB6BAAE-A0DD-4BC6-8FF7-116401F86371}"/>
                    </a:ext>
                  </a:extLst>
                </p:cNvPr>
                <p:cNvSpPr>
                  <a:spLocks/>
                </p:cNvSpPr>
                <p:nvPr>
                  <p:custDataLst>
                    <p:tags r:id="rId195"/>
                  </p:custDataLst>
                </p:nvPr>
              </p:nvSpPr>
              <p:spPr bwMode="gray">
                <a:xfrm>
                  <a:off x="3692" y="1862"/>
                  <a:ext cx="356" cy="312"/>
                </a:xfrm>
                <a:custGeom>
                  <a:avLst/>
                  <a:gdLst>
                    <a:gd name="T0" fmla="*/ 0 w 356"/>
                    <a:gd name="T1" fmla="*/ 25 h 312"/>
                    <a:gd name="T2" fmla="*/ 75 w 356"/>
                    <a:gd name="T3" fmla="*/ 0 h 312"/>
                    <a:gd name="T4" fmla="*/ 99 w 356"/>
                    <a:gd name="T5" fmla="*/ 27 h 312"/>
                    <a:gd name="T6" fmla="*/ 114 w 356"/>
                    <a:gd name="T7" fmla="*/ 12 h 312"/>
                    <a:gd name="T8" fmla="*/ 154 w 356"/>
                    <a:gd name="T9" fmla="*/ 40 h 312"/>
                    <a:gd name="T10" fmla="*/ 160 w 356"/>
                    <a:gd name="T11" fmla="*/ 42 h 312"/>
                    <a:gd name="T12" fmla="*/ 187 w 356"/>
                    <a:gd name="T13" fmla="*/ 30 h 312"/>
                    <a:gd name="T14" fmla="*/ 191 w 356"/>
                    <a:gd name="T15" fmla="*/ 28 h 312"/>
                    <a:gd name="T16" fmla="*/ 196 w 356"/>
                    <a:gd name="T17" fmla="*/ 42 h 312"/>
                    <a:gd name="T18" fmla="*/ 214 w 356"/>
                    <a:gd name="T19" fmla="*/ 54 h 312"/>
                    <a:gd name="T20" fmla="*/ 226 w 356"/>
                    <a:gd name="T21" fmla="*/ 70 h 312"/>
                    <a:gd name="T22" fmla="*/ 233 w 356"/>
                    <a:gd name="T23" fmla="*/ 85 h 312"/>
                    <a:gd name="T24" fmla="*/ 232 w 356"/>
                    <a:gd name="T25" fmla="*/ 100 h 312"/>
                    <a:gd name="T26" fmla="*/ 236 w 356"/>
                    <a:gd name="T27" fmla="*/ 103 h 312"/>
                    <a:gd name="T28" fmla="*/ 248 w 356"/>
                    <a:gd name="T29" fmla="*/ 108 h 312"/>
                    <a:gd name="T30" fmla="*/ 265 w 356"/>
                    <a:gd name="T31" fmla="*/ 105 h 312"/>
                    <a:gd name="T32" fmla="*/ 277 w 356"/>
                    <a:gd name="T33" fmla="*/ 112 h 312"/>
                    <a:gd name="T34" fmla="*/ 287 w 356"/>
                    <a:gd name="T35" fmla="*/ 108 h 312"/>
                    <a:gd name="T36" fmla="*/ 302 w 356"/>
                    <a:gd name="T37" fmla="*/ 114 h 312"/>
                    <a:gd name="T38" fmla="*/ 320 w 356"/>
                    <a:gd name="T39" fmla="*/ 130 h 312"/>
                    <a:gd name="T40" fmla="*/ 353 w 356"/>
                    <a:gd name="T41" fmla="*/ 138 h 312"/>
                    <a:gd name="T42" fmla="*/ 340 w 356"/>
                    <a:gd name="T43" fmla="*/ 152 h 312"/>
                    <a:gd name="T44" fmla="*/ 329 w 356"/>
                    <a:gd name="T45" fmla="*/ 157 h 312"/>
                    <a:gd name="T46" fmla="*/ 328 w 356"/>
                    <a:gd name="T47" fmla="*/ 175 h 312"/>
                    <a:gd name="T48" fmla="*/ 323 w 356"/>
                    <a:gd name="T49" fmla="*/ 195 h 312"/>
                    <a:gd name="T50" fmla="*/ 319 w 356"/>
                    <a:gd name="T51" fmla="*/ 192 h 312"/>
                    <a:gd name="T52" fmla="*/ 305 w 356"/>
                    <a:gd name="T53" fmla="*/ 183 h 312"/>
                    <a:gd name="T54" fmla="*/ 281 w 356"/>
                    <a:gd name="T55" fmla="*/ 195 h 312"/>
                    <a:gd name="T56" fmla="*/ 274 w 356"/>
                    <a:gd name="T57" fmla="*/ 214 h 312"/>
                    <a:gd name="T58" fmla="*/ 278 w 356"/>
                    <a:gd name="T59" fmla="*/ 234 h 312"/>
                    <a:gd name="T60" fmla="*/ 268 w 356"/>
                    <a:gd name="T61" fmla="*/ 226 h 312"/>
                    <a:gd name="T62" fmla="*/ 241 w 356"/>
                    <a:gd name="T63" fmla="*/ 232 h 312"/>
                    <a:gd name="T64" fmla="*/ 247 w 356"/>
                    <a:gd name="T65" fmla="*/ 261 h 312"/>
                    <a:gd name="T66" fmla="*/ 245 w 356"/>
                    <a:gd name="T67" fmla="*/ 274 h 312"/>
                    <a:gd name="T68" fmla="*/ 254 w 356"/>
                    <a:gd name="T69" fmla="*/ 283 h 312"/>
                    <a:gd name="T70" fmla="*/ 242 w 356"/>
                    <a:gd name="T71" fmla="*/ 287 h 312"/>
                    <a:gd name="T72" fmla="*/ 196 w 356"/>
                    <a:gd name="T73" fmla="*/ 309 h 312"/>
                    <a:gd name="T74" fmla="*/ 208 w 356"/>
                    <a:gd name="T75" fmla="*/ 282 h 312"/>
                    <a:gd name="T76" fmla="*/ 172 w 356"/>
                    <a:gd name="T77" fmla="*/ 279 h 312"/>
                    <a:gd name="T78" fmla="*/ 144 w 356"/>
                    <a:gd name="T79" fmla="*/ 270 h 312"/>
                    <a:gd name="T80" fmla="*/ 124 w 356"/>
                    <a:gd name="T81" fmla="*/ 283 h 312"/>
                    <a:gd name="T82" fmla="*/ 109 w 356"/>
                    <a:gd name="T83" fmla="*/ 279 h 312"/>
                    <a:gd name="T84" fmla="*/ 79 w 356"/>
                    <a:gd name="T85" fmla="*/ 292 h 312"/>
                    <a:gd name="T86" fmla="*/ 51 w 356"/>
                    <a:gd name="T87" fmla="*/ 312 h 3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56" h="312">
                      <a:moveTo>
                        <a:pt x="0" y="25"/>
                      </a:moveTo>
                      <a:cubicBezTo>
                        <a:pt x="10" y="28"/>
                        <a:pt x="59" y="0"/>
                        <a:pt x="75" y="0"/>
                      </a:cubicBezTo>
                      <a:cubicBezTo>
                        <a:pt x="91" y="0"/>
                        <a:pt x="92" y="25"/>
                        <a:pt x="99" y="27"/>
                      </a:cubicBezTo>
                      <a:cubicBezTo>
                        <a:pt x="106" y="29"/>
                        <a:pt x="105" y="10"/>
                        <a:pt x="114" y="12"/>
                      </a:cubicBezTo>
                      <a:cubicBezTo>
                        <a:pt x="123" y="14"/>
                        <a:pt x="146" y="35"/>
                        <a:pt x="154" y="40"/>
                      </a:cubicBezTo>
                      <a:cubicBezTo>
                        <a:pt x="162" y="45"/>
                        <a:pt x="155" y="44"/>
                        <a:pt x="160" y="42"/>
                      </a:cubicBezTo>
                      <a:cubicBezTo>
                        <a:pt x="166" y="32"/>
                        <a:pt x="176" y="31"/>
                        <a:pt x="187" y="30"/>
                      </a:cubicBezTo>
                      <a:cubicBezTo>
                        <a:pt x="188" y="29"/>
                        <a:pt x="190" y="27"/>
                        <a:pt x="191" y="28"/>
                      </a:cubicBezTo>
                      <a:cubicBezTo>
                        <a:pt x="194" y="29"/>
                        <a:pt x="195" y="41"/>
                        <a:pt x="196" y="42"/>
                      </a:cubicBezTo>
                      <a:cubicBezTo>
                        <a:pt x="198" y="46"/>
                        <a:pt x="210" y="52"/>
                        <a:pt x="214" y="54"/>
                      </a:cubicBezTo>
                      <a:cubicBezTo>
                        <a:pt x="218" y="60"/>
                        <a:pt x="222" y="64"/>
                        <a:pt x="226" y="70"/>
                      </a:cubicBezTo>
                      <a:cubicBezTo>
                        <a:pt x="228" y="76"/>
                        <a:pt x="232" y="80"/>
                        <a:pt x="233" y="85"/>
                      </a:cubicBezTo>
                      <a:cubicBezTo>
                        <a:pt x="234" y="90"/>
                        <a:pt x="231" y="97"/>
                        <a:pt x="232" y="100"/>
                      </a:cubicBezTo>
                      <a:cubicBezTo>
                        <a:pt x="233" y="106"/>
                        <a:pt x="233" y="102"/>
                        <a:pt x="236" y="103"/>
                      </a:cubicBezTo>
                      <a:cubicBezTo>
                        <a:pt x="239" y="104"/>
                        <a:pt x="243" y="108"/>
                        <a:pt x="248" y="108"/>
                      </a:cubicBezTo>
                      <a:cubicBezTo>
                        <a:pt x="254" y="104"/>
                        <a:pt x="258" y="106"/>
                        <a:pt x="265" y="105"/>
                      </a:cubicBezTo>
                      <a:cubicBezTo>
                        <a:pt x="269" y="110"/>
                        <a:pt x="271" y="111"/>
                        <a:pt x="277" y="112"/>
                      </a:cubicBezTo>
                      <a:cubicBezTo>
                        <a:pt x="281" y="111"/>
                        <a:pt x="283" y="108"/>
                        <a:pt x="287" y="108"/>
                      </a:cubicBezTo>
                      <a:cubicBezTo>
                        <a:pt x="291" y="108"/>
                        <a:pt x="299" y="111"/>
                        <a:pt x="302" y="114"/>
                      </a:cubicBezTo>
                      <a:cubicBezTo>
                        <a:pt x="306" y="120"/>
                        <a:pt x="314" y="127"/>
                        <a:pt x="320" y="130"/>
                      </a:cubicBezTo>
                      <a:cubicBezTo>
                        <a:pt x="329" y="141"/>
                        <a:pt x="338" y="136"/>
                        <a:pt x="353" y="138"/>
                      </a:cubicBezTo>
                      <a:cubicBezTo>
                        <a:pt x="356" y="142"/>
                        <a:pt x="344" y="149"/>
                        <a:pt x="340" y="152"/>
                      </a:cubicBezTo>
                      <a:cubicBezTo>
                        <a:pt x="336" y="155"/>
                        <a:pt x="331" y="153"/>
                        <a:pt x="329" y="157"/>
                      </a:cubicBezTo>
                      <a:cubicBezTo>
                        <a:pt x="325" y="162"/>
                        <a:pt x="329" y="169"/>
                        <a:pt x="328" y="175"/>
                      </a:cubicBezTo>
                      <a:cubicBezTo>
                        <a:pt x="327" y="181"/>
                        <a:pt x="324" y="192"/>
                        <a:pt x="323" y="195"/>
                      </a:cubicBezTo>
                      <a:cubicBezTo>
                        <a:pt x="323" y="197"/>
                        <a:pt x="320" y="193"/>
                        <a:pt x="319" y="192"/>
                      </a:cubicBezTo>
                      <a:cubicBezTo>
                        <a:pt x="314" y="189"/>
                        <a:pt x="310" y="186"/>
                        <a:pt x="305" y="183"/>
                      </a:cubicBezTo>
                      <a:cubicBezTo>
                        <a:pt x="287" y="186"/>
                        <a:pt x="286" y="182"/>
                        <a:pt x="281" y="195"/>
                      </a:cubicBezTo>
                      <a:cubicBezTo>
                        <a:pt x="277" y="200"/>
                        <a:pt x="275" y="207"/>
                        <a:pt x="274" y="214"/>
                      </a:cubicBezTo>
                      <a:cubicBezTo>
                        <a:pt x="274" y="220"/>
                        <a:pt x="279" y="232"/>
                        <a:pt x="278" y="234"/>
                      </a:cubicBezTo>
                      <a:cubicBezTo>
                        <a:pt x="274" y="230"/>
                        <a:pt x="273" y="229"/>
                        <a:pt x="268" y="226"/>
                      </a:cubicBezTo>
                      <a:cubicBezTo>
                        <a:pt x="263" y="226"/>
                        <a:pt x="244" y="226"/>
                        <a:pt x="241" y="232"/>
                      </a:cubicBezTo>
                      <a:cubicBezTo>
                        <a:pt x="238" y="238"/>
                        <a:pt x="246" y="254"/>
                        <a:pt x="247" y="261"/>
                      </a:cubicBezTo>
                      <a:cubicBezTo>
                        <a:pt x="246" y="265"/>
                        <a:pt x="244" y="270"/>
                        <a:pt x="245" y="274"/>
                      </a:cubicBezTo>
                      <a:cubicBezTo>
                        <a:pt x="246" y="278"/>
                        <a:pt x="254" y="283"/>
                        <a:pt x="254" y="283"/>
                      </a:cubicBezTo>
                      <a:cubicBezTo>
                        <a:pt x="254" y="285"/>
                        <a:pt x="248" y="284"/>
                        <a:pt x="242" y="287"/>
                      </a:cubicBezTo>
                      <a:cubicBezTo>
                        <a:pt x="232" y="291"/>
                        <a:pt x="202" y="310"/>
                        <a:pt x="196" y="309"/>
                      </a:cubicBezTo>
                      <a:cubicBezTo>
                        <a:pt x="190" y="308"/>
                        <a:pt x="212" y="287"/>
                        <a:pt x="208" y="282"/>
                      </a:cubicBezTo>
                      <a:cubicBezTo>
                        <a:pt x="204" y="277"/>
                        <a:pt x="183" y="281"/>
                        <a:pt x="172" y="279"/>
                      </a:cubicBezTo>
                      <a:cubicBezTo>
                        <a:pt x="161" y="277"/>
                        <a:pt x="152" y="269"/>
                        <a:pt x="144" y="270"/>
                      </a:cubicBezTo>
                      <a:cubicBezTo>
                        <a:pt x="136" y="271"/>
                        <a:pt x="130" y="282"/>
                        <a:pt x="124" y="283"/>
                      </a:cubicBezTo>
                      <a:cubicBezTo>
                        <a:pt x="118" y="284"/>
                        <a:pt x="116" y="278"/>
                        <a:pt x="109" y="279"/>
                      </a:cubicBezTo>
                      <a:cubicBezTo>
                        <a:pt x="102" y="280"/>
                        <a:pt x="89" y="287"/>
                        <a:pt x="79" y="292"/>
                      </a:cubicBezTo>
                      <a:cubicBezTo>
                        <a:pt x="69" y="297"/>
                        <a:pt x="57" y="308"/>
                        <a:pt x="51" y="312"/>
                      </a:cubicBezTo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809" name="Freeform 235">
                  <a:extLst>
                    <a:ext uri="{FF2B5EF4-FFF2-40B4-BE49-F238E27FC236}">
                      <a16:creationId xmlns:a16="http://schemas.microsoft.com/office/drawing/2014/main" id="{9D7C67DA-4AEA-429E-A2F7-CAC7B57DB45D}"/>
                    </a:ext>
                  </a:extLst>
                </p:cNvPr>
                <p:cNvSpPr>
                  <a:spLocks/>
                </p:cNvSpPr>
                <p:nvPr>
                  <p:custDataLst>
                    <p:tags r:id="rId196"/>
                  </p:custDataLst>
                </p:nvPr>
              </p:nvSpPr>
              <p:spPr bwMode="gray">
                <a:xfrm>
                  <a:off x="3419" y="1864"/>
                  <a:ext cx="339" cy="308"/>
                </a:xfrm>
                <a:custGeom>
                  <a:avLst/>
                  <a:gdLst>
                    <a:gd name="T0" fmla="*/ 339 w 339"/>
                    <a:gd name="T1" fmla="*/ 0 h 308"/>
                    <a:gd name="T2" fmla="*/ 273 w 339"/>
                    <a:gd name="T3" fmla="*/ 23 h 308"/>
                    <a:gd name="T4" fmla="*/ 252 w 339"/>
                    <a:gd name="T5" fmla="*/ 31 h 308"/>
                    <a:gd name="T6" fmla="*/ 233 w 339"/>
                    <a:gd name="T7" fmla="*/ 34 h 308"/>
                    <a:gd name="T8" fmla="*/ 226 w 339"/>
                    <a:gd name="T9" fmla="*/ 55 h 308"/>
                    <a:gd name="T10" fmla="*/ 216 w 339"/>
                    <a:gd name="T11" fmla="*/ 74 h 308"/>
                    <a:gd name="T12" fmla="*/ 221 w 339"/>
                    <a:gd name="T13" fmla="*/ 92 h 308"/>
                    <a:gd name="T14" fmla="*/ 228 w 339"/>
                    <a:gd name="T15" fmla="*/ 103 h 308"/>
                    <a:gd name="T16" fmla="*/ 221 w 339"/>
                    <a:gd name="T17" fmla="*/ 112 h 308"/>
                    <a:gd name="T18" fmla="*/ 194 w 339"/>
                    <a:gd name="T19" fmla="*/ 109 h 308"/>
                    <a:gd name="T20" fmla="*/ 180 w 339"/>
                    <a:gd name="T21" fmla="*/ 101 h 308"/>
                    <a:gd name="T22" fmla="*/ 164 w 339"/>
                    <a:gd name="T23" fmla="*/ 100 h 308"/>
                    <a:gd name="T24" fmla="*/ 147 w 339"/>
                    <a:gd name="T25" fmla="*/ 110 h 308"/>
                    <a:gd name="T26" fmla="*/ 101 w 339"/>
                    <a:gd name="T27" fmla="*/ 86 h 308"/>
                    <a:gd name="T28" fmla="*/ 66 w 339"/>
                    <a:gd name="T29" fmla="*/ 88 h 308"/>
                    <a:gd name="T30" fmla="*/ 54 w 339"/>
                    <a:gd name="T31" fmla="*/ 97 h 308"/>
                    <a:gd name="T32" fmla="*/ 36 w 339"/>
                    <a:gd name="T33" fmla="*/ 116 h 308"/>
                    <a:gd name="T34" fmla="*/ 23 w 339"/>
                    <a:gd name="T35" fmla="*/ 118 h 308"/>
                    <a:gd name="T36" fmla="*/ 12 w 339"/>
                    <a:gd name="T37" fmla="*/ 142 h 308"/>
                    <a:gd name="T38" fmla="*/ 5 w 339"/>
                    <a:gd name="T39" fmla="*/ 155 h 308"/>
                    <a:gd name="T40" fmla="*/ 12 w 339"/>
                    <a:gd name="T41" fmla="*/ 173 h 308"/>
                    <a:gd name="T42" fmla="*/ 26 w 339"/>
                    <a:gd name="T43" fmla="*/ 181 h 308"/>
                    <a:gd name="T44" fmla="*/ 41 w 339"/>
                    <a:gd name="T45" fmla="*/ 202 h 308"/>
                    <a:gd name="T46" fmla="*/ 47 w 339"/>
                    <a:gd name="T47" fmla="*/ 211 h 308"/>
                    <a:gd name="T48" fmla="*/ 48 w 339"/>
                    <a:gd name="T49" fmla="*/ 206 h 308"/>
                    <a:gd name="T50" fmla="*/ 57 w 339"/>
                    <a:gd name="T51" fmla="*/ 200 h 308"/>
                    <a:gd name="T52" fmla="*/ 89 w 339"/>
                    <a:gd name="T53" fmla="*/ 197 h 308"/>
                    <a:gd name="T54" fmla="*/ 108 w 339"/>
                    <a:gd name="T55" fmla="*/ 211 h 308"/>
                    <a:gd name="T56" fmla="*/ 108 w 339"/>
                    <a:gd name="T57" fmla="*/ 221 h 308"/>
                    <a:gd name="T58" fmla="*/ 125 w 339"/>
                    <a:gd name="T59" fmla="*/ 227 h 308"/>
                    <a:gd name="T60" fmla="*/ 113 w 339"/>
                    <a:gd name="T61" fmla="*/ 247 h 308"/>
                    <a:gd name="T62" fmla="*/ 99 w 339"/>
                    <a:gd name="T63" fmla="*/ 233 h 308"/>
                    <a:gd name="T64" fmla="*/ 87 w 339"/>
                    <a:gd name="T65" fmla="*/ 238 h 308"/>
                    <a:gd name="T66" fmla="*/ 74 w 339"/>
                    <a:gd name="T67" fmla="*/ 248 h 308"/>
                    <a:gd name="T68" fmla="*/ 77 w 339"/>
                    <a:gd name="T69" fmla="*/ 265 h 308"/>
                    <a:gd name="T70" fmla="*/ 87 w 339"/>
                    <a:gd name="T71" fmla="*/ 279 h 308"/>
                    <a:gd name="T72" fmla="*/ 102 w 339"/>
                    <a:gd name="T73" fmla="*/ 295 h 308"/>
                    <a:gd name="T74" fmla="*/ 134 w 339"/>
                    <a:gd name="T75" fmla="*/ 293 h 308"/>
                    <a:gd name="T76" fmla="*/ 152 w 339"/>
                    <a:gd name="T77" fmla="*/ 302 h 308"/>
                    <a:gd name="T78" fmla="*/ 153 w 339"/>
                    <a:gd name="T79" fmla="*/ 242 h 308"/>
                    <a:gd name="T80" fmla="*/ 170 w 339"/>
                    <a:gd name="T81" fmla="*/ 235 h 308"/>
                    <a:gd name="T82" fmla="*/ 188 w 339"/>
                    <a:gd name="T83" fmla="*/ 226 h 308"/>
                    <a:gd name="T84" fmla="*/ 206 w 339"/>
                    <a:gd name="T85" fmla="*/ 230 h 308"/>
                    <a:gd name="T86" fmla="*/ 230 w 339"/>
                    <a:gd name="T87" fmla="*/ 253 h 308"/>
                    <a:gd name="T88" fmla="*/ 254 w 339"/>
                    <a:gd name="T89" fmla="*/ 269 h 308"/>
                    <a:gd name="T90" fmla="*/ 287 w 339"/>
                    <a:gd name="T91" fmla="*/ 269 h 308"/>
                    <a:gd name="T92" fmla="*/ 303 w 339"/>
                    <a:gd name="T93" fmla="*/ 287 h 308"/>
                    <a:gd name="T94" fmla="*/ 321 w 339"/>
                    <a:gd name="T95" fmla="*/ 308 h 3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39" h="308">
                      <a:moveTo>
                        <a:pt x="339" y="0"/>
                      </a:moveTo>
                      <a:cubicBezTo>
                        <a:pt x="328" y="3"/>
                        <a:pt x="287" y="18"/>
                        <a:pt x="273" y="23"/>
                      </a:cubicBezTo>
                      <a:cubicBezTo>
                        <a:pt x="262" y="26"/>
                        <a:pt x="259" y="29"/>
                        <a:pt x="252" y="31"/>
                      </a:cubicBezTo>
                      <a:cubicBezTo>
                        <a:pt x="245" y="33"/>
                        <a:pt x="237" y="30"/>
                        <a:pt x="233" y="34"/>
                      </a:cubicBezTo>
                      <a:cubicBezTo>
                        <a:pt x="225" y="39"/>
                        <a:pt x="229" y="48"/>
                        <a:pt x="226" y="55"/>
                      </a:cubicBezTo>
                      <a:cubicBezTo>
                        <a:pt x="223" y="62"/>
                        <a:pt x="217" y="68"/>
                        <a:pt x="216" y="74"/>
                      </a:cubicBezTo>
                      <a:cubicBezTo>
                        <a:pt x="211" y="82"/>
                        <a:pt x="216" y="85"/>
                        <a:pt x="221" y="92"/>
                      </a:cubicBezTo>
                      <a:cubicBezTo>
                        <a:pt x="223" y="101"/>
                        <a:pt x="226" y="94"/>
                        <a:pt x="228" y="103"/>
                      </a:cubicBezTo>
                      <a:cubicBezTo>
                        <a:pt x="227" y="105"/>
                        <a:pt x="225" y="112"/>
                        <a:pt x="221" y="112"/>
                      </a:cubicBezTo>
                      <a:cubicBezTo>
                        <a:pt x="212" y="112"/>
                        <a:pt x="194" y="109"/>
                        <a:pt x="194" y="109"/>
                      </a:cubicBezTo>
                      <a:cubicBezTo>
                        <a:pt x="189" y="107"/>
                        <a:pt x="185" y="104"/>
                        <a:pt x="180" y="101"/>
                      </a:cubicBezTo>
                      <a:cubicBezTo>
                        <a:pt x="175" y="100"/>
                        <a:pt x="169" y="99"/>
                        <a:pt x="164" y="100"/>
                      </a:cubicBezTo>
                      <a:cubicBezTo>
                        <a:pt x="159" y="101"/>
                        <a:pt x="157" y="112"/>
                        <a:pt x="147" y="110"/>
                      </a:cubicBezTo>
                      <a:cubicBezTo>
                        <a:pt x="133" y="108"/>
                        <a:pt x="114" y="90"/>
                        <a:pt x="101" y="86"/>
                      </a:cubicBezTo>
                      <a:cubicBezTo>
                        <a:pt x="88" y="82"/>
                        <a:pt x="74" y="86"/>
                        <a:pt x="66" y="88"/>
                      </a:cubicBezTo>
                      <a:cubicBezTo>
                        <a:pt x="62" y="93"/>
                        <a:pt x="59" y="94"/>
                        <a:pt x="54" y="97"/>
                      </a:cubicBezTo>
                      <a:cubicBezTo>
                        <a:pt x="53" y="105"/>
                        <a:pt x="43" y="112"/>
                        <a:pt x="36" y="116"/>
                      </a:cubicBezTo>
                      <a:cubicBezTo>
                        <a:pt x="35" y="127"/>
                        <a:pt x="32" y="122"/>
                        <a:pt x="23" y="118"/>
                      </a:cubicBezTo>
                      <a:cubicBezTo>
                        <a:pt x="17" y="112"/>
                        <a:pt x="18" y="136"/>
                        <a:pt x="12" y="142"/>
                      </a:cubicBezTo>
                      <a:cubicBezTo>
                        <a:pt x="11" y="149"/>
                        <a:pt x="10" y="151"/>
                        <a:pt x="5" y="155"/>
                      </a:cubicBezTo>
                      <a:cubicBezTo>
                        <a:pt x="0" y="164"/>
                        <a:pt x="2" y="172"/>
                        <a:pt x="12" y="173"/>
                      </a:cubicBezTo>
                      <a:cubicBezTo>
                        <a:pt x="17" y="175"/>
                        <a:pt x="21" y="178"/>
                        <a:pt x="26" y="181"/>
                      </a:cubicBezTo>
                      <a:cubicBezTo>
                        <a:pt x="32" y="189"/>
                        <a:pt x="31" y="198"/>
                        <a:pt x="41" y="202"/>
                      </a:cubicBezTo>
                      <a:cubicBezTo>
                        <a:pt x="41" y="204"/>
                        <a:pt x="41" y="213"/>
                        <a:pt x="47" y="211"/>
                      </a:cubicBezTo>
                      <a:cubicBezTo>
                        <a:pt x="49" y="210"/>
                        <a:pt x="47" y="207"/>
                        <a:pt x="48" y="206"/>
                      </a:cubicBezTo>
                      <a:cubicBezTo>
                        <a:pt x="50" y="203"/>
                        <a:pt x="54" y="201"/>
                        <a:pt x="57" y="200"/>
                      </a:cubicBezTo>
                      <a:cubicBezTo>
                        <a:pt x="67" y="196"/>
                        <a:pt x="78" y="198"/>
                        <a:pt x="89" y="197"/>
                      </a:cubicBezTo>
                      <a:cubicBezTo>
                        <a:pt x="103" y="195"/>
                        <a:pt x="102" y="200"/>
                        <a:pt x="108" y="211"/>
                      </a:cubicBezTo>
                      <a:cubicBezTo>
                        <a:pt x="113" y="214"/>
                        <a:pt x="105" y="218"/>
                        <a:pt x="108" y="221"/>
                      </a:cubicBezTo>
                      <a:cubicBezTo>
                        <a:pt x="111" y="224"/>
                        <a:pt x="124" y="223"/>
                        <a:pt x="125" y="227"/>
                      </a:cubicBezTo>
                      <a:cubicBezTo>
                        <a:pt x="123" y="236"/>
                        <a:pt x="121" y="243"/>
                        <a:pt x="113" y="247"/>
                      </a:cubicBezTo>
                      <a:cubicBezTo>
                        <a:pt x="106" y="243"/>
                        <a:pt x="108" y="236"/>
                        <a:pt x="99" y="233"/>
                      </a:cubicBezTo>
                      <a:cubicBezTo>
                        <a:pt x="78" y="238"/>
                        <a:pt x="95" y="228"/>
                        <a:pt x="87" y="238"/>
                      </a:cubicBezTo>
                      <a:cubicBezTo>
                        <a:pt x="85" y="241"/>
                        <a:pt x="74" y="248"/>
                        <a:pt x="74" y="248"/>
                      </a:cubicBezTo>
                      <a:cubicBezTo>
                        <a:pt x="70" y="255"/>
                        <a:pt x="66" y="263"/>
                        <a:pt x="77" y="265"/>
                      </a:cubicBezTo>
                      <a:cubicBezTo>
                        <a:pt x="79" y="270"/>
                        <a:pt x="83" y="274"/>
                        <a:pt x="87" y="279"/>
                      </a:cubicBezTo>
                      <a:cubicBezTo>
                        <a:pt x="91" y="284"/>
                        <a:pt x="94" y="293"/>
                        <a:pt x="102" y="295"/>
                      </a:cubicBezTo>
                      <a:cubicBezTo>
                        <a:pt x="113" y="290"/>
                        <a:pt x="120" y="292"/>
                        <a:pt x="134" y="293"/>
                      </a:cubicBezTo>
                      <a:cubicBezTo>
                        <a:pt x="140" y="296"/>
                        <a:pt x="146" y="298"/>
                        <a:pt x="152" y="302"/>
                      </a:cubicBezTo>
                      <a:cubicBezTo>
                        <a:pt x="156" y="293"/>
                        <a:pt x="150" y="253"/>
                        <a:pt x="153" y="242"/>
                      </a:cubicBezTo>
                      <a:cubicBezTo>
                        <a:pt x="156" y="231"/>
                        <a:pt x="164" y="238"/>
                        <a:pt x="170" y="235"/>
                      </a:cubicBezTo>
                      <a:cubicBezTo>
                        <a:pt x="176" y="231"/>
                        <a:pt x="181" y="227"/>
                        <a:pt x="188" y="226"/>
                      </a:cubicBezTo>
                      <a:cubicBezTo>
                        <a:pt x="194" y="227"/>
                        <a:pt x="200" y="229"/>
                        <a:pt x="206" y="230"/>
                      </a:cubicBezTo>
                      <a:cubicBezTo>
                        <a:pt x="217" y="238"/>
                        <a:pt x="214" y="250"/>
                        <a:pt x="230" y="253"/>
                      </a:cubicBezTo>
                      <a:cubicBezTo>
                        <a:pt x="238" y="258"/>
                        <a:pt x="245" y="267"/>
                        <a:pt x="254" y="269"/>
                      </a:cubicBezTo>
                      <a:cubicBezTo>
                        <a:pt x="263" y="272"/>
                        <a:pt x="279" y="266"/>
                        <a:pt x="287" y="269"/>
                      </a:cubicBezTo>
                      <a:cubicBezTo>
                        <a:pt x="295" y="274"/>
                        <a:pt x="295" y="282"/>
                        <a:pt x="303" y="287"/>
                      </a:cubicBezTo>
                      <a:cubicBezTo>
                        <a:pt x="304" y="300"/>
                        <a:pt x="310" y="301"/>
                        <a:pt x="321" y="308"/>
                      </a:cubicBezTo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</p:grpSp>
          <p:sp>
            <p:nvSpPr>
              <p:cNvPr id="755" name="Freeform 236">
                <a:extLst>
                  <a:ext uri="{FF2B5EF4-FFF2-40B4-BE49-F238E27FC236}">
                    <a16:creationId xmlns:a16="http://schemas.microsoft.com/office/drawing/2014/main" id="{9BB19AA2-75CB-4189-98B3-A4040FCA8421}"/>
                  </a:ext>
                </a:extLst>
              </p:cNvPr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gray">
              <a:xfrm>
                <a:off x="3895726" y="1398588"/>
                <a:ext cx="31750" cy="33338"/>
              </a:xfrm>
              <a:custGeom>
                <a:avLst/>
                <a:gdLst>
                  <a:gd name="T0" fmla="*/ 0 w 17"/>
                  <a:gd name="T1" fmla="*/ 0 h 18"/>
                  <a:gd name="T2" fmla="*/ 0 w 17"/>
                  <a:gd name="T3" fmla="*/ 17 h 18"/>
                  <a:gd name="T4" fmla="*/ 16 w 17"/>
                  <a:gd name="T5" fmla="*/ 17 h 18"/>
                  <a:gd name="T6" fmla="*/ 0 w 17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0"/>
                    </a:moveTo>
                    <a:lnTo>
                      <a:pt x="0" y="17"/>
                    </a:lnTo>
                    <a:lnTo>
                      <a:pt x="16" y="17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56" name="Freeform 237">
                <a:extLst>
                  <a:ext uri="{FF2B5EF4-FFF2-40B4-BE49-F238E27FC236}">
                    <a16:creationId xmlns:a16="http://schemas.microsoft.com/office/drawing/2014/main" id="{887A52D7-ED01-423F-A803-DEBF9B23D43C}"/>
                  </a:ext>
                </a:extLst>
              </p:cNvPr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gray">
              <a:xfrm>
                <a:off x="3895726" y="1398588"/>
                <a:ext cx="31750" cy="33338"/>
              </a:xfrm>
              <a:custGeom>
                <a:avLst/>
                <a:gdLst>
                  <a:gd name="T0" fmla="*/ 0 w 17"/>
                  <a:gd name="T1" fmla="*/ 0 h 18"/>
                  <a:gd name="T2" fmla="*/ 0 w 17"/>
                  <a:gd name="T3" fmla="*/ 17 h 18"/>
                  <a:gd name="T4" fmla="*/ 16 w 17"/>
                  <a:gd name="T5" fmla="*/ 17 h 18"/>
                  <a:gd name="T6" fmla="*/ 0 w 17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0"/>
                    </a:moveTo>
                    <a:lnTo>
                      <a:pt x="0" y="17"/>
                    </a:lnTo>
                    <a:lnTo>
                      <a:pt x="16" y="17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57" name="Freeform 311">
                <a:extLst>
                  <a:ext uri="{FF2B5EF4-FFF2-40B4-BE49-F238E27FC236}">
                    <a16:creationId xmlns:a16="http://schemas.microsoft.com/office/drawing/2014/main" id="{65AF9CA0-4707-46C3-A75E-669C200E8A52}"/>
                  </a:ext>
                </a:extLst>
              </p:cNvPr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gray">
              <a:xfrm>
                <a:off x="3740151" y="2073276"/>
                <a:ext cx="273050" cy="179388"/>
              </a:xfrm>
              <a:custGeom>
                <a:avLst/>
                <a:gdLst>
                  <a:gd name="T0" fmla="*/ 32 w 169"/>
                  <a:gd name="T1" fmla="*/ 1 h 113"/>
                  <a:gd name="T2" fmla="*/ 50 w 169"/>
                  <a:gd name="T3" fmla="*/ 17 h 113"/>
                  <a:gd name="T4" fmla="*/ 60 w 169"/>
                  <a:gd name="T5" fmla="*/ 31 h 113"/>
                  <a:gd name="T6" fmla="*/ 72 w 169"/>
                  <a:gd name="T7" fmla="*/ 25 h 113"/>
                  <a:gd name="T8" fmla="*/ 114 w 169"/>
                  <a:gd name="T9" fmla="*/ 13 h 113"/>
                  <a:gd name="T10" fmla="*/ 152 w 169"/>
                  <a:gd name="T11" fmla="*/ 11 h 113"/>
                  <a:gd name="T12" fmla="*/ 148 w 169"/>
                  <a:gd name="T13" fmla="*/ 23 h 113"/>
                  <a:gd name="T14" fmla="*/ 166 w 169"/>
                  <a:gd name="T15" fmla="*/ 45 h 113"/>
                  <a:gd name="T16" fmla="*/ 158 w 169"/>
                  <a:gd name="T17" fmla="*/ 67 h 113"/>
                  <a:gd name="T18" fmla="*/ 134 w 169"/>
                  <a:gd name="T19" fmla="*/ 87 h 113"/>
                  <a:gd name="T20" fmla="*/ 116 w 169"/>
                  <a:gd name="T21" fmla="*/ 95 h 113"/>
                  <a:gd name="T22" fmla="*/ 112 w 169"/>
                  <a:gd name="T23" fmla="*/ 107 h 113"/>
                  <a:gd name="T24" fmla="*/ 94 w 169"/>
                  <a:gd name="T25" fmla="*/ 113 h 113"/>
                  <a:gd name="T26" fmla="*/ 54 w 169"/>
                  <a:gd name="T27" fmla="*/ 97 h 113"/>
                  <a:gd name="T28" fmla="*/ 24 w 169"/>
                  <a:gd name="T29" fmla="*/ 107 h 113"/>
                  <a:gd name="T30" fmla="*/ 38 w 169"/>
                  <a:gd name="T31" fmla="*/ 85 h 113"/>
                  <a:gd name="T32" fmla="*/ 16 w 169"/>
                  <a:gd name="T33" fmla="*/ 69 h 113"/>
                  <a:gd name="T34" fmla="*/ 2 w 169"/>
                  <a:gd name="T35" fmla="*/ 55 h 113"/>
                  <a:gd name="T36" fmla="*/ 26 w 169"/>
                  <a:gd name="T37" fmla="*/ 53 h 113"/>
                  <a:gd name="T38" fmla="*/ 24 w 169"/>
                  <a:gd name="T39" fmla="*/ 47 h 113"/>
                  <a:gd name="T40" fmla="*/ 0 w 169"/>
                  <a:gd name="T41" fmla="*/ 41 h 113"/>
                  <a:gd name="T42" fmla="*/ 4 w 169"/>
                  <a:gd name="T43" fmla="*/ 29 h 113"/>
                  <a:gd name="T44" fmla="*/ 16 w 169"/>
                  <a:gd name="T45" fmla="*/ 21 h 113"/>
                  <a:gd name="T46" fmla="*/ 28 w 169"/>
                  <a:gd name="T47" fmla="*/ 5 h 113"/>
                  <a:gd name="T48" fmla="*/ 32 w 169"/>
                  <a:gd name="T49" fmla="*/ 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9" h="113">
                    <a:moveTo>
                      <a:pt x="32" y="1"/>
                    </a:moveTo>
                    <a:cubicBezTo>
                      <a:pt x="35" y="6"/>
                      <a:pt x="45" y="15"/>
                      <a:pt x="50" y="17"/>
                    </a:cubicBezTo>
                    <a:cubicBezTo>
                      <a:pt x="53" y="45"/>
                      <a:pt x="50" y="43"/>
                      <a:pt x="60" y="31"/>
                    </a:cubicBezTo>
                    <a:cubicBezTo>
                      <a:pt x="63" y="27"/>
                      <a:pt x="68" y="26"/>
                      <a:pt x="72" y="25"/>
                    </a:cubicBezTo>
                    <a:cubicBezTo>
                      <a:pt x="81" y="11"/>
                      <a:pt x="99" y="14"/>
                      <a:pt x="114" y="13"/>
                    </a:cubicBezTo>
                    <a:cubicBezTo>
                      <a:pt x="126" y="5"/>
                      <a:pt x="131" y="0"/>
                      <a:pt x="152" y="11"/>
                    </a:cubicBezTo>
                    <a:cubicBezTo>
                      <a:pt x="156" y="13"/>
                      <a:pt x="148" y="23"/>
                      <a:pt x="148" y="23"/>
                    </a:cubicBezTo>
                    <a:cubicBezTo>
                      <a:pt x="157" y="29"/>
                      <a:pt x="158" y="37"/>
                      <a:pt x="166" y="45"/>
                    </a:cubicBezTo>
                    <a:cubicBezTo>
                      <a:pt x="169" y="54"/>
                      <a:pt x="168" y="64"/>
                      <a:pt x="158" y="67"/>
                    </a:cubicBezTo>
                    <a:cubicBezTo>
                      <a:pt x="147" y="84"/>
                      <a:pt x="161" y="84"/>
                      <a:pt x="134" y="87"/>
                    </a:cubicBezTo>
                    <a:cubicBezTo>
                      <a:pt x="127" y="89"/>
                      <a:pt x="123" y="93"/>
                      <a:pt x="116" y="95"/>
                    </a:cubicBezTo>
                    <a:cubicBezTo>
                      <a:pt x="115" y="99"/>
                      <a:pt x="113" y="103"/>
                      <a:pt x="112" y="107"/>
                    </a:cubicBezTo>
                    <a:cubicBezTo>
                      <a:pt x="110" y="113"/>
                      <a:pt x="94" y="113"/>
                      <a:pt x="94" y="113"/>
                    </a:cubicBezTo>
                    <a:cubicBezTo>
                      <a:pt x="77" y="111"/>
                      <a:pt x="69" y="102"/>
                      <a:pt x="54" y="97"/>
                    </a:cubicBezTo>
                    <a:cubicBezTo>
                      <a:pt x="26" y="100"/>
                      <a:pt x="41" y="101"/>
                      <a:pt x="24" y="107"/>
                    </a:cubicBezTo>
                    <a:cubicBezTo>
                      <a:pt x="21" y="98"/>
                      <a:pt x="32" y="93"/>
                      <a:pt x="38" y="85"/>
                    </a:cubicBezTo>
                    <a:cubicBezTo>
                      <a:pt x="28" y="79"/>
                      <a:pt x="29" y="72"/>
                      <a:pt x="16" y="69"/>
                    </a:cubicBezTo>
                    <a:cubicBezTo>
                      <a:pt x="9" y="64"/>
                      <a:pt x="9" y="60"/>
                      <a:pt x="2" y="55"/>
                    </a:cubicBezTo>
                    <a:cubicBezTo>
                      <a:pt x="10" y="54"/>
                      <a:pt x="18" y="56"/>
                      <a:pt x="26" y="53"/>
                    </a:cubicBezTo>
                    <a:cubicBezTo>
                      <a:pt x="28" y="52"/>
                      <a:pt x="26" y="48"/>
                      <a:pt x="24" y="47"/>
                    </a:cubicBezTo>
                    <a:cubicBezTo>
                      <a:pt x="17" y="43"/>
                      <a:pt x="0" y="41"/>
                      <a:pt x="0" y="41"/>
                    </a:cubicBezTo>
                    <a:cubicBezTo>
                      <a:pt x="1" y="37"/>
                      <a:pt x="0" y="31"/>
                      <a:pt x="4" y="29"/>
                    </a:cubicBezTo>
                    <a:cubicBezTo>
                      <a:pt x="8" y="26"/>
                      <a:pt x="16" y="21"/>
                      <a:pt x="16" y="21"/>
                    </a:cubicBezTo>
                    <a:cubicBezTo>
                      <a:pt x="19" y="13"/>
                      <a:pt x="21" y="10"/>
                      <a:pt x="28" y="5"/>
                    </a:cubicBezTo>
                    <a:cubicBezTo>
                      <a:pt x="38" y="8"/>
                      <a:pt x="38" y="9"/>
                      <a:pt x="32" y="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58" name="Freeform 312">
                <a:extLst>
                  <a:ext uri="{FF2B5EF4-FFF2-40B4-BE49-F238E27FC236}">
                    <a16:creationId xmlns:a16="http://schemas.microsoft.com/office/drawing/2014/main" id="{D6D8D8D0-614B-40C6-B22C-B2ADD736C324}"/>
                  </a:ext>
                </a:extLst>
              </p:cNvPr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gray">
              <a:xfrm>
                <a:off x="2681288" y="1274763"/>
                <a:ext cx="1211263" cy="1139825"/>
              </a:xfrm>
              <a:custGeom>
                <a:avLst/>
                <a:gdLst>
                  <a:gd name="T0" fmla="*/ 188 w 763"/>
                  <a:gd name="T1" fmla="*/ 119 h 718"/>
                  <a:gd name="T2" fmla="*/ 209 w 763"/>
                  <a:gd name="T3" fmla="*/ 172 h 718"/>
                  <a:gd name="T4" fmla="*/ 210 w 763"/>
                  <a:gd name="T5" fmla="*/ 248 h 718"/>
                  <a:gd name="T6" fmla="*/ 228 w 763"/>
                  <a:gd name="T7" fmla="*/ 287 h 718"/>
                  <a:gd name="T8" fmla="*/ 248 w 763"/>
                  <a:gd name="T9" fmla="*/ 299 h 718"/>
                  <a:gd name="T10" fmla="*/ 276 w 763"/>
                  <a:gd name="T11" fmla="*/ 324 h 718"/>
                  <a:gd name="T12" fmla="*/ 222 w 763"/>
                  <a:gd name="T13" fmla="*/ 332 h 718"/>
                  <a:gd name="T14" fmla="*/ 238 w 763"/>
                  <a:gd name="T15" fmla="*/ 380 h 718"/>
                  <a:gd name="T16" fmla="*/ 276 w 763"/>
                  <a:gd name="T17" fmla="*/ 354 h 718"/>
                  <a:gd name="T18" fmla="*/ 276 w 763"/>
                  <a:gd name="T19" fmla="*/ 410 h 718"/>
                  <a:gd name="T20" fmla="*/ 237 w 763"/>
                  <a:gd name="T21" fmla="*/ 427 h 718"/>
                  <a:gd name="T22" fmla="*/ 256 w 763"/>
                  <a:gd name="T23" fmla="*/ 525 h 718"/>
                  <a:gd name="T24" fmla="*/ 303 w 763"/>
                  <a:gd name="T25" fmla="*/ 669 h 718"/>
                  <a:gd name="T26" fmla="*/ 353 w 763"/>
                  <a:gd name="T27" fmla="*/ 690 h 718"/>
                  <a:gd name="T28" fmla="*/ 392 w 763"/>
                  <a:gd name="T29" fmla="*/ 707 h 718"/>
                  <a:gd name="T30" fmla="*/ 411 w 763"/>
                  <a:gd name="T31" fmla="*/ 629 h 718"/>
                  <a:gd name="T32" fmla="*/ 440 w 763"/>
                  <a:gd name="T33" fmla="*/ 559 h 718"/>
                  <a:gd name="T34" fmla="*/ 442 w 763"/>
                  <a:gd name="T35" fmla="*/ 542 h 718"/>
                  <a:gd name="T36" fmla="*/ 486 w 763"/>
                  <a:gd name="T37" fmla="*/ 525 h 718"/>
                  <a:gd name="T38" fmla="*/ 591 w 763"/>
                  <a:gd name="T39" fmla="*/ 429 h 718"/>
                  <a:gd name="T40" fmla="*/ 698 w 763"/>
                  <a:gd name="T41" fmla="*/ 361 h 718"/>
                  <a:gd name="T42" fmla="*/ 672 w 763"/>
                  <a:gd name="T43" fmla="*/ 337 h 718"/>
                  <a:gd name="T44" fmla="*/ 670 w 763"/>
                  <a:gd name="T45" fmla="*/ 315 h 718"/>
                  <a:gd name="T46" fmla="*/ 679 w 763"/>
                  <a:gd name="T47" fmla="*/ 284 h 718"/>
                  <a:gd name="T48" fmla="*/ 697 w 763"/>
                  <a:gd name="T49" fmla="*/ 337 h 718"/>
                  <a:gd name="T50" fmla="*/ 722 w 763"/>
                  <a:gd name="T51" fmla="*/ 283 h 718"/>
                  <a:gd name="T52" fmla="*/ 720 w 763"/>
                  <a:gd name="T53" fmla="*/ 248 h 718"/>
                  <a:gd name="T54" fmla="*/ 698 w 763"/>
                  <a:gd name="T55" fmla="*/ 200 h 718"/>
                  <a:gd name="T56" fmla="*/ 737 w 763"/>
                  <a:gd name="T57" fmla="*/ 159 h 718"/>
                  <a:gd name="T58" fmla="*/ 756 w 763"/>
                  <a:gd name="T59" fmla="*/ 143 h 718"/>
                  <a:gd name="T60" fmla="*/ 746 w 763"/>
                  <a:gd name="T61" fmla="*/ 112 h 718"/>
                  <a:gd name="T62" fmla="*/ 751 w 763"/>
                  <a:gd name="T63" fmla="*/ 65 h 718"/>
                  <a:gd name="T64" fmla="*/ 727 w 763"/>
                  <a:gd name="T65" fmla="*/ 19 h 718"/>
                  <a:gd name="T66" fmla="*/ 4 w 763"/>
                  <a:gd name="T67" fmla="*/ 0 h 718"/>
                  <a:gd name="T68" fmla="*/ 4 w 763"/>
                  <a:gd name="T69" fmla="*/ 33 h 718"/>
                  <a:gd name="T70" fmla="*/ 57 w 763"/>
                  <a:gd name="T71" fmla="*/ 30 h 718"/>
                  <a:gd name="T72" fmla="*/ 172 w 763"/>
                  <a:gd name="T73" fmla="*/ 61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3" h="718">
                    <a:moveTo>
                      <a:pt x="172" y="71"/>
                    </a:moveTo>
                    <a:lnTo>
                      <a:pt x="188" y="119"/>
                    </a:lnTo>
                    <a:lnTo>
                      <a:pt x="191" y="150"/>
                    </a:lnTo>
                    <a:lnTo>
                      <a:pt x="209" y="172"/>
                    </a:lnTo>
                    <a:lnTo>
                      <a:pt x="203" y="230"/>
                    </a:lnTo>
                    <a:lnTo>
                      <a:pt x="210" y="248"/>
                    </a:lnTo>
                    <a:lnTo>
                      <a:pt x="210" y="290"/>
                    </a:lnTo>
                    <a:lnTo>
                      <a:pt x="228" y="287"/>
                    </a:lnTo>
                    <a:lnTo>
                      <a:pt x="237" y="265"/>
                    </a:lnTo>
                    <a:lnTo>
                      <a:pt x="248" y="299"/>
                    </a:lnTo>
                    <a:lnTo>
                      <a:pt x="266" y="305"/>
                    </a:lnTo>
                    <a:lnTo>
                      <a:pt x="276" y="324"/>
                    </a:lnTo>
                    <a:lnTo>
                      <a:pt x="231" y="314"/>
                    </a:lnTo>
                    <a:lnTo>
                      <a:pt x="222" y="332"/>
                    </a:lnTo>
                    <a:lnTo>
                      <a:pt x="220" y="361"/>
                    </a:lnTo>
                    <a:lnTo>
                      <a:pt x="238" y="380"/>
                    </a:lnTo>
                    <a:lnTo>
                      <a:pt x="257" y="373"/>
                    </a:lnTo>
                    <a:lnTo>
                      <a:pt x="276" y="354"/>
                    </a:lnTo>
                    <a:lnTo>
                      <a:pt x="287" y="380"/>
                    </a:lnTo>
                    <a:lnTo>
                      <a:pt x="276" y="410"/>
                    </a:lnTo>
                    <a:lnTo>
                      <a:pt x="260" y="410"/>
                    </a:lnTo>
                    <a:lnTo>
                      <a:pt x="237" y="427"/>
                    </a:lnTo>
                    <a:lnTo>
                      <a:pt x="238" y="510"/>
                    </a:lnTo>
                    <a:lnTo>
                      <a:pt x="256" y="525"/>
                    </a:lnTo>
                    <a:lnTo>
                      <a:pt x="268" y="575"/>
                    </a:lnTo>
                    <a:lnTo>
                      <a:pt x="303" y="669"/>
                    </a:lnTo>
                    <a:lnTo>
                      <a:pt x="324" y="690"/>
                    </a:lnTo>
                    <a:lnTo>
                      <a:pt x="353" y="690"/>
                    </a:lnTo>
                    <a:lnTo>
                      <a:pt x="381" y="718"/>
                    </a:lnTo>
                    <a:lnTo>
                      <a:pt x="392" y="707"/>
                    </a:lnTo>
                    <a:lnTo>
                      <a:pt x="411" y="646"/>
                    </a:lnTo>
                    <a:lnTo>
                      <a:pt x="411" y="629"/>
                    </a:lnTo>
                    <a:lnTo>
                      <a:pt x="430" y="603"/>
                    </a:lnTo>
                    <a:lnTo>
                      <a:pt x="440" y="559"/>
                    </a:lnTo>
                    <a:lnTo>
                      <a:pt x="430" y="545"/>
                    </a:lnTo>
                    <a:lnTo>
                      <a:pt x="442" y="542"/>
                    </a:lnTo>
                    <a:lnTo>
                      <a:pt x="446" y="523"/>
                    </a:lnTo>
                    <a:lnTo>
                      <a:pt x="486" y="525"/>
                    </a:lnTo>
                    <a:lnTo>
                      <a:pt x="574" y="427"/>
                    </a:lnTo>
                    <a:lnTo>
                      <a:pt x="591" y="429"/>
                    </a:lnTo>
                    <a:lnTo>
                      <a:pt x="635" y="408"/>
                    </a:lnTo>
                    <a:lnTo>
                      <a:pt x="698" y="361"/>
                    </a:lnTo>
                    <a:lnTo>
                      <a:pt x="709" y="343"/>
                    </a:lnTo>
                    <a:lnTo>
                      <a:pt x="672" y="337"/>
                    </a:lnTo>
                    <a:lnTo>
                      <a:pt x="647" y="343"/>
                    </a:lnTo>
                    <a:lnTo>
                      <a:pt x="670" y="315"/>
                    </a:lnTo>
                    <a:lnTo>
                      <a:pt x="661" y="293"/>
                    </a:lnTo>
                    <a:lnTo>
                      <a:pt x="679" y="284"/>
                    </a:lnTo>
                    <a:lnTo>
                      <a:pt x="688" y="326"/>
                    </a:lnTo>
                    <a:lnTo>
                      <a:pt x="697" y="337"/>
                    </a:lnTo>
                    <a:lnTo>
                      <a:pt x="720" y="326"/>
                    </a:lnTo>
                    <a:lnTo>
                      <a:pt x="722" y="283"/>
                    </a:lnTo>
                    <a:lnTo>
                      <a:pt x="678" y="230"/>
                    </a:lnTo>
                    <a:lnTo>
                      <a:pt x="720" y="248"/>
                    </a:lnTo>
                    <a:lnTo>
                      <a:pt x="720" y="208"/>
                    </a:lnTo>
                    <a:lnTo>
                      <a:pt x="698" y="200"/>
                    </a:lnTo>
                    <a:lnTo>
                      <a:pt x="737" y="178"/>
                    </a:lnTo>
                    <a:lnTo>
                      <a:pt x="737" y="159"/>
                    </a:lnTo>
                    <a:lnTo>
                      <a:pt x="726" y="152"/>
                    </a:lnTo>
                    <a:lnTo>
                      <a:pt x="756" y="143"/>
                    </a:lnTo>
                    <a:lnTo>
                      <a:pt x="763" y="115"/>
                    </a:lnTo>
                    <a:lnTo>
                      <a:pt x="746" y="112"/>
                    </a:lnTo>
                    <a:lnTo>
                      <a:pt x="757" y="87"/>
                    </a:lnTo>
                    <a:lnTo>
                      <a:pt x="751" y="65"/>
                    </a:lnTo>
                    <a:lnTo>
                      <a:pt x="747" y="33"/>
                    </a:lnTo>
                    <a:lnTo>
                      <a:pt x="727" y="19"/>
                    </a:lnTo>
                    <a:lnTo>
                      <a:pt x="727" y="3"/>
                    </a:lnTo>
                    <a:lnTo>
                      <a:pt x="4" y="0"/>
                    </a:lnTo>
                    <a:lnTo>
                      <a:pt x="0" y="15"/>
                    </a:lnTo>
                    <a:lnTo>
                      <a:pt x="4" y="33"/>
                    </a:lnTo>
                    <a:lnTo>
                      <a:pt x="49" y="42"/>
                    </a:lnTo>
                    <a:lnTo>
                      <a:pt x="57" y="30"/>
                    </a:lnTo>
                    <a:lnTo>
                      <a:pt x="118" y="34"/>
                    </a:lnTo>
                    <a:lnTo>
                      <a:pt x="172" y="61"/>
                    </a:lnTo>
                    <a:lnTo>
                      <a:pt x="172" y="7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59" name="Freeform 320">
                <a:extLst>
                  <a:ext uri="{FF2B5EF4-FFF2-40B4-BE49-F238E27FC236}">
                    <a16:creationId xmlns:a16="http://schemas.microsoft.com/office/drawing/2014/main" id="{B34B1DCA-6EE7-44AC-AA3B-534684039BE1}"/>
                  </a:ext>
                </a:extLst>
              </p:cNvPr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gray">
              <a:xfrm>
                <a:off x="4113213" y="3079750"/>
                <a:ext cx="79375" cy="171450"/>
              </a:xfrm>
              <a:custGeom>
                <a:avLst/>
                <a:gdLst>
                  <a:gd name="T0" fmla="*/ 9 w 50"/>
                  <a:gd name="T1" fmla="*/ 0 h 111"/>
                  <a:gd name="T2" fmla="*/ 25 w 50"/>
                  <a:gd name="T3" fmla="*/ 17 h 111"/>
                  <a:gd name="T4" fmla="*/ 46 w 50"/>
                  <a:gd name="T5" fmla="*/ 20 h 111"/>
                  <a:gd name="T6" fmla="*/ 46 w 50"/>
                  <a:gd name="T7" fmla="*/ 33 h 111"/>
                  <a:gd name="T8" fmla="*/ 40 w 50"/>
                  <a:gd name="T9" fmla="*/ 47 h 111"/>
                  <a:gd name="T10" fmla="*/ 28 w 50"/>
                  <a:gd name="T11" fmla="*/ 111 h 111"/>
                  <a:gd name="T12" fmla="*/ 4 w 50"/>
                  <a:gd name="T13" fmla="*/ 86 h 111"/>
                  <a:gd name="T14" fmla="*/ 9 w 50"/>
                  <a:gd name="T15" fmla="*/ 63 h 111"/>
                  <a:gd name="T16" fmla="*/ 7 w 50"/>
                  <a:gd name="T17" fmla="*/ 12 h 111"/>
                  <a:gd name="T18" fmla="*/ 9 w 50"/>
                  <a:gd name="T1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111">
                    <a:moveTo>
                      <a:pt x="9" y="0"/>
                    </a:moveTo>
                    <a:cubicBezTo>
                      <a:pt x="12" y="1"/>
                      <a:pt x="19" y="14"/>
                      <a:pt x="25" y="17"/>
                    </a:cubicBezTo>
                    <a:cubicBezTo>
                      <a:pt x="31" y="20"/>
                      <a:pt x="42" y="17"/>
                      <a:pt x="46" y="20"/>
                    </a:cubicBezTo>
                    <a:cubicBezTo>
                      <a:pt x="50" y="25"/>
                      <a:pt x="49" y="27"/>
                      <a:pt x="46" y="33"/>
                    </a:cubicBezTo>
                    <a:cubicBezTo>
                      <a:pt x="45" y="39"/>
                      <a:pt x="43" y="42"/>
                      <a:pt x="40" y="47"/>
                    </a:cubicBezTo>
                    <a:cubicBezTo>
                      <a:pt x="38" y="68"/>
                      <a:pt x="41" y="93"/>
                      <a:pt x="28" y="111"/>
                    </a:cubicBezTo>
                    <a:cubicBezTo>
                      <a:pt x="3" y="109"/>
                      <a:pt x="16" y="103"/>
                      <a:pt x="4" y="86"/>
                    </a:cubicBezTo>
                    <a:cubicBezTo>
                      <a:pt x="2" y="77"/>
                      <a:pt x="0" y="68"/>
                      <a:pt x="9" y="63"/>
                    </a:cubicBezTo>
                    <a:cubicBezTo>
                      <a:pt x="10" y="41"/>
                      <a:pt x="15" y="31"/>
                      <a:pt x="7" y="12"/>
                    </a:cubicBezTo>
                    <a:cubicBezTo>
                      <a:pt x="8" y="8"/>
                      <a:pt x="9" y="0"/>
                      <a:pt x="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60" name="Freeform 331">
                <a:extLst>
                  <a:ext uri="{FF2B5EF4-FFF2-40B4-BE49-F238E27FC236}">
                    <a16:creationId xmlns:a16="http://schemas.microsoft.com/office/drawing/2014/main" id="{A2101AA0-BEF4-41CA-A975-04AE00A196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64376" y="4445423"/>
                <a:ext cx="929381" cy="826665"/>
              </a:xfrm>
              <a:custGeom>
                <a:avLst/>
                <a:gdLst/>
                <a:ahLst/>
                <a:cxnLst/>
                <a:rect l="l" t="t" r="r" b="b"/>
                <a:pathLst>
                  <a:path w="929381" h="826665">
                    <a:moveTo>
                      <a:pt x="693000" y="752264"/>
                    </a:moveTo>
                    <a:cubicBezTo>
                      <a:pt x="698193" y="754675"/>
                      <a:pt x="703711" y="759498"/>
                      <a:pt x="709229" y="760531"/>
                    </a:cubicBezTo>
                    <a:cubicBezTo>
                      <a:pt x="711826" y="761909"/>
                      <a:pt x="717993" y="762598"/>
                      <a:pt x="717993" y="762598"/>
                    </a:cubicBezTo>
                    <a:cubicBezTo>
                      <a:pt x="721239" y="764320"/>
                      <a:pt x="725459" y="763975"/>
                      <a:pt x="729029" y="764664"/>
                    </a:cubicBezTo>
                    <a:cubicBezTo>
                      <a:pt x="734547" y="767075"/>
                      <a:pt x="739741" y="765353"/>
                      <a:pt x="746233" y="765353"/>
                    </a:cubicBezTo>
                    <a:cubicBezTo>
                      <a:pt x="747856" y="764320"/>
                      <a:pt x="749154" y="763631"/>
                      <a:pt x="751102" y="763287"/>
                    </a:cubicBezTo>
                    <a:cubicBezTo>
                      <a:pt x="753049" y="761564"/>
                      <a:pt x="756295" y="759842"/>
                      <a:pt x="758892" y="759153"/>
                    </a:cubicBezTo>
                    <a:cubicBezTo>
                      <a:pt x="762138" y="757431"/>
                      <a:pt x="766033" y="758120"/>
                      <a:pt x="769603" y="758464"/>
                    </a:cubicBezTo>
                    <a:cubicBezTo>
                      <a:pt x="770577" y="763287"/>
                      <a:pt x="771226" y="768109"/>
                      <a:pt x="768954" y="772931"/>
                    </a:cubicBezTo>
                    <a:cubicBezTo>
                      <a:pt x="768305" y="776720"/>
                      <a:pt x="768305" y="780509"/>
                      <a:pt x="767007" y="783954"/>
                    </a:cubicBezTo>
                    <a:cubicBezTo>
                      <a:pt x="766682" y="786709"/>
                      <a:pt x="765059" y="788776"/>
                      <a:pt x="763111" y="790498"/>
                    </a:cubicBezTo>
                    <a:cubicBezTo>
                      <a:pt x="761813" y="792909"/>
                      <a:pt x="761489" y="795320"/>
                      <a:pt x="760190" y="797731"/>
                    </a:cubicBezTo>
                    <a:cubicBezTo>
                      <a:pt x="759866" y="799798"/>
                      <a:pt x="758892" y="800832"/>
                      <a:pt x="758243" y="802554"/>
                    </a:cubicBezTo>
                    <a:cubicBezTo>
                      <a:pt x="757593" y="805654"/>
                      <a:pt x="758892" y="809443"/>
                      <a:pt x="755321" y="810132"/>
                    </a:cubicBezTo>
                    <a:cubicBezTo>
                      <a:pt x="752238" y="811337"/>
                      <a:pt x="750777" y="810993"/>
                      <a:pt x="745584" y="811854"/>
                    </a:cubicBezTo>
                    <a:lnTo>
                      <a:pt x="740390" y="815987"/>
                    </a:lnTo>
                    <a:cubicBezTo>
                      <a:pt x="739416" y="817021"/>
                      <a:pt x="739416" y="816676"/>
                      <a:pt x="737793" y="818054"/>
                    </a:cubicBezTo>
                    <a:cubicBezTo>
                      <a:pt x="736170" y="819432"/>
                      <a:pt x="735521" y="822187"/>
                      <a:pt x="733574" y="823565"/>
                    </a:cubicBezTo>
                    <a:cubicBezTo>
                      <a:pt x="732600" y="825632"/>
                      <a:pt x="732275" y="826321"/>
                      <a:pt x="730003" y="826665"/>
                    </a:cubicBezTo>
                    <a:cubicBezTo>
                      <a:pt x="719292" y="826321"/>
                      <a:pt x="720915" y="826665"/>
                      <a:pt x="714423" y="822532"/>
                    </a:cubicBezTo>
                    <a:cubicBezTo>
                      <a:pt x="712800" y="820121"/>
                      <a:pt x="711826" y="818743"/>
                      <a:pt x="709554" y="817365"/>
                    </a:cubicBezTo>
                    <a:cubicBezTo>
                      <a:pt x="707931" y="814954"/>
                      <a:pt x="707606" y="813576"/>
                      <a:pt x="704685" y="812887"/>
                    </a:cubicBezTo>
                    <a:cubicBezTo>
                      <a:pt x="702088" y="810821"/>
                      <a:pt x="699167" y="806343"/>
                      <a:pt x="697869" y="802898"/>
                    </a:cubicBezTo>
                    <a:cubicBezTo>
                      <a:pt x="697544" y="799454"/>
                      <a:pt x="696570" y="794976"/>
                      <a:pt x="700465" y="794287"/>
                    </a:cubicBezTo>
                    <a:cubicBezTo>
                      <a:pt x="702413" y="793254"/>
                      <a:pt x="701764" y="792220"/>
                      <a:pt x="700790" y="790154"/>
                    </a:cubicBezTo>
                    <a:cubicBezTo>
                      <a:pt x="700465" y="787742"/>
                      <a:pt x="699167" y="785676"/>
                      <a:pt x="697544" y="783954"/>
                    </a:cubicBezTo>
                    <a:cubicBezTo>
                      <a:pt x="696570" y="781542"/>
                      <a:pt x="695272" y="779820"/>
                      <a:pt x="693974" y="777753"/>
                    </a:cubicBezTo>
                    <a:cubicBezTo>
                      <a:pt x="693649" y="775342"/>
                      <a:pt x="693000" y="774998"/>
                      <a:pt x="691052" y="773964"/>
                    </a:cubicBezTo>
                    <a:cubicBezTo>
                      <a:pt x="690728" y="771553"/>
                      <a:pt x="690403" y="770864"/>
                      <a:pt x="688780" y="769487"/>
                    </a:cubicBezTo>
                    <a:cubicBezTo>
                      <a:pt x="687806" y="767075"/>
                      <a:pt x="687482" y="764664"/>
                      <a:pt x="687157" y="762253"/>
                    </a:cubicBezTo>
                    <a:cubicBezTo>
                      <a:pt x="687806" y="758464"/>
                      <a:pt x="687157" y="756053"/>
                      <a:pt x="689754" y="753986"/>
                    </a:cubicBezTo>
                    <a:cubicBezTo>
                      <a:pt x="691052" y="751575"/>
                      <a:pt x="690079" y="752264"/>
                      <a:pt x="693000" y="752264"/>
                    </a:cubicBezTo>
                    <a:close/>
                    <a:moveTo>
                      <a:pt x="0" y="395067"/>
                    </a:moveTo>
                    <a:cubicBezTo>
                      <a:pt x="1288" y="397374"/>
                      <a:pt x="2497" y="399746"/>
                      <a:pt x="3037" y="402446"/>
                    </a:cubicBezTo>
                    <a:cubicBezTo>
                      <a:pt x="891" y="400845"/>
                      <a:pt x="184" y="395849"/>
                      <a:pt x="0" y="395067"/>
                    </a:cubicBezTo>
                    <a:close/>
                    <a:moveTo>
                      <a:pt x="681395" y="757"/>
                    </a:moveTo>
                    <a:cubicBezTo>
                      <a:pt x="682613" y="-1224"/>
                      <a:pt x="686183" y="671"/>
                      <a:pt x="694623" y="6526"/>
                    </a:cubicBezTo>
                    <a:cubicBezTo>
                      <a:pt x="698193" y="12382"/>
                      <a:pt x="697869" y="15826"/>
                      <a:pt x="704036" y="18237"/>
                    </a:cubicBezTo>
                    <a:cubicBezTo>
                      <a:pt x="705984" y="38216"/>
                      <a:pt x="704036" y="29604"/>
                      <a:pt x="708905" y="44760"/>
                    </a:cubicBezTo>
                    <a:cubicBezTo>
                      <a:pt x="710528" y="49582"/>
                      <a:pt x="713449" y="59572"/>
                      <a:pt x="713449" y="59572"/>
                    </a:cubicBezTo>
                    <a:cubicBezTo>
                      <a:pt x="715072" y="70938"/>
                      <a:pt x="713774" y="91606"/>
                      <a:pt x="725784" y="96083"/>
                    </a:cubicBezTo>
                    <a:cubicBezTo>
                      <a:pt x="736820" y="91950"/>
                      <a:pt x="731951" y="88161"/>
                      <a:pt x="740065" y="90917"/>
                    </a:cubicBezTo>
                    <a:cubicBezTo>
                      <a:pt x="743636" y="97117"/>
                      <a:pt x="747206" y="96428"/>
                      <a:pt x="750777" y="102628"/>
                    </a:cubicBezTo>
                    <a:cubicBezTo>
                      <a:pt x="751426" y="108484"/>
                      <a:pt x="751426" y="114684"/>
                      <a:pt x="752400" y="120539"/>
                    </a:cubicBezTo>
                    <a:cubicBezTo>
                      <a:pt x="753049" y="123984"/>
                      <a:pt x="755646" y="130529"/>
                      <a:pt x="755646" y="130529"/>
                    </a:cubicBezTo>
                    <a:cubicBezTo>
                      <a:pt x="756295" y="136384"/>
                      <a:pt x="758892" y="146718"/>
                      <a:pt x="760839" y="152573"/>
                    </a:cubicBezTo>
                    <a:cubicBezTo>
                      <a:pt x="762787" y="158429"/>
                      <a:pt x="766357" y="162907"/>
                      <a:pt x="767980" y="167040"/>
                    </a:cubicBezTo>
                    <a:cubicBezTo>
                      <a:pt x="768954" y="170485"/>
                      <a:pt x="771226" y="173585"/>
                      <a:pt x="771226" y="177029"/>
                    </a:cubicBezTo>
                    <a:cubicBezTo>
                      <a:pt x="771551" y="187363"/>
                      <a:pt x="770577" y="198041"/>
                      <a:pt x="772524" y="208374"/>
                    </a:cubicBezTo>
                    <a:cubicBezTo>
                      <a:pt x="772849" y="210441"/>
                      <a:pt x="775770" y="210441"/>
                      <a:pt x="777393" y="211475"/>
                    </a:cubicBezTo>
                    <a:cubicBezTo>
                      <a:pt x="784859" y="216641"/>
                      <a:pt x="792649" y="218708"/>
                      <a:pt x="800764" y="221464"/>
                    </a:cubicBezTo>
                    <a:cubicBezTo>
                      <a:pt x="803685" y="223875"/>
                      <a:pt x="807580" y="225253"/>
                      <a:pt x="810177" y="228008"/>
                    </a:cubicBezTo>
                    <a:lnTo>
                      <a:pt x="813098" y="233132"/>
                    </a:lnTo>
                    <a:cubicBezTo>
                      <a:pt x="812855" y="233433"/>
                      <a:pt x="812936" y="233175"/>
                      <a:pt x="817967" y="234897"/>
                    </a:cubicBezTo>
                    <a:cubicBezTo>
                      <a:pt x="821538" y="240753"/>
                      <a:pt x="824134" y="242820"/>
                      <a:pt x="830302" y="244542"/>
                    </a:cubicBezTo>
                    <a:cubicBezTo>
                      <a:pt x="837118" y="249709"/>
                      <a:pt x="834521" y="251431"/>
                      <a:pt x="830302" y="257975"/>
                    </a:cubicBezTo>
                    <a:cubicBezTo>
                      <a:pt x="834846" y="262798"/>
                      <a:pt x="837442" y="267620"/>
                      <a:pt x="842636" y="271065"/>
                    </a:cubicBezTo>
                    <a:cubicBezTo>
                      <a:pt x="843610" y="282087"/>
                      <a:pt x="840364" y="293798"/>
                      <a:pt x="850426" y="297587"/>
                    </a:cubicBezTo>
                    <a:cubicBezTo>
                      <a:pt x="859190" y="294487"/>
                      <a:pt x="862761" y="299999"/>
                      <a:pt x="870875" y="302410"/>
                    </a:cubicBezTo>
                    <a:cubicBezTo>
                      <a:pt x="875744" y="305165"/>
                      <a:pt x="869901" y="315499"/>
                      <a:pt x="876718" y="325488"/>
                    </a:cubicBezTo>
                    <a:cubicBezTo>
                      <a:pt x="883534" y="335477"/>
                      <a:pt x="904957" y="354422"/>
                      <a:pt x="911449" y="362000"/>
                    </a:cubicBezTo>
                    <a:cubicBezTo>
                      <a:pt x="917616" y="369233"/>
                      <a:pt x="912423" y="360966"/>
                      <a:pt x="915020" y="370955"/>
                    </a:cubicBezTo>
                    <a:cubicBezTo>
                      <a:pt x="917941" y="370267"/>
                      <a:pt x="928328" y="356488"/>
                      <a:pt x="929301" y="358211"/>
                    </a:cubicBezTo>
                    <a:cubicBezTo>
                      <a:pt x="930275" y="359933"/>
                      <a:pt x="922160" y="371300"/>
                      <a:pt x="920538" y="381289"/>
                    </a:cubicBezTo>
                    <a:cubicBezTo>
                      <a:pt x="918915" y="391278"/>
                      <a:pt x="918590" y="406089"/>
                      <a:pt x="919564" y="417456"/>
                    </a:cubicBezTo>
                    <a:cubicBezTo>
                      <a:pt x="920538" y="428823"/>
                      <a:pt x="926380" y="437090"/>
                      <a:pt x="925406" y="450179"/>
                    </a:cubicBezTo>
                    <a:cubicBezTo>
                      <a:pt x="924108" y="463268"/>
                      <a:pt x="914046" y="483247"/>
                      <a:pt x="912747" y="495991"/>
                    </a:cubicBezTo>
                    <a:cubicBezTo>
                      <a:pt x="908528" y="509425"/>
                      <a:pt x="903983" y="523547"/>
                      <a:pt x="900413" y="530781"/>
                    </a:cubicBezTo>
                    <a:cubicBezTo>
                      <a:pt x="897816" y="534225"/>
                      <a:pt x="893921" y="535948"/>
                      <a:pt x="891000" y="539048"/>
                    </a:cubicBezTo>
                    <a:cubicBezTo>
                      <a:pt x="888728" y="545592"/>
                      <a:pt x="890675" y="551103"/>
                      <a:pt x="884833" y="553515"/>
                    </a:cubicBezTo>
                    <a:cubicBezTo>
                      <a:pt x="880613" y="560059"/>
                      <a:pt x="871849" y="562126"/>
                      <a:pt x="867629" y="568670"/>
                    </a:cubicBezTo>
                    <a:cubicBezTo>
                      <a:pt x="865357" y="576248"/>
                      <a:pt x="863734" y="576248"/>
                      <a:pt x="857242" y="578660"/>
                    </a:cubicBezTo>
                    <a:cubicBezTo>
                      <a:pt x="854321" y="582104"/>
                      <a:pt x="854970" y="587271"/>
                      <a:pt x="852698" y="592093"/>
                    </a:cubicBezTo>
                    <a:cubicBezTo>
                      <a:pt x="850426" y="596915"/>
                      <a:pt x="847505" y="601738"/>
                      <a:pt x="844259" y="606905"/>
                    </a:cubicBezTo>
                    <a:cubicBezTo>
                      <a:pt x="841987" y="614138"/>
                      <a:pt x="841013" y="620683"/>
                      <a:pt x="833547" y="623438"/>
                    </a:cubicBezTo>
                    <a:cubicBezTo>
                      <a:pt x="830626" y="627572"/>
                      <a:pt x="828354" y="623094"/>
                      <a:pt x="825757" y="631705"/>
                    </a:cubicBezTo>
                    <a:cubicBezTo>
                      <a:pt x="823810" y="639627"/>
                      <a:pt x="823161" y="667528"/>
                      <a:pt x="817967" y="676139"/>
                    </a:cubicBezTo>
                    <a:cubicBezTo>
                      <a:pt x="816020" y="684062"/>
                      <a:pt x="798167" y="683717"/>
                      <a:pt x="794597" y="684406"/>
                    </a:cubicBezTo>
                    <a:cubicBezTo>
                      <a:pt x="787131" y="686817"/>
                      <a:pt x="777069" y="684062"/>
                      <a:pt x="769603" y="686817"/>
                    </a:cubicBezTo>
                    <a:cubicBezTo>
                      <a:pt x="762138" y="689573"/>
                      <a:pt x="755321" y="697151"/>
                      <a:pt x="749154" y="700940"/>
                    </a:cubicBezTo>
                    <a:cubicBezTo>
                      <a:pt x="741688" y="706451"/>
                      <a:pt x="742662" y="707140"/>
                      <a:pt x="732924" y="710584"/>
                    </a:cubicBezTo>
                    <a:cubicBezTo>
                      <a:pt x="727731" y="710929"/>
                      <a:pt x="722862" y="706106"/>
                      <a:pt x="717993" y="702662"/>
                    </a:cubicBezTo>
                    <a:lnTo>
                      <a:pt x="710406" y="693921"/>
                    </a:lnTo>
                    <a:cubicBezTo>
                      <a:pt x="709310" y="692759"/>
                      <a:pt x="708418" y="692328"/>
                      <a:pt x="704036" y="689573"/>
                    </a:cubicBezTo>
                    <a:cubicBezTo>
                      <a:pt x="698031" y="691360"/>
                      <a:pt x="704360" y="689487"/>
                      <a:pt x="694623" y="694395"/>
                    </a:cubicBezTo>
                    <a:cubicBezTo>
                      <a:pt x="688131" y="697495"/>
                      <a:pt x="672550" y="706795"/>
                      <a:pt x="665085" y="707484"/>
                    </a:cubicBezTo>
                    <a:cubicBezTo>
                      <a:pt x="655347" y="705418"/>
                      <a:pt x="660540" y="707484"/>
                      <a:pt x="649504" y="699217"/>
                    </a:cubicBezTo>
                    <a:cubicBezTo>
                      <a:pt x="639442" y="696117"/>
                      <a:pt x="646583" y="697840"/>
                      <a:pt x="627757" y="696117"/>
                    </a:cubicBezTo>
                    <a:cubicBezTo>
                      <a:pt x="621914" y="691640"/>
                      <a:pt x="615747" y="690262"/>
                      <a:pt x="608931" y="687851"/>
                    </a:cubicBezTo>
                    <a:cubicBezTo>
                      <a:pt x="602439" y="683028"/>
                      <a:pt x="600816" y="675106"/>
                      <a:pt x="593350" y="673039"/>
                    </a:cubicBezTo>
                    <a:lnTo>
                      <a:pt x="590683" y="668637"/>
                    </a:lnTo>
                    <a:cubicBezTo>
                      <a:pt x="589496" y="666602"/>
                      <a:pt x="592052" y="669509"/>
                      <a:pt x="592052" y="657883"/>
                    </a:cubicBezTo>
                    <a:cubicBezTo>
                      <a:pt x="592052" y="646516"/>
                      <a:pt x="582963" y="633772"/>
                      <a:pt x="573226" y="629983"/>
                    </a:cubicBezTo>
                    <a:cubicBezTo>
                      <a:pt x="572252" y="628260"/>
                      <a:pt x="571927" y="625505"/>
                      <a:pt x="569980" y="624816"/>
                    </a:cubicBezTo>
                    <a:cubicBezTo>
                      <a:pt x="566085" y="623094"/>
                      <a:pt x="561216" y="630672"/>
                      <a:pt x="557645" y="628260"/>
                    </a:cubicBezTo>
                    <a:cubicBezTo>
                      <a:pt x="555049" y="626538"/>
                      <a:pt x="561865" y="617583"/>
                      <a:pt x="565436" y="615171"/>
                    </a:cubicBezTo>
                    <a:cubicBezTo>
                      <a:pt x="564137" y="606905"/>
                      <a:pt x="561865" y="602771"/>
                      <a:pt x="559268" y="595193"/>
                    </a:cubicBezTo>
                    <a:cubicBezTo>
                      <a:pt x="558295" y="596915"/>
                      <a:pt x="557321" y="598638"/>
                      <a:pt x="556022" y="600015"/>
                    </a:cubicBezTo>
                    <a:cubicBezTo>
                      <a:pt x="554724" y="601049"/>
                      <a:pt x="552452" y="600360"/>
                      <a:pt x="551478" y="601738"/>
                    </a:cubicBezTo>
                    <a:cubicBezTo>
                      <a:pt x="544013" y="610005"/>
                      <a:pt x="556347" y="604838"/>
                      <a:pt x="545311" y="608282"/>
                    </a:cubicBezTo>
                    <a:lnTo>
                      <a:pt x="543688" y="616549"/>
                    </a:lnTo>
                    <a:lnTo>
                      <a:pt x="532693" y="617927"/>
                    </a:lnTo>
                    <a:cubicBezTo>
                      <a:pt x="530948" y="616377"/>
                      <a:pt x="530542" y="613277"/>
                      <a:pt x="529731" y="610005"/>
                    </a:cubicBezTo>
                    <a:cubicBezTo>
                      <a:pt x="534275" y="608282"/>
                      <a:pt x="541091" y="611382"/>
                      <a:pt x="543688" y="606905"/>
                    </a:cubicBezTo>
                    <a:cubicBezTo>
                      <a:pt x="546934" y="603804"/>
                      <a:pt x="543039" y="599327"/>
                      <a:pt x="545636" y="591749"/>
                    </a:cubicBezTo>
                    <a:cubicBezTo>
                      <a:pt x="547259" y="586582"/>
                      <a:pt x="552127" y="581071"/>
                      <a:pt x="554400" y="576248"/>
                    </a:cubicBezTo>
                    <a:lnTo>
                      <a:pt x="559268" y="562126"/>
                    </a:lnTo>
                    <a:lnTo>
                      <a:pt x="556469" y="552352"/>
                    </a:lnTo>
                    <a:cubicBezTo>
                      <a:pt x="555860" y="551706"/>
                      <a:pt x="554887" y="553515"/>
                      <a:pt x="551478" y="557304"/>
                    </a:cubicBezTo>
                    <a:lnTo>
                      <a:pt x="548800" y="566044"/>
                    </a:lnTo>
                    <a:cubicBezTo>
                      <a:pt x="548232" y="567206"/>
                      <a:pt x="547259" y="567637"/>
                      <a:pt x="543688" y="570393"/>
                    </a:cubicBezTo>
                    <a:cubicBezTo>
                      <a:pt x="541091" y="577626"/>
                      <a:pt x="538495" y="576937"/>
                      <a:pt x="532652" y="580382"/>
                    </a:cubicBezTo>
                    <a:cubicBezTo>
                      <a:pt x="529406" y="582448"/>
                      <a:pt x="523239" y="586926"/>
                      <a:pt x="523239" y="586926"/>
                    </a:cubicBezTo>
                    <a:cubicBezTo>
                      <a:pt x="516422" y="597604"/>
                      <a:pt x="518045" y="596915"/>
                      <a:pt x="507659" y="600015"/>
                    </a:cubicBezTo>
                    <a:cubicBezTo>
                      <a:pt x="503114" y="608282"/>
                      <a:pt x="500193" y="608627"/>
                      <a:pt x="493701" y="601738"/>
                    </a:cubicBezTo>
                    <a:cubicBezTo>
                      <a:pt x="490780" y="587615"/>
                      <a:pt x="490780" y="572115"/>
                      <a:pt x="476498" y="566948"/>
                    </a:cubicBezTo>
                    <a:cubicBezTo>
                      <a:pt x="471304" y="561437"/>
                      <a:pt x="468059" y="559715"/>
                      <a:pt x="470331" y="552137"/>
                    </a:cubicBezTo>
                    <a:cubicBezTo>
                      <a:pt x="466760" y="541803"/>
                      <a:pt x="470655" y="548348"/>
                      <a:pt x="453127" y="545592"/>
                    </a:cubicBezTo>
                    <a:cubicBezTo>
                      <a:pt x="447934" y="543870"/>
                      <a:pt x="445013" y="538703"/>
                      <a:pt x="439819" y="537325"/>
                    </a:cubicBezTo>
                    <a:cubicBezTo>
                      <a:pt x="434626" y="535948"/>
                      <a:pt x="426836" y="539392"/>
                      <a:pt x="421967" y="537325"/>
                    </a:cubicBezTo>
                    <a:cubicBezTo>
                      <a:pt x="419045" y="532503"/>
                      <a:pt x="409632" y="525614"/>
                      <a:pt x="409632" y="525614"/>
                    </a:cubicBezTo>
                    <a:cubicBezTo>
                      <a:pt x="390482" y="526303"/>
                      <a:pt x="369708" y="521136"/>
                      <a:pt x="351855" y="529059"/>
                    </a:cubicBezTo>
                    <a:cubicBezTo>
                      <a:pt x="348609" y="530436"/>
                      <a:pt x="346337" y="534225"/>
                      <a:pt x="342767" y="535603"/>
                    </a:cubicBezTo>
                    <a:cubicBezTo>
                      <a:pt x="339521" y="536636"/>
                      <a:pt x="336600" y="538014"/>
                      <a:pt x="333354" y="539048"/>
                    </a:cubicBezTo>
                    <a:cubicBezTo>
                      <a:pt x="320046" y="543870"/>
                      <a:pt x="291157" y="545592"/>
                      <a:pt x="291157" y="545592"/>
                    </a:cubicBezTo>
                    <a:cubicBezTo>
                      <a:pt x="283367" y="548348"/>
                      <a:pt x="273954" y="550415"/>
                      <a:pt x="267462" y="555926"/>
                    </a:cubicBezTo>
                    <a:cubicBezTo>
                      <a:pt x="259347" y="560059"/>
                      <a:pt x="249934" y="558337"/>
                      <a:pt x="243767" y="563159"/>
                    </a:cubicBezTo>
                    <a:cubicBezTo>
                      <a:pt x="242469" y="565226"/>
                      <a:pt x="234029" y="583137"/>
                      <a:pt x="230459" y="585204"/>
                    </a:cubicBezTo>
                    <a:cubicBezTo>
                      <a:pt x="214878" y="588993"/>
                      <a:pt x="167813" y="583137"/>
                      <a:pt x="149311" y="585204"/>
                    </a:cubicBezTo>
                    <a:cubicBezTo>
                      <a:pt x="132757" y="585893"/>
                      <a:pt x="136003" y="596227"/>
                      <a:pt x="131134" y="598293"/>
                    </a:cubicBezTo>
                    <a:cubicBezTo>
                      <a:pt x="126265" y="600360"/>
                      <a:pt x="124967" y="596227"/>
                      <a:pt x="119773" y="598638"/>
                    </a:cubicBezTo>
                    <a:cubicBezTo>
                      <a:pt x="114255" y="599671"/>
                      <a:pt x="109062" y="611038"/>
                      <a:pt x="99649" y="613449"/>
                    </a:cubicBezTo>
                    <a:cubicBezTo>
                      <a:pt x="90236" y="615860"/>
                      <a:pt x="72059" y="614827"/>
                      <a:pt x="63619" y="613449"/>
                    </a:cubicBezTo>
                    <a:cubicBezTo>
                      <a:pt x="53233" y="605871"/>
                      <a:pt x="58101" y="608282"/>
                      <a:pt x="49662" y="605182"/>
                    </a:cubicBezTo>
                    <a:cubicBezTo>
                      <a:pt x="45442" y="597604"/>
                      <a:pt x="42521" y="596915"/>
                      <a:pt x="34082" y="595193"/>
                    </a:cubicBezTo>
                    <a:cubicBezTo>
                      <a:pt x="33108" y="592093"/>
                      <a:pt x="28564" y="583482"/>
                      <a:pt x="32459" y="580382"/>
                    </a:cubicBezTo>
                    <a:cubicBezTo>
                      <a:pt x="36678" y="577282"/>
                      <a:pt x="42196" y="576593"/>
                      <a:pt x="46741" y="573837"/>
                    </a:cubicBezTo>
                    <a:lnTo>
                      <a:pt x="51285" y="563848"/>
                    </a:lnTo>
                    <a:cubicBezTo>
                      <a:pt x="50960" y="560404"/>
                      <a:pt x="48039" y="553859"/>
                      <a:pt x="48039" y="553859"/>
                    </a:cubicBezTo>
                    <a:cubicBezTo>
                      <a:pt x="50960" y="545592"/>
                      <a:pt x="52583" y="537325"/>
                      <a:pt x="49662" y="529059"/>
                    </a:cubicBezTo>
                    <a:cubicBezTo>
                      <a:pt x="47390" y="522514"/>
                      <a:pt x="45118" y="519069"/>
                      <a:pt x="40249" y="514247"/>
                    </a:cubicBezTo>
                    <a:cubicBezTo>
                      <a:pt x="39275" y="510803"/>
                      <a:pt x="36678" y="507703"/>
                      <a:pt x="35705" y="504258"/>
                    </a:cubicBezTo>
                    <a:cubicBezTo>
                      <a:pt x="32783" y="491169"/>
                      <a:pt x="35055" y="477391"/>
                      <a:pt x="31160" y="464646"/>
                    </a:cubicBezTo>
                    <a:cubicBezTo>
                      <a:pt x="28888" y="456724"/>
                      <a:pt x="22721" y="452246"/>
                      <a:pt x="20124" y="444668"/>
                    </a:cubicBezTo>
                    <a:cubicBezTo>
                      <a:pt x="17852" y="437435"/>
                      <a:pt x="16554" y="431234"/>
                      <a:pt x="12334" y="425034"/>
                    </a:cubicBezTo>
                    <a:lnTo>
                      <a:pt x="3037" y="402446"/>
                    </a:lnTo>
                    <a:cubicBezTo>
                      <a:pt x="4102" y="404212"/>
                      <a:pt x="6140" y="403876"/>
                      <a:pt x="9088" y="398512"/>
                    </a:cubicBezTo>
                    <a:cubicBezTo>
                      <a:pt x="10711" y="395756"/>
                      <a:pt x="8115" y="391967"/>
                      <a:pt x="7790" y="388522"/>
                    </a:cubicBezTo>
                    <a:cubicBezTo>
                      <a:pt x="11584" y="383571"/>
                      <a:pt x="12497" y="393000"/>
                      <a:pt x="13957" y="395067"/>
                    </a:cubicBezTo>
                    <a:cubicBezTo>
                      <a:pt x="14931" y="396445"/>
                      <a:pt x="16878" y="396100"/>
                      <a:pt x="18501" y="396789"/>
                    </a:cubicBezTo>
                    <a:cubicBezTo>
                      <a:pt x="28888" y="393000"/>
                      <a:pt x="23370" y="382667"/>
                      <a:pt x="18501" y="375433"/>
                    </a:cubicBezTo>
                    <a:cubicBezTo>
                      <a:pt x="16229" y="368544"/>
                      <a:pt x="13308" y="369233"/>
                      <a:pt x="7790" y="365444"/>
                    </a:cubicBezTo>
                    <a:cubicBezTo>
                      <a:pt x="7141" y="363722"/>
                      <a:pt x="6492" y="362000"/>
                      <a:pt x="6167" y="360277"/>
                    </a:cubicBezTo>
                    <a:cubicBezTo>
                      <a:pt x="5518" y="358211"/>
                      <a:pt x="5193" y="355800"/>
                      <a:pt x="4544" y="353733"/>
                    </a:cubicBezTo>
                    <a:cubicBezTo>
                      <a:pt x="3570" y="350288"/>
                      <a:pt x="1298" y="343744"/>
                      <a:pt x="1298" y="343744"/>
                    </a:cubicBezTo>
                    <a:cubicBezTo>
                      <a:pt x="2596" y="333066"/>
                      <a:pt x="5842" y="329277"/>
                      <a:pt x="11036" y="321010"/>
                    </a:cubicBezTo>
                    <a:cubicBezTo>
                      <a:pt x="13957" y="309988"/>
                      <a:pt x="8764" y="285187"/>
                      <a:pt x="20124" y="281054"/>
                    </a:cubicBezTo>
                    <a:cubicBezTo>
                      <a:pt x="17528" y="289665"/>
                      <a:pt x="12334" y="297243"/>
                      <a:pt x="23370" y="301032"/>
                    </a:cubicBezTo>
                    <a:cubicBezTo>
                      <a:pt x="29537" y="290009"/>
                      <a:pt x="33757" y="284154"/>
                      <a:pt x="44469" y="276576"/>
                    </a:cubicBezTo>
                    <a:cubicBezTo>
                      <a:pt x="49662" y="271065"/>
                      <a:pt x="51285" y="270376"/>
                      <a:pt x="54531" y="267965"/>
                    </a:cubicBezTo>
                    <a:cubicBezTo>
                      <a:pt x="57777" y="265898"/>
                      <a:pt x="63619" y="261076"/>
                      <a:pt x="63619" y="261076"/>
                    </a:cubicBezTo>
                    <a:cubicBezTo>
                      <a:pt x="65892" y="254531"/>
                      <a:pt x="70436" y="255564"/>
                      <a:pt x="76603" y="253842"/>
                    </a:cubicBezTo>
                    <a:cubicBezTo>
                      <a:pt x="83744" y="248331"/>
                      <a:pt x="88288" y="248331"/>
                      <a:pt x="96403" y="251431"/>
                    </a:cubicBezTo>
                    <a:cubicBezTo>
                      <a:pt x="99973" y="250742"/>
                      <a:pt x="103869" y="250742"/>
                      <a:pt x="107439" y="249709"/>
                    </a:cubicBezTo>
                    <a:cubicBezTo>
                      <a:pt x="109062" y="249020"/>
                      <a:pt x="110685" y="247642"/>
                      <a:pt x="111983" y="246264"/>
                    </a:cubicBezTo>
                    <a:cubicBezTo>
                      <a:pt x="113282" y="244886"/>
                      <a:pt x="113606" y="242131"/>
                      <a:pt x="115229" y="241442"/>
                    </a:cubicBezTo>
                    <a:cubicBezTo>
                      <a:pt x="120098" y="239720"/>
                      <a:pt x="125616" y="240408"/>
                      <a:pt x="130810" y="239720"/>
                    </a:cubicBezTo>
                    <a:cubicBezTo>
                      <a:pt x="136003" y="238342"/>
                      <a:pt x="140223" y="236275"/>
                      <a:pt x="146714" y="235242"/>
                    </a:cubicBezTo>
                    <a:cubicBezTo>
                      <a:pt x="153206" y="234208"/>
                      <a:pt x="163269" y="235242"/>
                      <a:pt x="169760" y="233175"/>
                    </a:cubicBezTo>
                    <a:cubicBezTo>
                      <a:pt x="178849" y="230419"/>
                      <a:pt x="181121" y="226975"/>
                      <a:pt x="185341" y="223186"/>
                    </a:cubicBezTo>
                    <a:cubicBezTo>
                      <a:pt x="190534" y="219397"/>
                      <a:pt x="192482" y="216297"/>
                      <a:pt x="194754" y="210097"/>
                    </a:cubicBezTo>
                    <a:cubicBezTo>
                      <a:pt x="198324" y="206308"/>
                      <a:pt x="198973" y="198730"/>
                      <a:pt x="202219" y="195285"/>
                    </a:cubicBezTo>
                    <a:cubicBezTo>
                      <a:pt x="205465" y="191841"/>
                      <a:pt x="213580" y="194596"/>
                      <a:pt x="214878" y="190119"/>
                    </a:cubicBezTo>
                    <a:cubicBezTo>
                      <a:pt x="216501" y="186330"/>
                      <a:pt x="209360" y="172896"/>
                      <a:pt x="210659" y="167385"/>
                    </a:cubicBezTo>
                    <a:cubicBezTo>
                      <a:pt x="211957" y="161874"/>
                      <a:pt x="218773" y="158429"/>
                      <a:pt x="222669" y="157051"/>
                    </a:cubicBezTo>
                    <a:lnTo>
                      <a:pt x="228389" y="147751"/>
                    </a:lnTo>
                    <a:cubicBezTo>
                      <a:pt x="230378" y="148354"/>
                      <a:pt x="232406" y="152229"/>
                      <a:pt x="234354" y="158085"/>
                    </a:cubicBezTo>
                    <a:cubicBezTo>
                      <a:pt x="235977" y="162907"/>
                      <a:pt x="240521" y="170485"/>
                      <a:pt x="242144" y="175307"/>
                    </a:cubicBezTo>
                    <a:cubicBezTo>
                      <a:pt x="244741" y="177718"/>
                      <a:pt x="244741" y="173240"/>
                      <a:pt x="246039" y="171174"/>
                    </a:cubicBezTo>
                    <a:cubicBezTo>
                      <a:pt x="247337" y="169107"/>
                      <a:pt x="249934" y="167040"/>
                      <a:pt x="249285" y="163596"/>
                    </a:cubicBezTo>
                    <a:cubicBezTo>
                      <a:pt x="254478" y="154985"/>
                      <a:pt x="249609" y="154985"/>
                      <a:pt x="242793" y="150507"/>
                    </a:cubicBezTo>
                    <a:lnTo>
                      <a:pt x="244391" y="143935"/>
                    </a:lnTo>
                    <a:cubicBezTo>
                      <a:pt x="245471" y="141142"/>
                      <a:pt x="246688" y="147407"/>
                      <a:pt x="263242" y="142240"/>
                    </a:cubicBezTo>
                    <a:cubicBezTo>
                      <a:pt x="268111" y="140862"/>
                      <a:pt x="269409" y="127428"/>
                      <a:pt x="269409" y="127428"/>
                    </a:cubicBezTo>
                    <a:lnTo>
                      <a:pt x="266164" y="122262"/>
                    </a:lnTo>
                    <a:cubicBezTo>
                      <a:pt x="267787" y="119851"/>
                      <a:pt x="271357" y="121573"/>
                      <a:pt x="273954" y="120539"/>
                    </a:cubicBezTo>
                    <a:cubicBezTo>
                      <a:pt x="275577" y="119851"/>
                      <a:pt x="277200" y="118473"/>
                      <a:pt x="278823" y="117439"/>
                    </a:cubicBezTo>
                    <a:cubicBezTo>
                      <a:pt x="280121" y="116750"/>
                      <a:pt x="281744" y="116406"/>
                      <a:pt x="283367" y="115717"/>
                    </a:cubicBezTo>
                    <a:cubicBezTo>
                      <a:pt x="284665" y="111584"/>
                      <a:pt x="284341" y="106417"/>
                      <a:pt x="286613" y="102628"/>
                    </a:cubicBezTo>
                    <a:cubicBezTo>
                      <a:pt x="288560" y="99528"/>
                      <a:pt x="293105" y="99528"/>
                      <a:pt x="296026" y="97461"/>
                    </a:cubicBezTo>
                    <a:cubicBezTo>
                      <a:pt x="298298" y="88850"/>
                      <a:pt x="304465" y="88505"/>
                      <a:pt x="311606" y="86094"/>
                    </a:cubicBezTo>
                    <a:cubicBezTo>
                      <a:pt x="314528" y="85061"/>
                      <a:pt x="320695" y="82650"/>
                      <a:pt x="320695" y="82650"/>
                    </a:cubicBezTo>
                    <a:cubicBezTo>
                      <a:pt x="325564" y="75416"/>
                      <a:pt x="324265" y="79894"/>
                      <a:pt x="331406" y="82650"/>
                    </a:cubicBezTo>
                    <a:cubicBezTo>
                      <a:pt x="339196" y="94361"/>
                      <a:pt x="351531" y="101250"/>
                      <a:pt x="364514" y="105728"/>
                    </a:cubicBezTo>
                    <a:cubicBezTo>
                      <a:pt x="372305" y="109517"/>
                      <a:pt x="381068" y="108828"/>
                      <a:pt x="384314" y="106072"/>
                    </a:cubicBezTo>
                    <a:cubicBezTo>
                      <a:pt x="387236" y="104350"/>
                      <a:pt x="382042" y="97806"/>
                      <a:pt x="382042" y="95050"/>
                    </a:cubicBezTo>
                    <a:cubicBezTo>
                      <a:pt x="382042" y="92294"/>
                      <a:pt x="383341" y="90917"/>
                      <a:pt x="384639" y="89194"/>
                    </a:cubicBezTo>
                    <a:cubicBezTo>
                      <a:pt x="385937" y="85750"/>
                      <a:pt x="385937" y="87472"/>
                      <a:pt x="389183" y="84372"/>
                    </a:cubicBezTo>
                    <a:lnTo>
                      <a:pt x="393727" y="73350"/>
                    </a:lnTo>
                    <a:cubicBezTo>
                      <a:pt x="396000" y="71283"/>
                      <a:pt x="401518" y="73350"/>
                      <a:pt x="403465" y="70938"/>
                    </a:cubicBezTo>
                    <a:lnTo>
                      <a:pt x="398840" y="61035"/>
                    </a:lnTo>
                    <a:cubicBezTo>
                      <a:pt x="398272" y="59658"/>
                      <a:pt x="399732" y="59399"/>
                      <a:pt x="406386" y="57849"/>
                    </a:cubicBezTo>
                    <a:cubicBezTo>
                      <a:pt x="409632" y="52683"/>
                      <a:pt x="415800" y="44760"/>
                      <a:pt x="420668" y="43038"/>
                    </a:cubicBezTo>
                    <a:cubicBezTo>
                      <a:pt x="422941" y="39249"/>
                      <a:pt x="422616" y="37182"/>
                      <a:pt x="427809" y="37871"/>
                    </a:cubicBezTo>
                    <a:lnTo>
                      <a:pt x="435600" y="42005"/>
                    </a:lnTo>
                    <a:cubicBezTo>
                      <a:pt x="442416" y="41316"/>
                      <a:pt x="453777" y="41316"/>
                      <a:pt x="459619" y="37871"/>
                    </a:cubicBezTo>
                    <a:cubicBezTo>
                      <a:pt x="462216" y="36149"/>
                      <a:pt x="460268" y="30638"/>
                      <a:pt x="457996" y="28227"/>
                    </a:cubicBezTo>
                    <a:cubicBezTo>
                      <a:pt x="455724" y="25815"/>
                      <a:pt x="451829" y="27193"/>
                      <a:pt x="448583" y="26504"/>
                    </a:cubicBezTo>
                    <a:lnTo>
                      <a:pt x="441630" y="20170"/>
                    </a:lnTo>
                    <a:cubicBezTo>
                      <a:pt x="438784" y="15762"/>
                      <a:pt x="447122" y="16343"/>
                      <a:pt x="456373" y="14793"/>
                    </a:cubicBezTo>
                    <a:cubicBezTo>
                      <a:pt x="461242" y="15826"/>
                      <a:pt x="467085" y="14793"/>
                      <a:pt x="470331" y="18237"/>
                    </a:cubicBezTo>
                    <a:cubicBezTo>
                      <a:pt x="472786" y="24179"/>
                      <a:pt x="466517" y="21079"/>
                      <a:pt x="476498" y="26504"/>
                    </a:cubicBezTo>
                    <a:cubicBezTo>
                      <a:pt x="481691" y="28571"/>
                      <a:pt x="489482" y="35804"/>
                      <a:pt x="498895" y="36838"/>
                    </a:cubicBezTo>
                    <a:cubicBezTo>
                      <a:pt x="506360" y="38905"/>
                      <a:pt x="515124" y="40627"/>
                      <a:pt x="520642" y="39938"/>
                    </a:cubicBezTo>
                    <a:cubicBezTo>
                      <a:pt x="526160" y="39249"/>
                      <a:pt x="529082" y="33738"/>
                      <a:pt x="532652" y="33049"/>
                    </a:cubicBezTo>
                    <a:cubicBezTo>
                      <a:pt x="536223" y="31671"/>
                      <a:pt x="537845" y="35460"/>
                      <a:pt x="541741" y="35804"/>
                    </a:cubicBezTo>
                    <a:cubicBezTo>
                      <a:pt x="545636" y="36149"/>
                      <a:pt x="554075" y="32360"/>
                      <a:pt x="556022" y="34771"/>
                    </a:cubicBezTo>
                    <a:cubicBezTo>
                      <a:pt x="559918" y="37527"/>
                      <a:pt x="555049" y="44760"/>
                      <a:pt x="554400" y="49582"/>
                    </a:cubicBezTo>
                    <a:cubicBezTo>
                      <a:pt x="553101" y="57849"/>
                      <a:pt x="551478" y="64738"/>
                      <a:pt x="545311" y="69561"/>
                    </a:cubicBezTo>
                    <a:lnTo>
                      <a:pt x="546822" y="76428"/>
                    </a:lnTo>
                    <a:cubicBezTo>
                      <a:pt x="548253" y="80045"/>
                      <a:pt x="549774" y="76105"/>
                      <a:pt x="554400" y="84372"/>
                    </a:cubicBezTo>
                    <a:cubicBezTo>
                      <a:pt x="554075" y="87817"/>
                      <a:pt x="555373" y="91950"/>
                      <a:pt x="553101" y="94361"/>
                    </a:cubicBezTo>
                    <a:cubicBezTo>
                      <a:pt x="546609" y="101250"/>
                      <a:pt x="545960" y="88161"/>
                      <a:pt x="545311" y="87472"/>
                    </a:cubicBezTo>
                    <a:cubicBezTo>
                      <a:pt x="544013" y="85750"/>
                      <a:pt x="542065" y="85405"/>
                      <a:pt x="540442" y="84372"/>
                    </a:cubicBezTo>
                    <a:cubicBezTo>
                      <a:pt x="535898" y="89194"/>
                      <a:pt x="531354" y="90917"/>
                      <a:pt x="529731" y="97461"/>
                    </a:cubicBezTo>
                    <a:cubicBezTo>
                      <a:pt x="528108" y="100906"/>
                      <a:pt x="524213" y="103661"/>
                      <a:pt x="524537" y="106417"/>
                    </a:cubicBezTo>
                    <a:cubicBezTo>
                      <a:pt x="524862" y="109173"/>
                      <a:pt x="527459" y="110895"/>
                      <a:pt x="531029" y="113995"/>
                    </a:cubicBezTo>
                    <a:cubicBezTo>
                      <a:pt x="532652" y="120195"/>
                      <a:pt x="545311" y="125706"/>
                      <a:pt x="545311" y="125706"/>
                    </a:cubicBezTo>
                    <a:cubicBezTo>
                      <a:pt x="550829" y="130184"/>
                      <a:pt x="555049" y="132940"/>
                      <a:pt x="565436" y="137418"/>
                    </a:cubicBezTo>
                    <a:cubicBezTo>
                      <a:pt x="572901" y="142240"/>
                      <a:pt x="582963" y="150507"/>
                      <a:pt x="590429" y="153951"/>
                    </a:cubicBezTo>
                    <a:cubicBezTo>
                      <a:pt x="597895" y="157396"/>
                      <a:pt x="606983" y="156362"/>
                      <a:pt x="610554" y="158774"/>
                    </a:cubicBezTo>
                    <a:cubicBezTo>
                      <a:pt x="611852" y="159807"/>
                      <a:pt x="610878" y="166696"/>
                      <a:pt x="612177" y="168074"/>
                    </a:cubicBezTo>
                    <a:cubicBezTo>
                      <a:pt x="614449" y="170485"/>
                      <a:pt x="616721" y="167040"/>
                      <a:pt x="618344" y="170140"/>
                    </a:cubicBezTo>
                    <a:cubicBezTo>
                      <a:pt x="621265" y="175996"/>
                      <a:pt x="621265" y="174963"/>
                      <a:pt x="626134" y="178407"/>
                    </a:cubicBezTo>
                    <a:cubicBezTo>
                      <a:pt x="637170" y="177718"/>
                      <a:pt x="647557" y="181507"/>
                      <a:pt x="651127" y="170140"/>
                    </a:cubicBezTo>
                    <a:cubicBezTo>
                      <a:pt x="652426" y="160496"/>
                      <a:pt x="655347" y="150162"/>
                      <a:pt x="660865" y="142240"/>
                    </a:cubicBezTo>
                    <a:cubicBezTo>
                      <a:pt x="664111" y="128117"/>
                      <a:pt x="664760" y="137073"/>
                      <a:pt x="667357" y="113306"/>
                    </a:cubicBezTo>
                    <a:cubicBezTo>
                      <a:pt x="668006" y="107106"/>
                      <a:pt x="666708" y="100906"/>
                      <a:pt x="666708" y="100906"/>
                    </a:cubicBezTo>
                    <a:cubicBezTo>
                      <a:pt x="668980" y="68527"/>
                      <a:pt x="665734" y="85061"/>
                      <a:pt x="669954" y="70938"/>
                    </a:cubicBezTo>
                    <a:cubicBezTo>
                      <a:pt x="671252" y="66116"/>
                      <a:pt x="674498" y="56127"/>
                      <a:pt x="674498" y="56127"/>
                    </a:cubicBezTo>
                    <a:cubicBezTo>
                      <a:pt x="675147" y="48549"/>
                      <a:pt x="674822" y="40627"/>
                      <a:pt x="676121" y="33049"/>
                    </a:cubicBezTo>
                    <a:cubicBezTo>
                      <a:pt x="677095" y="27882"/>
                      <a:pt x="682288" y="18237"/>
                      <a:pt x="682288" y="182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61" name="Freeform 339">
                <a:extLst>
                  <a:ext uri="{FF2B5EF4-FFF2-40B4-BE49-F238E27FC236}">
                    <a16:creationId xmlns:a16="http://schemas.microsoft.com/office/drawing/2014/main" id="{8E2576D9-C5C7-4AF0-97EA-7716CF5F6D22}"/>
                  </a:ext>
                </a:extLst>
              </p:cNvPr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gray">
              <a:xfrm>
                <a:off x="7436423" y="2984730"/>
                <a:ext cx="366140" cy="446343"/>
              </a:xfrm>
              <a:custGeom>
                <a:avLst/>
                <a:gdLst/>
                <a:ahLst/>
                <a:cxnLst/>
                <a:rect l="l" t="t" r="r" b="b"/>
                <a:pathLst>
                  <a:path w="366140" h="446343">
                    <a:moveTo>
                      <a:pt x="278678" y="132903"/>
                    </a:moveTo>
                    <a:cubicBezTo>
                      <a:pt x="281307" y="132784"/>
                      <a:pt x="283589" y="133643"/>
                      <a:pt x="285177" y="135934"/>
                    </a:cubicBezTo>
                    <a:cubicBezTo>
                      <a:pt x="291527" y="145098"/>
                      <a:pt x="294702" y="187863"/>
                      <a:pt x="296289" y="203136"/>
                    </a:cubicBezTo>
                    <a:cubicBezTo>
                      <a:pt x="297877" y="218409"/>
                      <a:pt x="299464" y="215354"/>
                      <a:pt x="296289" y="224518"/>
                    </a:cubicBezTo>
                    <a:cubicBezTo>
                      <a:pt x="293114" y="233682"/>
                      <a:pt x="286764" y="242846"/>
                      <a:pt x="282002" y="256592"/>
                    </a:cubicBezTo>
                    <a:cubicBezTo>
                      <a:pt x="275652" y="270338"/>
                      <a:pt x="269302" y="299356"/>
                      <a:pt x="262952" y="310048"/>
                    </a:cubicBezTo>
                    <a:cubicBezTo>
                      <a:pt x="256602" y="320739"/>
                      <a:pt x="250252" y="316157"/>
                      <a:pt x="243902" y="320739"/>
                    </a:cubicBezTo>
                    <a:cubicBezTo>
                      <a:pt x="237552" y="325321"/>
                      <a:pt x="228027" y="332957"/>
                      <a:pt x="226439" y="337539"/>
                    </a:cubicBezTo>
                    <a:cubicBezTo>
                      <a:pt x="224852" y="342121"/>
                      <a:pt x="239139" y="352812"/>
                      <a:pt x="235964" y="352812"/>
                    </a:cubicBezTo>
                    <a:cubicBezTo>
                      <a:pt x="232789" y="352812"/>
                      <a:pt x="218502" y="337539"/>
                      <a:pt x="210564" y="334485"/>
                    </a:cubicBezTo>
                    <a:cubicBezTo>
                      <a:pt x="202627" y="331430"/>
                      <a:pt x="189927" y="331430"/>
                      <a:pt x="183577" y="332957"/>
                    </a:cubicBezTo>
                    <a:cubicBezTo>
                      <a:pt x="177227" y="334485"/>
                      <a:pt x="172464" y="340594"/>
                      <a:pt x="167702" y="346703"/>
                    </a:cubicBezTo>
                    <a:cubicBezTo>
                      <a:pt x="162939" y="352812"/>
                      <a:pt x="161352" y="363504"/>
                      <a:pt x="155002" y="366558"/>
                    </a:cubicBezTo>
                    <a:cubicBezTo>
                      <a:pt x="148652" y="369613"/>
                      <a:pt x="137539" y="369613"/>
                      <a:pt x="129602" y="369613"/>
                    </a:cubicBezTo>
                    <a:cubicBezTo>
                      <a:pt x="121664" y="369613"/>
                      <a:pt x="113727" y="363504"/>
                      <a:pt x="105789" y="365031"/>
                    </a:cubicBezTo>
                    <a:cubicBezTo>
                      <a:pt x="97852" y="366558"/>
                      <a:pt x="93089" y="374195"/>
                      <a:pt x="85152" y="380304"/>
                    </a:cubicBezTo>
                    <a:cubicBezTo>
                      <a:pt x="77214" y="386413"/>
                      <a:pt x="62927" y="392523"/>
                      <a:pt x="56577" y="401686"/>
                    </a:cubicBezTo>
                    <a:cubicBezTo>
                      <a:pt x="50227" y="412378"/>
                      <a:pt x="50227" y="442924"/>
                      <a:pt x="42289" y="445979"/>
                    </a:cubicBezTo>
                    <a:cubicBezTo>
                      <a:pt x="34352" y="449033"/>
                      <a:pt x="10539" y="432233"/>
                      <a:pt x="4189" y="420014"/>
                    </a:cubicBezTo>
                    <a:cubicBezTo>
                      <a:pt x="-2161" y="407796"/>
                      <a:pt x="-573" y="386413"/>
                      <a:pt x="4189" y="374195"/>
                    </a:cubicBezTo>
                    <a:cubicBezTo>
                      <a:pt x="8952" y="361976"/>
                      <a:pt x="23239" y="351285"/>
                      <a:pt x="32764" y="343649"/>
                    </a:cubicBezTo>
                    <a:cubicBezTo>
                      <a:pt x="42289" y="336012"/>
                      <a:pt x="53402" y="337539"/>
                      <a:pt x="61339" y="332957"/>
                    </a:cubicBezTo>
                    <a:cubicBezTo>
                      <a:pt x="69277" y="328375"/>
                      <a:pt x="70864" y="314630"/>
                      <a:pt x="85152" y="311575"/>
                    </a:cubicBezTo>
                    <a:cubicBezTo>
                      <a:pt x="97852" y="308520"/>
                      <a:pt x="135952" y="314630"/>
                      <a:pt x="150239" y="310048"/>
                    </a:cubicBezTo>
                    <a:cubicBezTo>
                      <a:pt x="164527" y="305466"/>
                      <a:pt x="170877" y="294775"/>
                      <a:pt x="174052" y="288665"/>
                    </a:cubicBezTo>
                    <a:cubicBezTo>
                      <a:pt x="177227" y="281029"/>
                      <a:pt x="167702" y="264228"/>
                      <a:pt x="174052" y="261174"/>
                    </a:cubicBezTo>
                    <a:cubicBezTo>
                      <a:pt x="180402" y="258119"/>
                      <a:pt x="199452" y="270338"/>
                      <a:pt x="207389" y="267283"/>
                    </a:cubicBezTo>
                    <a:cubicBezTo>
                      <a:pt x="215327" y="264228"/>
                      <a:pt x="213739" y="244373"/>
                      <a:pt x="220089" y="238264"/>
                    </a:cubicBezTo>
                    <a:cubicBezTo>
                      <a:pt x="226439" y="232155"/>
                      <a:pt x="240727" y="242846"/>
                      <a:pt x="245489" y="233682"/>
                    </a:cubicBezTo>
                    <a:cubicBezTo>
                      <a:pt x="250252" y="224518"/>
                      <a:pt x="247077" y="198554"/>
                      <a:pt x="248664" y="184808"/>
                    </a:cubicBezTo>
                    <a:cubicBezTo>
                      <a:pt x="250252" y="172590"/>
                      <a:pt x="248664" y="155789"/>
                      <a:pt x="255014" y="148153"/>
                    </a:cubicBezTo>
                    <a:cubicBezTo>
                      <a:pt x="259777" y="142425"/>
                      <a:pt x="270790" y="133261"/>
                      <a:pt x="278678" y="132903"/>
                    </a:cubicBezTo>
                    <a:close/>
                    <a:moveTo>
                      <a:pt x="266560" y="2495"/>
                    </a:moveTo>
                    <a:lnTo>
                      <a:pt x="264539" y="2723"/>
                    </a:lnTo>
                    <a:cubicBezTo>
                      <a:pt x="263055" y="2723"/>
                      <a:pt x="264193" y="2574"/>
                      <a:pt x="266560" y="2495"/>
                    </a:cubicBezTo>
                    <a:close/>
                    <a:moveTo>
                      <a:pt x="285177" y="425"/>
                    </a:moveTo>
                    <a:cubicBezTo>
                      <a:pt x="294702" y="-341"/>
                      <a:pt x="305021" y="-341"/>
                      <a:pt x="310577" y="2723"/>
                    </a:cubicBezTo>
                    <a:cubicBezTo>
                      <a:pt x="321690" y="8852"/>
                      <a:pt x="324865" y="34898"/>
                      <a:pt x="334390" y="41027"/>
                    </a:cubicBezTo>
                    <a:cubicBezTo>
                      <a:pt x="343915" y="47155"/>
                      <a:pt x="361377" y="33366"/>
                      <a:pt x="366140" y="36430"/>
                    </a:cubicBezTo>
                    <a:cubicBezTo>
                      <a:pt x="370902" y="39494"/>
                      <a:pt x="370902" y="53284"/>
                      <a:pt x="366140" y="60944"/>
                    </a:cubicBezTo>
                    <a:cubicBezTo>
                      <a:pt x="361377" y="68605"/>
                      <a:pt x="347090" y="77798"/>
                      <a:pt x="339152" y="83926"/>
                    </a:cubicBezTo>
                    <a:cubicBezTo>
                      <a:pt x="331215" y="90055"/>
                      <a:pt x="329627" y="97715"/>
                      <a:pt x="320102" y="97715"/>
                    </a:cubicBezTo>
                    <a:cubicBezTo>
                      <a:pt x="310577" y="97715"/>
                      <a:pt x="283589" y="85458"/>
                      <a:pt x="277239" y="88523"/>
                    </a:cubicBezTo>
                    <a:cubicBezTo>
                      <a:pt x="272477" y="91587"/>
                      <a:pt x="285177" y="106908"/>
                      <a:pt x="280414" y="113037"/>
                    </a:cubicBezTo>
                    <a:cubicBezTo>
                      <a:pt x="275652" y="119165"/>
                      <a:pt x="258189" y="128358"/>
                      <a:pt x="250252" y="125294"/>
                    </a:cubicBezTo>
                    <a:cubicBezTo>
                      <a:pt x="242314" y="122229"/>
                      <a:pt x="232789" y="105376"/>
                      <a:pt x="234377" y="94651"/>
                    </a:cubicBezTo>
                    <a:cubicBezTo>
                      <a:pt x="235964" y="83926"/>
                      <a:pt x="255014" y="74733"/>
                      <a:pt x="262952" y="62476"/>
                    </a:cubicBezTo>
                    <a:cubicBezTo>
                      <a:pt x="270889" y="50219"/>
                      <a:pt x="278827" y="31834"/>
                      <a:pt x="282002" y="22641"/>
                    </a:cubicBezTo>
                    <a:cubicBezTo>
                      <a:pt x="285177" y="13448"/>
                      <a:pt x="288352" y="7320"/>
                      <a:pt x="285177" y="4256"/>
                    </a:cubicBezTo>
                    <a:cubicBezTo>
                      <a:pt x="282992" y="2147"/>
                      <a:pt x="271782" y="2215"/>
                      <a:pt x="266560" y="2495"/>
                    </a:cubicBezTo>
                    <a:cubicBezTo>
                      <a:pt x="270296" y="2164"/>
                      <a:pt x="277477" y="1044"/>
                      <a:pt x="285177" y="42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62" name="Freeform 404">
                <a:extLst>
                  <a:ext uri="{FF2B5EF4-FFF2-40B4-BE49-F238E27FC236}">
                    <a16:creationId xmlns:a16="http://schemas.microsoft.com/office/drawing/2014/main" id="{E80C36F3-4E62-40B8-8AD5-A2D1886EDF44}"/>
                  </a:ext>
                </a:extLst>
              </p:cNvPr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gray">
              <a:xfrm>
                <a:off x="2578101" y="3917950"/>
                <a:ext cx="323850" cy="254000"/>
              </a:xfrm>
              <a:custGeom>
                <a:avLst/>
                <a:gdLst>
                  <a:gd name="T0" fmla="*/ 18 w 200"/>
                  <a:gd name="T1" fmla="*/ 4 h 160"/>
                  <a:gd name="T2" fmla="*/ 16 w 200"/>
                  <a:gd name="T3" fmla="*/ 25 h 160"/>
                  <a:gd name="T4" fmla="*/ 30 w 200"/>
                  <a:gd name="T5" fmla="*/ 36 h 160"/>
                  <a:gd name="T6" fmla="*/ 31 w 200"/>
                  <a:gd name="T7" fmla="*/ 13 h 160"/>
                  <a:gd name="T8" fmla="*/ 51 w 200"/>
                  <a:gd name="T9" fmla="*/ 9 h 160"/>
                  <a:gd name="T10" fmla="*/ 69 w 200"/>
                  <a:gd name="T11" fmla="*/ 3 h 160"/>
                  <a:gd name="T12" fmla="*/ 93 w 200"/>
                  <a:gd name="T13" fmla="*/ 16 h 160"/>
                  <a:gd name="T14" fmla="*/ 117 w 200"/>
                  <a:gd name="T15" fmla="*/ 21 h 160"/>
                  <a:gd name="T16" fmla="*/ 133 w 200"/>
                  <a:gd name="T17" fmla="*/ 12 h 160"/>
                  <a:gd name="T18" fmla="*/ 154 w 200"/>
                  <a:gd name="T19" fmla="*/ 18 h 160"/>
                  <a:gd name="T20" fmla="*/ 174 w 200"/>
                  <a:gd name="T21" fmla="*/ 27 h 160"/>
                  <a:gd name="T22" fmla="*/ 186 w 200"/>
                  <a:gd name="T23" fmla="*/ 37 h 160"/>
                  <a:gd name="T24" fmla="*/ 189 w 200"/>
                  <a:gd name="T25" fmla="*/ 57 h 160"/>
                  <a:gd name="T26" fmla="*/ 181 w 200"/>
                  <a:gd name="T27" fmla="*/ 72 h 160"/>
                  <a:gd name="T28" fmla="*/ 178 w 200"/>
                  <a:gd name="T29" fmla="*/ 87 h 160"/>
                  <a:gd name="T30" fmla="*/ 175 w 200"/>
                  <a:gd name="T31" fmla="*/ 100 h 160"/>
                  <a:gd name="T32" fmla="*/ 162 w 200"/>
                  <a:gd name="T33" fmla="*/ 115 h 160"/>
                  <a:gd name="T34" fmla="*/ 135 w 200"/>
                  <a:gd name="T35" fmla="*/ 120 h 160"/>
                  <a:gd name="T36" fmla="*/ 135 w 200"/>
                  <a:gd name="T37" fmla="*/ 135 h 160"/>
                  <a:gd name="T38" fmla="*/ 129 w 200"/>
                  <a:gd name="T39" fmla="*/ 151 h 160"/>
                  <a:gd name="T40" fmla="*/ 124 w 200"/>
                  <a:gd name="T41" fmla="*/ 157 h 160"/>
                  <a:gd name="T42" fmla="*/ 106 w 200"/>
                  <a:gd name="T43" fmla="*/ 159 h 160"/>
                  <a:gd name="T44" fmla="*/ 82 w 200"/>
                  <a:gd name="T45" fmla="*/ 148 h 160"/>
                  <a:gd name="T46" fmla="*/ 84 w 200"/>
                  <a:gd name="T47" fmla="*/ 136 h 160"/>
                  <a:gd name="T48" fmla="*/ 82 w 200"/>
                  <a:gd name="T49" fmla="*/ 87 h 160"/>
                  <a:gd name="T50" fmla="*/ 61 w 200"/>
                  <a:gd name="T51" fmla="*/ 82 h 160"/>
                  <a:gd name="T52" fmla="*/ 43 w 200"/>
                  <a:gd name="T53" fmla="*/ 73 h 160"/>
                  <a:gd name="T54" fmla="*/ 30 w 200"/>
                  <a:gd name="T55" fmla="*/ 63 h 160"/>
                  <a:gd name="T56" fmla="*/ 18 w 200"/>
                  <a:gd name="T57" fmla="*/ 57 h 160"/>
                  <a:gd name="T58" fmla="*/ 6 w 200"/>
                  <a:gd name="T59" fmla="*/ 37 h 160"/>
                  <a:gd name="T60" fmla="*/ 0 w 200"/>
                  <a:gd name="T61" fmla="*/ 22 h 160"/>
                  <a:gd name="T62" fmla="*/ 15 w 200"/>
                  <a:gd name="T63" fmla="*/ 6 h 160"/>
                  <a:gd name="T64" fmla="*/ 24 w 200"/>
                  <a:gd name="T65" fmla="*/ 1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0" h="160">
                    <a:moveTo>
                      <a:pt x="18" y="4"/>
                    </a:moveTo>
                    <a:cubicBezTo>
                      <a:pt x="23" y="12"/>
                      <a:pt x="31" y="23"/>
                      <a:pt x="16" y="25"/>
                    </a:cubicBezTo>
                    <a:cubicBezTo>
                      <a:pt x="13" y="39"/>
                      <a:pt x="15" y="37"/>
                      <a:pt x="30" y="36"/>
                    </a:cubicBezTo>
                    <a:cubicBezTo>
                      <a:pt x="30" y="28"/>
                      <a:pt x="27" y="20"/>
                      <a:pt x="31" y="13"/>
                    </a:cubicBezTo>
                    <a:cubicBezTo>
                      <a:pt x="35" y="7"/>
                      <a:pt x="51" y="9"/>
                      <a:pt x="51" y="9"/>
                    </a:cubicBezTo>
                    <a:cubicBezTo>
                      <a:pt x="59" y="3"/>
                      <a:pt x="57" y="0"/>
                      <a:pt x="69" y="3"/>
                    </a:cubicBezTo>
                    <a:cubicBezTo>
                      <a:pt x="71" y="22"/>
                      <a:pt x="73" y="18"/>
                      <a:pt x="93" y="16"/>
                    </a:cubicBezTo>
                    <a:cubicBezTo>
                      <a:pt x="111" y="20"/>
                      <a:pt x="103" y="18"/>
                      <a:pt x="117" y="21"/>
                    </a:cubicBezTo>
                    <a:cubicBezTo>
                      <a:pt x="127" y="19"/>
                      <a:pt x="126" y="17"/>
                      <a:pt x="133" y="12"/>
                    </a:cubicBezTo>
                    <a:cubicBezTo>
                      <a:pt x="143" y="13"/>
                      <a:pt x="147" y="12"/>
                      <a:pt x="154" y="18"/>
                    </a:cubicBezTo>
                    <a:cubicBezTo>
                      <a:pt x="158" y="26"/>
                      <a:pt x="166" y="25"/>
                      <a:pt x="174" y="27"/>
                    </a:cubicBezTo>
                    <a:cubicBezTo>
                      <a:pt x="175" y="35"/>
                      <a:pt x="178" y="36"/>
                      <a:pt x="186" y="37"/>
                    </a:cubicBezTo>
                    <a:cubicBezTo>
                      <a:pt x="196" y="42"/>
                      <a:pt x="200" y="55"/>
                      <a:pt x="189" y="57"/>
                    </a:cubicBezTo>
                    <a:cubicBezTo>
                      <a:pt x="188" y="75"/>
                      <a:pt x="189" y="62"/>
                      <a:pt x="181" y="72"/>
                    </a:cubicBezTo>
                    <a:cubicBezTo>
                      <a:pt x="179" y="77"/>
                      <a:pt x="179" y="82"/>
                      <a:pt x="178" y="87"/>
                    </a:cubicBezTo>
                    <a:cubicBezTo>
                      <a:pt x="177" y="92"/>
                      <a:pt x="178" y="95"/>
                      <a:pt x="175" y="100"/>
                    </a:cubicBezTo>
                    <a:cubicBezTo>
                      <a:pt x="172" y="105"/>
                      <a:pt x="169" y="112"/>
                      <a:pt x="162" y="115"/>
                    </a:cubicBezTo>
                    <a:cubicBezTo>
                      <a:pt x="152" y="115"/>
                      <a:pt x="146" y="116"/>
                      <a:pt x="135" y="120"/>
                    </a:cubicBezTo>
                    <a:cubicBezTo>
                      <a:pt x="136" y="126"/>
                      <a:pt x="132" y="129"/>
                      <a:pt x="135" y="135"/>
                    </a:cubicBezTo>
                    <a:cubicBezTo>
                      <a:pt x="134" y="140"/>
                      <a:pt x="131" y="148"/>
                      <a:pt x="129" y="151"/>
                    </a:cubicBezTo>
                    <a:cubicBezTo>
                      <a:pt x="127" y="154"/>
                      <a:pt x="128" y="156"/>
                      <a:pt x="124" y="157"/>
                    </a:cubicBezTo>
                    <a:cubicBezTo>
                      <a:pt x="120" y="158"/>
                      <a:pt x="113" y="160"/>
                      <a:pt x="106" y="159"/>
                    </a:cubicBezTo>
                    <a:cubicBezTo>
                      <a:pt x="99" y="158"/>
                      <a:pt x="86" y="152"/>
                      <a:pt x="82" y="148"/>
                    </a:cubicBezTo>
                    <a:cubicBezTo>
                      <a:pt x="78" y="144"/>
                      <a:pt x="84" y="146"/>
                      <a:pt x="84" y="136"/>
                    </a:cubicBezTo>
                    <a:cubicBezTo>
                      <a:pt x="81" y="125"/>
                      <a:pt x="86" y="96"/>
                      <a:pt x="82" y="87"/>
                    </a:cubicBezTo>
                    <a:cubicBezTo>
                      <a:pt x="78" y="78"/>
                      <a:pt x="67" y="84"/>
                      <a:pt x="61" y="82"/>
                    </a:cubicBezTo>
                    <a:cubicBezTo>
                      <a:pt x="55" y="78"/>
                      <a:pt x="49" y="77"/>
                      <a:pt x="43" y="73"/>
                    </a:cubicBezTo>
                    <a:cubicBezTo>
                      <a:pt x="37" y="69"/>
                      <a:pt x="37" y="64"/>
                      <a:pt x="30" y="63"/>
                    </a:cubicBezTo>
                    <a:cubicBezTo>
                      <a:pt x="23" y="60"/>
                      <a:pt x="25" y="61"/>
                      <a:pt x="18" y="57"/>
                    </a:cubicBezTo>
                    <a:cubicBezTo>
                      <a:pt x="15" y="52"/>
                      <a:pt x="11" y="40"/>
                      <a:pt x="6" y="37"/>
                    </a:cubicBezTo>
                    <a:cubicBezTo>
                      <a:pt x="3" y="32"/>
                      <a:pt x="1" y="28"/>
                      <a:pt x="0" y="22"/>
                    </a:cubicBezTo>
                    <a:cubicBezTo>
                      <a:pt x="2" y="13"/>
                      <a:pt x="6" y="8"/>
                      <a:pt x="15" y="6"/>
                    </a:cubicBezTo>
                    <a:cubicBezTo>
                      <a:pt x="16" y="16"/>
                      <a:pt x="14" y="13"/>
                      <a:pt x="24" y="13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63" name="Freeform 405">
                <a:extLst>
                  <a:ext uri="{FF2B5EF4-FFF2-40B4-BE49-F238E27FC236}">
                    <a16:creationId xmlns:a16="http://schemas.microsoft.com/office/drawing/2014/main" id="{0036AA23-1C43-4084-AD47-59A6732D1BA4}"/>
                  </a:ext>
                </a:extLst>
              </p:cNvPr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gray">
              <a:xfrm>
                <a:off x="3005138" y="4038600"/>
                <a:ext cx="104775" cy="96838"/>
              </a:xfrm>
              <a:custGeom>
                <a:avLst/>
                <a:gdLst>
                  <a:gd name="T0" fmla="*/ 15 w 65"/>
                  <a:gd name="T1" fmla="*/ 56 h 61"/>
                  <a:gd name="T2" fmla="*/ 57 w 65"/>
                  <a:gd name="T3" fmla="*/ 45 h 61"/>
                  <a:gd name="T4" fmla="*/ 36 w 65"/>
                  <a:gd name="T5" fmla="*/ 12 h 61"/>
                  <a:gd name="T6" fmla="*/ 15 w 65"/>
                  <a:gd name="T7" fmla="*/ 56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" h="61">
                    <a:moveTo>
                      <a:pt x="15" y="56"/>
                    </a:moveTo>
                    <a:cubicBezTo>
                      <a:pt x="56" y="54"/>
                      <a:pt x="36" y="61"/>
                      <a:pt x="57" y="45"/>
                    </a:cubicBezTo>
                    <a:cubicBezTo>
                      <a:pt x="65" y="29"/>
                      <a:pt x="46" y="20"/>
                      <a:pt x="36" y="12"/>
                    </a:cubicBezTo>
                    <a:cubicBezTo>
                      <a:pt x="0" y="16"/>
                      <a:pt x="15" y="0"/>
                      <a:pt x="15" y="5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64" name="Freeform 406">
                <a:extLst>
                  <a:ext uri="{FF2B5EF4-FFF2-40B4-BE49-F238E27FC236}">
                    <a16:creationId xmlns:a16="http://schemas.microsoft.com/office/drawing/2014/main" id="{8BEC2366-81B1-48E6-A1F7-C6EEFD522671}"/>
                  </a:ext>
                </a:extLst>
              </p:cNvPr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gray">
              <a:xfrm>
                <a:off x="2938463" y="4048125"/>
                <a:ext cx="93663" cy="100013"/>
              </a:xfrm>
              <a:custGeom>
                <a:avLst/>
                <a:gdLst>
                  <a:gd name="T0" fmla="*/ 9 w 57"/>
                  <a:gd name="T1" fmla="*/ 0 h 63"/>
                  <a:gd name="T2" fmla="*/ 36 w 57"/>
                  <a:gd name="T3" fmla="*/ 5 h 63"/>
                  <a:gd name="T4" fmla="*/ 51 w 57"/>
                  <a:gd name="T5" fmla="*/ 8 h 63"/>
                  <a:gd name="T6" fmla="*/ 57 w 57"/>
                  <a:gd name="T7" fmla="*/ 35 h 63"/>
                  <a:gd name="T8" fmla="*/ 29 w 57"/>
                  <a:gd name="T9" fmla="*/ 54 h 63"/>
                  <a:gd name="T10" fmla="*/ 17 w 57"/>
                  <a:gd name="T11" fmla="*/ 54 h 63"/>
                  <a:gd name="T12" fmla="*/ 8 w 57"/>
                  <a:gd name="T13" fmla="*/ 39 h 63"/>
                  <a:gd name="T14" fmla="*/ 3 w 57"/>
                  <a:gd name="T15" fmla="*/ 38 h 63"/>
                  <a:gd name="T16" fmla="*/ 14 w 57"/>
                  <a:gd name="T17" fmla="*/ 17 h 63"/>
                  <a:gd name="T18" fmla="*/ 9 w 57"/>
                  <a:gd name="T1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63">
                    <a:moveTo>
                      <a:pt x="9" y="0"/>
                    </a:moveTo>
                    <a:cubicBezTo>
                      <a:pt x="22" y="1"/>
                      <a:pt x="26" y="2"/>
                      <a:pt x="36" y="5"/>
                    </a:cubicBezTo>
                    <a:cubicBezTo>
                      <a:pt x="41" y="6"/>
                      <a:pt x="51" y="8"/>
                      <a:pt x="51" y="8"/>
                    </a:cubicBezTo>
                    <a:cubicBezTo>
                      <a:pt x="57" y="16"/>
                      <a:pt x="55" y="26"/>
                      <a:pt x="57" y="35"/>
                    </a:cubicBezTo>
                    <a:cubicBezTo>
                      <a:pt x="55" y="55"/>
                      <a:pt x="49" y="53"/>
                      <a:pt x="29" y="54"/>
                    </a:cubicBezTo>
                    <a:cubicBezTo>
                      <a:pt x="24" y="63"/>
                      <a:pt x="27" y="55"/>
                      <a:pt x="17" y="54"/>
                    </a:cubicBezTo>
                    <a:cubicBezTo>
                      <a:pt x="17" y="47"/>
                      <a:pt x="10" y="45"/>
                      <a:pt x="8" y="39"/>
                    </a:cubicBezTo>
                    <a:cubicBezTo>
                      <a:pt x="8" y="37"/>
                      <a:pt x="4" y="40"/>
                      <a:pt x="3" y="38"/>
                    </a:cubicBezTo>
                    <a:cubicBezTo>
                      <a:pt x="0" y="29"/>
                      <a:pt x="15" y="24"/>
                      <a:pt x="14" y="17"/>
                    </a:cubicBezTo>
                    <a:cubicBezTo>
                      <a:pt x="13" y="11"/>
                      <a:pt x="11" y="6"/>
                      <a:pt x="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65" name="Freeform 407">
                <a:extLst>
                  <a:ext uri="{FF2B5EF4-FFF2-40B4-BE49-F238E27FC236}">
                    <a16:creationId xmlns:a16="http://schemas.microsoft.com/office/drawing/2014/main" id="{1AC1AE0C-8C46-461A-9BE1-65841C9B0CB3}"/>
                  </a:ext>
                </a:extLst>
              </p:cNvPr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gray">
              <a:xfrm>
                <a:off x="2849563" y="3978275"/>
                <a:ext cx="122238" cy="184150"/>
              </a:xfrm>
              <a:custGeom>
                <a:avLst/>
                <a:gdLst>
                  <a:gd name="T0" fmla="*/ 24 w 76"/>
                  <a:gd name="T1" fmla="*/ 13 h 116"/>
                  <a:gd name="T2" fmla="*/ 13 w 76"/>
                  <a:gd name="T3" fmla="*/ 35 h 116"/>
                  <a:gd name="T4" fmla="*/ 13 w 76"/>
                  <a:gd name="T5" fmla="*/ 67 h 116"/>
                  <a:gd name="T6" fmla="*/ 22 w 76"/>
                  <a:gd name="T7" fmla="*/ 70 h 116"/>
                  <a:gd name="T8" fmla="*/ 24 w 76"/>
                  <a:gd name="T9" fmla="*/ 83 h 116"/>
                  <a:gd name="T10" fmla="*/ 30 w 76"/>
                  <a:gd name="T11" fmla="*/ 97 h 116"/>
                  <a:gd name="T12" fmla="*/ 36 w 76"/>
                  <a:gd name="T13" fmla="*/ 110 h 116"/>
                  <a:gd name="T14" fmla="*/ 45 w 76"/>
                  <a:gd name="T15" fmla="*/ 115 h 116"/>
                  <a:gd name="T16" fmla="*/ 63 w 76"/>
                  <a:gd name="T17" fmla="*/ 110 h 116"/>
                  <a:gd name="T18" fmla="*/ 70 w 76"/>
                  <a:gd name="T19" fmla="*/ 101 h 116"/>
                  <a:gd name="T20" fmla="*/ 61 w 76"/>
                  <a:gd name="T21" fmla="*/ 82 h 116"/>
                  <a:gd name="T22" fmla="*/ 66 w 76"/>
                  <a:gd name="T23" fmla="*/ 65 h 116"/>
                  <a:gd name="T24" fmla="*/ 49 w 76"/>
                  <a:gd name="T25" fmla="*/ 28 h 116"/>
                  <a:gd name="T26" fmla="*/ 33 w 76"/>
                  <a:gd name="T27" fmla="*/ 13 h 116"/>
                  <a:gd name="T28" fmla="*/ 21 w 76"/>
                  <a:gd name="T29" fmla="*/ 2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116">
                    <a:moveTo>
                      <a:pt x="24" y="13"/>
                    </a:moveTo>
                    <a:cubicBezTo>
                      <a:pt x="20" y="21"/>
                      <a:pt x="20" y="31"/>
                      <a:pt x="13" y="35"/>
                    </a:cubicBezTo>
                    <a:cubicBezTo>
                      <a:pt x="7" y="45"/>
                      <a:pt x="0" y="63"/>
                      <a:pt x="13" y="67"/>
                    </a:cubicBezTo>
                    <a:cubicBezTo>
                      <a:pt x="18" y="70"/>
                      <a:pt x="19" y="65"/>
                      <a:pt x="22" y="70"/>
                    </a:cubicBezTo>
                    <a:cubicBezTo>
                      <a:pt x="20" y="75"/>
                      <a:pt x="27" y="78"/>
                      <a:pt x="24" y="83"/>
                    </a:cubicBezTo>
                    <a:cubicBezTo>
                      <a:pt x="25" y="88"/>
                      <a:pt x="28" y="93"/>
                      <a:pt x="30" y="97"/>
                    </a:cubicBezTo>
                    <a:cubicBezTo>
                      <a:pt x="32" y="101"/>
                      <a:pt x="33" y="107"/>
                      <a:pt x="36" y="110"/>
                    </a:cubicBezTo>
                    <a:cubicBezTo>
                      <a:pt x="37" y="116"/>
                      <a:pt x="39" y="112"/>
                      <a:pt x="45" y="115"/>
                    </a:cubicBezTo>
                    <a:cubicBezTo>
                      <a:pt x="54" y="113"/>
                      <a:pt x="56" y="113"/>
                      <a:pt x="63" y="110"/>
                    </a:cubicBezTo>
                    <a:cubicBezTo>
                      <a:pt x="66" y="106"/>
                      <a:pt x="67" y="105"/>
                      <a:pt x="70" y="101"/>
                    </a:cubicBezTo>
                    <a:cubicBezTo>
                      <a:pt x="72" y="93"/>
                      <a:pt x="68" y="87"/>
                      <a:pt x="61" y="82"/>
                    </a:cubicBezTo>
                    <a:cubicBezTo>
                      <a:pt x="57" y="75"/>
                      <a:pt x="59" y="70"/>
                      <a:pt x="66" y="65"/>
                    </a:cubicBezTo>
                    <a:cubicBezTo>
                      <a:pt x="76" y="49"/>
                      <a:pt x="63" y="36"/>
                      <a:pt x="49" y="28"/>
                    </a:cubicBezTo>
                    <a:cubicBezTo>
                      <a:pt x="45" y="21"/>
                      <a:pt x="40" y="18"/>
                      <a:pt x="33" y="13"/>
                    </a:cubicBezTo>
                    <a:cubicBezTo>
                      <a:pt x="25" y="0"/>
                      <a:pt x="26" y="18"/>
                      <a:pt x="21" y="23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66" name="Freeform 408">
                <a:extLst>
                  <a:ext uri="{FF2B5EF4-FFF2-40B4-BE49-F238E27FC236}">
                    <a16:creationId xmlns:a16="http://schemas.microsoft.com/office/drawing/2014/main" id="{1F07A326-F2AB-488C-BB8C-CF273B196742}"/>
                  </a:ext>
                </a:extLst>
              </p:cNvPr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gray">
              <a:xfrm>
                <a:off x="2371726" y="3959225"/>
                <a:ext cx="111125" cy="61913"/>
              </a:xfrm>
              <a:custGeom>
                <a:avLst/>
                <a:gdLst>
                  <a:gd name="T0" fmla="*/ 10 w 67"/>
                  <a:gd name="T1" fmla="*/ 16 h 39"/>
                  <a:gd name="T2" fmla="*/ 30 w 67"/>
                  <a:gd name="T3" fmla="*/ 2 h 39"/>
                  <a:gd name="T4" fmla="*/ 45 w 67"/>
                  <a:gd name="T5" fmla="*/ 4 h 39"/>
                  <a:gd name="T6" fmla="*/ 58 w 67"/>
                  <a:gd name="T7" fmla="*/ 13 h 39"/>
                  <a:gd name="T8" fmla="*/ 67 w 67"/>
                  <a:gd name="T9" fmla="*/ 20 h 39"/>
                  <a:gd name="T10" fmla="*/ 58 w 67"/>
                  <a:gd name="T11" fmla="*/ 34 h 39"/>
                  <a:gd name="T12" fmla="*/ 39 w 67"/>
                  <a:gd name="T13" fmla="*/ 17 h 39"/>
                  <a:gd name="T14" fmla="*/ 22 w 67"/>
                  <a:gd name="T15" fmla="*/ 25 h 39"/>
                  <a:gd name="T16" fmla="*/ 22 w 67"/>
                  <a:gd name="T17" fmla="*/ 37 h 39"/>
                  <a:gd name="T18" fmla="*/ 3 w 67"/>
                  <a:gd name="T19" fmla="*/ 35 h 39"/>
                  <a:gd name="T20" fmla="*/ 6 w 67"/>
                  <a:gd name="T21" fmla="*/ 19 h 39"/>
                  <a:gd name="T22" fmla="*/ 10 w 67"/>
                  <a:gd name="T23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39">
                    <a:moveTo>
                      <a:pt x="10" y="16"/>
                    </a:moveTo>
                    <a:cubicBezTo>
                      <a:pt x="13" y="10"/>
                      <a:pt x="24" y="4"/>
                      <a:pt x="30" y="2"/>
                    </a:cubicBezTo>
                    <a:cubicBezTo>
                      <a:pt x="36" y="0"/>
                      <a:pt x="40" y="2"/>
                      <a:pt x="45" y="4"/>
                    </a:cubicBezTo>
                    <a:cubicBezTo>
                      <a:pt x="50" y="6"/>
                      <a:pt x="54" y="10"/>
                      <a:pt x="58" y="13"/>
                    </a:cubicBezTo>
                    <a:cubicBezTo>
                      <a:pt x="62" y="16"/>
                      <a:pt x="67" y="17"/>
                      <a:pt x="67" y="20"/>
                    </a:cubicBezTo>
                    <a:cubicBezTo>
                      <a:pt x="67" y="23"/>
                      <a:pt x="63" y="34"/>
                      <a:pt x="58" y="34"/>
                    </a:cubicBezTo>
                    <a:cubicBezTo>
                      <a:pt x="53" y="34"/>
                      <a:pt x="45" y="18"/>
                      <a:pt x="39" y="17"/>
                    </a:cubicBezTo>
                    <a:cubicBezTo>
                      <a:pt x="33" y="16"/>
                      <a:pt x="25" y="22"/>
                      <a:pt x="22" y="25"/>
                    </a:cubicBezTo>
                    <a:cubicBezTo>
                      <a:pt x="19" y="28"/>
                      <a:pt x="25" y="35"/>
                      <a:pt x="22" y="37"/>
                    </a:cubicBezTo>
                    <a:cubicBezTo>
                      <a:pt x="19" y="39"/>
                      <a:pt x="6" y="38"/>
                      <a:pt x="3" y="35"/>
                    </a:cubicBezTo>
                    <a:cubicBezTo>
                      <a:pt x="0" y="32"/>
                      <a:pt x="5" y="22"/>
                      <a:pt x="6" y="19"/>
                    </a:cubicBezTo>
                    <a:cubicBezTo>
                      <a:pt x="7" y="16"/>
                      <a:pt x="9" y="17"/>
                      <a:pt x="10" y="1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67" name="Freeform 409">
                <a:extLst>
                  <a:ext uri="{FF2B5EF4-FFF2-40B4-BE49-F238E27FC236}">
                    <a16:creationId xmlns:a16="http://schemas.microsoft.com/office/drawing/2014/main" id="{7F570649-64E3-4E20-8EC9-A995F6CBB834}"/>
                  </a:ext>
                </a:extLst>
              </p:cNvPr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gray">
              <a:xfrm>
                <a:off x="2430463" y="3911600"/>
                <a:ext cx="285750" cy="349250"/>
              </a:xfrm>
              <a:custGeom>
                <a:avLst/>
                <a:gdLst>
                  <a:gd name="T0" fmla="*/ 34 w 177"/>
                  <a:gd name="T1" fmla="*/ 55 h 220"/>
                  <a:gd name="T2" fmla="*/ 52 w 177"/>
                  <a:gd name="T3" fmla="*/ 41 h 220"/>
                  <a:gd name="T4" fmla="*/ 85 w 177"/>
                  <a:gd name="T5" fmla="*/ 10 h 220"/>
                  <a:gd name="T6" fmla="*/ 101 w 177"/>
                  <a:gd name="T7" fmla="*/ 4 h 220"/>
                  <a:gd name="T8" fmla="*/ 97 w 177"/>
                  <a:gd name="T9" fmla="*/ 32 h 220"/>
                  <a:gd name="T10" fmla="*/ 110 w 177"/>
                  <a:gd name="T11" fmla="*/ 58 h 220"/>
                  <a:gd name="T12" fmla="*/ 111 w 177"/>
                  <a:gd name="T13" fmla="*/ 67 h 220"/>
                  <a:gd name="T14" fmla="*/ 124 w 177"/>
                  <a:gd name="T15" fmla="*/ 68 h 220"/>
                  <a:gd name="T16" fmla="*/ 152 w 177"/>
                  <a:gd name="T17" fmla="*/ 88 h 220"/>
                  <a:gd name="T18" fmla="*/ 172 w 177"/>
                  <a:gd name="T19" fmla="*/ 85 h 220"/>
                  <a:gd name="T20" fmla="*/ 172 w 177"/>
                  <a:gd name="T21" fmla="*/ 152 h 220"/>
                  <a:gd name="T22" fmla="*/ 143 w 177"/>
                  <a:gd name="T23" fmla="*/ 158 h 220"/>
                  <a:gd name="T24" fmla="*/ 142 w 177"/>
                  <a:gd name="T25" fmla="*/ 184 h 220"/>
                  <a:gd name="T26" fmla="*/ 124 w 177"/>
                  <a:gd name="T27" fmla="*/ 215 h 220"/>
                  <a:gd name="T28" fmla="*/ 100 w 177"/>
                  <a:gd name="T29" fmla="*/ 215 h 220"/>
                  <a:gd name="T30" fmla="*/ 88 w 177"/>
                  <a:gd name="T31" fmla="*/ 205 h 220"/>
                  <a:gd name="T32" fmla="*/ 65 w 177"/>
                  <a:gd name="T33" fmla="*/ 184 h 220"/>
                  <a:gd name="T34" fmla="*/ 44 w 177"/>
                  <a:gd name="T35" fmla="*/ 175 h 220"/>
                  <a:gd name="T36" fmla="*/ 32 w 177"/>
                  <a:gd name="T37" fmla="*/ 166 h 220"/>
                  <a:gd name="T38" fmla="*/ 5 w 177"/>
                  <a:gd name="T39" fmla="*/ 160 h 220"/>
                  <a:gd name="T40" fmla="*/ 10 w 177"/>
                  <a:gd name="T41" fmla="*/ 143 h 220"/>
                  <a:gd name="T42" fmla="*/ 22 w 177"/>
                  <a:gd name="T43" fmla="*/ 127 h 220"/>
                  <a:gd name="T44" fmla="*/ 31 w 177"/>
                  <a:gd name="T45" fmla="*/ 107 h 220"/>
                  <a:gd name="T46" fmla="*/ 29 w 177"/>
                  <a:gd name="T47" fmla="*/ 91 h 220"/>
                  <a:gd name="T48" fmla="*/ 28 w 177"/>
                  <a:gd name="T49" fmla="*/ 61 h 220"/>
                  <a:gd name="T50" fmla="*/ 34 w 177"/>
                  <a:gd name="T51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7" h="220">
                    <a:moveTo>
                      <a:pt x="34" y="55"/>
                    </a:moveTo>
                    <a:cubicBezTo>
                      <a:pt x="41" y="52"/>
                      <a:pt x="45" y="45"/>
                      <a:pt x="52" y="41"/>
                    </a:cubicBezTo>
                    <a:cubicBezTo>
                      <a:pt x="57" y="10"/>
                      <a:pt x="56" y="16"/>
                      <a:pt x="85" y="10"/>
                    </a:cubicBezTo>
                    <a:cubicBezTo>
                      <a:pt x="93" y="4"/>
                      <a:pt x="99" y="0"/>
                      <a:pt x="101" y="4"/>
                    </a:cubicBezTo>
                    <a:cubicBezTo>
                      <a:pt x="96" y="14"/>
                      <a:pt x="107" y="27"/>
                      <a:pt x="97" y="32"/>
                    </a:cubicBezTo>
                    <a:cubicBezTo>
                      <a:pt x="92" y="41"/>
                      <a:pt x="107" y="49"/>
                      <a:pt x="110" y="58"/>
                    </a:cubicBezTo>
                    <a:cubicBezTo>
                      <a:pt x="118" y="68"/>
                      <a:pt x="109" y="65"/>
                      <a:pt x="111" y="67"/>
                    </a:cubicBezTo>
                    <a:cubicBezTo>
                      <a:pt x="113" y="69"/>
                      <a:pt x="117" y="65"/>
                      <a:pt x="124" y="68"/>
                    </a:cubicBezTo>
                    <a:cubicBezTo>
                      <a:pt x="132" y="72"/>
                      <a:pt x="144" y="86"/>
                      <a:pt x="152" y="88"/>
                    </a:cubicBezTo>
                    <a:cubicBezTo>
                      <a:pt x="159" y="89"/>
                      <a:pt x="172" y="85"/>
                      <a:pt x="172" y="85"/>
                    </a:cubicBezTo>
                    <a:cubicBezTo>
                      <a:pt x="176" y="96"/>
                      <a:pt x="177" y="140"/>
                      <a:pt x="172" y="152"/>
                    </a:cubicBezTo>
                    <a:cubicBezTo>
                      <a:pt x="167" y="164"/>
                      <a:pt x="148" y="153"/>
                      <a:pt x="143" y="158"/>
                    </a:cubicBezTo>
                    <a:cubicBezTo>
                      <a:pt x="142" y="170"/>
                      <a:pt x="135" y="173"/>
                      <a:pt x="142" y="184"/>
                    </a:cubicBezTo>
                    <a:cubicBezTo>
                      <a:pt x="140" y="213"/>
                      <a:pt x="148" y="219"/>
                      <a:pt x="124" y="215"/>
                    </a:cubicBezTo>
                    <a:cubicBezTo>
                      <a:pt x="117" y="211"/>
                      <a:pt x="100" y="215"/>
                      <a:pt x="100" y="215"/>
                    </a:cubicBezTo>
                    <a:cubicBezTo>
                      <a:pt x="91" y="220"/>
                      <a:pt x="95" y="210"/>
                      <a:pt x="88" y="205"/>
                    </a:cubicBezTo>
                    <a:cubicBezTo>
                      <a:pt x="85" y="197"/>
                      <a:pt x="72" y="188"/>
                      <a:pt x="65" y="184"/>
                    </a:cubicBezTo>
                    <a:cubicBezTo>
                      <a:pt x="61" y="177"/>
                      <a:pt x="52" y="177"/>
                      <a:pt x="44" y="175"/>
                    </a:cubicBezTo>
                    <a:cubicBezTo>
                      <a:pt x="39" y="171"/>
                      <a:pt x="39" y="167"/>
                      <a:pt x="32" y="166"/>
                    </a:cubicBezTo>
                    <a:cubicBezTo>
                      <a:pt x="24" y="162"/>
                      <a:pt x="14" y="162"/>
                      <a:pt x="5" y="160"/>
                    </a:cubicBezTo>
                    <a:cubicBezTo>
                      <a:pt x="3" y="151"/>
                      <a:pt x="0" y="148"/>
                      <a:pt x="10" y="143"/>
                    </a:cubicBezTo>
                    <a:cubicBezTo>
                      <a:pt x="14" y="137"/>
                      <a:pt x="19" y="134"/>
                      <a:pt x="22" y="127"/>
                    </a:cubicBezTo>
                    <a:cubicBezTo>
                      <a:pt x="23" y="120"/>
                      <a:pt x="28" y="114"/>
                      <a:pt x="31" y="107"/>
                    </a:cubicBezTo>
                    <a:cubicBezTo>
                      <a:pt x="32" y="101"/>
                      <a:pt x="32" y="97"/>
                      <a:pt x="29" y="91"/>
                    </a:cubicBezTo>
                    <a:cubicBezTo>
                      <a:pt x="28" y="82"/>
                      <a:pt x="25" y="70"/>
                      <a:pt x="28" y="61"/>
                    </a:cubicBezTo>
                    <a:cubicBezTo>
                      <a:pt x="29" y="58"/>
                      <a:pt x="35" y="52"/>
                      <a:pt x="34" y="5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68" name="Freeform 410">
                <a:extLst>
                  <a:ext uri="{FF2B5EF4-FFF2-40B4-BE49-F238E27FC236}">
                    <a16:creationId xmlns:a16="http://schemas.microsoft.com/office/drawing/2014/main" id="{EB7D8932-ADFA-43C2-B7D9-54FFFCB3ACF2}"/>
                  </a:ext>
                </a:extLst>
              </p:cNvPr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gray">
              <a:xfrm>
                <a:off x="2651126" y="4413250"/>
                <a:ext cx="300038" cy="320675"/>
              </a:xfrm>
              <a:custGeom>
                <a:avLst/>
                <a:gdLst>
                  <a:gd name="T0" fmla="*/ 0 w 185"/>
                  <a:gd name="T1" fmla="*/ 25 h 203"/>
                  <a:gd name="T2" fmla="*/ 26 w 185"/>
                  <a:gd name="T3" fmla="*/ 21 h 203"/>
                  <a:gd name="T4" fmla="*/ 41 w 185"/>
                  <a:gd name="T5" fmla="*/ 18 h 203"/>
                  <a:gd name="T6" fmla="*/ 46 w 185"/>
                  <a:gd name="T7" fmla="*/ 13 h 203"/>
                  <a:gd name="T8" fmla="*/ 60 w 185"/>
                  <a:gd name="T9" fmla="*/ 3 h 203"/>
                  <a:gd name="T10" fmla="*/ 71 w 185"/>
                  <a:gd name="T11" fmla="*/ 33 h 203"/>
                  <a:gd name="T12" fmla="*/ 86 w 185"/>
                  <a:gd name="T13" fmla="*/ 52 h 203"/>
                  <a:gd name="T14" fmla="*/ 105 w 185"/>
                  <a:gd name="T15" fmla="*/ 61 h 203"/>
                  <a:gd name="T16" fmla="*/ 123 w 185"/>
                  <a:gd name="T17" fmla="*/ 61 h 203"/>
                  <a:gd name="T18" fmla="*/ 138 w 185"/>
                  <a:gd name="T19" fmla="*/ 69 h 203"/>
                  <a:gd name="T20" fmla="*/ 143 w 185"/>
                  <a:gd name="T21" fmla="*/ 99 h 203"/>
                  <a:gd name="T22" fmla="*/ 161 w 185"/>
                  <a:gd name="T23" fmla="*/ 102 h 203"/>
                  <a:gd name="T24" fmla="*/ 170 w 185"/>
                  <a:gd name="T25" fmla="*/ 106 h 203"/>
                  <a:gd name="T26" fmla="*/ 183 w 185"/>
                  <a:gd name="T27" fmla="*/ 133 h 203"/>
                  <a:gd name="T28" fmla="*/ 174 w 185"/>
                  <a:gd name="T29" fmla="*/ 160 h 203"/>
                  <a:gd name="T30" fmla="*/ 119 w 185"/>
                  <a:gd name="T31" fmla="*/ 163 h 203"/>
                  <a:gd name="T32" fmla="*/ 101 w 185"/>
                  <a:gd name="T33" fmla="*/ 198 h 203"/>
                  <a:gd name="T34" fmla="*/ 79 w 185"/>
                  <a:gd name="T35" fmla="*/ 196 h 203"/>
                  <a:gd name="T36" fmla="*/ 58 w 185"/>
                  <a:gd name="T37" fmla="*/ 195 h 203"/>
                  <a:gd name="T38" fmla="*/ 44 w 185"/>
                  <a:gd name="T39" fmla="*/ 196 h 203"/>
                  <a:gd name="T40" fmla="*/ 21 w 185"/>
                  <a:gd name="T41" fmla="*/ 186 h 203"/>
                  <a:gd name="T42" fmla="*/ 17 w 185"/>
                  <a:gd name="T43" fmla="*/ 172 h 203"/>
                  <a:gd name="T44" fmla="*/ 15 w 185"/>
                  <a:gd name="T45" fmla="*/ 137 h 203"/>
                  <a:gd name="T46" fmla="*/ 9 w 185"/>
                  <a:gd name="T47" fmla="*/ 117 h 203"/>
                  <a:gd name="T48" fmla="*/ 12 w 185"/>
                  <a:gd name="T49" fmla="*/ 91 h 203"/>
                  <a:gd name="T50" fmla="*/ 15 w 185"/>
                  <a:gd name="T51" fmla="*/ 66 h 203"/>
                  <a:gd name="T52" fmla="*/ 15 w 185"/>
                  <a:gd name="T53" fmla="*/ 45 h 203"/>
                  <a:gd name="T54" fmla="*/ 8 w 185"/>
                  <a:gd name="T55" fmla="*/ 3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5" h="203">
                    <a:moveTo>
                      <a:pt x="0" y="25"/>
                    </a:moveTo>
                    <a:cubicBezTo>
                      <a:pt x="11" y="24"/>
                      <a:pt x="16" y="23"/>
                      <a:pt x="26" y="21"/>
                    </a:cubicBezTo>
                    <a:cubicBezTo>
                      <a:pt x="31" y="20"/>
                      <a:pt x="41" y="18"/>
                      <a:pt x="41" y="18"/>
                    </a:cubicBezTo>
                    <a:cubicBezTo>
                      <a:pt x="44" y="17"/>
                      <a:pt x="43" y="15"/>
                      <a:pt x="46" y="13"/>
                    </a:cubicBezTo>
                    <a:cubicBezTo>
                      <a:pt x="49" y="11"/>
                      <a:pt x="56" y="0"/>
                      <a:pt x="60" y="3"/>
                    </a:cubicBezTo>
                    <a:cubicBezTo>
                      <a:pt x="64" y="6"/>
                      <a:pt x="67" y="25"/>
                      <a:pt x="71" y="33"/>
                    </a:cubicBezTo>
                    <a:cubicBezTo>
                      <a:pt x="75" y="41"/>
                      <a:pt x="80" y="47"/>
                      <a:pt x="86" y="52"/>
                    </a:cubicBezTo>
                    <a:cubicBezTo>
                      <a:pt x="95" y="57"/>
                      <a:pt x="95" y="60"/>
                      <a:pt x="105" y="61"/>
                    </a:cubicBezTo>
                    <a:cubicBezTo>
                      <a:pt x="111" y="63"/>
                      <a:pt x="118" y="60"/>
                      <a:pt x="123" y="61"/>
                    </a:cubicBezTo>
                    <a:cubicBezTo>
                      <a:pt x="128" y="62"/>
                      <a:pt x="135" y="63"/>
                      <a:pt x="138" y="69"/>
                    </a:cubicBezTo>
                    <a:cubicBezTo>
                      <a:pt x="142" y="76"/>
                      <a:pt x="136" y="96"/>
                      <a:pt x="143" y="99"/>
                    </a:cubicBezTo>
                    <a:cubicBezTo>
                      <a:pt x="149" y="101"/>
                      <a:pt x="161" y="102"/>
                      <a:pt x="161" y="102"/>
                    </a:cubicBezTo>
                    <a:cubicBezTo>
                      <a:pt x="164" y="104"/>
                      <a:pt x="168" y="104"/>
                      <a:pt x="170" y="106"/>
                    </a:cubicBezTo>
                    <a:cubicBezTo>
                      <a:pt x="174" y="111"/>
                      <a:pt x="182" y="124"/>
                      <a:pt x="183" y="133"/>
                    </a:cubicBezTo>
                    <a:cubicBezTo>
                      <a:pt x="184" y="142"/>
                      <a:pt x="185" y="155"/>
                      <a:pt x="174" y="160"/>
                    </a:cubicBezTo>
                    <a:cubicBezTo>
                      <a:pt x="158" y="159"/>
                      <a:pt x="132" y="153"/>
                      <a:pt x="119" y="163"/>
                    </a:cubicBezTo>
                    <a:cubicBezTo>
                      <a:pt x="114" y="176"/>
                      <a:pt x="114" y="192"/>
                      <a:pt x="101" y="198"/>
                    </a:cubicBezTo>
                    <a:cubicBezTo>
                      <a:pt x="94" y="203"/>
                      <a:pt x="88" y="196"/>
                      <a:pt x="79" y="196"/>
                    </a:cubicBezTo>
                    <a:cubicBezTo>
                      <a:pt x="72" y="196"/>
                      <a:pt x="64" y="195"/>
                      <a:pt x="58" y="195"/>
                    </a:cubicBezTo>
                    <a:cubicBezTo>
                      <a:pt x="52" y="195"/>
                      <a:pt x="50" y="197"/>
                      <a:pt x="44" y="196"/>
                    </a:cubicBezTo>
                    <a:cubicBezTo>
                      <a:pt x="34" y="194"/>
                      <a:pt x="26" y="190"/>
                      <a:pt x="21" y="186"/>
                    </a:cubicBezTo>
                    <a:cubicBezTo>
                      <a:pt x="20" y="181"/>
                      <a:pt x="18" y="177"/>
                      <a:pt x="17" y="172"/>
                    </a:cubicBezTo>
                    <a:cubicBezTo>
                      <a:pt x="16" y="164"/>
                      <a:pt x="16" y="146"/>
                      <a:pt x="15" y="137"/>
                    </a:cubicBezTo>
                    <a:cubicBezTo>
                      <a:pt x="14" y="128"/>
                      <a:pt x="9" y="125"/>
                      <a:pt x="9" y="117"/>
                    </a:cubicBezTo>
                    <a:cubicBezTo>
                      <a:pt x="8" y="105"/>
                      <a:pt x="11" y="99"/>
                      <a:pt x="12" y="91"/>
                    </a:cubicBezTo>
                    <a:cubicBezTo>
                      <a:pt x="13" y="83"/>
                      <a:pt x="15" y="74"/>
                      <a:pt x="15" y="66"/>
                    </a:cubicBezTo>
                    <a:cubicBezTo>
                      <a:pt x="15" y="54"/>
                      <a:pt x="16" y="51"/>
                      <a:pt x="15" y="45"/>
                    </a:cubicBezTo>
                    <a:cubicBezTo>
                      <a:pt x="14" y="39"/>
                      <a:pt x="9" y="34"/>
                      <a:pt x="8" y="31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69" name="Freeform 411">
                <a:extLst>
                  <a:ext uri="{FF2B5EF4-FFF2-40B4-BE49-F238E27FC236}">
                    <a16:creationId xmlns:a16="http://schemas.microsoft.com/office/drawing/2014/main" id="{6D9F530F-2BFE-4065-A01A-304E91D53A99}"/>
                  </a:ext>
                </a:extLst>
              </p:cNvPr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gray">
              <a:xfrm>
                <a:off x="2560638" y="4084638"/>
                <a:ext cx="946150" cy="957263"/>
              </a:xfrm>
              <a:custGeom>
                <a:avLst/>
                <a:gdLst>
                  <a:gd name="T0" fmla="*/ 313 w 584"/>
                  <a:gd name="T1" fmla="*/ 582 h 604"/>
                  <a:gd name="T2" fmla="*/ 346 w 584"/>
                  <a:gd name="T3" fmla="*/ 550 h 604"/>
                  <a:gd name="T4" fmla="*/ 376 w 584"/>
                  <a:gd name="T5" fmla="*/ 502 h 604"/>
                  <a:gd name="T6" fmla="*/ 400 w 584"/>
                  <a:gd name="T7" fmla="*/ 442 h 604"/>
                  <a:gd name="T8" fmla="*/ 445 w 584"/>
                  <a:gd name="T9" fmla="*/ 418 h 604"/>
                  <a:gd name="T10" fmla="*/ 487 w 584"/>
                  <a:gd name="T11" fmla="*/ 399 h 604"/>
                  <a:gd name="T12" fmla="*/ 508 w 584"/>
                  <a:gd name="T13" fmla="*/ 345 h 604"/>
                  <a:gd name="T14" fmla="*/ 518 w 584"/>
                  <a:gd name="T15" fmla="*/ 315 h 604"/>
                  <a:gd name="T16" fmla="*/ 550 w 584"/>
                  <a:gd name="T17" fmla="*/ 235 h 604"/>
                  <a:gd name="T18" fmla="*/ 575 w 584"/>
                  <a:gd name="T19" fmla="*/ 189 h 604"/>
                  <a:gd name="T20" fmla="*/ 515 w 584"/>
                  <a:gd name="T21" fmla="*/ 123 h 604"/>
                  <a:gd name="T22" fmla="*/ 446 w 584"/>
                  <a:gd name="T23" fmla="*/ 105 h 604"/>
                  <a:gd name="T24" fmla="*/ 371 w 584"/>
                  <a:gd name="T25" fmla="*/ 75 h 604"/>
                  <a:gd name="T26" fmla="*/ 346 w 584"/>
                  <a:gd name="T27" fmla="*/ 45 h 604"/>
                  <a:gd name="T28" fmla="*/ 331 w 584"/>
                  <a:gd name="T29" fmla="*/ 10 h 604"/>
                  <a:gd name="T30" fmla="*/ 305 w 584"/>
                  <a:gd name="T31" fmla="*/ 27 h 604"/>
                  <a:gd name="T32" fmla="*/ 274 w 584"/>
                  <a:gd name="T33" fmla="*/ 28 h 604"/>
                  <a:gd name="T34" fmla="*/ 238 w 584"/>
                  <a:gd name="T35" fmla="*/ 43 h 604"/>
                  <a:gd name="T36" fmla="*/ 208 w 584"/>
                  <a:gd name="T37" fmla="*/ 33 h 604"/>
                  <a:gd name="T38" fmla="*/ 191 w 584"/>
                  <a:gd name="T39" fmla="*/ 0 h 604"/>
                  <a:gd name="T40" fmla="*/ 143 w 584"/>
                  <a:gd name="T41" fmla="*/ 12 h 604"/>
                  <a:gd name="T42" fmla="*/ 140 w 584"/>
                  <a:gd name="T43" fmla="*/ 45 h 604"/>
                  <a:gd name="T44" fmla="*/ 113 w 584"/>
                  <a:gd name="T45" fmla="*/ 55 h 604"/>
                  <a:gd name="T46" fmla="*/ 59 w 584"/>
                  <a:gd name="T47" fmla="*/ 54 h 604"/>
                  <a:gd name="T48" fmla="*/ 56 w 584"/>
                  <a:gd name="T49" fmla="*/ 121 h 604"/>
                  <a:gd name="T50" fmla="*/ 17 w 584"/>
                  <a:gd name="T51" fmla="*/ 141 h 604"/>
                  <a:gd name="T52" fmla="*/ 4 w 584"/>
                  <a:gd name="T53" fmla="*/ 177 h 604"/>
                  <a:gd name="T54" fmla="*/ 31 w 584"/>
                  <a:gd name="T55" fmla="*/ 216 h 604"/>
                  <a:gd name="T56" fmla="*/ 91 w 584"/>
                  <a:gd name="T57" fmla="*/ 229 h 604"/>
                  <a:gd name="T58" fmla="*/ 121 w 584"/>
                  <a:gd name="T59" fmla="*/ 216 h 604"/>
                  <a:gd name="T60" fmla="*/ 157 w 584"/>
                  <a:gd name="T61" fmla="*/ 267 h 604"/>
                  <a:gd name="T62" fmla="*/ 184 w 584"/>
                  <a:gd name="T63" fmla="*/ 268 h 604"/>
                  <a:gd name="T64" fmla="*/ 221 w 584"/>
                  <a:gd name="T65" fmla="*/ 312 h 604"/>
                  <a:gd name="T66" fmla="*/ 235 w 584"/>
                  <a:gd name="T67" fmla="*/ 330 h 604"/>
                  <a:gd name="T68" fmla="*/ 232 w 584"/>
                  <a:gd name="T69" fmla="*/ 369 h 604"/>
                  <a:gd name="T70" fmla="*/ 275 w 584"/>
                  <a:gd name="T71" fmla="*/ 412 h 604"/>
                  <a:gd name="T72" fmla="*/ 281 w 584"/>
                  <a:gd name="T73" fmla="*/ 430 h 604"/>
                  <a:gd name="T74" fmla="*/ 298 w 584"/>
                  <a:gd name="T75" fmla="*/ 450 h 604"/>
                  <a:gd name="T76" fmla="*/ 256 w 584"/>
                  <a:gd name="T77" fmla="*/ 517 h 604"/>
                  <a:gd name="T78" fmla="*/ 289 w 584"/>
                  <a:gd name="T79" fmla="*/ 56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84" h="604">
                    <a:moveTo>
                      <a:pt x="305" y="604"/>
                    </a:moveTo>
                    <a:cubicBezTo>
                      <a:pt x="310" y="598"/>
                      <a:pt x="310" y="589"/>
                      <a:pt x="313" y="582"/>
                    </a:cubicBezTo>
                    <a:cubicBezTo>
                      <a:pt x="315" y="571"/>
                      <a:pt x="324" y="571"/>
                      <a:pt x="334" y="570"/>
                    </a:cubicBezTo>
                    <a:cubicBezTo>
                      <a:pt x="341" y="565"/>
                      <a:pt x="341" y="557"/>
                      <a:pt x="346" y="550"/>
                    </a:cubicBezTo>
                    <a:cubicBezTo>
                      <a:pt x="346" y="543"/>
                      <a:pt x="349" y="541"/>
                      <a:pt x="350" y="534"/>
                    </a:cubicBezTo>
                    <a:cubicBezTo>
                      <a:pt x="352" y="519"/>
                      <a:pt x="371" y="515"/>
                      <a:pt x="376" y="502"/>
                    </a:cubicBezTo>
                    <a:cubicBezTo>
                      <a:pt x="374" y="482"/>
                      <a:pt x="372" y="466"/>
                      <a:pt x="388" y="453"/>
                    </a:cubicBezTo>
                    <a:cubicBezTo>
                      <a:pt x="391" y="447"/>
                      <a:pt x="394" y="445"/>
                      <a:pt x="400" y="442"/>
                    </a:cubicBezTo>
                    <a:cubicBezTo>
                      <a:pt x="405" y="437"/>
                      <a:pt x="415" y="433"/>
                      <a:pt x="422" y="429"/>
                    </a:cubicBezTo>
                    <a:cubicBezTo>
                      <a:pt x="429" y="425"/>
                      <a:pt x="437" y="419"/>
                      <a:pt x="445" y="418"/>
                    </a:cubicBezTo>
                    <a:cubicBezTo>
                      <a:pt x="453" y="417"/>
                      <a:pt x="462" y="428"/>
                      <a:pt x="469" y="424"/>
                    </a:cubicBezTo>
                    <a:cubicBezTo>
                      <a:pt x="471" y="413"/>
                      <a:pt x="478" y="405"/>
                      <a:pt x="487" y="399"/>
                    </a:cubicBezTo>
                    <a:cubicBezTo>
                      <a:pt x="490" y="394"/>
                      <a:pt x="493" y="391"/>
                      <a:pt x="494" y="385"/>
                    </a:cubicBezTo>
                    <a:cubicBezTo>
                      <a:pt x="496" y="368"/>
                      <a:pt x="494" y="355"/>
                      <a:pt x="508" y="345"/>
                    </a:cubicBezTo>
                    <a:cubicBezTo>
                      <a:pt x="510" y="336"/>
                      <a:pt x="516" y="332"/>
                      <a:pt x="523" y="328"/>
                    </a:cubicBezTo>
                    <a:cubicBezTo>
                      <a:pt x="528" y="321"/>
                      <a:pt x="522" y="321"/>
                      <a:pt x="518" y="315"/>
                    </a:cubicBezTo>
                    <a:cubicBezTo>
                      <a:pt x="515" y="298"/>
                      <a:pt x="507" y="272"/>
                      <a:pt x="523" y="262"/>
                    </a:cubicBezTo>
                    <a:cubicBezTo>
                      <a:pt x="532" y="249"/>
                      <a:pt x="535" y="244"/>
                      <a:pt x="550" y="235"/>
                    </a:cubicBezTo>
                    <a:cubicBezTo>
                      <a:pt x="553" y="231"/>
                      <a:pt x="556" y="226"/>
                      <a:pt x="559" y="222"/>
                    </a:cubicBezTo>
                    <a:cubicBezTo>
                      <a:pt x="560" y="214"/>
                      <a:pt x="565" y="191"/>
                      <a:pt x="575" y="189"/>
                    </a:cubicBezTo>
                    <a:cubicBezTo>
                      <a:pt x="584" y="174"/>
                      <a:pt x="576" y="151"/>
                      <a:pt x="556" y="145"/>
                    </a:cubicBezTo>
                    <a:cubicBezTo>
                      <a:pt x="542" y="137"/>
                      <a:pt x="531" y="126"/>
                      <a:pt x="515" y="123"/>
                    </a:cubicBezTo>
                    <a:cubicBezTo>
                      <a:pt x="492" y="111"/>
                      <a:pt x="498" y="112"/>
                      <a:pt x="460" y="111"/>
                    </a:cubicBezTo>
                    <a:cubicBezTo>
                      <a:pt x="455" y="109"/>
                      <a:pt x="452" y="106"/>
                      <a:pt x="446" y="105"/>
                    </a:cubicBezTo>
                    <a:cubicBezTo>
                      <a:pt x="440" y="102"/>
                      <a:pt x="435" y="97"/>
                      <a:pt x="428" y="96"/>
                    </a:cubicBezTo>
                    <a:cubicBezTo>
                      <a:pt x="413" y="77"/>
                      <a:pt x="397" y="76"/>
                      <a:pt x="371" y="75"/>
                    </a:cubicBezTo>
                    <a:cubicBezTo>
                      <a:pt x="363" y="69"/>
                      <a:pt x="358" y="67"/>
                      <a:pt x="353" y="57"/>
                    </a:cubicBezTo>
                    <a:cubicBezTo>
                      <a:pt x="352" y="51"/>
                      <a:pt x="351" y="49"/>
                      <a:pt x="346" y="45"/>
                    </a:cubicBezTo>
                    <a:cubicBezTo>
                      <a:pt x="343" y="37"/>
                      <a:pt x="336" y="32"/>
                      <a:pt x="332" y="24"/>
                    </a:cubicBezTo>
                    <a:cubicBezTo>
                      <a:pt x="332" y="19"/>
                      <a:pt x="333" y="14"/>
                      <a:pt x="331" y="10"/>
                    </a:cubicBezTo>
                    <a:cubicBezTo>
                      <a:pt x="331" y="9"/>
                      <a:pt x="326" y="19"/>
                      <a:pt x="326" y="19"/>
                    </a:cubicBezTo>
                    <a:cubicBezTo>
                      <a:pt x="323" y="25"/>
                      <a:pt x="311" y="24"/>
                      <a:pt x="305" y="27"/>
                    </a:cubicBezTo>
                    <a:cubicBezTo>
                      <a:pt x="299" y="29"/>
                      <a:pt x="294" y="27"/>
                      <a:pt x="289" y="27"/>
                    </a:cubicBezTo>
                    <a:cubicBezTo>
                      <a:pt x="284" y="27"/>
                      <a:pt x="281" y="27"/>
                      <a:pt x="274" y="28"/>
                    </a:cubicBezTo>
                    <a:cubicBezTo>
                      <a:pt x="267" y="29"/>
                      <a:pt x="254" y="34"/>
                      <a:pt x="248" y="36"/>
                    </a:cubicBezTo>
                    <a:cubicBezTo>
                      <a:pt x="243" y="40"/>
                      <a:pt x="244" y="42"/>
                      <a:pt x="238" y="43"/>
                    </a:cubicBezTo>
                    <a:cubicBezTo>
                      <a:pt x="233" y="45"/>
                      <a:pt x="225" y="49"/>
                      <a:pt x="220" y="51"/>
                    </a:cubicBezTo>
                    <a:cubicBezTo>
                      <a:pt x="214" y="45"/>
                      <a:pt x="215" y="38"/>
                      <a:pt x="208" y="33"/>
                    </a:cubicBezTo>
                    <a:cubicBezTo>
                      <a:pt x="205" y="26"/>
                      <a:pt x="208" y="17"/>
                      <a:pt x="205" y="12"/>
                    </a:cubicBezTo>
                    <a:cubicBezTo>
                      <a:pt x="202" y="7"/>
                      <a:pt x="196" y="1"/>
                      <a:pt x="191" y="0"/>
                    </a:cubicBezTo>
                    <a:cubicBezTo>
                      <a:pt x="184" y="1"/>
                      <a:pt x="182" y="4"/>
                      <a:pt x="176" y="7"/>
                    </a:cubicBezTo>
                    <a:cubicBezTo>
                      <a:pt x="166" y="11"/>
                      <a:pt x="152" y="11"/>
                      <a:pt x="143" y="12"/>
                    </a:cubicBezTo>
                    <a:cubicBezTo>
                      <a:pt x="137" y="15"/>
                      <a:pt x="143" y="25"/>
                      <a:pt x="143" y="30"/>
                    </a:cubicBezTo>
                    <a:cubicBezTo>
                      <a:pt x="143" y="35"/>
                      <a:pt x="142" y="41"/>
                      <a:pt x="140" y="45"/>
                    </a:cubicBezTo>
                    <a:cubicBezTo>
                      <a:pt x="138" y="49"/>
                      <a:pt x="132" y="50"/>
                      <a:pt x="128" y="52"/>
                    </a:cubicBezTo>
                    <a:cubicBezTo>
                      <a:pt x="122" y="57"/>
                      <a:pt x="120" y="57"/>
                      <a:pt x="113" y="55"/>
                    </a:cubicBezTo>
                    <a:cubicBezTo>
                      <a:pt x="108" y="51"/>
                      <a:pt x="103" y="49"/>
                      <a:pt x="98" y="46"/>
                    </a:cubicBezTo>
                    <a:cubicBezTo>
                      <a:pt x="66" y="48"/>
                      <a:pt x="75" y="44"/>
                      <a:pt x="59" y="54"/>
                    </a:cubicBezTo>
                    <a:cubicBezTo>
                      <a:pt x="53" y="61"/>
                      <a:pt x="59" y="77"/>
                      <a:pt x="59" y="88"/>
                    </a:cubicBezTo>
                    <a:cubicBezTo>
                      <a:pt x="59" y="99"/>
                      <a:pt x="60" y="114"/>
                      <a:pt x="56" y="121"/>
                    </a:cubicBezTo>
                    <a:cubicBezTo>
                      <a:pt x="53" y="136"/>
                      <a:pt x="40" y="129"/>
                      <a:pt x="35" y="133"/>
                    </a:cubicBezTo>
                    <a:cubicBezTo>
                      <a:pt x="29" y="136"/>
                      <a:pt x="21" y="137"/>
                      <a:pt x="17" y="141"/>
                    </a:cubicBezTo>
                    <a:cubicBezTo>
                      <a:pt x="13" y="146"/>
                      <a:pt x="11" y="150"/>
                      <a:pt x="10" y="156"/>
                    </a:cubicBezTo>
                    <a:cubicBezTo>
                      <a:pt x="8" y="162"/>
                      <a:pt x="5" y="170"/>
                      <a:pt x="4" y="177"/>
                    </a:cubicBezTo>
                    <a:cubicBezTo>
                      <a:pt x="3" y="183"/>
                      <a:pt x="0" y="193"/>
                      <a:pt x="5" y="199"/>
                    </a:cubicBezTo>
                    <a:cubicBezTo>
                      <a:pt x="9" y="205"/>
                      <a:pt x="23" y="211"/>
                      <a:pt x="31" y="216"/>
                    </a:cubicBezTo>
                    <a:cubicBezTo>
                      <a:pt x="38" y="221"/>
                      <a:pt x="44" y="229"/>
                      <a:pt x="53" y="231"/>
                    </a:cubicBezTo>
                    <a:cubicBezTo>
                      <a:pt x="64" y="230"/>
                      <a:pt x="81" y="231"/>
                      <a:pt x="91" y="229"/>
                    </a:cubicBezTo>
                    <a:cubicBezTo>
                      <a:pt x="100" y="224"/>
                      <a:pt x="99" y="214"/>
                      <a:pt x="109" y="213"/>
                    </a:cubicBezTo>
                    <a:cubicBezTo>
                      <a:pt x="111" y="213"/>
                      <a:pt x="119" y="212"/>
                      <a:pt x="121" y="216"/>
                    </a:cubicBezTo>
                    <a:cubicBezTo>
                      <a:pt x="127" y="226"/>
                      <a:pt x="125" y="245"/>
                      <a:pt x="136" y="252"/>
                    </a:cubicBezTo>
                    <a:cubicBezTo>
                      <a:pt x="141" y="260"/>
                      <a:pt x="151" y="264"/>
                      <a:pt x="157" y="267"/>
                    </a:cubicBezTo>
                    <a:cubicBezTo>
                      <a:pt x="163" y="270"/>
                      <a:pt x="168" y="268"/>
                      <a:pt x="172" y="268"/>
                    </a:cubicBezTo>
                    <a:cubicBezTo>
                      <a:pt x="176" y="270"/>
                      <a:pt x="180" y="266"/>
                      <a:pt x="184" y="268"/>
                    </a:cubicBezTo>
                    <a:cubicBezTo>
                      <a:pt x="188" y="270"/>
                      <a:pt x="193" y="277"/>
                      <a:pt x="193" y="277"/>
                    </a:cubicBezTo>
                    <a:cubicBezTo>
                      <a:pt x="195" y="313"/>
                      <a:pt x="189" y="309"/>
                      <a:pt x="221" y="312"/>
                    </a:cubicBezTo>
                    <a:cubicBezTo>
                      <a:pt x="228" y="320"/>
                      <a:pt x="230" y="321"/>
                      <a:pt x="232" y="324"/>
                    </a:cubicBezTo>
                    <a:cubicBezTo>
                      <a:pt x="234" y="327"/>
                      <a:pt x="234" y="324"/>
                      <a:pt x="235" y="330"/>
                    </a:cubicBezTo>
                    <a:cubicBezTo>
                      <a:pt x="238" y="337"/>
                      <a:pt x="236" y="352"/>
                      <a:pt x="236" y="358"/>
                    </a:cubicBezTo>
                    <a:cubicBezTo>
                      <a:pt x="236" y="364"/>
                      <a:pt x="231" y="361"/>
                      <a:pt x="232" y="369"/>
                    </a:cubicBezTo>
                    <a:cubicBezTo>
                      <a:pt x="234" y="400"/>
                      <a:pt x="224" y="406"/>
                      <a:pt x="245" y="409"/>
                    </a:cubicBezTo>
                    <a:cubicBezTo>
                      <a:pt x="254" y="413"/>
                      <a:pt x="266" y="407"/>
                      <a:pt x="275" y="412"/>
                    </a:cubicBezTo>
                    <a:cubicBezTo>
                      <a:pt x="279" y="415"/>
                      <a:pt x="275" y="422"/>
                      <a:pt x="277" y="427"/>
                    </a:cubicBezTo>
                    <a:cubicBezTo>
                      <a:pt x="278" y="429"/>
                      <a:pt x="279" y="429"/>
                      <a:pt x="281" y="430"/>
                    </a:cubicBezTo>
                    <a:cubicBezTo>
                      <a:pt x="284" y="431"/>
                      <a:pt x="286" y="431"/>
                      <a:pt x="289" y="432"/>
                    </a:cubicBezTo>
                    <a:cubicBezTo>
                      <a:pt x="290" y="435"/>
                      <a:pt x="298" y="442"/>
                      <a:pt x="298" y="450"/>
                    </a:cubicBezTo>
                    <a:cubicBezTo>
                      <a:pt x="298" y="458"/>
                      <a:pt x="294" y="467"/>
                      <a:pt x="287" y="478"/>
                    </a:cubicBezTo>
                    <a:cubicBezTo>
                      <a:pt x="281" y="486"/>
                      <a:pt x="264" y="506"/>
                      <a:pt x="256" y="517"/>
                    </a:cubicBezTo>
                    <a:cubicBezTo>
                      <a:pt x="255" y="523"/>
                      <a:pt x="250" y="526"/>
                      <a:pt x="253" y="532"/>
                    </a:cubicBezTo>
                    <a:cubicBezTo>
                      <a:pt x="254" y="535"/>
                      <a:pt x="284" y="561"/>
                      <a:pt x="289" y="564"/>
                    </a:cubicBezTo>
                    <a:cubicBezTo>
                      <a:pt x="293" y="569"/>
                      <a:pt x="298" y="572"/>
                      <a:pt x="302" y="577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70" name="Freeform 412">
                <a:extLst>
                  <a:ext uri="{FF2B5EF4-FFF2-40B4-BE49-F238E27FC236}">
                    <a16:creationId xmlns:a16="http://schemas.microsoft.com/office/drawing/2014/main" id="{4A638D00-E865-4B88-BD89-EE00B43BFCB7}"/>
                  </a:ext>
                </a:extLst>
              </p:cNvPr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gray">
              <a:xfrm>
                <a:off x="2370138" y="4186238"/>
                <a:ext cx="307975" cy="444500"/>
              </a:xfrm>
              <a:custGeom>
                <a:avLst/>
                <a:gdLst>
                  <a:gd name="T0" fmla="*/ 20 w 189"/>
                  <a:gd name="T1" fmla="*/ 66 h 280"/>
                  <a:gd name="T2" fmla="*/ 17 w 189"/>
                  <a:gd name="T3" fmla="*/ 98 h 280"/>
                  <a:gd name="T4" fmla="*/ 31 w 189"/>
                  <a:gd name="T5" fmla="*/ 113 h 280"/>
                  <a:gd name="T6" fmla="*/ 40 w 189"/>
                  <a:gd name="T7" fmla="*/ 126 h 280"/>
                  <a:gd name="T8" fmla="*/ 52 w 189"/>
                  <a:gd name="T9" fmla="*/ 156 h 280"/>
                  <a:gd name="T10" fmla="*/ 58 w 189"/>
                  <a:gd name="T11" fmla="*/ 177 h 280"/>
                  <a:gd name="T12" fmla="*/ 79 w 189"/>
                  <a:gd name="T13" fmla="*/ 195 h 280"/>
                  <a:gd name="T14" fmla="*/ 85 w 189"/>
                  <a:gd name="T15" fmla="*/ 213 h 280"/>
                  <a:gd name="T16" fmla="*/ 109 w 189"/>
                  <a:gd name="T17" fmla="*/ 240 h 280"/>
                  <a:gd name="T18" fmla="*/ 124 w 189"/>
                  <a:gd name="T19" fmla="*/ 246 h 280"/>
                  <a:gd name="T20" fmla="*/ 148 w 189"/>
                  <a:gd name="T21" fmla="*/ 258 h 280"/>
                  <a:gd name="T22" fmla="*/ 163 w 189"/>
                  <a:gd name="T23" fmla="*/ 270 h 280"/>
                  <a:gd name="T24" fmla="*/ 182 w 189"/>
                  <a:gd name="T25" fmla="*/ 255 h 280"/>
                  <a:gd name="T26" fmla="*/ 187 w 189"/>
                  <a:gd name="T27" fmla="*/ 185 h 280"/>
                  <a:gd name="T28" fmla="*/ 167 w 189"/>
                  <a:gd name="T29" fmla="*/ 168 h 280"/>
                  <a:gd name="T30" fmla="*/ 142 w 189"/>
                  <a:gd name="T31" fmla="*/ 150 h 280"/>
                  <a:gd name="T32" fmla="*/ 130 w 189"/>
                  <a:gd name="T33" fmla="*/ 143 h 280"/>
                  <a:gd name="T34" fmla="*/ 119 w 189"/>
                  <a:gd name="T35" fmla="*/ 129 h 280"/>
                  <a:gd name="T36" fmla="*/ 127 w 189"/>
                  <a:gd name="T37" fmla="*/ 96 h 280"/>
                  <a:gd name="T38" fmla="*/ 142 w 189"/>
                  <a:gd name="T39" fmla="*/ 74 h 280"/>
                  <a:gd name="T40" fmla="*/ 163 w 189"/>
                  <a:gd name="T41" fmla="*/ 68 h 280"/>
                  <a:gd name="T42" fmla="*/ 175 w 189"/>
                  <a:gd name="T43" fmla="*/ 53 h 280"/>
                  <a:gd name="T44" fmla="*/ 136 w 189"/>
                  <a:gd name="T45" fmla="*/ 42 h 280"/>
                  <a:gd name="T46" fmla="*/ 104 w 189"/>
                  <a:gd name="T47" fmla="*/ 12 h 280"/>
                  <a:gd name="T48" fmla="*/ 82 w 189"/>
                  <a:gd name="T49" fmla="*/ 0 h 280"/>
                  <a:gd name="T50" fmla="*/ 94 w 189"/>
                  <a:gd name="T51" fmla="*/ 21 h 280"/>
                  <a:gd name="T52" fmla="*/ 80 w 189"/>
                  <a:gd name="T53" fmla="*/ 39 h 280"/>
                  <a:gd name="T54" fmla="*/ 62 w 189"/>
                  <a:gd name="T55" fmla="*/ 44 h 280"/>
                  <a:gd name="T56" fmla="*/ 50 w 189"/>
                  <a:gd name="T57" fmla="*/ 54 h 280"/>
                  <a:gd name="T58" fmla="*/ 38 w 189"/>
                  <a:gd name="T59" fmla="*/ 78 h 280"/>
                  <a:gd name="T60" fmla="*/ 14 w 189"/>
                  <a:gd name="T61" fmla="*/ 66 h 280"/>
                  <a:gd name="T62" fmla="*/ 20 w 189"/>
                  <a:gd name="T63" fmla="*/ 66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9" h="280">
                    <a:moveTo>
                      <a:pt x="20" y="66"/>
                    </a:moveTo>
                    <a:cubicBezTo>
                      <a:pt x="0" y="56"/>
                      <a:pt x="6" y="92"/>
                      <a:pt x="17" y="98"/>
                    </a:cubicBezTo>
                    <a:cubicBezTo>
                      <a:pt x="21" y="103"/>
                      <a:pt x="26" y="110"/>
                      <a:pt x="31" y="113"/>
                    </a:cubicBezTo>
                    <a:cubicBezTo>
                      <a:pt x="39" y="123"/>
                      <a:pt x="36" y="119"/>
                      <a:pt x="40" y="126"/>
                    </a:cubicBezTo>
                    <a:cubicBezTo>
                      <a:pt x="42" y="138"/>
                      <a:pt x="43" y="147"/>
                      <a:pt x="52" y="156"/>
                    </a:cubicBezTo>
                    <a:cubicBezTo>
                      <a:pt x="53" y="166"/>
                      <a:pt x="52" y="170"/>
                      <a:pt x="58" y="177"/>
                    </a:cubicBezTo>
                    <a:cubicBezTo>
                      <a:pt x="60" y="190"/>
                      <a:pt x="66" y="193"/>
                      <a:pt x="79" y="195"/>
                    </a:cubicBezTo>
                    <a:cubicBezTo>
                      <a:pt x="80" y="201"/>
                      <a:pt x="82" y="207"/>
                      <a:pt x="85" y="213"/>
                    </a:cubicBezTo>
                    <a:cubicBezTo>
                      <a:pt x="87" y="227"/>
                      <a:pt x="95" y="237"/>
                      <a:pt x="109" y="240"/>
                    </a:cubicBezTo>
                    <a:cubicBezTo>
                      <a:pt x="114" y="244"/>
                      <a:pt x="118" y="245"/>
                      <a:pt x="124" y="246"/>
                    </a:cubicBezTo>
                    <a:cubicBezTo>
                      <a:pt x="130" y="251"/>
                      <a:pt x="140" y="256"/>
                      <a:pt x="148" y="258"/>
                    </a:cubicBezTo>
                    <a:cubicBezTo>
                      <a:pt x="155" y="263"/>
                      <a:pt x="154" y="268"/>
                      <a:pt x="163" y="270"/>
                    </a:cubicBezTo>
                    <a:cubicBezTo>
                      <a:pt x="176" y="280"/>
                      <a:pt x="180" y="265"/>
                      <a:pt x="182" y="255"/>
                    </a:cubicBezTo>
                    <a:cubicBezTo>
                      <a:pt x="186" y="241"/>
                      <a:pt x="189" y="199"/>
                      <a:pt x="187" y="185"/>
                    </a:cubicBezTo>
                    <a:cubicBezTo>
                      <a:pt x="185" y="171"/>
                      <a:pt x="174" y="174"/>
                      <a:pt x="167" y="168"/>
                    </a:cubicBezTo>
                    <a:cubicBezTo>
                      <a:pt x="160" y="151"/>
                      <a:pt x="150" y="157"/>
                      <a:pt x="142" y="150"/>
                    </a:cubicBezTo>
                    <a:cubicBezTo>
                      <a:pt x="136" y="145"/>
                      <a:pt x="134" y="146"/>
                      <a:pt x="130" y="143"/>
                    </a:cubicBezTo>
                    <a:cubicBezTo>
                      <a:pt x="126" y="140"/>
                      <a:pt x="119" y="137"/>
                      <a:pt x="119" y="129"/>
                    </a:cubicBezTo>
                    <a:cubicBezTo>
                      <a:pt x="117" y="115"/>
                      <a:pt x="120" y="108"/>
                      <a:pt x="127" y="96"/>
                    </a:cubicBezTo>
                    <a:cubicBezTo>
                      <a:pt x="128" y="83"/>
                      <a:pt x="128" y="76"/>
                      <a:pt x="142" y="74"/>
                    </a:cubicBezTo>
                    <a:cubicBezTo>
                      <a:pt x="149" y="72"/>
                      <a:pt x="156" y="69"/>
                      <a:pt x="163" y="68"/>
                    </a:cubicBezTo>
                    <a:cubicBezTo>
                      <a:pt x="169" y="65"/>
                      <a:pt x="172" y="59"/>
                      <a:pt x="175" y="53"/>
                    </a:cubicBezTo>
                    <a:cubicBezTo>
                      <a:pt x="169" y="38"/>
                      <a:pt x="149" y="43"/>
                      <a:pt x="136" y="42"/>
                    </a:cubicBezTo>
                    <a:cubicBezTo>
                      <a:pt x="124" y="35"/>
                      <a:pt x="117" y="20"/>
                      <a:pt x="104" y="12"/>
                    </a:cubicBezTo>
                    <a:cubicBezTo>
                      <a:pt x="100" y="7"/>
                      <a:pt x="87" y="4"/>
                      <a:pt x="82" y="0"/>
                    </a:cubicBezTo>
                    <a:cubicBezTo>
                      <a:pt x="79" y="2"/>
                      <a:pt x="94" y="15"/>
                      <a:pt x="94" y="21"/>
                    </a:cubicBezTo>
                    <a:cubicBezTo>
                      <a:pt x="94" y="27"/>
                      <a:pt x="85" y="35"/>
                      <a:pt x="80" y="39"/>
                    </a:cubicBezTo>
                    <a:cubicBezTo>
                      <a:pt x="74" y="42"/>
                      <a:pt x="68" y="42"/>
                      <a:pt x="62" y="44"/>
                    </a:cubicBezTo>
                    <a:cubicBezTo>
                      <a:pt x="57" y="47"/>
                      <a:pt x="55" y="51"/>
                      <a:pt x="50" y="54"/>
                    </a:cubicBezTo>
                    <a:cubicBezTo>
                      <a:pt x="48" y="62"/>
                      <a:pt x="45" y="77"/>
                      <a:pt x="38" y="78"/>
                    </a:cubicBezTo>
                    <a:cubicBezTo>
                      <a:pt x="35" y="77"/>
                      <a:pt x="14" y="67"/>
                      <a:pt x="14" y="66"/>
                    </a:cubicBezTo>
                    <a:cubicBezTo>
                      <a:pt x="15" y="64"/>
                      <a:pt x="18" y="66"/>
                      <a:pt x="20" y="6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71" name="Freeform 413">
                <a:extLst>
                  <a:ext uri="{FF2B5EF4-FFF2-40B4-BE49-F238E27FC236}">
                    <a16:creationId xmlns:a16="http://schemas.microsoft.com/office/drawing/2014/main" id="{4C32FA8D-FC3F-45EE-A063-E8E8FF1E5A99}"/>
                  </a:ext>
                </a:extLst>
              </p:cNvPr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gray">
              <a:xfrm>
                <a:off x="2382838" y="4167188"/>
                <a:ext cx="134938" cy="147638"/>
              </a:xfrm>
              <a:custGeom>
                <a:avLst/>
                <a:gdLst>
                  <a:gd name="T0" fmla="*/ 30 w 84"/>
                  <a:gd name="T1" fmla="*/ 0 h 94"/>
                  <a:gd name="T2" fmla="*/ 12 w 84"/>
                  <a:gd name="T3" fmla="*/ 18 h 94"/>
                  <a:gd name="T4" fmla="*/ 4 w 84"/>
                  <a:gd name="T5" fmla="*/ 38 h 94"/>
                  <a:gd name="T6" fmla="*/ 19 w 84"/>
                  <a:gd name="T7" fmla="*/ 51 h 94"/>
                  <a:gd name="T8" fmla="*/ 16 w 84"/>
                  <a:gd name="T9" fmla="*/ 74 h 94"/>
                  <a:gd name="T10" fmla="*/ 19 w 84"/>
                  <a:gd name="T11" fmla="*/ 84 h 94"/>
                  <a:gd name="T12" fmla="*/ 36 w 84"/>
                  <a:gd name="T13" fmla="*/ 87 h 94"/>
                  <a:gd name="T14" fmla="*/ 42 w 84"/>
                  <a:gd name="T15" fmla="*/ 72 h 94"/>
                  <a:gd name="T16" fmla="*/ 72 w 84"/>
                  <a:gd name="T17" fmla="*/ 50 h 94"/>
                  <a:gd name="T18" fmla="*/ 84 w 84"/>
                  <a:gd name="T19" fmla="*/ 35 h 94"/>
                  <a:gd name="T20" fmla="*/ 51 w 84"/>
                  <a:gd name="T21" fmla="*/ 0 h 94"/>
                  <a:gd name="T22" fmla="*/ 30 w 84"/>
                  <a:gd name="T2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4" h="94">
                    <a:moveTo>
                      <a:pt x="30" y="0"/>
                    </a:moveTo>
                    <a:cubicBezTo>
                      <a:pt x="20" y="4"/>
                      <a:pt x="20" y="12"/>
                      <a:pt x="12" y="18"/>
                    </a:cubicBezTo>
                    <a:cubicBezTo>
                      <a:pt x="9" y="25"/>
                      <a:pt x="7" y="31"/>
                      <a:pt x="4" y="38"/>
                    </a:cubicBezTo>
                    <a:cubicBezTo>
                      <a:pt x="0" y="61"/>
                      <a:pt x="4" y="62"/>
                      <a:pt x="19" y="51"/>
                    </a:cubicBezTo>
                    <a:cubicBezTo>
                      <a:pt x="22" y="59"/>
                      <a:pt x="20" y="67"/>
                      <a:pt x="16" y="74"/>
                    </a:cubicBezTo>
                    <a:cubicBezTo>
                      <a:pt x="14" y="84"/>
                      <a:pt x="12" y="79"/>
                      <a:pt x="19" y="84"/>
                    </a:cubicBezTo>
                    <a:cubicBezTo>
                      <a:pt x="21" y="89"/>
                      <a:pt x="27" y="94"/>
                      <a:pt x="36" y="87"/>
                    </a:cubicBezTo>
                    <a:cubicBezTo>
                      <a:pt x="37" y="87"/>
                      <a:pt x="41" y="74"/>
                      <a:pt x="42" y="72"/>
                    </a:cubicBezTo>
                    <a:cubicBezTo>
                      <a:pt x="49" y="62"/>
                      <a:pt x="60" y="52"/>
                      <a:pt x="72" y="50"/>
                    </a:cubicBezTo>
                    <a:cubicBezTo>
                      <a:pt x="79" y="47"/>
                      <a:pt x="80" y="41"/>
                      <a:pt x="84" y="35"/>
                    </a:cubicBezTo>
                    <a:cubicBezTo>
                      <a:pt x="81" y="17"/>
                      <a:pt x="66" y="8"/>
                      <a:pt x="51" y="0"/>
                    </a:cubicBezTo>
                    <a:cubicBezTo>
                      <a:pt x="47" y="1"/>
                      <a:pt x="32" y="6"/>
                      <a:pt x="30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72" name="Freeform 414">
                <a:extLst>
                  <a:ext uri="{FF2B5EF4-FFF2-40B4-BE49-F238E27FC236}">
                    <a16:creationId xmlns:a16="http://schemas.microsoft.com/office/drawing/2014/main" id="{E1908E60-154C-4B93-9792-3A4E54A2A6F0}"/>
                  </a:ext>
                </a:extLst>
              </p:cNvPr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gray">
              <a:xfrm>
                <a:off x="2930526" y="4922838"/>
                <a:ext cx="131763" cy="134938"/>
              </a:xfrm>
              <a:custGeom>
                <a:avLst/>
                <a:gdLst>
                  <a:gd name="T0" fmla="*/ 23 w 82"/>
                  <a:gd name="T1" fmla="*/ 0 h 84"/>
                  <a:gd name="T2" fmla="*/ 59 w 82"/>
                  <a:gd name="T3" fmla="*/ 30 h 84"/>
                  <a:gd name="T4" fmla="*/ 67 w 82"/>
                  <a:gd name="T5" fmla="*/ 38 h 84"/>
                  <a:gd name="T6" fmla="*/ 76 w 82"/>
                  <a:gd name="T7" fmla="*/ 51 h 84"/>
                  <a:gd name="T8" fmla="*/ 58 w 82"/>
                  <a:gd name="T9" fmla="*/ 84 h 84"/>
                  <a:gd name="T10" fmla="*/ 26 w 82"/>
                  <a:gd name="T11" fmla="*/ 83 h 84"/>
                  <a:gd name="T12" fmla="*/ 5 w 82"/>
                  <a:gd name="T13" fmla="*/ 74 h 84"/>
                  <a:gd name="T14" fmla="*/ 2 w 82"/>
                  <a:gd name="T15" fmla="*/ 48 h 84"/>
                  <a:gd name="T16" fmla="*/ 4 w 82"/>
                  <a:gd name="T17" fmla="*/ 20 h 84"/>
                  <a:gd name="T18" fmla="*/ 23 w 82"/>
                  <a:gd name="T1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2" h="84">
                    <a:moveTo>
                      <a:pt x="23" y="0"/>
                    </a:moveTo>
                    <a:cubicBezTo>
                      <a:pt x="31" y="10"/>
                      <a:pt x="48" y="23"/>
                      <a:pt x="59" y="30"/>
                    </a:cubicBezTo>
                    <a:cubicBezTo>
                      <a:pt x="64" y="36"/>
                      <a:pt x="61" y="34"/>
                      <a:pt x="67" y="38"/>
                    </a:cubicBezTo>
                    <a:cubicBezTo>
                      <a:pt x="71" y="45"/>
                      <a:pt x="72" y="44"/>
                      <a:pt x="76" y="51"/>
                    </a:cubicBezTo>
                    <a:cubicBezTo>
                      <a:pt x="80" y="77"/>
                      <a:pt x="82" y="82"/>
                      <a:pt x="58" y="84"/>
                    </a:cubicBezTo>
                    <a:cubicBezTo>
                      <a:pt x="47" y="84"/>
                      <a:pt x="37" y="84"/>
                      <a:pt x="26" y="83"/>
                    </a:cubicBezTo>
                    <a:cubicBezTo>
                      <a:pt x="19" y="82"/>
                      <a:pt x="13" y="75"/>
                      <a:pt x="5" y="74"/>
                    </a:cubicBezTo>
                    <a:cubicBezTo>
                      <a:pt x="0" y="67"/>
                      <a:pt x="2" y="57"/>
                      <a:pt x="2" y="48"/>
                    </a:cubicBezTo>
                    <a:cubicBezTo>
                      <a:pt x="2" y="39"/>
                      <a:pt x="1" y="28"/>
                      <a:pt x="4" y="20"/>
                    </a:cubicBezTo>
                    <a:cubicBezTo>
                      <a:pt x="7" y="12"/>
                      <a:pt x="20" y="4"/>
                      <a:pt x="23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73" name="Freeform 416">
                <a:extLst>
                  <a:ext uri="{FF2B5EF4-FFF2-40B4-BE49-F238E27FC236}">
                    <a16:creationId xmlns:a16="http://schemas.microsoft.com/office/drawing/2014/main" id="{476EB817-7686-45E2-B8C0-41CA621A04F9}"/>
                  </a:ext>
                </a:extLst>
              </p:cNvPr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gray">
              <a:xfrm>
                <a:off x="2116138" y="3754438"/>
                <a:ext cx="92075" cy="109538"/>
              </a:xfrm>
              <a:custGeom>
                <a:avLst/>
                <a:gdLst>
                  <a:gd name="T0" fmla="*/ 1 w 57"/>
                  <a:gd name="T1" fmla="*/ 58 h 69"/>
                  <a:gd name="T2" fmla="*/ 15 w 57"/>
                  <a:gd name="T3" fmla="*/ 68 h 69"/>
                  <a:gd name="T4" fmla="*/ 34 w 57"/>
                  <a:gd name="T5" fmla="*/ 65 h 69"/>
                  <a:gd name="T6" fmla="*/ 52 w 57"/>
                  <a:gd name="T7" fmla="*/ 49 h 69"/>
                  <a:gd name="T8" fmla="*/ 46 w 57"/>
                  <a:gd name="T9" fmla="*/ 40 h 69"/>
                  <a:gd name="T10" fmla="*/ 52 w 57"/>
                  <a:gd name="T11" fmla="*/ 20 h 69"/>
                  <a:gd name="T12" fmla="*/ 57 w 57"/>
                  <a:gd name="T13" fmla="*/ 2 h 69"/>
                  <a:gd name="T14" fmla="*/ 49 w 57"/>
                  <a:gd name="T15" fmla="*/ 7 h 69"/>
                  <a:gd name="T16" fmla="*/ 25 w 57"/>
                  <a:gd name="T17" fmla="*/ 7 h 69"/>
                  <a:gd name="T18" fmla="*/ 27 w 57"/>
                  <a:gd name="T19" fmla="*/ 22 h 69"/>
                  <a:gd name="T20" fmla="*/ 37 w 57"/>
                  <a:gd name="T21" fmla="*/ 34 h 69"/>
                  <a:gd name="T22" fmla="*/ 15 w 57"/>
                  <a:gd name="T23" fmla="*/ 35 h 69"/>
                  <a:gd name="T24" fmla="*/ 6 w 57"/>
                  <a:gd name="T25" fmla="*/ 46 h 69"/>
                  <a:gd name="T26" fmla="*/ 1 w 57"/>
                  <a:gd name="T27" fmla="*/ 5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69">
                    <a:moveTo>
                      <a:pt x="1" y="58"/>
                    </a:moveTo>
                    <a:cubicBezTo>
                      <a:pt x="2" y="62"/>
                      <a:pt x="10" y="67"/>
                      <a:pt x="15" y="68"/>
                    </a:cubicBezTo>
                    <a:cubicBezTo>
                      <a:pt x="20" y="69"/>
                      <a:pt x="28" y="68"/>
                      <a:pt x="34" y="65"/>
                    </a:cubicBezTo>
                    <a:cubicBezTo>
                      <a:pt x="40" y="62"/>
                      <a:pt x="50" y="53"/>
                      <a:pt x="52" y="49"/>
                    </a:cubicBezTo>
                    <a:cubicBezTo>
                      <a:pt x="54" y="45"/>
                      <a:pt x="46" y="45"/>
                      <a:pt x="46" y="40"/>
                    </a:cubicBezTo>
                    <a:cubicBezTo>
                      <a:pt x="46" y="35"/>
                      <a:pt x="50" y="26"/>
                      <a:pt x="52" y="20"/>
                    </a:cubicBezTo>
                    <a:cubicBezTo>
                      <a:pt x="54" y="14"/>
                      <a:pt x="57" y="4"/>
                      <a:pt x="57" y="2"/>
                    </a:cubicBezTo>
                    <a:cubicBezTo>
                      <a:pt x="57" y="0"/>
                      <a:pt x="54" y="6"/>
                      <a:pt x="49" y="7"/>
                    </a:cubicBezTo>
                    <a:cubicBezTo>
                      <a:pt x="44" y="8"/>
                      <a:pt x="29" y="5"/>
                      <a:pt x="25" y="7"/>
                    </a:cubicBezTo>
                    <a:cubicBezTo>
                      <a:pt x="21" y="9"/>
                      <a:pt x="25" y="18"/>
                      <a:pt x="27" y="22"/>
                    </a:cubicBezTo>
                    <a:cubicBezTo>
                      <a:pt x="29" y="26"/>
                      <a:pt x="39" y="32"/>
                      <a:pt x="37" y="34"/>
                    </a:cubicBezTo>
                    <a:cubicBezTo>
                      <a:pt x="35" y="36"/>
                      <a:pt x="20" y="33"/>
                      <a:pt x="15" y="35"/>
                    </a:cubicBezTo>
                    <a:cubicBezTo>
                      <a:pt x="10" y="37"/>
                      <a:pt x="8" y="42"/>
                      <a:pt x="6" y="46"/>
                    </a:cubicBezTo>
                    <a:cubicBezTo>
                      <a:pt x="4" y="50"/>
                      <a:pt x="0" y="54"/>
                      <a:pt x="1" y="5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74" name="Freeform 417">
                <a:extLst>
                  <a:ext uri="{FF2B5EF4-FFF2-40B4-BE49-F238E27FC236}">
                    <a16:creationId xmlns:a16="http://schemas.microsoft.com/office/drawing/2014/main" id="{50171300-E5C5-4D46-AE2B-868827F10BD0}"/>
                  </a:ext>
                </a:extLst>
              </p:cNvPr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gray">
              <a:xfrm>
                <a:off x="2193926" y="3798888"/>
                <a:ext cx="144463" cy="84138"/>
              </a:xfrm>
              <a:custGeom>
                <a:avLst/>
                <a:gdLst>
                  <a:gd name="T0" fmla="*/ 3 w 89"/>
                  <a:gd name="T1" fmla="*/ 34 h 53"/>
                  <a:gd name="T2" fmla="*/ 18 w 89"/>
                  <a:gd name="T3" fmla="*/ 42 h 53"/>
                  <a:gd name="T4" fmla="*/ 25 w 89"/>
                  <a:gd name="T5" fmla="*/ 52 h 53"/>
                  <a:gd name="T6" fmla="*/ 46 w 89"/>
                  <a:gd name="T7" fmla="*/ 39 h 53"/>
                  <a:gd name="T8" fmla="*/ 66 w 89"/>
                  <a:gd name="T9" fmla="*/ 30 h 53"/>
                  <a:gd name="T10" fmla="*/ 87 w 89"/>
                  <a:gd name="T11" fmla="*/ 28 h 53"/>
                  <a:gd name="T12" fmla="*/ 78 w 89"/>
                  <a:gd name="T13" fmla="*/ 7 h 53"/>
                  <a:gd name="T14" fmla="*/ 63 w 89"/>
                  <a:gd name="T15" fmla="*/ 7 h 53"/>
                  <a:gd name="T16" fmla="*/ 40 w 89"/>
                  <a:gd name="T17" fmla="*/ 1 h 53"/>
                  <a:gd name="T18" fmla="*/ 24 w 89"/>
                  <a:gd name="T19" fmla="*/ 12 h 53"/>
                  <a:gd name="T20" fmla="*/ 9 w 89"/>
                  <a:gd name="T21" fmla="*/ 12 h 53"/>
                  <a:gd name="T22" fmla="*/ 1 w 89"/>
                  <a:gd name="T23" fmla="*/ 22 h 53"/>
                  <a:gd name="T24" fmla="*/ 3 w 89"/>
                  <a:gd name="T25" fmla="*/ 34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" h="53">
                    <a:moveTo>
                      <a:pt x="3" y="34"/>
                    </a:moveTo>
                    <a:cubicBezTo>
                      <a:pt x="6" y="37"/>
                      <a:pt x="14" y="39"/>
                      <a:pt x="18" y="42"/>
                    </a:cubicBezTo>
                    <a:cubicBezTo>
                      <a:pt x="22" y="45"/>
                      <a:pt x="20" y="53"/>
                      <a:pt x="25" y="52"/>
                    </a:cubicBezTo>
                    <a:cubicBezTo>
                      <a:pt x="30" y="51"/>
                      <a:pt x="39" y="43"/>
                      <a:pt x="46" y="39"/>
                    </a:cubicBezTo>
                    <a:cubicBezTo>
                      <a:pt x="53" y="35"/>
                      <a:pt x="59" y="32"/>
                      <a:pt x="66" y="30"/>
                    </a:cubicBezTo>
                    <a:cubicBezTo>
                      <a:pt x="73" y="28"/>
                      <a:pt x="85" y="32"/>
                      <a:pt x="87" y="28"/>
                    </a:cubicBezTo>
                    <a:cubicBezTo>
                      <a:pt x="89" y="24"/>
                      <a:pt x="82" y="10"/>
                      <a:pt x="78" y="7"/>
                    </a:cubicBezTo>
                    <a:cubicBezTo>
                      <a:pt x="74" y="4"/>
                      <a:pt x="69" y="8"/>
                      <a:pt x="63" y="7"/>
                    </a:cubicBezTo>
                    <a:cubicBezTo>
                      <a:pt x="57" y="6"/>
                      <a:pt x="46" y="0"/>
                      <a:pt x="40" y="1"/>
                    </a:cubicBezTo>
                    <a:cubicBezTo>
                      <a:pt x="34" y="2"/>
                      <a:pt x="29" y="10"/>
                      <a:pt x="24" y="12"/>
                    </a:cubicBezTo>
                    <a:cubicBezTo>
                      <a:pt x="19" y="14"/>
                      <a:pt x="13" y="10"/>
                      <a:pt x="9" y="12"/>
                    </a:cubicBezTo>
                    <a:cubicBezTo>
                      <a:pt x="5" y="14"/>
                      <a:pt x="2" y="18"/>
                      <a:pt x="1" y="22"/>
                    </a:cubicBezTo>
                    <a:cubicBezTo>
                      <a:pt x="0" y="26"/>
                      <a:pt x="1" y="30"/>
                      <a:pt x="3" y="3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75" name="Freeform 418">
                <a:extLst>
                  <a:ext uri="{FF2B5EF4-FFF2-40B4-BE49-F238E27FC236}">
                    <a16:creationId xmlns:a16="http://schemas.microsoft.com/office/drawing/2014/main" id="{E52E8466-3451-4C03-94E1-33C0E4417997}"/>
                  </a:ext>
                </a:extLst>
              </p:cNvPr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gray">
              <a:xfrm>
                <a:off x="2157413" y="3851275"/>
                <a:ext cx="80963" cy="53975"/>
              </a:xfrm>
              <a:custGeom>
                <a:avLst/>
                <a:gdLst>
                  <a:gd name="T0" fmla="*/ 13 w 50"/>
                  <a:gd name="T1" fmla="*/ 0 h 34"/>
                  <a:gd name="T2" fmla="*/ 1 w 50"/>
                  <a:gd name="T3" fmla="*/ 16 h 34"/>
                  <a:gd name="T4" fmla="*/ 10 w 50"/>
                  <a:gd name="T5" fmla="*/ 24 h 34"/>
                  <a:gd name="T6" fmla="*/ 32 w 50"/>
                  <a:gd name="T7" fmla="*/ 27 h 34"/>
                  <a:gd name="T8" fmla="*/ 44 w 50"/>
                  <a:gd name="T9" fmla="*/ 33 h 34"/>
                  <a:gd name="T10" fmla="*/ 49 w 50"/>
                  <a:gd name="T11" fmla="*/ 22 h 34"/>
                  <a:gd name="T12" fmla="*/ 38 w 50"/>
                  <a:gd name="T13" fmla="*/ 12 h 34"/>
                  <a:gd name="T14" fmla="*/ 31 w 50"/>
                  <a:gd name="T15" fmla="*/ 3 h 34"/>
                  <a:gd name="T16" fmla="*/ 15 w 50"/>
                  <a:gd name="T17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34">
                    <a:moveTo>
                      <a:pt x="13" y="0"/>
                    </a:moveTo>
                    <a:cubicBezTo>
                      <a:pt x="11" y="3"/>
                      <a:pt x="2" y="12"/>
                      <a:pt x="1" y="16"/>
                    </a:cubicBezTo>
                    <a:cubicBezTo>
                      <a:pt x="0" y="20"/>
                      <a:pt x="5" y="22"/>
                      <a:pt x="10" y="24"/>
                    </a:cubicBezTo>
                    <a:cubicBezTo>
                      <a:pt x="15" y="26"/>
                      <a:pt x="26" y="26"/>
                      <a:pt x="32" y="27"/>
                    </a:cubicBezTo>
                    <a:cubicBezTo>
                      <a:pt x="38" y="28"/>
                      <a:pt x="41" y="34"/>
                      <a:pt x="44" y="33"/>
                    </a:cubicBezTo>
                    <a:cubicBezTo>
                      <a:pt x="47" y="32"/>
                      <a:pt x="50" y="26"/>
                      <a:pt x="49" y="22"/>
                    </a:cubicBezTo>
                    <a:cubicBezTo>
                      <a:pt x="48" y="18"/>
                      <a:pt x="41" y="15"/>
                      <a:pt x="38" y="12"/>
                    </a:cubicBezTo>
                    <a:cubicBezTo>
                      <a:pt x="35" y="9"/>
                      <a:pt x="35" y="5"/>
                      <a:pt x="31" y="3"/>
                    </a:cubicBezTo>
                    <a:cubicBezTo>
                      <a:pt x="27" y="1"/>
                      <a:pt x="18" y="2"/>
                      <a:pt x="15" y="1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76" name="Freeform 419">
                <a:extLst>
                  <a:ext uri="{FF2B5EF4-FFF2-40B4-BE49-F238E27FC236}">
                    <a16:creationId xmlns:a16="http://schemas.microsoft.com/office/drawing/2014/main" id="{06EA94D5-8D5B-43BC-8712-0BBDB8395428}"/>
                  </a:ext>
                </a:extLst>
              </p:cNvPr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gray">
              <a:xfrm>
                <a:off x="2228851" y="3840163"/>
                <a:ext cx="109538" cy="106363"/>
              </a:xfrm>
              <a:custGeom>
                <a:avLst/>
                <a:gdLst>
                  <a:gd name="T0" fmla="*/ 3 w 67"/>
                  <a:gd name="T1" fmla="*/ 35 h 67"/>
                  <a:gd name="T2" fmla="*/ 18 w 67"/>
                  <a:gd name="T3" fmla="*/ 50 h 67"/>
                  <a:gd name="T4" fmla="*/ 26 w 67"/>
                  <a:gd name="T5" fmla="*/ 58 h 67"/>
                  <a:gd name="T6" fmla="*/ 26 w 67"/>
                  <a:gd name="T7" fmla="*/ 55 h 67"/>
                  <a:gd name="T8" fmla="*/ 42 w 67"/>
                  <a:gd name="T9" fmla="*/ 65 h 67"/>
                  <a:gd name="T10" fmla="*/ 60 w 67"/>
                  <a:gd name="T11" fmla="*/ 59 h 67"/>
                  <a:gd name="T12" fmla="*/ 62 w 67"/>
                  <a:gd name="T13" fmla="*/ 16 h 67"/>
                  <a:gd name="T14" fmla="*/ 62 w 67"/>
                  <a:gd name="T15" fmla="*/ 1 h 67"/>
                  <a:gd name="T16" fmla="*/ 33 w 67"/>
                  <a:gd name="T17" fmla="*/ 8 h 67"/>
                  <a:gd name="T18" fmla="*/ 3 w 67"/>
                  <a:gd name="T19" fmla="*/ 3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67">
                    <a:moveTo>
                      <a:pt x="3" y="35"/>
                    </a:moveTo>
                    <a:cubicBezTo>
                      <a:pt x="0" y="42"/>
                      <a:pt x="14" y="46"/>
                      <a:pt x="18" y="50"/>
                    </a:cubicBezTo>
                    <a:cubicBezTo>
                      <a:pt x="22" y="54"/>
                      <a:pt x="25" y="57"/>
                      <a:pt x="26" y="58"/>
                    </a:cubicBezTo>
                    <a:cubicBezTo>
                      <a:pt x="27" y="59"/>
                      <a:pt x="23" y="54"/>
                      <a:pt x="26" y="55"/>
                    </a:cubicBezTo>
                    <a:cubicBezTo>
                      <a:pt x="29" y="56"/>
                      <a:pt x="36" y="64"/>
                      <a:pt x="42" y="65"/>
                    </a:cubicBezTo>
                    <a:cubicBezTo>
                      <a:pt x="48" y="66"/>
                      <a:pt x="57" y="67"/>
                      <a:pt x="60" y="59"/>
                    </a:cubicBezTo>
                    <a:cubicBezTo>
                      <a:pt x="63" y="51"/>
                      <a:pt x="62" y="26"/>
                      <a:pt x="62" y="16"/>
                    </a:cubicBezTo>
                    <a:cubicBezTo>
                      <a:pt x="62" y="6"/>
                      <a:pt x="67" y="2"/>
                      <a:pt x="62" y="1"/>
                    </a:cubicBezTo>
                    <a:cubicBezTo>
                      <a:pt x="57" y="0"/>
                      <a:pt x="43" y="3"/>
                      <a:pt x="33" y="8"/>
                    </a:cubicBezTo>
                    <a:cubicBezTo>
                      <a:pt x="23" y="13"/>
                      <a:pt x="6" y="28"/>
                      <a:pt x="3" y="3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77" name="Freeform 420">
                <a:extLst>
                  <a:ext uri="{FF2B5EF4-FFF2-40B4-BE49-F238E27FC236}">
                    <a16:creationId xmlns:a16="http://schemas.microsoft.com/office/drawing/2014/main" id="{695E41B7-ED5D-44DB-ADDD-172337A9185A}"/>
                  </a:ext>
                </a:extLst>
              </p:cNvPr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gray">
              <a:xfrm>
                <a:off x="2297113" y="3633788"/>
                <a:ext cx="247650" cy="87313"/>
              </a:xfrm>
              <a:custGeom>
                <a:avLst/>
                <a:gdLst>
                  <a:gd name="T0" fmla="*/ 0 w 152"/>
                  <a:gd name="T1" fmla="*/ 19 h 56"/>
                  <a:gd name="T2" fmla="*/ 12 w 152"/>
                  <a:gd name="T3" fmla="*/ 9 h 56"/>
                  <a:gd name="T4" fmla="*/ 23 w 152"/>
                  <a:gd name="T5" fmla="*/ 0 h 56"/>
                  <a:gd name="T6" fmla="*/ 92 w 152"/>
                  <a:gd name="T7" fmla="*/ 4 h 56"/>
                  <a:gd name="T8" fmla="*/ 110 w 152"/>
                  <a:gd name="T9" fmla="*/ 13 h 56"/>
                  <a:gd name="T10" fmla="*/ 128 w 152"/>
                  <a:gd name="T11" fmla="*/ 21 h 56"/>
                  <a:gd name="T12" fmla="*/ 143 w 152"/>
                  <a:gd name="T13" fmla="*/ 31 h 56"/>
                  <a:gd name="T14" fmla="*/ 152 w 152"/>
                  <a:gd name="T15" fmla="*/ 43 h 56"/>
                  <a:gd name="T16" fmla="*/ 143 w 152"/>
                  <a:gd name="T17" fmla="*/ 54 h 56"/>
                  <a:gd name="T18" fmla="*/ 93 w 152"/>
                  <a:gd name="T19" fmla="*/ 45 h 56"/>
                  <a:gd name="T20" fmla="*/ 51 w 152"/>
                  <a:gd name="T21" fmla="*/ 18 h 56"/>
                  <a:gd name="T22" fmla="*/ 24 w 152"/>
                  <a:gd name="T23" fmla="*/ 28 h 56"/>
                  <a:gd name="T24" fmla="*/ 15 w 152"/>
                  <a:gd name="T25" fmla="*/ 16 h 56"/>
                  <a:gd name="T26" fmla="*/ 0 w 152"/>
                  <a:gd name="T27" fmla="*/ 1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2" h="56">
                    <a:moveTo>
                      <a:pt x="0" y="19"/>
                    </a:moveTo>
                    <a:cubicBezTo>
                      <a:pt x="5" y="16"/>
                      <a:pt x="7" y="12"/>
                      <a:pt x="12" y="9"/>
                    </a:cubicBezTo>
                    <a:cubicBezTo>
                      <a:pt x="15" y="3"/>
                      <a:pt x="16" y="1"/>
                      <a:pt x="23" y="0"/>
                    </a:cubicBezTo>
                    <a:cubicBezTo>
                      <a:pt x="57" y="1"/>
                      <a:pt x="66" y="2"/>
                      <a:pt x="92" y="4"/>
                    </a:cubicBezTo>
                    <a:cubicBezTo>
                      <a:pt x="98" y="7"/>
                      <a:pt x="104" y="9"/>
                      <a:pt x="110" y="13"/>
                    </a:cubicBezTo>
                    <a:cubicBezTo>
                      <a:pt x="115" y="20"/>
                      <a:pt x="120" y="18"/>
                      <a:pt x="128" y="21"/>
                    </a:cubicBezTo>
                    <a:cubicBezTo>
                      <a:pt x="129" y="29"/>
                      <a:pt x="135" y="29"/>
                      <a:pt x="143" y="31"/>
                    </a:cubicBezTo>
                    <a:cubicBezTo>
                      <a:pt x="148" y="35"/>
                      <a:pt x="149" y="38"/>
                      <a:pt x="152" y="43"/>
                    </a:cubicBezTo>
                    <a:cubicBezTo>
                      <a:pt x="149" y="48"/>
                      <a:pt x="148" y="51"/>
                      <a:pt x="143" y="54"/>
                    </a:cubicBezTo>
                    <a:cubicBezTo>
                      <a:pt x="113" y="52"/>
                      <a:pt x="112" y="56"/>
                      <a:pt x="93" y="45"/>
                    </a:cubicBezTo>
                    <a:cubicBezTo>
                      <a:pt x="89" y="38"/>
                      <a:pt x="61" y="20"/>
                      <a:pt x="51" y="18"/>
                    </a:cubicBezTo>
                    <a:cubicBezTo>
                      <a:pt x="27" y="20"/>
                      <a:pt x="39" y="25"/>
                      <a:pt x="24" y="28"/>
                    </a:cubicBezTo>
                    <a:cubicBezTo>
                      <a:pt x="19" y="24"/>
                      <a:pt x="17" y="22"/>
                      <a:pt x="15" y="16"/>
                    </a:cubicBezTo>
                    <a:cubicBezTo>
                      <a:pt x="11" y="18"/>
                      <a:pt x="3" y="22"/>
                      <a:pt x="0" y="1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78" name="Freeform 421">
                <a:extLst>
                  <a:ext uri="{FF2B5EF4-FFF2-40B4-BE49-F238E27FC236}">
                    <a16:creationId xmlns:a16="http://schemas.microsoft.com/office/drawing/2014/main" id="{7A58F0A6-7D1F-44DF-91E0-3A537CC2C893}"/>
                  </a:ext>
                </a:extLst>
              </p:cNvPr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gray">
              <a:xfrm>
                <a:off x="2432051" y="3527425"/>
                <a:ext cx="195263" cy="158750"/>
              </a:xfrm>
              <a:custGeom>
                <a:avLst/>
                <a:gdLst>
                  <a:gd name="T0" fmla="*/ 3 w 121"/>
                  <a:gd name="T1" fmla="*/ 3 h 100"/>
                  <a:gd name="T2" fmla="*/ 27 w 121"/>
                  <a:gd name="T3" fmla="*/ 1 h 100"/>
                  <a:gd name="T4" fmla="*/ 34 w 121"/>
                  <a:gd name="T5" fmla="*/ 12 h 100"/>
                  <a:gd name="T6" fmla="*/ 31 w 121"/>
                  <a:gd name="T7" fmla="*/ 34 h 100"/>
                  <a:gd name="T8" fmla="*/ 40 w 121"/>
                  <a:gd name="T9" fmla="*/ 33 h 100"/>
                  <a:gd name="T10" fmla="*/ 45 w 121"/>
                  <a:gd name="T11" fmla="*/ 51 h 100"/>
                  <a:gd name="T12" fmla="*/ 63 w 121"/>
                  <a:gd name="T13" fmla="*/ 57 h 100"/>
                  <a:gd name="T14" fmla="*/ 81 w 121"/>
                  <a:gd name="T15" fmla="*/ 55 h 100"/>
                  <a:gd name="T16" fmla="*/ 76 w 121"/>
                  <a:gd name="T17" fmla="*/ 54 h 100"/>
                  <a:gd name="T18" fmla="*/ 93 w 121"/>
                  <a:gd name="T19" fmla="*/ 76 h 100"/>
                  <a:gd name="T20" fmla="*/ 115 w 121"/>
                  <a:gd name="T21" fmla="*/ 87 h 100"/>
                  <a:gd name="T22" fmla="*/ 109 w 121"/>
                  <a:gd name="T23" fmla="*/ 99 h 100"/>
                  <a:gd name="T24" fmla="*/ 85 w 121"/>
                  <a:gd name="T25" fmla="*/ 76 h 100"/>
                  <a:gd name="T26" fmla="*/ 73 w 121"/>
                  <a:gd name="T27" fmla="*/ 81 h 100"/>
                  <a:gd name="T28" fmla="*/ 42 w 121"/>
                  <a:gd name="T29" fmla="*/ 61 h 100"/>
                  <a:gd name="T30" fmla="*/ 31 w 121"/>
                  <a:gd name="T31" fmla="*/ 43 h 100"/>
                  <a:gd name="T32" fmla="*/ 21 w 121"/>
                  <a:gd name="T33" fmla="*/ 66 h 100"/>
                  <a:gd name="T34" fmla="*/ 9 w 121"/>
                  <a:gd name="T35" fmla="*/ 54 h 100"/>
                  <a:gd name="T36" fmla="*/ 16 w 121"/>
                  <a:gd name="T37" fmla="*/ 28 h 100"/>
                  <a:gd name="T38" fmla="*/ 0 w 121"/>
                  <a:gd name="T39" fmla="*/ 13 h 100"/>
                  <a:gd name="T40" fmla="*/ 3 w 121"/>
                  <a:gd name="T41" fmla="*/ 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1" h="100">
                    <a:moveTo>
                      <a:pt x="3" y="3"/>
                    </a:moveTo>
                    <a:cubicBezTo>
                      <a:pt x="12" y="2"/>
                      <a:pt x="18" y="0"/>
                      <a:pt x="27" y="1"/>
                    </a:cubicBezTo>
                    <a:cubicBezTo>
                      <a:pt x="32" y="7"/>
                      <a:pt x="37" y="4"/>
                      <a:pt x="34" y="12"/>
                    </a:cubicBezTo>
                    <a:cubicBezTo>
                      <a:pt x="32" y="23"/>
                      <a:pt x="30" y="20"/>
                      <a:pt x="31" y="34"/>
                    </a:cubicBezTo>
                    <a:cubicBezTo>
                      <a:pt x="34" y="34"/>
                      <a:pt x="37" y="33"/>
                      <a:pt x="40" y="33"/>
                    </a:cubicBezTo>
                    <a:cubicBezTo>
                      <a:pt x="54" y="33"/>
                      <a:pt x="58" y="45"/>
                      <a:pt x="45" y="51"/>
                    </a:cubicBezTo>
                    <a:cubicBezTo>
                      <a:pt x="51" y="54"/>
                      <a:pt x="57" y="55"/>
                      <a:pt x="63" y="57"/>
                    </a:cubicBezTo>
                    <a:cubicBezTo>
                      <a:pt x="69" y="56"/>
                      <a:pt x="75" y="56"/>
                      <a:pt x="81" y="55"/>
                    </a:cubicBezTo>
                    <a:cubicBezTo>
                      <a:pt x="83" y="55"/>
                      <a:pt x="77" y="52"/>
                      <a:pt x="76" y="54"/>
                    </a:cubicBezTo>
                    <a:cubicBezTo>
                      <a:pt x="71" y="63"/>
                      <a:pt x="84" y="75"/>
                      <a:pt x="93" y="76"/>
                    </a:cubicBezTo>
                    <a:cubicBezTo>
                      <a:pt x="97" y="83"/>
                      <a:pt x="107" y="83"/>
                      <a:pt x="115" y="87"/>
                    </a:cubicBezTo>
                    <a:cubicBezTo>
                      <a:pt x="121" y="95"/>
                      <a:pt x="120" y="100"/>
                      <a:pt x="109" y="99"/>
                    </a:cubicBezTo>
                    <a:cubicBezTo>
                      <a:pt x="99" y="94"/>
                      <a:pt x="95" y="82"/>
                      <a:pt x="85" y="76"/>
                    </a:cubicBezTo>
                    <a:cubicBezTo>
                      <a:pt x="76" y="79"/>
                      <a:pt x="82" y="86"/>
                      <a:pt x="73" y="81"/>
                    </a:cubicBezTo>
                    <a:cubicBezTo>
                      <a:pt x="65" y="68"/>
                      <a:pt x="56" y="63"/>
                      <a:pt x="42" y="61"/>
                    </a:cubicBezTo>
                    <a:cubicBezTo>
                      <a:pt x="38" y="55"/>
                      <a:pt x="34" y="50"/>
                      <a:pt x="31" y="43"/>
                    </a:cubicBezTo>
                    <a:cubicBezTo>
                      <a:pt x="21" y="46"/>
                      <a:pt x="23" y="55"/>
                      <a:pt x="21" y="66"/>
                    </a:cubicBezTo>
                    <a:cubicBezTo>
                      <a:pt x="18" y="61"/>
                      <a:pt x="9" y="54"/>
                      <a:pt x="9" y="54"/>
                    </a:cubicBezTo>
                    <a:cubicBezTo>
                      <a:pt x="5" y="44"/>
                      <a:pt x="8" y="34"/>
                      <a:pt x="16" y="28"/>
                    </a:cubicBezTo>
                    <a:cubicBezTo>
                      <a:pt x="15" y="14"/>
                      <a:pt x="13" y="16"/>
                      <a:pt x="0" y="13"/>
                    </a:cubicBezTo>
                    <a:cubicBezTo>
                      <a:pt x="1" y="5"/>
                      <a:pt x="0" y="8"/>
                      <a:pt x="3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79" name="Freeform 422">
                <a:extLst>
                  <a:ext uri="{FF2B5EF4-FFF2-40B4-BE49-F238E27FC236}">
                    <a16:creationId xmlns:a16="http://schemas.microsoft.com/office/drawing/2014/main" id="{F3D1007E-297E-4BC6-BA0A-4B0C52191F5A}"/>
                  </a:ext>
                </a:extLst>
              </p:cNvPr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gray">
              <a:xfrm>
                <a:off x="2454276" y="3748088"/>
                <a:ext cx="68263" cy="17463"/>
              </a:xfrm>
              <a:custGeom>
                <a:avLst/>
                <a:gdLst>
                  <a:gd name="T0" fmla="*/ 2 w 43"/>
                  <a:gd name="T1" fmla="*/ 5 h 11"/>
                  <a:gd name="T2" fmla="*/ 22 w 43"/>
                  <a:gd name="T3" fmla="*/ 2 h 11"/>
                  <a:gd name="T4" fmla="*/ 5 w 43"/>
                  <a:gd name="T5" fmla="*/ 6 h 11"/>
                  <a:gd name="T6" fmla="*/ 2 w 43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11">
                    <a:moveTo>
                      <a:pt x="2" y="5"/>
                    </a:moveTo>
                    <a:cubicBezTo>
                      <a:pt x="11" y="0"/>
                      <a:pt x="10" y="0"/>
                      <a:pt x="22" y="2"/>
                    </a:cubicBezTo>
                    <a:cubicBezTo>
                      <a:pt x="34" y="11"/>
                      <a:pt x="43" y="9"/>
                      <a:pt x="5" y="6"/>
                    </a:cubicBezTo>
                    <a:cubicBezTo>
                      <a:pt x="0" y="3"/>
                      <a:pt x="0" y="2"/>
                      <a:pt x="2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80" name="Freeform 423">
                <a:extLst>
                  <a:ext uri="{FF2B5EF4-FFF2-40B4-BE49-F238E27FC236}">
                    <a16:creationId xmlns:a16="http://schemas.microsoft.com/office/drawing/2014/main" id="{980B1529-CB03-4B79-816A-79B603ED0286}"/>
                  </a:ext>
                </a:extLst>
              </p:cNvPr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gray">
              <a:xfrm>
                <a:off x="2605088" y="3705225"/>
                <a:ext cx="103188" cy="65088"/>
              </a:xfrm>
              <a:custGeom>
                <a:avLst/>
                <a:gdLst>
                  <a:gd name="T0" fmla="*/ 2 w 64"/>
                  <a:gd name="T1" fmla="*/ 3 h 41"/>
                  <a:gd name="T2" fmla="*/ 1 w 64"/>
                  <a:gd name="T3" fmla="*/ 18 h 41"/>
                  <a:gd name="T4" fmla="*/ 11 w 64"/>
                  <a:gd name="T5" fmla="*/ 38 h 41"/>
                  <a:gd name="T6" fmla="*/ 56 w 64"/>
                  <a:gd name="T7" fmla="*/ 36 h 41"/>
                  <a:gd name="T8" fmla="*/ 59 w 64"/>
                  <a:gd name="T9" fmla="*/ 32 h 41"/>
                  <a:gd name="T10" fmla="*/ 32 w 64"/>
                  <a:gd name="T11" fmla="*/ 5 h 41"/>
                  <a:gd name="T12" fmla="*/ 8 w 64"/>
                  <a:gd name="T13" fmla="*/ 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41">
                    <a:moveTo>
                      <a:pt x="2" y="3"/>
                    </a:moveTo>
                    <a:cubicBezTo>
                      <a:pt x="2" y="5"/>
                      <a:pt x="0" y="12"/>
                      <a:pt x="1" y="18"/>
                    </a:cubicBezTo>
                    <a:cubicBezTo>
                      <a:pt x="2" y="24"/>
                      <a:pt x="2" y="35"/>
                      <a:pt x="11" y="38"/>
                    </a:cubicBezTo>
                    <a:cubicBezTo>
                      <a:pt x="20" y="41"/>
                      <a:pt x="45" y="36"/>
                      <a:pt x="56" y="36"/>
                    </a:cubicBezTo>
                    <a:cubicBezTo>
                      <a:pt x="64" y="35"/>
                      <a:pt x="63" y="37"/>
                      <a:pt x="59" y="32"/>
                    </a:cubicBezTo>
                    <a:cubicBezTo>
                      <a:pt x="47" y="29"/>
                      <a:pt x="40" y="10"/>
                      <a:pt x="32" y="5"/>
                    </a:cubicBezTo>
                    <a:cubicBezTo>
                      <a:pt x="24" y="0"/>
                      <a:pt x="13" y="3"/>
                      <a:pt x="8" y="2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81" name="Freeform 424">
                <a:extLst>
                  <a:ext uri="{FF2B5EF4-FFF2-40B4-BE49-F238E27FC236}">
                    <a16:creationId xmlns:a16="http://schemas.microsoft.com/office/drawing/2014/main" id="{42EA6E28-5ECF-4937-BD8C-9DA5E25D46BD}"/>
                  </a:ext>
                </a:extLst>
              </p:cNvPr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gray">
              <a:xfrm>
                <a:off x="2506663" y="4613275"/>
                <a:ext cx="279400" cy="1181100"/>
              </a:xfrm>
              <a:custGeom>
                <a:avLst/>
                <a:gdLst>
                  <a:gd name="T0" fmla="*/ 80 w 172"/>
                  <a:gd name="T1" fmla="*/ 87 h 745"/>
                  <a:gd name="T2" fmla="*/ 71 w 172"/>
                  <a:gd name="T3" fmla="*/ 169 h 745"/>
                  <a:gd name="T4" fmla="*/ 65 w 172"/>
                  <a:gd name="T5" fmla="*/ 184 h 745"/>
                  <a:gd name="T6" fmla="*/ 65 w 172"/>
                  <a:gd name="T7" fmla="*/ 217 h 745"/>
                  <a:gd name="T8" fmla="*/ 53 w 172"/>
                  <a:gd name="T9" fmla="*/ 291 h 745"/>
                  <a:gd name="T10" fmla="*/ 34 w 172"/>
                  <a:gd name="T11" fmla="*/ 330 h 745"/>
                  <a:gd name="T12" fmla="*/ 40 w 172"/>
                  <a:gd name="T13" fmla="*/ 370 h 745"/>
                  <a:gd name="T14" fmla="*/ 28 w 172"/>
                  <a:gd name="T15" fmla="*/ 408 h 745"/>
                  <a:gd name="T16" fmla="*/ 8 w 172"/>
                  <a:gd name="T17" fmla="*/ 523 h 745"/>
                  <a:gd name="T18" fmla="*/ 11 w 172"/>
                  <a:gd name="T19" fmla="*/ 616 h 745"/>
                  <a:gd name="T20" fmla="*/ 28 w 172"/>
                  <a:gd name="T21" fmla="*/ 679 h 745"/>
                  <a:gd name="T22" fmla="*/ 52 w 172"/>
                  <a:gd name="T23" fmla="*/ 702 h 745"/>
                  <a:gd name="T24" fmla="*/ 89 w 172"/>
                  <a:gd name="T25" fmla="*/ 721 h 745"/>
                  <a:gd name="T26" fmla="*/ 121 w 172"/>
                  <a:gd name="T27" fmla="*/ 745 h 745"/>
                  <a:gd name="T28" fmla="*/ 151 w 172"/>
                  <a:gd name="T29" fmla="*/ 715 h 745"/>
                  <a:gd name="T30" fmla="*/ 172 w 172"/>
                  <a:gd name="T31" fmla="*/ 711 h 745"/>
                  <a:gd name="T32" fmla="*/ 124 w 172"/>
                  <a:gd name="T33" fmla="*/ 703 h 745"/>
                  <a:gd name="T34" fmla="*/ 98 w 172"/>
                  <a:gd name="T35" fmla="*/ 693 h 745"/>
                  <a:gd name="T36" fmla="*/ 71 w 172"/>
                  <a:gd name="T37" fmla="*/ 651 h 745"/>
                  <a:gd name="T38" fmla="*/ 56 w 172"/>
                  <a:gd name="T39" fmla="*/ 630 h 745"/>
                  <a:gd name="T40" fmla="*/ 43 w 172"/>
                  <a:gd name="T41" fmla="*/ 600 h 745"/>
                  <a:gd name="T42" fmla="*/ 52 w 172"/>
                  <a:gd name="T43" fmla="*/ 570 h 745"/>
                  <a:gd name="T44" fmla="*/ 58 w 172"/>
                  <a:gd name="T45" fmla="*/ 541 h 745"/>
                  <a:gd name="T46" fmla="*/ 70 w 172"/>
                  <a:gd name="T47" fmla="*/ 484 h 745"/>
                  <a:gd name="T48" fmla="*/ 67 w 172"/>
                  <a:gd name="T49" fmla="*/ 456 h 745"/>
                  <a:gd name="T50" fmla="*/ 56 w 172"/>
                  <a:gd name="T51" fmla="*/ 426 h 745"/>
                  <a:gd name="T52" fmla="*/ 62 w 172"/>
                  <a:gd name="T53" fmla="*/ 394 h 745"/>
                  <a:gd name="T54" fmla="*/ 73 w 172"/>
                  <a:gd name="T55" fmla="*/ 342 h 745"/>
                  <a:gd name="T56" fmla="*/ 88 w 172"/>
                  <a:gd name="T57" fmla="*/ 300 h 745"/>
                  <a:gd name="T58" fmla="*/ 89 w 172"/>
                  <a:gd name="T59" fmla="*/ 256 h 745"/>
                  <a:gd name="T60" fmla="*/ 91 w 172"/>
                  <a:gd name="T61" fmla="*/ 186 h 745"/>
                  <a:gd name="T62" fmla="*/ 115 w 172"/>
                  <a:gd name="T63" fmla="*/ 153 h 745"/>
                  <a:gd name="T64" fmla="*/ 116 w 172"/>
                  <a:gd name="T65" fmla="*/ 117 h 745"/>
                  <a:gd name="T66" fmla="*/ 128 w 172"/>
                  <a:gd name="T67" fmla="*/ 96 h 745"/>
                  <a:gd name="T68" fmla="*/ 128 w 172"/>
                  <a:gd name="T69" fmla="*/ 72 h 745"/>
                  <a:gd name="T70" fmla="*/ 103 w 172"/>
                  <a:gd name="T71" fmla="*/ 34 h 745"/>
                  <a:gd name="T72" fmla="*/ 97 w 172"/>
                  <a:gd name="T73" fmla="*/ 0 h 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72" h="745">
                    <a:moveTo>
                      <a:pt x="85" y="10"/>
                    </a:moveTo>
                    <a:cubicBezTo>
                      <a:pt x="84" y="40"/>
                      <a:pt x="98" y="63"/>
                      <a:pt x="80" y="87"/>
                    </a:cubicBezTo>
                    <a:cubicBezTo>
                      <a:pt x="81" y="103"/>
                      <a:pt x="83" y="134"/>
                      <a:pt x="77" y="150"/>
                    </a:cubicBezTo>
                    <a:cubicBezTo>
                      <a:pt x="76" y="156"/>
                      <a:pt x="74" y="163"/>
                      <a:pt x="71" y="169"/>
                    </a:cubicBezTo>
                    <a:cubicBezTo>
                      <a:pt x="71" y="174"/>
                      <a:pt x="73" y="183"/>
                      <a:pt x="71" y="187"/>
                    </a:cubicBezTo>
                    <a:cubicBezTo>
                      <a:pt x="70" y="189"/>
                      <a:pt x="65" y="182"/>
                      <a:pt x="65" y="184"/>
                    </a:cubicBezTo>
                    <a:cubicBezTo>
                      <a:pt x="63" y="193"/>
                      <a:pt x="65" y="202"/>
                      <a:pt x="64" y="211"/>
                    </a:cubicBezTo>
                    <a:cubicBezTo>
                      <a:pt x="64" y="213"/>
                      <a:pt x="66" y="215"/>
                      <a:pt x="65" y="217"/>
                    </a:cubicBezTo>
                    <a:cubicBezTo>
                      <a:pt x="67" y="229"/>
                      <a:pt x="77" y="253"/>
                      <a:pt x="61" y="261"/>
                    </a:cubicBezTo>
                    <a:cubicBezTo>
                      <a:pt x="56" y="270"/>
                      <a:pt x="57" y="281"/>
                      <a:pt x="53" y="291"/>
                    </a:cubicBezTo>
                    <a:cubicBezTo>
                      <a:pt x="52" y="300"/>
                      <a:pt x="48" y="315"/>
                      <a:pt x="41" y="319"/>
                    </a:cubicBezTo>
                    <a:cubicBezTo>
                      <a:pt x="40" y="325"/>
                      <a:pt x="40" y="327"/>
                      <a:pt x="34" y="330"/>
                    </a:cubicBezTo>
                    <a:cubicBezTo>
                      <a:pt x="31" y="335"/>
                      <a:pt x="40" y="346"/>
                      <a:pt x="37" y="351"/>
                    </a:cubicBezTo>
                    <a:cubicBezTo>
                      <a:pt x="35" y="362"/>
                      <a:pt x="35" y="361"/>
                      <a:pt x="40" y="370"/>
                    </a:cubicBezTo>
                    <a:cubicBezTo>
                      <a:pt x="40" y="375"/>
                      <a:pt x="45" y="375"/>
                      <a:pt x="43" y="381"/>
                    </a:cubicBezTo>
                    <a:cubicBezTo>
                      <a:pt x="41" y="387"/>
                      <a:pt x="33" y="392"/>
                      <a:pt x="28" y="408"/>
                    </a:cubicBezTo>
                    <a:cubicBezTo>
                      <a:pt x="14" y="426"/>
                      <a:pt x="29" y="458"/>
                      <a:pt x="14" y="478"/>
                    </a:cubicBezTo>
                    <a:cubicBezTo>
                      <a:pt x="11" y="493"/>
                      <a:pt x="11" y="508"/>
                      <a:pt x="8" y="523"/>
                    </a:cubicBezTo>
                    <a:cubicBezTo>
                      <a:pt x="7" y="537"/>
                      <a:pt x="8" y="552"/>
                      <a:pt x="2" y="565"/>
                    </a:cubicBezTo>
                    <a:cubicBezTo>
                      <a:pt x="3" y="584"/>
                      <a:pt x="0" y="601"/>
                      <a:pt x="11" y="616"/>
                    </a:cubicBezTo>
                    <a:cubicBezTo>
                      <a:pt x="12" y="625"/>
                      <a:pt x="8" y="646"/>
                      <a:pt x="19" y="651"/>
                    </a:cubicBezTo>
                    <a:cubicBezTo>
                      <a:pt x="26" y="661"/>
                      <a:pt x="17" y="672"/>
                      <a:pt x="28" y="679"/>
                    </a:cubicBezTo>
                    <a:cubicBezTo>
                      <a:pt x="31" y="684"/>
                      <a:pt x="34" y="688"/>
                      <a:pt x="37" y="693"/>
                    </a:cubicBezTo>
                    <a:cubicBezTo>
                      <a:pt x="40" y="698"/>
                      <a:pt x="46" y="698"/>
                      <a:pt x="52" y="702"/>
                    </a:cubicBezTo>
                    <a:cubicBezTo>
                      <a:pt x="58" y="706"/>
                      <a:pt x="70" y="712"/>
                      <a:pt x="76" y="715"/>
                    </a:cubicBezTo>
                    <a:cubicBezTo>
                      <a:pt x="81" y="717"/>
                      <a:pt x="85" y="718"/>
                      <a:pt x="89" y="721"/>
                    </a:cubicBezTo>
                    <a:cubicBezTo>
                      <a:pt x="92" y="727"/>
                      <a:pt x="98" y="732"/>
                      <a:pt x="104" y="735"/>
                    </a:cubicBezTo>
                    <a:cubicBezTo>
                      <a:pt x="107" y="742"/>
                      <a:pt x="114" y="744"/>
                      <a:pt x="121" y="745"/>
                    </a:cubicBezTo>
                    <a:cubicBezTo>
                      <a:pt x="130" y="744"/>
                      <a:pt x="135" y="745"/>
                      <a:pt x="137" y="736"/>
                    </a:cubicBezTo>
                    <a:cubicBezTo>
                      <a:pt x="124" y="719"/>
                      <a:pt x="141" y="716"/>
                      <a:pt x="151" y="715"/>
                    </a:cubicBezTo>
                    <a:cubicBezTo>
                      <a:pt x="156" y="711"/>
                      <a:pt x="163" y="713"/>
                      <a:pt x="166" y="712"/>
                    </a:cubicBezTo>
                    <a:cubicBezTo>
                      <a:pt x="168" y="711"/>
                      <a:pt x="170" y="711"/>
                      <a:pt x="172" y="711"/>
                    </a:cubicBezTo>
                    <a:cubicBezTo>
                      <a:pt x="168" y="710"/>
                      <a:pt x="150" y="706"/>
                      <a:pt x="142" y="705"/>
                    </a:cubicBezTo>
                    <a:cubicBezTo>
                      <a:pt x="134" y="704"/>
                      <a:pt x="130" y="703"/>
                      <a:pt x="124" y="703"/>
                    </a:cubicBezTo>
                    <a:cubicBezTo>
                      <a:pt x="119" y="702"/>
                      <a:pt x="111" y="705"/>
                      <a:pt x="107" y="703"/>
                    </a:cubicBezTo>
                    <a:cubicBezTo>
                      <a:pt x="103" y="701"/>
                      <a:pt x="100" y="697"/>
                      <a:pt x="98" y="693"/>
                    </a:cubicBezTo>
                    <a:cubicBezTo>
                      <a:pt x="92" y="689"/>
                      <a:pt x="96" y="688"/>
                      <a:pt x="92" y="681"/>
                    </a:cubicBezTo>
                    <a:cubicBezTo>
                      <a:pt x="88" y="674"/>
                      <a:pt x="77" y="658"/>
                      <a:pt x="71" y="651"/>
                    </a:cubicBezTo>
                    <a:cubicBezTo>
                      <a:pt x="57" y="648"/>
                      <a:pt x="61" y="650"/>
                      <a:pt x="56" y="639"/>
                    </a:cubicBezTo>
                    <a:cubicBezTo>
                      <a:pt x="53" y="634"/>
                      <a:pt x="55" y="634"/>
                      <a:pt x="56" y="630"/>
                    </a:cubicBezTo>
                    <a:cubicBezTo>
                      <a:pt x="57" y="626"/>
                      <a:pt x="63" y="617"/>
                      <a:pt x="61" y="612"/>
                    </a:cubicBezTo>
                    <a:cubicBezTo>
                      <a:pt x="57" y="605"/>
                      <a:pt x="51" y="601"/>
                      <a:pt x="43" y="600"/>
                    </a:cubicBezTo>
                    <a:cubicBezTo>
                      <a:pt x="40" y="596"/>
                      <a:pt x="40" y="593"/>
                      <a:pt x="41" y="588"/>
                    </a:cubicBezTo>
                    <a:cubicBezTo>
                      <a:pt x="42" y="583"/>
                      <a:pt x="50" y="575"/>
                      <a:pt x="52" y="570"/>
                    </a:cubicBezTo>
                    <a:cubicBezTo>
                      <a:pt x="54" y="562"/>
                      <a:pt x="51" y="560"/>
                      <a:pt x="52" y="555"/>
                    </a:cubicBezTo>
                    <a:cubicBezTo>
                      <a:pt x="53" y="550"/>
                      <a:pt x="55" y="549"/>
                      <a:pt x="58" y="541"/>
                    </a:cubicBezTo>
                    <a:cubicBezTo>
                      <a:pt x="60" y="532"/>
                      <a:pt x="66" y="513"/>
                      <a:pt x="68" y="504"/>
                    </a:cubicBezTo>
                    <a:cubicBezTo>
                      <a:pt x="70" y="495"/>
                      <a:pt x="70" y="490"/>
                      <a:pt x="70" y="484"/>
                    </a:cubicBezTo>
                    <a:cubicBezTo>
                      <a:pt x="71" y="478"/>
                      <a:pt x="70" y="472"/>
                      <a:pt x="71" y="466"/>
                    </a:cubicBezTo>
                    <a:cubicBezTo>
                      <a:pt x="63" y="456"/>
                      <a:pt x="71" y="463"/>
                      <a:pt x="67" y="456"/>
                    </a:cubicBezTo>
                    <a:cubicBezTo>
                      <a:pt x="66" y="452"/>
                      <a:pt x="60" y="447"/>
                      <a:pt x="58" y="442"/>
                    </a:cubicBezTo>
                    <a:cubicBezTo>
                      <a:pt x="56" y="437"/>
                      <a:pt x="56" y="431"/>
                      <a:pt x="56" y="426"/>
                    </a:cubicBezTo>
                    <a:cubicBezTo>
                      <a:pt x="55" y="420"/>
                      <a:pt x="55" y="416"/>
                      <a:pt x="58" y="411"/>
                    </a:cubicBezTo>
                    <a:cubicBezTo>
                      <a:pt x="58" y="406"/>
                      <a:pt x="60" y="399"/>
                      <a:pt x="62" y="394"/>
                    </a:cubicBezTo>
                    <a:cubicBezTo>
                      <a:pt x="64" y="389"/>
                      <a:pt x="66" y="387"/>
                      <a:pt x="68" y="378"/>
                    </a:cubicBezTo>
                    <a:cubicBezTo>
                      <a:pt x="69" y="365"/>
                      <a:pt x="71" y="354"/>
                      <a:pt x="73" y="342"/>
                    </a:cubicBezTo>
                    <a:cubicBezTo>
                      <a:pt x="75" y="332"/>
                      <a:pt x="73" y="325"/>
                      <a:pt x="76" y="318"/>
                    </a:cubicBezTo>
                    <a:cubicBezTo>
                      <a:pt x="78" y="311"/>
                      <a:pt x="85" y="307"/>
                      <a:pt x="88" y="300"/>
                    </a:cubicBezTo>
                    <a:cubicBezTo>
                      <a:pt x="90" y="291"/>
                      <a:pt x="95" y="281"/>
                      <a:pt x="95" y="274"/>
                    </a:cubicBezTo>
                    <a:cubicBezTo>
                      <a:pt x="95" y="267"/>
                      <a:pt x="90" y="265"/>
                      <a:pt x="89" y="256"/>
                    </a:cubicBezTo>
                    <a:cubicBezTo>
                      <a:pt x="88" y="247"/>
                      <a:pt x="86" y="234"/>
                      <a:pt x="86" y="222"/>
                    </a:cubicBezTo>
                    <a:cubicBezTo>
                      <a:pt x="87" y="211"/>
                      <a:pt x="86" y="197"/>
                      <a:pt x="91" y="186"/>
                    </a:cubicBezTo>
                    <a:cubicBezTo>
                      <a:pt x="93" y="177"/>
                      <a:pt x="99" y="170"/>
                      <a:pt x="106" y="166"/>
                    </a:cubicBezTo>
                    <a:cubicBezTo>
                      <a:pt x="109" y="162"/>
                      <a:pt x="112" y="157"/>
                      <a:pt x="115" y="153"/>
                    </a:cubicBezTo>
                    <a:cubicBezTo>
                      <a:pt x="116" y="148"/>
                      <a:pt x="113" y="141"/>
                      <a:pt x="113" y="135"/>
                    </a:cubicBezTo>
                    <a:cubicBezTo>
                      <a:pt x="113" y="129"/>
                      <a:pt x="114" y="123"/>
                      <a:pt x="116" y="117"/>
                    </a:cubicBezTo>
                    <a:cubicBezTo>
                      <a:pt x="118" y="111"/>
                      <a:pt x="122" y="103"/>
                      <a:pt x="124" y="100"/>
                    </a:cubicBezTo>
                    <a:cubicBezTo>
                      <a:pt x="125" y="99"/>
                      <a:pt x="127" y="98"/>
                      <a:pt x="128" y="96"/>
                    </a:cubicBezTo>
                    <a:cubicBezTo>
                      <a:pt x="133" y="79"/>
                      <a:pt x="148" y="64"/>
                      <a:pt x="136" y="73"/>
                    </a:cubicBezTo>
                    <a:cubicBezTo>
                      <a:pt x="130" y="69"/>
                      <a:pt x="131" y="78"/>
                      <a:pt x="128" y="72"/>
                    </a:cubicBezTo>
                    <a:cubicBezTo>
                      <a:pt x="127" y="66"/>
                      <a:pt x="114" y="67"/>
                      <a:pt x="110" y="61"/>
                    </a:cubicBezTo>
                    <a:cubicBezTo>
                      <a:pt x="106" y="55"/>
                      <a:pt x="104" y="42"/>
                      <a:pt x="103" y="34"/>
                    </a:cubicBezTo>
                    <a:cubicBezTo>
                      <a:pt x="102" y="26"/>
                      <a:pt x="107" y="21"/>
                      <a:pt x="106" y="15"/>
                    </a:cubicBezTo>
                    <a:cubicBezTo>
                      <a:pt x="103" y="8"/>
                      <a:pt x="105" y="1"/>
                      <a:pt x="97" y="0"/>
                    </a:cubicBezTo>
                    <a:cubicBezTo>
                      <a:pt x="90" y="3"/>
                      <a:pt x="81" y="8"/>
                      <a:pt x="85" y="1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grpSp>
            <p:nvGrpSpPr>
              <p:cNvPr id="782" name="Group 426">
                <a:extLst>
                  <a:ext uri="{FF2B5EF4-FFF2-40B4-BE49-F238E27FC236}">
                    <a16:creationId xmlns:a16="http://schemas.microsoft.com/office/drawing/2014/main" id="{C2A08893-7F9E-4BA2-8E0E-696E6DD9995F}"/>
                  </a:ext>
                </a:extLst>
              </p:cNvPr>
              <p:cNvGrpSpPr>
                <a:grpSpLocks/>
              </p:cNvGrpSpPr>
              <p:nvPr>
                <p:custDataLst>
                  <p:tags r:id="rId174"/>
                </p:custDataLst>
              </p:nvPr>
            </p:nvGrpSpPr>
            <p:grpSpPr bwMode="auto">
              <a:xfrm>
                <a:off x="2805035" y="3762375"/>
                <a:ext cx="107950" cy="174625"/>
                <a:chOff x="4714" y="2568"/>
                <a:chExt cx="67" cy="110"/>
              </a:xfrm>
              <a:grpFill/>
            </p:grpSpPr>
            <p:sp>
              <p:nvSpPr>
                <p:cNvPr id="801" name="Freeform 427">
                  <a:extLst>
                    <a:ext uri="{FF2B5EF4-FFF2-40B4-BE49-F238E27FC236}">
                      <a16:creationId xmlns:a16="http://schemas.microsoft.com/office/drawing/2014/main" id="{09CB98B0-BCF7-4B94-8D1B-8DCAD2600450}"/>
                    </a:ext>
                  </a:extLst>
                </p:cNvPr>
                <p:cNvSpPr>
                  <a:spLocks/>
                </p:cNvSpPr>
                <p:nvPr>
                  <p:custDataLst>
                    <p:tags r:id="rId189"/>
                  </p:custDataLst>
                </p:nvPr>
              </p:nvSpPr>
              <p:spPr bwMode="gray">
                <a:xfrm>
                  <a:off x="4751" y="2668"/>
                  <a:ext cx="17" cy="10"/>
                </a:xfrm>
                <a:custGeom>
                  <a:avLst/>
                  <a:gdLst>
                    <a:gd name="T0" fmla="*/ 0 w 17"/>
                    <a:gd name="T1" fmla="*/ 1 h 10"/>
                    <a:gd name="T2" fmla="*/ 9 w 17"/>
                    <a:gd name="T3" fmla="*/ 2 h 10"/>
                    <a:gd name="T4" fmla="*/ 0 w 17"/>
                    <a:gd name="T5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7" h="10">
                      <a:moveTo>
                        <a:pt x="0" y="1"/>
                      </a:moveTo>
                      <a:cubicBezTo>
                        <a:pt x="3" y="1"/>
                        <a:pt x="7" y="0"/>
                        <a:pt x="9" y="2"/>
                      </a:cubicBezTo>
                      <a:cubicBezTo>
                        <a:pt x="17" y="8"/>
                        <a:pt x="4" y="10"/>
                        <a:pt x="0" y="1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802" name="Freeform 428">
                  <a:extLst>
                    <a:ext uri="{FF2B5EF4-FFF2-40B4-BE49-F238E27FC236}">
                      <a16:creationId xmlns:a16="http://schemas.microsoft.com/office/drawing/2014/main" id="{AA688552-18D3-473E-8754-91E99CFDA496}"/>
                    </a:ext>
                  </a:extLst>
                </p:cNvPr>
                <p:cNvSpPr>
                  <a:spLocks/>
                </p:cNvSpPr>
                <p:nvPr>
                  <p:custDataLst>
                    <p:tags r:id="rId190"/>
                  </p:custDataLst>
                </p:nvPr>
              </p:nvSpPr>
              <p:spPr bwMode="gray">
                <a:xfrm>
                  <a:off x="4765" y="2640"/>
                  <a:ext cx="16" cy="6"/>
                </a:xfrm>
                <a:custGeom>
                  <a:avLst/>
                  <a:gdLst>
                    <a:gd name="T0" fmla="*/ 4 w 16"/>
                    <a:gd name="T1" fmla="*/ 0 h 6"/>
                    <a:gd name="T2" fmla="*/ 13 w 16"/>
                    <a:gd name="T3" fmla="*/ 2 h 6"/>
                    <a:gd name="T4" fmla="*/ 1 w 16"/>
                    <a:gd name="T5" fmla="*/ 3 h 6"/>
                    <a:gd name="T6" fmla="*/ 4 w 16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6">
                      <a:moveTo>
                        <a:pt x="4" y="0"/>
                      </a:moveTo>
                      <a:cubicBezTo>
                        <a:pt x="7" y="1"/>
                        <a:pt x="11" y="0"/>
                        <a:pt x="13" y="2"/>
                      </a:cubicBezTo>
                      <a:cubicBezTo>
                        <a:pt x="16" y="5"/>
                        <a:pt x="4" y="6"/>
                        <a:pt x="1" y="3"/>
                      </a:cubicBezTo>
                      <a:cubicBezTo>
                        <a:pt x="0" y="2"/>
                        <a:pt x="3" y="1"/>
                        <a:pt x="4" y="0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803" name="Freeform 429">
                  <a:extLst>
                    <a:ext uri="{FF2B5EF4-FFF2-40B4-BE49-F238E27FC236}">
                      <a16:creationId xmlns:a16="http://schemas.microsoft.com/office/drawing/2014/main" id="{06D6E17D-8D97-4E1A-B8C8-E990D6F8FC02}"/>
                    </a:ext>
                  </a:extLst>
                </p:cNvPr>
                <p:cNvSpPr>
                  <a:spLocks/>
                </p:cNvSpPr>
                <p:nvPr>
                  <p:custDataLst>
                    <p:tags r:id="rId191"/>
                  </p:custDataLst>
                </p:nvPr>
              </p:nvSpPr>
              <p:spPr bwMode="gray">
                <a:xfrm>
                  <a:off x="4742" y="2645"/>
                  <a:ext cx="12" cy="7"/>
                </a:xfrm>
                <a:custGeom>
                  <a:avLst/>
                  <a:gdLst>
                    <a:gd name="T0" fmla="*/ 6 w 12"/>
                    <a:gd name="T1" fmla="*/ 3 h 7"/>
                    <a:gd name="T2" fmla="*/ 2 w 12"/>
                    <a:gd name="T3" fmla="*/ 6 h 7"/>
                    <a:gd name="T4" fmla="*/ 11 w 12"/>
                    <a:gd name="T5" fmla="*/ 4 h 7"/>
                    <a:gd name="T6" fmla="*/ 8 w 12"/>
                    <a:gd name="T7" fmla="*/ 0 h 7"/>
                    <a:gd name="T8" fmla="*/ 6 w 12"/>
                    <a:gd name="T9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7">
                      <a:moveTo>
                        <a:pt x="6" y="3"/>
                      </a:moveTo>
                      <a:cubicBezTo>
                        <a:pt x="5" y="4"/>
                        <a:pt x="0" y="6"/>
                        <a:pt x="2" y="6"/>
                      </a:cubicBezTo>
                      <a:cubicBezTo>
                        <a:pt x="5" y="7"/>
                        <a:pt x="9" y="6"/>
                        <a:pt x="11" y="4"/>
                      </a:cubicBezTo>
                      <a:cubicBezTo>
                        <a:pt x="12" y="3"/>
                        <a:pt x="10" y="0"/>
                        <a:pt x="8" y="0"/>
                      </a:cubicBezTo>
                      <a:cubicBezTo>
                        <a:pt x="7" y="0"/>
                        <a:pt x="7" y="2"/>
                        <a:pt x="6" y="3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805" name="Freeform 430">
                  <a:extLst>
                    <a:ext uri="{FF2B5EF4-FFF2-40B4-BE49-F238E27FC236}">
                      <a16:creationId xmlns:a16="http://schemas.microsoft.com/office/drawing/2014/main" id="{B0388892-42E1-44C0-9EAF-A1CF69859E0B}"/>
                    </a:ext>
                  </a:extLst>
                </p:cNvPr>
                <p:cNvSpPr>
                  <a:spLocks/>
                </p:cNvSpPr>
                <p:nvPr>
                  <p:custDataLst>
                    <p:tags r:id="rId192"/>
                  </p:custDataLst>
                </p:nvPr>
              </p:nvSpPr>
              <p:spPr bwMode="gray">
                <a:xfrm>
                  <a:off x="4733" y="2652"/>
                  <a:ext cx="13" cy="14"/>
                </a:xfrm>
                <a:custGeom>
                  <a:avLst/>
                  <a:gdLst>
                    <a:gd name="T0" fmla="*/ 5 w 13"/>
                    <a:gd name="T1" fmla="*/ 6 h 14"/>
                    <a:gd name="T2" fmla="*/ 9 w 13"/>
                    <a:gd name="T3" fmla="*/ 14 h 14"/>
                    <a:gd name="T4" fmla="*/ 5 w 13"/>
                    <a:gd name="T5" fmla="*/ 6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4">
                      <a:moveTo>
                        <a:pt x="5" y="6"/>
                      </a:moveTo>
                      <a:cubicBezTo>
                        <a:pt x="13" y="0"/>
                        <a:pt x="11" y="9"/>
                        <a:pt x="9" y="14"/>
                      </a:cubicBezTo>
                      <a:cubicBezTo>
                        <a:pt x="0" y="11"/>
                        <a:pt x="1" y="14"/>
                        <a:pt x="5" y="6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806" name="Freeform 431">
                  <a:extLst>
                    <a:ext uri="{FF2B5EF4-FFF2-40B4-BE49-F238E27FC236}">
                      <a16:creationId xmlns:a16="http://schemas.microsoft.com/office/drawing/2014/main" id="{C6B82E40-88AB-4F48-8888-1BDEBAFEA28B}"/>
                    </a:ext>
                  </a:extLst>
                </p:cNvPr>
                <p:cNvSpPr>
                  <a:spLocks/>
                </p:cNvSpPr>
                <p:nvPr>
                  <p:custDataLst>
                    <p:tags r:id="rId193"/>
                  </p:custDataLst>
                </p:nvPr>
              </p:nvSpPr>
              <p:spPr bwMode="gray">
                <a:xfrm>
                  <a:off x="4714" y="2568"/>
                  <a:ext cx="33" cy="25"/>
                </a:xfrm>
                <a:custGeom>
                  <a:avLst/>
                  <a:gdLst>
                    <a:gd name="T0" fmla="*/ 3 w 33"/>
                    <a:gd name="T1" fmla="*/ 2 h 25"/>
                    <a:gd name="T2" fmla="*/ 15 w 33"/>
                    <a:gd name="T3" fmla="*/ 3 h 25"/>
                    <a:gd name="T4" fmla="*/ 21 w 33"/>
                    <a:gd name="T5" fmla="*/ 12 h 25"/>
                    <a:gd name="T6" fmla="*/ 33 w 33"/>
                    <a:gd name="T7" fmla="*/ 5 h 25"/>
                    <a:gd name="T8" fmla="*/ 21 w 33"/>
                    <a:gd name="T9" fmla="*/ 21 h 25"/>
                    <a:gd name="T10" fmla="*/ 7 w 33"/>
                    <a:gd name="T11" fmla="*/ 15 h 25"/>
                    <a:gd name="T12" fmla="*/ 3 w 33"/>
                    <a:gd name="T13" fmla="*/ 2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3" h="25">
                      <a:moveTo>
                        <a:pt x="3" y="2"/>
                      </a:moveTo>
                      <a:cubicBezTo>
                        <a:pt x="7" y="2"/>
                        <a:pt x="12" y="0"/>
                        <a:pt x="15" y="3"/>
                      </a:cubicBezTo>
                      <a:cubicBezTo>
                        <a:pt x="25" y="12"/>
                        <a:pt x="8" y="17"/>
                        <a:pt x="21" y="12"/>
                      </a:cubicBezTo>
                      <a:cubicBezTo>
                        <a:pt x="22" y="3"/>
                        <a:pt x="25" y="2"/>
                        <a:pt x="33" y="5"/>
                      </a:cubicBezTo>
                      <a:cubicBezTo>
                        <a:pt x="29" y="25"/>
                        <a:pt x="24" y="6"/>
                        <a:pt x="21" y="21"/>
                      </a:cubicBezTo>
                      <a:cubicBezTo>
                        <a:pt x="15" y="20"/>
                        <a:pt x="12" y="17"/>
                        <a:pt x="7" y="15"/>
                      </a:cubicBezTo>
                      <a:cubicBezTo>
                        <a:pt x="2" y="10"/>
                        <a:pt x="0" y="8"/>
                        <a:pt x="3" y="2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807" name="Freeform 432">
                  <a:extLst>
                    <a:ext uri="{FF2B5EF4-FFF2-40B4-BE49-F238E27FC236}">
                      <a16:creationId xmlns:a16="http://schemas.microsoft.com/office/drawing/2014/main" id="{09AD6351-D13D-4875-8ACA-DA304A476E1A}"/>
                    </a:ext>
                  </a:extLst>
                </p:cNvPr>
                <p:cNvSpPr>
                  <a:spLocks/>
                </p:cNvSpPr>
                <p:nvPr>
                  <p:custDataLst>
                    <p:tags r:id="rId194"/>
                  </p:custDataLst>
                </p:nvPr>
              </p:nvSpPr>
              <p:spPr bwMode="gray">
                <a:xfrm>
                  <a:off x="4745" y="2589"/>
                  <a:ext cx="20" cy="48"/>
                </a:xfrm>
                <a:custGeom>
                  <a:avLst/>
                  <a:gdLst>
                    <a:gd name="T0" fmla="*/ 6 w 20"/>
                    <a:gd name="T1" fmla="*/ 0 h 48"/>
                    <a:gd name="T2" fmla="*/ 5 w 20"/>
                    <a:gd name="T3" fmla="*/ 12 h 48"/>
                    <a:gd name="T4" fmla="*/ 9 w 20"/>
                    <a:gd name="T5" fmla="*/ 48 h 48"/>
                    <a:gd name="T6" fmla="*/ 12 w 20"/>
                    <a:gd name="T7" fmla="*/ 32 h 48"/>
                    <a:gd name="T8" fmla="*/ 6 w 20"/>
                    <a:gd name="T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48">
                      <a:moveTo>
                        <a:pt x="6" y="0"/>
                      </a:moveTo>
                      <a:cubicBezTo>
                        <a:pt x="0" y="3"/>
                        <a:pt x="2" y="6"/>
                        <a:pt x="5" y="12"/>
                      </a:cubicBezTo>
                      <a:cubicBezTo>
                        <a:pt x="7" y="26"/>
                        <a:pt x="8" y="33"/>
                        <a:pt x="9" y="48"/>
                      </a:cubicBezTo>
                      <a:cubicBezTo>
                        <a:pt x="20" y="46"/>
                        <a:pt x="17" y="39"/>
                        <a:pt x="12" y="32"/>
                      </a:cubicBezTo>
                      <a:cubicBezTo>
                        <a:pt x="14" y="12"/>
                        <a:pt x="18" y="12"/>
                        <a:pt x="6" y="0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</p:grpSp>
          <p:sp>
            <p:nvSpPr>
              <p:cNvPr id="783" name="Freeform 433">
                <a:extLst>
                  <a:ext uri="{FF2B5EF4-FFF2-40B4-BE49-F238E27FC236}">
                    <a16:creationId xmlns:a16="http://schemas.microsoft.com/office/drawing/2014/main" id="{0FFF57F8-8621-480C-B35F-B4E00A42F833}"/>
                  </a:ext>
                </a:extLst>
              </p:cNvPr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gray">
              <a:xfrm>
                <a:off x="1519238" y="3368675"/>
                <a:ext cx="730250" cy="466725"/>
              </a:xfrm>
              <a:custGeom>
                <a:avLst/>
                <a:gdLst>
                  <a:gd name="T0" fmla="*/ 9 w 451"/>
                  <a:gd name="T1" fmla="*/ 30 h 295"/>
                  <a:gd name="T2" fmla="*/ 44 w 451"/>
                  <a:gd name="T3" fmla="*/ 74 h 295"/>
                  <a:gd name="T4" fmla="*/ 65 w 451"/>
                  <a:gd name="T5" fmla="*/ 116 h 295"/>
                  <a:gd name="T6" fmla="*/ 81 w 451"/>
                  <a:gd name="T7" fmla="*/ 149 h 295"/>
                  <a:gd name="T8" fmla="*/ 105 w 451"/>
                  <a:gd name="T9" fmla="*/ 170 h 295"/>
                  <a:gd name="T10" fmla="*/ 95 w 451"/>
                  <a:gd name="T11" fmla="*/ 129 h 295"/>
                  <a:gd name="T12" fmla="*/ 66 w 451"/>
                  <a:gd name="T13" fmla="*/ 83 h 295"/>
                  <a:gd name="T14" fmla="*/ 44 w 451"/>
                  <a:gd name="T15" fmla="*/ 51 h 295"/>
                  <a:gd name="T16" fmla="*/ 35 w 451"/>
                  <a:gd name="T17" fmla="*/ 20 h 295"/>
                  <a:gd name="T18" fmla="*/ 65 w 451"/>
                  <a:gd name="T19" fmla="*/ 45 h 295"/>
                  <a:gd name="T20" fmla="*/ 120 w 451"/>
                  <a:gd name="T21" fmla="*/ 116 h 295"/>
                  <a:gd name="T22" fmla="*/ 152 w 451"/>
                  <a:gd name="T23" fmla="*/ 156 h 295"/>
                  <a:gd name="T24" fmla="*/ 171 w 451"/>
                  <a:gd name="T25" fmla="*/ 213 h 295"/>
                  <a:gd name="T26" fmla="*/ 201 w 451"/>
                  <a:gd name="T27" fmla="*/ 237 h 295"/>
                  <a:gd name="T28" fmla="*/ 273 w 451"/>
                  <a:gd name="T29" fmla="*/ 276 h 295"/>
                  <a:gd name="T30" fmla="*/ 327 w 451"/>
                  <a:gd name="T31" fmla="*/ 279 h 295"/>
                  <a:gd name="T32" fmla="*/ 371 w 451"/>
                  <a:gd name="T33" fmla="*/ 294 h 295"/>
                  <a:gd name="T34" fmla="*/ 398 w 451"/>
                  <a:gd name="T35" fmla="*/ 279 h 295"/>
                  <a:gd name="T36" fmla="*/ 387 w 451"/>
                  <a:gd name="T37" fmla="*/ 257 h 295"/>
                  <a:gd name="T38" fmla="*/ 413 w 451"/>
                  <a:gd name="T39" fmla="*/ 251 h 295"/>
                  <a:gd name="T40" fmla="*/ 450 w 451"/>
                  <a:gd name="T41" fmla="*/ 195 h 295"/>
                  <a:gd name="T42" fmla="*/ 411 w 451"/>
                  <a:gd name="T43" fmla="*/ 198 h 295"/>
                  <a:gd name="T44" fmla="*/ 396 w 451"/>
                  <a:gd name="T45" fmla="*/ 221 h 295"/>
                  <a:gd name="T46" fmla="*/ 348 w 451"/>
                  <a:gd name="T47" fmla="*/ 242 h 295"/>
                  <a:gd name="T48" fmla="*/ 315 w 451"/>
                  <a:gd name="T49" fmla="*/ 233 h 295"/>
                  <a:gd name="T50" fmla="*/ 285 w 451"/>
                  <a:gd name="T51" fmla="*/ 167 h 295"/>
                  <a:gd name="T52" fmla="*/ 272 w 451"/>
                  <a:gd name="T53" fmla="*/ 117 h 295"/>
                  <a:gd name="T54" fmla="*/ 249 w 451"/>
                  <a:gd name="T55" fmla="*/ 74 h 295"/>
                  <a:gd name="T56" fmla="*/ 212 w 451"/>
                  <a:gd name="T57" fmla="*/ 65 h 295"/>
                  <a:gd name="T58" fmla="*/ 147 w 451"/>
                  <a:gd name="T59" fmla="*/ 18 h 295"/>
                  <a:gd name="T60" fmla="*/ 116 w 451"/>
                  <a:gd name="T61" fmla="*/ 30 h 295"/>
                  <a:gd name="T62" fmla="*/ 63 w 451"/>
                  <a:gd name="T63" fmla="*/ 21 h 295"/>
                  <a:gd name="T64" fmla="*/ 5 w 451"/>
                  <a:gd name="T65" fmla="*/ 9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1" h="295">
                    <a:moveTo>
                      <a:pt x="5" y="9"/>
                    </a:moveTo>
                    <a:cubicBezTo>
                      <a:pt x="0" y="13"/>
                      <a:pt x="5" y="22"/>
                      <a:pt x="9" y="30"/>
                    </a:cubicBezTo>
                    <a:cubicBezTo>
                      <a:pt x="13" y="38"/>
                      <a:pt x="21" y="50"/>
                      <a:pt x="27" y="57"/>
                    </a:cubicBezTo>
                    <a:cubicBezTo>
                      <a:pt x="33" y="64"/>
                      <a:pt x="41" y="68"/>
                      <a:pt x="44" y="74"/>
                    </a:cubicBezTo>
                    <a:cubicBezTo>
                      <a:pt x="47" y="80"/>
                      <a:pt x="41" y="88"/>
                      <a:pt x="44" y="95"/>
                    </a:cubicBezTo>
                    <a:cubicBezTo>
                      <a:pt x="47" y="102"/>
                      <a:pt x="60" y="110"/>
                      <a:pt x="65" y="116"/>
                    </a:cubicBezTo>
                    <a:cubicBezTo>
                      <a:pt x="70" y="122"/>
                      <a:pt x="72" y="129"/>
                      <a:pt x="75" y="134"/>
                    </a:cubicBezTo>
                    <a:cubicBezTo>
                      <a:pt x="78" y="139"/>
                      <a:pt x="77" y="146"/>
                      <a:pt x="81" y="149"/>
                    </a:cubicBezTo>
                    <a:cubicBezTo>
                      <a:pt x="85" y="152"/>
                      <a:pt x="97" y="150"/>
                      <a:pt x="101" y="153"/>
                    </a:cubicBezTo>
                    <a:cubicBezTo>
                      <a:pt x="105" y="156"/>
                      <a:pt x="103" y="169"/>
                      <a:pt x="105" y="170"/>
                    </a:cubicBezTo>
                    <a:cubicBezTo>
                      <a:pt x="107" y="171"/>
                      <a:pt x="115" y="166"/>
                      <a:pt x="113" y="159"/>
                    </a:cubicBezTo>
                    <a:cubicBezTo>
                      <a:pt x="111" y="152"/>
                      <a:pt x="101" y="138"/>
                      <a:pt x="95" y="129"/>
                    </a:cubicBezTo>
                    <a:cubicBezTo>
                      <a:pt x="89" y="120"/>
                      <a:pt x="82" y="110"/>
                      <a:pt x="77" y="102"/>
                    </a:cubicBezTo>
                    <a:cubicBezTo>
                      <a:pt x="72" y="94"/>
                      <a:pt x="70" y="90"/>
                      <a:pt x="66" y="83"/>
                    </a:cubicBezTo>
                    <a:cubicBezTo>
                      <a:pt x="62" y="76"/>
                      <a:pt x="57" y="67"/>
                      <a:pt x="53" y="62"/>
                    </a:cubicBezTo>
                    <a:cubicBezTo>
                      <a:pt x="49" y="57"/>
                      <a:pt x="47" y="56"/>
                      <a:pt x="44" y="51"/>
                    </a:cubicBezTo>
                    <a:cubicBezTo>
                      <a:pt x="41" y="46"/>
                      <a:pt x="36" y="38"/>
                      <a:pt x="35" y="33"/>
                    </a:cubicBezTo>
                    <a:cubicBezTo>
                      <a:pt x="34" y="28"/>
                      <a:pt x="31" y="21"/>
                      <a:pt x="35" y="20"/>
                    </a:cubicBezTo>
                    <a:cubicBezTo>
                      <a:pt x="39" y="19"/>
                      <a:pt x="54" y="25"/>
                      <a:pt x="59" y="29"/>
                    </a:cubicBezTo>
                    <a:cubicBezTo>
                      <a:pt x="64" y="33"/>
                      <a:pt x="61" y="37"/>
                      <a:pt x="65" y="45"/>
                    </a:cubicBezTo>
                    <a:cubicBezTo>
                      <a:pt x="69" y="53"/>
                      <a:pt x="75" y="68"/>
                      <a:pt x="84" y="80"/>
                    </a:cubicBezTo>
                    <a:cubicBezTo>
                      <a:pt x="93" y="92"/>
                      <a:pt x="114" y="108"/>
                      <a:pt x="120" y="116"/>
                    </a:cubicBezTo>
                    <a:cubicBezTo>
                      <a:pt x="126" y="124"/>
                      <a:pt x="114" y="122"/>
                      <a:pt x="119" y="129"/>
                    </a:cubicBezTo>
                    <a:cubicBezTo>
                      <a:pt x="124" y="136"/>
                      <a:pt x="142" y="145"/>
                      <a:pt x="152" y="156"/>
                    </a:cubicBezTo>
                    <a:cubicBezTo>
                      <a:pt x="162" y="167"/>
                      <a:pt x="174" y="189"/>
                      <a:pt x="177" y="198"/>
                    </a:cubicBezTo>
                    <a:cubicBezTo>
                      <a:pt x="180" y="207"/>
                      <a:pt x="170" y="207"/>
                      <a:pt x="171" y="213"/>
                    </a:cubicBezTo>
                    <a:cubicBezTo>
                      <a:pt x="172" y="219"/>
                      <a:pt x="181" y="233"/>
                      <a:pt x="186" y="237"/>
                    </a:cubicBezTo>
                    <a:cubicBezTo>
                      <a:pt x="191" y="241"/>
                      <a:pt x="194" y="235"/>
                      <a:pt x="201" y="237"/>
                    </a:cubicBezTo>
                    <a:cubicBezTo>
                      <a:pt x="208" y="239"/>
                      <a:pt x="216" y="246"/>
                      <a:pt x="228" y="252"/>
                    </a:cubicBezTo>
                    <a:cubicBezTo>
                      <a:pt x="240" y="258"/>
                      <a:pt x="260" y="271"/>
                      <a:pt x="273" y="276"/>
                    </a:cubicBezTo>
                    <a:cubicBezTo>
                      <a:pt x="286" y="281"/>
                      <a:pt x="296" y="281"/>
                      <a:pt x="305" y="281"/>
                    </a:cubicBezTo>
                    <a:cubicBezTo>
                      <a:pt x="314" y="281"/>
                      <a:pt x="320" y="279"/>
                      <a:pt x="327" y="279"/>
                    </a:cubicBezTo>
                    <a:cubicBezTo>
                      <a:pt x="334" y="279"/>
                      <a:pt x="343" y="279"/>
                      <a:pt x="350" y="282"/>
                    </a:cubicBezTo>
                    <a:cubicBezTo>
                      <a:pt x="357" y="285"/>
                      <a:pt x="366" y="295"/>
                      <a:pt x="371" y="294"/>
                    </a:cubicBezTo>
                    <a:cubicBezTo>
                      <a:pt x="376" y="293"/>
                      <a:pt x="376" y="281"/>
                      <a:pt x="380" y="279"/>
                    </a:cubicBezTo>
                    <a:cubicBezTo>
                      <a:pt x="384" y="277"/>
                      <a:pt x="393" y="279"/>
                      <a:pt x="398" y="279"/>
                    </a:cubicBezTo>
                    <a:cubicBezTo>
                      <a:pt x="403" y="279"/>
                      <a:pt x="410" y="279"/>
                      <a:pt x="408" y="276"/>
                    </a:cubicBezTo>
                    <a:cubicBezTo>
                      <a:pt x="406" y="273"/>
                      <a:pt x="389" y="261"/>
                      <a:pt x="387" y="257"/>
                    </a:cubicBezTo>
                    <a:cubicBezTo>
                      <a:pt x="385" y="253"/>
                      <a:pt x="391" y="253"/>
                      <a:pt x="395" y="252"/>
                    </a:cubicBezTo>
                    <a:cubicBezTo>
                      <a:pt x="399" y="251"/>
                      <a:pt x="407" y="252"/>
                      <a:pt x="413" y="251"/>
                    </a:cubicBezTo>
                    <a:cubicBezTo>
                      <a:pt x="419" y="250"/>
                      <a:pt x="425" y="252"/>
                      <a:pt x="431" y="243"/>
                    </a:cubicBezTo>
                    <a:cubicBezTo>
                      <a:pt x="437" y="234"/>
                      <a:pt x="451" y="204"/>
                      <a:pt x="450" y="195"/>
                    </a:cubicBezTo>
                    <a:cubicBezTo>
                      <a:pt x="449" y="186"/>
                      <a:pt x="431" y="191"/>
                      <a:pt x="425" y="191"/>
                    </a:cubicBezTo>
                    <a:cubicBezTo>
                      <a:pt x="419" y="191"/>
                      <a:pt x="415" y="197"/>
                      <a:pt x="411" y="198"/>
                    </a:cubicBezTo>
                    <a:cubicBezTo>
                      <a:pt x="407" y="199"/>
                      <a:pt x="401" y="194"/>
                      <a:pt x="399" y="198"/>
                    </a:cubicBezTo>
                    <a:cubicBezTo>
                      <a:pt x="397" y="202"/>
                      <a:pt x="399" y="215"/>
                      <a:pt x="396" y="221"/>
                    </a:cubicBezTo>
                    <a:cubicBezTo>
                      <a:pt x="393" y="227"/>
                      <a:pt x="391" y="233"/>
                      <a:pt x="383" y="237"/>
                    </a:cubicBezTo>
                    <a:cubicBezTo>
                      <a:pt x="375" y="241"/>
                      <a:pt x="355" y="241"/>
                      <a:pt x="348" y="242"/>
                    </a:cubicBezTo>
                    <a:cubicBezTo>
                      <a:pt x="341" y="243"/>
                      <a:pt x="343" y="244"/>
                      <a:pt x="338" y="243"/>
                    </a:cubicBezTo>
                    <a:cubicBezTo>
                      <a:pt x="333" y="242"/>
                      <a:pt x="321" y="240"/>
                      <a:pt x="315" y="233"/>
                    </a:cubicBezTo>
                    <a:cubicBezTo>
                      <a:pt x="309" y="226"/>
                      <a:pt x="304" y="211"/>
                      <a:pt x="299" y="200"/>
                    </a:cubicBezTo>
                    <a:cubicBezTo>
                      <a:pt x="294" y="189"/>
                      <a:pt x="286" y="181"/>
                      <a:pt x="285" y="167"/>
                    </a:cubicBezTo>
                    <a:cubicBezTo>
                      <a:pt x="284" y="153"/>
                      <a:pt x="292" y="125"/>
                      <a:pt x="290" y="117"/>
                    </a:cubicBezTo>
                    <a:cubicBezTo>
                      <a:pt x="288" y="109"/>
                      <a:pt x="277" y="119"/>
                      <a:pt x="272" y="117"/>
                    </a:cubicBezTo>
                    <a:cubicBezTo>
                      <a:pt x="267" y="115"/>
                      <a:pt x="262" y="112"/>
                      <a:pt x="258" y="105"/>
                    </a:cubicBezTo>
                    <a:cubicBezTo>
                      <a:pt x="254" y="98"/>
                      <a:pt x="256" y="82"/>
                      <a:pt x="249" y="74"/>
                    </a:cubicBezTo>
                    <a:cubicBezTo>
                      <a:pt x="242" y="66"/>
                      <a:pt x="219" y="55"/>
                      <a:pt x="213" y="54"/>
                    </a:cubicBezTo>
                    <a:cubicBezTo>
                      <a:pt x="207" y="53"/>
                      <a:pt x="216" y="65"/>
                      <a:pt x="212" y="65"/>
                    </a:cubicBezTo>
                    <a:cubicBezTo>
                      <a:pt x="208" y="65"/>
                      <a:pt x="200" y="61"/>
                      <a:pt x="189" y="53"/>
                    </a:cubicBezTo>
                    <a:cubicBezTo>
                      <a:pt x="178" y="45"/>
                      <a:pt x="156" y="23"/>
                      <a:pt x="147" y="18"/>
                    </a:cubicBezTo>
                    <a:cubicBezTo>
                      <a:pt x="138" y="13"/>
                      <a:pt x="140" y="18"/>
                      <a:pt x="135" y="20"/>
                    </a:cubicBezTo>
                    <a:cubicBezTo>
                      <a:pt x="130" y="22"/>
                      <a:pt x="123" y="28"/>
                      <a:pt x="116" y="30"/>
                    </a:cubicBezTo>
                    <a:cubicBezTo>
                      <a:pt x="109" y="32"/>
                      <a:pt x="104" y="35"/>
                      <a:pt x="95" y="33"/>
                    </a:cubicBezTo>
                    <a:cubicBezTo>
                      <a:pt x="86" y="31"/>
                      <a:pt x="73" y="26"/>
                      <a:pt x="63" y="21"/>
                    </a:cubicBezTo>
                    <a:cubicBezTo>
                      <a:pt x="53" y="16"/>
                      <a:pt x="45" y="4"/>
                      <a:pt x="35" y="2"/>
                    </a:cubicBezTo>
                    <a:cubicBezTo>
                      <a:pt x="25" y="0"/>
                      <a:pt x="11" y="8"/>
                      <a:pt x="5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84" name="Freeform 434">
                <a:extLst>
                  <a:ext uri="{FF2B5EF4-FFF2-40B4-BE49-F238E27FC236}">
                    <a16:creationId xmlns:a16="http://schemas.microsoft.com/office/drawing/2014/main" id="{89F9ACC5-4FB6-4DA0-A991-14E6F922597C}"/>
                  </a:ext>
                </a:extLst>
              </p:cNvPr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gray">
              <a:xfrm>
                <a:off x="2824163" y="4659313"/>
                <a:ext cx="222250" cy="203200"/>
              </a:xfrm>
              <a:custGeom>
                <a:avLst/>
                <a:gdLst>
                  <a:gd name="T0" fmla="*/ 0 w 137"/>
                  <a:gd name="T1" fmla="*/ 43 h 128"/>
                  <a:gd name="T2" fmla="*/ 6 w 137"/>
                  <a:gd name="T3" fmla="*/ 28 h 128"/>
                  <a:gd name="T4" fmla="*/ 12 w 137"/>
                  <a:gd name="T5" fmla="*/ 10 h 128"/>
                  <a:gd name="T6" fmla="*/ 24 w 137"/>
                  <a:gd name="T7" fmla="*/ 4 h 128"/>
                  <a:gd name="T8" fmla="*/ 35 w 137"/>
                  <a:gd name="T9" fmla="*/ 2 h 128"/>
                  <a:gd name="T10" fmla="*/ 69 w 137"/>
                  <a:gd name="T11" fmla="*/ 5 h 128"/>
                  <a:gd name="T12" fmla="*/ 69 w 137"/>
                  <a:gd name="T13" fmla="*/ 19 h 128"/>
                  <a:gd name="T14" fmla="*/ 70 w 137"/>
                  <a:gd name="T15" fmla="*/ 41 h 128"/>
                  <a:gd name="T16" fmla="*/ 94 w 137"/>
                  <a:gd name="T17" fmla="*/ 47 h 128"/>
                  <a:gd name="T18" fmla="*/ 114 w 137"/>
                  <a:gd name="T19" fmla="*/ 49 h 128"/>
                  <a:gd name="T20" fmla="*/ 115 w 137"/>
                  <a:gd name="T21" fmla="*/ 65 h 128"/>
                  <a:gd name="T22" fmla="*/ 132 w 137"/>
                  <a:gd name="T23" fmla="*/ 76 h 128"/>
                  <a:gd name="T24" fmla="*/ 136 w 137"/>
                  <a:gd name="T25" fmla="*/ 92 h 128"/>
                  <a:gd name="T26" fmla="*/ 126 w 137"/>
                  <a:gd name="T27" fmla="*/ 110 h 128"/>
                  <a:gd name="T28" fmla="*/ 115 w 137"/>
                  <a:gd name="T29" fmla="*/ 127 h 128"/>
                  <a:gd name="T30" fmla="*/ 70 w 137"/>
                  <a:gd name="T31" fmla="*/ 119 h 128"/>
                  <a:gd name="T32" fmla="*/ 76 w 137"/>
                  <a:gd name="T33" fmla="*/ 103 h 128"/>
                  <a:gd name="T34" fmla="*/ 57 w 137"/>
                  <a:gd name="T35" fmla="*/ 86 h 128"/>
                  <a:gd name="T36" fmla="*/ 39 w 137"/>
                  <a:gd name="T37" fmla="*/ 73 h 128"/>
                  <a:gd name="T38" fmla="*/ 15 w 137"/>
                  <a:gd name="T39" fmla="*/ 53 h 128"/>
                  <a:gd name="T40" fmla="*/ 0 w 137"/>
                  <a:gd name="T41" fmla="*/ 4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7" h="128">
                    <a:moveTo>
                      <a:pt x="0" y="43"/>
                    </a:moveTo>
                    <a:cubicBezTo>
                      <a:pt x="1" y="38"/>
                      <a:pt x="6" y="28"/>
                      <a:pt x="6" y="28"/>
                    </a:cubicBezTo>
                    <a:cubicBezTo>
                      <a:pt x="8" y="23"/>
                      <a:pt x="9" y="14"/>
                      <a:pt x="12" y="10"/>
                    </a:cubicBezTo>
                    <a:cubicBezTo>
                      <a:pt x="15" y="6"/>
                      <a:pt x="20" y="5"/>
                      <a:pt x="24" y="4"/>
                    </a:cubicBezTo>
                    <a:cubicBezTo>
                      <a:pt x="29" y="0"/>
                      <a:pt x="28" y="2"/>
                      <a:pt x="35" y="2"/>
                    </a:cubicBezTo>
                    <a:cubicBezTo>
                      <a:pt x="42" y="2"/>
                      <a:pt x="63" y="2"/>
                      <a:pt x="69" y="5"/>
                    </a:cubicBezTo>
                    <a:cubicBezTo>
                      <a:pt x="75" y="8"/>
                      <a:pt x="69" y="13"/>
                      <a:pt x="69" y="19"/>
                    </a:cubicBezTo>
                    <a:cubicBezTo>
                      <a:pt x="69" y="25"/>
                      <a:pt x="66" y="36"/>
                      <a:pt x="70" y="41"/>
                    </a:cubicBezTo>
                    <a:cubicBezTo>
                      <a:pt x="74" y="49"/>
                      <a:pt x="87" y="45"/>
                      <a:pt x="94" y="47"/>
                    </a:cubicBezTo>
                    <a:cubicBezTo>
                      <a:pt x="101" y="48"/>
                      <a:pt x="110" y="46"/>
                      <a:pt x="114" y="49"/>
                    </a:cubicBezTo>
                    <a:cubicBezTo>
                      <a:pt x="118" y="51"/>
                      <a:pt x="112" y="61"/>
                      <a:pt x="115" y="65"/>
                    </a:cubicBezTo>
                    <a:cubicBezTo>
                      <a:pt x="118" y="69"/>
                      <a:pt x="129" y="72"/>
                      <a:pt x="132" y="76"/>
                    </a:cubicBezTo>
                    <a:cubicBezTo>
                      <a:pt x="135" y="80"/>
                      <a:pt x="137" y="86"/>
                      <a:pt x="136" y="92"/>
                    </a:cubicBezTo>
                    <a:cubicBezTo>
                      <a:pt x="135" y="98"/>
                      <a:pt x="129" y="104"/>
                      <a:pt x="126" y="110"/>
                    </a:cubicBezTo>
                    <a:cubicBezTo>
                      <a:pt x="123" y="116"/>
                      <a:pt x="124" y="125"/>
                      <a:pt x="115" y="127"/>
                    </a:cubicBezTo>
                    <a:cubicBezTo>
                      <a:pt x="87" y="126"/>
                      <a:pt x="86" y="128"/>
                      <a:pt x="70" y="119"/>
                    </a:cubicBezTo>
                    <a:cubicBezTo>
                      <a:pt x="63" y="115"/>
                      <a:pt x="78" y="108"/>
                      <a:pt x="76" y="103"/>
                    </a:cubicBezTo>
                    <a:cubicBezTo>
                      <a:pt x="74" y="98"/>
                      <a:pt x="63" y="91"/>
                      <a:pt x="57" y="86"/>
                    </a:cubicBezTo>
                    <a:cubicBezTo>
                      <a:pt x="53" y="77"/>
                      <a:pt x="50" y="75"/>
                      <a:pt x="39" y="73"/>
                    </a:cubicBezTo>
                    <a:cubicBezTo>
                      <a:pt x="33" y="67"/>
                      <a:pt x="21" y="58"/>
                      <a:pt x="15" y="53"/>
                    </a:cubicBezTo>
                    <a:cubicBezTo>
                      <a:pt x="9" y="48"/>
                      <a:pt x="3" y="45"/>
                      <a:pt x="0" y="4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85" name="Freeform 435">
                <a:extLst>
                  <a:ext uri="{FF2B5EF4-FFF2-40B4-BE49-F238E27FC236}">
                    <a16:creationId xmlns:a16="http://schemas.microsoft.com/office/drawing/2014/main" id="{E54EA71D-EAAA-45D3-89CD-FEEEB992DE37}"/>
                  </a:ext>
                </a:extLst>
              </p:cNvPr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gray">
              <a:xfrm>
                <a:off x="2187576" y="3762375"/>
                <a:ext cx="28575" cy="61913"/>
              </a:xfrm>
              <a:custGeom>
                <a:avLst/>
                <a:gdLst>
                  <a:gd name="T0" fmla="*/ 14 w 19"/>
                  <a:gd name="T1" fmla="*/ 0 h 38"/>
                  <a:gd name="T2" fmla="*/ 19 w 19"/>
                  <a:gd name="T3" fmla="*/ 32 h 38"/>
                  <a:gd name="T4" fmla="*/ 5 w 19"/>
                  <a:gd name="T5" fmla="*/ 38 h 38"/>
                  <a:gd name="T6" fmla="*/ 4 w 19"/>
                  <a:gd name="T7" fmla="*/ 23 h 38"/>
                  <a:gd name="T8" fmla="*/ 10 w 19"/>
                  <a:gd name="T9" fmla="*/ 9 h 38"/>
                  <a:gd name="T10" fmla="*/ 14 w 19"/>
                  <a:gd name="T1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38">
                    <a:moveTo>
                      <a:pt x="14" y="0"/>
                    </a:moveTo>
                    <a:cubicBezTo>
                      <a:pt x="18" y="22"/>
                      <a:pt x="16" y="11"/>
                      <a:pt x="19" y="32"/>
                    </a:cubicBezTo>
                    <a:cubicBezTo>
                      <a:pt x="13" y="33"/>
                      <a:pt x="10" y="36"/>
                      <a:pt x="5" y="38"/>
                    </a:cubicBezTo>
                    <a:cubicBezTo>
                      <a:pt x="0" y="32"/>
                      <a:pt x="1" y="30"/>
                      <a:pt x="4" y="23"/>
                    </a:cubicBezTo>
                    <a:cubicBezTo>
                      <a:pt x="5" y="17"/>
                      <a:pt x="7" y="14"/>
                      <a:pt x="10" y="9"/>
                    </a:cubicBezTo>
                    <a:cubicBezTo>
                      <a:pt x="11" y="2"/>
                      <a:pt x="10" y="4"/>
                      <a:pt x="14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86" name="Freeform 436">
                <a:extLst>
                  <a:ext uri="{FF2B5EF4-FFF2-40B4-BE49-F238E27FC236}">
                    <a16:creationId xmlns:a16="http://schemas.microsoft.com/office/drawing/2014/main" id="{2B9C3923-92D4-45FF-82F9-9A23C8F9F6E1}"/>
                  </a:ext>
                </a:extLst>
              </p:cNvPr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gray">
              <a:xfrm>
                <a:off x="2274888" y="3925888"/>
                <a:ext cx="107950" cy="93663"/>
              </a:xfrm>
              <a:custGeom>
                <a:avLst/>
                <a:gdLst>
                  <a:gd name="T0" fmla="*/ 5 w 68"/>
                  <a:gd name="T1" fmla="*/ 4 h 58"/>
                  <a:gd name="T2" fmla="*/ 14 w 68"/>
                  <a:gd name="T3" fmla="*/ 15 h 58"/>
                  <a:gd name="T4" fmla="*/ 23 w 68"/>
                  <a:gd name="T5" fmla="*/ 31 h 58"/>
                  <a:gd name="T6" fmla="*/ 33 w 68"/>
                  <a:gd name="T7" fmla="*/ 36 h 58"/>
                  <a:gd name="T8" fmla="*/ 60 w 68"/>
                  <a:gd name="T9" fmla="*/ 51 h 58"/>
                  <a:gd name="T10" fmla="*/ 68 w 68"/>
                  <a:gd name="T11" fmla="*/ 43 h 58"/>
                  <a:gd name="T12" fmla="*/ 51 w 68"/>
                  <a:gd name="T13" fmla="*/ 33 h 58"/>
                  <a:gd name="T14" fmla="*/ 39 w 68"/>
                  <a:gd name="T15" fmla="*/ 24 h 58"/>
                  <a:gd name="T16" fmla="*/ 38 w 68"/>
                  <a:gd name="T17" fmla="*/ 16 h 58"/>
                  <a:gd name="T18" fmla="*/ 5 w 68"/>
                  <a:gd name="T19" fmla="*/ 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58">
                    <a:moveTo>
                      <a:pt x="5" y="4"/>
                    </a:moveTo>
                    <a:cubicBezTo>
                      <a:pt x="0" y="3"/>
                      <a:pt x="11" y="11"/>
                      <a:pt x="14" y="15"/>
                    </a:cubicBezTo>
                    <a:cubicBezTo>
                      <a:pt x="17" y="19"/>
                      <a:pt x="20" y="28"/>
                      <a:pt x="23" y="31"/>
                    </a:cubicBezTo>
                    <a:cubicBezTo>
                      <a:pt x="28" y="33"/>
                      <a:pt x="29" y="33"/>
                      <a:pt x="33" y="36"/>
                    </a:cubicBezTo>
                    <a:cubicBezTo>
                      <a:pt x="36" y="45"/>
                      <a:pt x="52" y="48"/>
                      <a:pt x="60" y="51"/>
                    </a:cubicBezTo>
                    <a:cubicBezTo>
                      <a:pt x="65" y="58"/>
                      <a:pt x="65" y="49"/>
                      <a:pt x="68" y="43"/>
                    </a:cubicBezTo>
                    <a:cubicBezTo>
                      <a:pt x="61" y="39"/>
                      <a:pt x="59" y="35"/>
                      <a:pt x="51" y="33"/>
                    </a:cubicBezTo>
                    <a:cubicBezTo>
                      <a:pt x="47" y="30"/>
                      <a:pt x="41" y="27"/>
                      <a:pt x="39" y="24"/>
                    </a:cubicBezTo>
                    <a:cubicBezTo>
                      <a:pt x="37" y="21"/>
                      <a:pt x="44" y="19"/>
                      <a:pt x="38" y="16"/>
                    </a:cubicBezTo>
                    <a:cubicBezTo>
                      <a:pt x="30" y="0"/>
                      <a:pt x="16" y="15"/>
                      <a:pt x="5" y="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87" name="Freeform 437">
                <a:extLst>
                  <a:ext uri="{FF2B5EF4-FFF2-40B4-BE49-F238E27FC236}">
                    <a16:creationId xmlns:a16="http://schemas.microsoft.com/office/drawing/2014/main" id="{A4F91124-D6F7-4287-9B35-9A0D68FCD1A0}"/>
                  </a:ext>
                </a:extLst>
              </p:cNvPr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gray">
              <a:xfrm>
                <a:off x="2559051" y="3703638"/>
                <a:ext cx="60325" cy="68263"/>
              </a:xfrm>
              <a:custGeom>
                <a:avLst/>
                <a:gdLst>
                  <a:gd name="T0" fmla="*/ 15 w 69"/>
                  <a:gd name="T1" fmla="*/ 0 h 43"/>
                  <a:gd name="T2" fmla="*/ 22 w 69"/>
                  <a:gd name="T3" fmla="*/ 12 h 43"/>
                  <a:gd name="T4" fmla="*/ 16 w 69"/>
                  <a:gd name="T5" fmla="*/ 27 h 43"/>
                  <a:gd name="T6" fmla="*/ 0 w 69"/>
                  <a:gd name="T7" fmla="*/ 28 h 43"/>
                  <a:gd name="T8" fmla="*/ 7 w 69"/>
                  <a:gd name="T9" fmla="*/ 37 h 43"/>
                  <a:gd name="T10" fmla="*/ 31 w 69"/>
                  <a:gd name="T11" fmla="*/ 34 h 43"/>
                  <a:gd name="T12" fmla="*/ 46 w 69"/>
                  <a:gd name="T13" fmla="*/ 43 h 43"/>
                  <a:gd name="T14" fmla="*/ 69 w 69"/>
                  <a:gd name="T15" fmla="*/ 37 h 43"/>
                  <a:gd name="T16" fmla="*/ 54 w 69"/>
                  <a:gd name="T17" fmla="*/ 16 h 43"/>
                  <a:gd name="T18" fmla="*/ 60 w 69"/>
                  <a:gd name="T19" fmla="*/ 1 h 43"/>
                  <a:gd name="T20" fmla="*/ 40 w 69"/>
                  <a:gd name="T21" fmla="*/ 4 h 43"/>
                  <a:gd name="T22" fmla="*/ 25 w 69"/>
                  <a:gd name="T23" fmla="*/ 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" h="43">
                    <a:moveTo>
                      <a:pt x="15" y="0"/>
                    </a:moveTo>
                    <a:lnTo>
                      <a:pt x="22" y="12"/>
                    </a:lnTo>
                    <a:lnTo>
                      <a:pt x="16" y="27"/>
                    </a:lnTo>
                    <a:lnTo>
                      <a:pt x="0" y="28"/>
                    </a:lnTo>
                    <a:lnTo>
                      <a:pt x="7" y="37"/>
                    </a:lnTo>
                    <a:lnTo>
                      <a:pt x="31" y="34"/>
                    </a:lnTo>
                    <a:lnTo>
                      <a:pt x="46" y="43"/>
                    </a:lnTo>
                    <a:lnTo>
                      <a:pt x="69" y="37"/>
                    </a:lnTo>
                    <a:lnTo>
                      <a:pt x="54" y="16"/>
                    </a:lnTo>
                    <a:lnTo>
                      <a:pt x="60" y="1"/>
                    </a:lnTo>
                    <a:lnTo>
                      <a:pt x="40" y="4"/>
                    </a:lnTo>
                    <a:lnTo>
                      <a:pt x="25" y="4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88" name="Freeform 438">
                <a:extLst>
                  <a:ext uri="{FF2B5EF4-FFF2-40B4-BE49-F238E27FC236}">
                    <a16:creationId xmlns:a16="http://schemas.microsoft.com/office/drawing/2014/main" id="{37DD7FE4-192F-454E-806F-BCF64C950FCA}"/>
                  </a:ext>
                </a:extLst>
              </p:cNvPr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gray">
              <a:xfrm>
                <a:off x="2717801" y="3744913"/>
                <a:ext cx="73025" cy="22225"/>
              </a:xfrm>
              <a:custGeom>
                <a:avLst/>
                <a:gdLst>
                  <a:gd name="T0" fmla="*/ 0 w 45"/>
                  <a:gd name="T1" fmla="*/ 8 h 15"/>
                  <a:gd name="T2" fmla="*/ 24 w 45"/>
                  <a:gd name="T3" fmla="*/ 8 h 15"/>
                  <a:gd name="T4" fmla="*/ 43 w 45"/>
                  <a:gd name="T5" fmla="*/ 0 h 15"/>
                  <a:gd name="T6" fmla="*/ 45 w 45"/>
                  <a:gd name="T7" fmla="*/ 14 h 15"/>
                  <a:gd name="T8" fmla="*/ 21 w 45"/>
                  <a:gd name="T9" fmla="*/ 15 h 15"/>
                  <a:gd name="T10" fmla="*/ 0 w 45"/>
                  <a:gd name="T11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" h="15">
                    <a:moveTo>
                      <a:pt x="0" y="8"/>
                    </a:moveTo>
                    <a:lnTo>
                      <a:pt x="24" y="8"/>
                    </a:lnTo>
                    <a:lnTo>
                      <a:pt x="43" y="0"/>
                    </a:lnTo>
                    <a:lnTo>
                      <a:pt x="45" y="14"/>
                    </a:lnTo>
                    <a:lnTo>
                      <a:pt x="21" y="15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89" name="Freeform 490">
                <a:extLst>
                  <a:ext uri="{FF2B5EF4-FFF2-40B4-BE49-F238E27FC236}">
                    <a16:creationId xmlns:a16="http://schemas.microsoft.com/office/drawing/2014/main" id="{B62BF15D-05AC-4967-BC12-82DEFF58B178}"/>
                  </a:ext>
                </a:extLst>
              </p:cNvPr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gray">
              <a:xfrm>
                <a:off x="4649788" y="3636963"/>
                <a:ext cx="260350" cy="382588"/>
              </a:xfrm>
              <a:custGeom>
                <a:avLst/>
                <a:gdLst>
                  <a:gd name="T0" fmla="*/ 140 w 160"/>
                  <a:gd name="T1" fmla="*/ 182 h 236"/>
                  <a:gd name="T2" fmla="*/ 137 w 160"/>
                  <a:gd name="T3" fmla="*/ 164 h 236"/>
                  <a:gd name="T4" fmla="*/ 131 w 160"/>
                  <a:gd name="T5" fmla="*/ 154 h 236"/>
                  <a:gd name="T6" fmla="*/ 137 w 160"/>
                  <a:gd name="T7" fmla="*/ 136 h 236"/>
                  <a:gd name="T8" fmla="*/ 158 w 160"/>
                  <a:gd name="T9" fmla="*/ 106 h 236"/>
                  <a:gd name="T10" fmla="*/ 158 w 160"/>
                  <a:gd name="T11" fmla="*/ 63 h 236"/>
                  <a:gd name="T12" fmla="*/ 143 w 160"/>
                  <a:gd name="T13" fmla="*/ 49 h 236"/>
                  <a:gd name="T14" fmla="*/ 125 w 160"/>
                  <a:gd name="T15" fmla="*/ 39 h 236"/>
                  <a:gd name="T16" fmla="*/ 107 w 160"/>
                  <a:gd name="T17" fmla="*/ 30 h 236"/>
                  <a:gd name="T18" fmla="*/ 92 w 160"/>
                  <a:gd name="T19" fmla="*/ 26 h 236"/>
                  <a:gd name="T20" fmla="*/ 77 w 160"/>
                  <a:gd name="T21" fmla="*/ 8 h 236"/>
                  <a:gd name="T22" fmla="*/ 65 w 160"/>
                  <a:gd name="T23" fmla="*/ 7 h 236"/>
                  <a:gd name="T24" fmla="*/ 50 w 160"/>
                  <a:gd name="T25" fmla="*/ 4 h 236"/>
                  <a:gd name="T26" fmla="*/ 26 w 160"/>
                  <a:gd name="T27" fmla="*/ 2 h 236"/>
                  <a:gd name="T28" fmla="*/ 31 w 160"/>
                  <a:gd name="T29" fmla="*/ 17 h 236"/>
                  <a:gd name="T30" fmla="*/ 40 w 160"/>
                  <a:gd name="T31" fmla="*/ 51 h 236"/>
                  <a:gd name="T32" fmla="*/ 34 w 160"/>
                  <a:gd name="T33" fmla="*/ 93 h 236"/>
                  <a:gd name="T34" fmla="*/ 21 w 160"/>
                  <a:gd name="T35" fmla="*/ 116 h 236"/>
                  <a:gd name="T36" fmla="*/ 5 w 160"/>
                  <a:gd name="T37" fmla="*/ 131 h 236"/>
                  <a:gd name="T38" fmla="*/ 13 w 160"/>
                  <a:gd name="T39" fmla="*/ 158 h 236"/>
                  <a:gd name="T40" fmla="*/ 28 w 160"/>
                  <a:gd name="T41" fmla="*/ 188 h 236"/>
                  <a:gd name="T42" fmla="*/ 29 w 160"/>
                  <a:gd name="T43" fmla="*/ 197 h 236"/>
                  <a:gd name="T44" fmla="*/ 14 w 160"/>
                  <a:gd name="T45" fmla="*/ 205 h 236"/>
                  <a:gd name="T46" fmla="*/ 26 w 160"/>
                  <a:gd name="T47" fmla="*/ 217 h 236"/>
                  <a:gd name="T48" fmla="*/ 43 w 160"/>
                  <a:gd name="T49" fmla="*/ 232 h 236"/>
                  <a:gd name="T50" fmla="*/ 67 w 160"/>
                  <a:gd name="T51" fmla="*/ 235 h 236"/>
                  <a:gd name="T52" fmla="*/ 83 w 160"/>
                  <a:gd name="T53" fmla="*/ 228 h 236"/>
                  <a:gd name="T54" fmla="*/ 98 w 160"/>
                  <a:gd name="T55" fmla="*/ 214 h 236"/>
                  <a:gd name="T56" fmla="*/ 115 w 160"/>
                  <a:gd name="T57" fmla="*/ 205 h 236"/>
                  <a:gd name="T58" fmla="*/ 121 w 160"/>
                  <a:gd name="T59" fmla="*/ 197 h 236"/>
                  <a:gd name="T60" fmla="*/ 142 w 160"/>
                  <a:gd name="T61" fmla="*/ 185 h 236"/>
                  <a:gd name="T62" fmla="*/ 140 w 160"/>
                  <a:gd name="T63" fmla="*/ 182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36">
                    <a:moveTo>
                      <a:pt x="140" y="182"/>
                    </a:moveTo>
                    <a:cubicBezTo>
                      <a:pt x="140" y="178"/>
                      <a:pt x="138" y="169"/>
                      <a:pt x="137" y="164"/>
                    </a:cubicBezTo>
                    <a:cubicBezTo>
                      <a:pt x="136" y="159"/>
                      <a:pt x="131" y="159"/>
                      <a:pt x="131" y="154"/>
                    </a:cubicBezTo>
                    <a:cubicBezTo>
                      <a:pt x="133" y="149"/>
                      <a:pt x="137" y="136"/>
                      <a:pt x="137" y="136"/>
                    </a:cubicBezTo>
                    <a:cubicBezTo>
                      <a:pt x="145" y="123"/>
                      <a:pt x="140" y="110"/>
                      <a:pt x="158" y="106"/>
                    </a:cubicBezTo>
                    <a:cubicBezTo>
                      <a:pt x="160" y="93"/>
                      <a:pt x="160" y="72"/>
                      <a:pt x="158" y="63"/>
                    </a:cubicBezTo>
                    <a:cubicBezTo>
                      <a:pt x="156" y="54"/>
                      <a:pt x="148" y="53"/>
                      <a:pt x="143" y="49"/>
                    </a:cubicBezTo>
                    <a:cubicBezTo>
                      <a:pt x="138" y="42"/>
                      <a:pt x="133" y="40"/>
                      <a:pt x="125" y="39"/>
                    </a:cubicBezTo>
                    <a:cubicBezTo>
                      <a:pt x="118" y="36"/>
                      <a:pt x="114" y="31"/>
                      <a:pt x="107" y="30"/>
                    </a:cubicBezTo>
                    <a:cubicBezTo>
                      <a:pt x="103" y="28"/>
                      <a:pt x="99" y="30"/>
                      <a:pt x="92" y="26"/>
                    </a:cubicBezTo>
                    <a:cubicBezTo>
                      <a:pt x="87" y="22"/>
                      <a:pt x="81" y="11"/>
                      <a:pt x="77" y="8"/>
                    </a:cubicBezTo>
                    <a:cubicBezTo>
                      <a:pt x="73" y="5"/>
                      <a:pt x="69" y="8"/>
                      <a:pt x="65" y="7"/>
                    </a:cubicBezTo>
                    <a:cubicBezTo>
                      <a:pt x="60" y="5"/>
                      <a:pt x="54" y="7"/>
                      <a:pt x="50" y="4"/>
                    </a:cubicBezTo>
                    <a:cubicBezTo>
                      <a:pt x="41" y="4"/>
                      <a:pt x="34" y="0"/>
                      <a:pt x="26" y="2"/>
                    </a:cubicBezTo>
                    <a:cubicBezTo>
                      <a:pt x="22" y="3"/>
                      <a:pt x="25" y="16"/>
                      <a:pt x="31" y="17"/>
                    </a:cubicBezTo>
                    <a:cubicBezTo>
                      <a:pt x="37" y="27"/>
                      <a:pt x="36" y="40"/>
                      <a:pt x="40" y="51"/>
                    </a:cubicBezTo>
                    <a:cubicBezTo>
                      <a:pt x="43" y="69"/>
                      <a:pt x="45" y="79"/>
                      <a:pt x="34" y="93"/>
                    </a:cubicBezTo>
                    <a:cubicBezTo>
                      <a:pt x="31" y="104"/>
                      <a:pt x="26" y="110"/>
                      <a:pt x="21" y="116"/>
                    </a:cubicBezTo>
                    <a:cubicBezTo>
                      <a:pt x="16" y="122"/>
                      <a:pt x="6" y="124"/>
                      <a:pt x="5" y="131"/>
                    </a:cubicBezTo>
                    <a:cubicBezTo>
                      <a:pt x="3" y="142"/>
                      <a:pt x="0" y="156"/>
                      <a:pt x="13" y="158"/>
                    </a:cubicBezTo>
                    <a:cubicBezTo>
                      <a:pt x="14" y="170"/>
                      <a:pt x="21" y="179"/>
                      <a:pt x="28" y="188"/>
                    </a:cubicBezTo>
                    <a:cubicBezTo>
                      <a:pt x="29" y="195"/>
                      <a:pt x="38" y="195"/>
                      <a:pt x="29" y="197"/>
                    </a:cubicBezTo>
                    <a:cubicBezTo>
                      <a:pt x="23" y="200"/>
                      <a:pt x="18" y="199"/>
                      <a:pt x="14" y="205"/>
                    </a:cubicBezTo>
                    <a:cubicBezTo>
                      <a:pt x="16" y="210"/>
                      <a:pt x="21" y="213"/>
                      <a:pt x="26" y="217"/>
                    </a:cubicBezTo>
                    <a:cubicBezTo>
                      <a:pt x="32" y="226"/>
                      <a:pt x="32" y="231"/>
                      <a:pt x="43" y="232"/>
                    </a:cubicBezTo>
                    <a:cubicBezTo>
                      <a:pt x="50" y="235"/>
                      <a:pt x="60" y="236"/>
                      <a:pt x="67" y="235"/>
                    </a:cubicBezTo>
                    <a:cubicBezTo>
                      <a:pt x="74" y="234"/>
                      <a:pt x="78" y="232"/>
                      <a:pt x="83" y="228"/>
                    </a:cubicBezTo>
                    <a:cubicBezTo>
                      <a:pt x="86" y="219"/>
                      <a:pt x="91" y="219"/>
                      <a:pt x="98" y="214"/>
                    </a:cubicBezTo>
                    <a:cubicBezTo>
                      <a:pt x="102" y="207"/>
                      <a:pt x="107" y="206"/>
                      <a:pt x="115" y="205"/>
                    </a:cubicBezTo>
                    <a:cubicBezTo>
                      <a:pt x="125" y="197"/>
                      <a:pt x="113" y="207"/>
                      <a:pt x="121" y="197"/>
                    </a:cubicBezTo>
                    <a:cubicBezTo>
                      <a:pt x="125" y="192"/>
                      <a:pt x="138" y="187"/>
                      <a:pt x="142" y="185"/>
                    </a:cubicBezTo>
                    <a:cubicBezTo>
                      <a:pt x="143" y="184"/>
                      <a:pt x="141" y="183"/>
                      <a:pt x="140" y="18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90" name="Freeform 491">
                <a:extLst>
                  <a:ext uri="{FF2B5EF4-FFF2-40B4-BE49-F238E27FC236}">
                    <a16:creationId xmlns:a16="http://schemas.microsoft.com/office/drawing/2014/main" id="{C7A166C9-DFBB-467E-AB56-68F2369600A2}"/>
                  </a:ext>
                </a:extLst>
              </p:cNvPr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gray">
              <a:xfrm>
                <a:off x="5129213" y="3846513"/>
                <a:ext cx="350838" cy="265113"/>
              </a:xfrm>
              <a:custGeom>
                <a:avLst/>
                <a:gdLst>
                  <a:gd name="T0" fmla="*/ 46 w 216"/>
                  <a:gd name="T1" fmla="*/ 5 h 164"/>
                  <a:gd name="T2" fmla="*/ 68 w 216"/>
                  <a:gd name="T3" fmla="*/ 6 h 164"/>
                  <a:gd name="T4" fmla="*/ 87 w 216"/>
                  <a:gd name="T5" fmla="*/ 6 h 164"/>
                  <a:gd name="T6" fmla="*/ 113 w 216"/>
                  <a:gd name="T7" fmla="*/ 6 h 164"/>
                  <a:gd name="T8" fmla="*/ 124 w 216"/>
                  <a:gd name="T9" fmla="*/ 9 h 164"/>
                  <a:gd name="T10" fmla="*/ 129 w 216"/>
                  <a:gd name="T11" fmla="*/ 24 h 164"/>
                  <a:gd name="T12" fmla="*/ 122 w 216"/>
                  <a:gd name="T13" fmla="*/ 27 h 164"/>
                  <a:gd name="T14" fmla="*/ 124 w 216"/>
                  <a:gd name="T15" fmla="*/ 39 h 164"/>
                  <a:gd name="T16" fmla="*/ 153 w 216"/>
                  <a:gd name="T17" fmla="*/ 64 h 164"/>
                  <a:gd name="T18" fmla="*/ 170 w 216"/>
                  <a:gd name="T19" fmla="*/ 82 h 164"/>
                  <a:gd name="T20" fmla="*/ 182 w 216"/>
                  <a:gd name="T21" fmla="*/ 85 h 164"/>
                  <a:gd name="T22" fmla="*/ 200 w 216"/>
                  <a:gd name="T23" fmla="*/ 94 h 164"/>
                  <a:gd name="T24" fmla="*/ 215 w 216"/>
                  <a:gd name="T25" fmla="*/ 103 h 164"/>
                  <a:gd name="T26" fmla="*/ 198 w 216"/>
                  <a:gd name="T27" fmla="*/ 120 h 164"/>
                  <a:gd name="T28" fmla="*/ 186 w 216"/>
                  <a:gd name="T29" fmla="*/ 133 h 164"/>
                  <a:gd name="T30" fmla="*/ 168 w 216"/>
                  <a:gd name="T31" fmla="*/ 143 h 164"/>
                  <a:gd name="T32" fmla="*/ 132 w 216"/>
                  <a:gd name="T33" fmla="*/ 146 h 164"/>
                  <a:gd name="T34" fmla="*/ 107 w 216"/>
                  <a:gd name="T35" fmla="*/ 161 h 164"/>
                  <a:gd name="T36" fmla="*/ 87 w 216"/>
                  <a:gd name="T37" fmla="*/ 162 h 164"/>
                  <a:gd name="T38" fmla="*/ 65 w 216"/>
                  <a:gd name="T39" fmla="*/ 162 h 164"/>
                  <a:gd name="T40" fmla="*/ 48 w 216"/>
                  <a:gd name="T41" fmla="*/ 148 h 164"/>
                  <a:gd name="T42" fmla="*/ 42 w 216"/>
                  <a:gd name="T43" fmla="*/ 144 h 164"/>
                  <a:gd name="T44" fmla="*/ 24 w 216"/>
                  <a:gd name="T45" fmla="*/ 127 h 164"/>
                  <a:gd name="T46" fmla="*/ 18 w 216"/>
                  <a:gd name="T47" fmla="*/ 113 h 164"/>
                  <a:gd name="T48" fmla="*/ 2 w 216"/>
                  <a:gd name="T49" fmla="*/ 99 h 164"/>
                  <a:gd name="T50" fmla="*/ 4 w 216"/>
                  <a:gd name="T51" fmla="*/ 92 h 164"/>
                  <a:gd name="T52" fmla="*/ 14 w 216"/>
                  <a:gd name="T53" fmla="*/ 83 h 164"/>
                  <a:gd name="T54" fmla="*/ 16 w 216"/>
                  <a:gd name="T55" fmla="*/ 60 h 164"/>
                  <a:gd name="T56" fmla="*/ 28 w 216"/>
                  <a:gd name="T57" fmla="*/ 42 h 164"/>
                  <a:gd name="T58" fmla="*/ 41 w 216"/>
                  <a:gd name="T59" fmla="*/ 31 h 164"/>
                  <a:gd name="T60" fmla="*/ 46 w 216"/>
                  <a:gd name="T61" fmla="*/ 5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16" h="164">
                    <a:moveTo>
                      <a:pt x="46" y="5"/>
                    </a:moveTo>
                    <a:cubicBezTo>
                      <a:pt x="50" y="0"/>
                      <a:pt x="61" y="6"/>
                      <a:pt x="68" y="6"/>
                    </a:cubicBezTo>
                    <a:cubicBezTo>
                      <a:pt x="75" y="6"/>
                      <a:pt x="80" y="6"/>
                      <a:pt x="87" y="6"/>
                    </a:cubicBezTo>
                    <a:cubicBezTo>
                      <a:pt x="94" y="6"/>
                      <a:pt x="107" y="6"/>
                      <a:pt x="113" y="6"/>
                    </a:cubicBezTo>
                    <a:cubicBezTo>
                      <a:pt x="117" y="8"/>
                      <a:pt x="121" y="5"/>
                      <a:pt x="124" y="9"/>
                    </a:cubicBezTo>
                    <a:cubicBezTo>
                      <a:pt x="126" y="11"/>
                      <a:pt x="130" y="21"/>
                      <a:pt x="129" y="24"/>
                    </a:cubicBezTo>
                    <a:cubicBezTo>
                      <a:pt x="129" y="27"/>
                      <a:pt x="123" y="25"/>
                      <a:pt x="122" y="27"/>
                    </a:cubicBezTo>
                    <a:cubicBezTo>
                      <a:pt x="121" y="28"/>
                      <a:pt x="119" y="33"/>
                      <a:pt x="124" y="39"/>
                    </a:cubicBezTo>
                    <a:cubicBezTo>
                      <a:pt x="129" y="45"/>
                      <a:pt x="145" y="57"/>
                      <a:pt x="153" y="64"/>
                    </a:cubicBezTo>
                    <a:cubicBezTo>
                      <a:pt x="156" y="69"/>
                      <a:pt x="164" y="78"/>
                      <a:pt x="170" y="82"/>
                    </a:cubicBezTo>
                    <a:cubicBezTo>
                      <a:pt x="174" y="83"/>
                      <a:pt x="182" y="85"/>
                      <a:pt x="182" y="85"/>
                    </a:cubicBezTo>
                    <a:cubicBezTo>
                      <a:pt x="186" y="88"/>
                      <a:pt x="196" y="91"/>
                      <a:pt x="200" y="94"/>
                    </a:cubicBezTo>
                    <a:cubicBezTo>
                      <a:pt x="205" y="97"/>
                      <a:pt x="215" y="99"/>
                      <a:pt x="215" y="103"/>
                    </a:cubicBezTo>
                    <a:cubicBezTo>
                      <a:pt x="216" y="108"/>
                      <a:pt x="203" y="115"/>
                      <a:pt x="198" y="120"/>
                    </a:cubicBezTo>
                    <a:cubicBezTo>
                      <a:pt x="193" y="125"/>
                      <a:pt x="191" y="129"/>
                      <a:pt x="186" y="133"/>
                    </a:cubicBezTo>
                    <a:cubicBezTo>
                      <a:pt x="178" y="138"/>
                      <a:pt x="177" y="141"/>
                      <a:pt x="168" y="143"/>
                    </a:cubicBezTo>
                    <a:cubicBezTo>
                      <a:pt x="159" y="145"/>
                      <a:pt x="142" y="143"/>
                      <a:pt x="132" y="146"/>
                    </a:cubicBezTo>
                    <a:cubicBezTo>
                      <a:pt x="122" y="156"/>
                      <a:pt x="123" y="159"/>
                      <a:pt x="107" y="161"/>
                    </a:cubicBezTo>
                    <a:cubicBezTo>
                      <a:pt x="100" y="164"/>
                      <a:pt x="94" y="162"/>
                      <a:pt x="87" y="162"/>
                    </a:cubicBezTo>
                    <a:cubicBezTo>
                      <a:pt x="80" y="162"/>
                      <a:pt x="71" y="164"/>
                      <a:pt x="65" y="162"/>
                    </a:cubicBezTo>
                    <a:cubicBezTo>
                      <a:pt x="54" y="158"/>
                      <a:pt x="62" y="157"/>
                      <a:pt x="48" y="148"/>
                    </a:cubicBezTo>
                    <a:cubicBezTo>
                      <a:pt x="46" y="147"/>
                      <a:pt x="42" y="144"/>
                      <a:pt x="42" y="144"/>
                    </a:cubicBezTo>
                    <a:cubicBezTo>
                      <a:pt x="38" y="141"/>
                      <a:pt x="29" y="133"/>
                      <a:pt x="24" y="127"/>
                    </a:cubicBezTo>
                    <a:cubicBezTo>
                      <a:pt x="20" y="122"/>
                      <a:pt x="22" y="118"/>
                      <a:pt x="18" y="113"/>
                    </a:cubicBezTo>
                    <a:cubicBezTo>
                      <a:pt x="15" y="109"/>
                      <a:pt x="2" y="99"/>
                      <a:pt x="2" y="99"/>
                    </a:cubicBezTo>
                    <a:cubicBezTo>
                      <a:pt x="0" y="95"/>
                      <a:pt x="2" y="95"/>
                      <a:pt x="4" y="92"/>
                    </a:cubicBezTo>
                    <a:cubicBezTo>
                      <a:pt x="6" y="89"/>
                      <a:pt x="12" y="88"/>
                      <a:pt x="14" y="83"/>
                    </a:cubicBezTo>
                    <a:cubicBezTo>
                      <a:pt x="17" y="76"/>
                      <a:pt x="11" y="67"/>
                      <a:pt x="16" y="60"/>
                    </a:cubicBezTo>
                    <a:cubicBezTo>
                      <a:pt x="18" y="56"/>
                      <a:pt x="25" y="45"/>
                      <a:pt x="28" y="42"/>
                    </a:cubicBezTo>
                    <a:cubicBezTo>
                      <a:pt x="31" y="39"/>
                      <a:pt x="41" y="31"/>
                      <a:pt x="41" y="31"/>
                    </a:cubicBezTo>
                    <a:cubicBezTo>
                      <a:pt x="44" y="24"/>
                      <a:pt x="50" y="13"/>
                      <a:pt x="46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91" name="Freeform 492">
                <a:extLst>
                  <a:ext uri="{FF2B5EF4-FFF2-40B4-BE49-F238E27FC236}">
                    <a16:creationId xmlns:a16="http://schemas.microsoft.com/office/drawing/2014/main" id="{9C91B8B4-1E19-4925-A198-D64C5190A7A4}"/>
                  </a:ext>
                </a:extLst>
              </p:cNvPr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gray">
              <a:xfrm>
                <a:off x="4683126" y="3930650"/>
                <a:ext cx="306388" cy="193675"/>
              </a:xfrm>
              <a:custGeom>
                <a:avLst/>
                <a:gdLst>
                  <a:gd name="T0" fmla="*/ 11 w 188"/>
                  <a:gd name="T1" fmla="*/ 49 h 119"/>
                  <a:gd name="T2" fmla="*/ 47 w 188"/>
                  <a:gd name="T3" fmla="*/ 52 h 119"/>
                  <a:gd name="T4" fmla="*/ 65 w 188"/>
                  <a:gd name="T5" fmla="*/ 40 h 119"/>
                  <a:gd name="T6" fmla="*/ 97 w 188"/>
                  <a:gd name="T7" fmla="*/ 17 h 119"/>
                  <a:gd name="T8" fmla="*/ 121 w 188"/>
                  <a:gd name="T9" fmla="*/ 0 h 119"/>
                  <a:gd name="T10" fmla="*/ 130 w 188"/>
                  <a:gd name="T11" fmla="*/ 14 h 119"/>
                  <a:gd name="T12" fmla="*/ 136 w 188"/>
                  <a:gd name="T13" fmla="*/ 29 h 119"/>
                  <a:gd name="T14" fmla="*/ 144 w 188"/>
                  <a:gd name="T15" fmla="*/ 41 h 119"/>
                  <a:gd name="T16" fmla="*/ 156 w 188"/>
                  <a:gd name="T17" fmla="*/ 48 h 119"/>
                  <a:gd name="T18" fmla="*/ 164 w 188"/>
                  <a:gd name="T19" fmla="*/ 59 h 119"/>
                  <a:gd name="T20" fmla="*/ 180 w 188"/>
                  <a:gd name="T21" fmla="*/ 77 h 119"/>
                  <a:gd name="T22" fmla="*/ 188 w 188"/>
                  <a:gd name="T23" fmla="*/ 87 h 119"/>
                  <a:gd name="T24" fmla="*/ 169 w 188"/>
                  <a:gd name="T25" fmla="*/ 88 h 119"/>
                  <a:gd name="T26" fmla="*/ 152 w 188"/>
                  <a:gd name="T27" fmla="*/ 93 h 119"/>
                  <a:gd name="T28" fmla="*/ 136 w 188"/>
                  <a:gd name="T29" fmla="*/ 91 h 119"/>
                  <a:gd name="T30" fmla="*/ 106 w 188"/>
                  <a:gd name="T31" fmla="*/ 102 h 119"/>
                  <a:gd name="T32" fmla="*/ 86 w 188"/>
                  <a:gd name="T33" fmla="*/ 96 h 119"/>
                  <a:gd name="T34" fmla="*/ 68 w 188"/>
                  <a:gd name="T35" fmla="*/ 91 h 119"/>
                  <a:gd name="T36" fmla="*/ 55 w 188"/>
                  <a:gd name="T37" fmla="*/ 110 h 119"/>
                  <a:gd name="T38" fmla="*/ 34 w 188"/>
                  <a:gd name="T39" fmla="*/ 110 h 119"/>
                  <a:gd name="T40" fmla="*/ 19 w 188"/>
                  <a:gd name="T41" fmla="*/ 116 h 119"/>
                  <a:gd name="T42" fmla="*/ 7 w 188"/>
                  <a:gd name="T43" fmla="*/ 91 h 119"/>
                  <a:gd name="T44" fmla="*/ 10 w 188"/>
                  <a:gd name="T45" fmla="*/ 58 h 119"/>
                  <a:gd name="T46" fmla="*/ 11 w 188"/>
                  <a:gd name="T47" fmla="*/ 4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8" h="119">
                    <a:moveTo>
                      <a:pt x="11" y="49"/>
                    </a:moveTo>
                    <a:cubicBezTo>
                      <a:pt x="16" y="48"/>
                      <a:pt x="38" y="53"/>
                      <a:pt x="47" y="52"/>
                    </a:cubicBezTo>
                    <a:cubicBezTo>
                      <a:pt x="56" y="51"/>
                      <a:pt x="62" y="43"/>
                      <a:pt x="65" y="40"/>
                    </a:cubicBezTo>
                    <a:cubicBezTo>
                      <a:pt x="73" y="34"/>
                      <a:pt x="88" y="23"/>
                      <a:pt x="97" y="17"/>
                    </a:cubicBezTo>
                    <a:cubicBezTo>
                      <a:pt x="98" y="10"/>
                      <a:pt x="114" y="3"/>
                      <a:pt x="121" y="0"/>
                    </a:cubicBezTo>
                    <a:cubicBezTo>
                      <a:pt x="124" y="5"/>
                      <a:pt x="127" y="9"/>
                      <a:pt x="130" y="14"/>
                    </a:cubicBezTo>
                    <a:cubicBezTo>
                      <a:pt x="133" y="19"/>
                      <a:pt x="132" y="24"/>
                      <a:pt x="136" y="29"/>
                    </a:cubicBezTo>
                    <a:cubicBezTo>
                      <a:pt x="138" y="33"/>
                      <a:pt x="141" y="38"/>
                      <a:pt x="144" y="41"/>
                    </a:cubicBezTo>
                    <a:cubicBezTo>
                      <a:pt x="147" y="45"/>
                      <a:pt x="153" y="45"/>
                      <a:pt x="156" y="48"/>
                    </a:cubicBezTo>
                    <a:cubicBezTo>
                      <a:pt x="159" y="51"/>
                      <a:pt x="160" y="54"/>
                      <a:pt x="164" y="59"/>
                    </a:cubicBezTo>
                    <a:cubicBezTo>
                      <a:pt x="170" y="65"/>
                      <a:pt x="171" y="75"/>
                      <a:pt x="180" y="77"/>
                    </a:cubicBezTo>
                    <a:cubicBezTo>
                      <a:pt x="181" y="83"/>
                      <a:pt x="187" y="81"/>
                      <a:pt x="188" y="87"/>
                    </a:cubicBezTo>
                    <a:cubicBezTo>
                      <a:pt x="187" y="90"/>
                      <a:pt x="175" y="87"/>
                      <a:pt x="169" y="88"/>
                    </a:cubicBezTo>
                    <a:cubicBezTo>
                      <a:pt x="163" y="89"/>
                      <a:pt x="157" y="93"/>
                      <a:pt x="152" y="93"/>
                    </a:cubicBezTo>
                    <a:cubicBezTo>
                      <a:pt x="143" y="95"/>
                      <a:pt x="143" y="89"/>
                      <a:pt x="136" y="91"/>
                    </a:cubicBezTo>
                    <a:cubicBezTo>
                      <a:pt x="128" y="93"/>
                      <a:pt x="114" y="101"/>
                      <a:pt x="106" y="102"/>
                    </a:cubicBezTo>
                    <a:cubicBezTo>
                      <a:pt x="96" y="109"/>
                      <a:pt x="96" y="98"/>
                      <a:pt x="86" y="96"/>
                    </a:cubicBezTo>
                    <a:cubicBezTo>
                      <a:pt x="79" y="91"/>
                      <a:pt x="78" y="90"/>
                      <a:pt x="68" y="91"/>
                    </a:cubicBezTo>
                    <a:cubicBezTo>
                      <a:pt x="63" y="92"/>
                      <a:pt x="63" y="106"/>
                      <a:pt x="55" y="110"/>
                    </a:cubicBezTo>
                    <a:cubicBezTo>
                      <a:pt x="49" y="113"/>
                      <a:pt x="40" y="109"/>
                      <a:pt x="34" y="110"/>
                    </a:cubicBezTo>
                    <a:cubicBezTo>
                      <a:pt x="28" y="111"/>
                      <a:pt x="23" y="119"/>
                      <a:pt x="19" y="116"/>
                    </a:cubicBezTo>
                    <a:cubicBezTo>
                      <a:pt x="0" y="113"/>
                      <a:pt x="16" y="103"/>
                      <a:pt x="7" y="91"/>
                    </a:cubicBezTo>
                    <a:cubicBezTo>
                      <a:pt x="4" y="76"/>
                      <a:pt x="1" y="69"/>
                      <a:pt x="10" y="58"/>
                    </a:cubicBezTo>
                    <a:cubicBezTo>
                      <a:pt x="11" y="50"/>
                      <a:pt x="11" y="53"/>
                      <a:pt x="11" y="4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92" name="Freeform 494">
                <a:extLst>
                  <a:ext uri="{FF2B5EF4-FFF2-40B4-BE49-F238E27FC236}">
                    <a16:creationId xmlns:a16="http://schemas.microsoft.com/office/drawing/2014/main" id="{5A8D6C47-5805-4855-94F9-5A95DAC07891}"/>
                  </a:ext>
                </a:extLst>
              </p:cNvPr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gray">
              <a:xfrm>
                <a:off x="4867276" y="3659188"/>
                <a:ext cx="379413" cy="328613"/>
              </a:xfrm>
              <a:custGeom>
                <a:avLst/>
                <a:gdLst>
                  <a:gd name="T0" fmla="*/ 12 w 234"/>
                  <a:gd name="T1" fmla="*/ 101 h 203"/>
                  <a:gd name="T2" fmla="*/ 24 w 234"/>
                  <a:gd name="T3" fmla="*/ 87 h 203"/>
                  <a:gd name="T4" fmla="*/ 26 w 234"/>
                  <a:gd name="T5" fmla="*/ 36 h 203"/>
                  <a:gd name="T6" fmla="*/ 41 w 234"/>
                  <a:gd name="T7" fmla="*/ 37 h 203"/>
                  <a:gd name="T8" fmla="*/ 40 w 234"/>
                  <a:gd name="T9" fmla="*/ 7 h 203"/>
                  <a:gd name="T10" fmla="*/ 152 w 234"/>
                  <a:gd name="T11" fmla="*/ 7 h 203"/>
                  <a:gd name="T12" fmla="*/ 181 w 234"/>
                  <a:gd name="T13" fmla="*/ 8 h 203"/>
                  <a:gd name="T14" fmla="*/ 209 w 234"/>
                  <a:gd name="T15" fmla="*/ 0 h 203"/>
                  <a:gd name="T16" fmla="*/ 216 w 234"/>
                  <a:gd name="T17" fmla="*/ 8 h 203"/>
                  <a:gd name="T18" fmla="*/ 218 w 234"/>
                  <a:gd name="T19" fmla="*/ 13 h 203"/>
                  <a:gd name="T20" fmla="*/ 220 w 234"/>
                  <a:gd name="T21" fmla="*/ 22 h 203"/>
                  <a:gd name="T22" fmla="*/ 221 w 234"/>
                  <a:gd name="T23" fmla="*/ 36 h 203"/>
                  <a:gd name="T24" fmla="*/ 234 w 234"/>
                  <a:gd name="T25" fmla="*/ 60 h 203"/>
                  <a:gd name="T26" fmla="*/ 224 w 234"/>
                  <a:gd name="T27" fmla="*/ 78 h 203"/>
                  <a:gd name="T28" fmla="*/ 213 w 234"/>
                  <a:gd name="T29" fmla="*/ 93 h 203"/>
                  <a:gd name="T30" fmla="*/ 211 w 234"/>
                  <a:gd name="T31" fmla="*/ 106 h 203"/>
                  <a:gd name="T32" fmla="*/ 209 w 234"/>
                  <a:gd name="T33" fmla="*/ 112 h 203"/>
                  <a:gd name="T34" fmla="*/ 207 w 234"/>
                  <a:gd name="T35" fmla="*/ 136 h 203"/>
                  <a:gd name="T36" fmla="*/ 199 w 234"/>
                  <a:gd name="T37" fmla="*/ 146 h 203"/>
                  <a:gd name="T38" fmla="*/ 192 w 234"/>
                  <a:gd name="T39" fmla="*/ 157 h 203"/>
                  <a:gd name="T40" fmla="*/ 189 w 234"/>
                  <a:gd name="T41" fmla="*/ 160 h 203"/>
                  <a:gd name="T42" fmla="*/ 181 w 234"/>
                  <a:gd name="T43" fmla="*/ 174 h 203"/>
                  <a:gd name="T44" fmla="*/ 176 w 234"/>
                  <a:gd name="T45" fmla="*/ 190 h 203"/>
                  <a:gd name="T46" fmla="*/ 173 w 234"/>
                  <a:gd name="T47" fmla="*/ 187 h 203"/>
                  <a:gd name="T48" fmla="*/ 162 w 234"/>
                  <a:gd name="T49" fmla="*/ 163 h 203"/>
                  <a:gd name="T50" fmla="*/ 156 w 234"/>
                  <a:gd name="T51" fmla="*/ 156 h 203"/>
                  <a:gd name="T52" fmla="*/ 152 w 234"/>
                  <a:gd name="T53" fmla="*/ 160 h 203"/>
                  <a:gd name="T54" fmla="*/ 145 w 234"/>
                  <a:gd name="T55" fmla="*/ 177 h 203"/>
                  <a:gd name="T56" fmla="*/ 129 w 234"/>
                  <a:gd name="T57" fmla="*/ 189 h 203"/>
                  <a:gd name="T58" fmla="*/ 116 w 234"/>
                  <a:gd name="T59" fmla="*/ 179 h 203"/>
                  <a:gd name="T60" fmla="*/ 106 w 234"/>
                  <a:gd name="T61" fmla="*/ 187 h 203"/>
                  <a:gd name="T62" fmla="*/ 93 w 234"/>
                  <a:gd name="T63" fmla="*/ 193 h 203"/>
                  <a:gd name="T64" fmla="*/ 86 w 234"/>
                  <a:gd name="T65" fmla="*/ 194 h 203"/>
                  <a:gd name="T66" fmla="*/ 63 w 234"/>
                  <a:gd name="T67" fmla="*/ 191 h 203"/>
                  <a:gd name="T68" fmla="*/ 53 w 234"/>
                  <a:gd name="T69" fmla="*/ 179 h 203"/>
                  <a:gd name="T70" fmla="*/ 39 w 234"/>
                  <a:gd name="T71" fmla="*/ 183 h 203"/>
                  <a:gd name="T72" fmla="*/ 36 w 234"/>
                  <a:gd name="T73" fmla="*/ 194 h 203"/>
                  <a:gd name="T74" fmla="*/ 29 w 234"/>
                  <a:gd name="T75" fmla="*/ 203 h 203"/>
                  <a:gd name="T76" fmla="*/ 21 w 234"/>
                  <a:gd name="T77" fmla="*/ 193 h 203"/>
                  <a:gd name="T78" fmla="*/ 13 w 234"/>
                  <a:gd name="T79" fmla="*/ 177 h 203"/>
                  <a:gd name="T80" fmla="*/ 4 w 234"/>
                  <a:gd name="T81" fmla="*/ 159 h 203"/>
                  <a:gd name="T82" fmla="*/ 0 w 234"/>
                  <a:gd name="T83" fmla="*/ 140 h 203"/>
                  <a:gd name="T84" fmla="*/ 4 w 234"/>
                  <a:gd name="T85" fmla="*/ 125 h 203"/>
                  <a:gd name="T86" fmla="*/ 10 w 234"/>
                  <a:gd name="T87" fmla="*/ 115 h 203"/>
                  <a:gd name="T88" fmla="*/ 9 w 234"/>
                  <a:gd name="T89" fmla="*/ 111 h 203"/>
                  <a:gd name="T90" fmla="*/ 12 w 234"/>
                  <a:gd name="T91" fmla="*/ 10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4" h="203">
                    <a:moveTo>
                      <a:pt x="12" y="101"/>
                    </a:moveTo>
                    <a:lnTo>
                      <a:pt x="24" y="87"/>
                    </a:lnTo>
                    <a:lnTo>
                      <a:pt x="26" y="36"/>
                    </a:lnTo>
                    <a:lnTo>
                      <a:pt x="41" y="37"/>
                    </a:lnTo>
                    <a:lnTo>
                      <a:pt x="40" y="7"/>
                    </a:lnTo>
                    <a:lnTo>
                      <a:pt x="152" y="7"/>
                    </a:lnTo>
                    <a:lnTo>
                      <a:pt x="181" y="8"/>
                    </a:lnTo>
                    <a:lnTo>
                      <a:pt x="209" y="0"/>
                    </a:lnTo>
                    <a:cubicBezTo>
                      <a:pt x="213" y="2"/>
                      <a:pt x="214" y="6"/>
                      <a:pt x="216" y="8"/>
                    </a:cubicBezTo>
                    <a:cubicBezTo>
                      <a:pt x="217" y="10"/>
                      <a:pt x="217" y="12"/>
                      <a:pt x="218" y="13"/>
                    </a:cubicBezTo>
                    <a:cubicBezTo>
                      <a:pt x="218" y="16"/>
                      <a:pt x="219" y="19"/>
                      <a:pt x="220" y="22"/>
                    </a:cubicBezTo>
                    <a:cubicBezTo>
                      <a:pt x="221" y="26"/>
                      <a:pt x="219" y="30"/>
                      <a:pt x="221" y="36"/>
                    </a:cubicBezTo>
                    <a:cubicBezTo>
                      <a:pt x="224" y="43"/>
                      <a:pt x="233" y="53"/>
                      <a:pt x="234" y="60"/>
                    </a:cubicBezTo>
                    <a:cubicBezTo>
                      <a:pt x="234" y="67"/>
                      <a:pt x="227" y="74"/>
                      <a:pt x="224" y="78"/>
                    </a:cubicBezTo>
                    <a:cubicBezTo>
                      <a:pt x="221" y="83"/>
                      <a:pt x="215" y="89"/>
                      <a:pt x="213" y="93"/>
                    </a:cubicBezTo>
                    <a:cubicBezTo>
                      <a:pt x="211" y="97"/>
                      <a:pt x="214" y="101"/>
                      <a:pt x="211" y="106"/>
                    </a:cubicBezTo>
                    <a:cubicBezTo>
                      <a:pt x="210" y="108"/>
                      <a:pt x="210" y="110"/>
                      <a:pt x="209" y="112"/>
                    </a:cubicBezTo>
                    <a:cubicBezTo>
                      <a:pt x="211" y="117"/>
                      <a:pt x="213" y="132"/>
                      <a:pt x="207" y="136"/>
                    </a:cubicBezTo>
                    <a:cubicBezTo>
                      <a:pt x="204" y="143"/>
                      <a:pt x="209" y="145"/>
                      <a:pt x="199" y="146"/>
                    </a:cubicBezTo>
                    <a:cubicBezTo>
                      <a:pt x="197" y="149"/>
                      <a:pt x="194" y="155"/>
                      <a:pt x="192" y="157"/>
                    </a:cubicBezTo>
                    <a:cubicBezTo>
                      <a:pt x="191" y="158"/>
                      <a:pt x="189" y="160"/>
                      <a:pt x="189" y="160"/>
                    </a:cubicBezTo>
                    <a:cubicBezTo>
                      <a:pt x="187" y="163"/>
                      <a:pt x="183" y="171"/>
                      <a:pt x="181" y="174"/>
                    </a:cubicBezTo>
                    <a:cubicBezTo>
                      <a:pt x="179" y="179"/>
                      <a:pt x="177" y="188"/>
                      <a:pt x="176" y="190"/>
                    </a:cubicBezTo>
                    <a:cubicBezTo>
                      <a:pt x="175" y="191"/>
                      <a:pt x="174" y="189"/>
                      <a:pt x="173" y="187"/>
                    </a:cubicBezTo>
                    <a:cubicBezTo>
                      <a:pt x="171" y="183"/>
                      <a:pt x="165" y="168"/>
                      <a:pt x="162" y="163"/>
                    </a:cubicBezTo>
                    <a:cubicBezTo>
                      <a:pt x="160" y="160"/>
                      <a:pt x="158" y="157"/>
                      <a:pt x="156" y="156"/>
                    </a:cubicBezTo>
                    <a:cubicBezTo>
                      <a:pt x="155" y="157"/>
                      <a:pt x="154" y="157"/>
                      <a:pt x="152" y="160"/>
                    </a:cubicBezTo>
                    <a:lnTo>
                      <a:pt x="145" y="177"/>
                    </a:lnTo>
                    <a:lnTo>
                      <a:pt x="129" y="189"/>
                    </a:lnTo>
                    <a:lnTo>
                      <a:pt x="116" y="179"/>
                    </a:lnTo>
                    <a:cubicBezTo>
                      <a:pt x="112" y="179"/>
                      <a:pt x="109" y="185"/>
                      <a:pt x="106" y="187"/>
                    </a:cubicBezTo>
                    <a:cubicBezTo>
                      <a:pt x="102" y="189"/>
                      <a:pt x="96" y="192"/>
                      <a:pt x="93" y="193"/>
                    </a:cubicBezTo>
                    <a:cubicBezTo>
                      <a:pt x="91" y="194"/>
                      <a:pt x="89" y="194"/>
                      <a:pt x="86" y="194"/>
                    </a:cubicBezTo>
                    <a:cubicBezTo>
                      <a:pt x="83" y="186"/>
                      <a:pt x="69" y="191"/>
                      <a:pt x="63" y="191"/>
                    </a:cubicBezTo>
                    <a:cubicBezTo>
                      <a:pt x="61" y="187"/>
                      <a:pt x="57" y="181"/>
                      <a:pt x="53" y="179"/>
                    </a:cubicBezTo>
                    <a:cubicBezTo>
                      <a:pt x="36" y="179"/>
                      <a:pt x="46" y="178"/>
                      <a:pt x="39" y="183"/>
                    </a:cubicBezTo>
                    <a:cubicBezTo>
                      <a:pt x="37" y="187"/>
                      <a:pt x="37" y="190"/>
                      <a:pt x="36" y="194"/>
                    </a:cubicBezTo>
                    <a:cubicBezTo>
                      <a:pt x="35" y="197"/>
                      <a:pt x="32" y="201"/>
                      <a:pt x="29" y="203"/>
                    </a:cubicBezTo>
                    <a:cubicBezTo>
                      <a:pt x="27" y="203"/>
                      <a:pt x="23" y="196"/>
                      <a:pt x="21" y="193"/>
                    </a:cubicBezTo>
                    <a:cubicBezTo>
                      <a:pt x="18" y="189"/>
                      <a:pt x="16" y="183"/>
                      <a:pt x="13" y="177"/>
                    </a:cubicBezTo>
                    <a:cubicBezTo>
                      <a:pt x="10" y="173"/>
                      <a:pt x="6" y="165"/>
                      <a:pt x="4" y="159"/>
                    </a:cubicBezTo>
                    <a:cubicBezTo>
                      <a:pt x="3" y="155"/>
                      <a:pt x="0" y="146"/>
                      <a:pt x="0" y="140"/>
                    </a:cubicBezTo>
                    <a:cubicBezTo>
                      <a:pt x="0" y="134"/>
                      <a:pt x="2" y="129"/>
                      <a:pt x="4" y="125"/>
                    </a:cubicBezTo>
                    <a:cubicBezTo>
                      <a:pt x="0" y="120"/>
                      <a:pt x="5" y="116"/>
                      <a:pt x="10" y="115"/>
                    </a:cubicBezTo>
                    <a:cubicBezTo>
                      <a:pt x="9" y="114"/>
                      <a:pt x="7" y="113"/>
                      <a:pt x="9" y="111"/>
                    </a:cubicBezTo>
                    <a:cubicBezTo>
                      <a:pt x="10" y="106"/>
                      <a:pt x="9" y="113"/>
                      <a:pt x="12" y="10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93" name="Freeform 493">
                <a:extLst>
                  <a:ext uri="{FF2B5EF4-FFF2-40B4-BE49-F238E27FC236}">
                    <a16:creationId xmlns:a16="http://schemas.microsoft.com/office/drawing/2014/main" id="{78288B5C-D4A5-4057-9665-C31DC91F56FB}"/>
                  </a:ext>
                </a:extLst>
              </p:cNvPr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gray">
              <a:xfrm>
                <a:off x="4913313" y="3903663"/>
                <a:ext cx="285750" cy="204788"/>
              </a:xfrm>
              <a:custGeom>
                <a:avLst/>
                <a:gdLst>
                  <a:gd name="T0" fmla="*/ 177 w 177"/>
                  <a:gd name="T1" fmla="*/ 113 h 126"/>
                  <a:gd name="T2" fmla="*/ 151 w 177"/>
                  <a:gd name="T3" fmla="*/ 111 h 126"/>
                  <a:gd name="T4" fmla="*/ 142 w 177"/>
                  <a:gd name="T5" fmla="*/ 117 h 126"/>
                  <a:gd name="T6" fmla="*/ 134 w 177"/>
                  <a:gd name="T7" fmla="*/ 123 h 126"/>
                  <a:gd name="T8" fmla="*/ 127 w 177"/>
                  <a:gd name="T9" fmla="*/ 122 h 126"/>
                  <a:gd name="T10" fmla="*/ 113 w 177"/>
                  <a:gd name="T11" fmla="*/ 122 h 126"/>
                  <a:gd name="T12" fmla="*/ 110 w 177"/>
                  <a:gd name="T13" fmla="*/ 126 h 126"/>
                  <a:gd name="T14" fmla="*/ 94 w 177"/>
                  <a:gd name="T15" fmla="*/ 125 h 126"/>
                  <a:gd name="T16" fmla="*/ 87 w 177"/>
                  <a:gd name="T17" fmla="*/ 118 h 126"/>
                  <a:gd name="T18" fmla="*/ 74 w 177"/>
                  <a:gd name="T19" fmla="*/ 113 h 126"/>
                  <a:gd name="T20" fmla="*/ 63 w 177"/>
                  <a:gd name="T21" fmla="*/ 115 h 126"/>
                  <a:gd name="T22" fmla="*/ 50 w 177"/>
                  <a:gd name="T23" fmla="*/ 107 h 126"/>
                  <a:gd name="T24" fmla="*/ 49 w 177"/>
                  <a:gd name="T25" fmla="*/ 105 h 126"/>
                  <a:gd name="T26" fmla="*/ 45 w 177"/>
                  <a:gd name="T27" fmla="*/ 102 h 126"/>
                  <a:gd name="T28" fmla="*/ 32 w 177"/>
                  <a:gd name="T29" fmla="*/ 87 h 126"/>
                  <a:gd name="T30" fmla="*/ 29 w 177"/>
                  <a:gd name="T31" fmla="*/ 81 h 126"/>
                  <a:gd name="T32" fmla="*/ 18 w 177"/>
                  <a:gd name="T33" fmla="*/ 73 h 126"/>
                  <a:gd name="T34" fmla="*/ 12 w 177"/>
                  <a:gd name="T35" fmla="*/ 63 h 126"/>
                  <a:gd name="T36" fmla="*/ 3 w 177"/>
                  <a:gd name="T37" fmla="*/ 59 h 126"/>
                  <a:gd name="T38" fmla="*/ 0 w 177"/>
                  <a:gd name="T39" fmla="*/ 57 h 126"/>
                  <a:gd name="T40" fmla="*/ 4 w 177"/>
                  <a:gd name="T41" fmla="*/ 49 h 126"/>
                  <a:gd name="T42" fmla="*/ 9 w 177"/>
                  <a:gd name="T43" fmla="*/ 35 h 126"/>
                  <a:gd name="T44" fmla="*/ 13 w 177"/>
                  <a:gd name="T45" fmla="*/ 30 h 126"/>
                  <a:gd name="T46" fmla="*/ 25 w 177"/>
                  <a:gd name="T47" fmla="*/ 28 h 126"/>
                  <a:gd name="T48" fmla="*/ 35 w 177"/>
                  <a:gd name="T49" fmla="*/ 37 h 126"/>
                  <a:gd name="T50" fmla="*/ 44 w 177"/>
                  <a:gd name="T51" fmla="*/ 38 h 126"/>
                  <a:gd name="T52" fmla="*/ 59 w 177"/>
                  <a:gd name="T53" fmla="*/ 42 h 126"/>
                  <a:gd name="T54" fmla="*/ 69 w 177"/>
                  <a:gd name="T55" fmla="*/ 41 h 126"/>
                  <a:gd name="T56" fmla="*/ 70 w 177"/>
                  <a:gd name="T57" fmla="*/ 39 h 126"/>
                  <a:gd name="T58" fmla="*/ 81 w 177"/>
                  <a:gd name="T59" fmla="*/ 31 h 126"/>
                  <a:gd name="T60" fmla="*/ 87 w 177"/>
                  <a:gd name="T61" fmla="*/ 27 h 126"/>
                  <a:gd name="T62" fmla="*/ 101 w 177"/>
                  <a:gd name="T63" fmla="*/ 37 h 126"/>
                  <a:gd name="T64" fmla="*/ 107 w 177"/>
                  <a:gd name="T65" fmla="*/ 37 h 126"/>
                  <a:gd name="T66" fmla="*/ 116 w 177"/>
                  <a:gd name="T67" fmla="*/ 26 h 126"/>
                  <a:gd name="T68" fmla="*/ 123 w 177"/>
                  <a:gd name="T69" fmla="*/ 20 h 126"/>
                  <a:gd name="T70" fmla="*/ 124 w 177"/>
                  <a:gd name="T71" fmla="*/ 8 h 126"/>
                  <a:gd name="T72" fmla="*/ 119 w 177"/>
                  <a:gd name="T73" fmla="*/ 4 h 126"/>
                  <a:gd name="T74" fmla="*/ 130 w 177"/>
                  <a:gd name="T75" fmla="*/ 0 h 126"/>
                  <a:gd name="T76" fmla="*/ 134 w 177"/>
                  <a:gd name="T77" fmla="*/ 15 h 126"/>
                  <a:gd name="T78" fmla="*/ 141 w 177"/>
                  <a:gd name="T79" fmla="*/ 25 h 126"/>
                  <a:gd name="T80" fmla="*/ 147 w 177"/>
                  <a:gd name="T81" fmla="*/ 41 h 126"/>
                  <a:gd name="T82" fmla="*/ 144 w 177"/>
                  <a:gd name="T83" fmla="*/ 54 h 126"/>
                  <a:gd name="T84" fmla="*/ 136 w 177"/>
                  <a:gd name="T85" fmla="*/ 56 h 126"/>
                  <a:gd name="T86" fmla="*/ 132 w 177"/>
                  <a:gd name="T87" fmla="*/ 63 h 126"/>
                  <a:gd name="T88" fmla="*/ 140 w 177"/>
                  <a:gd name="T89" fmla="*/ 66 h 126"/>
                  <a:gd name="T90" fmla="*/ 153 w 177"/>
                  <a:gd name="T91" fmla="*/ 80 h 126"/>
                  <a:gd name="T92" fmla="*/ 159 w 177"/>
                  <a:gd name="T93" fmla="*/ 85 h 126"/>
                  <a:gd name="T94" fmla="*/ 164 w 177"/>
                  <a:gd name="T95" fmla="*/ 98 h 126"/>
                  <a:gd name="T96" fmla="*/ 166 w 177"/>
                  <a:gd name="T97" fmla="*/ 101 h 126"/>
                  <a:gd name="T98" fmla="*/ 177 w 177"/>
                  <a:gd name="T99" fmla="*/ 11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7" h="126">
                    <a:moveTo>
                      <a:pt x="177" y="113"/>
                    </a:moveTo>
                    <a:lnTo>
                      <a:pt x="151" y="111"/>
                    </a:lnTo>
                    <a:cubicBezTo>
                      <a:pt x="148" y="114"/>
                      <a:pt x="145" y="115"/>
                      <a:pt x="142" y="117"/>
                    </a:cubicBezTo>
                    <a:cubicBezTo>
                      <a:pt x="141" y="121"/>
                      <a:pt x="137" y="122"/>
                      <a:pt x="134" y="123"/>
                    </a:cubicBezTo>
                    <a:cubicBezTo>
                      <a:pt x="131" y="121"/>
                      <a:pt x="130" y="122"/>
                      <a:pt x="127" y="122"/>
                    </a:cubicBezTo>
                    <a:cubicBezTo>
                      <a:pt x="124" y="122"/>
                      <a:pt x="116" y="121"/>
                      <a:pt x="113" y="122"/>
                    </a:cubicBezTo>
                    <a:cubicBezTo>
                      <a:pt x="111" y="122"/>
                      <a:pt x="110" y="123"/>
                      <a:pt x="110" y="126"/>
                    </a:cubicBezTo>
                    <a:cubicBezTo>
                      <a:pt x="107" y="126"/>
                      <a:pt x="98" y="126"/>
                      <a:pt x="94" y="125"/>
                    </a:cubicBezTo>
                    <a:cubicBezTo>
                      <a:pt x="94" y="123"/>
                      <a:pt x="89" y="118"/>
                      <a:pt x="87" y="118"/>
                    </a:cubicBezTo>
                    <a:cubicBezTo>
                      <a:pt x="84" y="116"/>
                      <a:pt x="76" y="114"/>
                      <a:pt x="74" y="113"/>
                    </a:cubicBezTo>
                    <a:cubicBezTo>
                      <a:pt x="70" y="112"/>
                      <a:pt x="66" y="115"/>
                      <a:pt x="63" y="115"/>
                    </a:cubicBezTo>
                    <a:cubicBezTo>
                      <a:pt x="59" y="114"/>
                      <a:pt x="52" y="109"/>
                      <a:pt x="50" y="107"/>
                    </a:cubicBezTo>
                    <a:cubicBezTo>
                      <a:pt x="50" y="106"/>
                      <a:pt x="50" y="106"/>
                      <a:pt x="49" y="105"/>
                    </a:cubicBezTo>
                    <a:cubicBezTo>
                      <a:pt x="48" y="105"/>
                      <a:pt x="47" y="104"/>
                      <a:pt x="45" y="102"/>
                    </a:cubicBezTo>
                    <a:cubicBezTo>
                      <a:pt x="42" y="99"/>
                      <a:pt x="35" y="90"/>
                      <a:pt x="32" y="87"/>
                    </a:cubicBezTo>
                    <a:cubicBezTo>
                      <a:pt x="30" y="84"/>
                      <a:pt x="33" y="81"/>
                      <a:pt x="29" y="81"/>
                    </a:cubicBezTo>
                    <a:cubicBezTo>
                      <a:pt x="27" y="79"/>
                      <a:pt x="20" y="75"/>
                      <a:pt x="18" y="73"/>
                    </a:cubicBezTo>
                    <a:cubicBezTo>
                      <a:pt x="15" y="70"/>
                      <a:pt x="14" y="65"/>
                      <a:pt x="12" y="63"/>
                    </a:cubicBezTo>
                    <a:cubicBezTo>
                      <a:pt x="7" y="61"/>
                      <a:pt x="9" y="60"/>
                      <a:pt x="3" y="59"/>
                    </a:cubicBezTo>
                    <a:cubicBezTo>
                      <a:pt x="2" y="58"/>
                      <a:pt x="0" y="59"/>
                      <a:pt x="0" y="57"/>
                    </a:cubicBezTo>
                    <a:cubicBezTo>
                      <a:pt x="0" y="53"/>
                      <a:pt x="1" y="50"/>
                      <a:pt x="4" y="49"/>
                    </a:cubicBezTo>
                    <a:cubicBezTo>
                      <a:pt x="6" y="45"/>
                      <a:pt x="8" y="38"/>
                      <a:pt x="9" y="35"/>
                    </a:cubicBezTo>
                    <a:cubicBezTo>
                      <a:pt x="10" y="32"/>
                      <a:pt x="11" y="32"/>
                      <a:pt x="13" y="30"/>
                    </a:cubicBezTo>
                    <a:cubicBezTo>
                      <a:pt x="16" y="26"/>
                      <a:pt x="18" y="28"/>
                      <a:pt x="25" y="28"/>
                    </a:cubicBezTo>
                    <a:cubicBezTo>
                      <a:pt x="29" y="29"/>
                      <a:pt x="32" y="35"/>
                      <a:pt x="35" y="37"/>
                    </a:cubicBezTo>
                    <a:cubicBezTo>
                      <a:pt x="35" y="42"/>
                      <a:pt x="39" y="39"/>
                      <a:pt x="44" y="38"/>
                    </a:cubicBezTo>
                    <a:cubicBezTo>
                      <a:pt x="48" y="39"/>
                      <a:pt x="55" y="42"/>
                      <a:pt x="59" y="42"/>
                    </a:cubicBezTo>
                    <a:cubicBezTo>
                      <a:pt x="62" y="42"/>
                      <a:pt x="66" y="43"/>
                      <a:pt x="69" y="41"/>
                    </a:cubicBezTo>
                    <a:cubicBezTo>
                      <a:pt x="70" y="40"/>
                      <a:pt x="69" y="39"/>
                      <a:pt x="70" y="39"/>
                    </a:cubicBezTo>
                    <a:cubicBezTo>
                      <a:pt x="72" y="37"/>
                      <a:pt x="78" y="33"/>
                      <a:pt x="81" y="31"/>
                    </a:cubicBezTo>
                    <a:cubicBezTo>
                      <a:pt x="83" y="30"/>
                      <a:pt x="87" y="27"/>
                      <a:pt x="87" y="27"/>
                    </a:cubicBezTo>
                    <a:lnTo>
                      <a:pt x="101" y="37"/>
                    </a:lnTo>
                    <a:lnTo>
                      <a:pt x="107" y="37"/>
                    </a:lnTo>
                    <a:lnTo>
                      <a:pt x="116" y="26"/>
                    </a:lnTo>
                    <a:lnTo>
                      <a:pt x="123" y="20"/>
                    </a:lnTo>
                    <a:lnTo>
                      <a:pt x="124" y="8"/>
                    </a:lnTo>
                    <a:lnTo>
                      <a:pt x="119" y="4"/>
                    </a:lnTo>
                    <a:cubicBezTo>
                      <a:pt x="129" y="4"/>
                      <a:pt x="129" y="6"/>
                      <a:pt x="130" y="0"/>
                    </a:cubicBezTo>
                    <a:cubicBezTo>
                      <a:pt x="136" y="1"/>
                      <a:pt x="132" y="10"/>
                      <a:pt x="134" y="15"/>
                    </a:cubicBezTo>
                    <a:cubicBezTo>
                      <a:pt x="135" y="20"/>
                      <a:pt x="135" y="24"/>
                      <a:pt x="141" y="25"/>
                    </a:cubicBezTo>
                    <a:cubicBezTo>
                      <a:pt x="143" y="29"/>
                      <a:pt x="147" y="36"/>
                      <a:pt x="147" y="41"/>
                    </a:cubicBezTo>
                    <a:cubicBezTo>
                      <a:pt x="147" y="48"/>
                      <a:pt x="151" y="53"/>
                      <a:pt x="144" y="54"/>
                    </a:cubicBezTo>
                    <a:cubicBezTo>
                      <a:pt x="142" y="58"/>
                      <a:pt x="140" y="56"/>
                      <a:pt x="136" y="56"/>
                    </a:cubicBezTo>
                    <a:cubicBezTo>
                      <a:pt x="132" y="57"/>
                      <a:pt x="132" y="59"/>
                      <a:pt x="132" y="63"/>
                    </a:cubicBezTo>
                    <a:cubicBezTo>
                      <a:pt x="133" y="69"/>
                      <a:pt x="131" y="66"/>
                      <a:pt x="140" y="66"/>
                    </a:cubicBezTo>
                    <a:cubicBezTo>
                      <a:pt x="143" y="69"/>
                      <a:pt x="150" y="77"/>
                      <a:pt x="153" y="80"/>
                    </a:cubicBezTo>
                    <a:cubicBezTo>
                      <a:pt x="154" y="82"/>
                      <a:pt x="157" y="82"/>
                      <a:pt x="159" y="85"/>
                    </a:cubicBezTo>
                    <a:cubicBezTo>
                      <a:pt x="161" y="88"/>
                      <a:pt x="163" y="95"/>
                      <a:pt x="164" y="98"/>
                    </a:cubicBezTo>
                    <a:cubicBezTo>
                      <a:pt x="164" y="99"/>
                      <a:pt x="164" y="101"/>
                      <a:pt x="166" y="101"/>
                    </a:cubicBezTo>
                    <a:cubicBezTo>
                      <a:pt x="175" y="102"/>
                      <a:pt x="177" y="113"/>
                      <a:pt x="177" y="1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94" name="Freeform 15">
                <a:extLst>
                  <a:ext uri="{FF2B5EF4-FFF2-40B4-BE49-F238E27FC236}">
                    <a16:creationId xmlns:a16="http://schemas.microsoft.com/office/drawing/2014/main" id="{E1A57C34-F012-4D4D-B8A6-940B7C9626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2977" y="1398587"/>
                <a:ext cx="2128837" cy="1720851"/>
              </a:xfrm>
              <a:custGeom>
                <a:avLst/>
                <a:gdLst>
                  <a:gd name="T0" fmla="*/ 332 w 1304"/>
                  <a:gd name="T1" fmla="*/ 24 h 1052"/>
                  <a:gd name="T2" fmla="*/ 186 w 1304"/>
                  <a:gd name="T3" fmla="*/ 848 h 1052"/>
                  <a:gd name="T4" fmla="*/ 1284 w 1304"/>
                  <a:gd name="T5" fmla="*/ 886 h 1052"/>
                  <a:gd name="T6" fmla="*/ 1244 w 1304"/>
                  <a:gd name="T7" fmla="*/ 788 h 1052"/>
                  <a:gd name="T8" fmla="*/ 1182 w 1304"/>
                  <a:gd name="T9" fmla="*/ 736 h 1052"/>
                  <a:gd name="T10" fmla="*/ 1112 w 1304"/>
                  <a:gd name="T11" fmla="*/ 650 h 1052"/>
                  <a:gd name="T12" fmla="*/ 1052 w 1304"/>
                  <a:gd name="T13" fmla="*/ 618 h 1052"/>
                  <a:gd name="T14" fmla="*/ 930 w 1304"/>
                  <a:gd name="T15" fmla="*/ 546 h 1052"/>
                  <a:gd name="T16" fmla="*/ 906 w 1304"/>
                  <a:gd name="T17" fmla="*/ 762 h 1052"/>
                  <a:gd name="T18" fmla="*/ 744 w 1304"/>
                  <a:gd name="T19" fmla="*/ 694 h 1052"/>
                  <a:gd name="T20" fmla="*/ 750 w 1304"/>
                  <a:gd name="T21" fmla="*/ 514 h 1052"/>
                  <a:gd name="T22" fmla="*/ 790 w 1304"/>
                  <a:gd name="T23" fmla="*/ 506 h 1052"/>
                  <a:gd name="T24" fmla="*/ 870 w 1304"/>
                  <a:gd name="T25" fmla="*/ 482 h 1052"/>
                  <a:gd name="T26" fmla="*/ 872 w 1304"/>
                  <a:gd name="T27" fmla="*/ 294 h 1052"/>
                  <a:gd name="T28" fmla="*/ 916 w 1304"/>
                  <a:gd name="T29" fmla="*/ 252 h 1052"/>
                  <a:gd name="T30" fmla="*/ 988 w 1304"/>
                  <a:gd name="T31" fmla="*/ 414 h 1052"/>
                  <a:gd name="T32" fmla="*/ 952 w 1304"/>
                  <a:gd name="T33" fmla="*/ 488 h 1052"/>
                  <a:gd name="T34" fmla="*/ 1072 w 1304"/>
                  <a:gd name="T35" fmla="*/ 554 h 1052"/>
                  <a:gd name="T36" fmla="*/ 1114 w 1304"/>
                  <a:gd name="T37" fmla="*/ 500 h 1052"/>
                  <a:gd name="T38" fmla="*/ 1132 w 1304"/>
                  <a:gd name="T39" fmla="*/ 392 h 1052"/>
                  <a:gd name="T40" fmla="*/ 1028 w 1304"/>
                  <a:gd name="T41" fmla="*/ 256 h 1052"/>
                  <a:gd name="T42" fmla="*/ 962 w 1304"/>
                  <a:gd name="T43" fmla="*/ 198 h 1052"/>
                  <a:gd name="T44" fmla="*/ 920 w 1304"/>
                  <a:gd name="T45" fmla="*/ 192 h 1052"/>
                  <a:gd name="T46" fmla="*/ 820 w 1304"/>
                  <a:gd name="T47" fmla="*/ 142 h 1052"/>
                  <a:gd name="T48" fmla="*/ 824 w 1304"/>
                  <a:gd name="T49" fmla="*/ 98 h 1052"/>
                  <a:gd name="T50" fmla="*/ 794 w 1304"/>
                  <a:gd name="T51" fmla="*/ 270 h 1052"/>
                  <a:gd name="T52" fmla="*/ 764 w 1304"/>
                  <a:gd name="T53" fmla="*/ 304 h 1052"/>
                  <a:gd name="T54" fmla="*/ 658 w 1304"/>
                  <a:gd name="T55" fmla="*/ 266 h 1052"/>
                  <a:gd name="T56" fmla="*/ 626 w 1304"/>
                  <a:gd name="T57" fmla="*/ 330 h 1052"/>
                  <a:gd name="T58" fmla="*/ 478 w 1304"/>
                  <a:gd name="T59" fmla="*/ 382 h 1052"/>
                  <a:gd name="T60" fmla="*/ 418 w 1304"/>
                  <a:gd name="T61" fmla="*/ 346 h 1052"/>
                  <a:gd name="T62" fmla="*/ 580 w 1304"/>
                  <a:gd name="T63" fmla="*/ 320 h 1052"/>
                  <a:gd name="T64" fmla="*/ 538 w 1304"/>
                  <a:gd name="T65" fmla="*/ 106 h 1052"/>
                  <a:gd name="T66" fmla="*/ 448 w 1304"/>
                  <a:gd name="T67" fmla="*/ 166 h 1052"/>
                  <a:gd name="T68" fmla="*/ 380 w 1304"/>
                  <a:gd name="T69" fmla="*/ 114 h 1052"/>
                  <a:gd name="T70" fmla="*/ 242 w 1304"/>
                  <a:gd name="T71" fmla="*/ 86 h 1052"/>
                  <a:gd name="T72" fmla="*/ 276 w 1304"/>
                  <a:gd name="T73" fmla="*/ 228 h 1052"/>
                  <a:gd name="T74" fmla="*/ 334 w 1304"/>
                  <a:gd name="T75" fmla="*/ 172 h 1052"/>
                  <a:gd name="T76" fmla="*/ 392 w 1304"/>
                  <a:gd name="T77" fmla="*/ 252 h 1052"/>
                  <a:gd name="T78" fmla="*/ 402 w 1304"/>
                  <a:gd name="T79" fmla="*/ 316 h 1052"/>
                  <a:gd name="T80" fmla="*/ 228 w 1304"/>
                  <a:gd name="T81" fmla="*/ 266 h 1052"/>
                  <a:gd name="T82" fmla="*/ 152 w 1304"/>
                  <a:gd name="T83" fmla="*/ 306 h 1052"/>
                  <a:gd name="T84" fmla="*/ 18 w 1304"/>
                  <a:gd name="T85" fmla="*/ 288 h 1052"/>
                  <a:gd name="T86" fmla="*/ 112 w 1304"/>
                  <a:gd name="T87" fmla="*/ 756 h 1052"/>
                  <a:gd name="T88" fmla="*/ 702 w 1304"/>
                  <a:gd name="T89" fmla="*/ 912 h 1052"/>
                  <a:gd name="T90" fmla="*/ 834 w 1304"/>
                  <a:gd name="T91" fmla="*/ 948 h 1052"/>
                  <a:gd name="T92" fmla="*/ 858 w 1304"/>
                  <a:gd name="T93" fmla="*/ 1038 h 1052"/>
                  <a:gd name="T94" fmla="*/ 1076 w 1304"/>
                  <a:gd name="T95" fmla="*/ 932 h 1052"/>
                  <a:gd name="T96" fmla="*/ 1194 w 1304"/>
                  <a:gd name="T97" fmla="*/ 936 h 1052"/>
                  <a:gd name="T98" fmla="*/ 1102 w 1304"/>
                  <a:gd name="T99" fmla="*/ 910 h 1052"/>
                  <a:gd name="T100" fmla="*/ 1134 w 1304"/>
                  <a:gd name="T101" fmla="*/ 872 h 1052"/>
                  <a:gd name="T102" fmla="*/ 1194 w 1304"/>
                  <a:gd name="T103" fmla="*/ 920 h 1052"/>
                  <a:gd name="T104" fmla="*/ 772 w 1304"/>
                  <a:gd name="T105" fmla="*/ 446 h 1052"/>
                  <a:gd name="T106" fmla="*/ 126 w 1304"/>
                  <a:gd name="T107" fmla="*/ 772 h 1052"/>
                  <a:gd name="T108" fmla="*/ 588 w 1304"/>
                  <a:gd name="T109" fmla="*/ 154 h 1052"/>
                  <a:gd name="T110" fmla="*/ 654 w 1304"/>
                  <a:gd name="T111" fmla="*/ 204 h 1052"/>
                  <a:gd name="T112" fmla="*/ 674 w 1304"/>
                  <a:gd name="T113" fmla="*/ 90 h 1052"/>
                  <a:gd name="T114" fmla="*/ 740 w 1304"/>
                  <a:gd name="T115" fmla="*/ 118 h 1052"/>
                  <a:gd name="T116" fmla="*/ 948 w 1304"/>
                  <a:gd name="T117" fmla="*/ 140 h 1052"/>
                  <a:gd name="T118" fmla="*/ 972 w 1304"/>
                  <a:gd name="T119" fmla="*/ 352 h 1052"/>
                  <a:gd name="T120" fmla="*/ 870 w 1304"/>
                  <a:gd name="T121" fmla="*/ 536 h 1052"/>
                  <a:gd name="T122" fmla="*/ 898 w 1304"/>
                  <a:gd name="T123" fmla="*/ 644 h 1052"/>
                  <a:gd name="T124" fmla="*/ 1160 w 1304"/>
                  <a:gd name="T125" fmla="*/ 892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04" h="1052">
                    <a:moveTo>
                      <a:pt x="650" y="32"/>
                    </a:moveTo>
                    <a:lnTo>
                      <a:pt x="650" y="32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98" y="54"/>
                    </a:lnTo>
                    <a:lnTo>
                      <a:pt x="698" y="54"/>
                    </a:lnTo>
                    <a:lnTo>
                      <a:pt x="700" y="54"/>
                    </a:lnTo>
                    <a:lnTo>
                      <a:pt x="700" y="54"/>
                    </a:lnTo>
                    <a:lnTo>
                      <a:pt x="702" y="50"/>
                    </a:lnTo>
                    <a:lnTo>
                      <a:pt x="702" y="22"/>
                    </a:lnTo>
                    <a:lnTo>
                      <a:pt x="702" y="22"/>
                    </a:lnTo>
                    <a:lnTo>
                      <a:pt x="700" y="20"/>
                    </a:lnTo>
                    <a:lnTo>
                      <a:pt x="680" y="2"/>
                    </a:lnTo>
                    <a:lnTo>
                      <a:pt x="680" y="2"/>
                    </a:lnTo>
                    <a:lnTo>
                      <a:pt x="678" y="0"/>
                    </a:lnTo>
                    <a:lnTo>
                      <a:pt x="670" y="0"/>
                    </a:lnTo>
                    <a:lnTo>
                      <a:pt x="670" y="0"/>
                    </a:lnTo>
                    <a:lnTo>
                      <a:pt x="668" y="2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48" y="30"/>
                    </a:lnTo>
                    <a:lnTo>
                      <a:pt x="648" y="30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50" y="32"/>
                    </a:lnTo>
                    <a:lnTo>
                      <a:pt x="650" y="32"/>
                    </a:lnTo>
                    <a:close/>
                    <a:moveTo>
                      <a:pt x="718" y="54"/>
                    </a:moveTo>
                    <a:lnTo>
                      <a:pt x="802" y="72"/>
                    </a:lnTo>
                    <a:lnTo>
                      <a:pt x="802" y="72"/>
                    </a:lnTo>
                    <a:lnTo>
                      <a:pt x="802" y="72"/>
                    </a:lnTo>
                    <a:lnTo>
                      <a:pt x="832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52" y="54"/>
                    </a:lnTo>
                    <a:lnTo>
                      <a:pt x="870" y="62"/>
                    </a:lnTo>
                    <a:lnTo>
                      <a:pt x="870" y="62"/>
                    </a:lnTo>
                    <a:lnTo>
                      <a:pt x="874" y="62"/>
                    </a:lnTo>
                    <a:lnTo>
                      <a:pt x="900" y="52"/>
                    </a:lnTo>
                    <a:lnTo>
                      <a:pt x="900" y="52"/>
                    </a:lnTo>
                    <a:lnTo>
                      <a:pt x="902" y="50"/>
                    </a:lnTo>
                    <a:lnTo>
                      <a:pt x="908" y="10"/>
                    </a:lnTo>
                    <a:lnTo>
                      <a:pt x="908" y="10"/>
                    </a:lnTo>
                    <a:lnTo>
                      <a:pt x="908" y="8"/>
                    </a:lnTo>
                    <a:lnTo>
                      <a:pt x="908" y="8"/>
                    </a:lnTo>
                    <a:lnTo>
                      <a:pt x="906" y="6"/>
                    </a:lnTo>
                    <a:lnTo>
                      <a:pt x="718" y="4"/>
                    </a:lnTo>
                    <a:lnTo>
                      <a:pt x="718" y="4"/>
                    </a:lnTo>
                    <a:lnTo>
                      <a:pt x="714" y="6"/>
                    </a:lnTo>
                    <a:lnTo>
                      <a:pt x="714" y="8"/>
                    </a:lnTo>
                    <a:lnTo>
                      <a:pt x="714" y="8"/>
                    </a:lnTo>
                    <a:lnTo>
                      <a:pt x="714" y="10"/>
                    </a:lnTo>
                    <a:lnTo>
                      <a:pt x="716" y="50"/>
                    </a:lnTo>
                    <a:lnTo>
                      <a:pt x="716" y="50"/>
                    </a:lnTo>
                    <a:lnTo>
                      <a:pt x="718" y="54"/>
                    </a:lnTo>
                    <a:lnTo>
                      <a:pt x="718" y="54"/>
                    </a:lnTo>
                    <a:close/>
                    <a:moveTo>
                      <a:pt x="592" y="34"/>
                    </a:moveTo>
                    <a:lnTo>
                      <a:pt x="592" y="34"/>
                    </a:lnTo>
                    <a:lnTo>
                      <a:pt x="594" y="34"/>
                    </a:lnTo>
                    <a:lnTo>
                      <a:pt x="622" y="34"/>
                    </a:lnTo>
                    <a:lnTo>
                      <a:pt x="622" y="34"/>
                    </a:lnTo>
                    <a:lnTo>
                      <a:pt x="624" y="32"/>
                    </a:lnTo>
                    <a:lnTo>
                      <a:pt x="634" y="12"/>
                    </a:lnTo>
                    <a:lnTo>
                      <a:pt x="634" y="12"/>
                    </a:lnTo>
                    <a:lnTo>
                      <a:pt x="636" y="10"/>
                    </a:lnTo>
                    <a:lnTo>
                      <a:pt x="636" y="10"/>
                    </a:lnTo>
                    <a:lnTo>
                      <a:pt x="636" y="8"/>
                    </a:lnTo>
                    <a:lnTo>
                      <a:pt x="636" y="8"/>
                    </a:lnTo>
                    <a:lnTo>
                      <a:pt x="636" y="6"/>
                    </a:lnTo>
                    <a:lnTo>
                      <a:pt x="634" y="6"/>
                    </a:lnTo>
                    <a:lnTo>
                      <a:pt x="634" y="6"/>
                    </a:lnTo>
                    <a:lnTo>
                      <a:pt x="632" y="6"/>
                    </a:lnTo>
                    <a:lnTo>
                      <a:pt x="630" y="6"/>
                    </a:lnTo>
                    <a:lnTo>
                      <a:pt x="630" y="6"/>
                    </a:lnTo>
                    <a:lnTo>
                      <a:pt x="556" y="4"/>
                    </a:lnTo>
                    <a:lnTo>
                      <a:pt x="556" y="4"/>
                    </a:lnTo>
                    <a:lnTo>
                      <a:pt x="552" y="6"/>
                    </a:lnTo>
                    <a:lnTo>
                      <a:pt x="552" y="6"/>
                    </a:lnTo>
                    <a:lnTo>
                      <a:pt x="552" y="8"/>
                    </a:lnTo>
                    <a:lnTo>
                      <a:pt x="554" y="10"/>
                    </a:lnTo>
                    <a:lnTo>
                      <a:pt x="592" y="34"/>
                    </a:lnTo>
                    <a:close/>
                    <a:moveTo>
                      <a:pt x="330" y="22"/>
                    </a:moveTo>
                    <a:lnTo>
                      <a:pt x="330" y="22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72" y="34"/>
                    </a:lnTo>
                    <a:lnTo>
                      <a:pt x="372" y="34"/>
                    </a:lnTo>
                    <a:lnTo>
                      <a:pt x="374" y="32"/>
                    </a:lnTo>
                    <a:lnTo>
                      <a:pt x="382" y="26"/>
                    </a:lnTo>
                    <a:lnTo>
                      <a:pt x="398" y="38"/>
                    </a:lnTo>
                    <a:lnTo>
                      <a:pt x="382" y="48"/>
                    </a:lnTo>
                    <a:lnTo>
                      <a:pt x="382" y="48"/>
                    </a:lnTo>
                    <a:lnTo>
                      <a:pt x="380" y="50"/>
                    </a:lnTo>
                    <a:lnTo>
                      <a:pt x="380" y="50"/>
                    </a:lnTo>
                    <a:lnTo>
                      <a:pt x="380" y="52"/>
                    </a:lnTo>
                    <a:lnTo>
                      <a:pt x="390" y="62"/>
                    </a:lnTo>
                    <a:lnTo>
                      <a:pt x="390" y="62"/>
                    </a:lnTo>
                    <a:lnTo>
                      <a:pt x="390" y="62"/>
                    </a:lnTo>
                    <a:lnTo>
                      <a:pt x="410" y="72"/>
                    </a:lnTo>
                    <a:lnTo>
                      <a:pt x="410" y="72"/>
                    </a:lnTo>
                    <a:lnTo>
                      <a:pt x="412" y="72"/>
                    </a:lnTo>
                    <a:lnTo>
                      <a:pt x="460" y="34"/>
                    </a:lnTo>
                    <a:lnTo>
                      <a:pt x="506" y="34"/>
                    </a:lnTo>
                    <a:lnTo>
                      <a:pt x="506" y="34"/>
                    </a:lnTo>
                    <a:lnTo>
                      <a:pt x="508" y="32"/>
                    </a:lnTo>
                    <a:lnTo>
                      <a:pt x="510" y="30"/>
                    </a:lnTo>
                    <a:lnTo>
                      <a:pt x="512" y="8"/>
                    </a:lnTo>
                    <a:lnTo>
                      <a:pt x="512" y="8"/>
                    </a:lnTo>
                    <a:lnTo>
                      <a:pt x="512" y="6"/>
                    </a:lnTo>
                    <a:lnTo>
                      <a:pt x="512" y="6"/>
                    </a:lnTo>
                    <a:lnTo>
                      <a:pt x="510" y="4"/>
                    </a:lnTo>
                    <a:lnTo>
                      <a:pt x="340" y="4"/>
                    </a:lnTo>
                    <a:lnTo>
                      <a:pt x="340" y="4"/>
                    </a:lnTo>
                    <a:lnTo>
                      <a:pt x="338" y="6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close/>
                    <a:moveTo>
                      <a:pt x="292" y="926"/>
                    </a:moveTo>
                    <a:lnTo>
                      <a:pt x="290" y="922"/>
                    </a:lnTo>
                    <a:lnTo>
                      <a:pt x="288" y="918"/>
                    </a:lnTo>
                    <a:lnTo>
                      <a:pt x="286" y="914"/>
                    </a:lnTo>
                    <a:lnTo>
                      <a:pt x="282" y="910"/>
                    </a:lnTo>
                    <a:lnTo>
                      <a:pt x="280" y="908"/>
                    </a:lnTo>
                    <a:lnTo>
                      <a:pt x="274" y="902"/>
                    </a:lnTo>
                    <a:lnTo>
                      <a:pt x="268" y="896"/>
                    </a:lnTo>
                    <a:lnTo>
                      <a:pt x="264" y="892"/>
                    </a:lnTo>
                    <a:lnTo>
                      <a:pt x="260" y="888"/>
                    </a:lnTo>
                    <a:lnTo>
                      <a:pt x="260" y="888"/>
                    </a:lnTo>
                    <a:lnTo>
                      <a:pt x="258" y="884"/>
                    </a:lnTo>
                    <a:lnTo>
                      <a:pt x="256" y="882"/>
                    </a:lnTo>
                    <a:lnTo>
                      <a:pt x="256" y="878"/>
                    </a:lnTo>
                    <a:lnTo>
                      <a:pt x="256" y="876"/>
                    </a:lnTo>
                    <a:lnTo>
                      <a:pt x="256" y="874"/>
                    </a:lnTo>
                    <a:lnTo>
                      <a:pt x="256" y="872"/>
                    </a:lnTo>
                    <a:lnTo>
                      <a:pt x="256" y="872"/>
                    </a:lnTo>
                    <a:lnTo>
                      <a:pt x="254" y="870"/>
                    </a:lnTo>
                    <a:lnTo>
                      <a:pt x="254" y="868"/>
                    </a:lnTo>
                    <a:lnTo>
                      <a:pt x="248" y="868"/>
                    </a:lnTo>
                    <a:lnTo>
                      <a:pt x="244" y="866"/>
                    </a:lnTo>
                    <a:lnTo>
                      <a:pt x="240" y="864"/>
                    </a:lnTo>
                    <a:lnTo>
                      <a:pt x="236" y="862"/>
                    </a:lnTo>
                    <a:lnTo>
                      <a:pt x="228" y="860"/>
                    </a:lnTo>
                    <a:lnTo>
                      <a:pt x="222" y="854"/>
                    </a:lnTo>
                    <a:lnTo>
                      <a:pt x="216" y="850"/>
                    </a:lnTo>
                    <a:lnTo>
                      <a:pt x="212" y="848"/>
                    </a:lnTo>
                    <a:lnTo>
                      <a:pt x="208" y="848"/>
                    </a:lnTo>
                    <a:lnTo>
                      <a:pt x="204" y="846"/>
                    </a:lnTo>
                    <a:lnTo>
                      <a:pt x="200" y="846"/>
                    </a:lnTo>
                    <a:lnTo>
                      <a:pt x="194" y="844"/>
                    </a:lnTo>
                    <a:lnTo>
                      <a:pt x="188" y="846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6" y="848"/>
                    </a:lnTo>
                    <a:lnTo>
                      <a:pt x="186" y="848"/>
                    </a:lnTo>
                    <a:lnTo>
                      <a:pt x="186" y="848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2"/>
                    </a:lnTo>
                    <a:lnTo>
                      <a:pt x="188" y="856"/>
                    </a:lnTo>
                    <a:lnTo>
                      <a:pt x="190" y="860"/>
                    </a:lnTo>
                    <a:lnTo>
                      <a:pt x="192" y="864"/>
                    </a:lnTo>
                    <a:lnTo>
                      <a:pt x="194" y="866"/>
                    </a:lnTo>
                    <a:lnTo>
                      <a:pt x="194" y="866"/>
                    </a:lnTo>
                    <a:lnTo>
                      <a:pt x="194" y="866"/>
                    </a:lnTo>
                    <a:lnTo>
                      <a:pt x="198" y="870"/>
                    </a:lnTo>
                    <a:lnTo>
                      <a:pt x="204" y="874"/>
                    </a:lnTo>
                    <a:lnTo>
                      <a:pt x="210" y="878"/>
                    </a:lnTo>
                    <a:lnTo>
                      <a:pt x="214" y="882"/>
                    </a:lnTo>
                    <a:lnTo>
                      <a:pt x="214" y="882"/>
                    </a:lnTo>
                    <a:lnTo>
                      <a:pt x="218" y="886"/>
                    </a:lnTo>
                    <a:lnTo>
                      <a:pt x="218" y="888"/>
                    </a:lnTo>
                    <a:lnTo>
                      <a:pt x="220" y="892"/>
                    </a:lnTo>
                    <a:lnTo>
                      <a:pt x="220" y="894"/>
                    </a:lnTo>
                    <a:lnTo>
                      <a:pt x="222" y="896"/>
                    </a:lnTo>
                    <a:lnTo>
                      <a:pt x="222" y="898"/>
                    </a:lnTo>
                    <a:lnTo>
                      <a:pt x="222" y="900"/>
                    </a:lnTo>
                    <a:lnTo>
                      <a:pt x="222" y="900"/>
                    </a:lnTo>
                    <a:lnTo>
                      <a:pt x="222" y="902"/>
                    </a:lnTo>
                    <a:lnTo>
                      <a:pt x="222" y="902"/>
                    </a:lnTo>
                    <a:lnTo>
                      <a:pt x="226" y="902"/>
                    </a:lnTo>
                    <a:lnTo>
                      <a:pt x="228" y="902"/>
                    </a:lnTo>
                    <a:lnTo>
                      <a:pt x="232" y="900"/>
                    </a:lnTo>
                    <a:lnTo>
                      <a:pt x="234" y="900"/>
                    </a:lnTo>
                    <a:lnTo>
                      <a:pt x="234" y="900"/>
                    </a:lnTo>
                    <a:lnTo>
                      <a:pt x="234" y="900"/>
                    </a:lnTo>
                    <a:lnTo>
                      <a:pt x="236" y="902"/>
                    </a:lnTo>
                    <a:lnTo>
                      <a:pt x="240" y="908"/>
                    </a:lnTo>
                    <a:lnTo>
                      <a:pt x="244" y="916"/>
                    </a:lnTo>
                    <a:lnTo>
                      <a:pt x="252" y="922"/>
                    </a:lnTo>
                    <a:lnTo>
                      <a:pt x="252" y="922"/>
                    </a:lnTo>
                    <a:lnTo>
                      <a:pt x="252" y="924"/>
                    </a:lnTo>
                    <a:lnTo>
                      <a:pt x="258" y="928"/>
                    </a:lnTo>
                    <a:lnTo>
                      <a:pt x="258" y="928"/>
                    </a:lnTo>
                    <a:lnTo>
                      <a:pt x="258" y="928"/>
                    </a:lnTo>
                    <a:lnTo>
                      <a:pt x="266" y="932"/>
                    </a:lnTo>
                    <a:lnTo>
                      <a:pt x="266" y="932"/>
                    </a:lnTo>
                    <a:lnTo>
                      <a:pt x="266" y="932"/>
                    </a:lnTo>
                    <a:lnTo>
                      <a:pt x="274" y="934"/>
                    </a:lnTo>
                    <a:lnTo>
                      <a:pt x="274" y="934"/>
                    </a:lnTo>
                    <a:lnTo>
                      <a:pt x="274" y="934"/>
                    </a:lnTo>
                    <a:lnTo>
                      <a:pt x="282" y="936"/>
                    </a:lnTo>
                    <a:lnTo>
                      <a:pt x="284" y="936"/>
                    </a:lnTo>
                    <a:lnTo>
                      <a:pt x="292" y="936"/>
                    </a:lnTo>
                    <a:lnTo>
                      <a:pt x="292" y="936"/>
                    </a:lnTo>
                    <a:lnTo>
                      <a:pt x="294" y="934"/>
                    </a:lnTo>
                    <a:lnTo>
                      <a:pt x="294" y="934"/>
                    </a:lnTo>
                    <a:lnTo>
                      <a:pt x="294" y="932"/>
                    </a:lnTo>
                    <a:lnTo>
                      <a:pt x="292" y="926"/>
                    </a:lnTo>
                    <a:close/>
                    <a:moveTo>
                      <a:pt x="1304" y="932"/>
                    </a:moveTo>
                    <a:lnTo>
                      <a:pt x="1302" y="928"/>
                    </a:lnTo>
                    <a:lnTo>
                      <a:pt x="1302" y="930"/>
                    </a:lnTo>
                    <a:lnTo>
                      <a:pt x="1302" y="926"/>
                    </a:lnTo>
                    <a:lnTo>
                      <a:pt x="1300" y="924"/>
                    </a:lnTo>
                    <a:lnTo>
                      <a:pt x="1300" y="922"/>
                    </a:lnTo>
                    <a:lnTo>
                      <a:pt x="1300" y="922"/>
                    </a:lnTo>
                    <a:lnTo>
                      <a:pt x="1300" y="920"/>
                    </a:lnTo>
                    <a:lnTo>
                      <a:pt x="1300" y="918"/>
                    </a:lnTo>
                    <a:lnTo>
                      <a:pt x="1300" y="918"/>
                    </a:lnTo>
                    <a:lnTo>
                      <a:pt x="1298" y="918"/>
                    </a:lnTo>
                    <a:lnTo>
                      <a:pt x="1298" y="916"/>
                    </a:lnTo>
                    <a:lnTo>
                      <a:pt x="1298" y="916"/>
                    </a:lnTo>
                    <a:lnTo>
                      <a:pt x="1296" y="916"/>
                    </a:lnTo>
                    <a:lnTo>
                      <a:pt x="1296" y="916"/>
                    </a:lnTo>
                    <a:lnTo>
                      <a:pt x="1296" y="914"/>
                    </a:lnTo>
                    <a:lnTo>
                      <a:pt x="1298" y="910"/>
                    </a:lnTo>
                    <a:lnTo>
                      <a:pt x="1298" y="908"/>
                    </a:lnTo>
                    <a:lnTo>
                      <a:pt x="1298" y="908"/>
                    </a:lnTo>
                    <a:lnTo>
                      <a:pt x="1298" y="906"/>
                    </a:lnTo>
                    <a:lnTo>
                      <a:pt x="1298" y="906"/>
                    </a:lnTo>
                    <a:lnTo>
                      <a:pt x="1298" y="904"/>
                    </a:lnTo>
                    <a:lnTo>
                      <a:pt x="1298" y="902"/>
                    </a:lnTo>
                    <a:lnTo>
                      <a:pt x="1298" y="902"/>
                    </a:lnTo>
                    <a:lnTo>
                      <a:pt x="1296" y="902"/>
                    </a:lnTo>
                    <a:lnTo>
                      <a:pt x="1294" y="900"/>
                    </a:lnTo>
                    <a:lnTo>
                      <a:pt x="1294" y="900"/>
                    </a:lnTo>
                    <a:lnTo>
                      <a:pt x="1294" y="898"/>
                    </a:lnTo>
                    <a:lnTo>
                      <a:pt x="1292" y="898"/>
                    </a:lnTo>
                    <a:lnTo>
                      <a:pt x="1292" y="898"/>
                    </a:lnTo>
                    <a:lnTo>
                      <a:pt x="1290" y="898"/>
                    </a:lnTo>
                    <a:lnTo>
                      <a:pt x="1288" y="898"/>
                    </a:lnTo>
                    <a:lnTo>
                      <a:pt x="1288" y="898"/>
                    </a:lnTo>
                    <a:lnTo>
                      <a:pt x="1288" y="896"/>
                    </a:lnTo>
                    <a:lnTo>
                      <a:pt x="1286" y="892"/>
                    </a:lnTo>
                    <a:lnTo>
                      <a:pt x="1286" y="888"/>
                    </a:lnTo>
                    <a:lnTo>
                      <a:pt x="1284" y="886"/>
                    </a:lnTo>
                    <a:lnTo>
                      <a:pt x="1284" y="886"/>
                    </a:lnTo>
                    <a:lnTo>
                      <a:pt x="1284" y="884"/>
                    </a:lnTo>
                    <a:lnTo>
                      <a:pt x="1282" y="882"/>
                    </a:lnTo>
                    <a:lnTo>
                      <a:pt x="1282" y="882"/>
                    </a:lnTo>
                    <a:lnTo>
                      <a:pt x="1282" y="882"/>
                    </a:lnTo>
                    <a:lnTo>
                      <a:pt x="1280" y="880"/>
                    </a:lnTo>
                    <a:lnTo>
                      <a:pt x="1280" y="880"/>
                    </a:lnTo>
                    <a:lnTo>
                      <a:pt x="1280" y="880"/>
                    </a:lnTo>
                    <a:lnTo>
                      <a:pt x="1276" y="878"/>
                    </a:lnTo>
                    <a:lnTo>
                      <a:pt x="1276" y="878"/>
                    </a:lnTo>
                    <a:lnTo>
                      <a:pt x="1274" y="878"/>
                    </a:lnTo>
                    <a:lnTo>
                      <a:pt x="1270" y="878"/>
                    </a:lnTo>
                    <a:lnTo>
                      <a:pt x="1266" y="880"/>
                    </a:lnTo>
                    <a:lnTo>
                      <a:pt x="1262" y="880"/>
                    </a:lnTo>
                    <a:lnTo>
                      <a:pt x="1260" y="880"/>
                    </a:lnTo>
                    <a:lnTo>
                      <a:pt x="1260" y="880"/>
                    </a:lnTo>
                    <a:lnTo>
                      <a:pt x="1258" y="876"/>
                    </a:lnTo>
                    <a:lnTo>
                      <a:pt x="1258" y="876"/>
                    </a:lnTo>
                    <a:lnTo>
                      <a:pt x="1258" y="876"/>
                    </a:lnTo>
                    <a:lnTo>
                      <a:pt x="1258" y="874"/>
                    </a:lnTo>
                    <a:lnTo>
                      <a:pt x="1258" y="874"/>
                    </a:lnTo>
                    <a:lnTo>
                      <a:pt x="1258" y="874"/>
                    </a:lnTo>
                    <a:lnTo>
                      <a:pt x="1256" y="872"/>
                    </a:lnTo>
                    <a:lnTo>
                      <a:pt x="1256" y="872"/>
                    </a:lnTo>
                    <a:lnTo>
                      <a:pt x="1256" y="872"/>
                    </a:lnTo>
                    <a:lnTo>
                      <a:pt x="1252" y="870"/>
                    </a:lnTo>
                    <a:lnTo>
                      <a:pt x="1250" y="870"/>
                    </a:lnTo>
                    <a:lnTo>
                      <a:pt x="1250" y="868"/>
                    </a:lnTo>
                    <a:lnTo>
                      <a:pt x="1250" y="868"/>
                    </a:lnTo>
                    <a:lnTo>
                      <a:pt x="1248" y="866"/>
                    </a:lnTo>
                    <a:lnTo>
                      <a:pt x="1248" y="866"/>
                    </a:lnTo>
                    <a:lnTo>
                      <a:pt x="1248" y="866"/>
                    </a:lnTo>
                    <a:lnTo>
                      <a:pt x="1248" y="864"/>
                    </a:lnTo>
                    <a:lnTo>
                      <a:pt x="1248" y="864"/>
                    </a:lnTo>
                    <a:lnTo>
                      <a:pt x="1248" y="864"/>
                    </a:lnTo>
                    <a:lnTo>
                      <a:pt x="1246" y="864"/>
                    </a:lnTo>
                    <a:lnTo>
                      <a:pt x="1246" y="864"/>
                    </a:lnTo>
                    <a:lnTo>
                      <a:pt x="1250" y="862"/>
                    </a:lnTo>
                    <a:lnTo>
                      <a:pt x="1252" y="862"/>
                    </a:lnTo>
                    <a:lnTo>
                      <a:pt x="1254" y="862"/>
                    </a:lnTo>
                    <a:lnTo>
                      <a:pt x="1254" y="862"/>
                    </a:lnTo>
                    <a:lnTo>
                      <a:pt x="1254" y="862"/>
                    </a:lnTo>
                    <a:lnTo>
                      <a:pt x="1256" y="860"/>
                    </a:lnTo>
                    <a:lnTo>
                      <a:pt x="1258" y="858"/>
                    </a:lnTo>
                    <a:lnTo>
                      <a:pt x="1258" y="854"/>
                    </a:lnTo>
                    <a:lnTo>
                      <a:pt x="1260" y="850"/>
                    </a:lnTo>
                    <a:lnTo>
                      <a:pt x="1260" y="844"/>
                    </a:lnTo>
                    <a:lnTo>
                      <a:pt x="1260" y="842"/>
                    </a:lnTo>
                    <a:lnTo>
                      <a:pt x="1262" y="840"/>
                    </a:lnTo>
                    <a:lnTo>
                      <a:pt x="1262" y="840"/>
                    </a:lnTo>
                    <a:lnTo>
                      <a:pt x="1262" y="838"/>
                    </a:lnTo>
                    <a:lnTo>
                      <a:pt x="1262" y="834"/>
                    </a:lnTo>
                    <a:lnTo>
                      <a:pt x="1260" y="832"/>
                    </a:lnTo>
                    <a:lnTo>
                      <a:pt x="1260" y="828"/>
                    </a:lnTo>
                    <a:lnTo>
                      <a:pt x="1260" y="826"/>
                    </a:lnTo>
                    <a:lnTo>
                      <a:pt x="1260" y="824"/>
                    </a:lnTo>
                    <a:lnTo>
                      <a:pt x="1260" y="824"/>
                    </a:lnTo>
                    <a:lnTo>
                      <a:pt x="1258" y="824"/>
                    </a:lnTo>
                    <a:lnTo>
                      <a:pt x="1258" y="824"/>
                    </a:lnTo>
                    <a:lnTo>
                      <a:pt x="1258" y="824"/>
                    </a:lnTo>
                    <a:lnTo>
                      <a:pt x="1258" y="822"/>
                    </a:lnTo>
                    <a:lnTo>
                      <a:pt x="1256" y="822"/>
                    </a:lnTo>
                    <a:lnTo>
                      <a:pt x="1256" y="822"/>
                    </a:lnTo>
                    <a:lnTo>
                      <a:pt x="1256" y="822"/>
                    </a:lnTo>
                    <a:lnTo>
                      <a:pt x="1254" y="820"/>
                    </a:lnTo>
                    <a:lnTo>
                      <a:pt x="1254" y="820"/>
                    </a:lnTo>
                    <a:lnTo>
                      <a:pt x="1254" y="818"/>
                    </a:lnTo>
                    <a:lnTo>
                      <a:pt x="1254" y="820"/>
                    </a:lnTo>
                    <a:lnTo>
                      <a:pt x="1252" y="818"/>
                    </a:lnTo>
                    <a:lnTo>
                      <a:pt x="1252" y="816"/>
                    </a:lnTo>
                    <a:lnTo>
                      <a:pt x="1250" y="816"/>
                    </a:lnTo>
                    <a:lnTo>
                      <a:pt x="1250" y="814"/>
                    </a:lnTo>
                    <a:lnTo>
                      <a:pt x="1250" y="812"/>
                    </a:lnTo>
                    <a:lnTo>
                      <a:pt x="1250" y="812"/>
                    </a:lnTo>
                    <a:lnTo>
                      <a:pt x="1250" y="812"/>
                    </a:lnTo>
                    <a:lnTo>
                      <a:pt x="1250" y="810"/>
                    </a:lnTo>
                    <a:lnTo>
                      <a:pt x="1252" y="806"/>
                    </a:lnTo>
                    <a:lnTo>
                      <a:pt x="1252" y="802"/>
                    </a:lnTo>
                    <a:lnTo>
                      <a:pt x="1252" y="798"/>
                    </a:lnTo>
                    <a:lnTo>
                      <a:pt x="1252" y="798"/>
                    </a:lnTo>
                    <a:lnTo>
                      <a:pt x="1252" y="796"/>
                    </a:lnTo>
                    <a:lnTo>
                      <a:pt x="1252" y="794"/>
                    </a:lnTo>
                    <a:lnTo>
                      <a:pt x="1252" y="794"/>
                    </a:lnTo>
                    <a:lnTo>
                      <a:pt x="1252" y="792"/>
                    </a:lnTo>
                    <a:lnTo>
                      <a:pt x="1250" y="790"/>
                    </a:lnTo>
                    <a:lnTo>
                      <a:pt x="1250" y="790"/>
                    </a:lnTo>
                    <a:lnTo>
                      <a:pt x="1250" y="790"/>
                    </a:lnTo>
                    <a:lnTo>
                      <a:pt x="1248" y="788"/>
                    </a:lnTo>
                    <a:lnTo>
                      <a:pt x="1248" y="788"/>
                    </a:lnTo>
                    <a:lnTo>
                      <a:pt x="1248" y="788"/>
                    </a:lnTo>
                    <a:lnTo>
                      <a:pt x="1244" y="788"/>
                    </a:lnTo>
                    <a:lnTo>
                      <a:pt x="1244" y="788"/>
                    </a:lnTo>
                    <a:lnTo>
                      <a:pt x="1244" y="788"/>
                    </a:lnTo>
                    <a:lnTo>
                      <a:pt x="1242" y="786"/>
                    </a:lnTo>
                    <a:lnTo>
                      <a:pt x="1236" y="786"/>
                    </a:lnTo>
                    <a:lnTo>
                      <a:pt x="1234" y="786"/>
                    </a:lnTo>
                    <a:lnTo>
                      <a:pt x="1234" y="786"/>
                    </a:lnTo>
                    <a:lnTo>
                      <a:pt x="1232" y="786"/>
                    </a:lnTo>
                    <a:lnTo>
                      <a:pt x="1232" y="786"/>
                    </a:lnTo>
                    <a:lnTo>
                      <a:pt x="1232" y="784"/>
                    </a:lnTo>
                    <a:lnTo>
                      <a:pt x="1230" y="782"/>
                    </a:lnTo>
                    <a:lnTo>
                      <a:pt x="1228" y="780"/>
                    </a:lnTo>
                    <a:lnTo>
                      <a:pt x="1228" y="780"/>
                    </a:lnTo>
                    <a:lnTo>
                      <a:pt x="1228" y="778"/>
                    </a:lnTo>
                    <a:lnTo>
                      <a:pt x="1228" y="778"/>
                    </a:lnTo>
                    <a:lnTo>
                      <a:pt x="1228" y="778"/>
                    </a:lnTo>
                    <a:lnTo>
                      <a:pt x="1226" y="776"/>
                    </a:lnTo>
                    <a:lnTo>
                      <a:pt x="1224" y="776"/>
                    </a:lnTo>
                    <a:lnTo>
                      <a:pt x="1224" y="776"/>
                    </a:lnTo>
                    <a:lnTo>
                      <a:pt x="1224" y="776"/>
                    </a:lnTo>
                    <a:lnTo>
                      <a:pt x="1220" y="776"/>
                    </a:lnTo>
                    <a:lnTo>
                      <a:pt x="1220" y="776"/>
                    </a:lnTo>
                    <a:lnTo>
                      <a:pt x="1220" y="776"/>
                    </a:lnTo>
                    <a:lnTo>
                      <a:pt x="1216" y="778"/>
                    </a:lnTo>
                    <a:lnTo>
                      <a:pt x="1216" y="778"/>
                    </a:lnTo>
                    <a:lnTo>
                      <a:pt x="1216" y="778"/>
                    </a:lnTo>
                    <a:lnTo>
                      <a:pt x="1212" y="780"/>
                    </a:lnTo>
                    <a:lnTo>
                      <a:pt x="1208" y="784"/>
                    </a:lnTo>
                    <a:lnTo>
                      <a:pt x="1204" y="788"/>
                    </a:lnTo>
                    <a:lnTo>
                      <a:pt x="1198" y="790"/>
                    </a:lnTo>
                    <a:lnTo>
                      <a:pt x="1194" y="794"/>
                    </a:lnTo>
                    <a:lnTo>
                      <a:pt x="1190" y="796"/>
                    </a:lnTo>
                    <a:lnTo>
                      <a:pt x="1188" y="798"/>
                    </a:lnTo>
                    <a:lnTo>
                      <a:pt x="1186" y="798"/>
                    </a:lnTo>
                    <a:lnTo>
                      <a:pt x="1184" y="798"/>
                    </a:lnTo>
                    <a:lnTo>
                      <a:pt x="1182" y="798"/>
                    </a:lnTo>
                    <a:lnTo>
                      <a:pt x="1180" y="798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4"/>
                    </a:lnTo>
                    <a:lnTo>
                      <a:pt x="1182" y="790"/>
                    </a:lnTo>
                    <a:lnTo>
                      <a:pt x="1186" y="788"/>
                    </a:lnTo>
                    <a:lnTo>
                      <a:pt x="1188" y="784"/>
                    </a:lnTo>
                    <a:lnTo>
                      <a:pt x="1192" y="782"/>
                    </a:lnTo>
                    <a:lnTo>
                      <a:pt x="1196" y="778"/>
                    </a:lnTo>
                    <a:lnTo>
                      <a:pt x="1200" y="776"/>
                    </a:lnTo>
                    <a:lnTo>
                      <a:pt x="1202" y="774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14" y="772"/>
                    </a:lnTo>
                    <a:lnTo>
                      <a:pt x="1216" y="772"/>
                    </a:lnTo>
                    <a:lnTo>
                      <a:pt x="1220" y="772"/>
                    </a:lnTo>
                    <a:lnTo>
                      <a:pt x="1220" y="772"/>
                    </a:lnTo>
                    <a:lnTo>
                      <a:pt x="1220" y="772"/>
                    </a:lnTo>
                    <a:lnTo>
                      <a:pt x="1222" y="772"/>
                    </a:lnTo>
                    <a:lnTo>
                      <a:pt x="1222" y="772"/>
                    </a:lnTo>
                    <a:lnTo>
                      <a:pt x="1224" y="770"/>
                    </a:lnTo>
                    <a:lnTo>
                      <a:pt x="1224" y="770"/>
                    </a:lnTo>
                    <a:lnTo>
                      <a:pt x="1224" y="770"/>
                    </a:lnTo>
                    <a:lnTo>
                      <a:pt x="1224" y="766"/>
                    </a:lnTo>
                    <a:lnTo>
                      <a:pt x="1224" y="766"/>
                    </a:lnTo>
                    <a:lnTo>
                      <a:pt x="1224" y="766"/>
                    </a:lnTo>
                    <a:lnTo>
                      <a:pt x="1224" y="764"/>
                    </a:lnTo>
                    <a:lnTo>
                      <a:pt x="1222" y="764"/>
                    </a:lnTo>
                    <a:lnTo>
                      <a:pt x="1222" y="764"/>
                    </a:lnTo>
                    <a:lnTo>
                      <a:pt x="1222" y="764"/>
                    </a:lnTo>
                    <a:lnTo>
                      <a:pt x="1220" y="762"/>
                    </a:lnTo>
                    <a:lnTo>
                      <a:pt x="1216" y="760"/>
                    </a:lnTo>
                    <a:lnTo>
                      <a:pt x="1214" y="758"/>
                    </a:lnTo>
                    <a:lnTo>
                      <a:pt x="1206" y="756"/>
                    </a:lnTo>
                    <a:lnTo>
                      <a:pt x="1202" y="754"/>
                    </a:lnTo>
                    <a:lnTo>
                      <a:pt x="1198" y="754"/>
                    </a:lnTo>
                    <a:lnTo>
                      <a:pt x="1196" y="754"/>
                    </a:lnTo>
                    <a:lnTo>
                      <a:pt x="1192" y="752"/>
                    </a:lnTo>
                    <a:lnTo>
                      <a:pt x="1188" y="752"/>
                    </a:lnTo>
                    <a:lnTo>
                      <a:pt x="1184" y="752"/>
                    </a:lnTo>
                    <a:lnTo>
                      <a:pt x="1184" y="752"/>
                    </a:lnTo>
                    <a:lnTo>
                      <a:pt x="1182" y="752"/>
                    </a:lnTo>
                    <a:lnTo>
                      <a:pt x="1182" y="752"/>
                    </a:lnTo>
                    <a:lnTo>
                      <a:pt x="1182" y="750"/>
                    </a:lnTo>
                    <a:lnTo>
                      <a:pt x="1182" y="748"/>
                    </a:lnTo>
                    <a:lnTo>
                      <a:pt x="1184" y="746"/>
                    </a:lnTo>
                    <a:lnTo>
                      <a:pt x="1184" y="744"/>
                    </a:lnTo>
                    <a:lnTo>
                      <a:pt x="1184" y="742"/>
                    </a:lnTo>
                    <a:lnTo>
                      <a:pt x="1184" y="742"/>
                    </a:lnTo>
                    <a:lnTo>
                      <a:pt x="1184" y="742"/>
                    </a:lnTo>
                    <a:lnTo>
                      <a:pt x="1184" y="740"/>
                    </a:lnTo>
                    <a:lnTo>
                      <a:pt x="1184" y="740"/>
                    </a:lnTo>
                    <a:lnTo>
                      <a:pt x="1184" y="740"/>
                    </a:lnTo>
                    <a:lnTo>
                      <a:pt x="1182" y="738"/>
                    </a:lnTo>
                    <a:lnTo>
                      <a:pt x="1182" y="738"/>
                    </a:lnTo>
                    <a:lnTo>
                      <a:pt x="1182" y="736"/>
                    </a:lnTo>
                    <a:lnTo>
                      <a:pt x="1180" y="736"/>
                    </a:lnTo>
                    <a:lnTo>
                      <a:pt x="1180" y="736"/>
                    </a:lnTo>
                    <a:lnTo>
                      <a:pt x="1180" y="734"/>
                    </a:lnTo>
                    <a:lnTo>
                      <a:pt x="1178" y="734"/>
                    </a:lnTo>
                    <a:lnTo>
                      <a:pt x="1178" y="734"/>
                    </a:lnTo>
                    <a:lnTo>
                      <a:pt x="1178" y="734"/>
                    </a:lnTo>
                    <a:lnTo>
                      <a:pt x="1174" y="732"/>
                    </a:lnTo>
                    <a:lnTo>
                      <a:pt x="1172" y="732"/>
                    </a:lnTo>
                    <a:lnTo>
                      <a:pt x="1170" y="730"/>
                    </a:lnTo>
                    <a:lnTo>
                      <a:pt x="1168" y="730"/>
                    </a:lnTo>
                    <a:lnTo>
                      <a:pt x="1168" y="728"/>
                    </a:lnTo>
                    <a:lnTo>
                      <a:pt x="1166" y="726"/>
                    </a:lnTo>
                    <a:lnTo>
                      <a:pt x="1164" y="722"/>
                    </a:lnTo>
                    <a:lnTo>
                      <a:pt x="1160" y="718"/>
                    </a:lnTo>
                    <a:lnTo>
                      <a:pt x="1158" y="714"/>
                    </a:lnTo>
                    <a:lnTo>
                      <a:pt x="1156" y="710"/>
                    </a:lnTo>
                    <a:lnTo>
                      <a:pt x="1154" y="706"/>
                    </a:lnTo>
                    <a:lnTo>
                      <a:pt x="1154" y="704"/>
                    </a:lnTo>
                    <a:lnTo>
                      <a:pt x="1154" y="704"/>
                    </a:lnTo>
                    <a:lnTo>
                      <a:pt x="1156" y="704"/>
                    </a:lnTo>
                    <a:lnTo>
                      <a:pt x="1158" y="706"/>
                    </a:lnTo>
                    <a:lnTo>
                      <a:pt x="1158" y="706"/>
                    </a:lnTo>
                    <a:lnTo>
                      <a:pt x="1158" y="706"/>
                    </a:lnTo>
                    <a:lnTo>
                      <a:pt x="1160" y="706"/>
                    </a:lnTo>
                    <a:lnTo>
                      <a:pt x="1160" y="706"/>
                    </a:lnTo>
                    <a:lnTo>
                      <a:pt x="1162" y="706"/>
                    </a:lnTo>
                    <a:lnTo>
                      <a:pt x="1162" y="704"/>
                    </a:lnTo>
                    <a:lnTo>
                      <a:pt x="1162" y="702"/>
                    </a:lnTo>
                    <a:lnTo>
                      <a:pt x="1162" y="702"/>
                    </a:lnTo>
                    <a:lnTo>
                      <a:pt x="1162" y="700"/>
                    </a:lnTo>
                    <a:lnTo>
                      <a:pt x="1162" y="698"/>
                    </a:lnTo>
                    <a:lnTo>
                      <a:pt x="1160" y="696"/>
                    </a:lnTo>
                    <a:lnTo>
                      <a:pt x="1158" y="692"/>
                    </a:lnTo>
                    <a:lnTo>
                      <a:pt x="1156" y="690"/>
                    </a:lnTo>
                    <a:lnTo>
                      <a:pt x="1150" y="682"/>
                    </a:lnTo>
                    <a:lnTo>
                      <a:pt x="1148" y="678"/>
                    </a:lnTo>
                    <a:lnTo>
                      <a:pt x="1146" y="676"/>
                    </a:lnTo>
                    <a:lnTo>
                      <a:pt x="1142" y="670"/>
                    </a:lnTo>
                    <a:lnTo>
                      <a:pt x="1138" y="666"/>
                    </a:lnTo>
                    <a:lnTo>
                      <a:pt x="1136" y="666"/>
                    </a:lnTo>
                    <a:lnTo>
                      <a:pt x="1136" y="664"/>
                    </a:lnTo>
                    <a:lnTo>
                      <a:pt x="1136" y="664"/>
                    </a:lnTo>
                    <a:lnTo>
                      <a:pt x="1136" y="662"/>
                    </a:lnTo>
                    <a:lnTo>
                      <a:pt x="1136" y="662"/>
                    </a:lnTo>
                    <a:lnTo>
                      <a:pt x="1136" y="662"/>
                    </a:lnTo>
                    <a:lnTo>
                      <a:pt x="1138" y="662"/>
                    </a:lnTo>
                    <a:lnTo>
                      <a:pt x="1140" y="660"/>
                    </a:lnTo>
                    <a:lnTo>
                      <a:pt x="1140" y="660"/>
                    </a:lnTo>
                    <a:lnTo>
                      <a:pt x="1140" y="660"/>
                    </a:lnTo>
                    <a:lnTo>
                      <a:pt x="1142" y="660"/>
                    </a:lnTo>
                    <a:lnTo>
                      <a:pt x="1142" y="660"/>
                    </a:lnTo>
                    <a:lnTo>
                      <a:pt x="1142" y="658"/>
                    </a:lnTo>
                    <a:lnTo>
                      <a:pt x="1144" y="658"/>
                    </a:lnTo>
                    <a:lnTo>
                      <a:pt x="1144" y="658"/>
                    </a:lnTo>
                    <a:lnTo>
                      <a:pt x="1144" y="656"/>
                    </a:lnTo>
                    <a:lnTo>
                      <a:pt x="1144" y="654"/>
                    </a:lnTo>
                    <a:lnTo>
                      <a:pt x="1144" y="654"/>
                    </a:lnTo>
                    <a:lnTo>
                      <a:pt x="1144" y="654"/>
                    </a:lnTo>
                    <a:lnTo>
                      <a:pt x="1144" y="652"/>
                    </a:lnTo>
                    <a:lnTo>
                      <a:pt x="1142" y="648"/>
                    </a:lnTo>
                    <a:lnTo>
                      <a:pt x="1140" y="644"/>
                    </a:lnTo>
                    <a:lnTo>
                      <a:pt x="1138" y="642"/>
                    </a:lnTo>
                    <a:lnTo>
                      <a:pt x="1136" y="638"/>
                    </a:lnTo>
                    <a:lnTo>
                      <a:pt x="1134" y="634"/>
                    </a:lnTo>
                    <a:lnTo>
                      <a:pt x="1132" y="632"/>
                    </a:lnTo>
                    <a:lnTo>
                      <a:pt x="1130" y="630"/>
                    </a:lnTo>
                    <a:lnTo>
                      <a:pt x="1128" y="628"/>
                    </a:lnTo>
                    <a:lnTo>
                      <a:pt x="1128" y="628"/>
                    </a:lnTo>
                    <a:lnTo>
                      <a:pt x="1128" y="628"/>
                    </a:lnTo>
                    <a:lnTo>
                      <a:pt x="1126" y="628"/>
                    </a:lnTo>
                    <a:lnTo>
                      <a:pt x="1126" y="628"/>
                    </a:lnTo>
                    <a:lnTo>
                      <a:pt x="1126" y="626"/>
                    </a:lnTo>
                    <a:lnTo>
                      <a:pt x="1122" y="626"/>
                    </a:lnTo>
                    <a:lnTo>
                      <a:pt x="1122" y="626"/>
                    </a:lnTo>
                    <a:lnTo>
                      <a:pt x="1122" y="626"/>
                    </a:lnTo>
                    <a:lnTo>
                      <a:pt x="1118" y="626"/>
                    </a:lnTo>
                    <a:lnTo>
                      <a:pt x="1118" y="626"/>
                    </a:lnTo>
                    <a:lnTo>
                      <a:pt x="1118" y="626"/>
                    </a:lnTo>
                    <a:lnTo>
                      <a:pt x="1116" y="628"/>
                    </a:lnTo>
                    <a:lnTo>
                      <a:pt x="1116" y="628"/>
                    </a:lnTo>
                    <a:lnTo>
                      <a:pt x="1114" y="630"/>
                    </a:lnTo>
                    <a:lnTo>
                      <a:pt x="1114" y="632"/>
                    </a:lnTo>
                    <a:lnTo>
                      <a:pt x="1114" y="632"/>
                    </a:lnTo>
                    <a:lnTo>
                      <a:pt x="1114" y="632"/>
                    </a:lnTo>
                    <a:lnTo>
                      <a:pt x="1114" y="634"/>
                    </a:lnTo>
                    <a:lnTo>
                      <a:pt x="1114" y="638"/>
                    </a:lnTo>
                    <a:lnTo>
                      <a:pt x="1114" y="640"/>
                    </a:lnTo>
                    <a:lnTo>
                      <a:pt x="1114" y="644"/>
                    </a:lnTo>
                    <a:lnTo>
                      <a:pt x="1114" y="646"/>
                    </a:lnTo>
                    <a:lnTo>
                      <a:pt x="1114" y="648"/>
                    </a:lnTo>
                    <a:lnTo>
                      <a:pt x="1114" y="648"/>
                    </a:lnTo>
                    <a:lnTo>
                      <a:pt x="1112" y="650"/>
                    </a:lnTo>
                    <a:lnTo>
                      <a:pt x="1112" y="650"/>
                    </a:lnTo>
                    <a:lnTo>
                      <a:pt x="1108" y="652"/>
                    </a:lnTo>
                    <a:lnTo>
                      <a:pt x="1106" y="652"/>
                    </a:lnTo>
                    <a:lnTo>
                      <a:pt x="1106" y="652"/>
                    </a:lnTo>
                    <a:lnTo>
                      <a:pt x="1104" y="652"/>
                    </a:lnTo>
                    <a:lnTo>
                      <a:pt x="1104" y="652"/>
                    </a:lnTo>
                    <a:lnTo>
                      <a:pt x="1104" y="652"/>
                    </a:lnTo>
                    <a:lnTo>
                      <a:pt x="1102" y="654"/>
                    </a:lnTo>
                    <a:lnTo>
                      <a:pt x="1102" y="654"/>
                    </a:lnTo>
                    <a:lnTo>
                      <a:pt x="1102" y="654"/>
                    </a:lnTo>
                    <a:lnTo>
                      <a:pt x="1102" y="656"/>
                    </a:lnTo>
                    <a:lnTo>
                      <a:pt x="1100" y="656"/>
                    </a:lnTo>
                    <a:lnTo>
                      <a:pt x="1100" y="656"/>
                    </a:lnTo>
                    <a:lnTo>
                      <a:pt x="1100" y="658"/>
                    </a:lnTo>
                    <a:lnTo>
                      <a:pt x="1100" y="658"/>
                    </a:lnTo>
                    <a:lnTo>
                      <a:pt x="1100" y="658"/>
                    </a:lnTo>
                    <a:lnTo>
                      <a:pt x="1098" y="656"/>
                    </a:lnTo>
                    <a:lnTo>
                      <a:pt x="1098" y="656"/>
                    </a:lnTo>
                    <a:lnTo>
                      <a:pt x="1098" y="656"/>
                    </a:lnTo>
                    <a:lnTo>
                      <a:pt x="1096" y="656"/>
                    </a:lnTo>
                    <a:lnTo>
                      <a:pt x="1096" y="656"/>
                    </a:lnTo>
                    <a:lnTo>
                      <a:pt x="1096" y="658"/>
                    </a:lnTo>
                    <a:lnTo>
                      <a:pt x="1094" y="658"/>
                    </a:lnTo>
                    <a:lnTo>
                      <a:pt x="1094" y="658"/>
                    </a:lnTo>
                    <a:lnTo>
                      <a:pt x="1094" y="658"/>
                    </a:lnTo>
                    <a:lnTo>
                      <a:pt x="1090" y="660"/>
                    </a:lnTo>
                    <a:lnTo>
                      <a:pt x="1086" y="664"/>
                    </a:lnTo>
                    <a:lnTo>
                      <a:pt x="1084" y="666"/>
                    </a:lnTo>
                    <a:lnTo>
                      <a:pt x="1082" y="668"/>
                    </a:lnTo>
                    <a:lnTo>
                      <a:pt x="1082" y="668"/>
                    </a:lnTo>
                    <a:lnTo>
                      <a:pt x="1082" y="668"/>
                    </a:lnTo>
                    <a:lnTo>
                      <a:pt x="1080" y="668"/>
                    </a:lnTo>
                    <a:lnTo>
                      <a:pt x="1078" y="672"/>
                    </a:lnTo>
                    <a:lnTo>
                      <a:pt x="1078" y="672"/>
                    </a:lnTo>
                    <a:lnTo>
                      <a:pt x="1078" y="674"/>
                    </a:lnTo>
                    <a:lnTo>
                      <a:pt x="1076" y="674"/>
                    </a:lnTo>
                    <a:lnTo>
                      <a:pt x="1074" y="674"/>
                    </a:lnTo>
                    <a:lnTo>
                      <a:pt x="1072" y="676"/>
                    </a:lnTo>
                    <a:lnTo>
                      <a:pt x="1068" y="676"/>
                    </a:lnTo>
                    <a:lnTo>
                      <a:pt x="1064" y="678"/>
                    </a:lnTo>
                    <a:lnTo>
                      <a:pt x="1060" y="678"/>
                    </a:lnTo>
                    <a:lnTo>
                      <a:pt x="1060" y="678"/>
                    </a:lnTo>
                    <a:lnTo>
                      <a:pt x="1060" y="678"/>
                    </a:lnTo>
                    <a:lnTo>
                      <a:pt x="1062" y="676"/>
                    </a:lnTo>
                    <a:lnTo>
                      <a:pt x="1062" y="676"/>
                    </a:lnTo>
                    <a:lnTo>
                      <a:pt x="1062" y="676"/>
                    </a:lnTo>
                    <a:lnTo>
                      <a:pt x="1062" y="674"/>
                    </a:lnTo>
                    <a:lnTo>
                      <a:pt x="1064" y="670"/>
                    </a:lnTo>
                    <a:lnTo>
                      <a:pt x="1064" y="668"/>
                    </a:lnTo>
                    <a:lnTo>
                      <a:pt x="1064" y="664"/>
                    </a:lnTo>
                    <a:lnTo>
                      <a:pt x="1064" y="660"/>
                    </a:lnTo>
                    <a:lnTo>
                      <a:pt x="1064" y="658"/>
                    </a:lnTo>
                    <a:lnTo>
                      <a:pt x="1064" y="654"/>
                    </a:lnTo>
                    <a:lnTo>
                      <a:pt x="1064" y="654"/>
                    </a:lnTo>
                    <a:lnTo>
                      <a:pt x="1064" y="654"/>
                    </a:lnTo>
                    <a:lnTo>
                      <a:pt x="1064" y="652"/>
                    </a:lnTo>
                    <a:lnTo>
                      <a:pt x="1064" y="652"/>
                    </a:lnTo>
                    <a:lnTo>
                      <a:pt x="1062" y="652"/>
                    </a:lnTo>
                    <a:lnTo>
                      <a:pt x="1062" y="650"/>
                    </a:lnTo>
                    <a:lnTo>
                      <a:pt x="1062" y="650"/>
                    </a:lnTo>
                    <a:lnTo>
                      <a:pt x="1060" y="650"/>
                    </a:lnTo>
                    <a:lnTo>
                      <a:pt x="1058" y="650"/>
                    </a:lnTo>
                    <a:lnTo>
                      <a:pt x="1058" y="650"/>
                    </a:lnTo>
                    <a:lnTo>
                      <a:pt x="1058" y="650"/>
                    </a:lnTo>
                    <a:lnTo>
                      <a:pt x="1056" y="652"/>
                    </a:lnTo>
                    <a:lnTo>
                      <a:pt x="1056" y="652"/>
                    </a:lnTo>
                    <a:lnTo>
                      <a:pt x="1056" y="652"/>
                    </a:lnTo>
                    <a:lnTo>
                      <a:pt x="1054" y="652"/>
                    </a:lnTo>
                    <a:lnTo>
                      <a:pt x="1052" y="656"/>
                    </a:lnTo>
                    <a:lnTo>
                      <a:pt x="1050" y="656"/>
                    </a:lnTo>
                    <a:lnTo>
                      <a:pt x="1050" y="656"/>
                    </a:lnTo>
                    <a:lnTo>
                      <a:pt x="1048" y="656"/>
                    </a:lnTo>
                    <a:lnTo>
                      <a:pt x="1046" y="658"/>
                    </a:lnTo>
                    <a:lnTo>
                      <a:pt x="1044" y="658"/>
                    </a:lnTo>
                    <a:lnTo>
                      <a:pt x="1042" y="658"/>
                    </a:lnTo>
                    <a:lnTo>
                      <a:pt x="1042" y="658"/>
                    </a:lnTo>
                    <a:lnTo>
                      <a:pt x="1042" y="656"/>
                    </a:lnTo>
                    <a:lnTo>
                      <a:pt x="1042" y="654"/>
                    </a:lnTo>
                    <a:lnTo>
                      <a:pt x="1044" y="652"/>
                    </a:lnTo>
                    <a:lnTo>
                      <a:pt x="1046" y="648"/>
                    </a:lnTo>
                    <a:lnTo>
                      <a:pt x="1050" y="642"/>
                    </a:lnTo>
                    <a:lnTo>
                      <a:pt x="1050" y="638"/>
                    </a:lnTo>
                    <a:lnTo>
                      <a:pt x="1052" y="636"/>
                    </a:lnTo>
                    <a:lnTo>
                      <a:pt x="1054" y="630"/>
                    </a:lnTo>
                    <a:lnTo>
                      <a:pt x="1054" y="624"/>
                    </a:lnTo>
                    <a:lnTo>
                      <a:pt x="1054" y="624"/>
                    </a:lnTo>
                    <a:lnTo>
                      <a:pt x="1054" y="624"/>
                    </a:lnTo>
                    <a:lnTo>
                      <a:pt x="1054" y="620"/>
                    </a:lnTo>
                    <a:lnTo>
                      <a:pt x="1054" y="620"/>
                    </a:lnTo>
                    <a:lnTo>
                      <a:pt x="1054" y="620"/>
                    </a:lnTo>
                    <a:lnTo>
                      <a:pt x="1052" y="618"/>
                    </a:lnTo>
                    <a:lnTo>
                      <a:pt x="1052" y="618"/>
                    </a:lnTo>
                    <a:lnTo>
                      <a:pt x="1052" y="618"/>
                    </a:lnTo>
                    <a:lnTo>
                      <a:pt x="1052" y="616"/>
                    </a:lnTo>
                    <a:lnTo>
                      <a:pt x="1052" y="616"/>
                    </a:lnTo>
                    <a:lnTo>
                      <a:pt x="1050" y="614"/>
                    </a:lnTo>
                    <a:lnTo>
                      <a:pt x="1050" y="614"/>
                    </a:lnTo>
                    <a:lnTo>
                      <a:pt x="1050" y="614"/>
                    </a:lnTo>
                    <a:lnTo>
                      <a:pt x="1048" y="612"/>
                    </a:lnTo>
                    <a:lnTo>
                      <a:pt x="1046" y="612"/>
                    </a:lnTo>
                    <a:lnTo>
                      <a:pt x="1046" y="612"/>
                    </a:lnTo>
                    <a:lnTo>
                      <a:pt x="1046" y="612"/>
                    </a:lnTo>
                    <a:lnTo>
                      <a:pt x="1042" y="612"/>
                    </a:lnTo>
                    <a:lnTo>
                      <a:pt x="1040" y="612"/>
                    </a:lnTo>
                    <a:lnTo>
                      <a:pt x="1040" y="610"/>
                    </a:lnTo>
                    <a:lnTo>
                      <a:pt x="1044" y="610"/>
                    </a:lnTo>
                    <a:lnTo>
                      <a:pt x="1046" y="608"/>
                    </a:lnTo>
                    <a:lnTo>
                      <a:pt x="1046" y="608"/>
                    </a:lnTo>
                    <a:lnTo>
                      <a:pt x="1046" y="608"/>
                    </a:lnTo>
                    <a:lnTo>
                      <a:pt x="1048" y="608"/>
                    </a:lnTo>
                    <a:lnTo>
                      <a:pt x="1048" y="608"/>
                    </a:lnTo>
                    <a:lnTo>
                      <a:pt x="1048" y="606"/>
                    </a:lnTo>
                    <a:lnTo>
                      <a:pt x="1050" y="604"/>
                    </a:lnTo>
                    <a:lnTo>
                      <a:pt x="1050" y="604"/>
                    </a:lnTo>
                    <a:lnTo>
                      <a:pt x="1050" y="604"/>
                    </a:lnTo>
                    <a:lnTo>
                      <a:pt x="1052" y="600"/>
                    </a:lnTo>
                    <a:lnTo>
                      <a:pt x="1052" y="600"/>
                    </a:lnTo>
                    <a:lnTo>
                      <a:pt x="1052" y="600"/>
                    </a:lnTo>
                    <a:lnTo>
                      <a:pt x="1052" y="596"/>
                    </a:lnTo>
                    <a:lnTo>
                      <a:pt x="1052" y="596"/>
                    </a:lnTo>
                    <a:lnTo>
                      <a:pt x="1050" y="596"/>
                    </a:lnTo>
                    <a:lnTo>
                      <a:pt x="1050" y="594"/>
                    </a:lnTo>
                    <a:lnTo>
                      <a:pt x="1050" y="594"/>
                    </a:lnTo>
                    <a:lnTo>
                      <a:pt x="1048" y="592"/>
                    </a:lnTo>
                    <a:lnTo>
                      <a:pt x="1048" y="592"/>
                    </a:lnTo>
                    <a:lnTo>
                      <a:pt x="1046" y="592"/>
                    </a:lnTo>
                    <a:lnTo>
                      <a:pt x="1042" y="592"/>
                    </a:lnTo>
                    <a:lnTo>
                      <a:pt x="1036" y="590"/>
                    </a:lnTo>
                    <a:lnTo>
                      <a:pt x="1032" y="590"/>
                    </a:lnTo>
                    <a:lnTo>
                      <a:pt x="1030" y="590"/>
                    </a:lnTo>
                    <a:lnTo>
                      <a:pt x="1026" y="588"/>
                    </a:lnTo>
                    <a:lnTo>
                      <a:pt x="1022" y="588"/>
                    </a:lnTo>
                    <a:lnTo>
                      <a:pt x="1020" y="586"/>
                    </a:lnTo>
                    <a:lnTo>
                      <a:pt x="1018" y="584"/>
                    </a:lnTo>
                    <a:lnTo>
                      <a:pt x="1016" y="582"/>
                    </a:lnTo>
                    <a:lnTo>
                      <a:pt x="1014" y="580"/>
                    </a:lnTo>
                    <a:lnTo>
                      <a:pt x="1012" y="576"/>
                    </a:lnTo>
                    <a:lnTo>
                      <a:pt x="1008" y="572"/>
                    </a:lnTo>
                    <a:lnTo>
                      <a:pt x="1006" y="568"/>
                    </a:lnTo>
                    <a:lnTo>
                      <a:pt x="1004" y="564"/>
                    </a:lnTo>
                    <a:lnTo>
                      <a:pt x="1002" y="562"/>
                    </a:lnTo>
                    <a:lnTo>
                      <a:pt x="1000" y="558"/>
                    </a:lnTo>
                    <a:lnTo>
                      <a:pt x="998" y="556"/>
                    </a:lnTo>
                    <a:lnTo>
                      <a:pt x="996" y="554"/>
                    </a:lnTo>
                    <a:lnTo>
                      <a:pt x="994" y="552"/>
                    </a:lnTo>
                    <a:lnTo>
                      <a:pt x="994" y="552"/>
                    </a:lnTo>
                    <a:lnTo>
                      <a:pt x="994" y="552"/>
                    </a:lnTo>
                    <a:lnTo>
                      <a:pt x="990" y="550"/>
                    </a:lnTo>
                    <a:lnTo>
                      <a:pt x="990" y="550"/>
                    </a:lnTo>
                    <a:lnTo>
                      <a:pt x="990" y="550"/>
                    </a:lnTo>
                    <a:lnTo>
                      <a:pt x="988" y="550"/>
                    </a:lnTo>
                    <a:lnTo>
                      <a:pt x="988" y="550"/>
                    </a:lnTo>
                    <a:lnTo>
                      <a:pt x="988" y="550"/>
                    </a:lnTo>
                    <a:lnTo>
                      <a:pt x="986" y="550"/>
                    </a:lnTo>
                    <a:lnTo>
                      <a:pt x="986" y="550"/>
                    </a:lnTo>
                    <a:lnTo>
                      <a:pt x="986" y="550"/>
                    </a:lnTo>
                    <a:lnTo>
                      <a:pt x="984" y="550"/>
                    </a:lnTo>
                    <a:lnTo>
                      <a:pt x="984" y="550"/>
                    </a:lnTo>
                    <a:lnTo>
                      <a:pt x="984" y="550"/>
                    </a:lnTo>
                    <a:lnTo>
                      <a:pt x="980" y="550"/>
                    </a:lnTo>
                    <a:lnTo>
                      <a:pt x="978" y="552"/>
                    </a:lnTo>
                    <a:lnTo>
                      <a:pt x="976" y="552"/>
                    </a:lnTo>
                    <a:lnTo>
                      <a:pt x="974" y="552"/>
                    </a:lnTo>
                    <a:lnTo>
                      <a:pt x="972" y="552"/>
                    </a:lnTo>
                    <a:lnTo>
                      <a:pt x="966" y="552"/>
                    </a:lnTo>
                    <a:lnTo>
                      <a:pt x="962" y="552"/>
                    </a:lnTo>
                    <a:lnTo>
                      <a:pt x="958" y="552"/>
                    </a:lnTo>
                    <a:lnTo>
                      <a:pt x="956" y="552"/>
                    </a:lnTo>
                    <a:lnTo>
                      <a:pt x="952" y="550"/>
                    </a:lnTo>
                    <a:lnTo>
                      <a:pt x="950" y="548"/>
                    </a:lnTo>
                    <a:lnTo>
                      <a:pt x="946" y="546"/>
                    </a:lnTo>
                    <a:lnTo>
                      <a:pt x="944" y="546"/>
                    </a:lnTo>
                    <a:lnTo>
                      <a:pt x="940" y="544"/>
                    </a:lnTo>
                    <a:lnTo>
                      <a:pt x="940" y="544"/>
                    </a:lnTo>
                    <a:lnTo>
                      <a:pt x="940" y="544"/>
                    </a:lnTo>
                    <a:lnTo>
                      <a:pt x="938" y="544"/>
                    </a:lnTo>
                    <a:lnTo>
                      <a:pt x="938" y="544"/>
                    </a:lnTo>
                    <a:lnTo>
                      <a:pt x="936" y="544"/>
                    </a:lnTo>
                    <a:lnTo>
                      <a:pt x="934" y="544"/>
                    </a:lnTo>
                    <a:lnTo>
                      <a:pt x="934" y="544"/>
                    </a:lnTo>
                    <a:lnTo>
                      <a:pt x="932" y="544"/>
                    </a:lnTo>
                    <a:lnTo>
                      <a:pt x="930" y="546"/>
                    </a:lnTo>
                    <a:lnTo>
                      <a:pt x="930" y="546"/>
                    </a:lnTo>
                    <a:lnTo>
                      <a:pt x="930" y="546"/>
                    </a:lnTo>
                    <a:lnTo>
                      <a:pt x="928" y="550"/>
                    </a:lnTo>
                    <a:lnTo>
                      <a:pt x="928" y="552"/>
                    </a:lnTo>
                    <a:lnTo>
                      <a:pt x="926" y="556"/>
                    </a:lnTo>
                    <a:lnTo>
                      <a:pt x="924" y="564"/>
                    </a:lnTo>
                    <a:lnTo>
                      <a:pt x="924" y="568"/>
                    </a:lnTo>
                    <a:lnTo>
                      <a:pt x="922" y="572"/>
                    </a:lnTo>
                    <a:lnTo>
                      <a:pt x="924" y="576"/>
                    </a:lnTo>
                    <a:lnTo>
                      <a:pt x="924" y="576"/>
                    </a:lnTo>
                    <a:lnTo>
                      <a:pt x="924" y="576"/>
                    </a:lnTo>
                    <a:lnTo>
                      <a:pt x="924" y="578"/>
                    </a:lnTo>
                    <a:lnTo>
                      <a:pt x="924" y="578"/>
                    </a:lnTo>
                    <a:lnTo>
                      <a:pt x="924" y="578"/>
                    </a:lnTo>
                    <a:lnTo>
                      <a:pt x="926" y="584"/>
                    </a:lnTo>
                    <a:lnTo>
                      <a:pt x="928" y="590"/>
                    </a:lnTo>
                    <a:lnTo>
                      <a:pt x="930" y="592"/>
                    </a:lnTo>
                    <a:lnTo>
                      <a:pt x="930" y="594"/>
                    </a:lnTo>
                    <a:lnTo>
                      <a:pt x="932" y="600"/>
                    </a:lnTo>
                    <a:lnTo>
                      <a:pt x="934" y="606"/>
                    </a:lnTo>
                    <a:lnTo>
                      <a:pt x="934" y="612"/>
                    </a:lnTo>
                    <a:lnTo>
                      <a:pt x="934" y="618"/>
                    </a:lnTo>
                    <a:lnTo>
                      <a:pt x="934" y="624"/>
                    </a:lnTo>
                    <a:lnTo>
                      <a:pt x="932" y="630"/>
                    </a:lnTo>
                    <a:lnTo>
                      <a:pt x="930" y="636"/>
                    </a:lnTo>
                    <a:lnTo>
                      <a:pt x="928" y="642"/>
                    </a:lnTo>
                    <a:lnTo>
                      <a:pt x="928" y="644"/>
                    </a:lnTo>
                    <a:lnTo>
                      <a:pt x="926" y="646"/>
                    </a:lnTo>
                    <a:lnTo>
                      <a:pt x="924" y="650"/>
                    </a:lnTo>
                    <a:lnTo>
                      <a:pt x="922" y="652"/>
                    </a:lnTo>
                    <a:lnTo>
                      <a:pt x="922" y="652"/>
                    </a:lnTo>
                    <a:lnTo>
                      <a:pt x="922" y="654"/>
                    </a:lnTo>
                    <a:lnTo>
                      <a:pt x="922" y="656"/>
                    </a:lnTo>
                    <a:lnTo>
                      <a:pt x="922" y="656"/>
                    </a:lnTo>
                    <a:lnTo>
                      <a:pt x="920" y="656"/>
                    </a:lnTo>
                    <a:lnTo>
                      <a:pt x="920" y="660"/>
                    </a:lnTo>
                    <a:lnTo>
                      <a:pt x="920" y="660"/>
                    </a:lnTo>
                    <a:lnTo>
                      <a:pt x="922" y="660"/>
                    </a:lnTo>
                    <a:lnTo>
                      <a:pt x="922" y="664"/>
                    </a:lnTo>
                    <a:lnTo>
                      <a:pt x="922" y="664"/>
                    </a:lnTo>
                    <a:lnTo>
                      <a:pt x="922" y="664"/>
                    </a:lnTo>
                    <a:lnTo>
                      <a:pt x="924" y="666"/>
                    </a:lnTo>
                    <a:lnTo>
                      <a:pt x="924" y="666"/>
                    </a:lnTo>
                    <a:lnTo>
                      <a:pt x="924" y="666"/>
                    </a:lnTo>
                    <a:lnTo>
                      <a:pt x="924" y="668"/>
                    </a:lnTo>
                    <a:lnTo>
                      <a:pt x="924" y="668"/>
                    </a:lnTo>
                    <a:lnTo>
                      <a:pt x="926" y="668"/>
                    </a:lnTo>
                    <a:lnTo>
                      <a:pt x="928" y="670"/>
                    </a:lnTo>
                    <a:lnTo>
                      <a:pt x="934" y="674"/>
                    </a:lnTo>
                    <a:lnTo>
                      <a:pt x="938" y="676"/>
                    </a:lnTo>
                    <a:lnTo>
                      <a:pt x="944" y="680"/>
                    </a:lnTo>
                    <a:lnTo>
                      <a:pt x="948" y="682"/>
                    </a:lnTo>
                    <a:lnTo>
                      <a:pt x="950" y="686"/>
                    </a:lnTo>
                    <a:lnTo>
                      <a:pt x="950" y="688"/>
                    </a:lnTo>
                    <a:lnTo>
                      <a:pt x="952" y="690"/>
                    </a:lnTo>
                    <a:lnTo>
                      <a:pt x="952" y="692"/>
                    </a:lnTo>
                    <a:lnTo>
                      <a:pt x="952" y="694"/>
                    </a:lnTo>
                    <a:lnTo>
                      <a:pt x="952" y="702"/>
                    </a:lnTo>
                    <a:lnTo>
                      <a:pt x="952" y="708"/>
                    </a:lnTo>
                    <a:lnTo>
                      <a:pt x="950" y="716"/>
                    </a:lnTo>
                    <a:lnTo>
                      <a:pt x="948" y="724"/>
                    </a:lnTo>
                    <a:lnTo>
                      <a:pt x="946" y="730"/>
                    </a:lnTo>
                    <a:lnTo>
                      <a:pt x="944" y="736"/>
                    </a:lnTo>
                    <a:lnTo>
                      <a:pt x="944" y="738"/>
                    </a:lnTo>
                    <a:lnTo>
                      <a:pt x="942" y="740"/>
                    </a:lnTo>
                    <a:lnTo>
                      <a:pt x="942" y="744"/>
                    </a:lnTo>
                    <a:lnTo>
                      <a:pt x="940" y="746"/>
                    </a:lnTo>
                    <a:lnTo>
                      <a:pt x="936" y="748"/>
                    </a:lnTo>
                    <a:lnTo>
                      <a:pt x="934" y="748"/>
                    </a:lnTo>
                    <a:lnTo>
                      <a:pt x="932" y="750"/>
                    </a:lnTo>
                    <a:lnTo>
                      <a:pt x="930" y="750"/>
                    </a:lnTo>
                    <a:lnTo>
                      <a:pt x="926" y="750"/>
                    </a:lnTo>
                    <a:lnTo>
                      <a:pt x="924" y="750"/>
                    </a:lnTo>
                    <a:lnTo>
                      <a:pt x="922" y="752"/>
                    </a:lnTo>
                    <a:lnTo>
                      <a:pt x="920" y="750"/>
                    </a:lnTo>
                    <a:lnTo>
                      <a:pt x="920" y="750"/>
                    </a:lnTo>
                    <a:lnTo>
                      <a:pt x="916" y="750"/>
                    </a:lnTo>
                    <a:lnTo>
                      <a:pt x="914" y="750"/>
                    </a:lnTo>
                    <a:lnTo>
                      <a:pt x="914" y="750"/>
                    </a:lnTo>
                    <a:lnTo>
                      <a:pt x="914" y="750"/>
                    </a:lnTo>
                    <a:lnTo>
                      <a:pt x="912" y="750"/>
                    </a:lnTo>
                    <a:lnTo>
                      <a:pt x="912" y="750"/>
                    </a:lnTo>
                    <a:lnTo>
                      <a:pt x="912" y="750"/>
                    </a:lnTo>
                    <a:lnTo>
                      <a:pt x="910" y="750"/>
                    </a:lnTo>
                    <a:lnTo>
                      <a:pt x="910" y="750"/>
                    </a:lnTo>
                    <a:lnTo>
                      <a:pt x="908" y="752"/>
                    </a:lnTo>
                    <a:lnTo>
                      <a:pt x="908" y="752"/>
                    </a:lnTo>
                    <a:lnTo>
                      <a:pt x="908" y="752"/>
                    </a:lnTo>
                    <a:lnTo>
                      <a:pt x="908" y="754"/>
                    </a:lnTo>
                    <a:lnTo>
                      <a:pt x="906" y="756"/>
                    </a:lnTo>
                    <a:lnTo>
                      <a:pt x="906" y="756"/>
                    </a:lnTo>
                    <a:lnTo>
                      <a:pt x="906" y="756"/>
                    </a:lnTo>
                    <a:lnTo>
                      <a:pt x="906" y="758"/>
                    </a:lnTo>
                    <a:lnTo>
                      <a:pt x="906" y="762"/>
                    </a:lnTo>
                    <a:lnTo>
                      <a:pt x="908" y="766"/>
                    </a:lnTo>
                    <a:lnTo>
                      <a:pt x="908" y="774"/>
                    </a:lnTo>
                    <a:lnTo>
                      <a:pt x="910" y="778"/>
                    </a:lnTo>
                    <a:lnTo>
                      <a:pt x="910" y="782"/>
                    </a:lnTo>
                    <a:lnTo>
                      <a:pt x="912" y="786"/>
                    </a:lnTo>
                    <a:lnTo>
                      <a:pt x="912" y="790"/>
                    </a:lnTo>
                    <a:lnTo>
                      <a:pt x="916" y="798"/>
                    </a:lnTo>
                    <a:lnTo>
                      <a:pt x="918" y="806"/>
                    </a:lnTo>
                    <a:lnTo>
                      <a:pt x="920" y="810"/>
                    </a:lnTo>
                    <a:lnTo>
                      <a:pt x="920" y="812"/>
                    </a:lnTo>
                    <a:lnTo>
                      <a:pt x="920" y="816"/>
                    </a:lnTo>
                    <a:lnTo>
                      <a:pt x="920" y="818"/>
                    </a:lnTo>
                    <a:lnTo>
                      <a:pt x="920" y="824"/>
                    </a:lnTo>
                    <a:lnTo>
                      <a:pt x="918" y="828"/>
                    </a:lnTo>
                    <a:lnTo>
                      <a:pt x="916" y="832"/>
                    </a:lnTo>
                    <a:lnTo>
                      <a:pt x="914" y="836"/>
                    </a:lnTo>
                    <a:lnTo>
                      <a:pt x="914" y="840"/>
                    </a:lnTo>
                    <a:lnTo>
                      <a:pt x="912" y="842"/>
                    </a:lnTo>
                    <a:lnTo>
                      <a:pt x="912" y="844"/>
                    </a:lnTo>
                    <a:lnTo>
                      <a:pt x="912" y="844"/>
                    </a:lnTo>
                    <a:lnTo>
                      <a:pt x="910" y="844"/>
                    </a:lnTo>
                    <a:lnTo>
                      <a:pt x="908" y="846"/>
                    </a:lnTo>
                    <a:lnTo>
                      <a:pt x="904" y="846"/>
                    </a:lnTo>
                    <a:lnTo>
                      <a:pt x="900" y="846"/>
                    </a:lnTo>
                    <a:lnTo>
                      <a:pt x="900" y="844"/>
                    </a:lnTo>
                    <a:lnTo>
                      <a:pt x="898" y="844"/>
                    </a:lnTo>
                    <a:lnTo>
                      <a:pt x="894" y="842"/>
                    </a:lnTo>
                    <a:lnTo>
                      <a:pt x="892" y="838"/>
                    </a:lnTo>
                    <a:lnTo>
                      <a:pt x="888" y="834"/>
                    </a:lnTo>
                    <a:lnTo>
                      <a:pt x="886" y="830"/>
                    </a:lnTo>
                    <a:lnTo>
                      <a:pt x="884" y="828"/>
                    </a:lnTo>
                    <a:lnTo>
                      <a:pt x="880" y="826"/>
                    </a:lnTo>
                    <a:lnTo>
                      <a:pt x="876" y="820"/>
                    </a:lnTo>
                    <a:lnTo>
                      <a:pt x="874" y="818"/>
                    </a:lnTo>
                    <a:lnTo>
                      <a:pt x="872" y="816"/>
                    </a:lnTo>
                    <a:lnTo>
                      <a:pt x="870" y="812"/>
                    </a:lnTo>
                    <a:lnTo>
                      <a:pt x="870" y="810"/>
                    </a:lnTo>
                    <a:lnTo>
                      <a:pt x="868" y="804"/>
                    </a:lnTo>
                    <a:lnTo>
                      <a:pt x="868" y="798"/>
                    </a:lnTo>
                    <a:lnTo>
                      <a:pt x="868" y="792"/>
                    </a:lnTo>
                    <a:lnTo>
                      <a:pt x="866" y="786"/>
                    </a:lnTo>
                    <a:lnTo>
                      <a:pt x="866" y="778"/>
                    </a:lnTo>
                    <a:lnTo>
                      <a:pt x="866" y="772"/>
                    </a:lnTo>
                    <a:lnTo>
                      <a:pt x="866" y="766"/>
                    </a:lnTo>
                    <a:lnTo>
                      <a:pt x="866" y="762"/>
                    </a:lnTo>
                    <a:lnTo>
                      <a:pt x="864" y="758"/>
                    </a:lnTo>
                    <a:lnTo>
                      <a:pt x="864" y="756"/>
                    </a:lnTo>
                    <a:lnTo>
                      <a:pt x="864" y="754"/>
                    </a:lnTo>
                    <a:lnTo>
                      <a:pt x="864" y="752"/>
                    </a:lnTo>
                    <a:lnTo>
                      <a:pt x="864" y="752"/>
                    </a:lnTo>
                    <a:lnTo>
                      <a:pt x="864" y="752"/>
                    </a:lnTo>
                    <a:lnTo>
                      <a:pt x="864" y="750"/>
                    </a:lnTo>
                    <a:lnTo>
                      <a:pt x="864" y="750"/>
                    </a:lnTo>
                    <a:lnTo>
                      <a:pt x="864" y="750"/>
                    </a:lnTo>
                    <a:lnTo>
                      <a:pt x="862" y="748"/>
                    </a:lnTo>
                    <a:lnTo>
                      <a:pt x="862" y="748"/>
                    </a:lnTo>
                    <a:lnTo>
                      <a:pt x="862" y="748"/>
                    </a:lnTo>
                    <a:lnTo>
                      <a:pt x="860" y="746"/>
                    </a:lnTo>
                    <a:lnTo>
                      <a:pt x="858" y="746"/>
                    </a:lnTo>
                    <a:lnTo>
                      <a:pt x="858" y="746"/>
                    </a:lnTo>
                    <a:lnTo>
                      <a:pt x="858" y="744"/>
                    </a:lnTo>
                    <a:lnTo>
                      <a:pt x="854" y="744"/>
                    </a:lnTo>
                    <a:lnTo>
                      <a:pt x="854" y="744"/>
                    </a:lnTo>
                    <a:lnTo>
                      <a:pt x="854" y="744"/>
                    </a:lnTo>
                    <a:lnTo>
                      <a:pt x="848" y="742"/>
                    </a:lnTo>
                    <a:lnTo>
                      <a:pt x="844" y="742"/>
                    </a:lnTo>
                    <a:lnTo>
                      <a:pt x="838" y="742"/>
                    </a:lnTo>
                    <a:lnTo>
                      <a:pt x="832" y="740"/>
                    </a:lnTo>
                    <a:lnTo>
                      <a:pt x="824" y="740"/>
                    </a:lnTo>
                    <a:lnTo>
                      <a:pt x="820" y="738"/>
                    </a:lnTo>
                    <a:lnTo>
                      <a:pt x="814" y="738"/>
                    </a:lnTo>
                    <a:lnTo>
                      <a:pt x="810" y="734"/>
                    </a:lnTo>
                    <a:lnTo>
                      <a:pt x="804" y="730"/>
                    </a:lnTo>
                    <a:lnTo>
                      <a:pt x="798" y="726"/>
                    </a:lnTo>
                    <a:lnTo>
                      <a:pt x="794" y="722"/>
                    </a:lnTo>
                    <a:lnTo>
                      <a:pt x="788" y="718"/>
                    </a:lnTo>
                    <a:lnTo>
                      <a:pt x="784" y="714"/>
                    </a:lnTo>
                    <a:lnTo>
                      <a:pt x="780" y="710"/>
                    </a:lnTo>
                    <a:lnTo>
                      <a:pt x="776" y="708"/>
                    </a:lnTo>
                    <a:lnTo>
                      <a:pt x="772" y="706"/>
                    </a:lnTo>
                    <a:lnTo>
                      <a:pt x="768" y="704"/>
                    </a:lnTo>
                    <a:lnTo>
                      <a:pt x="764" y="704"/>
                    </a:lnTo>
                    <a:lnTo>
                      <a:pt x="762" y="702"/>
                    </a:lnTo>
                    <a:lnTo>
                      <a:pt x="756" y="702"/>
                    </a:lnTo>
                    <a:lnTo>
                      <a:pt x="754" y="702"/>
                    </a:lnTo>
                    <a:lnTo>
                      <a:pt x="752" y="700"/>
                    </a:lnTo>
                    <a:lnTo>
                      <a:pt x="750" y="700"/>
                    </a:lnTo>
                    <a:lnTo>
                      <a:pt x="748" y="698"/>
                    </a:lnTo>
                    <a:lnTo>
                      <a:pt x="746" y="696"/>
                    </a:lnTo>
                    <a:lnTo>
                      <a:pt x="744" y="694"/>
                    </a:lnTo>
                    <a:lnTo>
                      <a:pt x="744" y="694"/>
                    </a:lnTo>
                    <a:lnTo>
                      <a:pt x="744" y="694"/>
                    </a:lnTo>
                    <a:lnTo>
                      <a:pt x="742" y="694"/>
                    </a:lnTo>
                    <a:lnTo>
                      <a:pt x="742" y="694"/>
                    </a:lnTo>
                    <a:lnTo>
                      <a:pt x="742" y="692"/>
                    </a:lnTo>
                    <a:lnTo>
                      <a:pt x="740" y="692"/>
                    </a:lnTo>
                    <a:lnTo>
                      <a:pt x="740" y="692"/>
                    </a:lnTo>
                    <a:lnTo>
                      <a:pt x="738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4" y="694"/>
                    </a:lnTo>
                    <a:lnTo>
                      <a:pt x="734" y="694"/>
                    </a:lnTo>
                    <a:lnTo>
                      <a:pt x="734" y="694"/>
                    </a:lnTo>
                    <a:lnTo>
                      <a:pt x="732" y="694"/>
                    </a:lnTo>
                    <a:lnTo>
                      <a:pt x="730" y="696"/>
                    </a:lnTo>
                    <a:lnTo>
                      <a:pt x="726" y="698"/>
                    </a:lnTo>
                    <a:lnTo>
                      <a:pt x="726" y="698"/>
                    </a:lnTo>
                    <a:lnTo>
                      <a:pt x="724" y="698"/>
                    </a:lnTo>
                    <a:lnTo>
                      <a:pt x="724" y="698"/>
                    </a:lnTo>
                    <a:lnTo>
                      <a:pt x="724" y="698"/>
                    </a:lnTo>
                    <a:lnTo>
                      <a:pt x="722" y="696"/>
                    </a:lnTo>
                    <a:lnTo>
                      <a:pt x="722" y="692"/>
                    </a:lnTo>
                    <a:lnTo>
                      <a:pt x="720" y="690"/>
                    </a:lnTo>
                    <a:lnTo>
                      <a:pt x="718" y="682"/>
                    </a:lnTo>
                    <a:lnTo>
                      <a:pt x="716" y="680"/>
                    </a:lnTo>
                    <a:lnTo>
                      <a:pt x="714" y="676"/>
                    </a:lnTo>
                    <a:lnTo>
                      <a:pt x="714" y="674"/>
                    </a:lnTo>
                    <a:lnTo>
                      <a:pt x="714" y="670"/>
                    </a:lnTo>
                    <a:lnTo>
                      <a:pt x="712" y="664"/>
                    </a:lnTo>
                    <a:lnTo>
                      <a:pt x="712" y="660"/>
                    </a:lnTo>
                    <a:lnTo>
                      <a:pt x="710" y="658"/>
                    </a:lnTo>
                    <a:lnTo>
                      <a:pt x="710" y="658"/>
                    </a:lnTo>
                    <a:lnTo>
                      <a:pt x="710" y="658"/>
                    </a:lnTo>
                    <a:lnTo>
                      <a:pt x="710" y="654"/>
                    </a:lnTo>
                    <a:lnTo>
                      <a:pt x="710" y="654"/>
                    </a:lnTo>
                    <a:lnTo>
                      <a:pt x="710" y="654"/>
                    </a:lnTo>
                    <a:lnTo>
                      <a:pt x="708" y="652"/>
                    </a:lnTo>
                    <a:lnTo>
                      <a:pt x="708" y="652"/>
                    </a:lnTo>
                    <a:lnTo>
                      <a:pt x="706" y="652"/>
                    </a:lnTo>
                    <a:lnTo>
                      <a:pt x="704" y="650"/>
                    </a:lnTo>
                    <a:lnTo>
                      <a:pt x="704" y="650"/>
                    </a:lnTo>
                    <a:lnTo>
                      <a:pt x="704" y="650"/>
                    </a:lnTo>
                    <a:lnTo>
                      <a:pt x="700" y="650"/>
                    </a:lnTo>
                    <a:lnTo>
                      <a:pt x="700" y="650"/>
                    </a:lnTo>
                    <a:lnTo>
                      <a:pt x="700" y="650"/>
                    </a:lnTo>
                    <a:lnTo>
                      <a:pt x="698" y="650"/>
                    </a:lnTo>
                    <a:lnTo>
                      <a:pt x="694" y="652"/>
                    </a:lnTo>
                    <a:lnTo>
                      <a:pt x="692" y="652"/>
                    </a:lnTo>
                    <a:lnTo>
                      <a:pt x="690" y="652"/>
                    </a:lnTo>
                    <a:lnTo>
                      <a:pt x="688" y="650"/>
                    </a:lnTo>
                    <a:lnTo>
                      <a:pt x="688" y="650"/>
                    </a:lnTo>
                    <a:lnTo>
                      <a:pt x="688" y="650"/>
                    </a:lnTo>
                    <a:lnTo>
                      <a:pt x="686" y="646"/>
                    </a:lnTo>
                    <a:lnTo>
                      <a:pt x="686" y="642"/>
                    </a:lnTo>
                    <a:lnTo>
                      <a:pt x="686" y="638"/>
                    </a:lnTo>
                    <a:lnTo>
                      <a:pt x="686" y="632"/>
                    </a:lnTo>
                    <a:lnTo>
                      <a:pt x="686" y="626"/>
                    </a:lnTo>
                    <a:lnTo>
                      <a:pt x="686" y="620"/>
                    </a:lnTo>
                    <a:lnTo>
                      <a:pt x="686" y="614"/>
                    </a:lnTo>
                    <a:lnTo>
                      <a:pt x="688" y="608"/>
                    </a:lnTo>
                    <a:lnTo>
                      <a:pt x="688" y="602"/>
                    </a:lnTo>
                    <a:lnTo>
                      <a:pt x="690" y="596"/>
                    </a:lnTo>
                    <a:lnTo>
                      <a:pt x="694" y="590"/>
                    </a:lnTo>
                    <a:lnTo>
                      <a:pt x="696" y="584"/>
                    </a:lnTo>
                    <a:lnTo>
                      <a:pt x="702" y="572"/>
                    </a:lnTo>
                    <a:lnTo>
                      <a:pt x="704" y="566"/>
                    </a:lnTo>
                    <a:lnTo>
                      <a:pt x="708" y="562"/>
                    </a:lnTo>
                    <a:lnTo>
                      <a:pt x="710" y="558"/>
                    </a:lnTo>
                    <a:lnTo>
                      <a:pt x="714" y="554"/>
                    </a:lnTo>
                    <a:lnTo>
                      <a:pt x="722" y="546"/>
                    </a:lnTo>
                    <a:lnTo>
                      <a:pt x="728" y="538"/>
                    </a:lnTo>
                    <a:lnTo>
                      <a:pt x="732" y="536"/>
                    </a:lnTo>
                    <a:lnTo>
                      <a:pt x="734" y="534"/>
                    </a:lnTo>
                    <a:lnTo>
                      <a:pt x="738" y="532"/>
                    </a:lnTo>
                    <a:lnTo>
                      <a:pt x="740" y="530"/>
                    </a:lnTo>
                    <a:lnTo>
                      <a:pt x="742" y="530"/>
                    </a:lnTo>
                    <a:lnTo>
                      <a:pt x="744" y="530"/>
                    </a:lnTo>
                    <a:lnTo>
                      <a:pt x="744" y="528"/>
                    </a:lnTo>
                    <a:lnTo>
                      <a:pt x="746" y="528"/>
                    </a:lnTo>
                    <a:lnTo>
                      <a:pt x="746" y="528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50" y="524"/>
                    </a:lnTo>
                    <a:lnTo>
                      <a:pt x="750" y="524"/>
                    </a:lnTo>
                    <a:lnTo>
                      <a:pt x="750" y="522"/>
                    </a:lnTo>
                    <a:lnTo>
                      <a:pt x="750" y="520"/>
                    </a:lnTo>
                    <a:lnTo>
                      <a:pt x="750" y="520"/>
                    </a:lnTo>
                    <a:lnTo>
                      <a:pt x="750" y="518"/>
                    </a:lnTo>
                    <a:lnTo>
                      <a:pt x="750" y="516"/>
                    </a:lnTo>
                    <a:lnTo>
                      <a:pt x="750" y="514"/>
                    </a:lnTo>
                    <a:lnTo>
                      <a:pt x="750" y="514"/>
                    </a:lnTo>
                    <a:lnTo>
                      <a:pt x="748" y="514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0"/>
                    </a:lnTo>
                    <a:lnTo>
                      <a:pt x="748" y="510"/>
                    </a:lnTo>
                    <a:lnTo>
                      <a:pt x="748" y="510"/>
                    </a:lnTo>
                    <a:lnTo>
                      <a:pt x="750" y="510"/>
                    </a:lnTo>
                    <a:lnTo>
                      <a:pt x="750" y="508"/>
                    </a:lnTo>
                    <a:lnTo>
                      <a:pt x="750" y="508"/>
                    </a:lnTo>
                    <a:lnTo>
                      <a:pt x="752" y="506"/>
                    </a:lnTo>
                    <a:lnTo>
                      <a:pt x="752" y="504"/>
                    </a:lnTo>
                    <a:lnTo>
                      <a:pt x="754" y="500"/>
                    </a:lnTo>
                    <a:lnTo>
                      <a:pt x="754" y="496"/>
                    </a:lnTo>
                    <a:lnTo>
                      <a:pt x="756" y="494"/>
                    </a:lnTo>
                    <a:lnTo>
                      <a:pt x="756" y="492"/>
                    </a:lnTo>
                    <a:lnTo>
                      <a:pt x="756" y="492"/>
                    </a:lnTo>
                    <a:lnTo>
                      <a:pt x="758" y="492"/>
                    </a:lnTo>
                    <a:lnTo>
                      <a:pt x="760" y="494"/>
                    </a:lnTo>
                    <a:lnTo>
                      <a:pt x="760" y="496"/>
                    </a:lnTo>
                    <a:lnTo>
                      <a:pt x="760" y="496"/>
                    </a:lnTo>
                    <a:lnTo>
                      <a:pt x="762" y="496"/>
                    </a:lnTo>
                    <a:lnTo>
                      <a:pt x="764" y="496"/>
                    </a:lnTo>
                    <a:lnTo>
                      <a:pt x="764" y="496"/>
                    </a:lnTo>
                    <a:lnTo>
                      <a:pt x="764" y="496"/>
                    </a:lnTo>
                    <a:lnTo>
                      <a:pt x="766" y="496"/>
                    </a:lnTo>
                    <a:lnTo>
                      <a:pt x="766" y="496"/>
                    </a:lnTo>
                    <a:lnTo>
                      <a:pt x="768" y="496"/>
                    </a:lnTo>
                    <a:lnTo>
                      <a:pt x="768" y="496"/>
                    </a:lnTo>
                    <a:lnTo>
                      <a:pt x="768" y="496"/>
                    </a:lnTo>
                    <a:lnTo>
                      <a:pt x="770" y="496"/>
                    </a:lnTo>
                    <a:lnTo>
                      <a:pt x="770" y="496"/>
                    </a:lnTo>
                    <a:lnTo>
                      <a:pt x="774" y="492"/>
                    </a:lnTo>
                    <a:lnTo>
                      <a:pt x="778" y="490"/>
                    </a:lnTo>
                    <a:lnTo>
                      <a:pt x="782" y="484"/>
                    </a:lnTo>
                    <a:lnTo>
                      <a:pt x="786" y="480"/>
                    </a:lnTo>
                    <a:lnTo>
                      <a:pt x="790" y="476"/>
                    </a:lnTo>
                    <a:lnTo>
                      <a:pt x="794" y="470"/>
                    </a:lnTo>
                    <a:lnTo>
                      <a:pt x="794" y="468"/>
                    </a:lnTo>
                    <a:lnTo>
                      <a:pt x="796" y="466"/>
                    </a:lnTo>
                    <a:lnTo>
                      <a:pt x="796" y="466"/>
                    </a:lnTo>
                    <a:lnTo>
                      <a:pt x="796" y="466"/>
                    </a:lnTo>
                    <a:lnTo>
                      <a:pt x="796" y="464"/>
                    </a:lnTo>
                    <a:lnTo>
                      <a:pt x="796" y="464"/>
                    </a:lnTo>
                    <a:lnTo>
                      <a:pt x="796" y="464"/>
                    </a:lnTo>
                    <a:lnTo>
                      <a:pt x="798" y="462"/>
                    </a:lnTo>
                    <a:lnTo>
                      <a:pt x="798" y="462"/>
                    </a:lnTo>
                    <a:lnTo>
                      <a:pt x="798" y="460"/>
                    </a:lnTo>
                    <a:lnTo>
                      <a:pt x="796" y="460"/>
                    </a:lnTo>
                    <a:lnTo>
                      <a:pt x="796" y="460"/>
                    </a:lnTo>
                    <a:lnTo>
                      <a:pt x="796" y="458"/>
                    </a:lnTo>
                    <a:lnTo>
                      <a:pt x="796" y="458"/>
                    </a:lnTo>
                    <a:lnTo>
                      <a:pt x="796" y="458"/>
                    </a:lnTo>
                    <a:lnTo>
                      <a:pt x="796" y="456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2" y="454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6" y="452"/>
                    </a:lnTo>
                    <a:lnTo>
                      <a:pt x="796" y="452"/>
                    </a:lnTo>
                    <a:lnTo>
                      <a:pt x="796" y="450"/>
                    </a:lnTo>
                    <a:lnTo>
                      <a:pt x="798" y="448"/>
                    </a:lnTo>
                    <a:lnTo>
                      <a:pt x="798" y="446"/>
                    </a:lnTo>
                    <a:lnTo>
                      <a:pt x="800" y="442"/>
                    </a:lnTo>
                    <a:lnTo>
                      <a:pt x="802" y="440"/>
                    </a:lnTo>
                    <a:lnTo>
                      <a:pt x="802" y="442"/>
                    </a:lnTo>
                    <a:lnTo>
                      <a:pt x="802" y="442"/>
                    </a:lnTo>
                    <a:lnTo>
                      <a:pt x="802" y="444"/>
                    </a:lnTo>
                    <a:lnTo>
                      <a:pt x="802" y="444"/>
                    </a:lnTo>
                    <a:lnTo>
                      <a:pt x="802" y="446"/>
                    </a:lnTo>
                    <a:lnTo>
                      <a:pt x="802" y="452"/>
                    </a:lnTo>
                    <a:lnTo>
                      <a:pt x="804" y="460"/>
                    </a:lnTo>
                    <a:lnTo>
                      <a:pt x="804" y="468"/>
                    </a:lnTo>
                    <a:lnTo>
                      <a:pt x="804" y="474"/>
                    </a:lnTo>
                    <a:lnTo>
                      <a:pt x="804" y="482"/>
                    </a:lnTo>
                    <a:lnTo>
                      <a:pt x="804" y="484"/>
                    </a:lnTo>
                    <a:lnTo>
                      <a:pt x="802" y="488"/>
                    </a:lnTo>
                    <a:lnTo>
                      <a:pt x="800" y="490"/>
                    </a:lnTo>
                    <a:lnTo>
                      <a:pt x="798" y="494"/>
                    </a:lnTo>
                    <a:lnTo>
                      <a:pt x="796" y="496"/>
                    </a:lnTo>
                    <a:lnTo>
                      <a:pt x="794" y="498"/>
                    </a:lnTo>
                    <a:lnTo>
                      <a:pt x="794" y="498"/>
                    </a:lnTo>
                    <a:lnTo>
                      <a:pt x="794" y="498"/>
                    </a:lnTo>
                    <a:lnTo>
                      <a:pt x="792" y="502"/>
                    </a:lnTo>
                    <a:lnTo>
                      <a:pt x="792" y="502"/>
                    </a:lnTo>
                    <a:lnTo>
                      <a:pt x="790" y="504"/>
                    </a:lnTo>
                    <a:lnTo>
                      <a:pt x="790" y="506"/>
                    </a:lnTo>
                    <a:lnTo>
                      <a:pt x="790" y="506"/>
                    </a:lnTo>
                    <a:lnTo>
                      <a:pt x="790" y="506"/>
                    </a:lnTo>
                    <a:lnTo>
                      <a:pt x="788" y="508"/>
                    </a:lnTo>
                    <a:lnTo>
                      <a:pt x="788" y="508"/>
                    </a:lnTo>
                    <a:lnTo>
                      <a:pt x="790" y="510"/>
                    </a:lnTo>
                    <a:lnTo>
                      <a:pt x="790" y="510"/>
                    </a:lnTo>
                    <a:lnTo>
                      <a:pt x="790" y="510"/>
                    </a:lnTo>
                    <a:lnTo>
                      <a:pt x="790" y="512"/>
                    </a:lnTo>
                    <a:lnTo>
                      <a:pt x="792" y="512"/>
                    </a:lnTo>
                    <a:lnTo>
                      <a:pt x="792" y="512"/>
                    </a:lnTo>
                    <a:lnTo>
                      <a:pt x="792" y="512"/>
                    </a:lnTo>
                    <a:lnTo>
                      <a:pt x="794" y="514"/>
                    </a:lnTo>
                    <a:lnTo>
                      <a:pt x="794" y="514"/>
                    </a:lnTo>
                    <a:lnTo>
                      <a:pt x="796" y="514"/>
                    </a:lnTo>
                    <a:lnTo>
                      <a:pt x="800" y="514"/>
                    </a:lnTo>
                    <a:lnTo>
                      <a:pt x="802" y="512"/>
                    </a:lnTo>
                    <a:lnTo>
                      <a:pt x="806" y="512"/>
                    </a:lnTo>
                    <a:lnTo>
                      <a:pt x="808" y="512"/>
                    </a:lnTo>
                    <a:lnTo>
                      <a:pt x="810" y="512"/>
                    </a:lnTo>
                    <a:lnTo>
                      <a:pt x="810" y="512"/>
                    </a:lnTo>
                    <a:lnTo>
                      <a:pt x="812" y="512"/>
                    </a:lnTo>
                    <a:lnTo>
                      <a:pt x="812" y="514"/>
                    </a:lnTo>
                    <a:lnTo>
                      <a:pt x="812" y="516"/>
                    </a:lnTo>
                    <a:lnTo>
                      <a:pt x="814" y="518"/>
                    </a:lnTo>
                    <a:lnTo>
                      <a:pt x="814" y="520"/>
                    </a:lnTo>
                    <a:lnTo>
                      <a:pt x="814" y="524"/>
                    </a:lnTo>
                    <a:lnTo>
                      <a:pt x="814" y="524"/>
                    </a:lnTo>
                    <a:lnTo>
                      <a:pt x="816" y="526"/>
                    </a:lnTo>
                    <a:lnTo>
                      <a:pt x="818" y="526"/>
                    </a:lnTo>
                    <a:lnTo>
                      <a:pt x="820" y="526"/>
                    </a:lnTo>
                    <a:lnTo>
                      <a:pt x="824" y="526"/>
                    </a:lnTo>
                    <a:lnTo>
                      <a:pt x="828" y="524"/>
                    </a:lnTo>
                    <a:lnTo>
                      <a:pt x="834" y="522"/>
                    </a:lnTo>
                    <a:lnTo>
                      <a:pt x="836" y="522"/>
                    </a:lnTo>
                    <a:lnTo>
                      <a:pt x="840" y="520"/>
                    </a:lnTo>
                    <a:lnTo>
                      <a:pt x="840" y="520"/>
                    </a:lnTo>
                    <a:lnTo>
                      <a:pt x="840" y="520"/>
                    </a:lnTo>
                    <a:lnTo>
                      <a:pt x="844" y="514"/>
                    </a:lnTo>
                    <a:lnTo>
                      <a:pt x="850" y="506"/>
                    </a:lnTo>
                    <a:lnTo>
                      <a:pt x="850" y="506"/>
                    </a:lnTo>
                    <a:lnTo>
                      <a:pt x="850" y="504"/>
                    </a:lnTo>
                    <a:lnTo>
                      <a:pt x="850" y="502"/>
                    </a:lnTo>
                    <a:lnTo>
                      <a:pt x="850" y="500"/>
                    </a:lnTo>
                    <a:lnTo>
                      <a:pt x="850" y="500"/>
                    </a:lnTo>
                    <a:lnTo>
                      <a:pt x="850" y="500"/>
                    </a:lnTo>
                    <a:lnTo>
                      <a:pt x="852" y="502"/>
                    </a:lnTo>
                    <a:lnTo>
                      <a:pt x="854" y="504"/>
                    </a:lnTo>
                    <a:lnTo>
                      <a:pt x="856" y="504"/>
                    </a:lnTo>
                    <a:lnTo>
                      <a:pt x="860" y="508"/>
                    </a:lnTo>
                    <a:lnTo>
                      <a:pt x="862" y="510"/>
                    </a:lnTo>
                    <a:lnTo>
                      <a:pt x="866" y="512"/>
                    </a:lnTo>
                    <a:lnTo>
                      <a:pt x="868" y="514"/>
                    </a:lnTo>
                    <a:lnTo>
                      <a:pt x="868" y="514"/>
                    </a:lnTo>
                    <a:lnTo>
                      <a:pt x="870" y="514"/>
                    </a:lnTo>
                    <a:lnTo>
                      <a:pt x="872" y="514"/>
                    </a:lnTo>
                    <a:lnTo>
                      <a:pt x="872" y="514"/>
                    </a:lnTo>
                    <a:lnTo>
                      <a:pt x="874" y="514"/>
                    </a:lnTo>
                    <a:lnTo>
                      <a:pt x="878" y="514"/>
                    </a:lnTo>
                    <a:lnTo>
                      <a:pt x="882" y="514"/>
                    </a:lnTo>
                    <a:lnTo>
                      <a:pt x="886" y="514"/>
                    </a:lnTo>
                    <a:lnTo>
                      <a:pt x="886" y="514"/>
                    </a:lnTo>
                    <a:lnTo>
                      <a:pt x="886" y="514"/>
                    </a:lnTo>
                    <a:lnTo>
                      <a:pt x="890" y="514"/>
                    </a:lnTo>
                    <a:lnTo>
                      <a:pt x="890" y="514"/>
                    </a:lnTo>
                    <a:lnTo>
                      <a:pt x="890" y="514"/>
                    </a:lnTo>
                    <a:lnTo>
                      <a:pt x="892" y="512"/>
                    </a:lnTo>
                    <a:lnTo>
                      <a:pt x="892" y="512"/>
                    </a:lnTo>
                    <a:lnTo>
                      <a:pt x="894" y="512"/>
                    </a:lnTo>
                    <a:lnTo>
                      <a:pt x="894" y="510"/>
                    </a:lnTo>
                    <a:lnTo>
                      <a:pt x="894" y="510"/>
                    </a:lnTo>
                    <a:lnTo>
                      <a:pt x="896" y="510"/>
                    </a:lnTo>
                    <a:lnTo>
                      <a:pt x="896" y="508"/>
                    </a:lnTo>
                    <a:lnTo>
                      <a:pt x="896" y="508"/>
                    </a:lnTo>
                    <a:lnTo>
                      <a:pt x="896" y="506"/>
                    </a:lnTo>
                    <a:lnTo>
                      <a:pt x="894" y="506"/>
                    </a:lnTo>
                    <a:lnTo>
                      <a:pt x="894" y="506"/>
                    </a:lnTo>
                    <a:lnTo>
                      <a:pt x="894" y="504"/>
                    </a:lnTo>
                    <a:lnTo>
                      <a:pt x="894" y="504"/>
                    </a:lnTo>
                    <a:lnTo>
                      <a:pt x="894" y="504"/>
                    </a:lnTo>
                    <a:lnTo>
                      <a:pt x="892" y="502"/>
                    </a:lnTo>
                    <a:lnTo>
                      <a:pt x="892" y="502"/>
                    </a:lnTo>
                    <a:lnTo>
                      <a:pt x="890" y="500"/>
                    </a:lnTo>
                    <a:lnTo>
                      <a:pt x="886" y="498"/>
                    </a:lnTo>
                    <a:lnTo>
                      <a:pt x="882" y="494"/>
                    </a:lnTo>
                    <a:lnTo>
                      <a:pt x="878" y="492"/>
                    </a:lnTo>
                    <a:lnTo>
                      <a:pt x="876" y="490"/>
                    </a:lnTo>
                    <a:lnTo>
                      <a:pt x="874" y="490"/>
                    </a:lnTo>
                    <a:lnTo>
                      <a:pt x="872" y="490"/>
                    </a:lnTo>
                    <a:lnTo>
                      <a:pt x="872" y="488"/>
                    </a:lnTo>
                    <a:lnTo>
                      <a:pt x="870" y="486"/>
                    </a:lnTo>
                    <a:lnTo>
                      <a:pt x="870" y="486"/>
                    </a:lnTo>
                    <a:lnTo>
                      <a:pt x="870" y="484"/>
                    </a:lnTo>
                    <a:lnTo>
                      <a:pt x="870" y="482"/>
                    </a:lnTo>
                    <a:lnTo>
                      <a:pt x="868" y="478"/>
                    </a:lnTo>
                    <a:lnTo>
                      <a:pt x="868" y="476"/>
                    </a:lnTo>
                    <a:lnTo>
                      <a:pt x="868" y="472"/>
                    </a:lnTo>
                    <a:lnTo>
                      <a:pt x="868" y="472"/>
                    </a:lnTo>
                    <a:lnTo>
                      <a:pt x="866" y="472"/>
                    </a:lnTo>
                    <a:lnTo>
                      <a:pt x="864" y="470"/>
                    </a:lnTo>
                    <a:lnTo>
                      <a:pt x="864" y="470"/>
                    </a:lnTo>
                    <a:lnTo>
                      <a:pt x="864" y="470"/>
                    </a:lnTo>
                    <a:lnTo>
                      <a:pt x="862" y="468"/>
                    </a:lnTo>
                    <a:lnTo>
                      <a:pt x="860" y="468"/>
                    </a:lnTo>
                    <a:lnTo>
                      <a:pt x="858" y="466"/>
                    </a:lnTo>
                    <a:lnTo>
                      <a:pt x="856" y="464"/>
                    </a:lnTo>
                    <a:lnTo>
                      <a:pt x="854" y="460"/>
                    </a:lnTo>
                    <a:lnTo>
                      <a:pt x="852" y="456"/>
                    </a:lnTo>
                    <a:lnTo>
                      <a:pt x="852" y="456"/>
                    </a:lnTo>
                    <a:lnTo>
                      <a:pt x="852" y="456"/>
                    </a:lnTo>
                    <a:lnTo>
                      <a:pt x="848" y="454"/>
                    </a:lnTo>
                    <a:lnTo>
                      <a:pt x="848" y="454"/>
                    </a:lnTo>
                    <a:lnTo>
                      <a:pt x="848" y="454"/>
                    </a:lnTo>
                    <a:lnTo>
                      <a:pt x="844" y="450"/>
                    </a:lnTo>
                    <a:lnTo>
                      <a:pt x="840" y="448"/>
                    </a:lnTo>
                    <a:lnTo>
                      <a:pt x="840" y="448"/>
                    </a:lnTo>
                    <a:lnTo>
                      <a:pt x="840" y="448"/>
                    </a:lnTo>
                    <a:lnTo>
                      <a:pt x="842" y="448"/>
                    </a:lnTo>
                    <a:lnTo>
                      <a:pt x="844" y="446"/>
                    </a:lnTo>
                    <a:lnTo>
                      <a:pt x="844" y="446"/>
                    </a:lnTo>
                    <a:lnTo>
                      <a:pt x="846" y="446"/>
                    </a:lnTo>
                    <a:lnTo>
                      <a:pt x="848" y="446"/>
                    </a:lnTo>
                    <a:lnTo>
                      <a:pt x="848" y="446"/>
                    </a:lnTo>
                    <a:lnTo>
                      <a:pt x="848" y="444"/>
                    </a:lnTo>
                    <a:lnTo>
                      <a:pt x="850" y="442"/>
                    </a:lnTo>
                    <a:lnTo>
                      <a:pt x="850" y="442"/>
                    </a:lnTo>
                    <a:lnTo>
                      <a:pt x="850" y="442"/>
                    </a:lnTo>
                    <a:lnTo>
                      <a:pt x="852" y="440"/>
                    </a:lnTo>
                    <a:lnTo>
                      <a:pt x="852" y="440"/>
                    </a:lnTo>
                    <a:lnTo>
                      <a:pt x="852" y="438"/>
                    </a:lnTo>
                    <a:lnTo>
                      <a:pt x="854" y="430"/>
                    </a:lnTo>
                    <a:lnTo>
                      <a:pt x="854" y="422"/>
                    </a:lnTo>
                    <a:lnTo>
                      <a:pt x="854" y="414"/>
                    </a:lnTo>
                    <a:lnTo>
                      <a:pt x="854" y="414"/>
                    </a:lnTo>
                    <a:lnTo>
                      <a:pt x="854" y="414"/>
                    </a:lnTo>
                    <a:lnTo>
                      <a:pt x="852" y="410"/>
                    </a:lnTo>
                    <a:lnTo>
                      <a:pt x="852" y="410"/>
                    </a:lnTo>
                    <a:lnTo>
                      <a:pt x="852" y="410"/>
                    </a:lnTo>
                    <a:lnTo>
                      <a:pt x="854" y="408"/>
                    </a:lnTo>
                    <a:lnTo>
                      <a:pt x="854" y="408"/>
                    </a:lnTo>
                    <a:lnTo>
                      <a:pt x="856" y="408"/>
                    </a:lnTo>
                    <a:lnTo>
                      <a:pt x="858" y="406"/>
                    </a:lnTo>
                    <a:lnTo>
                      <a:pt x="862" y="404"/>
                    </a:lnTo>
                    <a:lnTo>
                      <a:pt x="866" y="400"/>
                    </a:lnTo>
                    <a:lnTo>
                      <a:pt x="870" y="396"/>
                    </a:lnTo>
                    <a:lnTo>
                      <a:pt x="874" y="392"/>
                    </a:lnTo>
                    <a:lnTo>
                      <a:pt x="878" y="388"/>
                    </a:lnTo>
                    <a:lnTo>
                      <a:pt x="882" y="384"/>
                    </a:lnTo>
                    <a:lnTo>
                      <a:pt x="882" y="384"/>
                    </a:lnTo>
                    <a:lnTo>
                      <a:pt x="882" y="384"/>
                    </a:lnTo>
                    <a:lnTo>
                      <a:pt x="882" y="382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78"/>
                    </a:lnTo>
                    <a:lnTo>
                      <a:pt x="884" y="378"/>
                    </a:lnTo>
                    <a:lnTo>
                      <a:pt x="884" y="378"/>
                    </a:lnTo>
                    <a:lnTo>
                      <a:pt x="884" y="376"/>
                    </a:lnTo>
                    <a:lnTo>
                      <a:pt x="882" y="374"/>
                    </a:lnTo>
                    <a:lnTo>
                      <a:pt x="882" y="374"/>
                    </a:lnTo>
                    <a:lnTo>
                      <a:pt x="882" y="372"/>
                    </a:lnTo>
                    <a:lnTo>
                      <a:pt x="880" y="370"/>
                    </a:lnTo>
                    <a:lnTo>
                      <a:pt x="878" y="366"/>
                    </a:lnTo>
                    <a:lnTo>
                      <a:pt x="874" y="364"/>
                    </a:lnTo>
                    <a:lnTo>
                      <a:pt x="872" y="360"/>
                    </a:lnTo>
                    <a:lnTo>
                      <a:pt x="872" y="358"/>
                    </a:lnTo>
                    <a:lnTo>
                      <a:pt x="872" y="356"/>
                    </a:lnTo>
                    <a:lnTo>
                      <a:pt x="872" y="354"/>
                    </a:lnTo>
                    <a:lnTo>
                      <a:pt x="872" y="350"/>
                    </a:lnTo>
                    <a:lnTo>
                      <a:pt x="874" y="348"/>
                    </a:lnTo>
                    <a:lnTo>
                      <a:pt x="876" y="344"/>
                    </a:lnTo>
                    <a:lnTo>
                      <a:pt x="878" y="338"/>
                    </a:lnTo>
                    <a:lnTo>
                      <a:pt x="880" y="334"/>
                    </a:lnTo>
                    <a:lnTo>
                      <a:pt x="880" y="332"/>
                    </a:lnTo>
                    <a:lnTo>
                      <a:pt x="880" y="328"/>
                    </a:lnTo>
                    <a:lnTo>
                      <a:pt x="880" y="324"/>
                    </a:lnTo>
                    <a:lnTo>
                      <a:pt x="880" y="316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78" y="302"/>
                    </a:lnTo>
                    <a:lnTo>
                      <a:pt x="876" y="298"/>
                    </a:lnTo>
                    <a:lnTo>
                      <a:pt x="876" y="298"/>
                    </a:lnTo>
                    <a:lnTo>
                      <a:pt x="876" y="298"/>
                    </a:lnTo>
                    <a:lnTo>
                      <a:pt x="872" y="294"/>
                    </a:lnTo>
                    <a:lnTo>
                      <a:pt x="872" y="294"/>
                    </a:lnTo>
                    <a:lnTo>
                      <a:pt x="872" y="294"/>
                    </a:lnTo>
                    <a:lnTo>
                      <a:pt x="870" y="292"/>
                    </a:lnTo>
                    <a:lnTo>
                      <a:pt x="868" y="290"/>
                    </a:lnTo>
                    <a:lnTo>
                      <a:pt x="864" y="288"/>
                    </a:lnTo>
                    <a:lnTo>
                      <a:pt x="862" y="286"/>
                    </a:lnTo>
                    <a:lnTo>
                      <a:pt x="858" y="284"/>
                    </a:lnTo>
                    <a:lnTo>
                      <a:pt x="854" y="282"/>
                    </a:lnTo>
                    <a:lnTo>
                      <a:pt x="848" y="280"/>
                    </a:lnTo>
                    <a:lnTo>
                      <a:pt x="842" y="278"/>
                    </a:lnTo>
                    <a:lnTo>
                      <a:pt x="848" y="278"/>
                    </a:lnTo>
                    <a:lnTo>
                      <a:pt x="856" y="278"/>
                    </a:lnTo>
                    <a:lnTo>
                      <a:pt x="856" y="278"/>
                    </a:lnTo>
                    <a:lnTo>
                      <a:pt x="860" y="276"/>
                    </a:lnTo>
                    <a:lnTo>
                      <a:pt x="860" y="276"/>
                    </a:lnTo>
                    <a:lnTo>
                      <a:pt x="858" y="272"/>
                    </a:lnTo>
                    <a:lnTo>
                      <a:pt x="854" y="270"/>
                    </a:lnTo>
                    <a:lnTo>
                      <a:pt x="852" y="270"/>
                    </a:lnTo>
                    <a:lnTo>
                      <a:pt x="852" y="268"/>
                    </a:lnTo>
                    <a:lnTo>
                      <a:pt x="850" y="266"/>
                    </a:lnTo>
                    <a:lnTo>
                      <a:pt x="850" y="266"/>
                    </a:lnTo>
                    <a:lnTo>
                      <a:pt x="852" y="266"/>
                    </a:lnTo>
                    <a:lnTo>
                      <a:pt x="852" y="264"/>
                    </a:lnTo>
                    <a:lnTo>
                      <a:pt x="854" y="264"/>
                    </a:lnTo>
                    <a:lnTo>
                      <a:pt x="858" y="264"/>
                    </a:lnTo>
                    <a:lnTo>
                      <a:pt x="864" y="266"/>
                    </a:lnTo>
                    <a:lnTo>
                      <a:pt x="874" y="268"/>
                    </a:lnTo>
                    <a:lnTo>
                      <a:pt x="876" y="268"/>
                    </a:lnTo>
                    <a:lnTo>
                      <a:pt x="876" y="268"/>
                    </a:lnTo>
                    <a:lnTo>
                      <a:pt x="87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84" y="270"/>
                    </a:lnTo>
                    <a:lnTo>
                      <a:pt x="886" y="270"/>
                    </a:lnTo>
                    <a:lnTo>
                      <a:pt x="894" y="270"/>
                    </a:lnTo>
                    <a:lnTo>
                      <a:pt x="896" y="270"/>
                    </a:lnTo>
                    <a:lnTo>
                      <a:pt x="898" y="270"/>
                    </a:lnTo>
                    <a:lnTo>
                      <a:pt x="898" y="270"/>
                    </a:lnTo>
                    <a:lnTo>
                      <a:pt x="900" y="274"/>
                    </a:lnTo>
                    <a:lnTo>
                      <a:pt x="902" y="278"/>
                    </a:lnTo>
                    <a:lnTo>
                      <a:pt x="902" y="278"/>
                    </a:lnTo>
                    <a:lnTo>
                      <a:pt x="902" y="280"/>
                    </a:lnTo>
                    <a:lnTo>
                      <a:pt x="902" y="282"/>
                    </a:lnTo>
                    <a:lnTo>
                      <a:pt x="902" y="282"/>
                    </a:lnTo>
                    <a:lnTo>
                      <a:pt x="904" y="282"/>
                    </a:lnTo>
                    <a:lnTo>
                      <a:pt x="906" y="284"/>
                    </a:lnTo>
                    <a:lnTo>
                      <a:pt x="906" y="284"/>
                    </a:lnTo>
                    <a:lnTo>
                      <a:pt x="906" y="284"/>
                    </a:lnTo>
                    <a:lnTo>
                      <a:pt x="908" y="286"/>
                    </a:lnTo>
                    <a:lnTo>
                      <a:pt x="908" y="286"/>
                    </a:lnTo>
                    <a:lnTo>
                      <a:pt x="908" y="286"/>
                    </a:lnTo>
                    <a:lnTo>
                      <a:pt x="912" y="286"/>
                    </a:lnTo>
                    <a:lnTo>
                      <a:pt x="912" y="286"/>
                    </a:lnTo>
                    <a:lnTo>
                      <a:pt x="914" y="286"/>
                    </a:lnTo>
                    <a:lnTo>
                      <a:pt x="914" y="286"/>
                    </a:lnTo>
                    <a:lnTo>
                      <a:pt x="916" y="286"/>
                    </a:lnTo>
                    <a:lnTo>
                      <a:pt x="918" y="286"/>
                    </a:lnTo>
                    <a:lnTo>
                      <a:pt x="918" y="286"/>
                    </a:lnTo>
                    <a:lnTo>
                      <a:pt x="920" y="286"/>
                    </a:lnTo>
                    <a:lnTo>
                      <a:pt x="922" y="284"/>
                    </a:lnTo>
                    <a:lnTo>
                      <a:pt x="922" y="284"/>
                    </a:lnTo>
                    <a:lnTo>
                      <a:pt x="922" y="284"/>
                    </a:lnTo>
                    <a:lnTo>
                      <a:pt x="922" y="282"/>
                    </a:lnTo>
                    <a:lnTo>
                      <a:pt x="922" y="282"/>
                    </a:lnTo>
                    <a:lnTo>
                      <a:pt x="924" y="282"/>
                    </a:lnTo>
                    <a:lnTo>
                      <a:pt x="924" y="280"/>
                    </a:lnTo>
                    <a:lnTo>
                      <a:pt x="924" y="280"/>
                    </a:lnTo>
                    <a:lnTo>
                      <a:pt x="924" y="278"/>
                    </a:lnTo>
                    <a:lnTo>
                      <a:pt x="924" y="278"/>
                    </a:lnTo>
                    <a:lnTo>
                      <a:pt x="924" y="278"/>
                    </a:lnTo>
                    <a:lnTo>
                      <a:pt x="922" y="276"/>
                    </a:lnTo>
                    <a:lnTo>
                      <a:pt x="922" y="276"/>
                    </a:lnTo>
                    <a:lnTo>
                      <a:pt x="922" y="276"/>
                    </a:lnTo>
                    <a:lnTo>
                      <a:pt x="922" y="274"/>
                    </a:lnTo>
                    <a:lnTo>
                      <a:pt x="920" y="274"/>
                    </a:lnTo>
                    <a:lnTo>
                      <a:pt x="920" y="274"/>
                    </a:lnTo>
                    <a:lnTo>
                      <a:pt x="918" y="272"/>
                    </a:lnTo>
                    <a:lnTo>
                      <a:pt x="916" y="272"/>
                    </a:lnTo>
                    <a:lnTo>
                      <a:pt x="912" y="270"/>
                    </a:lnTo>
                    <a:lnTo>
                      <a:pt x="908" y="270"/>
                    </a:lnTo>
                    <a:lnTo>
                      <a:pt x="908" y="270"/>
                    </a:lnTo>
                    <a:lnTo>
                      <a:pt x="906" y="266"/>
                    </a:lnTo>
                    <a:lnTo>
                      <a:pt x="906" y="262"/>
                    </a:lnTo>
                    <a:lnTo>
                      <a:pt x="906" y="258"/>
                    </a:lnTo>
                    <a:lnTo>
                      <a:pt x="906" y="256"/>
                    </a:lnTo>
                    <a:lnTo>
                      <a:pt x="906" y="254"/>
                    </a:lnTo>
                    <a:lnTo>
                      <a:pt x="908" y="252"/>
                    </a:lnTo>
                    <a:lnTo>
                      <a:pt x="910" y="250"/>
                    </a:lnTo>
                    <a:lnTo>
                      <a:pt x="912" y="250"/>
                    </a:lnTo>
                    <a:lnTo>
                      <a:pt x="914" y="250"/>
                    </a:lnTo>
                    <a:lnTo>
                      <a:pt x="916" y="252"/>
                    </a:lnTo>
                    <a:lnTo>
                      <a:pt x="916" y="252"/>
                    </a:lnTo>
                    <a:lnTo>
                      <a:pt x="918" y="254"/>
                    </a:lnTo>
                    <a:lnTo>
                      <a:pt x="918" y="256"/>
                    </a:lnTo>
                    <a:lnTo>
                      <a:pt x="920" y="260"/>
                    </a:lnTo>
                    <a:lnTo>
                      <a:pt x="922" y="262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8" y="268"/>
                    </a:lnTo>
                    <a:lnTo>
                      <a:pt x="930" y="272"/>
                    </a:lnTo>
                    <a:lnTo>
                      <a:pt x="932" y="274"/>
                    </a:lnTo>
                    <a:lnTo>
                      <a:pt x="934" y="276"/>
                    </a:lnTo>
                    <a:lnTo>
                      <a:pt x="934" y="276"/>
                    </a:lnTo>
                    <a:lnTo>
                      <a:pt x="934" y="276"/>
                    </a:lnTo>
                    <a:lnTo>
                      <a:pt x="936" y="278"/>
                    </a:lnTo>
                    <a:lnTo>
                      <a:pt x="936" y="278"/>
                    </a:lnTo>
                    <a:lnTo>
                      <a:pt x="936" y="278"/>
                    </a:lnTo>
                    <a:lnTo>
                      <a:pt x="938" y="278"/>
                    </a:lnTo>
                    <a:lnTo>
                      <a:pt x="938" y="278"/>
                    </a:lnTo>
                    <a:lnTo>
                      <a:pt x="938" y="278"/>
                    </a:lnTo>
                    <a:lnTo>
                      <a:pt x="942" y="278"/>
                    </a:lnTo>
                    <a:lnTo>
                      <a:pt x="944" y="278"/>
                    </a:lnTo>
                    <a:lnTo>
                      <a:pt x="946" y="278"/>
                    </a:lnTo>
                    <a:lnTo>
                      <a:pt x="948" y="278"/>
                    </a:lnTo>
                    <a:lnTo>
                      <a:pt x="948" y="278"/>
                    </a:lnTo>
                    <a:lnTo>
                      <a:pt x="950" y="286"/>
                    </a:lnTo>
                    <a:lnTo>
                      <a:pt x="954" y="296"/>
                    </a:lnTo>
                    <a:lnTo>
                      <a:pt x="956" y="302"/>
                    </a:lnTo>
                    <a:lnTo>
                      <a:pt x="958" y="306"/>
                    </a:lnTo>
                    <a:lnTo>
                      <a:pt x="960" y="312"/>
                    </a:lnTo>
                    <a:lnTo>
                      <a:pt x="964" y="316"/>
                    </a:lnTo>
                    <a:lnTo>
                      <a:pt x="964" y="318"/>
                    </a:lnTo>
                    <a:lnTo>
                      <a:pt x="964" y="318"/>
                    </a:lnTo>
                    <a:lnTo>
                      <a:pt x="964" y="318"/>
                    </a:lnTo>
                    <a:lnTo>
                      <a:pt x="966" y="320"/>
                    </a:lnTo>
                    <a:lnTo>
                      <a:pt x="966" y="320"/>
                    </a:lnTo>
                    <a:lnTo>
                      <a:pt x="966" y="320"/>
                    </a:lnTo>
                    <a:lnTo>
                      <a:pt x="966" y="322"/>
                    </a:lnTo>
                    <a:lnTo>
                      <a:pt x="966" y="322"/>
                    </a:lnTo>
                    <a:lnTo>
                      <a:pt x="966" y="322"/>
                    </a:lnTo>
                    <a:lnTo>
                      <a:pt x="968" y="324"/>
                    </a:lnTo>
                    <a:lnTo>
                      <a:pt x="968" y="324"/>
                    </a:lnTo>
                    <a:lnTo>
                      <a:pt x="968" y="324"/>
                    </a:lnTo>
                    <a:lnTo>
                      <a:pt x="972" y="324"/>
                    </a:lnTo>
                    <a:lnTo>
                      <a:pt x="972" y="324"/>
                    </a:lnTo>
                    <a:lnTo>
                      <a:pt x="972" y="324"/>
                    </a:lnTo>
                    <a:lnTo>
                      <a:pt x="974" y="326"/>
                    </a:lnTo>
                    <a:lnTo>
                      <a:pt x="978" y="326"/>
                    </a:lnTo>
                    <a:lnTo>
                      <a:pt x="980" y="326"/>
                    </a:lnTo>
                    <a:lnTo>
                      <a:pt x="982" y="326"/>
                    </a:lnTo>
                    <a:lnTo>
                      <a:pt x="986" y="328"/>
                    </a:lnTo>
                    <a:lnTo>
                      <a:pt x="988" y="328"/>
                    </a:lnTo>
                    <a:lnTo>
                      <a:pt x="990" y="328"/>
                    </a:lnTo>
                    <a:lnTo>
                      <a:pt x="990" y="328"/>
                    </a:lnTo>
                    <a:lnTo>
                      <a:pt x="992" y="332"/>
                    </a:lnTo>
                    <a:lnTo>
                      <a:pt x="994" y="338"/>
                    </a:lnTo>
                    <a:lnTo>
                      <a:pt x="996" y="344"/>
                    </a:lnTo>
                    <a:lnTo>
                      <a:pt x="998" y="348"/>
                    </a:lnTo>
                    <a:lnTo>
                      <a:pt x="1000" y="352"/>
                    </a:lnTo>
                    <a:lnTo>
                      <a:pt x="1000" y="352"/>
                    </a:lnTo>
                    <a:lnTo>
                      <a:pt x="1000" y="352"/>
                    </a:lnTo>
                    <a:lnTo>
                      <a:pt x="1000" y="354"/>
                    </a:lnTo>
                    <a:lnTo>
                      <a:pt x="1000" y="354"/>
                    </a:lnTo>
                    <a:lnTo>
                      <a:pt x="1000" y="354"/>
                    </a:lnTo>
                    <a:lnTo>
                      <a:pt x="1002" y="356"/>
                    </a:lnTo>
                    <a:lnTo>
                      <a:pt x="1004" y="358"/>
                    </a:lnTo>
                    <a:lnTo>
                      <a:pt x="1006" y="360"/>
                    </a:lnTo>
                    <a:lnTo>
                      <a:pt x="1008" y="362"/>
                    </a:lnTo>
                    <a:lnTo>
                      <a:pt x="1010" y="362"/>
                    </a:lnTo>
                    <a:lnTo>
                      <a:pt x="1010" y="364"/>
                    </a:lnTo>
                    <a:lnTo>
                      <a:pt x="1010" y="374"/>
                    </a:lnTo>
                    <a:lnTo>
                      <a:pt x="1010" y="380"/>
                    </a:lnTo>
                    <a:lnTo>
                      <a:pt x="1008" y="384"/>
                    </a:lnTo>
                    <a:lnTo>
                      <a:pt x="1006" y="388"/>
                    </a:lnTo>
                    <a:lnTo>
                      <a:pt x="1004" y="392"/>
                    </a:lnTo>
                    <a:lnTo>
                      <a:pt x="1002" y="396"/>
                    </a:lnTo>
                    <a:lnTo>
                      <a:pt x="998" y="400"/>
                    </a:lnTo>
                    <a:lnTo>
                      <a:pt x="998" y="400"/>
                    </a:lnTo>
                    <a:lnTo>
                      <a:pt x="998" y="400"/>
                    </a:lnTo>
                    <a:lnTo>
                      <a:pt x="996" y="402"/>
                    </a:lnTo>
                    <a:lnTo>
                      <a:pt x="994" y="404"/>
                    </a:lnTo>
                    <a:lnTo>
                      <a:pt x="992" y="406"/>
                    </a:lnTo>
                    <a:lnTo>
                      <a:pt x="992" y="406"/>
                    </a:lnTo>
                    <a:lnTo>
                      <a:pt x="992" y="408"/>
                    </a:lnTo>
                    <a:lnTo>
                      <a:pt x="990" y="408"/>
                    </a:lnTo>
                    <a:lnTo>
                      <a:pt x="990" y="410"/>
                    </a:lnTo>
                    <a:lnTo>
                      <a:pt x="988" y="412"/>
                    </a:lnTo>
                    <a:lnTo>
                      <a:pt x="988" y="414"/>
                    </a:lnTo>
                    <a:lnTo>
                      <a:pt x="988" y="414"/>
                    </a:lnTo>
                    <a:lnTo>
                      <a:pt x="986" y="414"/>
                    </a:lnTo>
                    <a:lnTo>
                      <a:pt x="986" y="418"/>
                    </a:lnTo>
                    <a:lnTo>
                      <a:pt x="986" y="420"/>
                    </a:lnTo>
                    <a:lnTo>
                      <a:pt x="986" y="422"/>
                    </a:lnTo>
                    <a:lnTo>
                      <a:pt x="984" y="424"/>
                    </a:lnTo>
                    <a:lnTo>
                      <a:pt x="984" y="426"/>
                    </a:lnTo>
                    <a:lnTo>
                      <a:pt x="984" y="428"/>
                    </a:lnTo>
                    <a:lnTo>
                      <a:pt x="984" y="428"/>
                    </a:lnTo>
                    <a:lnTo>
                      <a:pt x="984" y="428"/>
                    </a:lnTo>
                    <a:lnTo>
                      <a:pt x="984" y="430"/>
                    </a:lnTo>
                    <a:lnTo>
                      <a:pt x="984" y="430"/>
                    </a:lnTo>
                    <a:lnTo>
                      <a:pt x="984" y="432"/>
                    </a:lnTo>
                    <a:lnTo>
                      <a:pt x="984" y="436"/>
                    </a:lnTo>
                    <a:lnTo>
                      <a:pt x="984" y="436"/>
                    </a:lnTo>
                    <a:lnTo>
                      <a:pt x="984" y="438"/>
                    </a:lnTo>
                    <a:lnTo>
                      <a:pt x="984" y="442"/>
                    </a:lnTo>
                    <a:lnTo>
                      <a:pt x="984" y="444"/>
                    </a:lnTo>
                    <a:lnTo>
                      <a:pt x="984" y="446"/>
                    </a:lnTo>
                    <a:lnTo>
                      <a:pt x="984" y="448"/>
                    </a:lnTo>
                    <a:lnTo>
                      <a:pt x="984" y="450"/>
                    </a:lnTo>
                    <a:lnTo>
                      <a:pt x="984" y="450"/>
                    </a:lnTo>
                    <a:lnTo>
                      <a:pt x="984" y="450"/>
                    </a:lnTo>
                    <a:lnTo>
                      <a:pt x="982" y="450"/>
                    </a:lnTo>
                    <a:lnTo>
                      <a:pt x="980" y="452"/>
                    </a:lnTo>
                    <a:lnTo>
                      <a:pt x="978" y="452"/>
                    </a:lnTo>
                    <a:lnTo>
                      <a:pt x="974" y="452"/>
                    </a:lnTo>
                    <a:lnTo>
                      <a:pt x="972" y="454"/>
                    </a:lnTo>
                    <a:lnTo>
                      <a:pt x="964" y="452"/>
                    </a:lnTo>
                    <a:lnTo>
                      <a:pt x="956" y="452"/>
                    </a:lnTo>
                    <a:lnTo>
                      <a:pt x="954" y="452"/>
                    </a:lnTo>
                    <a:lnTo>
                      <a:pt x="950" y="452"/>
                    </a:lnTo>
                    <a:lnTo>
                      <a:pt x="946" y="450"/>
                    </a:lnTo>
                    <a:lnTo>
                      <a:pt x="944" y="448"/>
                    </a:lnTo>
                    <a:lnTo>
                      <a:pt x="944" y="448"/>
                    </a:lnTo>
                    <a:lnTo>
                      <a:pt x="940" y="448"/>
                    </a:lnTo>
                    <a:lnTo>
                      <a:pt x="938" y="450"/>
                    </a:lnTo>
                    <a:lnTo>
                      <a:pt x="934" y="452"/>
                    </a:lnTo>
                    <a:lnTo>
                      <a:pt x="932" y="454"/>
                    </a:lnTo>
                    <a:lnTo>
                      <a:pt x="928" y="454"/>
                    </a:lnTo>
                    <a:lnTo>
                      <a:pt x="926" y="456"/>
                    </a:lnTo>
                    <a:lnTo>
                      <a:pt x="924" y="456"/>
                    </a:lnTo>
                    <a:lnTo>
                      <a:pt x="920" y="456"/>
                    </a:lnTo>
                    <a:lnTo>
                      <a:pt x="920" y="456"/>
                    </a:lnTo>
                    <a:lnTo>
                      <a:pt x="920" y="456"/>
                    </a:lnTo>
                    <a:lnTo>
                      <a:pt x="918" y="458"/>
                    </a:lnTo>
                    <a:lnTo>
                      <a:pt x="918" y="458"/>
                    </a:lnTo>
                    <a:lnTo>
                      <a:pt x="918" y="458"/>
                    </a:lnTo>
                    <a:lnTo>
                      <a:pt x="918" y="460"/>
                    </a:lnTo>
                    <a:lnTo>
                      <a:pt x="918" y="460"/>
                    </a:lnTo>
                    <a:lnTo>
                      <a:pt x="916" y="460"/>
                    </a:lnTo>
                    <a:lnTo>
                      <a:pt x="916" y="462"/>
                    </a:lnTo>
                    <a:lnTo>
                      <a:pt x="916" y="462"/>
                    </a:lnTo>
                    <a:lnTo>
                      <a:pt x="916" y="462"/>
                    </a:lnTo>
                    <a:lnTo>
                      <a:pt x="916" y="464"/>
                    </a:lnTo>
                    <a:lnTo>
                      <a:pt x="916" y="464"/>
                    </a:lnTo>
                    <a:lnTo>
                      <a:pt x="916" y="464"/>
                    </a:lnTo>
                    <a:lnTo>
                      <a:pt x="916" y="468"/>
                    </a:lnTo>
                    <a:lnTo>
                      <a:pt x="916" y="470"/>
                    </a:lnTo>
                    <a:lnTo>
                      <a:pt x="916" y="470"/>
                    </a:lnTo>
                    <a:lnTo>
                      <a:pt x="916" y="472"/>
                    </a:lnTo>
                    <a:lnTo>
                      <a:pt x="916" y="472"/>
                    </a:lnTo>
                    <a:lnTo>
                      <a:pt x="916" y="472"/>
                    </a:lnTo>
                    <a:lnTo>
                      <a:pt x="918" y="474"/>
                    </a:lnTo>
                    <a:lnTo>
                      <a:pt x="918" y="474"/>
                    </a:lnTo>
                    <a:lnTo>
                      <a:pt x="918" y="476"/>
                    </a:lnTo>
                    <a:lnTo>
                      <a:pt x="918" y="476"/>
                    </a:lnTo>
                    <a:lnTo>
                      <a:pt x="918" y="476"/>
                    </a:lnTo>
                    <a:lnTo>
                      <a:pt x="920" y="476"/>
                    </a:lnTo>
                    <a:lnTo>
                      <a:pt x="922" y="476"/>
                    </a:lnTo>
                    <a:lnTo>
                      <a:pt x="924" y="476"/>
                    </a:lnTo>
                    <a:lnTo>
                      <a:pt x="926" y="476"/>
                    </a:lnTo>
                    <a:lnTo>
                      <a:pt x="928" y="476"/>
                    </a:lnTo>
                    <a:lnTo>
                      <a:pt x="928" y="478"/>
                    </a:lnTo>
                    <a:lnTo>
                      <a:pt x="928" y="480"/>
                    </a:lnTo>
                    <a:lnTo>
                      <a:pt x="928" y="480"/>
                    </a:lnTo>
                    <a:lnTo>
                      <a:pt x="928" y="482"/>
                    </a:lnTo>
                    <a:lnTo>
                      <a:pt x="930" y="482"/>
                    </a:lnTo>
                    <a:lnTo>
                      <a:pt x="930" y="482"/>
                    </a:lnTo>
                    <a:lnTo>
                      <a:pt x="930" y="484"/>
                    </a:lnTo>
                    <a:lnTo>
                      <a:pt x="932" y="484"/>
                    </a:lnTo>
                    <a:lnTo>
                      <a:pt x="932" y="484"/>
                    </a:lnTo>
                    <a:lnTo>
                      <a:pt x="932" y="486"/>
                    </a:lnTo>
                    <a:lnTo>
                      <a:pt x="934" y="486"/>
                    </a:lnTo>
                    <a:lnTo>
                      <a:pt x="934" y="486"/>
                    </a:lnTo>
                    <a:lnTo>
                      <a:pt x="934" y="486"/>
                    </a:lnTo>
                    <a:lnTo>
                      <a:pt x="936" y="486"/>
                    </a:lnTo>
                    <a:lnTo>
                      <a:pt x="938" y="488"/>
                    </a:lnTo>
                    <a:lnTo>
                      <a:pt x="942" y="488"/>
                    </a:lnTo>
                    <a:lnTo>
                      <a:pt x="942" y="488"/>
                    </a:lnTo>
                    <a:lnTo>
                      <a:pt x="944" y="488"/>
                    </a:lnTo>
                    <a:lnTo>
                      <a:pt x="948" y="488"/>
                    </a:lnTo>
                    <a:lnTo>
                      <a:pt x="952" y="488"/>
                    </a:lnTo>
                    <a:lnTo>
                      <a:pt x="956" y="486"/>
                    </a:lnTo>
                    <a:lnTo>
                      <a:pt x="956" y="486"/>
                    </a:lnTo>
                    <a:lnTo>
                      <a:pt x="956" y="486"/>
                    </a:lnTo>
                    <a:lnTo>
                      <a:pt x="960" y="486"/>
                    </a:lnTo>
                    <a:lnTo>
                      <a:pt x="964" y="484"/>
                    </a:lnTo>
                    <a:lnTo>
                      <a:pt x="964" y="484"/>
                    </a:lnTo>
                    <a:lnTo>
                      <a:pt x="964" y="484"/>
                    </a:lnTo>
                    <a:lnTo>
                      <a:pt x="966" y="484"/>
                    </a:lnTo>
                    <a:lnTo>
                      <a:pt x="966" y="484"/>
                    </a:lnTo>
                    <a:lnTo>
                      <a:pt x="966" y="482"/>
                    </a:lnTo>
                    <a:lnTo>
                      <a:pt x="966" y="482"/>
                    </a:lnTo>
                    <a:lnTo>
                      <a:pt x="966" y="482"/>
                    </a:lnTo>
                    <a:lnTo>
                      <a:pt x="968" y="480"/>
                    </a:lnTo>
                    <a:lnTo>
                      <a:pt x="968" y="480"/>
                    </a:lnTo>
                    <a:lnTo>
                      <a:pt x="968" y="478"/>
                    </a:lnTo>
                    <a:lnTo>
                      <a:pt x="968" y="478"/>
                    </a:lnTo>
                    <a:lnTo>
                      <a:pt x="970" y="476"/>
                    </a:lnTo>
                    <a:lnTo>
                      <a:pt x="972" y="476"/>
                    </a:lnTo>
                    <a:lnTo>
                      <a:pt x="972" y="476"/>
                    </a:lnTo>
                    <a:lnTo>
                      <a:pt x="976" y="476"/>
                    </a:lnTo>
                    <a:lnTo>
                      <a:pt x="980" y="476"/>
                    </a:lnTo>
                    <a:lnTo>
                      <a:pt x="982" y="476"/>
                    </a:lnTo>
                    <a:lnTo>
                      <a:pt x="986" y="476"/>
                    </a:lnTo>
                    <a:lnTo>
                      <a:pt x="988" y="476"/>
                    </a:lnTo>
                    <a:lnTo>
                      <a:pt x="990" y="478"/>
                    </a:lnTo>
                    <a:lnTo>
                      <a:pt x="992" y="480"/>
                    </a:lnTo>
                    <a:lnTo>
                      <a:pt x="992" y="482"/>
                    </a:lnTo>
                    <a:lnTo>
                      <a:pt x="994" y="484"/>
                    </a:lnTo>
                    <a:lnTo>
                      <a:pt x="994" y="488"/>
                    </a:lnTo>
                    <a:lnTo>
                      <a:pt x="994" y="488"/>
                    </a:lnTo>
                    <a:lnTo>
                      <a:pt x="994" y="488"/>
                    </a:lnTo>
                    <a:lnTo>
                      <a:pt x="996" y="490"/>
                    </a:lnTo>
                    <a:lnTo>
                      <a:pt x="996" y="490"/>
                    </a:lnTo>
                    <a:lnTo>
                      <a:pt x="996" y="490"/>
                    </a:lnTo>
                    <a:lnTo>
                      <a:pt x="996" y="492"/>
                    </a:lnTo>
                    <a:lnTo>
                      <a:pt x="996" y="492"/>
                    </a:lnTo>
                    <a:lnTo>
                      <a:pt x="998" y="494"/>
                    </a:lnTo>
                    <a:lnTo>
                      <a:pt x="1002" y="496"/>
                    </a:lnTo>
                    <a:lnTo>
                      <a:pt x="1004" y="498"/>
                    </a:lnTo>
                    <a:lnTo>
                      <a:pt x="1006" y="500"/>
                    </a:lnTo>
                    <a:lnTo>
                      <a:pt x="1008" y="502"/>
                    </a:lnTo>
                    <a:lnTo>
                      <a:pt x="1010" y="506"/>
                    </a:lnTo>
                    <a:lnTo>
                      <a:pt x="1012" y="508"/>
                    </a:lnTo>
                    <a:lnTo>
                      <a:pt x="1014" y="510"/>
                    </a:lnTo>
                    <a:lnTo>
                      <a:pt x="1018" y="516"/>
                    </a:lnTo>
                    <a:lnTo>
                      <a:pt x="1024" y="518"/>
                    </a:lnTo>
                    <a:lnTo>
                      <a:pt x="1024" y="520"/>
                    </a:lnTo>
                    <a:lnTo>
                      <a:pt x="1024" y="522"/>
                    </a:lnTo>
                    <a:lnTo>
                      <a:pt x="1024" y="522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6"/>
                    </a:lnTo>
                    <a:lnTo>
                      <a:pt x="1024" y="528"/>
                    </a:lnTo>
                    <a:lnTo>
                      <a:pt x="1024" y="528"/>
                    </a:lnTo>
                    <a:lnTo>
                      <a:pt x="1026" y="528"/>
                    </a:lnTo>
                    <a:lnTo>
                      <a:pt x="1028" y="528"/>
                    </a:lnTo>
                    <a:lnTo>
                      <a:pt x="1028" y="528"/>
                    </a:lnTo>
                    <a:lnTo>
                      <a:pt x="1028" y="530"/>
                    </a:lnTo>
                    <a:lnTo>
                      <a:pt x="1028" y="530"/>
                    </a:lnTo>
                    <a:lnTo>
                      <a:pt x="1030" y="530"/>
                    </a:lnTo>
                    <a:lnTo>
                      <a:pt x="1034" y="532"/>
                    </a:lnTo>
                    <a:lnTo>
                      <a:pt x="1038" y="534"/>
                    </a:lnTo>
                    <a:lnTo>
                      <a:pt x="1044" y="534"/>
                    </a:lnTo>
                    <a:lnTo>
                      <a:pt x="1046" y="536"/>
                    </a:lnTo>
                    <a:lnTo>
                      <a:pt x="1050" y="540"/>
                    </a:lnTo>
                    <a:lnTo>
                      <a:pt x="1050" y="540"/>
                    </a:lnTo>
                    <a:lnTo>
                      <a:pt x="1050" y="540"/>
                    </a:lnTo>
                    <a:lnTo>
                      <a:pt x="1052" y="542"/>
                    </a:lnTo>
                    <a:lnTo>
                      <a:pt x="1052" y="542"/>
                    </a:lnTo>
                    <a:lnTo>
                      <a:pt x="1052" y="542"/>
                    </a:lnTo>
                    <a:lnTo>
                      <a:pt x="1056" y="544"/>
                    </a:lnTo>
                    <a:lnTo>
                      <a:pt x="1056" y="544"/>
                    </a:lnTo>
                    <a:lnTo>
                      <a:pt x="1056" y="544"/>
                    </a:lnTo>
                    <a:lnTo>
                      <a:pt x="1058" y="544"/>
                    </a:lnTo>
                    <a:lnTo>
                      <a:pt x="1058" y="544"/>
                    </a:lnTo>
                    <a:lnTo>
                      <a:pt x="1060" y="546"/>
                    </a:lnTo>
                    <a:lnTo>
                      <a:pt x="1060" y="548"/>
                    </a:lnTo>
                    <a:lnTo>
                      <a:pt x="1062" y="548"/>
                    </a:lnTo>
                    <a:lnTo>
                      <a:pt x="1062" y="548"/>
                    </a:lnTo>
                    <a:lnTo>
                      <a:pt x="1062" y="550"/>
                    </a:lnTo>
                    <a:lnTo>
                      <a:pt x="1064" y="550"/>
                    </a:lnTo>
                    <a:lnTo>
                      <a:pt x="1064" y="550"/>
                    </a:lnTo>
                    <a:lnTo>
                      <a:pt x="1064" y="550"/>
                    </a:lnTo>
                    <a:lnTo>
                      <a:pt x="1066" y="552"/>
                    </a:lnTo>
                    <a:lnTo>
                      <a:pt x="1066" y="552"/>
                    </a:lnTo>
                    <a:lnTo>
                      <a:pt x="1066" y="552"/>
                    </a:lnTo>
                    <a:lnTo>
                      <a:pt x="1068" y="552"/>
                    </a:lnTo>
                    <a:lnTo>
                      <a:pt x="1070" y="552"/>
                    </a:lnTo>
                    <a:lnTo>
                      <a:pt x="1072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6" y="554"/>
                    </a:lnTo>
                    <a:lnTo>
                      <a:pt x="1076" y="554"/>
                    </a:lnTo>
                    <a:lnTo>
                      <a:pt x="1076" y="554"/>
                    </a:lnTo>
                    <a:lnTo>
                      <a:pt x="1078" y="556"/>
                    </a:lnTo>
                    <a:lnTo>
                      <a:pt x="1082" y="556"/>
                    </a:lnTo>
                    <a:lnTo>
                      <a:pt x="1086" y="556"/>
                    </a:lnTo>
                    <a:lnTo>
                      <a:pt x="1088" y="556"/>
                    </a:lnTo>
                    <a:lnTo>
                      <a:pt x="1090" y="558"/>
                    </a:lnTo>
                    <a:lnTo>
                      <a:pt x="1092" y="558"/>
                    </a:lnTo>
                    <a:lnTo>
                      <a:pt x="1094" y="558"/>
                    </a:lnTo>
                    <a:lnTo>
                      <a:pt x="1094" y="558"/>
                    </a:lnTo>
                    <a:lnTo>
                      <a:pt x="1094" y="558"/>
                    </a:lnTo>
                    <a:lnTo>
                      <a:pt x="1096" y="558"/>
                    </a:lnTo>
                    <a:lnTo>
                      <a:pt x="1096" y="558"/>
                    </a:lnTo>
                    <a:lnTo>
                      <a:pt x="1096" y="558"/>
                    </a:lnTo>
                    <a:lnTo>
                      <a:pt x="1098" y="556"/>
                    </a:lnTo>
                    <a:lnTo>
                      <a:pt x="1098" y="556"/>
                    </a:lnTo>
                    <a:lnTo>
                      <a:pt x="1098" y="554"/>
                    </a:lnTo>
                    <a:lnTo>
                      <a:pt x="1098" y="554"/>
                    </a:lnTo>
                    <a:lnTo>
                      <a:pt x="1098" y="554"/>
                    </a:lnTo>
                    <a:lnTo>
                      <a:pt x="1098" y="552"/>
                    </a:lnTo>
                    <a:lnTo>
                      <a:pt x="1096" y="550"/>
                    </a:lnTo>
                    <a:lnTo>
                      <a:pt x="1094" y="550"/>
                    </a:lnTo>
                    <a:lnTo>
                      <a:pt x="1092" y="548"/>
                    </a:lnTo>
                    <a:lnTo>
                      <a:pt x="1088" y="544"/>
                    </a:lnTo>
                    <a:lnTo>
                      <a:pt x="1084" y="540"/>
                    </a:lnTo>
                    <a:lnTo>
                      <a:pt x="1080" y="536"/>
                    </a:lnTo>
                    <a:lnTo>
                      <a:pt x="1076" y="534"/>
                    </a:lnTo>
                    <a:lnTo>
                      <a:pt x="1074" y="532"/>
                    </a:lnTo>
                    <a:lnTo>
                      <a:pt x="1074" y="530"/>
                    </a:lnTo>
                    <a:lnTo>
                      <a:pt x="1072" y="528"/>
                    </a:lnTo>
                    <a:lnTo>
                      <a:pt x="1072" y="526"/>
                    </a:lnTo>
                    <a:lnTo>
                      <a:pt x="1070" y="524"/>
                    </a:lnTo>
                    <a:lnTo>
                      <a:pt x="1070" y="524"/>
                    </a:lnTo>
                    <a:lnTo>
                      <a:pt x="1070" y="524"/>
                    </a:lnTo>
                    <a:lnTo>
                      <a:pt x="1068" y="522"/>
                    </a:lnTo>
                    <a:lnTo>
                      <a:pt x="1066" y="522"/>
                    </a:lnTo>
                    <a:lnTo>
                      <a:pt x="1066" y="518"/>
                    </a:lnTo>
                    <a:lnTo>
                      <a:pt x="1064" y="516"/>
                    </a:lnTo>
                    <a:lnTo>
                      <a:pt x="1062" y="514"/>
                    </a:lnTo>
                    <a:lnTo>
                      <a:pt x="1062" y="512"/>
                    </a:lnTo>
                    <a:lnTo>
                      <a:pt x="1062" y="512"/>
                    </a:lnTo>
                    <a:lnTo>
                      <a:pt x="1062" y="512"/>
                    </a:lnTo>
                    <a:lnTo>
                      <a:pt x="1064" y="512"/>
                    </a:lnTo>
                    <a:lnTo>
                      <a:pt x="1068" y="512"/>
                    </a:lnTo>
                    <a:lnTo>
                      <a:pt x="1074" y="514"/>
                    </a:lnTo>
                    <a:lnTo>
                      <a:pt x="1080" y="514"/>
                    </a:lnTo>
                    <a:lnTo>
                      <a:pt x="1080" y="516"/>
                    </a:lnTo>
                    <a:lnTo>
                      <a:pt x="1082" y="518"/>
                    </a:lnTo>
                    <a:lnTo>
                      <a:pt x="1086" y="522"/>
                    </a:lnTo>
                    <a:lnTo>
                      <a:pt x="1088" y="524"/>
                    </a:lnTo>
                    <a:lnTo>
                      <a:pt x="1090" y="526"/>
                    </a:lnTo>
                    <a:lnTo>
                      <a:pt x="1090" y="526"/>
                    </a:lnTo>
                    <a:lnTo>
                      <a:pt x="1092" y="528"/>
                    </a:lnTo>
                    <a:lnTo>
                      <a:pt x="1092" y="528"/>
                    </a:lnTo>
                    <a:lnTo>
                      <a:pt x="1092" y="528"/>
                    </a:lnTo>
                    <a:lnTo>
                      <a:pt x="1094" y="530"/>
                    </a:lnTo>
                    <a:lnTo>
                      <a:pt x="1094" y="530"/>
                    </a:lnTo>
                    <a:lnTo>
                      <a:pt x="1096" y="530"/>
                    </a:lnTo>
                    <a:lnTo>
                      <a:pt x="1098" y="532"/>
                    </a:lnTo>
                    <a:lnTo>
                      <a:pt x="1098" y="532"/>
                    </a:lnTo>
                    <a:lnTo>
                      <a:pt x="1098" y="532"/>
                    </a:lnTo>
                    <a:lnTo>
                      <a:pt x="1100" y="532"/>
                    </a:lnTo>
                    <a:lnTo>
                      <a:pt x="1100" y="532"/>
                    </a:lnTo>
                    <a:lnTo>
                      <a:pt x="1102" y="532"/>
                    </a:lnTo>
                    <a:lnTo>
                      <a:pt x="1104" y="532"/>
                    </a:lnTo>
                    <a:lnTo>
                      <a:pt x="1104" y="532"/>
                    </a:lnTo>
                    <a:lnTo>
                      <a:pt x="1104" y="532"/>
                    </a:lnTo>
                    <a:lnTo>
                      <a:pt x="1106" y="530"/>
                    </a:lnTo>
                    <a:lnTo>
                      <a:pt x="1106" y="530"/>
                    </a:lnTo>
                    <a:lnTo>
                      <a:pt x="1106" y="530"/>
                    </a:lnTo>
                    <a:lnTo>
                      <a:pt x="1108" y="528"/>
                    </a:lnTo>
                    <a:lnTo>
                      <a:pt x="1108" y="528"/>
                    </a:lnTo>
                    <a:lnTo>
                      <a:pt x="1108" y="528"/>
                    </a:lnTo>
                    <a:lnTo>
                      <a:pt x="1110" y="524"/>
                    </a:lnTo>
                    <a:lnTo>
                      <a:pt x="1110" y="524"/>
                    </a:lnTo>
                    <a:lnTo>
                      <a:pt x="1110" y="524"/>
                    </a:lnTo>
                    <a:lnTo>
                      <a:pt x="1112" y="520"/>
                    </a:lnTo>
                    <a:lnTo>
                      <a:pt x="1112" y="518"/>
                    </a:lnTo>
                    <a:lnTo>
                      <a:pt x="1114" y="514"/>
                    </a:lnTo>
                    <a:lnTo>
                      <a:pt x="1114" y="512"/>
                    </a:lnTo>
                    <a:lnTo>
                      <a:pt x="1116" y="508"/>
                    </a:lnTo>
                    <a:lnTo>
                      <a:pt x="1116" y="508"/>
                    </a:lnTo>
                    <a:lnTo>
                      <a:pt x="1116" y="506"/>
                    </a:lnTo>
                    <a:lnTo>
                      <a:pt x="1114" y="504"/>
                    </a:lnTo>
                    <a:lnTo>
                      <a:pt x="1114" y="504"/>
                    </a:lnTo>
                    <a:lnTo>
                      <a:pt x="1114" y="502"/>
                    </a:lnTo>
                    <a:lnTo>
                      <a:pt x="1114" y="500"/>
                    </a:lnTo>
                    <a:lnTo>
                      <a:pt x="1114" y="500"/>
                    </a:lnTo>
                    <a:lnTo>
                      <a:pt x="1114" y="498"/>
                    </a:lnTo>
                    <a:lnTo>
                      <a:pt x="1112" y="496"/>
                    </a:lnTo>
                    <a:lnTo>
                      <a:pt x="1110" y="494"/>
                    </a:lnTo>
                    <a:lnTo>
                      <a:pt x="1108" y="490"/>
                    </a:lnTo>
                    <a:lnTo>
                      <a:pt x="1104" y="486"/>
                    </a:lnTo>
                    <a:lnTo>
                      <a:pt x="1102" y="486"/>
                    </a:lnTo>
                    <a:lnTo>
                      <a:pt x="1100" y="484"/>
                    </a:lnTo>
                    <a:lnTo>
                      <a:pt x="1098" y="484"/>
                    </a:lnTo>
                    <a:lnTo>
                      <a:pt x="1096" y="476"/>
                    </a:lnTo>
                    <a:lnTo>
                      <a:pt x="1094" y="472"/>
                    </a:lnTo>
                    <a:lnTo>
                      <a:pt x="1090" y="470"/>
                    </a:lnTo>
                    <a:lnTo>
                      <a:pt x="1090" y="464"/>
                    </a:lnTo>
                    <a:lnTo>
                      <a:pt x="1090" y="460"/>
                    </a:lnTo>
                    <a:lnTo>
                      <a:pt x="1088" y="458"/>
                    </a:lnTo>
                    <a:lnTo>
                      <a:pt x="1088" y="458"/>
                    </a:lnTo>
                    <a:lnTo>
                      <a:pt x="1088" y="456"/>
                    </a:lnTo>
                    <a:lnTo>
                      <a:pt x="1086" y="454"/>
                    </a:lnTo>
                    <a:lnTo>
                      <a:pt x="1086" y="454"/>
                    </a:lnTo>
                    <a:lnTo>
                      <a:pt x="1086" y="454"/>
                    </a:lnTo>
                    <a:lnTo>
                      <a:pt x="1084" y="452"/>
                    </a:lnTo>
                    <a:lnTo>
                      <a:pt x="1084" y="452"/>
                    </a:lnTo>
                    <a:lnTo>
                      <a:pt x="1084" y="452"/>
                    </a:lnTo>
                    <a:lnTo>
                      <a:pt x="1082" y="450"/>
                    </a:lnTo>
                    <a:lnTo>
                      <a:pt x="1078" y="448"/>
                    </a:lnTo>
                    <a:lnTo>
                      <a:pt x="1076" y="446"/>
                    </a:lnTo>
                    <a:lnTo>
                      <a:pt x="1074" y="442"/>
                    </a:lnTo>
                    <a:lnTo>
                      <a:pt x="1072" y="440"/>
                    </a:lnTo>
                    <a:lnTo>
                      <a:pt x="1070" y="438"/>
                    </a:lnTo>
                    <a:lnTo>
                      <a:pt x="1070" y="434"/>
                    </a:lnTo>
                    <a:lnTo>
                      <a:pt x="1070" y="432"/>
                    </a:lnTo>
                    <a:lnTo>
                      <a:pt x="1070" y="428"/>
                    </a:lnTo>
                    <a:lnTo>
                      <a:pt x="1072" y="428"/>
                    </a:lnTo>
                    <a:lnTo>
                      <a:pt x="1072" y="426"/>
                    </a:lnTo>
                    <a:lnTo>
                      <a:pt x="1072" y="426"/>
                    </a:lnTo>
                    <a:lnTo>
                      <a:pt x="1074" y="424"/>
                    </a:lnTo>
                    <a:lnTo>
                      <a:pt x="1074" y="422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2"/>
                    </a:lnTo>
                    <a:lnTo>
                      <a:pt x="1076" y="412"/>
                    </a:lnTo>
                    <a:lnTo>
                      <a:pt x="1076" y="410"/>
                    </a:lnTo>
                    <a:lnTo>
                      <a:pt x="1078" y="410"/>
                    </a:lnTo>
                    <a:lnTo>
                      <a:pt x="1082" y="412"/>
                    </a:lnTo>
                    <a:lnTo>
                      <a:pt x="1084" y="412"/>
                    </a:lnTo>
                    <a:lnTo>
                      <a:pt x="1086" y="412"/>
                    </a:lnTo>
                    <a:lnTo>
                      <a:pt x="1088" y="414"/>
                    </a:lnTo>
                    <a:lnTo>
                      <a:pt x="1090" y="416"/>
                    </a:lnTo>
                    <a:lnTo>
                      <a:pt x="1094" y="418"/>
                    </a:lnTo>
                    <a:lnTo>
                      <a:pt x="1096" y="420"/>
                    </a:lnTo>
                    <a:lnTo>
                      <a:pt x="1098" y="422"/>
                    </a:lnTo>
                    <a:lnTo>
                      <a:pt x="1100" y="422"/>
                    </a:lnTo>
                    <a:lnTo>
                      <a:pt x="1104" y="424"/>
                    </a:lnTo>
                    <a:lnTo>
                      <a:pt x="1106" y="426"/>
                    </a:lnTo>
                    <a:lnTo>
                      <a:pt x="1106" y="428"/>
                    </a:lnTo>
                    <a:lnTo>
                      <a:pt x="1108" y="432"/>
                    </a:lnTo>
                    <a:lnTo>
                      <a:pt x="1108" y="432"/>
                    </a:lnTo>
                    <a:lnTo>
                      <a:pt x="1110" y="432"/>
                    </a:lnTo>
                    <a:lnTo>
                      <a:pt x="1112" y="436"/>
                    </a:lnTo>
                    <a:lnTo>
                      <a:pt x="1112" y="436"/>
                    </a:lnTo>
                    <a:lnTo>
                      <a:pt x="1112" y="436"/>
                    </a:lnTo>
                    <a:lnTo>
                      <a:pt x="1114" y="438"/>
                    </a:lnTo>
                    <a:lnTo>
                      <a:pt x="1118" y="440"/>
                    </a:lnTo>
                    <a:lnTo>
                      <a:pt x="1122" y="442"/>
                    </a:lnTo>
                    <a:lnTo>
                      <a:pt x="1124" y="444"/>
                    </a:lnTo>
                    <a:lnTo>
                      <a:pt x="1126" y="446"/>
                    </a:lnTo>
                    <a:lnTo>
                      <a:pt x="1128" y="448"/>
                    </a:lnTo>
                    <a:lnTo>
                      <a:pt x="1128" y="452"/>
                    </a:lnTo>
                    <a:lnTo>
                      <a:pt x="1128" y="452"/>
                    </a:lnTo>
                    <a:lnTo>
                      <a:pt x="1132" y="452"/>
                    </a:lnTo>
                    <a:lnTo>
                      <a:pt x="1132" y="452"/>
                    </a:lnTo>
                    <a:lnTo>
                      <a:pt x="1134" y="452"/>
                    </a:lnTo>
                    <a:lnTo>
                      <a:pt x="1136" y="448"/>
                    </a:lnTo>
                    <a:lnTo>
                      <a:pt x="1138" y="444"/>
                    </a:lnTo>
                    <a:lnTo>
                      <a:pt x="1142" y="438"/>
                    </a:lnTo>
                    <a:lnTo>
                      <a:pt x="1142" y="438"/>
                    </a:lnTo>
                    <a:lnTo>
                      <a:pt x="1144" y="436"/>
                    </a:lnTo>
                    <a:lnTo>
                      <a:pt x="1144" y="430"/>
                    </a:lnTo>
                    <a:lnTo>
                      <a:pt x="1144" y="422"/>
                    </a:lnTo>
                    <a:lnTo>
                      <a:pt x="1142" y="414"/>
                    </a:lnTo>
                    <a:lnTo>
                      <a:pt x="1142" y="408"/>
                    </a:lnTo>
                    <a:lnTo>
                      <a:pt x="1142" y="408"/>
                    </a:lnTo>
                    <a:lnTo>
                      <a:pt x="1142" y="406"/>
                    </a:lnTo>
                    <a:lnTo>
                      <a:pt x="1140" y="400"/>
                    </a:lnTo>
                    <a:lnTo>
                      <a:pt x="1140" y="400"/>
                    </a:lnTo>
                    <a:lnTo>
                      <a:pt x="1138" y="400"/>
                    </a:lnTo>
                    <a:lnTo>
                      <a:pt x="1138" y="396"/>
                    </a:lnTo>
                    <a:lnTo>
                      <a:pt x="1136" y="394"/>
                    </a:lnTo>
                    <a:lnTo>
                      <a:pt x="1136" y="394"/>
                    </a:lnTo>
                    <a:lnTo>
                      <a:pt x="1134" y="394"/>
                    </a:lnTo>
                    <a:lnTo>
                      <a:pt x="1132" y="392"/>
                    </a:lnTo>
                    <a:lnTo>
                      <a:pt x="1132" y="392"/>
                    </a:lnTo>
                    <a:lnTo>
                      <a:pt x="1132" y="390"/>
                    </a:lnTo>
                    <a:lnTo>
                      <a:pt x="1130" y="388"/>
                    </a:lnTo>
                    <a:lnTo>
                      <a:pt x="1130" y="388"/>
                    </a:lnTo>
                    <a:lnTo>
                      <a:pt x="1128" y="388"/>
                    </a:lnTo>
                    <a:lnTo>
                      <a:pt x="1126" y="388"/>
                    </a:lnTo>
                    <a:lnTo>
                      <a:pt x="1126" y="388"/>
                    </a:lnTo>
                    <a:lnTo>
                      <a:pt x="1126" y="388"/>
                    </a:lnTo>
                    <a:lnTo>
                      <a:pt x="1122" y="386"/>
                    </a:lnTo>
                    <a:lnTo>
                      <a:pt x="1122" y="386"/>
                    </a:lnTo>
                    <a:lnTo>
                      <a:pt x="1120" y="382"/>
                    </a:lnTo>
                    <a:lnTo>
                      <a:pt x="1118" y="380"/>
                    </a:lnTo>
                    <a:lnTo>
                      <a:pt x="1118" y="378"/>
                    </a:lnTo>
                    <a:lnTo>
                      <a:pt x="1118" y="378"/>
                    </a:lnTo>
                    <a:lnTo>
                      <a:pt x="1118" y="378"/>
                    </a:lnTo>
                    <a:lnTo>
                      <a:pt x="1116" y="378"/>
                    </a:lnTo>
                    <a:lnTo>
                      <a:pt x="1116" y="376"/>
                    </a:lnTo>
                    <a:lnTo>
                      <a:pt x="1114" y="376"/>
                    </a:lnTo>
                    <a:lnTo>
                      <a:pt x="1110" y="374"/>
                    </a:lnTo>
                    <a:lnTo>
                      <a:pt x="1108" y="374"/>
                    </a:lnTo>
                    <a:lnTo>
                      <a:pt x="1108" y="374"/>
                    </a:lnTo>
                    <a:lnTo>
                      <a:pt x="1106" y="372"/>
                    </a:lnTo>
                    <a:lnTo>
                      <a:pt x="1100" y="364"/>
                    </a:lnTo>
                    <a:lnTo>
                      <a:pt x="1094" y="356"/>
                    </a:lnTo>
                    <a:lnTo>
                      <a:pt x="1086" y="348"/>
                    </a:lnTo>
                    <a:lnTo>
                      <a:pt x="1082" y="344"/>
                    </a:lnTo>
                    <a:lnTo>
                      <a:pt x="1078" y="340"/>
                    </a:lnTo>
                    <a:lnTo>
                      <a:pt x="1072" y="336"/>
                    </a:lnTo>
                    <a:lnTo>
                      <a:pt x="1068" y="334"/>
                    </a:lnTo>
                    <a:lnTo>
                      <a:pt x="1062" y="328"/>
                    </a:lnTo>
                    <a:lnTo>
                      <a:pt x="1058" y="326"/>
                    </a:lnTo>
                    <a:lnTo>
                      <a:pt x="1054" y="322"/>
                    </a:lnTo>
                    <a:lnTo>
                      <a:pt x="1052" y="318"/>
                    </a:lnTo>
                    <a:lnTo>
                      <a:pt x="1050" y="316"/>
                    </a:lnTo>
                    <a:lnTo>
                      <a:pt x="1050" y="314"/>
                    </a:lnTo>
                    <a:lnTo>
                      <a:pt x="1050" y="314"/>
                    </a:lnTo>
                    <a:lnTo>
                      <a:pt x="1050" y="314"/>
                    </a:lnTo>
                    <a:lnTo>
                      <a:pt x="1050" y="312"/>
                    </a:lnTo>
                    <a:lnTo>
                      <a:pt x="1050" y="312"/>
                    </a:lnTo>
                    <a:lnTo>
                      <a:pt x="1050" y="312"/>
                    </a:lnTo>
                    <a:lnTo>
                      <a:pt x="1050" y="310"/>
                    </a:lnTo>
                    <a:lnTo>
                      <a:pt x="1050" y="310"/>
                    </a:lnTo>
                    <a:lnTo>
                      <a:pt x="1050" y="308"/>
                    </a:lnTo>
                    <a:lnTo>
                      <a:pt x="1050" y="306"/>
                    </a:lnTo>
                    <a:lnTo>
                      <a:pt x="1050" y="306"/>
                    </a:lnTo>
                    <a:lnTo>
                      <a:pt x="1050" y="306"/>
                    </a:lnTo>
                    <a:lnTo>
                      <a:pt x="1048" y="304"/>
                    </a:lnTo>
                    <a:lnTo>
                      <a:pt x="1048" y="304"/>
                    </a:lnTo>
                    <a:lnTo>
                      <a:pt x="1048" y="304"/>
                    </a:lnTo>
                    <a:lnTo>
                      <a:pt x="1048" y="302"/>
                    </a:lnTo>
                    <a:lnTo>
                      <a:pt x="1048" y="302"/>
                    </a:lnTo>
                    <a:lnTo>
                      <a:pt x="1046" y="302"/>
                    </a:lnTo>
                    <a:lnTo>
                      <a:pt x="1044" y="300"/>
                    </a:lnTo>
                    <a:lnTo>
                      <a:pt x="1044" y="300"/>
                    </a:lnTo>
                    <a:lnTo>
                      <a:pt x="1044" y="300"/>
                    </a:lnTo>
                    <a:lnTo>
                      <a:pt x="1042" y="300"/>
                    </a:lnTo>
                    <a:lnTo>
                      <a:pt x="1040" y="298"/>
                    </a:lnTo>
                    <a:lnTo>
                      <a:pt x="1040" y="294"/>
                    </a:lnTo>
                    <a:lnTo>
                      <a:pt x="1038" y="292"/>
                    </a:lnTo>
                    <a:lnTo>
                      <a:pt x="1038" y="288"/>
                    </a:lnTo>
                    <a:lnTo>
                      <a:pt x="1038" y="286"/>
                    </a:lnTo>
                    <a:lnTo>
                      <a:pt x="1040" y="284"/>
                    </a:lnTo>
                    <a:lnTo>
                      <a:pt x="1040" y="280"/>
                    </a:lnTo>
                    <a:lnTo>
                      <a:pt x="1042" y="278"/>
                    </a:lnTo>
                    <a:lnTo>
                      <a:pt x="1046" y="272"/>
                    </a:lnTo>
                    <a:lnTo>
                      <a:pt x="1050" y="268"/>
                    </a:lnTo>
                    <a:lnTo>
                      <a:pt x="1054" y="262"/>
                    </a:lnTo>
                    <a:lnTo>
                      <a:pt x="1058" y="256"/>
                    </a:lnTo>
                    <a:lnTo>
                      <a:pt x="1058" y="256"/>
                    </a:lnTo>
                    <a:lnTo>
                      <a:pt x="1058" y="252"/>
                    </a:lnTo>
                    <a:lnTo>
                      <a:pt x="1056" y="250"/>
                    </a:lnTo>
                    <a:lnTo>
                      <a:pt x="1056" y="250"/>
                    </a:lnTo>
                    <a:lnTo>
                      <a:pt x="1054" y="250"/>
                    </a:lnTo>
                    <a:lnTo>
                      <a:pt x="1052" y="248"/>
                    </a:lnTo>
                    <a:lnTo>
                      <a:pt x="1052" y="248"/>
                    </a:lnTo>
                    <a:lnTo>
                      <a:pt x="1052" y="248"/>
                    </a:lnTo>
                    <a:lnTo>
                      <a:pt x="1050" y="246"/>
                    </a:lnTo>
                    <a:lnTo>
                      <a:pt x="1050" y="246"/>
                    </a:lnTo>
                    <a:lnTo>
                      <a:pt x="1048" y="246"/>
                    </a:lnTo>
                    <a:lnTo>
                      <a:pt x="1046" y="246"/>
                    </a:lnTo>
                    <a:lnTo>
                      <a:pt x="1046" y="246"/>
                    </a:lnTo>
                    <a:lnTo>
                      <a:pt x="1046" y="246"/>
                    </a:lnTo>
                    <a:lnTo>
                      <a:pt x="1044" y="248"/>
                    </a:lnTo>
                    <a:lnTo>
                      <a:pt x="1040" y="248"/>
                    </a:lnTo>
                    <a:lnTo>
                      <a:pt x="1034" y="250"/>
                    </a:lnTo>
                    <a:lnTo>
                      <a:pt x="1034" y="250"/>
                    </a:lnTo>
                    <a:lnTo>
                      <a:pt x="1034" y="250"/>
                    </a:lnTo>
                    <a:lnTo>
                      <a:pt x="1030" y="252"/>
                    </a:lnTo>
                    <a:lnTo>
                      <a:pt x="1030" y="252"/>
                    </a:lnTo>
                    <a:lnTo>
                      <a:pt x="1030" y="252"/>
                    </a:lnTo>
                    <a:lnTo>
                      <a:pt x="1028" y="254"/>
                    </a:lnTo>
                    <a:lnTo>
                      <a:pt x="1028" y="254"/>
                    </a:lnTo>
                    <a:lnTo>
                      <a:pt x="1028" y="256"/>
                    </a:lnTo>
                    <a:lnTo>
                      <a:pt x="1028" y="258"/>
                    </a:lnTo>
                    <a:lnTo>
                      <a:pt x="1026" y="260"/>
                    </a:lnTo>
                    <a:lnTo>
                      <a:pt x="1024" y="264"/>
                    </a:lnTo>
                    <a:lnTo>
                      <a:pt x="1022" y="266"/>
                    </a:lnTo>
                    <a:lnTo>
                      <a:pt x="1020" y="268"/>
                    </a:lnTo>
                    <a:lnTo>
                      <a:pt x="1020" y="268"/>
                    </a:lnTo>
                    <a:lnTo>
                      <a:pt x="1020" y="270"/>
                    </a:lnTo>
                    <a:lnTo>
                      <a:pt x="1020" y="270"/>
                    </a:lnTo>
                    <a:lnTo>
                      <a:pt x="1020" y="270"/>
                    </a:lnTo>
                    <a:lnTo>
                      <a:pt x="1018" y="268"/>
                    </a:lnTo>
                    <a:lnTo>
                      <a:pt x="1018" y="264"/>
                    </a:lnTo>
                    <a:lnTo>
                      <a:pt x="1016" y="260"/>
                    </a:lnTo>
                    <a:lnTo>
                      <a:pt x="1016" y="258"/>
                    </a:lnTo>
                    <a:lnTo>
                      <a:pt x="1016" y="258"/>
                    </a:lnTo>
                    <a:lnTo>
                      <a:pt x="1016" y="256"/>
                    </a:lnTo>
                    <a:lnTo>
                      <a:pt x="1014" y="254"/>
                    </a:lnTo>
                    <a:lnTo>
                      <a:pt x="1014" y="254"/>
                    </a:lnTo>
                    <a:lnTo>
                      <a:pt x="1014" y="252"/>
                    </a:lnTo>
                    <a:lnTo>
                      <a:pt x="1014" y="248"/>
                    </a:lnTo>
                    <a:lnTo>
                      <a:pt x="1014" y="246"/>
                    </a:lnTo>
                    <a:lnTo>
                      <a:pt x="1014" y="244"/>
                    </a:lnTo>
                    <a:lnTo>
                      <a:pt x="1014" y="242"/>
                    </a:lnTo>
                    <a:lnTo>
                      <a:pt x="1014" y="240"/>
                    </a:lnTo>
                    <a:lnTo>
                      <a:pt x="1016" y="238"/>
                    </a:lnTo>
                    <a:lnTo>
                      <a:pt x="1018" y="238"/>
                    </a:lnTo>
                    <a:lnTo>
                      <a:pt x="1018" y="238"/>
                    </a:lnTo>
                    <a:lnTo>
                      <a:pt x="1020" y="236"/>
                    </a:lnTo>
                    <a:lnTo>
                      <a:pt x="1022" y="234"/>
                    </a:lnTo>
                    <a:lnTo>
                      <a:pt x="1022" y="234"/>
                    </a:lnTo>
                    <a:lnTo>
                      <a:pt x="1022" y="232"/>
                    </a:lnTo>
                    <a:lnTo>
                      <a:pt x="1024" y="230"/>
                    </a:lnTo>
                    <a:lnTo>
                      <a:pt x="1024" y="230"/>
                    </a:lnTo>
                    <a:lnTo>
                      <a:pt x="1024" y="230"/>
                    </a:lnTo>
                    <a:lnTo>
                      <a:pt x="1026" y="226"/>
                    </a:lnTo>
                    <a:lnTo>
                      <a:pt x="1026" y="222"/>
                    </a:lnTo>
                    <a:lnTo>
                      <a:pt x="1026" y="222"/>
                    </a:lnTo>
                    <a:lnTo>
                      <a:pt x="1026" y="218"/>
                    </a:lnTo>
                    <a:lnTo>
                      <a:pt x="1024" y="216"/>
                    </a:lnTo>
                    <a:lnTo>
                      <a:pt x="1022" y="216"/>
                    </a:lnTo>
                    <a:lnTo>
                      <a:pt x="1022" y="214"/>
                    </a:lnTo>
                    <a:lnTo>
                      <a:pt x="1020" y="212"/>
                    </a:lnTo>
                    <a:lnTo>
                      <a:pt x="1020" y="212"/>
                    </a:lnTo>
                    <a:lnTo>
                      <a:pt x="1020" y="212"/>
                    </a:lnTo>
                    <a:lnTo>
                      <a:pt x="1020" y="210"/>
                    </a:lnTo>
                    <a:lnTo>
                      <a:pt x="1020" y="210"/>
                    </a:lnTo>
                    <a:lnTo>
                      <a:pt x="1018" y="210"/>
                    </a:lnTo>
                    <a:lnTo>
                      <a:pt x="1016" y="210"/>
                    </a:lnTo>
                    <a:lnTo>
                      <a:pt x="1016" y="210"/>
                    </a:lnTo>
                    <a:lnTo>
                      <a:pt x="1016" y="210"/>
                    </a:lnTo>
                    <a:lnTo>
                      <a:pt x="1014" y="210"/>
                    </a:lnTo>
                    <a:lnTo>
                      <a:pt x="1014" y="210"/>
                    </a:lnTo>
                    <a:lnTo>
                      <a:pt x="1014" y="210"/>
                    </a:lnTo>
                    <a:lnTo>
                      <a:pt x="1010" y="210"/>
                    </a:lnTo>
                    <a:lnTo>
                      <a:pt x="1010" y="210"/>
                    </a:lnTo>
                    <a:lnTo>
                      <a:pt x="1010" y="212"/>
                    </a:lnTo>
                    <a:lnTo>
                      <a:pt x="1006" y="214"/>
                    </a:lnTo>
                    <a:lnTo>
                      <a:pt x="1004" y="216"/>
                    </a:lnTo>
                    <a:lnTo>
                      <a:pt x="1000" y="222"/>
                    </a:lnTo>
                    <a:lnTo>
                      <a:pt x="996" y="226"/>
                    </a:lnTo>
                    <a:lnTo>
                      <a:pt x="994" y="228"/>
                    </a:lnTo>
                    <a:lnTo>
                      <a:pt x="992" y="230"/>
                    </a:lnTo>
                    <a:lnTo>
                      <a:pt x="992" y="230"/>
                    </a:lnTo>
                    <a:lnTo>
                      <a:pt x="990" y="232"/>
                    </a:lnTo>
                    <a:lnTo>
                      <a:pt x="990" y="234"/>
                    </a:lnTo>
                    <a:lnTo>
                      <a:pt x="990" y="234"/>
                    </a:lnTo>
                    <a:lnTo>
                      <a:pt x="990" y="234"/>
                    </a:lnTo>
                    <a:lnTo>
                      <a:pt x="988" y="234"/>
                    </a:lnTo>
                    <a:lnTo>
                      <a:pt x="986" y="234"/>
                    </a:lnTo>
                    <a:lnTo>
                      <a:pt x="984" y="232"/>
                    </a:lnTo>
                    <a:lnTo>
                      <a:pt x="982" y="232"/>
                    </a:lnTo>
                    <a:lnTo>
                      <a:pt x="980" y="230"/>
                    </a:lnTo>
                    <a:lnTo>
                      <a:pt x="980" y="228"/>
                    </a:lnTo>
                    <a:lnTo>
                      <a:pt x="978" y="226"/>
                    </a:lnTo>
                    <a:lnTo>
                      <a:pt x="978" y="226"/>
                    </a:lnTo>
                    <a:lnTo>
                      <a:pt x="976" y="224"/>
                    </a:lnTo>
                    <a:lnTo>
                      <a:pt x="972" y="220"/>
                    </a:lnTo>
                    <a:lnTo>
                      <a:pt x="970" y="218"/>
                    </a:lnTo>
                    <a:lnTo>
                      <a:pt x="970" y="216"/>
                    </a:lnTo>
                    <a:lnTo>
                      <a:pt x="970" y="214"/>
                    </a:lnTo>
                    <a:lnTo>
                      <a:pt x="968" y="210"/>
                    </a:lnTo>
                    <a:lnTo>
                      <a:pt x="968" y="210"/>
                    </a:lnTo>
                    <a:lnTo>
                      <a:pt x="968" y="210"/>
                    </a:lnTo>
                    <a:lnTo>
                      <a:pt x="968" y="208"/>
                    </a:lnTo>
                    <a:lnTo>
                      <a:pt x="968" y="208"/>
                    </a:lnTo>
                    <a:lnTo>
                      <a:pt x="968" y="208"/>
                    </a:lnTo>
                    <a:lnTo>
                      <a:pt x="966" y="206"/>
                    </a:lnTo>
                    <a:lnTo>
                      <a:pt x="966" y="206"/>
                    </a:lnTo>
                    <a:lnTo>
                      <a:pt x="966" y="206"/>
                    </a:lnTo>
                    <a:lnTo>
                      <a:pt x="964" y="204"/>
                    </a:lnTo>
                    <a:lnTo>
                      <a:pt x="962" y="202"/>
                    </a:lnTo>
                    <a:lnTo>
                      <a:pt x="962" y="202"/>
                    </a:lnTo>
                    <a:lnTo>
                      <a:pt x="962" y="198"/>
                    </a:lnTo>
                    <a:lnTo>
                      <a:pt x="964" y="196"/>
                    </a:lnTo>
                    <a:lnTo>
                      <a:pt x="964" y="194"/>
                    </a:lnTo>
                    <a:lnTo>
                      <a:pt x="964" y="192"/>
                    </a:lnTo>
                    <a:lnTo>
                      <a:pt x="966" y="192"/>
                    </a:lnTo>
                    <a:lnTo>
                      <a:pt x="968" y="190"/>
                    </a:lnTo>
                    <a:lnTo>
                      <a:pt x="968" y="190"/>
                    </a:lnTo>
                    <a:lnTo>
                      <a:pt x="968" y="188"/>
                    </a:lnTo>
                    <a:lnTo>
                      <a:pt x="970" y="186"/>
                    </a:lnTo>
                    <a:lnTo>
                      <a:pt x="970" y="186"/>
                    </a:lnTo>
                    <a:lnTo>
                      <a:pt x="970" y="184"/>
                    </a:lnTo>
                    <a:lnTo>
                      <a:pt x="972" y="182"/>
                    </a:lnTo>
                    <a:lnTo>
                      <a:pt x="972" y="182"/>
                    </a:lnTo>
                    <a:lnTo>
                      <a:pt x="972" y="180"/>
                    </a:lnTo>
                    <a:lnTo>
                      <a:pt x="972" y="178"/>
                    </a:lnTo>
                    <a:lnTo>
                      <a:pt x="972" y="178"/>
                    </a:lnTo>
                    <a:lnTo>
                      <a:pt x="972" y="176"/>
                    </a:lnTo>
                    <a:lnTo>
                      <a:pt x="970" y="174"/>
                    </a:lnTo>
                    <a:lnTo>
                      <a:pt x="970" y="174"/>
                    </a:lnTo>
                    <a:lnTo>
                      <a:pt x="970" y="174"/>
                    </a:lnTo>
                    <a:lnTo>
                      <a:pt x="968" y="170"/>
                    </a:lnTo>
                    <a:lnTo>
                      <a:pt x="968" y="170"/>
                    </a:lnTo>
                    <a:lnTo>
                      <a:pt x="968" y="170"/>
                    </a:lnTo>
                    <a:lnTo>
                      <a:pt x="966" y="168"/>
                    </a:lnTo>
                    <a:lnTo>
                      <a:pt x="966" y="168"/>
                    </a:lnTo>
                    <a:lnTo>
                      <a:pt x="966" y="168"/>
                    </a:lnTo>
                    <a:lnTo>
                      <a:pt x="962" y="164"/>
                    </a:lnTo>
                    <a:lnTo>
                      <a:pt x="960" y="162"/>
                    </a:lnTo>
                    <a:lnTo>
                      <a:pt x="958" y="160"/>
                    </a:lnTo>
                    <a:lnTo>
                      <a:pt x="954" y="156"/>
                    </a:lnTo>
                    <a:lnTo>
                      <a:pt x="950" y="152"/>
                    </a:lnTo>
                    <a:lnTo>
                      <a:pt x="950" y="152"/>
                    </a:lnTo>
                    <a:lnTo>
                      <a:pt x="948" y="152"/>
                    </a:lnTo>
                    <a:lnTo>
                      <a:pt x="946" y="150"/>
                    </a:lnTo>
                    <a:lnTo>
                      <a:pt x="946" y="150"/>
                    </a:lnTo>
                    <a:lnTo>
                      <a:pt x="946" y="150"/>
                    </a:lnTo>
                    <a:lnTo>
                      <a:pt x="944" y="150"/>
                    </a:lnTo>
                    <a:lnTo>
                      <a:pt x="942" y="148"/>
                    </a:lnTo>
                    <a:lnTo>
                      <a:pt x="942" y="148"/>
                    </a:lnTo>
                    <a:lnTo>
                      <a:pt x="942" y="148"/>
                    </a:lnTo>
                    <a:lnTo>
                      <a:pt x="940" y="148"/>
                    </a:lnTo>
                    <a:lnTo>
                      <a:pt x="940" y="148"/>
                    </a:lnTo>
                    <a:lnTo>
                      <a:pt x="938" y="148"/>
                    </a:lnTo>
                    <a:lnTo>
                      <a:pt x="936" y="148"/>
                    </a:lnTo>
                    <a:lnTo>
                      <a:pt x="936" y="148"/>
                    </a:lnTo>
                    <a:lnTo>
                      <a:pt x="936" y="148"/>
                    </a:lnTo>
                    <a:lnTo>
                      <a:pt x="934" y="148"/>
                    </a:lnTo>
                    <a:lnTo>
                      <a:pt x="934" y="148"/>
                    </a:lnTo>
                    <a:lnTo>
                      <a:pt x="934" y="148"/>
                    </a:lnTo>
                    <a:lnTo>
                      <a:pt x="930" y="150"/>
                    </a:lnTo>
                    <a:lnTo>
                      <a:pt x="930" y="150"/>
                    </a:lnTo>
                    <a:lnTo>
                      <a:pt x="930" y="150"/>
                    </a:lnTo>
                    <a:lnTo>
                      <a:pt x="926" y="152"/>
                    </a:lnTo>
                    <a:lnTo>
                      <a:pt x="926" y="152"/>
                    </a:lnTo>
                    <a:lnTo>
                      <a:pt x="924" y="154"/>
                    </a:lnTo>
                    <a:lnTo>
                      <a:pt x="924" y="156"/>
                    </a:lnTo>
                    <a:lnTo>
                      <a:pt x="922" y="160"/>
                    </a:lnTo>
                    <a:lnTo>
                      <a:pt x="922" y="160"/>
                    </a:lnTo>
                    <a:lnTo>
                      <a:pt x="922" y="160"/>
                    </a:lnTo>
                    <a:lnTo>
                      <a:pt x="922" y="162"/>
                    </a:lnTo>
                    <a:lnTo>
                      <a:pt x="922" y="162"/>
                    </a:lnTo>
                    <a:lnTo>
                      <a:pt x="922" y="162"/>
                    </a:lnTo>
                    <a:lnTo>
                      <a:pt x="922" y="164"/>
                    </a:lnTo>
                    <a:lnTo>
                      <a:pt x="922" y="164"/>
                    </a:lnTo>
                    <a:lnTo>
                      <a:pt x="922" y="166"/>
                    </a:lnTo>
                    <a:lnTo>
                      <a:pt x="922" y="168"/>
                    </a:lnTo>
                    <a:lnTo>
                      <a:pt x="922" y="168"/>
                    </a:lnTo>
                    <a:lnTo>
                      <a:pt x="922" y="168"/>
                    </a:lnTo>
                    <a:lnTo>
                      <a:pt x="924" y="170"/>
                    </a:lnTo>
                    <a:lnTo>
                      <a:pt x="924" y="170"/>
                    </a:lnTo>
                    <a:lnTo>
                      <a:pt x="924" y="172"/>
                    </a:lnTo>
                    <a:lnTo>
                      <a:pt x="926" y="172"/>
                    </a:lnTo>
                    <a:lnTo>
                      <a:pt x="926" y="172"/>
                    </a:lnTo>
                    <a:lnTo>
                      <a:pt x="928" y="172"/>
                    </a:lnTo>
                    <a:lnTo>
                      <a:pt x="930" y="174"/>
                    </a:lnTo>
                    <a:lnTo>
                      <a:pt x="932" y="174"/>
                    </a:lnTo>
                    <a:lnTo>
                      <a:pt x="932" y="174"/>
                    </a:lnTo>
                    <a:lnTo>
                      <a:pt x="932" y="174"/>
                    </a:lnTo>
                    <a:lnTo>
                      <a:pt x="932" y="176"/>
                    </a:lnTo>
                    <a:lnTo>
                      <a:pt x="932" y="176"/>
                    </a:lnTo>
                    <a:lnTo>
                      <a:pt x="932" y="178"/>
                    </a:lnTo>
                    <a:lnTo>
                      <a:pt x="930" y="180"/>
                    </a:lnTo>
                    <a:lnTo>
                      <a:pt x="928" y="182"/>
                    </a:lnTo>
                    <a:lnTo>
                      <a:pt x="926" y="184"/>
                    </a:lnTo>
                    <a:lnTo>
                      <a:pt x="926" y="184"/>
                    </a:lnTo>
                    <a:lnTo>
                      <a:pt x="924" y="186"/>
                    </a:lnTo>
                    <a:lnTo>
                      <a:pt x="924" y="190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2" y="192"/>
                    </a:lnTo>
                    <a:lnTo>
                      <a:pt x="920" y="192"/>
                    </a:lnTo>
                    <a:lnTo>
                      <a:pt x="918" y="188"/>
                    </a:lnTo>
                    <a:lnTo>
                      <a:pt x="918" y="188"/>
                    </a:lnTo>
                    <a:lnTo>
                      <a:pt x="918" y="188"/>
                    </a:lnTo>
                    <a:lnTo>
                      <a:pt x="914" y="184"/>
                    </a:lnTo>
                    <a:lnTo>
                      <a:pt x="914" y="184"/>
                    </a:lnTo>
                    <a:lnTo>
                      <a:pt x="914" y="184"/>
                    </a:lnTo>
                    <a:lnTo>
                      <a:pt x="910" y="180"/>
                    </a:lnTo>
                    <a:lnTo>
                      <a:pt x="906" y="178"/>
                    </a:lnTo>
                    <a:lnTo>
                      <a:pt x="906" y="176"/>
                    </a:lnTo>
                    <a:lnTo>
                      <a:pt x="904" y="176"/>
                    </a:lnTo>
                    <a:lnTo>
                      <a:pt x="904" y="176"/>
                    </a:lnTo>
                    <a:lnTo>
                      <a:pt x="904" y="174"/>
                    </a:lnTo>
                    <a:lnTo>
                      <a:pt x="904" y="174"/>
                    </a:lnTo>
                    <a:lnTo>
                      <a:pt x="904" y="174"/>
                    </a:lnTo>
                    <a:lnTo>
                      <a:pt x="900" y="174"/>
                    </a:lnTo>
                    <a:lnTo>
                      <a:pt x="898" y="174"/>
                    </a:lnTo>
                    <a:lnTo>
                      <a:pt x="898" y="174"/>
                    </a:lnTo>
                    <a:lnTo>
                      <a:pt x="898" y="174"/>
                    </a:lnTo>
                    <a:lnTo>
                      <a:pt x="896" y="176"/>
                    </a:lnTo>
                    <a:lnTo>
                      <a:pt x="896" y="176"/>
                    </a:lnTo>
                    <a:lnTo>
                      <a:pt x="896" y="176"/>
                    </a:lnTo>
                    <a:lnTo>
                      <a:pt x="892" y="178"/>
                    </a:lnTo>
                    <a:lnTo>
                      <a:pt x="890" y="180"/>
                    </a:lnTo>
                    <a:lnTo>
                      <a:pt x="888" y="182"/>
                    </a:lnTo>
                    <a:lnTo>
                      <a:pt x="888" y="184"/>
                    </a:lnTo>
                    <a:lnTo>
                      <a:pt x="886" y="184"/>
                    </a:lnTo>
                    <a:lnTo>
                      <a:pt x="886" y="184"/>
                    </a:lnTo>
                    <a:lnTo>
                      <a:pt x="886" y="184"/>
                    </a:lnTo>
                    <a:lnTo>
                      <a:pt x="884" y="190"/>
                    </a:lnTo>
                    <a:lnTo>
                      <a:pt x="884" y="192"/>
                    </a:lnTo>
                    <a:lnTo>
                      <a:pt x="882" y="190"/>
                    </a:lnTo>
                    <a:lnTo>
                      <a:pt x="880" y="186"/>
                    </a:lnTo>
                    <a:lnTo>
                      <a:pt x="880" y="184"/>
                    </a:lnTo>
                    <a:lnTo>
                      <a:pt x="882" y="184"/>
                    </a:lnTo>
                    <a:lnTo>
                      <a:pt x="882" y="182"/>
                    </a:lnTo>
                    <a:lnTo>
                      <a:pt x="884" y="180"/>
                    </a:lnTo>
                    <a:lnTo>
                      <a:pt x="890" y="174"/>
                    </a:lnTo>
                    <a:lnTo>
                      <a:pt x="892" y="172"/>
                    </a:lnTo>
                    <a:lnTo>
                      <a:pt x="892" y="172"/>
                    </a:lnTo>
                    <a:lnTo>
                      <a:pt x="892" y="172"/>
                    </a:lnTo>
                    <a:lnTo>
                      <a:pt x="894" y="168"/>
                    </a:lnTo>
                    <a:lnTo>
                      <a:pt x="894" y="168"/>
                    </a:lnTo>
                    <a:lnTo>
                      <a:pt x="894" y="166"/>
                    </a:lnTo>
                    <a:lnTo>
                      <a:pt x="894" y="158"/>
                    </a:lnTo>
                    <a:lnTo>
                      <a:pt x="894" y="148"/>
                    </a:lnTo>
                    <a:lnTo>
                      <a:pt x="892" y="140"/>
                    </a:lnTo>
                    <a:lnTo>
                      <a:pt x="890" y="130"/>
                    </a:lnTo>
                    <a:lnTo>
                      <a:pt x="888" y="120"/>
                    </a:lnTo>
                    <a:lnTo>
                      <a:pt x="888" y="120"/>
                    </a:lnTo>
                    <a:lnTo>
                      <a:pt x="888" y="120"/>
                    </a:lnTo>
                    <a:lnTo>
                      <a:pt x="882" y="112"/>
                    </a:lnTo>
                    <a:lnTo>
                      <a:pt x="882" y="112"/>
                    </a:lnTo>
                    <a:lnTo>
                      <a:pt x="882" y="112"/>
                    </a:lnTo>
                    <a:lnTo>
                      <a:pt x="880" y="108"/>
                    </a:lnTo>
                    <a:lnTo>
                      <a:pt x="878" y="106"/>
                    </a:lnTo>
                    <a:lnTo>
                      <a:pt x="878" y="106"/>
                    </a:lnTo>
                    <a:lnTo>
                      <a:pt x="876" y="106"/>
                    </a:lnTo>
                    <a:lnTo>
                      <a:pt x="874" y="102"/>
                    </a:lnTo>
                    <a:lnTo>
                      <a:pt x="870" y="100"/>
                    </a:lnTo>
                    <a:lnTo>
                      <a:pt x="870" y="100"/>
                    </a:lnTo>
                    <a:lnTo>
                      <a:pt x="868" y="100"/>
                    </a:lnTo>
                    <a:lnTo>
                      <a:pt x="864" y="100"/>
                    </a:lnTo>
                    <a:lnTo>
                      <a:pt x="860" y="102"/>
                    </a:lnTo>
                    <a:lnTo>
                      <a:pt x="858" y="102"/>
                    </a:lnTo>
                    <a:lnTo>
                      <a:pt x="854" y="104"/>
                    </a:lnTo>
                    <a:lnTo>
                      <a:pt x="852" y="104"/>
                    </a:lnTo>
                    <a:lnTo>
                      <a:pt x="850" y="106"/>
                    </a:lnTo>
                    <a:lnTo>
                      <a:pt x="850" y="106"/>
                    </a:lnTo>
                    <a:lnTo>
                      <a:pt x="850" y="106"/>
                    </a:lnTo>
                    <a:lnTo>
                      <a:pt x="848" y="108"/>
                    </a:lnTo>
                    <a:lnTo>
                      <a:pt x="844" y="110"/>
                    </a:lnTo>
                    <a:lnTo>
                      <a:pt x="842" y="112"/>
                    </a:lnTo>
                    <a:lnTo>
                      <a:pt x="840" y="114"/>
                    </a:lnTo>
                    <a:lnTo>
                      <a:pt x="838" y="116"/>
                    </a:lnTo>
                    <a:lnTo>
                      <a:pt x="836" y="116"/>
                    </a:lnTo>
                    <a:lnTo>
                      <a:pt x="836" y="116"/>
                    </a:lnTo>
                    <a:lnTo>
                      <a:pt x="834" y="116"/>
                    </a:lnTo>
                    <a:lnTo>
                      <a:pt x="832" y="120"/>
                    </a:lnTo>
                    <a:lnTo>
                      <a:pt x="832" y="120"/>
                    </a:lnTo>
                    <a:lnTo>
                      <a:pt x="832" y="120"/>
                    </a:lnTo>
                    <a:lnTo>
                      <a:pt x="830" y="122"/>
                    </a:lnTo>
                    <a:lnTo>
                      <a:pt x="830" y="122"/>
                    </a:lnTo>
                    <a:lnTo>
                      <a:pt x="830" y="124"/>
                    </a:lnTo>
                    <a:lnTo>
                      <a:pt x="828" y="126"/>
                    </a:lnTo>
                    <a:lnTo>
                      <a:pt x="828" y="130"/>
                    </a:lnTo>
                    <a:lnTo>
                      <a:pt x="826" y="134"/>
                    </a:lnTo>
                    <a:lnTo>
                      <a:pt x="826" y="136"/>
                    </a:lnTo>
                    <a:lnTo>
                      <a:pt x="824" y="140"/>
                    </a:lnTo>
                    <a:lnTo>
                      <a:pt x="824" y="140"/>
                    </a:lnTo>
                    <a:lnTo>
                      <a:pt x="822" y="142"/>
                    </a:lnTo>
                    <a:lnTo>
                      <a:pt x="822" y="142"/>
                    </a:lnTo>
                    <a:lnTo>
                      <a:pt x="820" y="142"/>
                    </a:lnTo>
                    <a:lnTo>
                      <a:pt x="820" y="146"/>
                    </a:lnTo>
                    <a:lnTo>
                      <a:pt x="820" y="146"/>
                    </a:lnTo>
                    <a:lnTo>
                      <a:pt x="820" y="146"/>
                    </a:lnTo>
                    <a:lnTo>
                      <a:pt x="820" y="150"/>
                    </a:lnTo>
                    <a:lnTo>
                      <a:pt x="820" y="150"/>
                    </a:lnTo>
                    <a:lnTo>
                      <a:pt x="820" y="150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20" y="162"/>
                    </a:lnTo>
                    <a:lnTo>
                      <a:pt x="822" y="166"/>
                    </a:lnTo>
                    <a:lnTo>
                      <a:pt x="824" y="168"/>
                    </a:lnTo>
                    <a:lnTo>
                      <a:pt x="824" y="170"/>
                    </a:lnTo>
                    <a:lnTo>
                      <a:pt x="824" y="174"/>
                    </a:lnTo>
                    <a:lnTo>
                      <a:pt x="824" y="178"/>
                    </a:lnTo>
                    <a:lnTo>
                      <a:pt x="824" y="182"/>
                    </a:lnTo>
                    <a:lnTo>
                      <a:pt x="824" y="184"/>
                    </a:lnTo>
                    <a:lnTo>
                      <a:pt x="824" y="184"/>
                    </a:lnTo>
                    <a:lnTo>
                      <a:pt x="824" y="186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20" y="188"/>
                    </a:lnTo>
                    <a:lnTo>
                      <a:pt x="820" y="188"/>
                    </a:lnTo>
                    <a:lnTo>
                      <a:pt x="820" y="188"/>
                    </a:lnTo>
                    <a:lnTo>
                      <a:pt x="820" y="192"/>
                    </a:lnTo>
                    <a:lnTo>
                      <a:pt x="820" y="192"/>
                    </a:lnTo>
                    <a:lnTo>
                      <a:pt x="820" y="192"/>
                    </a:lnTo>
                    <a:lnTo>
                      <a:pt x="822" y="192"/>
                    </a:lnTo>
                    <a:lnTo>
                      <a:pt x="824" y="194"/>
                    </a:lnTo>
                    <a:lnTo>
                      <a:pt x="824" y="194"/>
                    </a:lnTo>
                    <a:lnTo>
                      <a:pt x="826" y="196"/>
                    </a:lnTo>
                    <a:lnTo>
                      <a:pt x="828" y="198"/>
                    </a:lnTo>
                    <a:lnTo>
                      <a:pt x="830" y="200"/>
                    </a:lnTo>
                    <a:lnTo>
                      <a:pt x="830" y="200"/>
                    </a:lnTo>
                    <a:lnTo>
                      <a:pt x="830" y="200"/>
                    </a:lnTo>
                    <a:lnTo>
                      <a:pt x="830" y="202"/>
                    </a:lnTo>
                    <a:lnTo>
                      <a:pt x="830" y="202"/>
                    </a:lnTo>
                    <a:lnTo>
                      <a:pt x="828" y="204"/>
                    </a:lnTo>
                    <a:lnTo>
                      <a:pt x="828" y="204"/>
                    </a:lnTo>
                    <a:lnTo>
                      <a:pt x="828" y="206"/>
                    </a:lnTo>
                    <a:lnTo>
                      <a:pt x="826" y="210"/>
                    </a:lnTo>
                    <a:lnTo>
                      <a:pt x="826" y="212"/>
                    </a:lnTo>
                    <a:lnTo>
                      <a:pt x="824" y="216"/>
                    </a:lnTo>
                    <a:lnTo>
                      <a:pt x="822" y="220"/>
                    </a:lnTo>
                    <a:lnTo>
                      <a:pt x="822" y="220"/>
                    </a:lnTo>
                    <a:lnTo>
                      <a:pt x="820" y="222"/>
                    </a:lnTo>
                    <a:lnTo>
                      <a:pt x="818" y="224"/>
                    </a:lnTo>
                    <a:lnTo>
                      <a:pt x="816" y="224"/>
                    </a:lnTo>
                    <a:lnTo>
                      <a:pt x="818" y="222"/>
                    </a:lnTo>
                    <a:lnTo>
                      <a:pt x="820" y="220"/>
                    </a:lnTo>
                    <a:lnTo>
                      <a:pt x="822" y="216"/>
                    </a:lnTo>
                    <a:lnTo>
                      <a:pt x="824" y="216"/>
                    </a:lnTo>
                    <a:lnTo>
                      <a:pt x="824" y="216"/>
                    </a:lnTo>
                    <a:lnTo>
                      <a:pt x="824" y="216"/>
                    </a:lnTo>
                    <a:lnTo>
                      <a:pt x="824" y="214"/>
                    </a:lnTo>
                    <a:lnTo>
                      <a:pt x="824" y="214"/>
                    </a:lnTo>
                    <a:lnTo>
                      <a:pt x="824" y="212"/>
                    </a:lnTo>
                    <a:lnTo>
                      <a:pt x="824" y="212"/>
                    </a:lnTo>
                    <a:lnTo>
                      <a:pt x="824" y="212"/>
                    </a:lnTo>
                    <a:lnTo>
                      <a:pt x="824" y="210"/>
                    </a:lnTo>
                    <a:lnTo>
                      <a:pt x="824" y="210"/>
                    </a:lnTo>
                    <a:lnTo>
                      <a:pt x="822" y="208"/>
                    </a:lnTo>
                    <a:lnTo>
                      <a:pt x="822" y="208"/>
                    </a:lnTo>
                    <a:lnTo>
                      <a:pt x="822" y="208"/>
                    </a:lnTo>
                    <a:lnTo>
                      <a:pt x="822" y="206"/>
                    </a:lnTo>
                    <a:lnTo>
                      <a:pt x="820" y="202"/>
                    </a:lnTo>
                    <a:lnTo>
                      <a:pt x="816" y="200"/>
                    </a:lnTo>
                    <a:lnTo>
                      <a:pt x="812" y="194"/>
                    </a:lnTo>
                    <a:lnTo>
                      <a:pt x="810" y="190"/>
                    </a:lnTo>
                    <a:lnTo>
                      <a:pt x="808" y="188"/>
                    </a:lnTo>
                    <a:lnTo>
                      <a:pt x="806" y="182"/>
                    </a:lnTo>
                    <a:lnTo>
                      <a:pt x="806" y="176"/>
                    </a:lnTo>
                    <a:lnTo>
                      <a:pt x="806" y="168"/>
                    </a:lnTo>
                    <a:lnTo>
                      <a:pt x="806" y="162"/>
                    </a:lnTo>
                    <a:lnTo>
                      <a:pt x="806" y="156"/>
                    </a:lnTo>
                    <a:lnTo>
                      <a:pt x="808" y="152"/>
                    </a:lnTo>
                    <a:lnTo>
                      <a:pt x="810" y="142"/>
                    </a:lnTo>
                    <a:lnTo>
                      <a:pt x="812" y="132"/>
                    </a:lnTo>
                    <a:lnTo>
                      <a:pt x="814" y="126"/>
                    </a:lnTo>
                    <a:lnTo>
                      <a:pt x="814" y="122"/>
                    </a:lnTo>
                    <a:lnTo>
                      <a:pt x="816" y="120"/>
                    </a:lnTo>
                    <a:lnTo>
                      <a:pt x="818" y="116"/>
                    </a:lnTo>
                    <a:lnTo>
                      <a:pt x="822" y="110"/>
                    </a:lnTo>
                    <a:lnTo>
                      <a:pt x="826" y="106"/>
                    </a:lnTo>
                    <a:lnTo>
                      <a:pt x="828" y="104"/>
                    </a:lnTo>
                    <a:lnTo>
                      <a:pt x="830" y="102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4" y="98"/>
                    </a:lnTo>
                    <a:lnTo>
                      <a:pt x="824" y="98"/>
                    </a:lnTo>
                    <a:lnTo>
                      <a:pt x="820" y="98"/>
                    </a:lnTo>
                    <a:lnTo>
                      <a:pt x="822" y="96"/>
                    </a:lnTo>
                    <a:lnTo>
                      <a:pt x="820" y="94"/>
                    </a:lnTo>
                    <a:lnTo>
                      <a:pt x="820" y="94"/>
                    </a:lnTo>
                    <a:lnTo>
                      <a:pt x="816" y="92"/>
                    </a:lnTo>
                    <a:lnTo>
                      <a:pt x="814" y="90"/>
                    </a:lnTo>
                    <a:lnTo>
                      <a:pt x="812" y="90"/>
                    </a:lnTo>
                    <a:lnTo>
                      <a:pt x="812" y="90"/>
                    </a:lnTo>
                    <a:lnTo>
                      <a:pt x="810" y="90"/>
                    </a:lnTo>
                    <a:lnTo>
                      <a:pt x="808" y="88"/>
                    </a:lnTo>
                    <a:lnTo>
                      <a:pt x="808" y="88"/>
                    </a:lnTo>
                    <a:lnTo>
                      <a:pt x="808" y="88"/>
                    </a:lnTo>
                    <a:lnTo>
                      <a:pt x="806" y="88"/>
                    </a:lnTo>
                    <a:lnTo>
                      <a:pt x="806" y="88"/>
                    </a:lnTo>
                    <a:lnTo>
                      <a:pt x="806" y="88"/>
                    </a:lnTo>
                    <a:lnTo>
                      <a:pt x="804" y="88"/>
                    </a:lnTo>
                    <a:lnTo>
                      <a:pt x="800" y="90"/>
                    </a:lnTo>
                    <a:lnTo>
                      <a:pt x="796" y="92"/>
                    </a:lnTo>
                    <a:lnTo>
                      <a:pt x="792" y="96"/>
                    </a:lnTo>
                    <a:lnTo>
                      <a:pt x="786" y="100"/>
                    </a:lnTo>
                    <a:lnTo>
                      <a:pt x="784" y="102"/>
                    </a:lnTo>
                    <a:lnTo>
                      <a:pt x="782" y="104"/>
                    </a:lnTo>
                    <a:lnTo>
                      <a:pt x="776" y="110"/>
                    </a:lnTo>
                    <a:lnTo>
                      <a:pt x="770" y="114"/>
                    </a:lnTo>
                    <a:lnTo>
                      <a:pt x="768" y="118"/>
                    </a:lnTo>
                    <a:lnTo>
                      <a:pt x="766" y="120"/>
                    </a:lnTo>
                    <a:lnTo>
                      <a:pt x="766" y="120"/>
                    </a:lnTo>
                    <a:lnTo>
                      <a:pt x="766" y="120"/>
                    </a:lnTo>
                    <a:lnTo>
                      <a:pt x="766" y="124"/>
                    </a:lnTo>
                    <a:lnTo>
                      <a:pt x="764" y="126"/>
                    </a:lnTo>
                    <a:lnTo>
                      <a:pt x="762" y="130"/>
                    </a:lnTo>
                    <a:lnTo>
                      <a:pt x="760" y="132"/>
                    </a:lnTo>
                    <a:lnTo>
                      <a:pt x="758" y="138"/>
                    </a:lnTo>
                    <a:lnTo>
                      <a:pt x="758" y="138"/>
                    </a:lnTo>
                    <a:lnTo>
                      <a:pt x="756" y="138"/>
                    </a:lnTo>
                    <a:lnTo>
                      <a:pt x="756" y="144"/>
                    </a:lnTo>
                    <a:lnTo>
                      <a:pt x="756" y="146"/>
                    </a:lnTo>
                    <a:lnTo>
                      <a:pt x="756" y="150"/>
                    </a:lnTo>
                    <a:lnTo>
                      <a:pt x="756" y="152"/>
                    </a:lnTo>
                    <a:lnTo>
                      <a:pt x="754" y="154"/>
                    </a:lnTo>
                    <a:lnTo>
                      <a:pt x="754" y="156"/>
                    </a:lnTo>
                    <a:lnTo>
                      <a:pt x="752" y="158"/>
                    </a:lnTo>
                    <a:lnTo>
                      <a:pt x="752" y="160"/>
                    </a:lnTo>
                    <a:lnTo>
                      <a:pt x="752" y="160"/>
                    </a:lnTo>
                    <a:lnTo>
                      <a:pt x="750" y="162"/>
                    </a:lnTo>
                    <a:lnTo>
                      <a:pt x="750" y="168"/>
                    </a:lnTo>
                    <a:lnTo>
                      <a:pt x="750" y="176"/>
                    </a:lnTo>
                    <a:lnTo>
                      <a:pt x="748" y="188"/>
                    </a:lnTo>
                    <a:lnTo>
                      <a:pt x="748" y="196"/>
                    </a:lnTo>
                    <a:lnTo>
                      <a:pt x="748" y="202"/>
                    </a:lnTo>
                    <a:lnTo>
                      <a:pt x="750" y="208"/>
                    </a:lnTo>
                    <a:lnTo>
                      <a:pt x="750" y="216"/>
                    </a:lnTo>
                    <a:lnTo>
                      <a:pt x="752" y="218"/>
                    </a:lnTo>
                    <a:lnTo>
                      <a:pt x="752" y="222"/>
                    </a:lnTo>
                    <a:lnTo>
                      <a:pt x="752" y="224"/>
                    </a:lnTo>
                    <a:lnTo>
                      <a:pt x="752" y="224"/>
                    </a:lnTo>
                    <a:lnTo>
                      <a:pt x="752" y="224"/>
                    </a:lnTo>
                    <a:lnTo>
                      <a:pt x="754" y="226"/>
                    </a:lnTo>
                    <a:lnTo>
                      <a:pt x="754" y="228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2"/>
                    </a:lnTo>
                    <a:lnTo>
                      <a:pt x="758" y="234"/>
                    </a:lnTo>
                    <a:lnTo>
                      <a:pt x="758" y="236"/>
                    </a:lnTo>
                    <a:lnTo>
                      <a:pt x="760" y="238"/>
                    </a:lnTo>
                    <a:lnTo>
                      <a:pt x="760" y="240"/>
                    </a:lnTo>
                    <a:lnTo>
                      <a:pt x="762" y="242"/>
                    </a:lnTo>
                    <a:lnTo>
                      <a:pt x="762" y="244"/>
                    </a:lnTo>
                    <a:lnTo>
                      <a:pt x="762" y="246"/>
                    </a:lnTo>
                    <a:lnTo>
                      <a:pt x="762" y="248"/>
                    </a:lnTo>
                    <a:lnTo>
                      <a:pt x="764" y="250"/>
                    </a:lnTo>
                    <a:lnTo>
                      <a:pt x="764" y="252"/>
                    </a:lnTo>
                    <a:lnTo>
                      <a:pt x="764" y="254"/>
                    </a:lnTo>
                    <a:lnTo>
                      <a:pt x="764" y="258"/>
                    </a:lnTo>
                    <a:lnTo>
                      <a:pt x="764" y="262"/>
                    </a:lnTo>
                    <a:lnTo>
                      <a:pt x="764" y="262"/>
                    </a:lnTo>
                    <a:lnTo>
                      <a:pt x="766" y="264"/>
                    </a:lnTo>
                    <a:lnTo>
                      <a:pt x="768" y="264"/>
                    </a:lnTo>
                    <a:lnTo>
                      <a:pt x="768" y="264"/>
                    </a:lnTo>
                    <a:lnTo>
                      <a:pt x="770" y="264"/>
                    </a:lnTo>
                    <a:lnTo>
                      <a:pt x="776" y="264"/>
                    </a:lnTo>
                    <a:lnTo>
                      <a:pt x="780" y="262"/>
                    </a:lnTo>
                    <a:lnTo>
                      <a:pt x="786" y="262"/>
                    </a:lnTo>
                    <a:lnTo>
                      <a:pt x="792" y="262"/>
                    </a:lnTo>
                    <a:lnTo>
                      <a:pt x="796" y="262"/>
                    </a:lnTo>
                    <a:lnTo>
                      <a:pt x="796" y="262"/>
                    </a:lnTo>
                    <a:lnTo>
                      <a:pt x="798" y="264"/>
                    </a:lnTo>
                    <a:lnTo>
                      <a:pt x="796" y="264"/>
                    </a:lnTo>
                    <a:lnTo>
                      <a:pt x="794" y="268"/>
                    </a:lnTo>
                    <a:lnTo>
                      <a:pt x="794" y="268"/>
                    </a:lnTo>
                    <a:lnTo>
                      <a:pt x="794" y="268"/>
                    </a:lnTo>
                    <a:lnTo>
                      <a:pt x="794" y="270"/>
                    </a:lnTo>
                    <a:lnTo>
                      <a:pt x="794" y="270"/>
                    </a:lnTo>
                    <a:lnTo>
                      <a:pt x="794" y="272"/>
                    </a:lnTo>
                    <a:lnTo>
                      <a:pt x="794" y="272"/>
                    </a:lnTo>
                    <a:lnTo>
                      <a:pt x="794" y="272"/>
                    </a:lnTo>
                    <a:lnTo>
                      <a:pt x="794" y="274"/>
                    </a:lnTo>
                    <a:lnTo>
                      <a:pt x="796" y="276"/>
                    </a:lnTo>
                    <a:lnTo>
                      <a:pt x="796" y="276"/>
                    </a:lnTo>
                    <a:lnTo>
                      <a:pt x="796" y="276"/>
                    </a:lnTo>
                    <a:lnTo>
                      <a:pt x="798" y="276"/>
                    </a:lnTo>
                    <a:lnTo>
                      <a:pt x="798" y="276"/>
                    </a:lnTo>
                    <a:lnTo>
                      <a:pt x="798" y="278"/>
                    </a:lnTo>
                    <a:lnTo>
                      <a:pt x="800" y="278"/>
                    </a:lnTo>
                    <a:lnTo>
                      <a:pt x="800" y="278"/>
                    </a:lnTo>
                    <a:lnTo>
                      <a:pt x="802" y="278"/>
                    </a:lnTo>
                    <a:lnTo>
                      <a:pt x="808" y="278"/>
                    </a:lnTo>
                    <a:lnTo>
                      <a:pt x="814" y="276"/>
                    </a:lnTo>
                    <a:lnTo>
                      <a:pt x="820" y="276"/>
                    </a:lnTo>
                    <a:lnTo>
                      <a:pt x="822" y="276"/>
                    </a:lnTo>
                    <a:lnTo>
                      <a:pt x="822" y="276"/>
                    </a:lnTo>
                    <a:lnTo>
                      <a:pt x="822" y="276"/>
                    </a:lnTo>
                    <a:lnTo>
                      <a:pt x="820" y="278"/>
                    </a:lnTo>
                    <a:lnTo>
                      <a:pt x="820" y="278"/>
                    </a:lnTo>
                    <a:lnTo>
                      <a:pt x="820" y="280"/>
                    </a:lnTo>
                    <a:lnTo>
                      <a:pt x="818" y="282"/>
                    </a:lnTo>
                    <a:lnTo>
                      <a:pt x="818" y="282"/>
                    </a:lnTo>
                    <a:lnTo>
                      <a:pt x="818" y="284"/>
                    </a:lnTo>
                    <a:lnTo>
                      <a:pt x="818" y="288"/>
                    </a:lnTo>
                    <a:lnTo>
                      <a:pt x="820" y="292"/>
                    </a:lnTo>
                    <a:lnTo>
                      <a:pt x="820" y="298"/>
                    </a:lnTo>
                    <a:lnTo>
                      <a:pt x="822" y="302"/>
                    </a:lnTo>
                    <a:lnTo>
                      <a:pt x="822" y="306"/>
                    </a:lnTo>
                    <a:lnTo>
                      <a:pt x="822" y="310"/>
                    </a:lnTo>
                    <a:lnTo>
                      <a:pt x="820" y="314"/>
                    </a:lnTo>
                    <a:lnTo>
                      <a:pt x="818" y="318"/>
                    </a:lnTo>
                    <a:lnTo>
                      <a:pt x="816" y="326"/>
                    </a:lnTo>
                    <a:lnTo>
                      <a:pt x="812" y="334"/>
                    </a:lnTo>
                    <a:lnTo>
                      <a:pt x="810" y="338"/>
                    </a:lnTo>
                    <a:lnTo>
                      <a:pt x="810" y="342"/>
                    </a:lnTo>
                    <a:lnTo>
                      <a:pt x="808" y="350"/>
                    </a:lnTo>
                    <a:lnTo>
                      <a:pt x="806" y="358"/>
                    </a:lnTo>
                    <a:lnTo>
                      <a:pt x="802" y="364"/>
                    </a:lnTo>
                    <a:lnTo>
                      <a:pt x="802" y="368"/>
                    </a:lnTo>
                    <a:lnTo>
                      <a:pt x="800" y="370"/>
                    </a:lnTo>
                    <a:lnTo>
                      <a:pt x="798" y="374"/>
                    </a:lnTo>
                    <a:lnTo>
                      <a:pt x="796" y="376"/>
                    </a:lnTo>
                    <a:lnTo>
                      <a:pt x="794" y="380"/>
                    </a:lnTo>
                    <a:lnTo>
                      <a:pt x="792" y="382"/>
                    </a:lnTo>
                    <a:lnTo>
                      <a:pt x="790" y="384"/>
                    </a:lnTo>
                    <a:lnTo>
                      <a:pt x="788" y="386"/>
                    </a:lnTo>
                    <a:lnTo>
                      <a:pt x="788" y="386"/>
                    </a:lnTo>
                    <a:lnTo>
                      <a:pt x="788" y="386"/>
                    </a:lnTo>
                    <a:lnTo>
                      <a:pt x="788" y="384"/>
                    </a:lnTo>
                    <a:lnTo>
                      <a:pt x="786" y="382"/>
                    </a:lnTo>
                    <a:lnTo>
                      <a:pt x="784" y="378"/>
                    </a:lnTo>
                    <a:lnTo>
                      <a:pt x="784" y="374"/>
                    </a:lnTo>
                    <a:lnTo>
                      <a:pt x="782" y="366"/>
                    </a:lnTo>
                    <a:lnTo>
                      <a:pt x="780" y="360"/>
                    </a:lnTo>
                    <a:lnTo>
                      <a:pt x="780" y="356"/>
                    </a:lnTo>
                    <a:lnTo>
                      <a:pt x="780" y="354"/>
                    </a:lnTo>
                    <a:lnTo>
                      <a:pt x="780" y="354"/>
                    </a:lnTo>
                    <a:lnTo>
                      <a:pt x="782" y="350"/>
                    </a:lnTo>
                    <a:lnTo>
                      <a:pt x="782" y="348"/>
                    </a:lnTo>
                    <a:lnTo>
                      <a:pt x="784" y="344"/>
                    </a:lnTo>
                    <a:lnTo>
                      <a:pt x="784" y="340"/>
                    </a:lnTo>
                    <a:lnTo>
                      <a:pt x="786" y="338"/>
                    </a:lnTo>
                    <a:lnTo>
                      <a:pt x="786" y="334"/>
                    </a:lnTo>
                    <a:lnTo>
                      <a:pt x="786" y="334"/>
                    </a:lnTo>
                    <a:lnTo>
                      <a:pt x="786" y="332"/>
                    </a:lnTo>
                    <a:lnTo>
                      <a:pt x="786" y="330"/>
                    </a:lnTo>
                    <a:lnTo>
                      <a:pt x="786" y="330"/>
                    </a:lnTo>
                    <a:lnTo>
                      <a:pt x="786" y="328"/>
                    </a:lnTo>
                    <a:lnTo>
                      <a:pt x="786" y="326"/>
                    </a:lnTo>
                    <a:lnTo>
                      <a:pt x="784" y="322"/>
                    </a:lnTo>
                    <a:lnTo>
                      <a:pt x="782" y="316"/>
                    </a:lnTo>
                    <a:lnTo>
                      <a:pt x="780" y="312"/>
                    </a:lnTo>
                    <a:lnTo>
                      <a:pt x="776" y="308"/>
                    </a:lnTo>
                    <a:lnTo>
                      <a:pt x="774" y="306"/>
                    </a:lnTo>
                    <a:lnTo>
                      <a:pt x="774" y="306"/>
                    </a:lnTo>
                    <a:lnTo>
                      <a:pt x="774" y="306"/>
                    </a:lnTo>
                    <a:lnTo>
                      <a:pt x="772" y="304"/>
                    </a:lnTo>
                    <a:lnTo>
                      <a:pt x="772" y="304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68" y="302"/>
                    </a:lnTo>
                    <a:lnTo>
                      <a:pt x="768" y="302"/>
                    </a:lnTo>
                    <a:lnTo>
                      <a:pt x="766" y="302"/>
                    </a:lnTo>
                    <a:lnTo>
                      <a:pt x="766" y="302"/>
                    </a:lnTo>
                    <a:lnTo>
                      <a:pt x="766" y="302"/>
                    </a:lnTo>
                    <a:lnTo>
                      <a:pt x="764" y="302"/>
                    </a:lnTo>
                    <a:lnTo>
                      <a:pt x="764" y="304"/>
                    </a:lnTo>
                    <a:lnTo>
                      <a:pt x="762" y="304"/>
                    </a:lnTo>
                    <a:lnTo>
                      <a:pt x="762" y="304"/>
                    </a:lnTo>
                    <a:lnTo>
                      <a:pt x="762" y="306"/>
                    </a:lnTo>
                    <a:lnTo>
                      <a:pt x="762" y="306"/>
                    </a:lnTo>
                    <a:lnTo>
                      <a:pt x="760" y="310"/>
                    </a:lnTo>
                    <a:lnTo>
                      <a:pt x="758" y="316"/>
                    </a:lnTo>
                    <a:lnTo>
                      <a:pt x="756" y="320"/>
                    </a:lnTo>
                    <a:lnTo>
                      <a:pt x="754" y="324"/>
                    </a:lnTo>
                    <a:lnTo>
                      <a:pt x="752" y="328"/>
                    </a:lnTo>
                    <a:lnTo>
                      <a:pt x="750" y="330"/>
                    </a:lnTo>
                    <a:lnTo>
                      <a:pt x="750" y="330"/>
                    </a:lnTo>
                    <a:lnTo>
                      <a:pt x="748" y="336"/>
                    </a:lnTo>
                    <a:lnTo>
                      <a:pt x="746" y="340"/>
                    </a:lnTo>
                    <a:lnTo>
                      <a:pt x="746" y="336"/>
                    </a:lnTo>
                    <a:lnTo>
                      <a:pt x="746" y="330"/>
                    </a:lnTo>
                    <a:lnTo>
                      <a:pt x="744" y="326"/>
                    </a:lnTo>
                    <a:lnTo>
                      <a:pt x="744" y="320"/>
                    </a:lnTo>
                    <a:lnTo>
                      <a:pt x="742" y="316"/>
                    </a:lnTo>
                    <a:lnTo>
                      <a:pt x="740" y="312"/>
                    </a:lnTo>
                    <a:lnTo>
                      <a:pt x="740" y="312"/>
                    </a:lnTo>
                    <a:lnTo>
                      <a:pt x="740" y="312"/>
                    </a:lnTo>
                    <a:lnTo>
                      <a:pt x="738" y="308"/>
                    </a:lnTo>
                    <a:lnTo>
                      <a:pt x="738" y="308"/>
                    </a:lnTo>
                    <a:lnTo>
                      <a:pt x="738" y="308"/>
                    </a:lnTo>
                    <a:lnTo>
                      <a:pt x="736" y="304"/>
                    </a:lnTo>
                    <a:lnTo>
                      <a:pt x="736" y="304"/>
                    </a:lnTo>
                    <a:lnTo>
                      <a:pt x="736" y="304"/>
                    </a:lnTo>
                    <a:lnTo>
                      <a:pt x="730" y="300"/>
                    </a:lnTo>
                    <a:lnTo>
                      <a:pt x="724" y="296"/>
                    </a:lnTo>
                    <a:lnTo>
                      <a:pt x="720" y="294"/>
                    </a:lnTo>
                    <a:lnTo>
                      <a:pt x="720" y="292"/>
                    </a:lnTo>
                    <a:lnTo>
                      <a:pt x="718" y="292"/>
                    </a:lnTo>
                    <a:lnTo>
                      <a:pt x="714" y="290"/>
                    </a:lnTo>
                    <a:lnTo>
                      <a:pt x="712" y="288"/>
                    </a:lnTo>
                    <a:lnTo>
                      <a:pt x="710" y="286"/>
                    </a:lnTo>
                    <a:lnTo>
                      <a:pt x="710" y="286"/>
                    </a:lnTo>
                    <a:lnTo>
                      <a:pt x="710" y="284"/>
                    </a:lnTo>
                    <a:lnTo>
                      <a:pt x="710" y="284"/>
                    </a:lnTo>
                    <a:lnTo>
                      <a:pt x="710" y="280"/>
                    </a:lnTo>
                    <a:lnTo>
                      <a:pt x="710" y="276"/>
                    </a:lnTo>
                    <a:lnTo>
                      <a:pt x="712" y="272"/>
                    </a:lnTo>
                    <a:lnTo>
                      <a:pt x="714" y="266"/>
                    </a:lnTo>
                    <a:lnTo>
                      <a:pt x="716" y="262"/>
                    </a:lnTo>
                    <a:lnTo>
                      <a:pt x="718" y="256"/>
                    </a:lnTo>
                    <a:lnTo>
                      <a:pt x="720" y="252"/>
                    </a:lnTo>
                    <a:lnTo>
                      <a:pt x="720" y="246"/>
                    </a:lnTo>
                    <a:lnTo>
                      <a:pt x="720" y="238"/>
                    </a:lnTo>
                    <a:lnTo>
                      <a:pt x="720" y="234"/>
                    </a:lnTo>
                    <a:lnTo>
                      <a:pt x="720" y="230"/>
                    </a:lnTo>
                    <a:lnTo>
                      <a:pt x="720" y="226"/>
                    </a:lnTo>
                    <a:lnTo>
                      <a:pt x="718" y="222"/>
                    </a:lnTo>
                    <a:lnTo>
                      <a:pt x="716" y="220"/>
                    </a:lnTo>
                    <a:lnTo>
                      <a:pt x="716" y="220"/>
                    </a:lnTo>
                    <a:lnTo>
                      <a:pt x="716" y="218"/>
                    </a:lnTo>
                    <a:lnTo>
                      <a:pt x="714" y="216"/>
                    </a:lnTo>
                    <a:lnTo>
                      <a:pt x="710" y="212"/>
                    </a:lnTo>
                    <a:lnTo>
                      <a:pt x="706" y="208"/>
                    </a:lnTo>
                    <a:lnTo>
                      <a:pt x="700" y="204"/>
                    </a:lnTo>
                    <a:lnTo>
                      <a:pt x="696" y="200"/>
                    </a:lnTo>
                    <a:lnTo>
                      <a:pt x="690" y="196"/>
                    </a:lnTo>
                    <a:lnTo>
                      <a:pt x="684" y="194"/>
                    </a:lnTo>
                    <a:lnTo>
                      <a:pt x="680" y="192"/>
                    </a:lnTo>
                    <a:lnTo>
                      <a:pt x="680" y="192"/>
                    </a:lnTo>
                    <a:lnTo>
                      <a:pt x="680" y="192"/>
                    </a:lnTo>
                    <a:lnTo>
                      <a:pt x="676" y="190"/>
                    </a:lnTo>
                    <a:lnTo>
                      <a:pt x="676" y="190"/>
                    </a:lnTo>
                    <a:lnTo>
                      <a:pt x="676" y="190"/>
                    </a:lnTo>
                    <a:lnTo>
                      <a:pt x="672" y="190"/>
                    </a:lnTo>
                    <a:lnTo>
                      <a:pt x="672" y="190"/>
                    </a:lnTo>
                    <a:lnTo>
                      <a:pt x="672" y="190"/>
                    </a:lnTo>
                    <a:lnTo>
                      <a:pt x="670" y="192"/>
                    </a:lnTo>
                    <a:lnTo>
                      <a:pt x="670" y="192"/>
                    </a:lnTo>
                    <a:lnTo>
                      <a:pt x="668" y="192"/>
                    </a:lnTo>
                    <a:lnTo>
                      <a:pt x="666" y="192"/>
                    </a:lnTo>
                    <a:lnTo>
                      <a:pt x="666" y="192"/>
                    </a:lnTo>
                    <a:lnTo>
                      <a:pt x="666" y="194"/>
                    </a:lnTo>
                    <a:lnTo>
                      <a:pt x="664" y="196"/>
                    </a:lnTo>
                    <a:lnTo>
                      <a:pt x="664" y="196"/>
                    </a:lnTo>
                    <a:lnTo>
                      <a:pt x="664" y="196"/>
                    </a:lnTo>
                    <a:lnTo>
                      <a:pt x="662" y="198"/>
                    </a:lnTo>
                    <a:lnTo>
                      <a:pt x="660" y="202"/>
                    </a:lnTo>
                    <a:lnTo>
                      <a:pt x="658" y="208"/>
                    </a:lnTo>
                    <a:lnTo>
                      <a:pt x="658" y="212"/>
                    </a:lnTo>
                    <a:lnTo>
                      <a:pt x="656" y="216"/>
                    </a:lnTo>
                    <a:lnTo>
                      <a:pt x="656" y="224"/>
                    </a:lnTo>
                    <a:lnTo>
                      <a:pt x="654" y="232"/>
                    </a:lnTo>
                    <a:lnTo>
                      <a:pt x="654" y="236"/>
                    </a:lnTo>
                    <a:lnTo>
                      <a:pt x="654" y="240"/>
                    </a:lnTo>
                    <a:lnTo>
                      <a:pt x="654" y="248"/>
                    </a:lnTo>
                    <a:lnTo>
                      <a:pt x="656" y="256"/>
                    </a:lnTo>
                    <a:lnTo>
                      <a:pt x="656" y="264"/>
                    </a:lnTo>
                    <a:lnTo>
                      <a:pt x="658" y="266"/>
                    </a:lnTo>
                    <a:lnTo>
                      <a:pt x="658" y="270"/>
                    </a:lnTo>
                    <a:lnTo>
                      <a:pt x="658" y="270"/>
                    </a:lnTo>
                    <a:lnTo>
                      <a:pt x="658" y="270"/>
                    </a:lnTo>
                    <a:lnTo>
                      <a:pt x="660" y="272"/>
                    </a:lnTo>
                    <a:lnTo>
                      <a:pt x="660" y="272"/>
                    </a:lnTo>
                    <a:lnTo>
                      <a:pt x="660" y="274"/>
                    </a:lnTo>
                    <a:lnTo>
                      <a:pt x="662" y="276"/>
                    </a:lnTo>
                    <a:lnTo>
                      <a:pt x="662" y="276"/>
                    </a:lnTo>
                    <a:lnTo>
                      <a:pt x="662" y="276"/>
                    </a:lnTo>
                    <a:lnTo>
                      <a:pt x="666" y="278"/>
                    </a:lnTo>
                    <a:lnTo>
                      <a:pt x="672" y="282"/>
                    </a:lnTo>
                    <a:lnTo>
                      <a:pt x="676" y="286"/>
                    </a:lnTo>
                    <a:lnTo>
                      <a:pt x="680" y="288"/>
                    </a:lnTo>
                    <a:lnTo>
                      <a:pt x="684" y="290"/>
                    </a:lnTo>
                    <a:lnTo>
                      <a:pt x="690" y="294"/>
                    </a:lnTo>
                    <a:lnTo>
                      <a:pt x="694" y="296"/>
                    </a:lnTo>
                    <a:lnTo>
                      <a:pt x="696" y="298"/>
                    </a:lnTo>
                    <a:lnTo>
                      <a:pt x="698" y="300"/>
                    </a:lnTo>
                    <a:lnTo>
                      <a:pt x="700" y="302"/>
                    </a:lnTo>
                    <a:lnTo>
                      <a:pt x="700" y="306"/>
                    </a:lnTo>
                    <a:lnTo>
                      <a:pt x="700" y="306"/>
                    </a:lnTo>
                    <a:lnTo>
                      <a:pt x="700" y="308"/>
                    </a:lnTo>
                    <a:lnTo>
                      <a:pt x="700" y="312"/>
                    </a:lnTo>
                    <a:lnTo>
                      <a:pt x="700" y="316"/>
                    </a:lnTo>
                    <a:lnTo>
                      <a:pt x="700" y="322"/>
                    </a:lnTo>
                    <a:lnTo>
                      <a:pt x="698" y="326"/>
                    </a:lnTo>
                    <a:lnTo>
                      <a:pt x="696" y="328"/>
                    </a:lnTo>
                    <a:lnTo>
                      <a:pt x="696" y="332"/>
                    </a:lnTo>
                    <a:lnTo>
                      <a:pt x="692" y="334"/>
                    </a:lnTo>
                    <a:lnTo>
                      <a:pt x="690" y="338"/>
                    </a:lnTo>
                    <a:lnTo>
                      <a:pt x="686" y="340"/>
                    </a:lnTo>
                    <a:lnTo>
                      <a:pt x="684" y="344"/>
                    </a:lnTo>
                    <a:lnTo>
                      <a:pt x="680" y="346"/>
                    </a:lnTo>
                    <a:lnTo>
                      <a:pt x="676" y="348"/>
                    </a:lnTo>
                    <a:lnTo>
                      <a:pt x="674" y="352"/>
                    </a:lnTo>
                    <a:lnTo>
                      <a:pt x="672" y="354"/>
                    </a:lnTo>
                    <a:lnTo>
                      <a:pt x="672" y="356"/>
                    </a:lnTo>
                    <a:lnTo>
                      <a:pt x="672" y="356"/>
                    </a:lnTo>
                    <a:lnTo>
                      <a:pt x="672" y="356"/>
                    </a:lnTo>
                    <a:lnTo>
                      <a:pt x="670" y="358"/>
                    </a:lnTo>
                    <a:lnTo>
                      <a:pt x="670" y="358"/>
                    </a:lnTo>
                    <a:lnTo>
                      <a:pt x="670" y="358"/>
                    </a:lnTo>
                    <a:lnTo>
                      <a:pt x="670" y="360"/>
                    </a:lnTo>
                    <a:lnTo>
                      <a:pt x="670" y="362"/>
                    </a:lnTo>
                    <a:lnTo>
                      <a:pt x="670" y="364"/>
                    </a:lnTo>
                    <a:lnTo>
                      <a:pt x="670" y="364"/>
                    </a:lnTo>
                    <a:lnTo>
                      <a:pt x="670" y="368"/>
                    </a:lnTo>
                    <a:lnTo>
                      <a:pt x="670" y="370"/>
                    </a:lnTo>
                    <a:lnTo>
                      <a:pt x="670" y="376"/>
                    </a:lnTo>
                    <a:lnTo>
                      <a:pt x="670" y="378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68" y="380"/>
                    </a:lnTo>
                    <a:lnTo>
                      <a:pt x="666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2" y="378"/>
                    </a:lnTo>
                    <a:lnTo>
                      <a:pt x="662" y="376"/>
                    </a:lnTo>
                    <a:lnTo>
                      <a:pt x="662" y="376"/>
                    </a:lnTo>
                    <a:lnTo>
                      <a:pt x="662" y="374"/>
                    </a:lnTo>
                    <a:lnTo>
                      <a:pt x="662" y="370"/>
                    </a:lnTo>
                    <a:lnTo>
                      <a:pt x="662" y="368"/>
                    </a:lnTo>
                    <a:lnTo>
                      <a:pt x="662" y="364"/>
                    </a:lnTo>
                    <a:lnTo>
                      <a:pt x="662" y="360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62" y="354"/>
                    </a:lnTo>
                    <a:lnTo>
                      <a:pt x="662" y="354"/>
                    </a:lnTo>
                    <a:lnTo>
                      <a:pt x="662" y="352"/>
                    </a:lnTo>
                    <a:lnTo>
                      <a:pt x="660" y="350"/>
                    </a:lnTo>
                    <a:lnTo>
                      <a:pt x="658" y="346"/>
                    </a:lnTo>
                    <a:lnTo>
                      <a:pt x="656" y="344"/>
                    </a:lnTo>
                    <a:lnTo>
                      <a:pt x="652" y="340"/>
                    </a:lnTo>
                    <a:lnTo>
                      <a:pt x="650" y="338"/>
                    </a:lnTo>
                    <a:lnTo>
                      <a:pt x="648" y="334"/>
                    </a:lnTo>
                    <a:lnTo>
                      <a:pt x="644" y="332"/>
                    </a:lnTo>
                    <a:lnTo>
                      <a:pt x="642" y="332"/>
                    </a:lnTo>
                    <a:lnTo>
                      <a:pt x="642" y="332"/>
                    </a:lnTo>
                    <a:lnTo>
                      <a:pt x="640" y="330"/>
                    </a:lnTo>
                    <a:lnTo>
                      <a:pt x="636" y="330"/>
                    </a:lnTo>
                    <a:lnTo>
                      <a:pt x="636" y="330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8"/>
                    </a:lnTo>
                    <a:lnTo>
                      <a:pt x="630" y="328"/>
                    </a:lnTo>
                    <a:lnTo>
                      <a:pt x="630" y="328"/>
                    </a:lnTo>
                    <a:lnTo>
                      <a:pt x="628" y="330"/>
                    </a:lnTo>
                    <a:lnTo>
                      <a:pt x="628" y="330"/>
                    </a:lnTo>
                    <a:lnTo>
                      <a:pt x="626" y="330"/>
                    </a:lnTo>
                    <a:lnTo>
                      <a:pt x="624" y="330"/>
                    </a:lnTo>
                    <a:lnTo>
                      <a:pt x="624" y="330"/>
                    </a:lnTo>
                    <a:lnTo>
                      <a:pt x="624" y="330"/>
                    </a:lnTo>
                    <a:lnTo>
                      <a:pt x="622" y="332"/>
                    </a:lnTo>
                    <a:lnTo>
                      <a:pt x="622" y="332"/>
                    </a:lnTo>
                    <a:lnTo>
                      <a:pt x="622" y="332"/>
                    </a:lnTo>
                    <a:lnTo>
                      <a:pt x="620" y="334"/>
                    </a:lnTo>
                    <a:lnTo>
                      <a:pt x="620" y="334"/>
                    </a:lnTo>
                    <a:lnTo>
                      <a:pt x="620" y="336"/>
                    </a:lnTo>
                    <a:lnTo>
                      <a:pt x="620" y="338"/>
                    </a:lnTo>
                    <a:lnTo>
                      <a:pt x="620" y="338"/>
                    </a:lnTo>
                    <a:lnTo>
                      <a:pt x="620" y="338"/>
                    </a:lnTo>
                    <a:lnTo>
                      <a:pt x="622" y="342"/>
                    </a:lnTo>
                    <a:lnTo>
                      <a:pt x="622" y="346"/>
                    </a:lnTo>
                    <a:lnTo>
                      <a:pt x="624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0"/>
                    </a:lnTo>
                    <a:lnTo>
                      <a:pt x="624" y="360"/>
                    </a:lnTo>
                    <a:lnTo>
                      <a:pt x="624" y="360"/>
                    </a:lnTo>
                    <a:lnTo>
                      <a:pt x="624" y="362"/>
                    </a:lnTo>
                    <a:lnTo>
                      <a:pt x="624" y="362"/>
                    </a:lnTo>
                    <a:lnTo>
                      <a:pt x="622" y="362"/>
                    </a:lnTo>
                    <a:lnTo>
                      <a:pt x="618" y="362"/>
                    </a:lnTo>
                    <a:lnTo>
                      <a:pt x="612" y="364"/>
                    </a:lnTo>
                    <a:lnTo>
                      <a:pt x="606" y="364"/>
                    </a:lnTo>
                    <a:lnTo>
                      <a:pt x="600" y="362"/>
                    </a:lnTo>
                    <a:lnTo>
                      <a:pt x="594" y="362"/>
                    </a:lnTo>
                    <a:lnTo>
                      <a:pt x="588" y="362"/>
                    </a:lnTo>
                    <a:lnTo>
                      <a:pt x="584" y="362"/>
                    </a:lnTo>
                    <a:lnTo>
                      <a:pt x="576" y="362"/>
                    </a:lnTo>
                    <a:lnTo>
                      <a:pt x="568" y="362"/>
                    </a:lnTo>
                    <a:lnTo>
                      <a:pt x="562" y="360"/>
                    </a:lnTo>
                    <a:lnTo>
                      <a:pt x="556" y="358"/>
                    </a:lnTo>
                    <a:lnTo>
                      <a:pt x="554" y="356"/>
                    </a:lnTo>
                    <a:lnTo>
                      <a:pt x="552" y="354"/>
                    </a:lnTo>
                    <a:lnTo>
                      <a:pt x="548" y="350"/>
                    </a:lnTo>
                    <a:lnTo>
                      <a:pt x="544" y="344"/>
                    </a:lnTo>
                    <a:lnTo>
                      <a:pt x="542" y="342"/>
                    </a:lnTo>
                    <a:lnTo>
                      <a:pt x="540" y="340"/>
                    </a:lnTo>
                    <a:lnTo>
                      <a:pt x="536" y="338"/>
                    </a:lnTo>
                    <a:lnTo>
                      <a:pt x="536" y="338"/>
                    </a:lnTo>
                    <a:lnTo>
                      <a:pt x="536" y="338"/>
                    </a:lnTo>
                    <a:lnTo>
                      <a:pt x="532" y="336"/>
                    </a:lnTo>
                    <a:lnTo>
                      <a:pt x="532" y="336"/>
                    </a:lnTo>
                    <a:lnTo>
                      <a:pt x="532" y="336"/>
                    </a:lnTo>
                    <a:lnTo>
                      <a:pt x="528" y="336"/>
                    </a:lnTo>
                    <a:lnTo>
                      <a:pt x="528" y="336"/>
                    </a:lnTo>
                    <a:lnTo>
                      <a:pt x="528" y="336"/>
                    </a:lnTo>
                    <a:lnTo>
                      <a:pt x="524" y="336"/>
                    </a:lnTo>
                    <a:lnTo>
                      <a:pt x="522" y="336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0" y="338"/>
                    </a:lnTo>
                    <a:lnTo>
                      <a:pt x="506" y="338"/>
                    </a:lnTo>
                    <a:lnTo>
                      <a:pt x="500" y="340"/>
                    </a:lnTo>
                    <a:lnTo>
                      <a:pt x="500" y="340"/>
                    </a:lnTo>
                    <a:lnTo>
                      <a:pt x="500" y="340"/>
                    </a:lnTo>
                    <a:lnTo>
                      <a:pt x="496" y="342"/>
                    </a:lnTo>
                    <a:lnTo>
                      <a:pt x="496" y="342"/>
                    </a:lnTo>
                    <a:lnTo>
                      <a:pt x="496" y="342"/>
                    </a:lnTo>
                    <a:lnTo>
                      <a:pt x="492" y="344"/>
                    </a:lnTo>
                    <a:lnTo>
                      <a:pt x="492" y="344"/>
                    </a:lnTo>
                    <a:lnTo>
                      <a:pt x="492" y="346"/>
                    </a:lnTo>
                    <a:lnTo>
                      <a:pt x="490" y="348"/>
                    </a:lnTo>
                    <a:lnTo>
                      <a:pt x="490" y="348"/>
                    </a:lnTo>
                    <a:lnTo>
                      <a:pt x="488" y="350"/>
                    </a:lnTo>
                    <a:lnTo>
                      <a:pt x="488" y="352"/>
                    </a:lnTo>
                    <a:lnTo>
                      <a:pt x="488" y="352"/>
                    </a:lnTo>
                    <a:lnTo>
                      <a:pt x="488" y="352"/>
                    </a:lnTo>
                    <a:lnTo>
                      <a:pt x="488" y="354"/>
                    </a:lnTo>
                    <a:lnTo>
                      <a:pt x="488" y="354"/>
                    </a:lnTo>
                    <a:lnTo>
                      <a:pt x="488" y="354"/>
                    </a:lnTo>
                    <a:lnTo>
                      <a:pt x="488" y="360"/>
                    </a:lnTo>
                    <a:lnTo>
                      <a:pt x="490" y="368"/>
                    </a:lnTo>
                    <a:lnTo>
                      <a:pt x="492" y="374"/>
                    </a:lnTo>
                    <a:lnTo>
                      <a:pt x="494" y="380"/>
                    </a:lnTo>
                    <a:lnTo>
                      <a:pt x="496" y="388"/>
                    </a:lnTo>
                    <a:lnTo>
                      <a:pt x="498" y="392"/>
                    </a:lnTo>
                    <a:lnTo>
                      <a:pt x="498" y="398"/>
                    </a:lnTo>
                    <a:lnTo>
                      <a:pt x="498" y="406"/>
                    </a:lnTo>
                    <a:lnTo>
                      <a:pt x="498" y="410"/>
                    </a:lnTo>
                    <a:lnTo>
                      <a:pt x="498" y="412"/>
                    </a:lnTo>
                    <a:lnTo>
                      <a:pt x="498" y="414"/>
                    </a:lnTo>
                    <a:lnTo>
                      <a:pt x="498" y="414"/>
                    </a:lnTo>
                    <a:lnTo>
                      <a:pt x="496" y="412"/>
                    </a:lnTo>
                    <a:lnTo>
                      <a:pt x="496" y="410"/>
                    </a:lnTo>
                    <a:lnTo>
                      <a:pt x="492" y="404"/>
                    </a:lnTo>
                    <a:lnTo>
                      <a:pt x="488" y="398"/>
                    </a:lnTo>
                    <a:lnTo>
                      <a:pt x="484" y="392"/>
                    </a:lnTo>
                    <a:lnTo>
                      <a:pt x="480" y="384"/>
                    </a:lnTo>
                    <a:lnTo>
                      <a:pt x="478" y="382"/>
                    </a:lnTo>
                    <a:lnTo>
                      <a:pt x="476" y="380"/>
                    </a:lnTo>
                    <a:lnTo>
                      <a:pt x="474" y="378"/>
                    </a:lnTo>
                    <a:lnTo>
                      <a:pt x="474" y="376"/>
                    </a:lnTo>
                    <a:lnTo>
                      <a:pt x="472" y="372"/>
                    </a:lnTo>
                    <a:lnTo>
                      <a:pt x="470" y="370"/>
                    </a:lnTo>
                    <a:lnTo>
                      <a:pt x="468" y="368"/>
                    </a:lnTo>
                    <a:lnTo>
                      <a:pt x="468" y="368"/>
                    </a:lnTo>
                    <a:lnTo>
                      <a:pt x="468" y="368"/>
                    </a:lnTo>
                    <a:lnTo>
                      <a:pt x="466" y="366"/>
                    </a:lnTo>
                    <a:lnTo>
                      <a:pt x="464" y="366"/>
                    </a:lnTo>
                    <a:lnTo>
                      <a:pt x="464" y="366"/>
                    </a:lnTo>
                    <a:lnTo>
                      <a:pt x="464" y="364"/>
                    </a:lnTo>
                    <a:lnTo>
                      <a:pt x="462" y="364"/>
                    </a:lnTo>
                    <a:lnTo>
                      <a:pt x="462" y="364"/>
                    </a:lnTo>
                    <a:lnTo>
                      <a:pt x="456" y="362"/>
                    </a:lnTo>
                    <a:lnTo>
                      <a:pt x="452" y="362"/>
                    </a:lnTo>
                    <a:lnTo>
                      <a:pt x="446" y="360"/>
                    </a:lnTo>
                    <a:lnTo>
                      <a:pt x="440" y="360"/>
                    </a:lnTo>
                    <a:lnTo>
                      <a:pt x="436" y="360"/>
                    </a:lnTo>
                    <a:lnTo>
                      <a:pt x="432" y="362"/>
                    </a:lnTo>
                    <a:lnTo>
                      <a:pt x="424" y="364"/>
                    </a:lnTo>
                    <a:lnTo>
                      <a:pt x="420" y="364"/>
                    </a:lnTo>
                    <a:lnTo>
                      <a:pt x="418" y="366"/>
                    </a:lnTo>
                    <a:lnTo>
                      <a:pt x="414" y="366"/>
                    </a:lnTo>
                    <a:lnTo>
                      <a:pt x="414" y="366"/>
                    </a:lnTo>
                    <a:lnTo>
                      <a:pt x="410" y="366"/>
                    </a:lnTo>
                    <a:lnTo>
                      <a:pt x="406" y="366"/>
                    </a:lnTo>
                    <a:lnTo>
                      <a:pt x="400" y="366"/>
                    </a:lnTo>
                    <a:lnTo>
                      <a:pt x="394" y="364"/>
                    </a:lnTo>
                    <a:lnTo>
                      <a:pt x="390" y="362"/>
                    </a:lnTo>
                    <a:lnTo>
                      <a:pt x="384" y="362"/>
                    </a:lnTo>
                    <a:lnTo>
                      <a:pt x="380" y="360"/>
                    </a:lnTo>
                    <a:lnTo>
                      <a:pt x="378" y="360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6"/>
                    </a:lnTo>
                    <a:lnTo>
                      <a:pt x="378" y="354"/>
                    </a:lnTo>
                    <a:lnTo>
                      <a:pt x="378" y="354"/>
                    </a:lnTo>
                    <a:lnTo>
                      <a:pt x="380" y="352"/>
                    </a:lnTo>
                    <a:lnTo>
                      <a:pt x="382" y="348"/>
                    </a:lnTo>
                    <a:lnTo>
                      <a:pt x="386" y="346"/>
                    </a:lnTo>
                    <a:lnTo>
                      <a:pt x="388" y="344"/>
                    </a:lnTo>
                    <a:lnTo>
                      <a:pt x="390" y="342"/>
                    </a:lnTo>
                    <a:lnTo>
                      <a:pt x="394" y="340"/>
                    </a:lnTo>
                    <a:lnTo>
                      <a:pt x="396" y="338"/>
                    </a:lnTo>
                    <a:lnTo>
                      <a:pt x="400" y="338"/>
                    </a:lnTo>
                    <a:lnTo>
                      <a:pt x="402" y="336"/>
                    </a:lnTo>
                    <a:lnTo>
                      <a:pt x="402" y="338"/>
                    </a:lnTo>
                    <a:lnTo>
                      <a:pt x="402" y="338"/>
                    </a:lnTo>
                    <a:lnTo>
                      <a:pt x="400" y="338"/>
                    </a:lnTo>
                    <a:lnTo>
                      <a:pt x="398" y="340"/>
                    </a:lnTo>
                    <a:lnTo>
                      <a:pt x="394" y="342"/>
                    </a:lnTo>
                    <a:lnTo>
                      <a:pt x="394" y="342"/>
                    </a:lnTo>
                    <a:lnTo>
                      <a:pt x="394" y="344"/>
                    </a:lnTo>
                    <a:lnTo>
                      <a:pt x="394" y="346"/>
                    </a:lnTo>
                    <a:lnTo>
                      <a:pt x="394" y="346"/>
                    </a:lnTo>
                    <a:lnTo>
                      <a:pt x="394" y="348"/>
                    </a:lnTo>
                    <a:lnTo>
                      <a:pt x="396" y="348"/>
                    </a:lnTo>
                    <a:lnTo>
                      <a:pt x="396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400" y="348"/>
                    </a:lnTo>
                    <a:lnTo>
                      <a:pt x="402" y="348"/>
                    </a:lnTo>
                    <a:lnTo>
                      <a:pt x="404" y="350"/>
                    </a:lnTo>
                    <a:lnTo>
                      <a:pt x="406" y="352"/>
                    </a:lnTo>
                    <a:lnTo>
                      <a:pt x="408" y="354"/>
                    </a:lnTo>
                    <a:lnTo>
                      <a:pt x="410" y="354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4" y="356"/>
                    </a:lnTo>
                    <a:lnTo>
                      <a:pt x="414" y="356"/>
                    </a:lnTo>
                    <a:lnTo>
                      <a:pt x="414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8" y="354"/>
                    </a:lnTo>
                    <a:lnTo>
                      <a:pt x="418" y="352"/>
                    </a:lnTo>
                    <a:lnTo>
                      <a:pt x="420" y="352"/>
                    </a:lnTo>
                    <a:lnTo>
                      <a:pt x="420" y="352"/>
                    </a:lnTo>
                    <a:lnTo>
                      <a:pt x="420" y="352"/>
                    </a:lnTo>
                    <a:lnTo>
                      <a:pt x="420" y="348"/>
                    </a:lnTo>
                    <a:lnTo>
                      <a:pt x="420" y="348"/>
                    </a:lnTo>
                    <a:lnTo>
                      <a:pt x="420" y="348"/>
                    </a:lnTo>
                    <a:lnTo>
                      <a:pt x="418" y="346"/>
                    </a:lnTo>
                    <a:lnTo>
                      <a:pt x="418" y="346"/>
                    </a:lnTo>
                    <a:lnTo>
                      <a:pt x="420" y="344"/>
                    </a:lnTo>
                    <a:lnTo>
                      <a:pt x="420" y="346"/>
                    </a:lnTo>
                    <a:lnTo>
                      <a:pt x="424" y="348"/>
                    </a:lnTo>
                    <a:lnTo>
                      <a:pt x="424" y="348"/>
                    </a:lnTo>
                    <a:lnTo>
                      <a:pt x="424" y="348"/>
                    </a:lnTo>
                    <a:lnTo>
                      <a:pt x="428" y="348"/>
                    </a:lnTo>
                    <a:lnTo>
                      <a:pt x="430" y="348"/>
                    </a:lnTo>
                    <a:lnTo>
                      <a:pt x="434" y="348"/>
                    </a:lnTo>
                    <a:lnTo>
                      <a:pt x="436" y="348"/>
                    </a:lnTo>
                    <a:lnTo>
                      <a:pt x="436" y="348"/>
                    </a:lnTo>
                    <a:lnTo>
                      <a:pt x="438" y="348"/>
                    </a:lnTo>
                    <a:lnTo>
                      <a:pt x="438" y="346"/>
                    </a:lnTo>
                    <a:lnTo>
                      <a:pt x="440" y="346"/>
                    </a:lnTo>
                    <a:lnTo>
                      <a:pt x="442" y="344"/>
                    </a:lnTo>
                    <a:lnTo>
                      <a:pt x="442" y="344"/>
                    </a:lnTo>
                    <a:lnTo>
                      <a:pt x="442" y="344"/>
                    </a:lnTo>
                    <a:lnTo>
                      <a:pt x="444" y="344"/>
                    </a:lnTo>
                    <a:lnTo>
                      <a:pt x="444" y="342"/>
                    </a:lnTo>
                    <a:lnTo>
                      <a:pt x="444" y="342"/>
                    </a:lnTo>
                    <a:lnTo>
                      <a:pt x="446" y="342"/>
                    </a:lnTo>
                    <a:lnTo>
                      <a:pt x="444" y="342"/>
                    </a:lnTo>
                    <a:lnTo>
                      <a:pt x="446" y="342"/>
                    </a:lnTo>
                    <a:lnTo>
                      <a:pt x="448" y="340"/>
                    </a:lnTo>
                    <a:lnTo>
                      <a:pt x="450" y="340"/>
                    </a:lnTo>
                    <a:lnTo>
                      <a:pt x="452" y="340"/>
                    </a:lnTo>
                    <a:lnTo>
                      <a:pt x="454" y="340"/>
                    </a:lnTo>
                    <a:lnTo>
                      <a:pt x="456" y="340"/>
                    </a:lnTo>
                    <a:lnTo>
                      <a:pt x="456" y="340"/>
                    </a:lnTo>
                    <a:lnTo>
                      <a:pt x="456" y="338"/>
                    </a:lnTo>
                    <a:lnTo>
                      <a:pt x="458" y="338"/>
                    </a:lnTo>
                    <a:lnTo>
                      <a:pt x="460" y="338"/>
                    </a:lnTo>
                    <a:lnTo>
                      <a:pt x="460" y="338"/>
                    </a:lnTo>
                    <a:lnTo>
                      <a:pt x="468" y="336"/>
                    </a:lnTo>
                    <a:lnTo>
                      <a:pt x="470" y="334"/>
                    </a:lnTo>
                    <a:lnTo>
                      <a:pt x="474" y="334"/>
                    </a:lnTo>
                    <a:lnTo>
                      <a:pt x="474" y="334"/>
                    </a:lnTo>
                    <a:lnTo>
                      <a:pt x="476" y="332"/>
                    </a:lnTo>
                    <a:lnTo>
                      <a:pt x="478" y="328"/>
                    </a:lnTo>
                    <a:lnTo>
                      <a:pt x="482" y="326"/>
                    </a:lnTo>
                    <a:lnTo>
                      <a:pt x="484" y="324"/>
                    </a:lnTo>
                    <a:lnTo>
                      <a:pt x="484" y="324"/>
                    </a:lnTo>
                    <a:lnTo>
                      <a:pt x="486" y="322"/>
                    </a:lnTo>
                    <a:lnTo>
                      <a:pt x="488" y="322"/>
                    </a:lnTo>
                    <a:lnTo>
                      <a:pt x="490" y="322"/>
                    </a:lnTo>
                    <a:lnTo>
                      <a:pt x="496" y="322"/>
                    </a:lnTo>
                    <a:lnTo>
                      <a:pt x="498" y="320"/>
                    </a:lnTo>
                    <a:lnTo>
                      <a:pt x="500" y="320"/>
                    </a:lnTo>
                    <a:lnTo>
                      <a:pt x="500" y="320"/>
                    </a:lnTo>
                    <a:lnTo>
                      <a:pt x="504" y="320"/>
                    </a:lnTo>
                    <a:lnTo>
                      <a:pt x="504" y="318"/>
                    </a:lnTo>
                    <a:lnTo>
                      <a:pt x="506" y="316"/>
                    </a:lnTo>
                    <a:lnTo>
                      <a:pt x="506" y="316"/>
                    </a:lnTo>
                    <a:lnTo>
                      <a:pt x="506" y="314"/>
                    </a:lnTo>
                    <a:lnTo>
                      <a:pt x="506" y="312"/>
                    </a:lnTo>
                    <a:lnTo>
                      <a:pt x="506" y="312"/>
                    </a:lnTo>
                    <a:lnTo>
                      <a:pt x="506" y="310"/>
                    </a:lnTo>
                    <a:lnTo>
                      <a:pt x="506" y="308"/>
                    </a:lnTo>
                    <a:lnTo>
                      <a:pt x="506" y="306"/>
                    </a:lnTo>
                    <a:lnTo>
                      <a:pt x="506" y="304"/>
                    </a:lnTo>
                    <a:lnTo>
                      <a:pt x="506" y="304"/>
                    </a:lnTo>
                    <a:lnTo>
                      <a:pt x="508" y="304"/>
                    </a:lnTo>
                    <a:lnTo>
                      <a:pt x="508" y="304"/>
                    </a:lnTo>
                    <a:lnTo>
                      <a:pt x="510" y="304"/>
                    </a:lnTo>
                    <a:lnTo>
                      <a:pt x="512" y="304"/>
                    </a:lnTo>
                    <a:lnTo>
                      <a:pt x="514" y="306"/>
                    </a:lnTo>
                    <a:lnTo>
                      <a:pt x="516" y="306"/>
                    </a:lnTo>
                    <a:lnTo>
                      <a:pt x="520" y="310"/>
                    </a:lnTo>
                    <a:lnTo>
                      <a:pt x="524" y="314"/>
                    </a:lnTo>
                    <a:lnTo>
                      <a:pt x="524" y="314"/>
                    </a:lnTo>
                    <a:lnTo>
                      <a:pt x="524" y="314"/>
                    </a:lnTo>
                    <a:lnTo>
                      <a:pt x="526" y="316"/>
                    </a:lnTo>
                    <a:lnTo>
                      <a:pt x="526" y="316"/>
                    </a:lnTo>
                    <a:lnTo>
                      <a:pt x="526" y="316"/>
                    </a:lnTo>
                    <a:lnTo>
                      <a:pt x="530" y="316"/>
                    </a:lnTo>
                    <a:lnTo>
                      <a:pt x="532" y="318"/>
                    </a:lnTo>
                    <a:lnTo>
                      <a:pt x="532" y="318"/>
                    </a:lnTo>
                    <a:lnTo>
                      <a:pt x="532" y="318"/>
                    </a:lnTo>
                    <a:lnTo>
                      <a:pt x="536" y="320"/>
                    </a:lnTo>
                    <a:lnTo>
                      <a:pt x="536" y="320"/>
                    </a:lnTo>
                    <a:lnTo>
                      <a:pt x="536" y="320"/>
                    </a:lnTo>
                    <a:lnTo>
                      <a:pt x="540" y="320"/>
                    </a:lnTo>
                    <a:lnTo>
                      <a:pt x="544" y="322"/>
                    </a:lnTo>
                    <a:lnTo>
                      <a:pt x="544" y="322"/>
                    </a:lnTo>
                    <a:lnTo>
                      <a:pt x="554" y="322"/>
                    </a:lnTo>
                    <a:lnTo>
                      <a:pt x="562" y="322"/>
                    </a:lnTo>
                    <a:lnTo>
                      <a:pt x="570" y="322"/>
                    </a:lnTo>
                    <a:lnTo>
                      <a:pt x="574" y="322"/>
                    </a:lnTo>
                    <a:lnTo>
                      <a:pt x="578" y="320"/>
                    </a:lnTo>
                    <a:lnTo>
                      <a:pt x="578" y="320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2" y="318"/>
                    </a:lnTo>
                    <a:lnTo>
                      <a:pt x="582" y="318"/>
                    </a:lnTo>
                    <a:lnTo>
                      <a:pt x="582" y="318"/>
                    </a:lnTo>
                    <a:lnTo>
                      <a:pt x="582" y="316"/>
                    </a:lnTo>
                    <a:lnTo>
                      <a:pt x="582" y="314"/>
                    </a:lnTo>
                    <a:lnTo>
                      <a:pt x="582" y="312"/>
                    </a:lnTo>
                    <a:lnTo>
                      <a:pt x="584" y="312"/>
                    </a:lnTo>
                    <a:lnTo>
                      <a:pt x="584" y="312"/>
                    </a:lnTo>
                    <a:lnTo>
                      <a:pt x="586" y="312"/>
                    </a:lnTo>
                    <a:lnTo>
                      <a:pt x="588" y="310"/>
                    </a:lnTo>
                    <a:lnTo>
                      <a:pt x="588" y="310"/>
                    </a:lnTo>
                    <a:lnTo>
                      <a:pt x="588" y="310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92" y="306"/>
                    </a:lnTo>
                    <a:lnTo>
                      <a:pt x="592" y="306"/>
                    </a:lnTo>
                    <a:lnTo>
                      <a:pt x="592" y="306"/>
                    </a:lnTo>
                    <a:lnTo>
                      <a:pt x="592" y="304"/>
                    </a:lnTo>
                    <a:lnTo>
                      <a:pt x="592" y="304"/>
                    </a:lnTo>
                    <a:lnTo>
                      <a:pt x="592" y="304"/>
                    </a:lnTo>
                    <a:lnTo>
                      <a:pt x="594" y="300"/>
                    </a:lnTo>
                    <a:lnTo>
                      <a:pt x="594" y="298"/>
                    </a:lnTo>
                    <a:lnTo>
                      <a:pt x="596" y="296"/>
                    </a:lnTo>
                    <a:lnTo>
                      <a:pt x="596" y="296"/>
                    </a:lnTo>
                    <a:lnTo>
                      <a:pt x="596" y="296"/>
                    </a:lnTo>
                    <a:lnTo>
                      <a:pt x="596" y="288"/>
                    </a:lnTo>
                    <a:lnTo>
                      <a:pt x="598" y="284"/>
                    </a:lnTo>
                    <a:lnTo>
                      <a:pt x="600" y="278"/>
                    </a:lnTo>
                    <a:lnTo>
                      <a:pt x="602" y="274"/>
                    </a:lnTo>
                    <a:lnTo>
                      <a:pt x="602" y="274"/>
                    </a:lnTo>
                    <a:lnTo>
                      <a:pt x="602" y="274"/>
                    </a:lnTo>
                    <a:lnTo>
                      <a:pt x="602" y="272"/>
                    </a:lnTo>
                    <a:lnTo>
                      <a:pt x="602" y="272"/>
                    </a:lnTo>
                    <a:lnTo>
                      <a:pt x="602" y="272"/>
                    </a:lnTo>
                    <a:lnTo>
                      <a:pt x="600" y="270"/>
                    </a:lnTo>
                    <a:lnTo>
                      <a:pt x="600" y="270"/>
                    </a:lnTo>
                    <a:lnTo>
                      <a:pt x="600" y="268"/>
                    </a:lnTo>
                    <a:lnTo>
                      <a:pt x="600" y="268"/>
                    </a:lnTo>
                    <a:lnTo>
                      <a:pt x="600" y="268"/>
                    </a:lnTo>
                    <a:lnTo>
                      <a:pt x="598" y="266"/>
                    </a:lnTo>
                    <a:lnTo>
                      <a:pt x="598" y="264"/>
                    </a:lnTo>
                    <a:lnTo>
                      <a:pt x="598" y="264"/>
                    </a:lnTo>
                    <a:lnTo>
                      <a:pt x="598" y="264"/>
                    </a:lnTo>
                    <a:lnTo>
                      <a:pt x="594" y="264"/>
                    </a:lnTo>
                    <a:lnTo>
                      <a:pt x="594" y="264"/>
                    </a:lnTo>
                    <a:lnTo>
                      <a:pt x="594" y="262"/>
                    </a:lnTo>
                    <a:lnTo>
                      <a:pt x="592" y="262"/>
                    </a:lnTo>
                    <a:lnTo>
                      <a:pt x="588" y="260"/>
                    </a:lnTo>
                    <a:lnTo>
                      <a:pt x="584" y="258"/>
                    </a:lnTo>
                    <a:lnTo>
                      <a:pt x="580" y="256"/>
                    </a:lnTo>
                    <a:lnTo>
                      <a:pt x="576" y="252"/>
                    </a:lnTo>
                    <a:lnTo>
                      <a:pt x="570" y="246"/>
                    </a:lnTo>
                    <a:lnTo>
                      <a:pt x="566" y="244"/>
                    </a:lnTo>
                    <a:lnTo>
                      <a:pt x="562" y="240"/>
                    </a:lnTo>
                    <a:lnTo>
                      <a:pt x="562" y="240"/>
                    </a:lnTo>
                    <a:lnTo>
                      <a:pt x="562" y="240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4" y="236"/>
                    </a:lnTo>
                    <a:lnTo>
                      <a:pt x="550" y="236"/>
                    </a:lnTo>
                    <a:lnTo>
                      <a:pt x="548" y="234"/>
                    </a:lnTo>
                    <a:lnTo>
                      <a:pt x="544" y="230"/>
                    </a:lnTo>
                    <a:lnTo>
                      <a:pt x="540" y="226"/>
                    </a:lnTo>
                    <a:lnTo>
                      <a:pt x="538" y="220"/>
                    </a:lnTo>
                    <a:lnTo>
                      <a:pt x="538" y="216"/>
                    </a:lnTo>
                    <a:lnTo>
                      <a:pt x="538" y="208"/>
                    </a:lnTo>
                    <a:lnTo>
                      <a:pt x="538" y="202"/>
                    </a:lnTo>
                    <a:lnTo>
                      <a:pt x="538" y="194"/>
                    </a:lnTo>
                    <a:lnTo>
                      <a:pt x="538" y="186"/>
                    </a:lnTo>
                    <a:lnTo>
                      <a:pt x="538" y="178"/>
                    </a:lnTo>
                    <a:lnTo>
                      <a:pt x="538" y="178"/>
                    </a:lnTo>
                    <a:lnTo>
                      <a:pt x="536" y="178"/>
                    </a:lnTo>
                    <a:lnTo>
                      <a:pt x="534" y="172"/>
                    </a:lnTo>
                    <a:lnTo>
                      <a:pt x="534" y="172"/>
                    </a:lnTo>
                    <a:lnTo>
                      <a:pt x="534" y="172"/>
                    </a:lnTo>
                    <a:lnTo>
                      <a:pt x="532" y="168"/>
                    </a:lnTo>
                    <a:lnTo>
                      <a:pt x="532" y="166"/>
                    </a:lnTo>
                    <a:lnTo>
                      <a:pt x="532" y="162"/>
                    </a:lnTo>
                    <a:lnTo>
                      <a:pt x="532" y="154"/>
                    </a:lnTo>
                    <a:lnTo>
                      <a:pt x="532" y="148"/>
                    </a:lnTo>
                    <a:lnTo>
                      <a:pt x="534" y="140"/>
                    </a:lnTo>
                    <a:lnTo>
                      <a:pt x="536" y="132"/>
                    </a:lnTo>
                    <a:lnTo>
                      <a:pt x="536" y="126"/>
                    </a:lnTo>
                    <a:lnTo>
                      <a:pt x="540" y="118"/>
                    </a:lnTo>
                    <a:lnTo>
                      <a:pt x="542" y="114"/>
                    </a:lnTo>
                    <a:lnTo>
                      <a:pt x="542" y="114"/>
                    </a:lnTo>
                    <a:lnTo>
                      <a:pt x="542" y="110"/>
                    </a:lnTo>
                    <a:lnTo>
                      <a:pt x="540" y="108"/>
                    </a:lnTo>
                    <a:lnTo>
                      <a:pt x="538" y="106"/>
                    </a:lnTo>
                    <a:lnTo>
                      <a:pt x="538" y="106"/>
                    </a:lnTo>
                    <a:lnTo>
                      <a:pt x="538" y="106"/>
                    </a:lnTo>
                    <a:lnTo>
                      <a:pt x="534" y="104"/>
                    </a:lnTo>
                    <a:lnTo>
                      <a:pt x="534" y="104"/>
                    </a:lnTo>
                    <a:lnTo>
                      <a:pt x="534" y="104"/>
                    </a:lnTo>
                    <a:lnTo>
                      <a:pt x="530" y="104"/>
                    </a:lnTo>
                    <a:lnTo>
                      <a:pt x="530" y="104"/>
                    </a:lnTo>
                    <a:lnTo>
                      <a:pt x="528" y="104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0" y="104"/>
                    </a:lnTo>
                    <a:lnTo>
                      <a:pt x="516" y="104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504" y="108"/>
                    </a:lnTo>
                    <a:lnTo>
                      <a:pt x="504" y="108"/>
                    </a:lnTo>
                    <a:lnTo>
                      <a:pt x="502" y="108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0" y="112"/>
                    </a:lnTo>
                    <a:lnTo>
                      <a:pt x="500" y="114"/>
                    </a:lnTo>
                    <a:lnTo>
                      <a:pt x="500" y="114"/>
                    </a:lnTo>
                    <a:lnTo>
                      <a:pt x="500" y="114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496" y="114"/>
                    </a:lnTo>
                    <a:lnTo>
                      <a:pt x="496" y="114"/>
                    </a:lnTo>
                    <a:lnTo>
                      <a:pt x="496" y="114"/>
                    </a:lnTo>
                    <a:lnTo>
                      <a:pt x="494" y="112"/>
                    </a:lnTo>
                    <a:lnTo>
                      <a:pt x="494" y="112"/>
                    </a:lnTo>
                    <a:lnTo>
                      <a:pt x="494" y="112"/>
                    </a:lnTo>
                    <a:lnTo>
                      <a:pt x="492" y="110"/>
                    </a:lnTo>
                    <a:lnTo>
                      <a:pt x="492" y="110"/>
                    </a:lnTo>
                    <a:lnTo>
                      <a:pt x="488" y="110"/>
                    </a:lnTo>
                    <a:lnTo>
                      <a:pt x="488" y="110"/>
                    </a:lnTo>
                    <a:lnTo>
                      <a:pt x="486" y="110"/>
                    </a:lnTo>
                    <a:lnTo>
                      <a:pt x="486" y="114"/>
                    </a:lnTo>
                    <a:lnTo>
                      <a:pt x="486" y="114"/>
                    </a:lnTo>
                    <a:lnTo>
                      <a:pt x="486" y="114"/>
                    </a:lnTo>
                    <a:lnTo>
                      <a:pt x="484" y="118"/>
                    </a:lnTo>
                    <a:lnTo>
                      <a:pt x="482" y="124"/>
                    </a:lnTo>
                    <a:lnTo>
                      <a:pt x="482" y="128"/>
                    </a:lnTo>
                    <a:lnTo>
                      <a:pt x="482" y="140"/>
                    </a:lnTo>
                    <a:lnTo>
                      <a:pt x="484" y="150"/>
                    </a:lnTo>
                    <a:lnTo>
                      <a:pt x="486" y="162"/>
                    </a:lnTo>
                    <a:lnTo>
                      <a:pt x="486" y="168"/>
                    </a:lnTo>
                    <a:lnTo>
                      <a:pt x="488" y="174"/>
                    </a:lnTo>
                    <a:lnTo>
                      <a:pt x="490" y="178"/>
                    </a:lnTo>
                    <a:lnTo>
                      <a:pt x="492" y="182"/>
                    </a:lnTo>
                    <a:lnTo>
                      <a:pt x="494" y="186"/>
                    </a:lnTo>
                    <a:lnTo>
                      <a:pt x="496" y="190"/>
                    </a:lnTo>
                    <a:lnTo>
                      <a:pt x="496" y="190"/>
                    </a:lnTo>
                    <a:lnTo>
                      <a:pt x="496" y="190"/>
                    </a:lnTo>
                    <a:lnTo>
                      <a:pt x="496" y="192"/>
                    </a:lnTo>
                    <a:lnTo>
                      <a:pt x="494" y="192"/>
                    </a:lnTo>
                    <a:lnTo>
                      <a:pt x="494" y="194"/>
                    </a:lnTo>
                    <a:lnTo>
                      <a:pt x="492" y="194"/>
                    </a:lnTo>
                    <a:lnTo>
                      <a:pt x="492" y="194"/>
                    </a:lnTo>
                    <a:lnTo>
                      <a:pt x="492" y="194"/>
                    </a:lnTo>
                    <a:lnTo>
                      <a:pt x="490" y="196"/>
                    </a:lnTo>
                    <a:lnTo>
                      <a:pt x="490" y="196"/>
                    </a:lnTo>
                    <a:lnTo>
                      <a:pt x="490" y="196"/>
                    </a:lnTo>
                    <a:lnTo>
                      <a:pt x="490" y="194"/>
                    </a:lnTo>
                    <a:lnTo>
                      <a:pt x="490" y="194"/>
                    </a:lnTo>
                    <a:lnTo>
                      <a:pt x="490" y="194"/>
                    </a:lnTo>
                    <a:lnTo>
                      <a:pt x="488" y="192"/>
                    </a:lnTo>
                    <a:lnTo>
                      <a:pt x="488" y="186"/>
                    </a:lnTo>
                    <a:lnTo>
                      <a:pt x="486" y="178"/>
                    </a:lnTo>
                    <a:lnTo>
                      <a:pt x="484" y="172"/>
                    </a:lnTo>
                    <a:lnTo>
                      <a:pt x="482" y="164"/>
                    </a:lnTo>
                    <a:lnTo>
                      <a:pt x="478" y="156"/>
                    </a:lnTo>
                    <a:lnTo>
                      <a:pt x="474" y="150"/>
                    </a:lnTo>
                    <a:lnTo>
                      <a:pt x="470" y="144"/>
                    </a:lnTo>
                    <a:lnTo>
                      <a:pt x="464" y="138"/>
                    </a:lnTo>
                    <a:lnTo>
                      <a:pt x="464" y="138"/>
                    </a:lnTo>
                    <a:lnTo>
                      <a:pt x="462" y="138"/>
                    </a:lnTo>
                    <a:lnTo>
                      <a:pt x="462" y="138"/>
                    </a:lnTo>
                    <a:lnTo>
                      <a:pt x="460" y="140"/>
                    </a:lnTo>
                    <a:lnTo>
                      <a:pt x="458" y="142"/>
                    </a:lnTo>
                    <a:lnTo>
                      <a:pt x="458" y="142"/>
                    </a:lnTo>
                    <a:lnTo>
                      <a:pt x="458" y="142"/>
                    </a:lnTo>
                    <a:lnTo>
                      <a:pt x="456" y="146"/>
                    </a:lnTo>
                    <a:lnTo>
                      <a:pt x="456" y="156"/>
                    </a:lnTo>
                    <a:lnTo>
                      <a:pt x="454" y="160"/>
                    </a:lnTo>
                    <a:lnTo>
                      <a:pt x="454" y="162"/>
                    </a:lnTo>
                    <a:lnTo>
                      <a:pt x="452" y="164"/>
                    </a:lnTo>
                    <a:lnTo>
                      <a:pt x="452" y="164"/>
                    </a:lnTo>
                    <a:lnTo>
                      <a:pt x="450" y="164"/>
                    </a:lnTo>
                    <a:lnTo>
                      <a:pt x="448" y="166"/>
                    </a:lnTo>
                    <a:lnTo>
                      <a:pt x="448" y="166"/>
                    </a:lnTo>
                    <a:lnTo>
                      <a:pt x="446" y="166"/>
                    </a:lnTo>
                    <a:lnTo>
                      <a:pt x="440" y="168"/>
                    </a:lnTo>
                    <a:lnTo>
                      <a:pt x="436" y="168"/>
                    </a:lnTo>
                    <a:lnTo>
                      <a:pt x="432" y="166"/>
                    </a:lnTo>
                    <a:lnTo>
                      <a:pt x="432" y="166"/>
                    </a:lnTo>
                    <a:lnTo>
                      <a:pt x="432" y="162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4" y="156"/>
                    </a:lnTo>
                    <a:lnTo>
                      <a:pt x="434" y="154"/>
                    </a:lnTo>
                    <a:lnTo>
                      <a:pt x="434" y="152"/>
                    </a:lnTo>
                    <a:lnTo>
                      <a:pt x="432" y="148"/>
                    </a:lnTo>
                    <a:lnTo>
                      <a:pt x="432" y="148"/>
                    </a:lnTo>
                    <a:lnTo>
                      <a:pt x="432" y="148"/>
                    </a:lnTo>
                    <a:lnTo>
                      <a:pt x="430" y="144"/>
                    </a:lnTo>
                    <a:lnTo>
                      <a:pt x="430" y="144"/>
                    </a:lnTo>
                    <a:lnTo>
                      <a:pt x="428" y="144"/>
                    </a:lnTo>
                    <a:lnTo>
                      <a:pt x="426" y="142"/>
                    </a:lnTo>
                    <a:lnTo>
                      <a:pt x="426" y="142"/>
                    </a:lnTo>
                    <a:lnTo>
                      <a:pt x="424" y="142"/>
                    </a:lnTo>
                    <a:lnTo>
                      <a:pt x="422" y="140"/>
                    </a:lnTo>
                    <a:lnTo>
                      <a:pt x="420" y="138"/>
                    </a:lnTo>
                    <a:lnTo>
                      <a:pt x="420" y="138"/>
                    </a:lnTo>
                    <a:lnTo>
                      <a:pt x="418" y="138"/>
                    </a:lnTo>
                    <a:lnTo>
                      <a:pt x="414" y="138"/>
                    </a:lnTo>
                    <a:lnTo>
                      <a:pt x="412" y="138"/>
                    </a:lnTo>
                    <a:lnTo>
                      <a:pt x="412" y="138"/>
                    </a:lnTo>
                    <a:lnTo>
                      <a:pt x="410" y="138"/>
                    </a:lnTo>
                    <a:lnTo>
                      <a:pt x="408" y="140"/>
                    </a:lnTo>
                    <a:lnTo>
                      <a:pt x="408" y="140"/>
                    </a:lnTo>
                    <a:lnTo>
                      <a:pt x="406" y="140"/>
                    </a:lnTo>
                    <a:lnTo>
                      <a:pt x="404" y="140"/>
                    </a:lnTo>
                    <a:lnTo>
                      <a:pt x="404" y="140"/>
                    </a:lnTo>
                    <a:lnTo>
                      <a:pt x="404" y="142"/>
                    </a:lnTo>
                    <a:lnTo>
                      <a:pt x="404" y="142"/>
                    </a:lnTo>
                    <a:lnTo>
                      <a:pt x="400" y="146"/>
                    </a:lnTo>
                    <a:lnTo>
                      <a:pt x="400" y="150"/>
                    </a:lnTo>
                    <a:lnTo>
                      <a:pt x="398" y="152"/>
                    </a:lnTo>
                    <a:lnTo>
                      <a:pt x="398" y="152"/>
                    </a:lnTo>
                    <a:lnTo>
                      <a:pt x="398" y="152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6"/>
                    </a:lnTo>
                    <a:lnTo>
                      <a:pt x="398" y="156"/>
                    </a:lnTo>
                    <a:lnTo>
                      <a:pt x="398" y="156"/>
                    </a:lnTo>
                    <a:lnTo>
                      <a:pt x="396" y="154"/>
                    </a:lnTo>
                    <a:lnTo>
                      <a:pt x="396" y="154"/>
                    </a:lnTo>
                    <a:lnTo>
                      <a:pt x="394" y="154"/>
                    </a:lnTo>
                    <a:lnTo>
                      <a:pt x="394" y="152"/>
                    </a:lnTo>
                    <a:lnTo>
                      <a:pt x="394" y="150"/>
                    </a:lnTo>
                    <a:lnTo>
                      <a:pt x="394" y="146"/>
                    </a:lnTo>
                    <a:lnTo>
                      <a:pt x="394" y="142"/>
                    </a:lnTo>
                    <a:lnTo>
                      <a:pt x="394" y="136"/>
                    </a:lnTo>
                    <a:lnTo>
                      <a:pt x="394" y="132"/>
                    </a:lnTo>
                    <a:lnTo>
                      <a:pt x="394" y="126"/>
                    </a:lnTo>
                    <a:lnTo>
                      <a:pt x="394" y="126"/>
                    </a:lnTo>
                    <a:lnTo>
                      <a:pt x="394" y="124"/>
                    </a:lnTo>
                    <a:lnTo>
                      <a:pt x="394" y="124"/>
                    </a:lnTo>
                    <a:lnTo>
                      <a:pt x="390" y="124"/>
                    </a:lnTo>
                    <a:lnTo>
                      <a:pt x="390" y="124"/>
                    </a:lnTo>
                    <a:lnTo>
                      <a:pt x="388" y="124"/>
                    </a:lnTo>
                    <a:lnTo>
                      <a:pt x="386" y="126"/>
                    </a:lnTo>
                    <a:lnTo>
                      <a:pt x="384" y="126"/>
                    </a:lnTo>
                    <a:lnTo>
                      <a:pt x="382" y="128"/>
                    </a:lnTo>
                    <a:lnTo>
                      <a:pt x="382" y="128"/>
                    </a:lnTo>
                    <a:lnTo>
                      <a:pt x="380" y="128"/>
                    </a:lnTo>
                    <a:lnTo>
                      <a:pt x="380" y="128"/>
                    </a:lnTo>
                    <a:lnTo>
                      <a:pt x="380" y="128"/>
                    </a:lnTo>
                    <a:lnTo>
                      <a:pt x="380" y="130"/>
                    </a:lnTo>
                    <a:lnTo>
                      <a:pt x="376" y="130"/>
                    </a:lnTo>
                    <a:lnTo>
                      <a:pt x="370" y="132"/>
                    </a:lnTo>
                    <a:lnTo>
                      <a:pt x="362" y="134"/>
                    </a:lnTo>
                    <a:lnTo>
                      <a:pt x="358" y="136"/>
                    </a:lnTo>
                    <a:lnTo>
                      <a:pt x="358" y="136"/>
                    </a:lnTo>
                    <a:lnTo>
                      <a:pt x="360" y="134"/>
                    </a:lnTo>
                    <a:lnTo>
                      <a:pt x="362" y="132"/>
                    </a:lnTo>
                    <a:lnTo>
                      <a:pt x="364" y="128"/>
                    </a:lnTo>
                    <a:lnTo>
                      <a:pt x="366" y="128"/>
                    </a:lnTo>
                    <a:lnTo>
                      <a:pt x="366" y="126"/>
                    </a:lnTo>
                    <a:lnTo>
                      <a:pt x="368" y="126"/>
                    </a:lnTo>
                    <a:lnTo>
                      <a:pt x="368" y="126"/>
                    </a:lnTo>
                    <a:lnTo>
                      <a:pt x="370" y="126"/>
                    </a:lnTo>
                    <a:lnTo>
                      <a:pt x="372" y="126"/>
                    </a:lnTo>
                    <a:lnTo>
                      <a:pt x="376" y="124"/>
                    </a:lnTo>
                    <a:lnTo>
                      <a:pt x="380" y="124"/>
                    </a:lnTo>
                    <a:lnTo>
                      <a:pt x="380" y="124"/>
                    </a:lnTo>
                    <a:lnTo>
                      <a:pt x="382" y="124"/>
                    </a:lnTo>
                    <a:lnTo>
                      <a:pt x="382" y="120"/>
                    </a:lnTo>
                    <a:lnTo>
                      <a:pt x="382" y="118"/>
                    </a:lnTo>
                    <a:lnTo>
                      <a:pt x="380" y="114"/>
                    </a:lnTo>
                    <a:lnTo>
                      <a:pt x="380" y="108"/>
                    </a:lnTo>
                    <a:lnTo>
                      <a:pt x="380" y="108"/>
                    </a:lnTo>
                    <a:lnTo>
                      <a:pt x="378" y="106"/>
                    </a:lnTo>
                    <a:lnTo>
                      <a:pt x="376" y="102"/>
                    </a:lnTo>
                    <a:lnTo>
                      <a:pt x="374" y="98"/>
                    </a:lnTo>
                    <a:lnTo>
                      <a:pt x="372" y="96"/>
                    </a:lnTo>
                    <a:lnTo>
                      <a:pt x="372" y="94"/>
                    </a:lnTo>
                    <a:lnTo>
                      <a:pt x="372" y="92"/>
                    </a:lnTo>
                    <a:lnTo>
                      <a:pt x="372" y="92"/>
                    </a:lnTo>
                    <a:lnTo>
                      <a:pt x="372" y="92"/>
                    </a:lnTo>
                    <a:lnTo>
                      <a:pt x="370" y="88"/>
                    </a:lnTo>
                    <a:lnTo>
                      <a:pt x="370" y="88"/>
                    </a:lnTo>
                    <a:lnTo>
                      <a:pt x="370" y="88"/>
                    </a:lnTo>
                    <a:lnTo>
                      <a:pt x="366" y="86"/>
                    </a:lnTo>
                    <a:lnTo>
                      <a:pt x="366" y="86"/>
                    </a:lnTo>
                    <a:lnTo>
                      <a:pt x="366" y="86"/>
                    </a:lnTo>
                    <a:lnTo>
                      <a:pt x="364" y="84"/>
                    </a:lnTo>
                    <a:lnTo>
                      <a:pt x="362" y="84"/>
                    </a:lnTo>
                    <a:lnTo>
                      <a:pt x="360" y="80"/>
                    </a:lnTo>
                    <a:lnTo>
                      <a:pt x="358" y="78"/>
                    </a:lnTo>
                    <a:lnTo>
                      <a:pt x="354" y="76"/>
                    </a:lnTo>
                    <a:lnTo>
                      <a:pt x="352" y="72"/>
                    </a:lnTo>
                    <a:lnTo>
                      <a:pt x="352" y="72"/>
                    </a:lnTo>
                    <a:lnTo>
                      <a:pt x="350" y="72"/>
                    </a:lnTo>
                    <a:lnTo>
                      <a:pt x="346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4" y="72"/>
                    </a:lnTo>
                    <a:lnTo>
                      <a:pt x="334" y="72"/>
                    </a:lnTo>
                    <a:lnTo>
                      <a:pt x="334" y="72"/>
                    </a:lnTo>
                    <a:lnTo>
                      <a:pt x="330" y="74"/>
                    </a:lnTo>
                    <a:lnTo>
                      <a:pt x="330" y="74"/>
                    </a:lnTo>
                    <a:lnTo>
                      <a:pt x="330" y="74"/>
                    </a:lnTo>
                    <a:lnTo>
                      <a:pt x="328" y="76"/>
                    </a:lnTo>
                    <a:lnTo>
                      <a:pt x="328" y="76"/>
                    </a:lnTo>
                    <a:lnTo>
                      <a:pt x="326" y="76"/>
                    </a:lnTo>
                    <a:lnTo>
                      <a:pt x="324" y="78"/>
                    </a:lnTo>
                    <a:lnTo>
                      <a:pt x="324" y="78"/>
                    </a:lnTo>
                    <a:lnTo>
                      <a:pt x="324" y="78"/>
                    </a:lnTo>
                    <a:lnTo>
                      <a:pt x="322" y="82"/>
                    </a:lnTo>
                    <a:lnTo>
                      <a:pt x="322" y="84"/>
                    </a:lnTo>
                    <a:lnTo>
                      <a:pt x="320" y="84"/>
                    </a:lnTo>
                    <a:lnTo>
                      <a:pt x="316" y="80"/>
                    </a:lnTo>
                    <a:lnTo>
                      <a:pt x="314" y="78"/>
                    </a:lnTo>
                    <a:lnTo>
                      <a:pt x="310" y="74"/>
                    </a:lnTo>
                    <a:lnTo>
                      <a:pt x="308" y="72"/>
                    </a:lnTo>
                    <a:lnTo>
                      <a:pt x="304" y="68"/>
                    </a:lnTo>
                    <a:lnTo>
                      <a:pt x="304" y="68"/>
                    </a:lnTo>
                    <a:lnTo>
                      <a:pt x="304" y="68"/>
                    </a:lnTo>
                    <a:lnTo>
                      <a:pt x="300" y="66"/>
                    </a:lnTo>
                    <a:lnTo>
                      <a:pt x="300" y="66"/>
                    </a:lnTo>
                    <a:lnTo>
                      <a:pt x="300" y="66"/>
                    </a:lnTo>
                    <a:lnTo>
                      <a:pt x="296" y="64"/>
                    </a:lnTo>
                    <a:lnTo>
                      <a:pt x="296" y="64"/>
                    </a:lnTo>
                    <a:lnTo>
                      <a:pt x="296" y="60"/>
                    </a:lnTo>
                    <a:lnTo>
                      <a:pt x="294" y="58"/>
                    </a:lnTo>
                    <a:lnTo>
                      <a:pt x="294" y="58"/>
                    </a:lnTo>
                    <a:lnTo>
                      <a:pt x="294" y="58"/>
                    </a:lnTo>
                    <a:lnTo>
                      <a:pt x="294" y="56"/>
                    </a:lnTo>
                    <a:lnTo>
                      <a:pt x="294" y="56"/>
                    </a:lnTo>
                    <a:lnTo>
                      <a:pt x="294" y="56"/>
                    </a:lnTo>
                    <a:lnTo>
                      <a:pt x="292" y="56"/>
                    </a:lnTo>
                    <a:lnTo>
                      <a:pt x="292" y="56"/>
                    </a:lnTo>
                    <a:lnTo>
                      <a:pt x="292" y="56"/>
                    </a:lnTo>
                    <a:lnTo>
                      <a:pt x="290" y="56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6" y="58"/>
                    </a:lnTo>
                    <a:lnTo>
                      <a:pt x="284" y="60"/>
                    </a:lnTo>
                    <a:lnTo>
                      <a:pt x="282" y="62"/>
                    </a:lnTo>
                    <a:lnTo>
                      <a:pt x="280" y="62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66" y="58"/>
                    </a:lnTo>
                    <a:lnTo>
                      <a:pt x="266" y="58"/>
                    </a:lnTo>
                    <a:lnTo>
                      <a:pt x="264" y="58"/>
                    </a:lnTo>
                    <a:lnTo>
                      <a:pt x="258" y="62"/>
                    </a:lnTo>
                    <a:lnTo>
                      <a:pt x="254" y="64"/>
                    </a:lnTo>
                    <a:lnTo>
                      <a:pt x="248" y="66"/>
                    </a:lnTo>
                    <a:lnTo>
                      <a:pt x="246" y="68"/>
                    </a:lnTo>
                    <a:lnTo>
                      <a:pt x="242" y="68"/>
                    </a:lnTo>
                    <a:lnTo>
                      <a:pt x="242" y="68"/>
                    </a:lnTo>
                    <a:lnTo>
                      <a:pt x="240" y="70"/>
                    </a:lnTo>
                    <a:lnTo>
                      <a:pt x="240" y="70"/>
                    </a:lnTo>
                    <a:lnTo>
                      <a:pt x="240" y="72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86"/>
                    </a:lnTo>
                    <a:lnTo>
                      <a:pt x="242" y="86"/>
                    </a:lnTo>
                    <a:lnTo>
                      <a:pt x="244" y="88"/>
                    </a:lnTo>
                    <a:lnTo>
                      <a:pt x="244" y="88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50" y="92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0" y="100"/>
                    </a:lnTo>
                    <a:lnTo>
                      <a:pt x="250" y="106"/>
                    </a:lnTo>
                    <a:lnTo>
                      <a:pt x="250" y="112"/>
                    </a:lnTo>
                    <a:lnTo>
                      <a:pt x="248" y="120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2" y="130"/>
                    </a:lnTo>
                    <a:lnTo>
                      <a:pt x="242" y="132"/>
                    </a:lnTo>
                    <a:lnTo>
                      <a:pt x="242" y="132"/>
                    </a:lnTo>
                    <a:lnTo>
                      <a:pt x="240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0" y="142"/>
                    </a:lnTo>
                    <a:lnTo>
                      <a:pt x="240" y="144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38" y="150"/>
                    </a:lnTo>
                    <a:lnTo>
                      <a:pt x="236" y="152"/>
                    </a:lnTo>
                    <a:lnTo>
                      <a:pt x="234" y="156"/>
                    </a:lnTo>
                    <a:lnTo>
                      <a:pt x="234" y="156"/>
                    </a:lnTo>
                    <a:lnTo>
                      <a:pt x="234" y="158"/>
                    </a:lnTo>
                    <a:lnTo>
                      <a:pt x="234" y="160"/>
                    </a:lnTo>
                    <a:lnTo>
                      <a:pt x="232" y="162"/>
                    </a:lnTo>
                    <a:lnTo>
                      <a:pt x="232" y="164"/>
                    </a:lnTo>
                    <a:lnTo>
                      <a:pt x="230" y="168"/>
                    </a:lnTo>
                    <a:lnTo>
                      <a:pt x="228" y="170"/>
                    </a:lnTo>
                    <a:lnTo>
                      <a:pt x="226" y="172"/>
                    </a:lnTo>
                    <a:lnTo>
                      <a:pt x="224" y="174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0" y="178"/>
                    </a:lnTo>
                    <a:lnTo>
                      <a:pt x="220" y="178"/>
                    </a:lnTo>
                    <a:lnTo>
                      <a:pt x="220" y="180"/>
                    </a:lnTo>
                    <a:lnTo>
                      <a:pt x="220" y="182"/>
                    </a:lnTo>
                    <a:lnTo>
                      <a:pt x="218" y="184"/>
                    </a:lnTo>
                    <a:lnTo>
                      <a:pt x="218" y="184"/>
                    </a:lnTo>
                    <a:lnTo>
                      <a:pt x="218" y="184"/>
                    </a:lnTo>
                    <a:lnTo>
                      <a:pt x="218" y="188"/>
                    </a:lnTo>
                    <a:lnTo>
                      <a:pt x="218" y="188"/>
                    </a:lnTo>
                    <a:lnTo>
                      <a:pt x="220" y="190"/>
                    </a:lnTo>
                    <a:lnTo>
                      <a:pt x="222" y="190"/>
                    </a:lnTo>
                    <a:lnTo>
                      <a:pt x="226" y="192"/>
                    </a:lnTo>
                    <a:lnTo>
                      <a:pt x="232" y="192"/>
                    </a:lnTo>
                    <a:lnTo>
                      <a:pt x="236" y="192"/>
                    </a:lnTo>
                    <a:lnTo>
                      <a:pt x="242" y="192"/>
                    </a:lnTo>
                    <a:lnTo>
                      <a:pt x="242" y="192"/>
                    </a:lnTo>
                    <a:lnTo>
                      <a:pt x="242" y="194"/>
                    </a:lnTo>
                    <a:lnTo>
                      <a:pt x="242" y="194"/>
                    </a:lnTo>
                    <a:lnTo>
                      <a:pt x="244" y="196"/>
                    </a:lnTo>
                    <a:lnTo>
                      <a:pt x="246" y="200"/>
                    </a:lnTo>
                    <a:lnTo>
                      <a:pt x="246" y="200"/>
                    </a:lnTo>
                    <a:lnTo>
                      <a:pt x="246" y="200"/>
                    </a:lnTo>
                    <a:lnTo>
                      <a:pt x="248" y="202"/>
                    </a:lnTo>
                    <a:lnTo>
                      <a:pt x="248" y="202"/>
                    </a:lnTo>
                    <a:lnTo>
                      <a:pt x="248" y="202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6" y="206"/>
                    </a:lnTo>
                    <a:lnTo>
                      <a:pt x="256" y="210"/>
                    </a:lnTo>
                    <a:lnTo>
                      <a:pt x="258" y="216"/>
                    </a:lnTo>
                    <a:lnTo>
                      <a:pt x="260" y="220"/>
                    </a:lnTo>
                    <a:lnTo>
                      <a:pt x="262" y="224"/>
                    </a:lnTo>
                    <a:lnTo>
                      <a:pt x="262" y="224"/>
                    </a:lnTo>
                    <a:lnTo>
                      <a:pt x="262" y="224"/>
                    </a:lnTo>
                    <a:lnTo>
                      <a:pt x="264" y="226"/>
                    </a:lnTo>
                    <a:lnTo>
                      <a:pt x="264" y="226"/>
                    </a:lnTo>
                    <a:lnTo>
                      <a:pt x="264" y="228"/>
                    </a:lnTo>
                    <a:lnTo>
                      <a:pt x="266" y="230"/>
                    </a:lnTo>
                    <a:lnTo>
                      <a:pt x="266" y="230"/>
                    </a:lnTo>
                    <a:lnTo>
                      <a:pt x="270" y="230"/>
                    </a:lnTo>
                    <a:lnTo>
                      <a:pt x="272" y="230"/>
                    </a:lnTo>
                    <a:lnTo>
                      <a:pt x="276" y="228"/>
                    </a:lnTo>
                    <a:lnTo>
                      <a:pt x="278" y="228"/>
                    </a:lnTo>
                    <a:lnTo>
                      <a:pt x="280" y="226"/>
                    </a:lnTo>
                    <a:lnTo>
                      <a:pt x="280" y="226"/>
                    </a:lnTo>
                    <a:lnTo>
                      <a:pt x="280" y="226"/>
                    </a:lnTo>
                    <a:lnTo>
                      <a:pt x="282" y="224"/>
                    </a:lnTo>
                    <a:lnTo>
                      <a:pt x="284" y="220"/>
                    </a:lnTo>
                    <a:lnTo>
                      <a:pt x="286" y="218"/>
                    </a:lnTo>
                    <a:lnTo>
                      <a:pt x="290" y="216"/>
                    </a:lnTo>
                    <a:lnTo>
                      <a:pt x="290" y="216"/>
                    </a:lnTo>
                    <a:lnTo>
                      <a:pt x="294" y="214"/>
                    </a:lnTo>
                    <a:lnTo>
                      <a:pt x="296" y="214"/>
                    </a:lnTo>
                    <a:lnTo>
                      <a:pt x="298" y="214"/>
                    </a:lnTo>
                    <a:lnTo>
                      <a:pt x="298" y="214"/>
                    </a:lnTo>
                    <a:lnTo>
                      <a:pt x="300" y="212"/>
                    </a:lnTo>
                    <a:lnTo>
                      <a:pt x="302" y="210"/>
                    </a:lnTo>
                    <a:lnTo>
                      <a:pt x="302" y="210"/>
                    </a:lnTo>
                    <a:lnTo>
                      <a:pt x="304" y="210"/>
                    </a:lnTo>
                    <a:lnTo>
                      <a:pt x="304" y="208"/>
                    </a:lnTo>
                    <a:lnTo>
                      <a:pt x="304" y="208"/>
                    </a:lnTo>
                    <a:lnTo>
                      <a:pt x="304" y="206"/>
                    </a:lnTo>
                    <a:lnTo>
                      <a:pt x="306" y="204"/>
                    </a:lnTo>
                    <a:lnTo>
                      <a:pt x="306" y="204"/>
                    </a:lnTo>
                    <a:lnTo>
                      <a:pt x="306" y="204"/>
                    </a:lnTo>
                    <a:lnTo>
                      <a:pt x="306" y="202"/>
                    </a:lnTo>
                    <a:lnTo>
                      <a:pt x="306" y="202"/>
                    </a:lnTo>
                    <a:lnTo>
                      <a:pt x="306" y="200"/>
                    </a:lnTo>
                    <a:lnTo>
                      <a:pt x="308" y="196"/>
                    </a:lnTo>
                    <a:lnTo>
                      <a:pt x="308" y="192"/>
                    </a:lnTo>
                    <a:lnTo>
                      <a:pt x="308" y="188"/>
                    </a:lnTo>
                    <a:lnTo>
                      <a:pt x="308" y="188"/>
                    </a:lnTo>
                    <a:lnTo>
                      <a:pt x="308" y="186"/>
                    </a:lnTo>
                    <a:lnTo>
                      <a:pt x="310" y="186"/>
                    </a:lnTo>
                    <a:lnTo>
                      <a:pt x="312" y="184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0" y="184"/>
                    </a:lnTo>
                    <a:lnTo>
                      <a:pt x="320" y="184"/>
                    </a:lnTo>
                    <a:lnTo>
                      <a:pt x="322" y="182"/>
                    </a:lnTo>
                    <a:lnTo>
                      <a:pt x="322" y="178"/>
                    </a:lnTo>
                    <a:lnTo>
                      <a:pt x="322" y="176"/>
                    </a:lnTo>
                    <a:lnTo>
                      <a:pt x="324" y="170"/>
                    </a:lnTo>
                    <a:lnTo>
                      <a:pt x="324" y="166"/>
                    </a:lnTo>
                    <a:lnTo>
                      <a:pt x="324" y="164"/>
                    </a:lnTo>
                    <a:lnTo>
                      <a:pt x="324" y="162"/>
                    </a:lnTo>
                    <a:lnTo>
                      <a:pt x="326" y="160"/>
                    </a:lnTo>
                    <a:lnTo>
                      <a:pt x="326" y="160"/>
                    </a:lnTo>
                    <a:lnTo>
                      <a:pt x="328" y="158"/>
                    </a:lnTo>
                    <a:lnTo>
                      <a:pt x="330" y="156"/>
                    </a:lnTo>
                    <a:lnTo>
                      <a:pt x="332" y="156"/>
                    </a:lnTo>
                    <a:lnTo>
                      <a:pt x="338" y="152"/>
                    </a:lnTo>
                    <a:lnTo>
                      <a:pt x="340" y="150"/>
                    </a:lnTo>
                    <a:lnTo>
                      <a:pt x="342" y="150"/>
                    </a:lnTo>
                    <a:lnTo>
                      <a:pt x="342" y="150"/>
                    </a:lnTo>
                    <a:lnTo>
                      <a:pt x="344" y="148"/>
                    </a:lnTo>
                    <a:lnTo>
                      <a:pt x="344" y="146"/>
                    </a:lnTo>
                    <a:lnTo>
                      <a:pt x="346" y="144"/>
                    </a:lnTo>
                    <a:lnTo>
                      <a:pt x="348" y="140"/>
                    </a:lnTo>
                    <a:lnTo>
                      <a:pt x="348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46" y="142"/>
                    </a:lnTo>
                    <a:lnTo>
                      <a:pt x="346" y="142"/>
                    </a:lnTo>
                    <a:lnTo>
                      <a:pt x="346" y="142"/>
                    </a:lnTo>
                    <a:lnTo>
                      <a:pt x="346" y="146"/>
                    </a:lnTo>
                    <a:lnTo>
                      <a:pt x="344" y="150"/>
                    </a:lnTo>
                    <a:lnTo>
                      <a:pt x="342" y="152"/>
                    </a:lnTo>
                    <a:lnTo>
                      <a:pt x="342" y="154"/>
                    </a:lnTo>
                    <a:lnTo>
                      <a:pt x="340" y="156"/>
                    </a:lnTo>
                    <a:lnTo>
                      <a:pt x="338" y="158"/>
                    </a:lnTo>
                    <a:lnTo>
                      <a:pt x="338" y="158"/>
                    </a:lnTo>
                    <a:lnTo>
                      <a:pt x="336" y="158"/>
                    </a:lnTo>
                    <a:lnTo>
                      <a:pt x="336" y="158"/>
                    </a:lnTo>
                    <a:lnTo>
                      <a:pt x="336" y="158"/>
                    </a:lnTo>
                    <a:lnTo>
                      <a:pt x="334" y="160"/>
                    </a:lnTo>
                    <a:lnTo>
                      <a:pt x="334" y="160"/>
                    </a:lnTo>
                    <a:lnTo>
                      <a:pt x="334" y="160"/>
                    </a:lnTo>
                    <a:lnTo>
                      <a:pt x="332" y="162"/>
                    </a:lnTo>
                    <a:lnTo>
                      <a:pt x="332" y="162"/>
                    </a:lnTo>
                    <a:lnTo>
                      <a:pt x="332" y="164"/>
                    </a:lnTo>
                    <a:lnTo>
                      <a:pt x="332" y="164"/>
                    </a:lnTo>
                    <a:lnTo>
                      <a:pt x="332" y="164"/>
                    </a:lnTo>
                    <a:lnTo>
                      <a:pt x="330" y="166"/>
                    </a:lnTo>
                    <a:lnTo>
                      <a:pt x="330" y="168"/>
                    </a:lnTo>
                    <a:lnTo>
                      <a:pt x="330" y="168"/>
                    </a:lnTo>
                    <a:lnTo>
                      <a:pt x="332" y="168"/>
                    </a:lnTo>
                    <a:lnTo>
                      <a:pt x="332" y="170"/>
                    </a:lnTo>
                    <a:lnTo>
                      <a:pt x="332" y="170"/>
                    </a:lnTo>
                    <a:lnTo>
                      <a:pt x="332" y="170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6" y="174"/>
                    </a:lnTo>
                    <a:lnTo>
                      <a:pt x="336" y="174"/>
                    </a:lnTo>
                    <a:lnTo>
                      <a:pt x="332" y="178"/>
                    </a:lnTo>
                    <a:lnTo>
                      <a:pt x="330" y="180"/>
                    </a:lnTo>
                    <a:lnTo>
                      <a:pt x="328" y="184"/>
                    </a:lnTo>
                    <a:lnTo>
                      <a:pt x="328" y="184"/>
                    </a:lnTo>
                    <a:lnTo>
                      <a:pt x="326" y="184"/>
                    </a:lnTo>
                    <a:lnTo>
                      <a:pt x="326" y="188"/>
                    </a:lnTo>
                    <a:lnTo>
                      <a:pt x="326" y="190"/>
                    </a:lnTo>
                    <a:lnTo>
                      <a:pt x="324" y="192"/>
                    </a:lnTo>
                    <a:lnTo>
                      <a:pt x="322" y="196"/>
                    </a:lnTo>
                    <a:lnTo>
                      <a:pt x="322" y="198"/>
                    </a:lnTo>
                    <a:lnTo>
                      <a:pt x="320" y="200"/>
                    </a:lnTo>
                    <a:lnTo>
                      <a:pt x="320" y="200"/>
                    </a:lnTo>
                    <a:lnTo>
                      <a:pt x="320" y="202"/>
                    </a:lnTo>
                    <a:lnTo>
                      <a:pt x="320" y="204"/>
                    </a:lnTo>
                    <a:lnTo>
                      <a:pt x="322" y="206"/>
                    </a:lnTo>
                    <a:lnTo>
                      <a:pt x="324" y="208"/>
                    </a:lnTo>
                    <a:lnTo>
                      <a:pt x="326" y="208"/>
                    </a:lnTo>
                    <a:lnTo>
                      <a:pt x="328" y="208"/>
                    </a:lnTo>
                    <a:lnTo>
                      <a:pt x="328" y="208"/>
                    </a:lnTo>
                    <a:lnTo>
                      <a:pt x="328" y="210"/>
                    </a:lnTo>
                    <a:lnTo>
                      <a:pt x="330" y="210"/>
                    </a:lnTo>
                    <a:lnTo>
                      <a:pt x="330" y="210"/>
                    </a:lnTo>
                    <a:lnTo>
                      <a:pt x="332" y="210"/>
                    </a:lnTo>
                    <a:lnTo>
                      <a:pt x="334" y="210"/>
                    </a:lnTo>
                    <a:lnTo>
                      <a:pt x="336" y="208"/>
                    </a:lnTo>
                    <a:lnTo>
                      <a:pt x="338" y="208"/>
                    </a:lnTo>
                    <a:lnTo>
                      <a:pt x="340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52" y="208"/>
                    </a:lnTo>
                    <a:lnTo>
                      <a:pt x="360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72" y="210"/>
                    </a:lnTo>
                    <a:lnTo>
                      <a:pt x="376" y="210"/>
                    </a:lnTo>
                    <a:lnTo>
                      <a:pt x="374" y="210"/>
                    </a:lnTo>
                    <a:lnTo>
                      <a:pt x="372" y="210"/>
                    </a:lnTo>
                    <a:lnTo>
                      <a:pt x="368" y="214"/>
                    </a:lnTo>
                    <a:lnTo>
                      <a:pt x="364" y="216"/>
                    </a:lnTo>
                    <a:lnTo>
                      <a:pt x="358" y="218"/>
                    </a:lnTo>
                    <a:lnTo>
                      <a:pt x="354" y="220"/>
                    </a:lnTo>
                    <a:lnTo>
                      <a:pt x="352" y="222"/>
                    </a:lnTo>
                    <a:lnTo>
                      <a:pt x="348" y="222"/>
                    </a:lnTo>
                    <a:lnTo>
                      <a:pt x="344" y="222"/>
                    </a:lnTo>
                    <a:lnTo>
                      <a:pt x="340" y="222"/>
                    </a:lnTo>
                    <a:lnTo>
                      <a:pt x="340" y="222"/>
                    </a:lnTo>
                    <a:lnTo>
                      <a:pt x="338" y="224"/>
                    </a:lnTo>
                    <a:lnTo>
                      <a:pt x="336" y="224"/>
                    </a:lnTo>
                    <a:lnTo>
                      <a:pt x="336" y="224"/>
                    </a:lnTo>
                    <a:lnTo>
                      <a:pt x="336" y="224"/>
                    </a:lnTo>
                    <a:lnTo>
                      <a:pt x="334" y="226"/>
                    </a:lnTo>
                    <a:lnTo>
                      <a:pt x="334" y="226"/>
                    </a:lnTo>
                    <a:lnTo>
                      <a:pt x="334" y="226"/>
                    </a:lnTo>
                    <a:lnTo>
                      <a:pt x="330" y="230"/>
                    </a:lnTo>
                    <a:lnTo>
                      <a:pt x="330" y="230"/>
                    </a:lnTo>
                    <a:lnTo>
                      <a:pt x="330" y="230"/>
                    </a:lnTo>
                    <a:lnTo>
                      <a:pt x="328" y="232"/>
                    </a:lnTo>
                    <a:lnTo>
                      <a:pt x="328" y="232"/>
                    </a:lnTo>
                    <a:lnTo>
                      <a:pt x="328" y="234"/>
                    </a:lnTo>
                    <a:lnTo>
                      <a:pt x="328" y="236"/>
                    </a:lnTo>
                    <a:lnTo>
                      <a:pt x="328" y="236"/>
                    </a:lnTo>
                    <a:lnTo>
                      <a:pt x="328" y="236"/>
                    </a:lnTo>
                    <a:lnTo>
                      <a:pt x="328" y="240"/>
                    </a:lnTo>
                    <a:lnTo>
                      <a:pt x="328" y="240"/>
                    </a:lnTo>
                    <a:lnTo>
                      <a:pt x="328" y="240"/>
                    </a:lnTo>
                    <a:lnTo>
                      <a:pt x="328" y="242"/>
                    </a:lnTo>
                    <a:lnTo>
                      <a:pt x="328" y="242"/>
                    </a:lnTo>
                    <a:lnTo>
                      <a:pt x="328" y="242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2" y="246"/>
                    </a:lnTo>
                    <a:lnTo>
                      <a:pt x="332" y="246"/>
                    </a:lnTo>
                    <a:lnTo>
                      <a:pt x="336" y="246"/>
                    </a:lnTo>
                    <a:lnTo>
                      <a:pt x="340" y="248"/>
                    </a:lnTo>
                    <a:lnTo>
                      <a:pt x="348" y="248"/>
                    </a:lnTo>
                    <a:lnTo>
                      <a:pt x="354" y="248"/>
                    </a:lnTo>
                    <a:lnTo>
                      <a:pt x="360" y="248"/>
                    </a:lnTo>
                    <a:lnTo>
                      <a:pt x="360" y="248"/>
                    </a:lnTo>
                    <a:lnTo>
                      <a:pt x="364" y="248"/>
                    </a:lnTo>
                    <a:lnTo>
                      <a:pt x="374" y="250"/>
                    </a:lnTo>
                    <a:lnTo>
                      <a:pt x="380" y="252"/>
                    </a:lnTo>
                    <a:lnTo>
                      <a:pt x="380" y="252"/>
                    </a:lnTo>
                    <a:lnTo>
                      <a:pt x="380" y="252"/>
                    </a:lnTo>
                    <a:lnTo>
                      <a:pt x="384" y="252"/>
                    </a:lnTo>
                    <a:lnTo>
                      <a:pt x="388" y="252"/>
                    </a:lnTo>
                    <a:lnTo>
                      <a:pt x="392" y="252"/>
                    </a:lnTo>
                    <a:lnTo>
                      <a:pt x="398" y="250"/>
                    </a:lnTo>
                    <a:lnTo>
                      <a:pt x="402" y="250"/>
                    </a:lnTo>
                    <a:lnTo>
                      <a:pt x="408" y="250"/>
                    </a:lnTo>
                    <a:lnTo>
                      <a:pt x="412" y="250"/>
                    </a:lnTo>
                    <a:lnTo>
                      <a:pt x="416" y="250"/>
                    </a:lnTo>
                    <a:lnTo>
                      <a:pt x="418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8" y="252"/>
                    </a:lnTo>
                    <a:lnTo>
                      <a:pt x="428" y="252"/>
                    </a:lnTo>
                    <a:lnTo>
                      <a:pt x="428" y="254"/>
                    </a:lnTo>
                    <a:lnTo>
                      <a:pt x="430" y="256"/>
                    </a:lnTo>
                    <a:lnTo>
                      <a:pt x="430" y="256"/>
                    </a:lnTo>
                    <a:lnTo>
                      <a:pt x="430" y="256"/>
                    </a:lnTo>
                    <a:lnTo>
                      <a:pt x="434" y="258"/>
                    </a:lnTo>
                    <a:lnTo>
                      <a:pt x="434" y="258"/>
                    </a:lnTo>
                    <a:lnTo>
                      <a:pt x="434" y="260"/>
                    </a:lnTo>
                    <a:lnTo>
                      <a:pt x="434" y="260"/>
                    </a:lnTo>
                    <a:lnTo>
                      <a:pt x="432" y="262"/>
                    </a:lnTo>
                    <a:lnTo>
                      <a:pt x="432" y="262"/>
                    </a:lnTo>
                    <a:lnTo>
                      <a:pt x="430" y="264"/>
                    </a:lnTo>
                    <a:lnTo>
                      <a:pt x="428" y="264"/>
                    </a:lnTo>
                    <a:lnTo>
                      <a:pt x="428" y="264"/>
                    </a:lnTo>
                    <a:lnTo>
                      <a:pt x="424" y="264"/>
                    </a:lnTo>
                    <a:lnTo>
                      <a:pt x="418" y="264"/>
                    </a:lnTo>
                    <a:lnTo>
                      <a:pt x="414" y="262"/>
                    </a:lnTo>
                    <a:lnTo>
                      <a:pt x="408" y="260"/>
                    </a:lnTo>
                    <a:lnTo>
                      <a:pt x="404" y="260"/>
                    </a:lnTo>
                    <a:lnTo>
                      <a:pt x="400" y="258"/>
                    </a:lnTo>
                    <a:lnTo>
                      <a:pt x="396" y="258"/>
                    </a:lnTo>
                    <a:lnTo>
                      <a:pt x="390" y="258"/>
                    </a:lnTo>
                    <a:lnTo>
                      <a:pt x="386" y="256"/>
                    </a:lnTo>
                    <a:lnTo>
                      <a:pt x="382" y="258"/>
                    </a:lnTo>
                    <a:lnTo>
                      <a:pt x="378" y="258"/>
                    </a:lnTo>
                    <a:lnTo>
                      <a:pt x="374" y="258"/>
                    </a:lnTo>
                    <a:lnTo>
                      <a:pt x="374" y="258"/>
                    </a:lnTo>
                    <a:lnTo>
                      <a:pt x="372" y="258"/>
                    </a:lnTo>
                    <a:lnTo>
                      <a:pt x="368" y="260"/>
                    </a:lnTo>
                    <a:lnTo>
                      <a:pt x="364" y="264"/>
                    </a:lnTo>
                    <a:lnTo>
                      <a:pt x="360" y="266"/>
                    </a:lnTo>
                    <a:lnTo>
                      <a:pt x="358" y="266"/>
                    </a:lnTo>
                    <a:lnTo>
                      <a:pt x="356" y="266"/>
                    </a:lnTo>
                    <a:lnTo>
                      <a:pt x="356" y="266"/>
                    </a:lnTo>
                    <a:lnTo>
                      <a:pt x="354" y="268"/>
                    </a:lnTo>
                    <a:lnTo>
                      <a:pt x="352" y="268"/>
                    </a:lnTo>
                    <a:lnTo>
                      <a:pt x="350" y="270"/>
                    </a:lnTo>
                    <a:lnTo>
                      <a:pt x="350" y="270"/>
                    </a:lnTo>
                    <a:lnTo>
                      <a:pt x="350" y="270"/>
                    </a:lnTo>
                    <a:lnTo>
                      <a:pt x="348" y="274"/>
                    </a:lnTo>
                    <a:lnTo>
                      <a:pt x="348" y="274"/>
                    </a:lnTo>
                    <a:lnTo>
                      <a:pt x="348" y="274"/>
                    </a:lnTo>
                    <a:lnTo>
                      <a:pt x="348" y="276"/>
                    </a:lnTo>
                    <a:lnTo>
                      <a:pt x="348" y="276"/>
                    </a:lnTo>
                    <a:lnTo>
                      <a:pt x="348" y="278"/>
                    </a:lnTo>
                    <a:lnTo>
                      <a:pt x="348" y="280"/>
                    </a:lnTo>
                    <a:lnTo>
                      <a:pt x="348" y="280"/>
                    </a:lnTo>
                    <a:lnTo>
                      <a:pt x="348" y="280"/>
                    </a:lnTo>
                    <a:lnTo>
                      <a:pt x="350" y="282"/>
                    </a:lnTo>
                    <a:lnTo>
                      <a:pt x="352" y="286"/>
                    </a:lnTo>
                    <a:lnTo>
                      <a:pt x="354" y="288"/>
                    </a:lnTo>
                    <a:lnTo>
                      <a:pt x="356" y="292"/>
                    </a:lnTo>
                    <a:lnTo>
                      <a:pt x="356" y="292"/>
                    </a:lnTo>
                    <a:lnTo>
                      <a:pt x="358" y="292"/>
                    </a:lnTo>
                    <a:lnTo>
                      <a:pt x="360" y="292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62" y="294"/>
                    </a:lnTo>
                    <a:lnTo>
                      <a:pt x="362" y="294"/>
                    </a:lnTo>
                    <a:lnTo>
                      <a:pt x="362" y="296"/>
                    </a:lnTo>
                    <a:lnTo>
                      <a:pt x="362" y="298"/>
                    </a:lnTo>
                    <a:lnTo>
                      <a:pt x="362" y="298"/>
                    </a:lnTo>
                    <a:lnTo>
                      <a:pt x="364" y="298"/>
                    </a:lnTo>
                    <a:lnTo>
                      <a:pt x="364" y="300"/>
                    </a:lnTo>
                    <a:lnTo>
                      <a:pt x="364" y="300"/>
                    </a:lnTo>
                    <a:lnTo>
                      <a:pt x="366" y="300"/>
                    </a:lnTo>
                    <a:lnTo>
                      <a:pt x="370" y="302"/>
                    </a:lnTo>
                    <a:lnTo>
                      <a:pt x="370" y="302"/>
                    </a:lnTo>
                    <a:lnTo>
                      <a:pt x="370" y="302"/>
                    </a:lnTo>
                    <a:lnTo>
                      <a:pt x="374" y="304"/>
                    </a:lnTo>
                    <a:lnTo>
                      <a:pt x="378" y="304"/>
                    </a:lnTo>
                    <a:lnTo>
                      <a:pt x="384" y="304"/>
                    </a:lnTo>
                    <a:lnTo>
                      <a:pt x="390" y="304"/>
                    </a:lnTo>
                    <a:lnTo>
                      <a:pt x="394" y="306"/>
                    </a:lnTo>
                    <a:lnTo>
                      <a:pt x="400" y="306"/>
                    </a:lnTo>
                    <a:lnTo>
                      <a:pt x="402" y="306"/>
                    </a:lnTo>
                    <a:lnTo>
                      <a:pt x="402" y="308"/>
                    </a:lnTo>
                    <a:lnTo>
                      <a:pt x="404" y="310"/>
                    </a:lnTo>
                    <a:lnTo>
                      <a:pt x="404" y="312"/>
                    </a:lnTo>
                    <a:lnTo>
                      <a:pt x="404" y="312"/>
                    </a:lnTo>
                    <a:lnTo>
                      <a:pt x="404" y="314"/>
                    </a:lnTo>
                    <a:lnTo>
                      <a:pt x="404" y="314"/>
                    </a:lnTo>
                    <a:lnTo>
                      <a:pt x="402" y="316"/>
                    </a:lnTo>
                    <a:lnTo>
                      <a:pt x="400" y="320"/>
                    </a:lnTo>
                    <a:lnTo>
                      <a:pt x="400" y="320"/>
                    </a:lnTo>
                    <a:lnTo>
                      <a:pt x="400" y="320"/>
                    </a:lnTo>
                    <a:lnTo>
                      <a:pt x="400" y="322"/>
                    </a:lnTo>
                    <a:lnTo>
                      <a:pt x="398" y="320"/>
                    </a:lnTo>
                    <a:lnTo>
                      <a:pt x="392" y="320"/>
                    </a:lnTo>
                    <a:lnTo>
                      <a:pt x="386" y="318"/>
                    </a:lnTo>
                    <a:lnTo>
                      <a:pt x="380" y="316"/>
                    </a:lnTo>
                    <a:lnTo>
                      <a:pt x="374" y="316"/>
                    </a:lnTo>
                    <a:lnTo>
                      <a:pt x="368" y="314"/>
                    </a:lnTo>
                    <a:lnTo>
                      <a:pt x="358" y="312"/>
                    </a:lnTo>
                    <a:lnTo>
                      <a:pt x="350" y="310"/>
                    </a:lnTo>
                    <a:lnTo>
                      <a:pt x="342" y="308"/>
                    </a:lnTo>
                    <a:lnTo>
                      <a:pt x="338" y="306"/>
                    </a:lnTo>
                    <a:lnTo>
                      <a:pt x="332" y="304"/>
                    </a:lnTo>
                    <a:lnTo>
                      <a:pt x="328" y="304"/>
                    </a:lnTo>
                    <a:lnTo>
                      <a:pt x="322" y="300"/>
                    </a:lnTo>
                    <a:lnTo>
                      <a:pt x="310" y="296"/>
                    </a:lnTo>
                    <a:lnTo>
                      <a:pt x="304" y="294"/>
                    </a:lnTo>
                    <a:lnTo>
                      <a:pt x="298" y="290"/>
                    </a:lnTo>
                    <a:lnTo>
                      <a:pt x="292" y="288"/>
                    </a:lnTo>
                    <a:lnTo>
                      <a:pt x="288" y="286"/>
                    </a:lnTo>
                    <a:lnTo>
                      <a:pt x="286" y="284"/>
                    </a:lnTo>
                    <a:lnTo>
                      <a:pt x="284" y="282"/>
                    </a:lnTo>
                    <a:lnTo>
                      <a:pt x="282" y="282"/>
                    </a:lnTo>
                    <a:lnTo>
                      <a:pt x="280" y="280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6" y="278"/>
                    </a:lnTo>
                    <a:lnTo>
                      <a:pt x="276" y="276"/>
                    </a:lnTo>
                    <a:lnTo>
                      <a:pt x="276" y="276"/>
                    </a:lnTo>
                    <a:lnTo>
                      <a:pt x="274" y="276"/>
                    </a:lnTo>
                    <a:lnTo>
                      <a:pt x="272" y="278"/>
                    </a:lnTo>
                    <a:lnTo>
                      <a:pt x="272" y="278"/>
                    </a:lnTo>
                    <a:lnTo>
                      <a:pt x="272" y="278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68" y="282"/>
                    </a:lnTo>
                    <a:lnTo>
                      <a:pt x="268" y="286"/>
                    </a:lnTo>
                    <a:lnTo>
                      <a:pt x="266" y="288"/>
                    </a:lnTo>
                    <a:lnTo>
                      <a:pt x="264" y="292"/>
                    </a:lnTo>
                    <a:lnTo>
                      <a:pt x="264" y="294"/>
                    </a:lnTo>
                    <a:lnTo>
                      <a:pt x="262" y="296"/>
                    </a:lnTo>
                    <a:lnTo>
                      <a:pt x="262" y="296"/>
                    </a:lnTo>
                    <a:lnTo>
                      <a:pt x="260" y="296"/>
                    </a:lnTo>
                    <a:lnTo>
                      <a:pt x="258" y="298"/>
                    </a:lnTo>
                    <a:lnTo>
                      <a:pt x="256" y="298"/>
                    </a:lnTo>
                    <a:lnTo>
                      <a:pt x="254" y="298"/>
                    </a:lnTo>
                    <a:lnTo>
                      <a:pt x="252" y="298"/>
                    </a:lnTo>
                    <a:lnTo>
                      <a:pt x="250" y="296"/>
                    </a:lnTo>
                    <a:lnTo>
                      <a:pt x="248" y="296"/>
                    </a:lnTo>
                    <a:lnTo>
                      <a:pt x="248" y="294"/>
                    </a:lnTo>
                    <a:lnTo>
                      <a:pt x="248" y="294"/>
                    </a:lnTo>
                    <a:lnTo>
                      <a:pt x="248" y="290"/>
                    </a:lnTo>
                    <a:lnTo>
                      <a:pt x="250" y="286"/>
                    </a:lnTo>
                    <a:lnTo>
                      <a:pt x="252" y="280"/>
                    </a:lnTo>
                    <a:lnTo>
                      <a:pt x="252" y="276"/>
                    </a:lnTo>
                    <a:lnTo>
                      <a:pt x="254" y="270"/>
                    </a:lnTo>
                    <a:lnTo>
                      <a:pt x="254" y="266"/>
                    </a:lnTo>
                    <a:lnTo>
                      <a:pt x="256" y="264"/>
                    </a:lnTo>
                    <a:lnTo>
                      <a:pt x="256" y="264"/>
                    </a:lnTo>
                    <a:lnTo>
                      <a:pt x="256" y="262"/>
                    </a:lnTo>
                    <a:lnTo>
                      <a:pt x="256" y="260"/>
                    </a:lnTo>
                    <a:lnTo>
                      <a:pt x="256" y="260"/>
                    </a:lnTo>
                    <a:lnTo>
                      <a:pt x="254" y="260"/>
                    </a:lnTo>
                    <a:lnTo>
                      <a:pt x="254" y="258"/>
                    </a:lnTo>
                    <a:lnTo>
                      <a:pt x="254" y="258"/>
                    </a:lnTo>
                    <a:lnTo>
                      <a:pt x="254" y="258"/>
                    </a:lnTo>
                    <a:lnTo>
                      <a:pt x="252" y="256"/>
                    </a:lnTo>
                    <a:lnTo>
                      <a:pt x="252" y="256"/>
                    </a:lnTo>
                    <a:lnTo>
                      <a:pt x="250" y="256"/>
                    </a:lnTo>
                    <a:lnTo>
                      <a:pt x="250" y="256"/>
                    </a:lnTo>
                    <a:lnTo>
                      <a:pt x="250" y="256"/>
                    </a:lnTo>
                    <a:lnTo>
                      <a:pt x="248" y="256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42" y="258"/>
                    </a:lnTo>
                    <a:lnTo>
                      <a:pt x="240" y="258"/>
                    </a:lnTo>
                    <a:lnTo>
                      <a:pt x="238" y="258"/>
                    </a:lnTo>
                    <a:lnTo>
                      <a:pt x="234" y="260"/>
                    </a:lnTo>
                    <a:lnTo>
                      <a:pt x="234" y="260"/>
                    </a:lnTo>
                    <a:lnTo>
                      <a:pt x="234" y="260"/>
                    </a:lnTo>
                    <a:lnTo>
                      <a:pt x="230" y="264"/>
                    </a:lnTo>
                    <a:lnTo>
                      <a:pt x="230" y="264"/>
                    </a:lnTo>
                    <a:lnTo>
                      <a:pt x="228" y="264"/>
                    </a:lnTo>
                    <a:lnTo>
                      <a:pt x="228" y="266"/>
                    </a:lnTo>
                    <a:lnTo>
                      <a:pt x="228" y="266"/>
                    </a:lnTo>
                    <a:lnTo>
                      <a:pt x="226" y="266"/>
                    </a:lnTo>
                    <a:lnTo>
                      <a:pt x="226" y="268"/>
                    </a:lnTo>
                    <a:lnTo>
                      <a:pt x="226" y="268"/>
                    </a:lnTo>
                    <a:lnTo>
                      <a:pt x="226" y="270"/>
                    </a:lnTo>
                    <a:lnTo>
                      <a:pt x="224" y="272"/>
                    </a:lnTo>
                    <a:lnTo>
                      <a:pt x="224" y="272"/>
                    </a:lnTo>
                    <a:lnTo>
                      <a:pt x="224" y="272"/>
                    </a:lnTo>
                    <a:lnTo>
                      <a:pt x="224" y="276"/>
                    </a:lnTo>
                    <a:lnTo>
                      <a:pt x="224" y="280"/>
                    </a:lnTo>
                    <a:lnTo>
                      <a:pt x="224" y="284"/>
                    </a:lnTo>
                    <a:lnTo>
                      <a:pt x="224" y="288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0" y="290"/>
                    </a:lnTo>
                    <a:lnTo>
                      <a:pt x="218" y="286"/>
                    </a:lnTo>
                    <a:lnTo>
                      <a:pt x="214" y="284"/>
                    </a:lnTo>
                    <a:lnTo>
                      <a:pt x="212" y="280"/>
                    </a:lnTo>
                    <a:lnTo>
                      <a:pt x="210" y="276"/>
                    </a:lnTo>
                    <a:lnTo>
                      <a:pt x="208" y="274"/>
                    </a:lnTo>
                    <a:lnTo>
                      <a:pt x="206" y="270"/>
                    </a:lnTo>
                    <a:lnTo>
                      <a:pt x="204" y="268"/>
                    </a:lnTo>
                    <a:lnTo>
                      <a:pt x="202" y="262"/>
                    </a:lnTo>
                    <a:lnTo>
                      <a:pt x="200" y="258"/>
                    </a:lnTo>
                    <a:lnTo>
                      <a:pt x="200" y="254"/>
                    </a:lnTo>
                    <a:lnTo>
                      <a:pt x="198" y="252"/>
                    </a:lnTo>
                    <a:lnTo>
                      <a:pt x="196" y="250"/>
                    </a:lnTo>
                    <a:lnTo>
                      <a:pt x="196" y="250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4" y="246"/>
                    </a:lnTo>
                    <a:lnTo>
                      <a:pt x="192" y="246"/>
                    </a:lnTo>
                    <a:lnTo>
                      <a:pt x="192" y="246"/>
                    </a:lnTo>
                    <a:lnTo>
                      <a:pt x="190" y="248"/>
                    </a:lnTo>
                    <a:lnTo>
                      <a:pt x="190" y="248"/>
                    </a:lnTo>
                    <a:lnTo>
                      <a:pt x="190" y="248"/>
                    </a:lnTo>
                    <a:lnTo>
                      <a:pt x="190" y="250"/>
                    </a:lnTo>
                    <a:lnTo>
                      <a:pt x="190" y="252"/>
                    </a:lnTo>
                    <a:lnTo>
                      <a:pt x="190" y="254"/>
                    </a:lnTo>
                    <a:lnTo>
                      <a:pt x="192" y="258"/>
                    </a:lnTo>
                    <a:lnTo>
                      <a:pt x="192" y="262"/>
                    </a:lnTo>
                    <a:lnTo>
                      <a:pt x="192" y="266"/>
                    </a:lnTo>
                    <a:lnTo>
                      <a:pt x="192" y="268"/>
                    </a:lnTo>
                    <a:lnTo>
                      <a:pt x="192" y="270"/>
                    </a:lnTo>
                    <a:lnTo>
                      <a:pt x="192" y="270"/>
                    </a:lnTo>
                    <a:lnTo>
                      <a:pt x="192" y="272"/>
                    </a:lnTo>
                    <a:lnTo>
                      <a:pt x="190" y="274"/>
                    </a:lnTo>
                    <a:lnTo>
                      <a:pt x="186" y="278"/>
                    </a:lnTo>
                    <a:lnTo>
                      <a:pt x="186" y="278"/>
                    </a:lnTo>
                    <a:lnTo>
                      <a:pt x="186" y="278"/>
                    </a:lnTo>
                    <a:lnTo>
                      <a:pt x="184" y="276"/>
                    </a:lnTo>
                    <a:lnTo>
                      <a:pt x="182" y="274"/>
                    </a:lnTo>
                    <a:lnTo>
                      <a:pt x="182" y="274"/>
                    </a:lnTo>
                    <a:lnTo>
                      <a:pt x="182" y="274"/>
                    </a:lnTo>
                    <a:lnTo>
                      <a:pt x="180" y="272"/>
                    </a:lnTo>
                    <a:lnTo>
                      <a:pt x="180" y="272"/>
                    </a:lnTo>
                    <a:lnTo>
                      <a:pt x="180" y="272"/>
                    </a:lnTo>
                    <a:lnTo>
                      <a:pt x="178" y="272"/>
                    </a:lnTo>
                    <a:lnTo>
                      <a:pt x="178" y="272"/>
                    </a:lnTo>
                    <a:lnTo>
                      <a:pt x="178" y="272"/>
                    </a:lnTo>
                    <a:lnTo>
                      <a:pt x="176" y="272"/>
                    </a:lnTo>
                    <a:lnTo>
                      <a:pt x="172" y="272"/>
                    </a:lnTo>
                    <a:lnTo>
                      <a:pt x="166" y="274"/>
                    </a:lnTo>
                    <a:lnTo>
                      <a:pt x="162" y="274"/>
                    </a:lnTo>
                    <a:lnTo>
                      <a:pt x="160" y="276"/>
                    </a:lnTo>
                    <a:lnTo>
                      <a:pt x="158" y="278"/>
                    </a:lnTo>
                    <a:lnTo>
                      <a:pt x="158" y="278"/>
                    </a:lnTo>
                    <a:lnTo>
                      <a:pt x="156" y="278"/>
                    </a:lnTo>
                    <a:lnTo>
                      <a:pt x="154" y="278"/>
                    </a:lnTo>
                    <a:lnTo>
                      <a:pt x="154" y="278"/>
                    </a:lnTo>
                    <a:lnTo>
                      <a:pt x="154" y="280"/>
                    </a:lnTo>
                    <a:lnTo>
                      <a:pt x="154" y="280"/>
                    </a:lnTo>
                    <a:lnTo>
                      <a:pt x="154" y="280"/>
                    </a:lnTo>
                    <a:lnTo>
                      <a:pt x="152" y="282"/>
                    </a:lnTo>
                    <a:lnTo>
                      <a:pt x="152" y="284"/>
                    </a:lnTo>
                    <a:lnTo>
                      <a:pt x="152" y="284"/>
                    </a:lnTo>
                    <a:lnTo>
                      <a:pt x="152" y="284"/>
                    </a:lnTo>
                    <a:lnTo>
                      <a:pt x="150" y="288"/>
                    </a:lnTo>
                    <a:lnTo>
                      <a:pt x="150" y="288"/>
                    </a:lnTo>
                    <a:lnTo>
                      <a:pt x="150" y="288"/>
                    </a:lnTo>
                    <a:lnTo>
                      <a:pt x="150" y="294"/>
                    </a:lnTo>
                    <a:lnTo>
                      <a:pt x="150" y="298"/>
                    </a:lnTo>
                    <a:lnTo>
                      <a:pt x="152" y="300"/>
                    </a:lnTo>
                    <a:lnTo>
                      <a:pt x="152" y="302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50" y="306"/>
                    </a:lnTo>
                    <a:lnTo>
                      <a:pt x="146" y="304"/>
                    </a:lnTo>
                    <a:lnTo>
                      <a:pt x="144" y="302"/>
                    </a:lnTo>
                    <a:lnTo>
                      <a:pt x="140" y="302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32" y="298"/>
                    </a:lnTo>
                    <a:lnTo>
                      <a:pt x="132" y="298"/>
                    </a:lnTo>
                    <a:lnTo>
                      <a:pt x="130" y="298"/>
                    </a:lnTo>
                    <a:lnTo>
                      <a:pt x="130" y="298"/>
                    </a:lnTo>
                    <a:lnTo>
                      <a:pt x="128" y="300"/>
                    </a:lnTo>
                    <a:lnTo>
                      <a:pt x="126" y="302"/>
                    </a:lnTo>
                    <a:lnTo>
                      <a:pt x="126" y="302"/>
                    </a:lnTo>
                    <a:lnTo>
                      <a:pt x="126" y="302"/>
                    </a:lnTo>
                    <a:lnTo>
                      <a:pt x="126" y="306"/>
                    </a:lnTo>
                    <a:lnTo>
                      <a:pt x="126" y="306"/>
                    </a:lnTo>
                    <a:lnTo>
                      <a:pt x="126" y="306"/>
                    </a:lnTo>
                    <a:lnTo>
                      <a:pt x="126" y="308"/>
                    </a:lnTo>
                    <a:lnTo>
                      <a:pt x="126" y="312"/>
                    </a:lnTo>
                    <a:lnTo>
                      <a:pt x="126" y="316"/>
                    </a:lnTo>
                    <a:lnTo>
                      <a:pt x="128" y="318"/>
                    </a:lnTo>
                    <a:lnTo>
                      <a:pt x="128" y="320"/>
                    </a:lnTo>
                    <a:lnTo>
                      <a:pt x="128" y="322"/>
                    </a:lnTo>
                    <a:lnTo>
                      <a:pt x="128" y="322"/>
                    </a:lnTo>
                    <a:lnTo>
                      <a:pt x="126" y="322"/>
                    </a:lnTo>
                    <a:lnTo>
                      <a:pt x="124" y="322"/>
                    </a:lnTo>
                    <a:lnTo>
                      <a:pt x="124" y="322"/>
                    </a:lnTo>
                    <a:lnTo>
                      <a:pt x="120" y="322"/>
                    </a:lnTo>
                    <a:lnTo>
                      <a:pt x="118" y="320"/>
                    </a:lnTo>
                    <a:lnTo>
                      <a:pt x="118" y="320"/>
                    </a:lnTo>
                    <a:lnTo>
                      <a:pt x="118" y="320"/>
                    </a:lnTo>
                    <a:lnTo>
                      <a:pt x="116" y="318"/>
                    </a:lnTo>
                    <a:lnTo>
                      <a:pt x="118" y="316"/>
                    </a:lnTo>
                    <a:lnTo>
                      <a:pt x="118" y="314"/>
                    </a:lnTo>
                    <a:lnTo>
                      <a:pt x="118" y="310"/>
                    </a:lnTo>
                    <a:lnTo>
                      <a:pt x="118" y="308"/>
                    </a:lnTo>
                    <a:lnTo>
                      <a:pt x="118" y="308"/>
                    </a:lnTo>
                    <a:lnTo>
                      <a:pt x="118" y="304"/>
                    </a:lnTo>
                    <a:lnTo>
                      <a:pt x="118" y="304"/>
                    </a:lnTo>
                    <a:lnTo>
                      <a:pt x="116" y="304"/>
                    </a:lnTo>
                    <a:lnTo>
                      <a:pt x="116" y="302"/>
                    </a:lnTo>
                    <a:lnTo>
                      <a:pt x="116" y="302"/>
                    </a:lnTo>
                    <a:lnTo>
                      <a:pt x="114" y="302"/>
                    </a:lnTo>
                    <a:lnTo>
                      <a:pt x="112" y="300"/>
                    </a:lnTo>
                    <a:lnTo>
                      <a:pt x="112" y="300"/>
                    </a:lnTo>
                    <a:lnTo>
                      <a:pt x="112" y="300"/>
                    </a:lnTo>
                    <a:lnTo>
                      <a:pt x="110" y="298"/>
                    </a:lnTo>
                    <a:lnTo>
                      <a:pt x="106" y="298"/>
                    </a:lnTo>
                    <a:lnTo>
                      <a:pt x="102" y="298"/>
                    </a:lnTo>
                    <a:lnTo>
                      <a:pt x="98" y="296"/>
                    </a:lnTo>
                    <a:lnTo>
                      <a:pt x="94" y="296"/>
                    </a:lnTo>
                    <a:lnTo>
                      <a:pt x="90" y="298"/>
                    </a:lnTo>
                    <a:lnTo>
                      <a:pt x="90" y="298"/>
                    </a:lnTo>
                    <a:lnTo>
                      <a:pt x="90" y="298"/>
                    </a:lnTo>
                    <a:lnTo>
                      <a:pt x="88" y="298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300"/>
                    </a:lnTo>
                    <a:lnTo>
                      <a:pt x="86" y="300"/>
                    </a:lnTo>
                    <a:lnTo>
                      <a:pt x="84" y="302"/>
                    </a:lnTo>
                    <a:lnTo>
                      <a:pt x="84" y="304"/>
                    </a:lnTo>
                    <a:lnTo>
                      <a:pt x="84" y="304"/>
                    </a:lnTo>
                    <a:lnTo>
                      <a:pt x="84" y="304"/>
                    </a:lnTo>
                    <a:lnTo>
                      <a:pt x="84" y="306"/>
                    </a:lnTo>
                    <a:lnTo>
                      <a:pt x="84" y="310"/>
                    </a:lnTo>
                    <a:lnTo>
                      <a:pt x="84" y="312"/>
                    </a:lnTo>
                    <a:lnTo>
                      <a:pt x="84" y="314"/>
                    </a:lnTo>
                    <a:lnTo>
                      <a:pt x="84" y="316"/>
                    </a:lnTo>
                    <a:lnTo>
                      <a:pt x="84" y="316"/>
                    </a:lnTo>
                    <a:lnTo>
                      <a:pt x="82" y="318"/>
                    </a:lnTo>
                    <a:lnTo>
                      <a:pt x="80" y="318"/>
                    </a:lnTo>
                    <a:lnTo>
                      <a:pt x="78" y="318"/>
                    </a:lnTo>
                    <a:lnTo>
                      <a:pt x="76" y="318"/>
                    </a:lnTo>
                    <a:lnTo>
                      <a:pt x="74" y="320"/>
                    </a:lnTo>
                    <a:lnTo>
                      <a:pt x="70" y="318"/>
                    </a:lnTo>
                    <a:lnTo>
                      <a:pt x="66" y="318"/>
                    </a:lnTo>
                    <a:lnTo>
                      <a:pt x="64" y="316"/>
                    </a:lnTo>
                    <a:lnTo>
                      <a:pt x="60" y="316"/>
                    </a:lnTo>
                    <a:lnTo>
                      <a:pt x="54" y="312"/>
                    </a:lnTo>
                    <a:lnTo>
                      <a:pt x="50" y="308"/>
                    </a:lnTo>
                    <a:lnTo>
                      <a:pt x="44" y="306"/>
                    </a:lnTo>
                    <a:lnTo>
                      <a:pt x="38" y="302"/>
                    </a:lnTo>
                    <a:lnTo>
                      <a:pt x="32" y="298"/>
                    </a:lnTo>
                    <a:lnTo>
                      <a:pt x="28" y="294"/>
                    </a:lnTo>
                    <a:lnTo>
                      <a:pt x="24" y="292"/>
                    </a:lnTo>
                    <a:lnTo>
                      <a:pt x="22" y="290"/>
                    </a:lnTo>
                    <a:lnTo>
                      <a:pt x="20" y="290"/>
                    </a:lnTo>
                    <a:lnTo>
                      <a:pt x="20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6" y="288"/>
                    </a:lnTo>
                    <a:lnTo>
                      <a:pt x="16" y="288"/>
                    </a:lnTo>
                    <a:lnTo>
                      <a:pt x="16" y="288"/>
                    </a:lnTo>
                    <a:lnTo>
                      <a:pt x="14" y="286"/>
                    </a:lnTo>
                    <a:lnTo>
                      <a:pt x="14" y="282"/>
                    </a:lnTo>
                    <a:lnTo>
                      <a:pt x="12" y="280"/>
                    </a:lnTo>
                    <a:lnTo>
                      <a:pt x="12" y="280"/>
                    </a:lnTo>
                    <a:lnTo>
                      <a:pt x="12" y="280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8" y="278"/>
                    </a:lnTo>
                    <a:lnTo>
                      <a:pt x="8" y="278"/>
                    </a:lnTo>
                    <a:lnTo>
                      <a:pt x="8" y="278"/>
                    </a:lnTo>
                    <a:lnTo>
                      <a:pt x="6" y="278"/>
                    </a:lnTo>
                    <a:lnTo>
                      <a:pt x="6" y="280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82"/>
                    </a:lnTo>
                    <a:lnTo>
                      <a:pt x="4" y="284"/>
                    </a:lnTo>
                    <a:lnTo>
                      <a:pt x="4" y="288"/>
                    </a:lnTo>
                    <a:lnTo>
                      <a:pt x="4" y="292"/>
                    </a:lnTo>
                    <a:lnTo>
                      <a:pt x="4" y="298"/>
                    </a:lnTo>
                    <a:lnTo>
                      <a:pt x="4" y="304"/>
                    </a:lnTo>
                    <a:lnTo>
                      <a:pt x="2" y="310"/>
                    </a:lnTo>
                    <a:lnTo>
                      <a:pt x="2" y="318"/>
                    </a:lnTo>
                    <a:lnTo>
                      <a:pt x="2" y="326"/>
                    </a:lnTo>
                    <a:lnTo>
                      <a:pt x="2" y="336"/>
                    </a:lnTo>
                    <a:lnTo>
                      <a:pt x="2" y="346"/>
                    </a:lnTo>
                    <a:lnTo>
                      <a:pt x="2" y="356"/>
                    </a:lnTo>
                    <a:lnTo>
                      <a:pt x="2" y="376"/>
                    </a:lnTo>
                    <a:lnTo>
                      <a:pt x="2" y="398"/>
                    </a:lnTo>
                    <a:lnTo>
                      <a:pt x="2" y="442"/>
                    </a:lnTo>
                    <a:lnTo>
                      <a:pt x="2" y="452"/>
                    </a:lnTo>
                    <a:lnTo>
                      <a:pt x="2" y="464"/>
                    </a:lnTo>
                    <a:lnTo>
                      <a:pt x="2" y="476"/>
                    </a:lnTo>
                    <a:lnTo>
                      <a:pt x="2" y="488"/>
                    </a:lnTo>
                    <a:lnTo>
                      <a:pt x="2" y="514"/>
                    </a:lnTo>
                    <a:lnTo>
                      <a:pt x="0" y="538"/>
                    </a:lnTo>
                    <a:lnTo>
                      <a:pt x="0" y="552"/>
                    </a:lnTo>
                    <a:lnTo>
                      <a:pt x="0" y="564"/>
                    </a:lnTo>
                    <a:lnTo>
                      <a:pt x="0" y="574"/>
                    </a:lnTo>
                    <a:lnTo>
                      <a:pt x="0" y="586"/>
                    </a:lnTo>
                    <a:lnTo>
                      <a:pt x="0" y="596"/>
                    </a:lnTo>
                    <a:lnTo>
                      <a:pt x="0" y="604"/>
                    </a:lnTo>
                    <a:lnTo>
                      <a:pt x="0" y="612"/>
                    </a:lnTo>
                    <a:lnTo>
                      <a:pt x="0" y="618"/>
                    </a:lnTo>
                    <a:lnTo>
                      <a:pt x="0" y="624"/>
                    </a:lnTo>
                    <a:lnTo>
                      <a:pt x="2" y="628"/>
                    </a:lnTo>
                    <a:lnTo>
                      <a:pt x="2" y="632"/>
                    </a:lnTo>
                    <a:lnTo>
                      <a:pt x="2" y="634"/>
                    </a:lnTo>
                    <a:lnTo>
                      <a:pt x="2" y="634"/>
                    </a:lnTo>
                    <a:lnTo>
                      <a:pt x="2" y="636"/>
                    </a:lnTo>
                    <a:lnTo>
                      <a:pt x="4" y="636"/>
                    </a:lnTo>
                    <a:lnTo>
                      <a:pt x="4" y="636"/>
                    </a:lnTo>
                    <a:lnTo>
                      <a:pt x="4" y="638"/>
                    </a:lnTo>
                    <a:lnTo>
                      <a:pt x="4" y="638"/>
                    </a:lnTo>
                    <a:lnTo>
                      <a:pt x="4" y="638"/>
                    </a:lnTo>
                    <a:lnTo>
                      <a:pt x="6" y="640"/>
                    </a:lnTo>
                    <a:lnTo>
                      <a:pt x="6" y="640"/>
                    </a:lnTo>
                    <a:lnTo>
                      <a:pt x="6" y="640"/>
                    </a:lnTo>
                    <a:lnTo>
                      <a:pt x="8" y="640"/>
                    </a:lnTo>
                    <a:lnTo>
                      <a:pt x="8" y="640"/>
                    </a:lnTo>
                    <a:lnTo>
                      <a:pt x="8" y="640"/>
                    </a:lnTo>
                    <a:lnTo>
                      <a:pt x="10" y="640"/>
                    </a:lnTo>
                    <a:lnTo>
                      <a:pt x="12" y="638"/>
                    </a:lnTo>
                    <a:lnTo>
                      <a:pt x="14" y="636"/>
                    </a:lnTo>
                    <a:lnTo>
                      <a:pt x="14" y="636"/>
                    </a:lnTo>
                    <a:lnTo>
                      <a:pt x="14" y="636"/>
                    </a:lnTo>
                    <a:lnTo>
                      <a:pt x="18" y="638"/>
                    </a:lnTo>
                    <a:lnTo>
                      <a:pt x="24" y="642"/>
                    </a:lnTo>
                    <a:lnTo>
                      <a:pt x="28" y="644"/>
                    </a:lnTo>
                    <a:lnTo>
                      <a:pt x="32" y="646"/>
                    </a:lnTo>
                    <a:lnTo>
                      <a:pt x="34" y="648"/>
                    </a:lnTo>
                    <a:lnTo>
                      <a:pt x="40" y="654"/>
                    </a:lnTo>
                    <a:lnTo>
                      <a:pt x="48" y="660"/>
                    </a:lnTo>
                    <a:lnTo>
                      <a:pt x="54" y="666"/>
                    </a:lnTo>
                    <a:lnTo>
                      <a:pt x="60" y="674"/>
                    </a:lnTo>
                    <a:lnTo>
                      <a:pt x="64" y="678"/>
                    </a:lnTo>
                    <a:lnTo>
                      <a:pt x="66" y="682"/>
                    </a:lnTo>
                    <a:lnTo>
                      <a:pt x="72" y="694"/>
                    </a:lnTo>
                    <a:lnTo>
                      <a:pt x="78" y="704"/>
                    </a:lnTo>
                    <a:lnTo>
                      <a:pt x="82" y="708"/>
                    </a:lnTo>
                    <a:lnTo>
                      <a:pt x="84" y="714"/>
                    </a:lnTo>
                    <a:lnTo>
                      <a:pt x="90" y="722"/>
                    </a:lnTo>
                    <a:lnTo>
                      <a:pt x="96" y="730"/>
                    </a:lnTo>
                    <a:lnTo>
                      <a:pt x="102" y="736"/>
                    </a:lnTo>
                    <a:lnTo>
                      <a:pt x="106" y="744"/>
                    </a:lnTo>
                    <a:lnTo>
                      <a:pt x="108" y="746"/>
                    </a:lnTo>
                    <a:lnTo>
                      <a:pt x="110" y="750"/>
                    </a:lnTo>
                    <a:lnTo>
                      <a:pt x="112" y="756"/>
                    </a:lnTo>
                    <a:lnTo>
                      <a:pt x="114" y="760"/>
                    </a:lnTo>
                    <a:lnTo>
                      <a:pt x="116" y="762"/>
                    </a:lnTo>
                    <a:lnTo>
                      <a:pt x="116" y="762"/>
                    </a:lnTo>
                    <a:lnTo>
                      <a:pt x="118" y="764"/>
                    </a:lnTo>
                    <a:lnTo>
                      <a:pt x="118" y="764"/>
                    </a:lnTo>
                    <a:lnTo>
                      <a:pt x="118" y="766"/>
                    </a:lnTo>
                    <a:lnTo>
                      <a:pt x="120" y="766"/>
                    </a:lnTo>
                    <a:lnTo>
                      <a:pt x="120" y="766"/>
                    </a:lnTo>
                    <a:lnTo>
                      <a:pt x="122" y="768"/>
                    </a:lnTo>
                    <a:lnTo>
                      <a:pt x="124" y="768"/>
                    </a:lnTo>
                    <a:lnTo>
                      <a:pt x="124" y="768"/>
                    </a:lnTo>
                    <a:lnTo>
                      <a:pt x="124" y="768"/>
                    </a:lnTo>
                    <a:lnTo>
                      <a:pt x="128" y="768"/>
                    </a:lnTo>
                    <a:lnTo>
                      <a:pt x="128" y="768"/>
                    </a:lnTo>
                    <a:lnTo>
                      <a:pt x="128" y="768"/>
                    </a:lnTo>
                    <a:lnTo>
                      <a:pt x="132" y="766"/>
                    </a:lnTo>
                    <a:lnTo>
                      <a:pt x="134" y="766"/>
                    </a:lnTo>
                    <a:lnTo>
                      <a:pt x="138" y="764"/>
                    </a:lnTo>
                    <a:lnTo>
                      <a:pt x="140" y="764"/>
                    </a:lnTo>
                    <a:lnTo>
                      <a:pt x="142" y="764"/>
                    </a:lnTo>
                    <a:lnTo>
                      <a:pt x="144" y="764"/>
                    </a:lnTo>
                    <a:lnTo>
                      <a:pt x="144" y="766"/>
                    </a:lnTo>
                    <a:lnTo>
                      <a:pt x="146" y="768"/>
                    </a:lnTo>
                    <a:lnTo>
                      <a:pt x="148" y="770"/>
                    </a:lnTo>
                    <a:lnTo>
                      <a:pt x="150" y="774"/>
                    </a:lnTo>
                    <a:lnTo>
                      <a:pt x="154" y="780"/>
                    </a:lnTo>
                    <a:lnTo>
                      <a:pt x="156" y="784"/>
                    </a:lnTo>
                    <a:lnTo>
                      <a:pt x="158" y="788"/>
                    </a:lnTo>
                    <a:lnTo>
                      <a:pt x="162" y="794"/>
                    </a:lnTo>
                    <a:lnTo>
                      <a:pt x="166" y="798"/>
                    </a:lnTo>
                    <a:lnTo>
                      <a:pt x="170" y="804"/>
                    </a:lnTo>
                    <a:lnTo>
                      <a:pt x="174" y="808"/>
                    </a:lnTo>
                    <a:lnTo>
                      <a:pt x="174" y="812"/>
                    </a:lnTo>
                    <a:lnTo>
                      <a:pt x="176" y="814"/>
                    </a:lnTo>
                    <a:lnTo>
                      <a:pt x="180" y="822"/>
                    </a:lnTo>
                    <a:lnTo>
                      <a:pt x="182" y="826"/>
                    </a:lnTo>
                    <a:lnTo>
                      <a:pt x="184" y="830"/>
                    </a:lnTo>
                    <a:lnTo>
                      <a:pt x="188" y="834"/>
                    </a:lnTo>
                    <a:lnTo>
                      <a:pt x="190" y="836"/>
                    </a:lnTo>
                    <a:lnTo>
                      <a:pt x="190" y="836"/>
                    </a:lnTo>
                    <a:lnTo>
                      <a:pt x="190" y="838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196" y="840"/>
                    </a:lnTo>
                    <a:lnTo>
                      <a:pt x="204" y="844"/>
                    </a:lnTo>
                    <a:lnTo>
                      <a:pt x="210" y="846"/>
                    </a:lnTo>
                    <a:lnTo>
                      <a:pt x="212" y="846"/>
                    </a:lnTo>
                    <a:lnTo>
                      <a:pt x="216" y="848"/>
                    </a:lnTo>
                    <a:lnTo>
                      <a:pt x="226" y="854"/>
                    </a:lnTo>
                    <a:lnTo>
                      <a:pt x="238" y="860"/>
                    </a:lnTo>
                    <a:lnTo>
                      <a:pt x="242" y="860"/>
                    </a:lnTo>
                    <a:lnTo>
                      <a:pt x="246" y="862"/>
                    </a:lnTo>
                    <a:lnTo>
                      <a:pt x="254" y="864"/>
                    </a:lnTo>
                    <a:lnTo>
                      <a:pt x="258" y="866"/>
                    </a:lnTo>
                    <a:lnTo>
                      <a:pt x="260" y="866"/>
                    </a:lnTo>
                    <a:lnTo>
                      <a:pt x="262" y="868"/>
                    </a:lnTo>
                    <a:lnTo>
                      <a:pt x="264" y="868"/>
                    </a:lnTo>
                    <a:lnTo>
                      <a:pt x="266" y="870"/>
                    </a:lnTo>
                    <a:lnTo>
                      <a:pt x="266" y="872"/>
                    </a:lnTo>
                    <a:lnTo>
                      <a:pt x="266" y="874"/>
                    </a:lnTo>
                    <a:lnTo>
                      <a:pt x="266" y="876"/>
                    </a:lnTo>
                    <a:lnTo>
                      <a:pt x="266" y="878"/>
                    </a:lnTo>
                    <a:lnTo>
                      <a:pt x="268" y="882"/>
                    </a:lnTo>
                    <a:lnTo>
                      <a:pt x="268" y="884"/>
                    </a:lnTo>
                    <a:lnTo>
                      <a:pt x="268" y="884"/>
                    </a:lnTo>
                    <a:lnTo>
                      <a:pt x="268" y="884"/>
                    </a:lnTo>
                    <a:lnTo>
                      <a:pt x="270" y="888"/>
                    </a:lnTo>
                    <a:lnTo>
                      <a:pt x="272" y="892"/>
                    </a:lnTo>
                    <a:lnTo>
                      <a:pt x="274" y="894"/>
                    </a:lnTo>
                    <a:lnTo>
                      <a:pt x="280" y="902"/>
                    </a:lnTo>
                    <a:lnTo>
                      <a:pt x="284" y="906"/>
                    </a:lnTo>
                    <a:lnTo>
                      <a:pt x="286" y="910"/>
                    </a:lnTo>
                    <a:lnTo>
                      <a:pt x="290" y="912"/>
                    </a:lnTo>
                    <a:lnTo>
                      <a:pt x="290" y="914"/>
                    </a:lnTo>
                    <a:lnTo>
                      <a:pt x="294" y="912"/>
                    </a:lnTo>
                    <a:lnTo>
                      <a:pt x="366" y="912"/>
                    </a:lnTo>
                    <a:lnTo>
                      <a:pt x="382" y="912"/>
                    </a:lnTo>
                    <a:lnTo>
                      <a:pt x="428" y="912"/>
                    </a:lnTo>
                    <a:lnTo>
                      <a:pt x="444" y="912"/>
                    </a:lnTo>
                    <a:lnTo>
                      <a:pt x="480" y="912"/>
                    </a:lnTo>
                    <a:lnTo>
                      <a:pt x="514" y="912"/>
                    </a:lnTo>
                    <a:lnTo>
                      <a:pt x="550" y="912"/>
                    </a:lnTo>
                    <a:lnTo>
                      <a:pt x="584" y="912"/>
                    </a:lnTo>
                    <a:lnTo>
                      <a:pt x="600" y="912"/>
                    </a:lnTo>
                    <a:lnTo>
                      <a:pt x="616" y="912"/>
                    </a:lnTo>
                    <a:lnTo>
                      <a:pt x="632" y="912"/>
                    </a:lnTo>
                    <a:lnTo>
                      <a:pt x="648" y="912"/>
                    </a:lnTo>
                    <a:lnTo>
                      <a:pt x="662" y="912"/>
                    </a:lnTo>
                    <a:lnTo>
                      <a:pt x="676" y="912"/>
                    </a:lnTo>
                    <a:lnTo>
                      <a:pt x="690" y="912"/>
                    </a:lnTo>
                    <a:lnTo>
                      <a:pt x="702" y="912"/>
                    </a:lnTo>
                    <a:lnTo>
                      <a:pt x="714" y="912"/>
                    </a:lnTo>
                    <a:lnTo>
                      <a:pt x="724" y="912"/>
                    </a:lnTo>
                    <a:lnTo>
                      <a:pt x="734" y="912"/>
                    </a:lnTo>
                    <a:lnTo>
                      <a:pt x="742" y="910"/>
                    </a:lnTo>
                    <a:lnTo>
                      <a:pt x="750" y="910"/>
                    </a:lnTo>
                    <a:lnTo>
                      <a:pt x="756" y="910"/>
                    </a:lnTo>
                    <a:lnTo>
                      <a:pt x="762" y="910"/>
                    </a:lnTo>
                    <a:lnTo>
                      <a:pt x="766" y="910"/>
                    </a:lnTo>
                    <a:lnTo>
                      <a:pt x="770" y="910"/>
                    </a:lnTo>
                    <a:lnTo>
                      <a:pt x="774" y="910"/>
                    </a:lnTo>
                    <a:lnTo>
                      <a:pt x="778" y="910"/>
                    </a:lnTo>
                    <a:lnTo>
                      <a:pt x="780" y="910"/>
                    </a:lnTo>
                    <a:lnTo>
                      <a:pt x="782" y="908"/>
                    </a:lnTo>
                    <a:lnTo>
                      <a:pt x="784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8" y="908"/>
                    </a:lnTo>
                    <a:lnTo>
                      <a:pt x="788" y="908"/>
                    </a:lnTo>
                    <a:lnTo>
                      <a:pt x="788" y="906"/>
                    </a:lnTo>
                    <a:lnTo>
                      <a:pt x="788" y="906"/>
                    </a:lnTo>
                    <a:lnTo>
                      <a:pt x="788" y="906"/>
                    </a:lnTo>
                    <a:lnTo>
                      <a:pt x="788" y="902"/>
                    </a:lnTo>
                    <a:lnTo>
                      <a:pt x="786" y="902"/>
                    </a:lnTo>
                    <a:lnTo>
                      <a:pt x="786" y="902"/>
                    </a:lnTo>
                    <a:lnTo>
                      <a:pt x="786" y="902"/>
                    </a:lnTo>
                    <a:lnTo>
                      <a:pt x="784" y="900"/>
                    </a:lnTo>
                    <a:lnTo>
                      <a:pt x="782" y="900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6"/>
                    </a:lnTo>
                    <a:lnTo>
                      <a:pt x="776" y="894"/>
                    </a:lnTo>
                    <a:lnTo>
                      <a:pt x="776" y="894"/>
                    </a:lnTo>
                    <a:lnTo>
                      <a:pt x="776" y="894"/>
                    </a:lnTo>
                    <a:lnTo>
                      <a:pt x="776" y="892"/>
                    </a:lnTo>
                    <a:lnTo>
                      <a:pt x="776" y="892"/>
                    </a:lnTo>
                    <a:lnTo>
                      <a:pt x="778" y="892"/>
                    </a:lnTo>
                    <a:lnTo>
                      <a:pt x="780" y="894"/>
                    </a:lnTo>
                    <a:lnTo>
                      <a:pt x="784" y="896"/>
                    </a:lnTo>
                    <a:lnTo>
                      <a:pt x="786" y="896"/>
                    </a:lnTo>
                    <a:lnTo>
                      <a:pt x="788" y="896"/>
                    </a:lnTo>
                    <a:lnTo>
                      <a:pt x="792" y="896"/>
                    </a:lnTo>
                    <a:lnTo>
                      <a:pt x="798" y="898"/>
                    </a:lnTo>
                    <a:lnTo>
                      <a:pt x="802" y="898"/>
                    </a:lnTo>
                    <a:lnTo>
                      <a:pt x="804" y="898"/>
                    </a:lnTo>
                    <a:lnTo>
                      <a:pt x="808" y="898"/>
                    </a:lnTo>
                    <a:lnTo>
                      <a:pt x="808" y="900"/>
                    </a:lnTo>
                    <a:lnTo>
                      <a:pt x="808" y="900"/>
                    </a:lnTo>
                    <a:lnTo>
                      <a:pt x="808" y="900"/>
                    </a:lnTo>
                    <a:lnTo>
                      <a:pt x="808" y="902"/>
                    </a:lnTo>
                    <a:lnTo>
                      <a:pt x="808" y="904"/>
                    </a:lnTo>
                    <a:lnTo>
                      <a:pt x="808" y="906"/>
                    </a:lnTo>
                    <a:lnTo>
                      <a:pt x="808" y="908"/>
                    </a:lnTo>
                    <a:lnTo>
                      <a:pt x="808" y="908"/>
                    </a:lnTo>
                    <a:lnTo>
                      <a:pt x="808" y="908"/>
                    </a:lnTo>
                    <a:lnTo>
                      <a:pt x="810" y="910"/>
                    </a:lnTo>
                    <a:lnTo>
                      <a:pt x="810" y="910"/>
                    </a:lnTo>
                    <a:lnTo>
                      <a:pt x="810" y="912"/>
                    </a:lnTo>
                    <a:lnTo>
                      <a:pt x="810" y="912"/>
                    </a:lnTo>
                    <a:lnTo>
                      <a:pt x="810" y="912"/>
                    </a:lnTo>
                    <a:lnTo>
                      <a:pt x="812" y="914"/>
                    </a:lnTo>
                    <a:lnTo>
                      <a:pt x="814" y="914"/>
                    </a:lnTo>
                    <a:lnTo>
                      <a:pt x="814" y="914"/>
                    </a:lnTo>
                    <a:lnTo>
                      <a:pt x="814" y="914"/>
                    </a:lnTo>
                    <a:lnTo>
                      <a:pt x="818" y="916"/>
                    </a:lnTo>
                    <a:lnTo>
                      <a:pt x="820" y="916"/>
                    </a:lnTo>
                    <a:lnTo>
                      <a:pt x="824" y="916"/>
                    </a:lnTo>
                    <a:lnTo>
                      <a:pt x="828" y="916"/>
                    </a:lnTo>
                    <a:lnTo>
                      <a:pt x="830" y="918"/>
                    </a:lnTo>
                    <a:lnTo>
                      <a:pt x="832" y="918"/>
                    </a:lnTo>
                    <a:lnTo>
                      <a:pt x="834" y="918"/>
                    </a:lnTo>
                    <a:lnTo>
                      <a:pt x="834" y="920"/>
                    </a:lnTo>
                    <a:lnTo>
                      <a:pt x="834" y="922"/>
                    </a:lnTo>
                    <a:lnTo>
                      <a:pt x="832" y="926"/>
                    </a:lnTo>
                    <a:lnTo>
                      <a:pt x="830" y="930"/>
                    </a:lnTo>
                    <a:lnTo>
                      <a:pt x="830" y="934"/>
                    </a:lnTo>
                    <a:lnTo>
                      <a:pt x="830" y="938"/>
                    </a:lnTo>
                    <a:lnTo>
                      <a:pt x="830" y="938"/>
                    </a:lnTo>
                    <a:lnTo>
                      <a:pt x="830" y="938"/>
                    </a:lnTo>
                    <a:lnTo>
                      <a:pt x="830" y="942"/>
                    </a:lnTo>
                    <a:lnTo>
                      <a:pt x="830" y="942"/>
                    </a:lnTo>
                    <a:lnTo>
                      <a:pt x="830" y="942"/>
                    </a:lnTo>
                    <a:lnTo>
                      <a:pt x="830" y="944"/>
                    </a:lnTo>
                    <a:lnTo>
                      <a:pt x="830" y="944"/>
                    </a:lnTo>
                    <a:lnTo>
                      <a:pt x="830" y="944"/>
                    </a:lnTo>
                    <a:lnTo>
                      <a:pt x="832" y="946"/>
                    </a:lnTo>
                    <a:lnTo>
                      <a:pt x="832" y="946"/>
                    </a:lnTo>
                    <a:lnTo>
                      <a:pt x="832" y="946"/>
                    </a:lnTo>
                    <a:lnTo>
                      <a:pt x="834" y="948"/>
                    </a:lnTo>
                    <a:lnTo>
                      <a:pt x="834" y="948"/>
                    </a:lnTo>
                    <a:lnTo>
                      <a:pt x="840" y="952"/>
                    </a:lnTo>
                    <a:lnTo>
                      <a:pt x="844" y="954"/>
                    </a:lnTo>
                    <a:lnTo>
                      <a:pt x="850" y="956"/>
                    </a:lnTo>
                    <a:lnTo>
                      <a:pt x="856" y="958"/>
                    </a:lnTo>
                    <a:lnTo>
                      <a:pt x="860" y="960"/>
                    </a:lnTo>
                    <a:lnTo>
                      <a:pt x="864" y="962"/>
                    </a:lnTo>
                    <a:lnTo>
                      <a:pt x="868" y="964"/>
                    </a:lnTo>
                    <a:lnTo>
                      <a:pt x="868" y="964"/>
                    </a:lnTo>
                    <a:lnTo>
                      <a:pt x="870" y="964"/>
                    </a:lnTo>
                    <a:lnTo>
                      <a:pt x="872" y="964"/>
                    </a:lnTo>
                    <a:lnTo>
                      <a:pt x="872" y="964"/>
                    </a:lnTo>
                    <a:lnTo>
                      <a:pt x="872" y="964"/>
                    </a:lnTo>
                    <a:lnTo>
                      <a:pt x="876" y="964"/>
                    </a:lnTo>
                    <a:lnTo>
                      <a:pt x="876" y="964"/>
                    </a:lnTo>
                    <a:lnTo>
                      <a:pt x="876" y="962"/>
                    </a:lnTo>
                    <a:lnTo>
                      <a:pt x="878" y="962"/>
                    </a:lnTo>
                    <a:lnTo>
                      <a:pt x="878" y="962"/>
                    </a:lnTo>
                    <a:lnTo>
                      <a:pt x="878" y="962"/>
                    </a:lnTo>
                    <a:lnTo>
                      <a:pt x="880" y="960"/>
                    </a:lnTo>
                    <a:lnTo>
                      <a:pt x="882" y="960"/>
                    </a:lnTo>
                    <a:lnTo>
                      <a:pt x="882" y="958"/>
                    </a:lnTo>
                    <a:lnTo>
                      <a:pt x="882" y="958"/>
                    </a:lnTo>
                    <a:lnTo>
                      <a:pt x="884" y="958"/>
                    </a:lnTo>
                    <a:lnTo>
                      <a:pt x="884" y="960"/>
                    </a:lnTo>
                    <a:lnTo>
                      <a:pt x="886" y="960"/>
                    </a:lnTo>
                    <a:lnTo>
                      <a:pt x="888" y="962"/>
                    </a:lnTo>
                    <a:lnTo>
                      <a:pt x="892" y="966"/>
                    </a:lnTo>
                    <a:lnTo>
                      <a:pt x="896" y="970"/>
                    </a:lnTo>
                    <a:lnTo>
                      <a:pt x="898" y="972"/>
                    </a:lnTo>
                    <a:lnTo>
                      <a:pt x="898" y="974"/>
                    </a:lnTo>
                    <a:lnTo>
                      <a:pt x="900" y="978"/>
                    </a:lnTo>
                    <a:lnTo>
                      <a:pt x="902" y="982"/>
                    </a:lnTo>
                    <a:lnTo>
                      <a:pt x="904" y="984"/>
                    </a:lnTo>
                    <a:lnTo>
                      <a:pt x="904" y="984"/>
                    </a:lnTo>
                    <a:lnTo>
                      <a:pt x="902" y="984"/>
                    </a:lnTo>
                    <a:lnTo>
                      <a:pt x="900" y="984"/>
                    </a:lnTo>
                    <a:lnTo>
                      <a:pt x="896" y="982"/>
                    </a:lnTo>
                    <a:lnTo>
                      <a:pt x="892" y="982"/>
                    </a:lnTo>
                    <a:lnTo>
                      <a:pt x="888" y="980"/>
                    </a:lnTo>
                    <a:lnTo>
                      <a:pt x="884" y="980"/>
                    </a:lnTo>
                    <a:lnTo>
                      <a:pt x="884" y="980"/>
                    </a:lnTo>
                    <a:lnTo>
                      <a:pt x="884" y="980"/>
                    </a:lnTo>
                    <a:lnTo>
                      <a:pt x="880" y="980"/>
                    </a:lnTo>
                    <a:lnTo>
                      <a:pt x="880" y="980"/>
                    </a:lnTo>
                    <a:lnTo>
                      <a:pt x="880" y="980"/>
                    </a:lnTo>
                    <a:lnTo>
                      <a:pt x="876" y="982"/>
                    </a:lnTo>
                    <a:lnTo>
                      <a:pt x="876" y="982"/>
                    </a:lnTo>
                    <a:lnTo>
                      <a:pt x="876" y="982"/>
                    </a:lnTo>
                    <a:lnTo>
                      <a:pt x="872" y="984"/>
                    </a:lnTo>
                    <a:lnTo>
                      <a:pt x="872" y="984"/>
                    </a:lnTo>
                    <a:lnTo>
                      <a:pt x="872" y="986"/>
                    </a:lnTo>
                    <a:lnTo>
                      <a:pt x="870" y="988"/>
                    </a:lnTo>
                    <a:lnTo>
                      <a:pt x="868" y="994"/>
                    </a:lnTo>
                    <a:lnTo>
                      <a:pt x="866" y="998"/>
                    </a:lnTo>
                    <a:lnTo>
                      <a:pt x="864" y="1008"/>
                    </a:lnTo>
                    <a:lnTo>
                      <a:pt x="862" y="1012"/>
                    </a:lnTo>
                    <a:lnTo>
                      <a:pt x="860" y="1016"/>
                    </a:lnTo>
                    <a:lnTo>
                      <a:pt x="856" y="1022"/>
                    </a:lnTo>
                    <a:lnTo>
                      <a:pt x="852" y="1030"/>
                    </a:lnTo>
                    <a:lnTo>
                      <a:pt x="850" y="1034"/>
                    </a:lnTo>
                    <a:lnTo>
                      <a:pt x="848" y="1036"/>
                    </a:lnTo>
                    <a:lnTo>
                      <a:pt x="846" y="1040"/>
                    </a:lnTo>
                    <a:lnTo>
                      <a:pt x="846" y="1042"/>
                    </a:lnTo>
                    <a:lnTo>
                      <a:pt x="846" y="1044"/>
                    </a:lnTo>
                    <a:lnTo>
                      <a:pt x="846" y="1044"/>
                    </a:lnTo>
                    <a:lnTo>
                      <a:pt x="846" y="1044"/>
                    </a:lnTo>
                    <a:lnTo>
                      <a:pt x="846" y="1046"/>
                    </a:lnTo>
                    <a:lnTo>
                      <a:pt x="846" y="1046"/>
                    </a:lnTo>
                    <a:lnTo>
                      <a:pt x="846" y="1046"/>
                    </a:lnTo>
                    <a:lnTo>
                      <a:pt x="846" y="1050"/>
                    </a:lnTo>
                    <a:lnTo>
                      <a:pt x="846" y="1050"/>
                    </a:lnTo>
                    <a:lnTo>
                      <a:pt x="846" y="1050"/>
                    </a:lnTo>
                    <a:lnTo>
                      <a:pt x="848" y="1050"/>
                    </a:lnTo>
                    <a:lnTo>
                      <a:pt x="848" y="1050"/>
                    </a:lnTo>
                    <a:lnTo>
                      <a:pt x="848" y="1052"/>
                    </a:lnTo>
                    <a:lnTo>
                      <a:pt x="848" y="1052"/>
                    </a:lnTo>
                    <a:lnTo>
                      <a:pt x="848" y="1052"/>
                    </a:lnTo>
                    <a:lnTo>
                      <a:pt x="850" y="1052"/>
                    </a:lnTo>
                    <a:lnTo>
                      <a:pt x="852" y="1052"/>
                    </a:lnTo>
                    <a:lnTo>
                      <a:pt x="852" y="1052"/>
                    </a:lnTo>
                    <a:lnTo>
                      <a:pt x="852" y="1052"/>
                    </a:lnTo>
                    <a:lnTo>
                      <a:pt x="854" y="1052"/>
                    </a:lnTo>
                    <a:lnTo>
                      <a:pt x="854" y="1052"/>
                    </a:lnTo>
                    <a:lnTo>
                      <a:pt x="854" y="1050"/>
                    </a:lnTo>
                    <a:lnTo>
                      <a:pt x="854" y="1050"/>
                    </a:lnTo>
                    <a:lnTo>
                      <a:pt x="854" y="1050"/>
                    </a:lnTo>
                    <a:lnTo>
                      <a:pt x="856" y="1048"/>
                    </a:lnTo>
                    <a:lnTo>
                      <a:pt x="856" y="1046"/>
                    </a:lnTo>
                    <a:lnTo>
                      <a:pt x="856" y="1044"/>
                    </a:lnTo>
                    <a:lnTo>
                      <a:pt x="858" y="1042"/>
                    </a:lnTo>
                    <a:lnTo>
                      <a:pt x="858" y="1038"/>
                    </a:lnTo>
                    <a:lnTo>
                      <a:pt x="860" y="1036"/>
                    </a:lnTo>
                    <a:lnTo>
                      <a:pt x="862" y="1034"/>
                    </a:lnTo>
                    <a:lnTo>
                      <a:pt x="864" y="1032"/>
                    </a:lnTo>
                    <a:lnTo>
                      <a:pt x="866" y="1032"/>
                    </a:lnTo>
                    <a:lnTo>
                      <a:pt x="868" y="1032"/>
                    </a:lnTo>
                    <a:lnTo>
                      <a:pt x="874" y="1030"/>
                    </a:lnTo>
                    <a:lnTo>
                      <a:pt x="880" y="1030"/>
                    </a:lnTo>
                    <a:lnTo>
                      <a:pt x="886" y="1030"/>
                    </a:lnTo>
                    <a:lnTo>
                      <a:pt x="892" y="1030"/>
                    </a:lnTo>
                    <a:lnTo>
                      <a:pt x="900" y="1028"/>
                    </a:lnTo>
                    <a:lnTo>
                      <a:pt x="904" y="1028"/>
                    </a:lnTo>
                    <a:lnTo>
                      <a:pt x="906" y="1028"/>
                    </a:lnTo>
                    <a:lnTo>
                      <a:pt x="908" y="1026"/>
                    </a:lnTo>
                    <a:lnTo>
                      <a:pt x="908" y="1026"/>
                    </a:lnTo>
                    <a:lnTo>
                      <a:pt x="910" y="1026"/>
                    </a:lnTo>
                    <a:lnTo>
                      <a:pt x="912" y="1024"/>
                    </a:lnTo>
                    <a:lnTo>
                      <a:pt x="912" y="1024"/>
                    </a:lnTo>
                    <a:lnTo>
                      <a:pt x="912" y="1024"/>
                    </a:lnTo>
                    <a:lnTo>
                      <a:pt x="914" y="1020"/>
                    </a:lnTo>
                    <a:lnTo>
                      <a:pt x="914" y="1020"/>
                    </a:lnTo>
                    <a:lnTo>
                      <a:pt x="914" y="1020"/>
                    </a:lnTo>
                    <a:lnTo>
                      <a:pt x="914" y="1018"/>
                    </a:lnTo>
                    <a:lnTo>
                      <a:pt x="914" y="1016"/>
                    </a:lnTo>
                    <a:lnTo>
                      <a:pt x="914" y="1014"/>
                    </a:lnTo>
                    <a:lnTo>
                      <a:pt x="914" y="1010"/>
                    </a:lnTo>
                    <a:lnTo>
                      <a:pt x="914" y="1008"/>
                    </a:lnTo>
                    <a:lnTo>
                      <a:pt x="916" y="1006"/>
                    </a:lnTo>
                    <a:lnTo>
                      <a:pt x="916" y="1006"/>
                    </a:lnTo>
                    <a:lnTo>
                      <a:pt x="918" y="1004"/>
                    </a:lnTo>
                    <a:lnTo>
                      <a:pt x="920" y="1004"/>
                    </a:lnTo>
                    <a:lnTo>
                      <a:pt x="922" y="1004"/>
                    </a:lnTo>
                    <a:lnTo>
                      <a:pt x="926" y="1004"/>
                    </a:lnTo>
                    <a:lnTo>
                      <a:pt x="932" y="1004"/>
                    </a:lnTo>
                    <a:lnTo>
                      <a:pt x="936" y="1004"/>
                    </a:lnTo>
                    <a:lnTo>
                      <a:pt x="940" y="1002"/>
                    </a:lnTo>
                    <a:lnTo>
                      <a:pt x="940" y="1002"/>
                    </a:lnTo>
                    <a:lnTo>
                      <a:pt x="940" y="1002"/>
                    </a:lnTo>
                    <a:lnTo>
                      <a:pt x="944" y="1002"/>
                    </a:lnTo>
                    <a:lnTo>
                      <a:pt x="944" y="1002"/>
                    </a:lnTo>
                    <a:lnTo>
                      <a:pt x="944" y="1002"/>
                    </a:lnTo>
                    <a:lnTo>
                      <a:pt x="948" y="1000"/>
                    </a:lnTo>
                    <a:lnTo>
                      <a:pt x="954" y="994"/>
                    </a:lnTo>
                    <a:lnTo>
                      <a:pt x="956" y="992"/>
                    </a:lnTo>
                    <a:lnTo>
                      <a:pt x="960" y="990"/>
                    </a:lnTo>
                    <a:lnTo>
                      <a:pt x="964" y="988"/>
                    </a:lnTo>
                    <a:lnTo>
                      <a:pt x="968" y="986"/>
                    </a:lnTo>
                    <a:lnTo>
                      <a:pt x="970" y="986"/>
                    </a:lnTo>
                    <a:lnTo>
                      <a:pt x="974" y="986"/>
                    </a:lnTo>
                    <a:lnTo>
                      <a:pt x="980" y="984"/>
                    </a:lnTo>
                    <a:lnTo>
                      <a:pt x="988" y="984"/>
                    </a:lnTo>
                    <a:lnTo>
                      <a:pt x="998" y="984"/>
                    </a:lnTo>
                    <a:lnTo>
                      <a:pt x="1006" y="984"/>
                    </a:lnTo>
                    <a:lnTo>
                      <a:pt x="1014" y="982"/>
                    </a:lnTo>
                    <a:lnTo>
                      <a:pt x="1018" y="982"/>
                    </a:lnTo>
                    <a:lnTo>
                      <a:pt x="1020" y="982"/>
                    </a:lnTo>
                    <a:lnTo>
                      <a:pt x="1024" y="982"/>
                    </a:lnTo>
                    <a:lnTo>
                      <a:pt x="1026" y="982"/>
                    </a:lnTo>
                    <a:lnTo>
                      <a:pt x="1030" y="980"/>
                    </a:lnTo>
                    <a:lnTo>
                      <a:pt x="1030" y="980"/>
                    </a:lnTo>
                    <a:lnTo>
                      <a:pt x="1030" y="980"/>
                    </a:lnTo>
                    <a:lnTo>
                      <a:pt x="1034" y="978"/>
                    </a:lnTo>
                    <a:lnTo>
                      <a:pt x="1034" y="978"/>
                    </a:lnTo>
                    <a:lnTo>
                      <a:pt x="1034" y="978"/>
                    </a:lnTo>
                    <a:lnTo>
                      <a:pt x="1036" y="976"/>
                    </a:lnTo>
                    <a:lnTo>
                      <a:pt x="1036" y="976"/>
                    </a:lnTo>
                    <a:lnTo>
                      <a:pt x="1036" y="976"/>
                    </a:lnTo>
                    <a:lnTo>
                      <a:pt x="1038" y="974"/>
                    </a:lnTo>
                    <a:lnTo>
                      <a:pt x="1038" y="974"/>
                    </a:lnTo>
                    <a:lnTo>
                      <a:pt x="1038" y="972"/>
                    </a:lnTo>
                    <a:lnTo>
                      <a:pt x="1038" y="970"/>
                    </a:lnTo>
                    <a:lnTo>
                      <a:pt x="1040" y="968"/>
                    </a:lnTo>
                    <a:lnTo>
                      <a:pt x="1040" y="968"/>
                    </a:lnTo>
                    <a:lnTo>
                      <a:pt x="1040" y="966"/>
                    </a:lnTo>
                    <a:lnTo>
                      <a:pt x="1046" y="960"/>
                    </a:lnTo>
                    <a:lnTo>
                      <a:pt x="1050" y="958"/>
                    </a:lnTo>
                    <a:lnTo>
                      <a:pt x="1052" y="954"/>
                    </a:lnTo>
                    <a:lnTo>
                      <a:pt x="1052" y="954"/>
                    </a:lnTo>
                    <a:lnTo>
                      <a:pt x="1052" y="952"/>
                    </a:lnTo>
                    <a:lnTo>
                      <a:pt x="1054" y="950"/>
                    </a:lnTo>
                    <a:lnTo>
                      <a:pt x="1054" y="948"/>
                    </a:lnTo>
                    <a:lnTo>
                      <a:pt x="1056" y="944"/>
                    </a:lnTo>
                    <a:lnTo>
                      <a:pt x="1058" y="940"/>
                    </a:lnTo>
                    <a:lnTo>
                      <a:pt x="1058" y="938"/>
                    </a:lnTo>
                    <a:lnTo>
                      <a:pt x="1058" y="936"/>
                    </a:lnTo>
                    <a:lnTo>
                      <a:pt x="1060" y="936"/>
                    </a:lnTo>
                    <a:lnTo>
                      <a:pt x="1062" y="934"/>
                    </a:lnTo>
                    <a:lnTo>
                      <a:pt x="1064" y="934"/>
                    </a:lnTo>
                    <a:lnTo>
                      <a:pt x="1068" y="934"/>
                    </a:lnTo>
                    <a:lnTo>
                      <a:pt x="1070" y="934"/>
                    </a:lnTo>
                    <a:lnTo>
                      <a:pt x="1074" y="932"/>
                    </a:lnTo>
                    <a:lnTo>
                      <a:pt x="1076" y="932"/>
                    </a:lnTo>
                    <a:lnTo>
                      <a:pt x="1076" y="932"/>
                    </a:lnTo>
                    <a:lnTo>
                      <a:pt x="1076" y="932"/>
                    </a:lnTo>
                    <a:lnTo>
                      <a:pt x="1076" y="934"/>
                    </a:lnTo>
                    <a:lnTo>
                      <a:pt x="1076" y="934"/>
                    </a:lnTo>
                    <a:lnTo>
                      <a:pt x="1078" y="936"/>
                    </a:lnTo>
                    <a:lnTo>
                      <a:pt x="1078" y="938"/>
                    </a:lnTo>
                    <a:lnTo>
                      <a:pt x="1078" y="942"/>
                    </a:lnTo>
                    <a:lnTo>
                      <a:pt x="1078" y="948"/>
                    </a:lnTo>
                    <a:lnTo>
                      <a:pt x="1078" y="950"/>
                    </a:lnTo>
                    <a:lnTo>
                      <a:pt x="1078" y="952"/>
                    </a:lnTo>
                    <a:lnTo>
                      <a:pt x="1076" y="958"/>
                    </a:lnTo>
                    <a:lnTo>
                      <a:pt x="1076" y="962"/>
                    </a:lnTo>
                    <a:lnTo>
                      <a:pt x="1078" y="966"/>
                    </a:lnTo>
                    <a:lnTo>
                      <a:pt x="1078" y="966"/>
                    </a:lnTo>
                    <a:lnTo>
                      <a:pt x="1078" y="968"/>
                    </a:lnTo>
                    <a:lnTo>
                      <a:pt x="1078" y="968"/>
                    </a:lnTo>
                    <a:lnTo>
                      <a:pt x="1078" y="968"/>
                    </a:lnTo>
                    <a:lnTo>
                      <a:pt x="1078" y="970"/>
                    </a:lnTo>
                    <a:lnTo>
                      <a:pt x="1080" y="970"/>
                    </a:lnTo>
                    <a:lnTo>
                      <a:pt x="1080" y="970"/>
                    </a:lnTo>
                    <a:lnTo>
                      <a:pt x="1080" y="972"/>
                    </a:lnTo>
                    <a:lnTo>
                      <a:pt x="1082" y="972"/>
                    </a:lnTo>
                    <a:lnTo>
                      <a:pt x="1084" y="974"/>
                    </a:lnTo>
                    <a:lnTo>
                      <a:pt x="1088" y="978"/>
                    </a:lnTo>
                    <a:lnTo>
                      <a:pt x="1092" y="980"/>
                    </a:lnTo>
                    <a:lnTo>
                      <a:pt x="1094" y="980"/>
                    </a:lnTo>
                    <a:lnTo>
                      <a:pt x="1094" y="980"/>
                    </a:lnTo>
                    <a:lnTo>
                      <a:pt x="1094" y="982"/>
                    </a:lnTo>
                    <a:lnTo>
                      <a:pt x="1096" y="982"/>
                    </a:lnTo>
                    <a:lnTo>
                      <a:pt x="1096" y="982"/>
                    </a:lnTo>
                    <a:lnTo>
                      <a:pt x="1098" y="982"/>
                    </a:lnTo>
                    <a:lnTo>
                      <a:pt x="1098" y="980"/>
                    </a:lnTo>
                    <a:lnTo>
                      <a:pt x="1098" y="980"/>
                    </a:lnTo>
                    <a:lnTo>
                      <a:pt x="1100" y="980"/>
                    </a:lnTo>
                    <a:lnTo>
                      <a:pt x="1100" y="978"/>
                    </a:lnTo>
                    <a:lnTo>
                      <a:pt x="1100" y="978"/>
                    </a:lnTo>
                    <a:lnTo>
                      <a:pt x="1100" y="978"/>
                    </a:lnTo>
                    <a:lnTo>
                      <a:pt x="1102" y="976"/>
                    </a:lnTo>
                    <a:lnTo>
                      <a:pt x="1102" y="976"/>
                    </a:lnTo>
                    <a:lnTo>
                      <a:pt x="1102" y="976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4" y="976"/>
                    </a:lnTo>
                    <a:lnTo>
                      <a:pt x="1104" y="976"/>
                    </a:lnTo>
                    <a:lnTo>
                      <a:pt x="1104" y="976"/>
                    </a:lnTo>
                    <a:lnTo>
                      <a:pt x="1106" y="976"/>
                    </a:lnTo>
                    <a:lnTo>
                      <a:pt x="1106" y="976"/>
                    </a:lnTo>
                    <a:lnTo>
                      <a:pt x="1106" y="976"/>
                    </a:lnTo>
                    <a:lnTo>
                      <a:pt x="1108" y="976"/>
                    </a:lnTo>
                    <a:lnTo>
                      <a:pt x="1110" y="974"/>
                    </a:lnTo>
                    <a:lnTo>
                      <a:pt x="1114" y="974"/>
                    </a:lnTo>
                    <a:lnTo>
                      <a:pt x="1118" y="972"/>
                    </a:lnTo>
                    <a:lnTo>
                      <a:pt x="1120" y="970"/>
                    </a:lnTo>
                    <a:lnTo>
                      <a:pt x="1120" y="970"/>
                    </a:lnTo>
                    <a:lnTo>
                      <a:pt x="1120" y="970"/>
                    </a:lnTo>
                    <a:lnTo>
                      <a:pt x="1120" y="974"/>
                    </a:lnTo>
                    <a:lnTo>
                      <a:pt x="1120" y="974"/>
                    </a:lnTo>
                    <a:lnTo>
                      <a:pt x="1122" y="976"/>
                    </a:lnTo>
                    <a:lnTo>
                      <a:pt x="1124" y="976"/>
                    </a:lnTo>
                    <a:lnTo>
                      <a:pt x="1106" y="982"/>
                    </a:lnTo>
                    <a:lnTo>
                      <a:pt x="1106" y="982"/>
                    </a:lnTo>
                    <a:lnTo>
                      <a:pt x="1104" y="984"/>
                    </a:lnTo>
                    <a:lnTo>
                      <a:pt x="1094" y="1002"/>
                    </a:lnTo>
                    <a:lnTo>
                      <a:pt x="1094" y="1002"/>
                    </a:lnTo>
                    <a:lnTo>
                      <a:pt x="1096" y="1004"/>
                    </a:lnTo>
                    <a:lnTo>
                      <a:pt x="1108" y="1022"/>
                    </a:lnTo>
                    <a:lnTo>
                      <a:pt x="1108" y="1022"/>
                    </a:lnTo>
                    <a:lnTo>
                      <a:pt x="1110" y="1024"/>
                    </a:lnTo>
                    <a:lnTo>
                      <a:pt x="1110" y="1024"/>
                    </a:lnTo>
                    <a:lnTo>
                      <a:pt x="1112" y="1022"/>
                    </a:lnTo>
                    <a:lnTo>
                      <a:pt x="1134" y="996"/>
                    </a:lnTo>
                    <a:lnTo>
                      <a:pt x="1142" y="1000"/>
                    </a:lnTo>
                    <a:lnTo>
                      <a:pt x="1142" y="1000"/>
                    </a:lnTo>
                    <a:lnTo>
                      <a:pt x="1146" y="998"/>
                    </a:lnTo>
                    <a:lnTo>
                      <a:pt x="1154" y="992"/>
                    </a:lnTo>
                    <a:lnTo>
                      <a:pt x="1186" y="980"/>
                    </a:lnTo>
                    <a:lnTo>
                      <a:pt x="1186" y="980"/>
                    </a:lnTo>
                    <a:lnTo>
                      <a:pt x="1188" y="980"/>
                    </a:lnTo>
                    <a:lnTo>
                      <a:pt x="1188" y="978"/>
                    </a:lnTo>
                    <a:lnTo>
                      <a:pt x="1188" y="972"/>
                    </a:lnTo>
                    <a:lnTo>
                      <a:pt x="1206" y="964"/>
                    </a:lnTo>
                    <a:lnTo>
                      <a:pt x="1206" y="964"/>
                    </a:lnTo>
                    <a:lnTo>
                      <a:pt x="1208" y="960"/>
                    </a:lnTo>
                    <a:lnTo>
                      <a:pt x="1208" y="960"/>
                    </a:lnTo>
                    <a:lnTo>
                      <a:pt x="1206" y="958"/>
                    </a:lnTo>
                    <a:lnTo>
                      <a:pt x="1196" y="954"/>
                    </a:lnTo>
                    <a:lnTo>
                      <a:pt x="1196" y="946"/>
                    </a:lnTo>
                    <a:lnTo>
                      <a:pt x="1196" y="946"/>
                    </a:lnTo>
                    <a:lnTo>
                      <a:pt x="1196" y="946"/>
                    </a:lnTo>
                    <a:lnTo>
                      <a:pt x="1194" y="936"/>
                    </a:lnTo>
                    <a:lnTo>
                      <a:pt x="1194" y="936"/>
                    </a:lnTo>
                    <a:lnTo>
                      <a:pt x="1190" y="934"/>
                    </a:lnTo>
                    <a:lnTo>
                      <a:pt x="1190" y="934"/>
                    </a:lnTo>
                    <a:lnTo>
                      <a:pt x="1188" y="936"/>
                    </a:lnTo>
                    <a:lnTo>
                      <a:pt x="1182" y="946"/>
                    </a:lnTo>
                    <a:lnTo>
                      <a:pt x="1174" y="956"/>
                    </a:lnTo>
                    <a:lnTo>
                      <a:pt x="1174" y="956"/>
                    </a:lnTo>
                    <a:lnTo>
                      <a:pt x="1172" y="958"/>
                    </a:lnTo>
                    <a:lnTo>
                      <a:pt x="1174" y="966"/>
                    </a:lnTo>
                    <a:lnTo>
                      <a:pt x="1174" y="966"/>
                    </a:lnTo>
                    <a:lnTo>
                      <a:pt x="1174" y="964"/>
                    </a:lnTo>
                    <a:lnTo>
                      <a:pt x="1174" y="964"/>
                    </a:lnTo>
                    <a:lnTo>
                      <a:pt x="1172" y="962"/>
                    </a:lnTo>
                    <a:lnTo>
                      <a:pt x="1172" y="962"/>
                    </a:lnTo>
                    <a:lnTo>
                      <a:pt x="1168" y="962"/>
                    </a:lnTo>
                    <a:lnTo>
                      <a:pt x="1164" y="964"/>
                    </a:lnTo>
                    <a:lnTo>
                      <a:pt x="1166" y="960"/>
                    </a:lnTo>
                    <a:lnTo>
                      <a:pt x="1172" y="954"/>
                    </a:lnTo>
                    <a:lnTo>
                      <a:pt x="1172" y="954"/>
                    </a:lnTo>
                    <a:lnTo>
                      <a:pt x="1172" y="950"/>
                    </a:lnTo>
                    <a:lnTo>
                      <a:pt x="1172" y="950"/>
                    </a:lnTo>
                    <a:lnTo>
                      <a:pt x="1168" y="948"/>
                    </a:lnTo>
                    <a:lnTo>
                      <a:pt x="1162" y="948"/>
                    </a:lnTo>
                    <a:lnTo>
                      <a:pt x="1150" y="946"/>
                    </a:lnTo>
                    <a:lnTo>
                      <a:pt x="1140" y="942"/>
                    </a:lnTo>
                    <a:lnTo>
                      <a:pt x="1138" y="938"/>
                    </a:lnTo>
                    <a:lnTo>
                      <a:pt x="1138" y="938"/>
                    </a:lnTo>
                    <a:lnTo>
                      <a:pt x="1136" y="936"/>
                    </a:lnTo>
                    <a:lnTo>
                      <a:pt x="1136" y="936"/>
                    </a:lnTo>
                    <a:lnTo>
                      <a:pt x="1134" y="936"/>
                    </a:lnTo>
                    <a:lnTo>
                      <a:pt x="1128" y="944"/>
                    </a:lnTo>
                    <a:lnTo>
                      <a:pt x="1128" y="944"/>
                    </a:lnTo>
                    <a:lnTo>
                      <a:pt x="1128" y="946"/>
                    </a:lnTo>
                    <a:lnTo>
                      <a:pt x="1130" y="948"/>
                    </a:lnTo>
                    <a:lnTo>
                      <a:pt x="1136" y="954"/>
                    </a:lnTo>
                    <a:lnTo>
                      <a:pt x="1136" y="954"/>
                    </a:lnTo>
                    <a:lnTo>
                      <a:pt x="1136" y="956"/>
                    </a:lnTo>
                    <a:lnTo>
                      <a:pt x="1134" y="956"/>
                    </a:lnTo>
                    <a:lnTo>
                      <a:pt x="1134" y="956"/>
                    </a:lnTo>
                    <a:lnTo>
                      <a:pt x="1134" y="956"/>
                    </a:lnTo>
                    <a:lnTo>
                      <a:pt x="1132" y="954"/>
                    </a:lnTo>
                    <a:lnTo>
                      <a:pt x="1130" y="952"/>
                    </a:lnTo>
                    <a:lnTo>
                      <a:pt x="1128" y="950"/>
                    </a:lnTo>
                    <a:lnTo>
                      <a:pt x="1126" y="948"/>
                    </a:lnTo>
                    <a:lnTo>
                      <a:pt x="1124" y="946"/>
                    </a:lnTo>
                    <a:lnTo>
                      <a:pt x="1124" y="946"/>
                    </a:lnTo>
                    <a:lnTo>
                      <a:pt x="1124" y="946"/>
                    </a:lnTo>
                    <a:lnTo>
                      <a:pt x="1124" y="944"/>
                    </a:lnTo>
                    <a:lnTo>
                      <a:pt x="1126" y="944"/>
                    </a:lnTo>
                    <a:lnTo>
                      <a:pt x="1126" y="942"/>
                    </a:lnTo>
                    <a:lnTo>
                      <a:pt x="1128" y="942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30" y="938"/>
                    </a:lnTo>
                    <a:lnTo>
                      <a:pt x="1130" y="936"/>
                    </a:lnTo>
                    <a:lnTo>
                      <a:pt x="1130" y="936"/>
                    </a:lnTo>
                    <a:lnTo>
                      <a:pt x="1128" y="934"/>
                    </a:lnTo>
                    <a:lnTo>
                      <a:pt x="1128" y="934"/>
                    </a:lnTo>
                    <a:lnTo>
                      <a:pt x="1128" y="934"/>
                    </a:lnTo>
                    <a:lnTo>
                      <a:pt x="1126" y="934"/>
                    </a:lnTo>
                    <a:lnTo>
                      <a:pt x="1124" y="934"/>
                    </a:lnTo>
                    <a:lnTo>
                      <a:pt x="1122" y="934"/>
                    </a:lnTo>
                    <a:lnTo>
                      <a:pt x="1120" y="934"/>
                    </a:lnTo>
                    <a:lnTo>
                      <a:pt x="1120" y="934"/>
                    </a:lnTo>
                    <a:lnTo>
                      <a:pt x="1120" y="934"/>
                    </a:lnTo>
                    <a:lnTo>
                      <a:pt x="1122" y="930"/>
                    </a:lnTo>
                    <a:lnTo>
                      <a:pt x="1122" y="928"/>
                    </a:lnTo>
                    <a:lnTo>
                      <a:pt x="1124" y="926"/>
                    </a:lnTo>
                    <a:lnTo>
                      <a:pt x="1126" y="924"/>
                    </a:lnTo>
                    <a:lnTo>
                      <a:pt x="1126" y="922"/>
                    </a:lnTo>
                    <a:lnTo>
                      <a:pt x="1126" y="922"/>
                    </a:lnTo>
                    <a:lnTo>
                      <a:pt x="1128" y="920"/>
                    </a:lnTo>
                    <a:lnTo>
                      <a:pt x="1128" y="920"/>
                    </a:lnTo>
                    <a:lnTo>
                      <a:pt x="1128" y="920"/>
                    </a:lnTo>
                    <a:lnTo>
                      <a:pt x="1126" y="918"/>
                    </a:lnTo>
                    <a:lnTo>
                      <a:pt x="1126" y="916"/>
                    </a:lnTo>
                    <a:lnTo>
                      <a:pt x="1126" y="916"/>
                    </a:lnTo>
                    <a:lnTo>
                      <a:pt x="1124" y="916"/>
                    </a:lnTo>
                    <a:lnTo>
                      <a:pt x="1124" y="916"/>
                    </a:lnTo>
                    <a:lnTo>
                      <a:pt x="1124" y="916"/>
                    </a:lnTo>
                    <a:lnTo>
                      <a:pt x="1122" y="916"/>
                    </a:lnTo>
                    <a:lnTo>
                      <a:pt x="1120" y="916"/>
                    </a:lnTo>
                    <a:lnTo>
                      <a:pt x="1118" y="916"/>
                    </a:lnTo>
                    <a:lnTo>
                      <a:pt x="1114" y="916"/>
                    </a:lnTo>
                    <a:lnTo>
                      <a:pt x="1114" y="916"/>
                    </a:lnTo>
                    <a:lnTo>
                      <a:pt x="1112" y="916"/>
                    </a:lnTo>
                    <a:lnTo>
                      <a:pt x="1112" y="916"/>
                    </a:lnTo>
                    <a:lnTo>
                      <a:pt x="1110" y="914"/>
                    </a:lnTo>
                    <a:lnTo>
                      <a:pt x="1104" y="912"/>
                    </a:lnTo>
                    <a:lnTo>
                      <a:pt x="1102" y="910"/>
                    </a:lnTo>
                    <a:lnTo>
                      <a:pt x="1102" y="910"/>
                    </a:lnTo>
                    <a:lnTo>
                      <a:pt x="1100" y="908"/>
                    </a:lnTo>
                    <a:lnTo>
                      <a:pt x="1100" y="908"/>
                    </a:lnTo>
                    <a:lnTo>
                      <a:pt x="1102" y="906"/>
                    </a:lnTo>
                    <a:lnTo>
                      <a:pt x="1106" y="904"/>
                    </a:lnTo>
                    <a:lnTo>
                      <a:pt x="1108" y="902"/>
                    </a:lnTo>
                    <a:lnTo>
                      <a:pt x="1112" y="900"/>
                    </a:lnTo>
                    <a:lnTo>
                      <a:pt x="1114" y="898"/>
                    </a:lnTo>
                    <a:lnTo>
                      <a:pt x="1114" y="898"/>
                    </a:lnTo>
                    <a:lnTo>
                      <a:pt x="1114" y="898"/>
                    </a:lnTo>
                    <a:lnTo>
                      <a:pt x="1116" y="896"/>
                    </a:lnTo>
                    <a:lnTo>
                      <a:pt x="1116" y="896"/>
                    </a:lnTo>
                    <a:lnTo>
                      <a:pt x="1116" y="894"/>
                    </a:lnTo>
                    <a:lnTo>
                      <a:pt x="1118" y="894"/>
                    </a:lnTo>
                    <a:lnTo>
                      <a:pt x="1118" y="894"/>
                    </a:lnTo>
                    <a:lnTo>
                      <a:pt x="1118" y="894"/>
                    </a:lnTo>
                    <a:lnTo>
                      <a:pt x="1118" y="892"/>
                    </a:lnTo>
                    <a:lnTo>
                      <a:pt x="1118" y="892"/>
                    </a:lnTo>
                    <a:lnTo>
                      <a:pt x="1118" y="890"/>
                    </a:lnTo>
                    <a:lnTo>
                      <a:pt x="1116" y="890"/>
                    </a:lnTo>
                    <a:lnTo>
                      <a:pt x="1116" y="890"/>
                    </a:lnTo>
                    <a:lnTo>
                      <a:pt x="1116" y="888"/>
                    </a:lnTo>
                    <a:lnTo>
                      <a:pt x="1114" y="886"/>
                    </a:lnTo>
                    <a:lnTo>
                      <a:pt x="1114" y="886"/>
                    </a:lnTo>
                    <a:lnTo>
                      <a:pt x="1114" y="886"/>
                    </a:lnTo>
                    <a:lnTo>
                      <a:pt x="1110" y="884"/>
                    </a:lnTo>
                    <a:lnTo>
                      <a:pt x="1108" y="882"/>
                    </a:lnTo>
                    <a:lnTo>
                      <a:pt x="1104" y="882"/>
                    </a:lnTo>
                    <a:lnTo>
                      <a:pt x="1100" y="880"/>
                    </a:lnTo>
                    <a:lnTo>
                      <a:pt x="1100" y="880"/>
                    </a:lnTo>
                    <a:lnTo>
                      <a:pt x="1098" y="880"/>
                    </a:lnTo>
                    <a:lnTo>
                      <a:pt x="1094" y="880"/>
                    </a:lnTo>
                    <a:lnTo>
                      <a:pt x="1094" y="880"/>
                    </a:lnTo>
                    <a:lnTo>
                      <a:pt x="1094" y="880"/>
                    </a:lnTo>
                    <a:lnTo>
                      <a:pt x="1090" y="880"/>
                    </a:lnTo>
                    <a:lnTo>
                      <a:pt x="1090" y="880"/>
                    </a:lnTo>
                    <a:lnTo>
                      <a:pt x="1090" y="880"/>
                    </a:lnTo>
                    <a:lnTo>
                      <a:pt x="1086" y="882"/>
                    </a:lnTo>
                    <a:lnTo>
                      <a:pt x="1082" y="884"/>
                    </a:lnTo>
                    <a:lnTo>
                      <a:pt x="1076" y="886"/>
                    </a:lnTo>
                    <a:lnTo>
                      <a:pt x="1070" y="890"/>
                    </a:lnTo>
                    <a:lnTo>
                      <a:pt x="1066" y="894"/>
                    </a:lnTo>
                    <a:lnTo>
                      <a:pt x="1060" y="898"/>
                    </a:lnTo>
                    <a:lnTo>
                      <a:pt x="1056" y="902"/>
                    </a:lnTo>
                    <a:lnTo>
                      <a:pt x="1052" y="906"/>
                    </a:lnTo>
                    <a:lnTo>
                      <a:pt x="1046" y="912"/>
                    </a:lnTo>
                    <a:lnTo>
                      <a:pt x="1042" y="918"/>
                    </a:lnTo>
                    <a:lnTo>
                      <a:pt x="1040" y="924"/>
                    </a:lnTo>
                    <a:lnTo>
                      <a:pt x="1036" y="930"/>
                    </a:lnTo>
                    <a:lnTo>
                      <a:pt x="1032" y="936"/>
                    </a:lnTo>
                    <a:lnTo>
                      <a:pt x="1028" y="942"/>
                    </a:lnTo>
                    <a:lnTo>
                      <a:pt x="1026" y="948"/>
                    </a:lnTo>
                    <a:lnTo>
                      <a:pt x="1024" y="950"/>
                    </a:lnTo>
                    <a:lnTo>
                      <a:pt x="1022" y="954"/>
                    </a:lnTo>
                    <a:lnTo>
                      <a:pt x="1020" y="956"/>
                    </a:lnTo>
                    <a:lnTo>
                      <a:pt x="1018" y="956"/>
                    </a:lnTo>
                    <a:lnTo>
                      <a:pt x="1016" y="958"/>
                    </a:lnTo>
                    <a:lnTo>
                      <a:pt x="1016" y="958"/>
                    </a:lnTo>
                    <a:lnTo>
                      <a:pt x="1014" y="958"/>
                    </a:lnTo>
                    <a:lnTo>
                      <a:pt x="1012" y="960"/>
                    </a:lnTo>
                    <a:lnTo>
                      <a:pt x="1010" y="960"/>
                    </a:lnTo>
                    <a:lnTo>
                      <a:pt x="1008" y="962"/>
                    </a:lnTo>
                    <a:lnTo>
                      <a:pt x="1006" y="962"/>
                    </a:lnTo>
                    <a:lnTo>
                      <a:pt x="1000" y="966"/>
                    </a:lnTo>
                    <a:lnTo>
                      <a:pt x="994" y="968"/>
                    </a:lnTo>
                    <a:lnTo>
                      <a:pt x="994" y="968"/>
                    </a:lnTo>
                    <a:lnTo>
                      <a:pt x="996" y="966"/>
                    </a:lnTo>
                    <a:lnTo>
                      <a:pt x="1002" y="962"/>
                    </a:lnTo>
                    <a:lnTo>
                      <a:pt x="1010" y="958"/>
                    </a:lnTo>
                    <a:lnTo>
                      <a:pt x="1016" y="952"/>
                    </a:lnTo>
                    <a:lnTo>
                      <a:pt x="1020" y="950"/>
                    </a:lnTo>
                    <a:lnTo>
                      <a:pt x="1022" y="948"/>
                    </a:lnTo>
                    <a:lnTo>
                      <a:pt x="1026" y="942"/>
                    </a:lnTo>
                    <a:lnTo>
                      <a:pt x="1030" y="938"/>
                    </a:lnTo>
                    <a:lnTo>
                      <a:pt x="1032" y="932"/>
                    </a:lnTo>
                    <a:lnTo>
                      <a:pt x="1034" y="926"/>
                    </a:lnTo>
                    <a:lnTo>
                      <a:pt x="1038" y="920"/>
                    </a:lnTo>
                    <a:lnTo>
                      <a:pt x="1040" y="916"/>
                    </a:lnTo>
                    <a:lnTo>
                      <a:pt x="1042" y="910"/>
                    </a:lnTo>
                    <a:lnTo>
                      <a:pt x="1046" y="906"/>
                    </a:lnTo>
                    <a:lnTo>
                      <a:pt x="1056" y="898"/>
                    </a:lnTo>
                    <a:lnTo>
                      <a:pt x="1060" y="894"/>
                    </a:lnTo>
                    <a:lnTo>
                      <a:pt x="1066" y="890"/>
                    </a:lnTo>
                    <a:lnTo>
                      <a:pt x="1072" y="886"/>
                    </a:lnTo>
                    <a:lnTo>
                      <a:pt x="1078" y="882"/>
                    </a:lnTo>
                    <a:lnTo>
                      <a:pt x="1086" y="878"/>
                    </a:lnTo>
                    <a:lnTo>
                      <a:pt x="1094" y="876"/>
                    </a:lnTo>
                    <a:lnTo>
                      <a:pt x="1100" y="876"/>
                    </a:lnTo>
                    <a:lnTo>
                      <a:pt x="1106" y="874"/>
                    </a:lnTo>
                    <a:lnTo>
                      <a:pt x="1112" y="874"/>
                    </a:lnTo>
                    <a:lnTo>
                      <a:pt x="1118" y="872"/>
                    </a:lnTo>
                    <a:lnTo>
                      <a:pt x="1134" y="872"/>
                    </a:lnTo>
                    <a:lnTo>
                      <a:pt x="1148" y="870"/>
                    </a:lnTo>
                    <a:lnTo>
                      <a:pt x="1164" y="870"/>
                    </a:lnTo>
                    <a:lnTo>
                      <a:pt x="1170" y="870"/>
                    </a:lnTo>
                    <a:lnTo>
                      <a:pt x="1178" y="870"/>
                    </a:lnTo>
                    <a:lnTo>
                      <a:pt x="1184" y="870"/>
                    </a:lnTo>
                    <a:lnTo>
                      <a:pt x="1188" y="868"/>
                    </a:lnTo>
                    <a:lnTo>
                      <a:pt x="1194" y="868"/>
                    </a:lnTo>
                    <a:lnTo>
                      <a:pt x="1198" y="868"/>
                    </a:lnTo>
                    <a:lnTo>
                      <a:pt x="1202" y="866"/>
                    </a:lnTo>
                    <a:lnTo>
                      <a:pt x="1204" y="866"/>
                    </a:lnTo>
                    <a:lnTo>
                      <a:pt x="1206" y="866"/>
                    </a:lnTo>
                    <a:lnTo>
                      <a:pt x="1208" y="866"/>
                    </a:lnTo>
                    <a:lnTo>
                      <a:pt x="1208" y="866"/>
                    </a:lnTo>
                    <a:lnTo>
                      <a:pt x="1208" y="864"/>
                    </a:lnTo>
                    <a:lnTo>
                      <a:pt x="1208" y="864"/>
                    </a:lnTo>
                    <a:lnTo>
                      <a:pt x="1208" y="864"/>
                    </a:lnTo>
                    <a:lnTo>
                      <a:pt x="1210" y="864"/>
                    </a:lnTo>
                    <a:lnTo>
                      <a:pt x="1210" y="862"/>
                    </a:lnTo>
                    <a:lnTo>
                      <a:pt x="1210" y="862"/>
                    </a:lnTo>
                    <a:lnTo>
                      <a:pt x="1210" y="862"/>
                    </a:lnTo>
                    <a:lnTo>
                      <a:pt x="1210" y="860"/>
                    </a:lnTo>
                    <a:lnTo>
                      <a:pt x="1210" y="860"/>
                    </a:lnTo>
                    <a:lnTo>
                      <a:pt x="1210" y="858"/>
                    </a:lnTo>
                    <a:lnTo>
                      <a:pt x="1208" y="858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10" y="852"/>
                    </a:lnTo>
                    <a:lnTo>
                      <a:pt x="1214" y="850"/>
                    </a:lnTo>
                    <a:lnTo>
                      <a:pt x="1220" y="842"/>
                    </a:lnTo>
                    <a:lnTo>
                      <a:pt x="1222" y="840"/>
                    </a:lnTo>
                    <a:lnTo>
                      <a:pt x="1224" y="838"/>
                    </a:lnTo>
                    <a:lnTo>
                      <a:pt x="1224" y="838"/>
                    </a:lnTo>
                    <a:lnTo>
                      <a:pt x="1224" y="840"/>
                    </a:lnTo>
                    <a:lnTo>
                      <a:pt x="1228" y="842"/>
                    </a:lnTo>
                    <a:lnTo>
                      <a:pt x="1230" y="844"/>
                    </a:lnTo>
                    <a:lnTo>
                      <a:pt x="1230" y="844"/>
                    </a:lnTo>
                    <a:lnTo>
                      <a:pt x="1230" y="844"/>
                    </a:lnTo>
                    <a:lnTo>
                      <a:pt x="1232" y="844"/>
                    </a:lnTo>
                    <a:lnTo>
                      <a:pt x="1232" y="844"/>
                    </a:lnTo>
                    <a:lnTo>
                      <a:pt x="1232" y="844"/>
                    </a:lnTo>
                    <a:lnTo>
                      <a:pt x="1234" y="844"/>
                    </a:lnTo>
                    <a:lnTo>
                      <a:pt x="1234" y="846"/>
                    </a:lnTo>
                    <a:lnTo>
                      <a:pt x="1234" y="848"/>
                    </a:lnTo>
                    <a:lnTo>
                      <a:pt x="1232" y="850"/>
                    </a:lnTo>
                    <a:lnTo>
                      <a:pt x="1228" y="852"/>
                    </a:lnTo>
                    <a:lnTo>
                      <a:pt x="1228" y="852"/>
                    </a:lnTo>
                    <a:lnTo>
                      <a:pt x="1228" y="852"/>
                    </a:lnTo>
                    <a:lnTo>
                      <a:pt x="1226" y="854"/>
                    </a:lnTo>
                    <a:lnTo>
                      <a:pt x="1224" y="856"/>
                    </a:lnTo>
                    <a:lnTo>
                      <a:pt x="1222" y="858"/>
                    </a:lnTo>
                    <a:lnTo>
                      <a:pt x="1222" y="858"/>
                    </a:lnTo>
                    <a:lnTo>
                      <a:pt x="1222" y="858"/>
                    </a:lnTo>
                    <a:lnTo>
                      <a:pt x="1220" y="860"/>
                    </a:lnTo>
                    <a:lnTo>
                      <a:pt x="1220" y="860"/>
                    </a:lnTo>
                    <a:lnTo>
                      <a:pt x="1220" y="862"/>
                    </a:lnTo>
                    <a:lnTo>
                      <a:pt x="1220" y="864"/>
                    </a:lnTo>
                    <a:lnTo>
                      <a:pt x="1220" y="866"/>
                    </a:lnTo>
                    <a:lnTo>
                      <a:pt x="1218" y="874"/>
                    </a:lnTo>
                    <a:lnTo>
                      <a:pt x="1218" y="880"/>
                    </a:lnTo>
                    <a:lnTo>
                      <a:pt x="1216" y="888"/>
                    </a:lnTo>
                    <a:lnTo>
                      <a:pt x="1214" y="894"/>
                    </a:lnTo>
                    <a:lnTo>
                      <a:pt x="1212" y="896"/>
                    </a:lnTo>
                    <a:lnTo>
                      <a:pt x="1212" y="898"/>
                    </a:lnTo>
                    <a:lnTo>
                      <a:pt x="1210" y="900"/>
                    </a:lnTo>
                    <a:lnTo>
                      <a:pt x="1208" y="902"/>
                    </a:lnTo>
                    <a:lnTo>
                      <a:pt x="1206" y="902"/>
                    </a:lnTo>
                    <a:lnTo>
                      <a:pt x="1202" y="904"/>
                    </a:lnTo>
                    <a:lnTo>
                      <a:pt x="1202" y="904"/>
                    </a:lnTo>
                    <a:lnTo>
                      <a:pt x="1202" y="904"/>
                    </a:lnTo>
                    <a:lnTo>
                      <a:pt x="1200" y="904"/>
                    </a:lnTo>
                    <a:lnTo>
                      <a:pt x="1200" y="904"/>
                    </a:lnTo>
                    <a:lnTo>
                      <a:pt x="1200" y="906"/>
                    </a:lnTo>
                    <a:lnTo>
                      <a:pt x="1200" y="906"/>
                    </a:lnTo>
                    <a:lnTo>
                      <a:pt x="1200" y="906"/>
                    </a:lnTo>
                    <a:lnTo>
                      <a:pt x="1198" y="906"/>
                    </a:lnTo>
                    <a:lnTo>
                      <a:pt x="1198" y="908"/>
                    </a:lnTo>
                    <a:lnTo>
                      <a:pt x="1198" y="908"/>
                    </a:lnTo>
                    <a:lnTo>
                      <a:pt x="1198" y="910"/>
                    </a:lnTo>
                    <a:lnTo>
                      <a:pt x="1198" y="912"/>
                    </a:lnTo>
                    <a:lnTo>
                      <a:pt x="1198" y="912"/>
                    </a:lnTo>
                    <a:lnTo>
                      <a:pt x="1198" y="912"/>
                    </a:lnTo>
                    <a:lnTo>
                      <a:pt x="1198" y="914"/>
                    </a:lnTo>
                    <a:lnTo>
                      <a:pt x="1200" y="914"/>
                    </a:lnTo>
                    <a:lnTo>
                      <a:pt x="1200" y="914"/>
                    </a:lnTo>
                    <a:lnTo>
                      <a:pt x="1198" y="914"/>
                    </a:lnTo>
                    <a:lnTo>
                      <a:pt x="1198" y="916"/>
                    </a:lnTo>
                    <a:lnTo>
                      <a:pt x="1198" y="916"/>
                    </a:lnTo>
                    <a:lnTo>
                      <a:pt x="1196" y="918"/>
                    </a:lnTo>
                    <a:lnTo>
                      <a:pt x="1196" y="918"/>
                    </a:lnTo>
                    <a:lnTo>
                      <a:pt x="1194" y="920"/>
                    </a:lnTo>
                    <a:lnTo>
                      <a:pt x="1194" y="922"/>
                    </a:lnTo>
                    <a:lnTo>
                      <a:pt x="1196" y="924"/>
                    </a:lnTo>
                    <a:lnTo>
                      <a:pt x="1196" y="924"/>
                    </a:lnTo>
                    <a:lnTo>
                      <a:pt x="1196" y="924"/>
                    </a:lnTo>
                    <a:lnTo>
                      <a:pt x="1198" y="926"/>
                    </a:lnTo>
                    <a:lnTo>
                      <a:pt x="1198" y="926"/>
                    </a:lnTo>
                    <a:lnTo>
                      <a:pt x="1198" y="926"/>
                    </a:lnTo>
                    <a:lnTo>
                      <a:pt x="1200" y="928"/>
                    </a:lnTo>
                    <a:lnTo>
                      <a:pt x="1200" y="928"/>
                    </a:lnTo>
                    <a:lnTo>
                      <a:pt x="1202" y="928"/>
                    </a:lnTo>
                    <a:lnTo>
                      <a:pt x="1204" y="928"/>
                    </a:lnTo>
                    <a:lnTo>
                      <a:pt x="1204" y="928"/>
                    </a:lnTo>
                    <a:lnTo>
                      <a:pt x="1204" y="928"/>
                    </a:lnTo>
                    <a:lnTo>
                      <a:pt x="1210" y="928"/>
                    </a:lnTo>
                    <a:lnTo>
                      <a:pt x="1210" y="928"/>
                    </a:lnTo>
                    <a:lnTo>
                      <a:pt x="1210" y="928"/>
                    </a:lnTo>
                    <a:lnTo>
                      <a:pt x="1214" y="928"/>
                    </a:lnTo>
                    <a:lnTo>
                      <a:pt x="1220" y="928"/>
                    </a:lnTo>
                    <a:lnTo>
                      <a:pt x="1224" y="928"/>
                    </a:lnTo>
                    <a:lnTo>
                      <a:pt x="1224" y="928"/>
                    </a:lnTo>
                    <a:lnTo>
                      <a:pt x="1226" y="928"/>
                    </a:lnTo>
                    <a:lnTo>
                      <a:pt x="1228" y="930"/>
                    </a:lnTo>
                    <a:lnTo>
                      <a:pt x="1230" y="930"/>
                    </a:lnTo>
                    <a:lnTo>
                      <a:pt x="1230" y="932"/>
                    </a:lnTo>
                    <a:lnTo>
                      <a:pt x="1232" y="936"/>
                    </a:lnTo>
                    <a:lnTo>
                      <a:pt x="1232" y="936"/>
                    </a:lnTo>
                    <a:lnTo>
                      <a:pt x="1232" y="936"/>
                    </a:lnTo>
                    <a:lnTo>
                      <a:pt x="1234" y="940"/>
                    </a:lnTo>
                    <a:lnTo>
                      <a:pt x="1234" y="940"/>
                    </a:lnTo>
                    <a:lnTo>
                      <a:pt x="1236" y="942"/>
                    </a:lnTo>
                    <a:lnTo>
                      <a:pt x="1238" y="946"/>
                    </a:lnTo>
                    <a:lnTo>
                      <a:pt x="1240" y="948"/>
                    </a:lnTo>
                    <a:lnTo>
                      <a:pt x="1244" y="950"/>
                    </a:lnTo>
                    <a:lnTo>
                      <a:pt x="1244" y="950"/>
                    </a:lnTo>
                    <a:lnTo>
                      <a:pt x="1246" y="950"/>
                    </a:lnTo>
                    <a:lnTo>
                      <a:pt x="1250" y="948"/>
                    </a:lnTo>
                    <a:lnTo>
                      <a:pt x="1252" y="946"/>
                    </a:lnTo>
                    <a:lnTo>
                      <a:pt x="1254" y="944"/>
                    </a:lnTo>
                    <a:lnTo>
                      <a:pt x="1256" y="944"/>
                    </a:lnTo>
                    <a:lnTo>
                      <a:pt x="1258" y="942"/>
                    </a:lnTo>
                    <a:lnTo>
                      <a:pt x="1260" y="942"/>
                    </a:lnTo>
                    <a:lnTo>
                      <a:pt x="1262" y="940"/>
                    </a:lnTo>
                    <a:lnTo>
                      <a:pt x="1266" y="940"/>
                    </a:lnTo>
                    <a:lnTo>
                      <a:pt x="1266" y="940"/>
                    </a:lnTo>
                    <a:lnTo>
                      <a:pt x="1266" y="940"/>
                    </a:lnTo>
                    <a:lnTo>
                      <a:pt x="1268" y="938"/>
                    </a:lnTo>
                    <a:lnTo>
                      <a:pt x="1268" y="938"/>
                    </a:lnTo>
                    <a:lnTo>
                      <a:pt x="1270" y="938"/>
                    </a:lnTo>
                    <a:lnTo>
                      <a:pt x="1270" y="940"/>
                    </a:lnTo>
                    <a:lnTo>
                      <a:pt x="1270" y="942"/>
                    </a:lnTo>
                    <a:lnTo>
                      <a:pt x="1272" y="948"/>
                    </a:lnTo>
                    <a:lnTo>
                      <a:pt x="1272" y="948"/>
                    </a:lnTo>
                    <a:lnTo>
                      <a:pt x="1272" y="950"/>
                    </a:lnTo>
                    <a:lnTo>
                      <a:pt x="1274" y="950"/>
                    </a:lnTo>
                    <a:lnTo>
                      <a:pt x="1282" y="950"/>
                    </a:lnTo>
                    <a:lnTo>
                      <a:pt x="1288" y="950"/>
                    </a:lnTo>
                    <a:lnTo>
                      <a:pt x="1288" y="950"/>
                    </a:lnTo>
                    <a:lnTo>
                      <a:pt x="1288" y="950"/>
                    </a:lnTo>
                    <a:lnTo>
                      <a:pt x="1292" y="950"/>
                    </a:lnTo>
                    <a:lnTo>
                      <a:pt x="1292" y="950"/>
                    </a:lnTo>
                    <a:lnTo>
                      <a:pt x="1294" y="948"/>
                    </a:lnTo>
                    <a:lnTo>
                      <a:pt x="1296" y="948"/>
                    </a:lnTo>
                    <a:lnTo>
                      <a:pt x="1296" y="948"/>
                    </a:lnTo>
                    <a:lnTo>
                      <a:pt x="1296" y="946"/>
                    </a:lnTo>
                    <a:lnTo>
                      <a:pt x="1298" y="946"/>
                    </a:lnTo>
                    <a:lnTo>
                      <a:pt x="1298" y="946"/>
                    </a:lnTo>
                    <a:lnTo>
                      <a:pt x="1298" y="944"/>
                    </a:lnTo>
                    <a:lnTo>
                      <a:pt x="1298" y="942"/>
                    </a:lnTo>
                    <a:lnTo>
                      <a:pt x="1298" y="940"/>
                    </a:lnTo>
                    <a:lnTo>
                      <a:pt x="1300" y="938"/>
                    </a:lnTo>
                    <a:lnTo>
                      <a:pt x="1300" y="938"/>
                    </a:lnTo>
                    <a:lnTo>
                      <a:pt x="1300" y="936"/>
                    </a:lnTo>
                    <a:lnTo>
                      <a:pt x="1302" y="936"/>
                    </a:lnTo>
                    <a:lnTo>
                      <a:pt x="1302" y="936"/>
                    </a:lnTo>
                    <a:lnTo>
                      <a:pt x="1304" y="934"/>
                    </a:lnTo>
                    <a:lnTo>
                      <a:pt x="1304" y="932"/>
                    </a:lnTo>
                    <a:lnTo>
                      <a:pt x="1304" y="932"/>
                    </a:lnTo>
                    <a:close/>
                    <a:moveTo>
                      <a:pt x="748" y="432"/>
                    </a:moveTo>
                    <a:lnTo>
                      <a:pt x="752" y="432"/>
                    </a:lnTo>
                    <a:lnTo>
                      <a:pt x="758" y="432"/>
                    </a:lnTo>
                    <a:lnTo>
                      <a:pt x="762" y="434"/>
                    </a:lnTo>
                    <a:lnTo>
                      <a:pt x="768" y="434"/>
                    </a:lnTo>
                    <a:lnTo>
                      <a:pt x="768" y="434"/>
                    </a:lnTo>
                    <a:lnTo>
                      <a:pt x="770" y="436"/>
                    </a:lnTo>
                    <a:lnTo>
                      <a:pt x="772" y="436"/>
                    </a:lnTo>
                    <a:lnTo>
                      <a:pt x="774" y="438"/>
                    </a:lnTo>
                    <a:lnTo>
                      <a:pt x="776" y="442"/>
                    </a:lnTo>
                    <a:lnTo>
                      <a:pt x="778" y="444"/>
                    </a:lnTo>
                    <a:lnTo>
                      <a:pt x="780" y="448"/>
                    </a:lnTo>
                    <a:lnTo>
                      <a:pt x="780" y="448"/>
                    </a:lnTo>
                    <a:lnTo>
                      <a:pt x="776" y="446"/>
                    </a:lnTo>
                    <a:lnTo>
                      <a:pt x="772" y="446"/>
                    </a:lnTo>
                    <a:lnTo>
                      <a:pt x="768" y="444"/>
                    </a:lnTo>
                    <a:lnTo>
                      <a:pt x="766" y="442"/>
                    </a:lnTo>
                    <a:lnTo>
                      <a:pt x="760" y="440"/>
                    </a:lnTo>
                    <a:lnTo>
                      <a:pt x="756" y="438"/>
                    </a:lnTo>
                    <a:lnTo>
                      <a:pt x="750" y="434"/>
                    </a:lnTo>
                    <a:lnTo>
                      <a:pt x="746" y="432"/>
                    </a:lnTo>
                    <a:lnTo>
                      <a:pt x="746" y="432"/>
                    </a:lnTo>
                    <a:lnTo>
                      <a:pt x="748" y="432"/>
                    </a:lnTo>
                    <a:close/>
                    <a:moveTo>
                      <a:pt x="710" y="500"/>
                    </a:moveTo>
                    <a:lnTo>
                      <a:pt x="714" y="500"/>
                    </a:lnTo>
                    <a:lnTo>
                      <a:pt x="716" y="500"/>
                    </a:lnTo>
                    <a:lnTo>
                      <a:pt x="720" y="500"/>
                    </a:lnTo>
                    <a:lnTo>
                      <a:pt x="716" y="500"/>
                    </a:lnTo>
                    <a:lnTo>
                      <a:pt x="710" y="500"/>
                    </a:lnTo>
                    <a:lnTo>
                      <a:pt x="708" y="500"/>
                    </a:lnTo>
                    <a:lnTo>
                      <a:pt x="710" y="500"/>
                    </a:lnTo>
                    <a:close/>
                    <a:moveTo>
                      <a:pt x="504" y="126"/>
                    </a:moveTo>
                    <a:lnTo>
                      <a:pt x="504" y="126"/>
                    </a:lnTo>
                    <a:lnTo>
                      <a:pt x="506" y="126"/>
                    </a:lnTo>
                    <a:lnTo>
                      <a:pt x="508" y="126"/>
                    </a:lnTo>
                    <a:lnTo>
                      <a:pt x="510" y="128"/>
                    </a:lnTo>
                    <a:lnTo>
                      <a:pt x="510" y="128"/>
                    </a:lnTo>
                    <a:lnTo>
                      <a:pt x="512" y="130"/>
                    </a:lnTo>
                    <a:lnTo>
                      <a:pt x="514" y="134"/>
                    </a:lnTo>
                    <a:lnTo>
                      <a:pt x="516" y="136"/>
                    </a:lnTo>
                    <a:lnTo>
                      <a:pt x="516" y="138"/>
                    </a:lnTo>
                    <a:lnTo>
                      <a:pt x="514" y="136"/>
                    </a:lnTo>
                    <a:lnTo>
                      <a:pt x="512" y="134"/>
                    </a:lnTo>
                    <a:lnTo>
                      <a:pt x="510" y="134"/>
                    </a:lnTo>
                    <a:lnTo>
                      <a:pt x="508" y="132"/>
                    </a:lnTo>
                    <a:lnTo>
                      <a:pt x="506" y="130"/>
                    </a:lnTo>
                    <a:lnTo>
                      <a:pt x="506" y="130"/>
                    </a:lnTo>
                    <a:lnTo>
                      <a:pt x="504" y="126"/>
                    </a:lnTo>
                    <a:lnTo>
                      <a:pt x="504" y="124"/>
                    </a:lnTo>
                    <a:lnTo>
                      <a:pt x="504" y="126"/>
                    </a:lnTo>
                    <a:close/>
                    <a:moveTo>
                      <a:pt x="1152" y="962"/>
                    </a:moveTo>
                    <a:lnTo>
                      <a:pt x="1154" y="964"/>
                    </a:lnTo>
                    <a:lnTo>
                      <a:pt x="1150" y="962"/>
                    </a:lnTo>
                    <a:lnTo>
                      <a:pt x="1146" y="960"/>
                    </a:lnTo>
                    <a:lnTo>
                      <a:pt x="1152" y="962"/>
                    </a:lnTo>
                    <a:close/>
                    <a:moveTo>
                      <a:pt x="1238" y="832"/>
                    </a:moveTo>
                    <a:lnTo>
                      <a:pt x="1238" y="834"/>
                    </a:lnTo>
                    <a:lnTo>
                      <a:pt x="1236" y="834"/>
                    </a:lnTo>
                    <a:lnTo>
                      <a:pt x="1236" y="834"/>
                    </a:lnTo>
                    <a:lnTo>
                      <a:pt x="1234" y="836"/>
                    </a:lnTo>
                    <a:lnTo>
                      <a:pt x="1232" y="836"/>
                    </a:lnTo>
                    <a:lnTo>
                      <a:pt x="1232" y="836"/>
                    </a:lnTo>
                    <a:lnTo>
                      <a:pt x="1232" y="836"/>
                    </a:lnTo>
                    <a:lnTo>
                      <a:pt x="1230" y="836"/>
                    </a:lnTo>
                    <a:lnTo>
                      <a:pt x="1226" y="836"/>
                    </a:lnTo>
                    <a:lnTo>
                      <a:pt x="1226" y="836"/>
                    </a:lnTo>
                    <a:lnTo>
                      <a:pt x="1226" y="836"/>
                    </a:lnTo>
                    <a:lnTo>
                      <a:pt x="1228" y="834"/>
                    </a:lnTo>
                    <a:lnTo>
                      <a:pt x="1230" y="830"/>
                    </a:lnTo>
                    <a:lnTo>
                      <a:pt x="1232" y="830"/>
                    </a:lnTo>
                    <a:lnTo>
                      <a:pt x="1232" y="830"/>
                    </a:lnTo>
                    <a:lnTo>
                      <a:pt x="1234" y="830"/>
                    </a:lnTo>
                    <a:lnTo>
                      <a:pt x="1236" y="830"/>
                    </a:lnTo>
                    <a:lnTo>
                      <a:pt x="1238" y="830"/>
                    </a:lnTo>
                    <a:lnTo>
                      <a:pt x="1238" y="830"/>
                    </a:lnTo>
                    <a:lnTo>
                      <a:pt x="1238" y="830"/>
                    </a:lnTo>
                    <a:lnTo>
                      <a:pt x="1240" y="830"/>
                    </a:lnTo>
                    <a:lnTo>
                      <a:pt x="1238" y="832"/>
                    </a:lnTo>
                    <a:close/>
                    <a:moveTo>
                      <a:pt x="156" y="818"/>
                    </a:moveTo>
                    <a:lnTo>
                      <a:pt x="152" y="816"/>
                    </a:lnTo>
                    <a:lnTo>
                      <a:pt x="150" y="814"/>
                    </a:lnTo>
                    <a:lnTo>
                      <a:pt x="148" y="814"/>
                    </a:lnTo>
                    <a:lnTo>
                      <a:pt x="148" y="814"/>
                    </a:lnTo>
                    <a:lnTo>
                      <a:pt x="148" y="812"/>
                    </a:lnTo>
                    <a:lnTo>
                      <a:pt x="148" y="810"/>
                    </a:lnTo>
                    <a:lnTo>
                      <a:pt x="148" y="806"/>
                    </a:lnTo>
                    <a:lnTo>
                      <a:pt x="148" y="804"/>
                    </a:lnTo>
                    <a:lnTo>
                      <a:pt x="148" y="800"/>
                    </a:lnTo>
                    <a:lnTo>
                      <a:pt x="148" y="800"/>
                    </a:lnTo>
                    <a:lnTo>
                      <a:pt x="148" y="800"/>
                    </a:lnTo>
                    <a:lnTo>
                      <a:pt x="146" y="796"/>
                    </a:lnTo>
                    <a:lnTo>
                      <a:pt x="146" y="794"/>
                    </a:lnTo>
                    <a:lnTo>
                      <a:pt x="144" y="792"/>
                    </a:lnTo>
                    <a:lnTo>
                      <a:pt x="144" y="788"/>
                    </a:lnTo>
                    <a:lnTo>
                      <a:pt x="146" y="782"/>
                    </a:lnTo>
                    <a:lnTo>
                      <a:pt x="148" y="776"/>
                    </a:lnTo>
                    <a:lnTo>
                      <a:pt x="148" y="776"/>
                    </a:lnTo>
                    <a:lnTo>
                      <a:pt x="146" y="772"/>
                    </a:lnTo>
                    <a:lnTo>
                      <a:pt x="146" y="772"/>
                    </a:lnTo>
                    <a:lnTo>
                      <a:pt x="146" y="772"/>
                    </a:lnTo>
                    <a:lnTo>
                      <a:pt x="144" y="770"/>
                    </a:lnTo>
                    <a:lnTo>
                      <a:pt x="142" y="770"/>
                    </a:lnTo>
                    <a:lnTo>
                      <a:pt x="142" y="770"/>
                    </a:lnTo>
                    <a:lnTo>
                      <a:pt x="140" y="770"/>
                    </a:lnTo>
                    <a:lnTo>
                      <a:pt x="138" y="770"/>
                    </a:lnTo>
                    <a:lnTo>
                      <a:pt x="134" y="770"/>
                    </a:lnTo>
                    <a:lnTo>
                      <a:pt x="126" y="772"/>
                    </a:lnTo>
                    <a:lnTo>
                      <a:pt x="124" y="774"/>
                    </a:lnTo>
                    <a:lnTo>
                      <a:pt x="120" y="774"/>
                    </a:lnTo>
                    <a:lnTo>
                      <a:pt x="120" y="774"/>
                    </a:lnTo>
                    <a:lnTo>
                      <a:pt x="118" y="774"/>
                    </a:lnTo>
                    <a:lnTo>
                      <a:pt x="116" y="776"/>
                    </a:lnTo>
                    <a:lnTo>
                      <a:pt x="116" y="776"/>
                    </a:lnTo>
                    <a:lnTo>
                      <a:pt x="116" y="778"/>
                    </a:lnTo>
                    <a:lnTo>
                      <a:pt x="114" y="780"/>
                    </a:lnTo>
                    <a:lnTo>
                      <a:pt x="114" y="780"/>
                    </a:lnTo>
                    <a:lnTo>
                      <a:pt x="114" y="782"/>
                    </a:lnTo>
                    <a:lnTo>
                      <a:pt x="114" y="784"/>
                    </a:lnTo>
                    <a:lnTo>
                      <a:pt x="114" y="784"/>
                    </a:lnTo>
                    <a:lnTo>
                      <a:pt x="114" y="784"/>
                    </a:lnTo>
                    <a:lnTo>
                      <a:pt x="114" y="788"/>
                    </a:lnTo>
                    <a:lnTo>
                      <a:pt x="116" y="790"/>
                    </a:lnTo>
                    <a:lnTo>
                      <a:pt x="116" y="794"/>
                    </a:lnTo>
                    <a:lnTo>
                      <a:pt x="118" y="796"/>
                    </a:lnTo>
                    <a:lnTo>
                      <a:pt x="118" y="800"/>
                    </a:lnTo>
                    <a:lnTo>
                      <a:pt x="118" y="800"/>
                    </a:lnTo>
                    <a:lnTo>
                      <a:pt x="118" y="802"/>
                    </a:lnTo>
                    <a:lnTo>
                      <a:pt x="120" y="804"/>
                    </a:lnTo>
                    <a:lnTo>
                      <a:pt x="120" y="804"/>
                    </a:lnTo>
                    <a:lnTo>
                      <a:pt x="122" y="808"/>
                    </a:lnTo>
                    <a:lnTo>
                      <a:pt x="124" y="812"/>
                    </a:lnTo>
                    <a:lnTo>
                      <a:pt x="124" y="816"/>
                    </a:lnTo>
                    <a:lnTo>
                      <a:pt x="124" y="816"/>
                    </a:lnTo>
                    <a:lnTo>
                      <a:pt x="126" y="818"/>
                    </a:lnTo>
                    <a:lnTo>
                      <a:pt x="128" y="818"/>
                    </a:lnTo>
                    <a:lnTo>
                      <a:pt x="130" y="818"/>
                    </a:lnTo>
                    <a:lnTo>
                      <a:pt x="130" y="820"/>
                    </a:lnTo>
                    <a:lnTo>
                      <a:pt x="132" y="820"/>
                    </a:lnTo>
                    <a:lnTo>
                      <a:pt x="132" y="822"/>
                    </a:lnTo>
                    <a:lnTo>
                      <a:pt x="132" y="824"/>
                    </a:lnTo>
                    <a:lnTo>
                      <a:pt x="132" y="826"/>
                    </a:lnTo>
                    <a:lnTo>
                      <a:pt x="132" y="826"/>
                    </a:lnTo>
                    <a:lnTo>
                      <a:pt x="132" y="826"/>
                    </a:lnTo>
                    <a:lnTo>
                      <a:pt x="134" y="830"/>
                    </a:lnTo>
                    <a:lnTo>
                      <a:pt x="134" y="830"/>
                    </a:lnTo>
                    <a:lnTo>
                      <a:pt x="134" y="830"/>
                    </a:lnTo>
                    <a:lnTo>
                      <a:pt x="136" y="832"/>
                    </a:lnTo>
                    <a:lnTo>
                      <a:pt x="136" y="832"/>
                    </a:lnTo>
                    <a:lnTo>
                      <a:pt x="136" y="832"/>
                    </a:lnTo>
                    <a:lnTo>
                      <a:pt x="138" y="834"/>
                    </a:lnTo>
                    <a:lnTo>
                      <a:pt x="138" y="834"/>
                    </a:lnTo>
                    <a:lnTo>
                      <a:pt x="138" y="834"/>
                    </a:lnTo>
                    <a:lnTo>
                      <a:pt x="140" y="834"/>
                    </a:lnTo>
                    <a:lnTo>
                      <a:pt x="140" y="834"/>
                    </a:lnTo>
                    <a:lnTo>
                      <a:pt x="140" y="834"/>
                    </a:lnTo>
                    <a:lnTo>
                      <a:pt x="146" y="836"/>
                    </a:lnTo>
                    <a:lnTo>
                      <a:pt x="148" y="836"/>
                    </a:lnTo>
                    <a:lnTo>
                      <a:pt x="148" y="836"/>
                    </a:lnTo>
                    <a:lnTo>
                      <a:pt x="148" y="836"/>
                    </a:lnTo>
                    <a:lnTo>
                      <a:pt x="150" y="836"/>
                    </a:lnTo>
                    <a:lnTo>
                      <a:pt x="150" y="836"/>
                    </a:lnTo>
                    <a:lnTo>
                      <a:pt x="152" y="836"/>
                    </a:lnTo>
                    <a:lnTo>
                      <a:pt x="154" y="834"/>
                    </a:lnTo>
                    <a:lnTo>
                      <a:pt x="154" y="834"/>
                    </a:lnTo>
                    <a:lnTo>
                      <a:pt x="154" y="834"/>
                    </a:lnTo>
                    <a:lnTo>
                      <a:pt x="156" y="832"/>
                    </a:lnTo>
                    <a:lnTo>
                      <a:pt x="156" y="832"/>
                    </a:lnTo>
                    <a:lnTo>
                      <a:pt x="156" y="832"/>
                    </a:lnTo>
                    <a:lnTo>
                      <a:pt x="156" y="828"/>
                    </a:lnTo>
                    <a:lnTo>
                      <a:pt x="156" y="826"/>
                    </a:lnTo>
                    <a:lnTo>
                      <a:pt x="156" y="820"/>
                    </a:lnTo>
                    <a:lnTo>
                      <a:pt x="156" y="820"/>
                    </a:lnTo>
                    <a:lnTo>
                      <a:pt x="156" y="818"/>
                    </a:lnTo>
                    <a:lnTo>
                      <a:pt x="156" y="818"/>
                    </a:lnTo>
                    <a:close/>
                    <a:moveTo>
                      <a:pt x="632" y="94"/>
                    </a:moveTo>
                    <a:lnTo>
                      <a:pt x="628" y="94"/>
                    </a:lnTo>
                    <a:lnTo>
                      <a:pt x="624" y="94"/>
                    </a:lnTo>
                    <a:lnTo>
                      <a:pt x="620" y="96"/>
                    </a:lnTo>
                    <a:lnTo>
                      <a:pt x="616" y="96"/>
                    </a:lnTo>
                    <a:lnTo>
                      <a:pt x="610" y="98"/>
                    </a:lnTo>
                    <a:lnTo>
                      <a:pt x="608" y="98"/>
                    </a:lnTo>
                    <a:lnTo>
                      <a:pt x="604" y="98"/>
                    </a:lnTo>
                    <a:lnTo>
                      <a:pt x="600" y="100"/>
                    </a:lnTo>
                    <a:lnTo>
                      <a:pt x="598" y="100"/>
                    </a:lnTo>
                    <a:lnTo>
                      <a:pt x="596" y="100"/>
                    </a:lnTo>
                    <a:lnTo>
                      <a:pt x="594" y="100"/>
                    </a:lnTo>
                    <a:lnTo>
                      <a:pt x="594" y="100"/>
                    </a:lnTo>
                    <a:lnTo>
                      <a:pt x="594" y="100"/>
                    </a:lnTo>
                    <a:lnTo>
                      <a:pt x="592" y="102"/>
                    </a:lnTo>
                    <a:lnTo>
                      <a:pt x="592" y="102"/>
                    </a:lnTo>
                    <a:lnTo>
                      <a:pt x="592" y="104"/>
                    </a:lnTo>
                    <a:lnTo>
                      <a:pt x="596" y="122"/>
                    </a:lnTo>
                    <a:lnTo>
                      <a:pt x="598" y="142"/>
                    </a:lnTo>
                    <a:lnTo>
                      <a:pt x="598" y="144"/>
                    </a:lnTo>
                    <a:lnTo>
                      <a:pt x="598" y="146"/>
                    </a:lnTo>
                    <a:lnTo>
                      <a:pt x="596" y="146"/>
                    </a:lnTo>
                    <a:lnTo>
                      <a:pt x="596" y="148"/>
                    </a:lnTo>
                    <a:lnTo>
                      <a:pt x="590" y="152"/>
                    </a:lnTo>
                    <a:lnTo>
                      <a:pt x="588" y="154"/>
                    </a:lnTo>
                    <a:lnTo>
                      <a:pt x="588" y="154"/>
                    </a:lnTo>
                    <a:lnTo>
                      <a:pt x="586" y="152"/>
                    </a:lnTo>
                    <a:lnTo>
                      <a:pt x="586" y="150"/>
                    </a:lnTo>
                    <a:lnTo>
                      <a:pt x="586" y="150"/>
                    </a:lnTo>
                    <a:lnTo>
                      <a:pt x="584" y="146"/>
                    </a:lnTo>
                    <a:lnTo>
                      <a:pt x="584" y="144"/>
                    </a:lnTo>
                    <a:lnTo>
                      <a:pt x="582" y="142"/>
                    </a:lnTo>
                    <a:lnTo>
                      <a:pt x="582" y="142"/>
                    </a:lnTo>
                    <a:lnTo>
                      <a:pt x="582" y="140"/>
                    </a:lnTo>
                    <a:lnTo>
                      <a:pt x="582" y="138"/>
                    </a:lnTo>
                    <a:lnTo>
                      <a:pt x="582" y="138"/>
                    </a:lnTo>
                    <a:lnTo>
                      <a:pt x="582" y="138"/>
                    </a:lnTo>
                    <a:lnTo>
                      <a:pt x="580" y="136"/>
                    </a:lnTo>
                    <a:lnTo>
                      <a:pt x="580" y="136"/>
                    </a:lnTo>
                    <a:lnTo>
                      <a:pt x="578" y="136"/>
                    </a:lnTo>
                    <a:lnTo>
                      <a:pt x="574" y="134"/>
                    </a:lnTo>
                    <a:lnTo>
                      <a:pt x="572" y="132"/>
                    </a:lnTo>
                    <a:lnTo>
                      <a:pt x="570" y="132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66" y="132"/>
                    </a:lnTo>
                    <a:lnTo>
                      <a:pt x="566" y="132"/>
                    </a:lnTo>
                    <a:lnTo>
                      <a:pt x="566" y="134"/>
                    </a:lnTo>
                    <a:lnTo>
                      <a:pt x="566" y="142"/>
                    </a:lnTo>
                    <a:lnTo>
                      <a:pt x="566" y="150"/>
                    </a:lnTo>
                    <a:lnTo>
                      <a:pt x="568" y="158"/>
                    </a:lnTo>
                    <a:lnTo>
                      <a:pt x="570" y="164"/>
                    </a:lnTo>
                    <a:lnTo>
                      <a:pt x="570" y="164"/>
                    </a:lnTo>
                    <a:lnTo>
                      <a:pt x="572" y="166"/>
                    </a:lnTo>
                    <a:lnTo>
                      <a:pt x="574" y="172"/>
                    </a:lnTo>
                    <a:lnTo>
                      <a:pt x="574" y="172"/>
                    </a:lnTo>
                    <a:lnTo>
                      <a:pt x="576" y="172"/>
                    </a:lnTo>
                    <a:lnTo>
                      <a:pt x="578" y="174"/>
                    </a:lnTo>
                    <a:lnTo>
                      <a:pt x="580" y="178"/>
                    </a:lnTo>
                    <a:lnTo>
                      <a:pt x="584" y="180"/>
                    </a:lnTo>
                    <a:lnTo>
                      <a:pt x="584" y="180"/>
                    </a:lnTo>
                    <a:lnTo>
                      <a:pt x="584" y="180"/>
                    </a:lnTo>
                    <a:lnTo>
                      <a:pt x="588" y="182"/>
                    </a:lnTo>
                    <a:lnTo>
                      <a:pt x="592" y="184"/>
                    </a:lnTo>
                    <a:lnTo>
                      <a:pt x="596" y="184"/>
                    </a:lnTo>
                    <a:lnTo>
                      <a:pt x="598" y="186"/>
                    </a:lnTo>
                    <a:lnTo>
                      <a:pt x="600" y="188"/>
                    </a:lnTo>
                    <a:lnTo>
                      <a:pt x="602" y="190"/>
                    </a:lnTo>
                    <a:lnTo>
                      <a:pt x="602" y="190"/>
                    </a:lnTo>
                    <a:lnTo>
                      <a:pt x="602" y="192"/>
                    </a:lnTo>
                    <a:lnTo>
                      <a:pt x="604" y="194"/>
                    </a:lnTo>
                    <a:lnTo>
                      <a:pt x="604" y="198"/>
                    </a:lnTo>
                    <a:lnTo>
                      <a:pt x="606" y="200"/>
                    </a:lnTo>
                    <a:lnTo>
                      <a:pt x="608" y="206"/>
                    </a:lnTo>
                    <a:lnTo>
                      <a:pt x="608" y="206"/>
                    </a:lnTo>
                    <a:lnTo>
                      <a:pt x="608" y="206"/>
                    </a:lnTo>
                    <a:lnTo>
                      <a:pt x="608" y="208"/>
                    </a:lnTo>
                    <a:lnTo>
                      <a:pt x="608" y="210"/>
                    </a:lnTo>
                    <a:lnTo>
                      <a:pt x="608" y="210"/>
                    </a:lnTo>
                    <a:lnTo>
                      <a:pt x="610" y="210"/>
                    </a:lnTo>
                    <a:lnTo>
                      <a:pt x="610" y="212"/>
                    </a:lnTo>
                    <a:lnTo>
                      <a:pt x="612" y="214"/>
                    </a:lnTo>
                    <a:lnTo>
                      <a:pt x="616" y="218"/>
                    </a:lnTo>
                    <a:lnTo>
                      <a:pt x="620" y="220"/>
                    </a:lnTo>
                    <a:lnTo>
                      <a:pt x="620" y="220"/>
                    </a:lnTo>
                    <a:lnTo>
                      <a:pt x="622" y="222"/>
                    </a:lnTo>
                    <a:lnTo>
                      <a:pt x="628" y="220"/>
                    </a:lnTo>
                    <a:lnTo>
                      <a:pt x="628" y="220"/>
                    </a:lnTo>
                    <a:lnTo>
                      <a:pt x="628" y="220"/>
                    </a:lnTo>
                    <a:lnTo>
                      <a:pt x="630" y="220"/>
                    </a:lnTo>
                    <a:lnTo>
                      <a:pt x="630" y="220"/>
                    </a:lnTo>
                    <a:lnTo>
                      <a:pt x="632" y="220"/>
                    </a:lnTo>
                    <a:lnTo>
                      <a:pt x="634" y="218"/>
                    </a:lnTo>
                    <a:lnTo>
                      <a:pt x="634" y="218"/>
                    </a:lnTo>
                    <a:lnTo>
                      <a:pt x="634" y="218"/>
                    </a:lnTo>
                    <a:lnTo>
                      <a:pt x="634" y="216"/>
                    </a:lnTo>
                    <a:lnTo>
                      <a:pt x="634" y="216"/>
                    </a:lnTo>
                    <a:lnTo>
                      <a:pt x="636" y="214"/>
                    </a:lnTo>
                    <a:lnTo>
                      <a:pt x="636" y="212"/>
                    </a:lnTo>
                    <a:lnTo>
                      <a:pt x="636" y="212"/>
                    </a:lnTo>
                    <a:lnTo>
                      <a:pt x="636" y="212"/>
                    </a:lnTo>
                    <a:lnTo>
                      <a:pt x="634" y="210"/>
                    </a:lnTo>
                    <a:lnTo>
                      <a:pt x="638" y="210"/>
                    </a:lnTo>
                    <a:lnTo>
                      <a:pt x="642" y="21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8" y="208"/>
                    </a:lnTo>
                    <a:lnTo>
                      <a:pt x="648" y="208"/>
                    </a:lnTo>
                    <a:lnTo>
                      <a:pt x="648" y="208"/>
                    </a:lnTo>
                    <a:lnTo>
                      <a:pt x="650" y="208"/>
                    </a:lnTo>
                    <a:lnTo>
                      <a:pt x="650" y="208"/>
                    </a:lnTo>
                    <a:lnTo>
                      <a:pt x="652" y="206"/>
                    </a:lnTo>
                    <a:lnTo>
                      <a:pt x="652" y="206"/>
                    </a:lnTo>
                    <a:lnTo>
                      <a:pt x="652" y="206"/>
                    </a:lnTo>
                    <a:lnTo>
                      <a:pt x="654" y="204"/>
                    </a:lnTo>
                    <a:lnTo>
                      <a:pt x="654" y="202"/>
                    </a:lnTo>
                    <a:lnTo>
                      <a:pt x="656" y="198"/>
                    </a:lnTo>
                    <a:lnTo>
                      <a:pt x="656" y="198"/>
                    </a:lnTo>
                    <a:lnTo>
                      <a:pt x="658" y="196"/>
                    </a:lnTo>
                    <a:lnTo>
                      <a:pt x="656" y="190"/>
                    </a:lnTo>
                    <a:lnTo>
                      <a:pt x="656" y="184"/>
                    </a:lnTo>
                    <a:lnTo>
                      <a:pt x="656" y="178"/>
                    </a:lnTo>
                    <a:lnTo>
                      <a:pt x="656" y="172"/>
                    </a:lnTo>
                    <a:lnTo>
                      <a:pt x="656" y="166"/>
                    </a:lnTo>
                    <a:lnTo>
                      <a:pt x="656" y="162"/>
                    </a:lnTo>
                    <a:lnTo>
                      <a:pt x="656" y="158"/>
                    </a:lnTo>
                    <a:lnTo>
                      <a:pt x="654" y="154"/>
                    </a:lnTo>
                    <a:lnTo>
                      <a:pt x="654" y="154"/>
                    </a:lnTo>
                    <a:lnTo>
                      <a:pt x="654" y="154"/>
                    </a:lnTo>
                    <a:lnTo>
                      <a:pt x="652" y="150"/>
                    </a:lnTo>
                    <a:lnTo>
                      <a:pt x="652" y="150"/>
                    </a:lnTo>
                    <a:lnTo>
                      <a:pt x="652" y="150"/>
                    </a:lnTo>
                    <a:lnTo>
                      <a:pt x="650" y="148"/>
                    </a:lnTo>
                    <a:lnTo>
                      <a:pt x="650" y="148"/>
                    </a:lnTo>
                    <a:lnTo>
                      <a:pt x="650" y="146"/>
                    </a:lnTo>
                    <a:lnTo>
                      <a:pt x="648" y="144"/>
                    </a:lnTo>
                    <a:lnTo>
                      <a:pt x="648" y="144"/>
                    </a:lnTo>
                    <a:lnTo>
                      <a:pt x="648" y="144"/>
                    </a:lnTo>
                    <a:lnTo>
                      <a:pt x="644" y="142"/>
                    </a:lnTo>
                    <a:lnTo>
                      <a:pt x="644" y="142"/>
                    </a:lnTo>
                    <a:lnTo>
                      <a:pt x="644" y="142"/>
                    </a:lnTo>
                    <a:lnTo>
                      <a:pt x="640" y="140"/>
                    </a:lnTo>
                    <a:lnTo>
                      <a:pt x="634" y="138"/>
                    </a:lnTo>
                    <a:lnTo>
                      <a:pt x="628" y="138"/>
                    </a:lnTo>
                    <a:lnTo>
                      <a:pt x="624" y="136"/>
                    </a:lnTo>
                    <a:lnTo>
                      <a:pt x="626" y="136"/>
                    </a:lnTo>
                    <a:lnTo>
                      <a:pt x="626" y="134"/>
                    </a:lnTo>
                    <a:lnTo>
                      <a:pt x="626" y="134"/>
                    </a:lnTo>
                    <a:lnTo>
                      <a:pt x="628" y="132"/>
                    </a:lnTo>
                    <a:lnTo>
                      <a:pt x="628" y="132"/>
                    </a:lnTo>
                    <a:lnTo>
                      <a:pt x="630" y="130"/>
                    </a:lnTo>
                    <a:lnTo>
                      <a:pt x="634" y="128"/>
                    </a:lnTo>
                    <a:lnTo>
                      <a:pt x="634" y="128"/>
                    </a:lnTo>
                    <a:lnTo>
                      <a:pt x="634" y="128"/>
                    </a:lnTo>
                    <a:lnTo>
                      <a:pt x="636" y="126"/>
                    </a:lnTo>
                    <a:lnTo>
                      <a:pt x="638" y="124"/>
                    </a:lnTo>
                    <a:lnTo>
                      <a:pt x="640" y="122"/>
                    </a:lnTo>
                    <a:lnTo>
                      <a:pt x="640" y="122"/>
                    </a:lnTo>
                    <a:lnTo>
                      <a:pt x="640" y="122"/>
                    </a:lnTo>
                    <a:lnTo>
                      <a:pt x="642" y="120"/>
                    </a:lnTo>
                    <a:lnTo>
                      <a:pt x="642" y="120"/>
                    </a:lnTo>
                    <a:lnTo>
                      <a:pt x="642" y="118"/>
                    </a:lnTo>
                    <a:lnTo>
                      <a:pt x="642" y="116"/>
                    </a:lnTo>
                    <a:lnTo>
                      <a:pt x="642" y="114"/>
                    </a:lnTo>
                    <a:lnTo>
                      <a:pt x="642" y="112"/>
                    </a:lnTo>
                    <a:lnTo>
                      <a:pt x="642" y="112"/>
                    </a:lnTo>
                    <a:lnTo>
                      <a:pt x="644" y="110"/>
                    </a:lnTo>
                    <a:lnTo>
                      <a:pt x="644" y="108"/>
                    </a:lnTo>
                    <a:lnTo>
                      <a:pt x="646" y="106"/>
                    </a:lnTo>
                    <a:lnTo>
                      <a:pt x="646" y="106"/>
                    </a:lnTo>
                    <a:lnTo>
                      <a:pt x="646" y="104"/>
                    </a:lnTo>
                    <a:lnTo>
                      <a:pt x="646" y="100"/>
                    </a:lnTo>
                    <a:lnTo>
                      <a:pt x="646" y="98"/>
                    </a:lnTo>
                    <a:lnTo>
                      <a:pt x="646" y="96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2"/>
                    </a:lnTo>
                    <a:lnTo>
                      <a:pt x="642" y="92"/>
                    </a:lnTo>
                    <a:lnTo>
                      <a:pt x="642" y="92"/>
                    </a:lnTo>
                    <a:lnTo>
                      <a:pt x="642" y="92"/>
                    </a:lnTo>
                    <a:lnTo>
                      <a:pt x="640" y="92"/>
                    </a:lnTo>
                    <a:lnTo>
                      <a:pt x="640" y="92"/>
                    </a:lnTo>
                    <a:lnTo>
                      <a:pt x="640" y="92"/>
                    </a:lnTo>
                    <a:lnTo>
                      <a:pt x="638" y="92"/>
                    </a:lnTo>
                    <a:lnTo>
                      <a:pt x="636" y="92"/>
                    </a:lnTo>
                    <a:lnTo>
                      <a:pt x="634" y="92"/>
                    </a:lnTo>
                    <a:lnTo>
                      <a:pt x="632" y="94"/>
                    </a:lnTo>
                    <a:close/>
                    <a:moveTo>
                      <a:pt x="698" y="80"/>
                    </a:moveTo>
                    <a:lnTo>
                      <a:pt x="690" y="80"/>
                    </a:lnTo>
                    <a:lnTo>
                      <a:pt x="686" y="80"/>
                    </a:lnTo>
                    <a:lnTo>
                      <a:pt x="686" y="80"/>
                    </a:lnTo>
                    <a:lnTo>
                      <a:pt x="686" y="80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78" y="82"/>
                    </a:lnTo>
                    <a:lnTo>
                      <a:pt x="678" y="82"/>
                    </a:lnTo>
                    <a:lnTo>
                      <a:pt x="678" y="84"/>
                    </a:lnTo>
                    <a:lnTo>
                      <a:pt x="676" y="84"/>
                    </a:lnTo>
                    <a:lnTo>
                      <a:pt x="676" y="84"/>
                    </a:lnTo>
                    <a:lnTo>
                      <a:pt x="676" y="84"/>
                    </a:lnTo>
                    <a:lnTo>
                      <a:pt x="674" y="86"/>
                    </a:lnTo>
                    <a:lnTo>
                      <a:pt x="674" y="86"/>
                    </a:lnTo>
                    <a:lnTo>
                      <a:pt x="674" y="90"/>
                    </a:lnTo>
                    <a:lnTo>
                      <a:pt x="676" y="94"/>
                    </a:lnTo>
                    <a:lnTo>
                      <a:pt x="678" y="96"/>
                    </a:lnTo>
                    <a:lnTo>
                      <a:pt x="680" y="98"/>
                    </a:lnTo>
                    <a:lnTo>
                      <a:pt x="682" y="100"/>
                    </a:lnTo>
                    <a:lnTo>
                      <a:pt x="680" y="100"/>
                    </a:lnTo>
                    <a:lnTo>
                      <a:pt x="680" y="102"/>
                    </a:lnTo>
                    <a:lnTo>
                      <a:pt x="678" y="102"/>
                    </a:lnTo>
                    <a:lnTo>
                      <a:pt x="678" y="104"/>
                    </a:lnTo>
                    <a:lnTo>
                      <a:pt x="676" y="104"/>
                    </a:lnTo>
                    <a:lnTo>
                      <a:pt x="676" y="104"/>
                    </a:lnTo>
                    <a:lnTo>
                      <a:pt x="674" y="102"/>
                    </a:lnTo>
                    <a:lnTo>
                      <a:pt x="672" y="100"/>
                    </a:lnTo>
                    <a:lnTo>
                      <a:pt x="672" y="100"/>
                    </a:lnTo>
                    <a:lnTo>
                      <a:pt x="668" y="100"/>
                    </a:lnTo>
                    <a:lnTo>
                      <a:pt x="668" y="100"/>
                    </a:lnTo>
                    <a:lnTo>
                      <a:pt x="666" y="102"/>
                    </a:lnTo>
                    <a:lnTo>
                      <a:pt x="666" y="104"/>
                    </a:lnTo>
                    <a:lnTo>
                      <a:pt x="668" y="106"/>
                    </a:lnTo>
                    <a:lnTo>
                      <a:pt x="668" y="108"/>
                    </a:lnTo>
                    <a:lnTo>
                      <a:pt x="668" y="112"/>
                    </a:lnTo>
                    <a:lnTo>
                      <a:pt x="668" y="116"/>
                    </a:lnTo>
                    <a:lnTo>
                      <a:pt x="668" y="122"/>
                    </a:lnTo>
                    <a:lnTo>
                      <a:pt x="668" y="130"/>
                    </a:lnTo>
                    <a:lnTo>
                      <a:pt x="668" y="138"/>
                    </a:lnTo>
                    <a:lnTo>
                      <a:pt x="670" y="144"/>
                    </a:lnTo>
                    <a:lnTo>
                      <a:pt x="670" y="152"/>
                    </a:lnTo>
                    <a:lnTo>
                      <a:pt x="670" y="160"/>
                    </a:lnTo>
                    <a:lnTo>
                      <a:pt x="672" y="166"/>
                    </a:lnTo>
                    <a:lnTo>
                      <a:pt x="672" y="172"/>
                    </a:lnTo>
                    <a:lnTo>
                      <a:pt x="674" y="178"/>
                    </a:lnTo>
                    <a:lnTo>
                      <a:pt x="676" y="182"/>
                    </a:lnTo>
                    <a:lnTo>
                      <a:pt x="676" y="184"/>
                    </a:lnTo>
                    <a:lnTo>
                      <a:pt x="676" y="184"/>
                    </a:lnTo>
                    <a:lnTo>
                      <a:pt x="676" y="184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80" y="188"/>
                    </a:lnTo>
                    <a:lnTo>
                      <a:pt x="680" y="188"/>
                    </a:lnTo>
                    <a:lnTo>
                      <a:pt x="680" y="188"/>
                    </a:lnTo>
                    <a:lnTo>
                      <a:pt x="682" y="188"/>
                    </a:lnTo>
                    <a:lnTo>
                      <a:pt x="684" y="188"/>
                    </a:lnTo>
                    <a:lnTo>
                      <a:pt x="686" y="188"/>
                    </a:lnTo>
                    <a:lnTo>
                      <a:pt x="690" y="186"/>
                    </a:lnTo>
                    <a:lnTo>
                      <a:pt x="690" y="186"/>
                    </a:lnTo>
                    <a:lnTo>
                      <a:pt x="690" y="186"/>
                    </a:lnTo>
                    <a:lnTo>
                      <a:pt x="692" y="184"/>
                    </a:lnTo>
                    <a:lnTo>
                      <a:pt x="692" y="184"/>
                    </a:lnTo>
                    <a:lnTo>
                      <a:pt x="694" y="184"/>
                    </a:lnTo>
                    <a:lnTo>
                      <a:pt x="694" y="182"/>
                    </a:lnTo>
                    <a:lnTo>
                      <a:pt x="694" y="182"/>
                    </a:lnTo>
                    <a:lnTo>
                      <a:pt x="694" y="182"/>
                    </a:lnTo>
                    <a:lnTo>
                      <a:pt x="696" y="180"/>
                    </a:lnTo>
                    <a:lnTo>
                      <a:pt x="696" y="176"/>
                    </a:lnTo>
                    <a:lnTo>
                      <a:pt x="698" y="174"/>
                    </a:lnTo>
                    <a:lnTo>
                      <a:pt x="700" y="170"/>
                    </a:lnTo>
                    <a:lnTo>
                      <a:pt x="700" y="170"/>
                    </a:lnTo>
                    <a:lnTo>
                      <a:pt x="700" y="170"/>
                    </a:lnTo>
                    <a:lnTo>
                      <a:pt x="700" y="166"/>
                    </a:lnTo>
                    <a:lnTo>
                      <a:pt x="700" y="164"/>
                    </a:lnTo>
                    <a:lnTo>
                      <a:pt x="700" y="164"/>
                    </a:lnTo>
                    <a:lnTo>
                      <a:pt x="700" y="164"/>
                    </a:lnTo>
                    <a:lnTo>
                      <a:pt x="698" y="160"/>
                    </a:lnTo>
                    <a:lnTo>
                      <a:pt x="698" y="160"/>
                    </a:lnTo>
                    <a:lnTo>
                      <a:pt x="698" y="158"/>
                    </a:lnTo>
                    <a:lnTo>
                      <a:pt x="698" y="156"/>
                    </a:lnTo>
                    <a:lnTo>
                      <a:pt x="696" y="154"/>
                    </a:lnTo>
                    <a:lnTo>
                      <a:pt x="696" y="154"/>
                    </a:lnTo>
                    <a:lnTo>
                      <a:pt x="696" y="154"/>
                    </a:lnTo>
                    <a:lnTo>
                      <a:pt x="696" y="152"/>
                    </a:lnTo>
                    <a:lnTo>
                      <a:pt x="696" y="152"/>
                    </a:lnTo>
                    <a:lnTo>
                      <a:pt x="700" y="150"/>
                    </a:lnTo>
                    <a:lnTo>
                      <a:pt x="704" y="150"/>
                    </a:lnTo>
                    <a:lnTo>
                      <a:pt x="708" y="148"/>
                    </a:lnTo>
                    <a:lnTo>
                      <a:pt x="716" y="148"/>
                    </a:lnTo>
                    <a:lnTo>
                      <a:pt x="726" y="148"/>
                    </a:lnTo>
                    <a:lnTo>
                      <a:pt x="726" y="148"/>
                    </a:lnTo>
                    <a:lnTo>
                      <a:pt x="728" y="146"/>
                    </a:lnTo>
                    <a:lnTo>
                      <a:pt x="728" y="144"/>
                    </a:lnTo>
                    <a:lnTo>
                      <a:pt x="730" y="140"/>
                    </a:lnTo>
                    <a:lnTo>
                      <a:pt x="730" y="136"/>
                    </a:lnTo>
                    <a:lnTo>
                      <a:pt x="730" y="132"/>
                    </a:lnTo>
                    <a:lnTo>
                      <a:pt x="730" y="128"/>
                    </a:lnTo>
                    <a:lnTo>
                      <a:pt x="732" y="126"/>
                    </a:lnTo>
                    <a:lnTo>
                      <a:pt x="734" y="124"/>
                    </a:lnTo>
                    <a:lnTo>
                      <a:pt x="736" y="122"/>
                    </a:lnTo>
                    <a:lnTo>
                      <a:pt x="736" y="122"/>
                    </a:lnTo>
                    <a:lnTo>
                      <a:pt x="740" y="120"/>
                    </a:lnTo>
                    <a:lnTo>
                      <a:pt x="740" y="120"/>
                    </a:lnTo>
                    <a:lnTo>
                      <a:pt x="740" y="118"/>
                    </a:lnTo>
                    <a:lnTo>
                      <a:pt x="742" y="114"/>
                    </a:lnTo>
                    <a:lnTo>
                      <a:pt x="744" y="108"/>
                    </a:lnTo>
                    <a:lnTo>
                      <a:pt x="742" y="110"/>
                    </a:lnTo>
                    <a:lnTo>
                      <a:pt x="746" y="106"/>
                    </a:lnTo>
                    <a:lnTo>
                      <a:pt x="746" y="106"/>
                    </a:lnTo>
                    <a:lnTo>
                      <a:pt x="746" y="104"/>
                    </a:lnTo>
                    <a:lnTo>
                      <a:pt x="748" y="102"/>
                    </a:lnTo>
                    <a:lnTo>
                      <a:pt x="748" y="102"/>
                    </a:lnTo>
                    <a:lnTo>
                      <a:pt x="750" y="102"/>
                    </a:lnTo>
                    <a:lnTo>
                      <a:pt x="750" y="98"/>
                    </a:lnTo>
                    <a:lnTo>
                      <a:pt x="750" y="98"/>
                    </a:lnTo>
                    <a:lnTo>
                      <a:pt x="750" y="98"/>
                    </a:lnTo>
                    <a:lnTo>
                      <a:pt x="752" y="96"/>
                    </a:lnTo>
                    <a:lnTo>
                      <a:pt x="752" y="96"/>
                    </a:lnTo>
                    <a:lnTo>
                      <a:pt x="752" y="94"/>
                    </a:lnTo>
                    <a:lnTo>
                      <a:pt x="750" y="94"/>
                    </a:lnTo>
                    <a:lnTo>
                      <a:pt x="750" y="94"/>
                    </a:lnTo>
                    <a:lnTo>
                      <a:pt x="750" y="92"/>
                    </a:lnTo>
                    <a:lnTo>
                      <a:pt x="750" y="92"/>
                    </a:lnTo>
                    <a:lnTo>
                      <a:pt x="750" y="92"/>
                    </a:lnTo>
                    <a:lnTo>
                      <a:pt x="748" y="90"/>
                    </a:lnTo>
                    <a:lnTo>
                      <a:pt x="746" y="90"/>
                    </a:lnTo>
                    <a:lnTo>
                      <a:pt x="746" y="90"/>
                    </a:lnTo>
                    <a:lnTo>
                      <a:pt x="746" y="90"/>
                    </a:lnTo>
                    <a:lnTo>
                      <a:pt x="744" y="90"/>
                    </a:lnTo>
                    <a:lnTo>
                      <a:pt x="740" y="88"/>
                    </a:lnTo>
                    <a:lnTo>
                      <a:pt x="740" y="88"/>
                    </a:lnTo>
                    <a:lnTo>
                      <a:pt x="738" y="88"/>
                    </a:lnTo>
                    <a:lnTo>
                      <a:pt x="734" y="88"/>
                    </a:lnTo>
                    <a:lnTo>
                      <a:pt x="728" y="88"/>
                    </a:lnTo>
                    <a:lnTo>
                      <a:pt x="722" y="88"/>
                    </a:lnTo>
                    <a:lnTo>
                      <a:pt x="716" y="90"/>
                    </a:lnTo>
                    <a:lnTo>
                      <a:pt x="716" y="90"/>
                    </a:lnTo>
                    <a:lnTo>
                      <a:pt x="716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2" y="90"/>
                    </a:lnTo>
                    <a:lnTo>
                      <a:pt x="712" y="88"/>
                    </a:lnTo>
                    <a:lnTo>
                      <a:pt x="710" y="82"/>
                    </a:lnTo>
                    <a:lnTo>
                      <a:pt x="710" y="82"/>
                    </a:lnTo>
                    <a:lnTo>
                      <a:pt x="710" y="82"/>
                    </a:lnTo>
                    <a:lnTo>
                      <a:pt x="710" y="80"/>
                    </a:lnTo>
                    <a:lnTo>
                      <a:pt x="710" y="80"/>
                    </a:lnTo>
                    <a:lnTo>
                      <a:pt x="708" y="80"/>
                    </a:lnTo>
                    <a:lnTo>
                      <a:pt x="708" y="78"/>
                    </a:lnTo>
                    <a:lnTo>
                      <a:pt x="708" y="78"/>
                    </a:lnTo>
                    <a:lnTo>
                      <a:pt x="704" y="78"/>
                    </a:lnTo>
                    <a:lnTo>
                      <a:pt x="700" y="78"/>
                    </a:lnTo>
                    <a:lnTo>
                      <a:pt x="698" y="80"/>
                    </a:lnTo>
                    <a:close/>
                    <a:moveTo>
                      <a:pt x="904" y="98"/>
                    </a:moveTo>
                    <a:lnTo>
                      <a:pt x="902" y="98"/>
                    </a:lnTo>
                    <a:lnTo>
                      <a:pt x="900" y="98"/>
                    </a:lnTo>
                    <a:lnTo>
                      <a:pt x="896" y="98"/>
                    </a:lnTo>
                    <a:lnTo>
                      <a:pt x="892" y="96"/>
                    </a:lnTo>
                    <a:lnTo>
                      <a:pt x="892" y="96"/>
                    </a:lnTo>
                    <a:lnTo>
                      <a:pt x="890" y="98"/>
                    </a:lnTo>
                    <a:lnTo>
                      <a:pt x="890" y="98"/>
                    </a:lnTo>
                    <a:lnTo>
                      <a:pt x="888" y="100"/>
                    </a:lnTo>
                    <a:lnTo>
                      <a:pt x="888" y="102"/>
                    </a:lnTo>
                    <a:lnTo>
                      <a:pt x="888" y="104"/>
                    </a:lnTo>
                    <a:lnTo>
                      <a:pt x="890" y="108"/>
                    </a:lnTo>
                    <a:lnTo>
                      <a:pt x="890" y="110"/>
                    </a:lnTo>
                    <a:lnTo>
                      <a:pt x="890" y="118"/>
                    </a:lnTo>
                    <a:lnTo>
                      <a:pt x="890" y="126"/>
                    </a:lnTo>
                    <a:lnTo>
                      <a:pt x="892" y="132"/>
                    </a:lnTo>
                    <a:lnTo>
                      <a:pt x="894" y="140"/>
                    </a:lnTo>
                    <a:lnTo>
                      <a:pt x="894" y="142"/>
                    </a:lnTo>
                    <a:lnTo>
                      <a:pt x="896" y="146"/>
                    </a:lnTo>
                    <a:lnTo>
                      <a:pt x="896" y="146"/>
                    </a:lnTo>
                    <a:lnTo>
                      <a:pt x="896" y="146"/>
                    </a:lnTo>
                    <a:lnTo>
                      <a:pt x="898" y="148"/>
                    </a:lnTo>
                    <a:lnTo>
                      <a:pt x="898" y="148"/>
                    </a:lnTo>
                    <a:lnTo>
                      <a:pt x="898" y="148"/>
                    </a:lnTo>
                    <a:lnTo>
                      <a:pt x="900" y="150"/>
                    </a:lnTo>
                    <a:lnTo>
                      <a:pt x="900" y="150"/>
                    </a:lnTo>
                    <a:lnTo>
                      <a:pt x="902" y="150"/>
                    </a:lnTo>
                    <a:lnTo>
                      <a:pt x="908" y="148"/>
                    </a:lnTo>
                    <a:lnTo>
                      <a:pt x="912" y="146"/>
                    </a:lnTo>
                    <a:lnTo>
                      <a:pt x="916" y="146"/>
                    </a:lnTo>
                    <a:lnTo>
                      <a:pt x="922" y="146"/>
                    </a:lnTo>
                    <a:lnTo>
                      <a:pt x="932" y="146"/>
                    </a:lnTo>
                    <a:lnTo>
                      <a:pt x="942" y="144"/>
                    </a:lnTo>
                    <a:lnTo>
                      <a:pt x="942" y="144"/>
                    </a:lnTo>
                    <a:lnTo>
                      <a:pt x="944" y="144"/>
                    </a:lnTo>
                    <a:lnTo>
                      <a:pt x="946" y="144"/>
                    </a:lnTo>
                    <a:lnTo>
                      <a:pt x="948" y="142"/>
                    </a:lnTo>
                    <a:lnTo>
                      <a:pt x="948" y="142"/>
                    </a:lnTo>
                    <a:lnTo>
                      <a:pt x="948" y="142"/>
                    </a:lnTo>
                    <a:lnTo>
                      <a:pt x="948" y="140"/>
                    </a:lnTo>
                    <a:lnTo>
                      <a:pt x="948" y="140"/>
                    </a:lnTo>
                    <a:lnTo>
                      <a:pt x="950" y="140"/>
                    </a:lnTo>
                    <a:lnTo>
                      <a:pt x="950" y="138"/>
                    </a:lnTo>
                    <a:lnTo>
                      <a:pt x="950" y="138"/>
                    </a:lnTo>
                    <a:lnTo>
                      <a:pt x="950" y="138"/>
                    </a:lnTo>
                    <a:lnTo>
                      <a:pt x="950" y="134"/>
                    </a:lnTo>
                    <a:lnTo>
                      <a:pt x="950" y="134"/>
                    </a:lnTo>
                    <a:lnTo>
                      <a:pt x="950" y="134"/>
                    </a:lnTo>
                    <a:lnTo>
                      <a:pt x="948" y="130"/>
                    </a:lnTo>
                    <a:lnTo>
                      <a:pt x="948" y="130"/>
                    </a:lnTo>
                    <a:lnTo>
                      <a:pt x="948" y="130"/>
                    </a:lnTo>
                    <a:lnTo>
                      <a:pt x="946" y="128"/>
                    </a:lnTo>
                    <a:lnTo>
                      <a:pt x="946" y="128"/>
                    </a:lnTo>
                    <a:lnTo>
                      <a:pt x="946" y="128"/>
                    </a:lnTo>
                    <a:lnTo>
                      <a:pt x="944" y="124"/>
                    </a:lnTo>
                    <a:lnTo>
                      <a:pt x="942" y="122"/>
                    </a:lnTo>
                    <a:lnTo>
                      <a:pt x="938" y="122"/>
                    </a:lnTo>
                    <a:lnTo>
                      <a:pt x="938" y="118"/>
                    </a:lnTo>
                    <a:lnTo>
                      <a:pt x="936" y="116"/>
                    </a:lnTo>
                    <a:lnTo>
                      <a:pt x="932" y="114"/>
                    </a:lnTo>
                    <a:lnTo>
                      <a:pt x="930" y="112"/>
                    </a:lnTo>
                    <a:lnTo>
                      <a:pt x="930" y="112"/>
                    </a:lnTo>
                    <a:lnTo>
                      <a:pt x="930" y="110"/>
                    </a:lnTo>
                    <a:lnTo>
                      <a:pt x="924" y="108"/>
                    </a:lnTo>
                    <a:lnTo>
                      <a:pt x="924" y="108"/>
                    </a:lnTo>
                    <a:lnTo>
                      <a:pt x="924" y="108"/>
                    </a:lnTo>
                    <a:lnTo>
                      <a:pt x="918" y="106"/>
                    </a:lnTo>
                    <a:lnTo>
                      <a:pt x="918" y="106"/>
                    </a:lnTo>
                    <a:lnTo>
                      <a:pt x="916" y="104"/>
                    </a:lnTo>
                    <a:lnTo>
                      <a:pt x="916" y="102"/>
                    </a:lnTo>
                    <a:lnTo>
                      <a:pt x="916" y="102"/>
                    </a:lnTo>
                    <a:lnTo>
                      <a:pt x="914" y="102"/>
                    </a:lnTo>
                    <a:lnTo>
                      <a:pt x="914" y="100"/>
                    </a:lnTo>
                    <a:lnTo>
                      <a:pt x="914" y="100"/>
                    </a:lnTo>
                    <a:lnTo>
                      <a:pt x="912" y="100"/>
                    </a:lnTo>
                    <a:lnTo>
                      <a:pt x="912" y="98"/>
                    </a:lnTo>
                    <a:lnTo>
                      <a:pt x="912" y="98"/>
                    </a:lnTo>
                    <a:lnTo>
                      <a:pt x="910" y="98"/>
                    </a:lnTo>
                    <a:lnTo>
                      <a:pt x="908" y="98"/>
                    </a:lnTo>
                    <a:lnTo>
                      <a:pt x="906" y="98"/>
                    </a:lnTo>
                    <a:lnTo>
                      <a:pt x="904" y="98"/>
                    </a:lnTo>
                    <a:close/>
                    <a:moveTo>
                      <a:pt x="938" y="358"/>
                    </a:moveTo>
                    <a:lnTo>
                      <a:pt x="936" y="362"/>
                    </a:lnTo>
                    <a:lnTo>
                      <a:pt x="934" y="366"/>
                    </a:lnTo>
                    <a:lnTo>
                      <a:pt x="934" y="366"/>
                    </a:lnTo>
                    <a:lnTo>
                      <a:pt x="934" y="366"/>
                    </a:lnTo>
                    <a:lnTo>
                      <a:pt x="932" y="370"/>
                    </a:lnTo>
                    <a:lnTo>
                      <a:pt x="932" y="370"/>
                    </a:lnTo>
                    <a:lnTo>
                      <a:pt x="932" y="370"/>
                    </a:lnTo>
                    <a:lnTo>
                      <a:pt x="932" y="374"/>
                    </a:lnTo>
                    <a:lnTo>
                      <a:pt x="932" y="374"/>
                    </a:lnTo>
                    <a:lnTo>
                      <a:pt x="932" y="376"/>
                    </a:lnTo>
                    <a:lnTo>
                      <a:pt x="932" y="378"/>
                    </a:lnTo>
                    <a:lnTo>
                      <a:pt x="932" y="378"/>
                    </a:lnTo>
                    <a:lnTo>
                      <a:pt x="932" y="378"/>
                    </a:lnTo>
                    <a:lnTo>
                      <a:pt x="932" y="380"/>
                    </a:lnTo>
                    <a:lnTo>
                      <a:pt x="932" y="380"/>
                    </a:lnTo>
                    <a:lnTo>
                      <a:pt x="932" y="380"/>
                    </a:lnTo>
                    <a:lnTo>
                      <a:pt x="934" y="382"/>
                    </a:lnTo>
                    <a:lnTo>
                      <a:pt x="934" y="382"/>
                    </a:lnTo>
                    <a:lnTo>
                      <a:pt x="934" y="382"/>
                    </a:lnTo>
                    <a:lnTo>
                      <a:pt x="934" y="386"/>
                    </a:lnTo>
                    <a:lnTo>
                      <a:pt x="934" y="386"/>
                    </a:lnTo>
                    <a:lnTo>
                      <a:pt x="936" y="386"/>
                    </a:lnTo>
                    <a:lnTo>
                      <a:pt x="938" y="388"/>
                    </a:lnTo>
                    <a:lnTo>
                      <a:pt x="938" y="388"/>
                    </a:lnTo>
                    <a:lnTo>
                      <a:pt x="938" y="388"/>
                    </a:lnTo>
                    <a:lnTo>
                      <a:pt x="940" y="388"/>
                    </a:lnTo>
                    <a:lnTo>
                      <a:pt x="940" y="388"/>
                    </a:lnTo>
                    <a:lnTo>
                      <a:pt x="942" y="388"/>
                    </a:lnTo>
                    <a:lnTo>
                      <a:pt x="944" y="390"/>
                    </a:lnTo>
                    <a:lnTo>
                      <a:pt x="944" y="390"/>
                    </a:lnTo>
                    <a:lnTo>
                      <a:pt x="944" y="390"/>
                    </a:lnTo>
                    <a:lnTo>
                      <a:pt x="948" y="390"/>
                    </a:lnTo>
                    <a:lnTo>
                      <a:pt x="954" y="388"/>
                    </a:lnTo>
                    <a:lnTo>
                      <a:pt x="956" y="388"/>
                    </a:lnTo>
                    <a:lnTo>
                      <a:pt x="960" y="388"/>
                    </a:lnTo>
                    <a:lnTo>
                      <a:pt x="960" y="388"/>
                    </a:lnTo>
                    <a:lnTo>
                      <a:pt x="962" y="388"/>
                    </a:lnTo>
                    <a:lnTo>
                      <a:pt x="962" y="386"/>
                    </a:lnTo>
                    <a:lnTo>
                      <a:pt x="962" y="386"/>
                    </a:lnTo>
                    <a:lnTo>
                      <a:pt x="962" y="386"/>
                    </a:lnTo>
                    <a:lnTo>
                      <a:pt x="964" y="384"/>
                    </a:lnTo>
                    <a:lnTo>
                      <a:pt x="964" y="382"/>
                    </a:lnTo>
                    <a:lnTo>
                      <a:pt x="966" y="380"/>
                    </a:lnTo>
                    <a:lnTo>
                      <a:pt x="966" y="378"/>
                    </a:lnTo>
                    <a:lnTo>
                      <a:pt x="968" y="374"/>
                    </a:lnTo>
                    <a:lnTo>
                      <a:pt x="970" y="368"/>
                    </a:lnTo>
                    <a:lnTo>
                      <a:pt x="972" y="360"/>
                    </a:lnTo>
                    <a:lnTo>
                      <a:pt x="972" y="358"/>
                    </a:lnTo>
                    <a:lnTo>
                      <a:pt x="972" y="354"/>
                    </a:lnTo>
                    <a:lnTo>
                      <a:pt x="972" y="352"/>
                    </a:lnTo>
                    <a:lnTo>
                      <a:pt x="972" y="352"/>
                    </a:lnTo>
                    <a:lnTo>
                      <a:pt x="972" y="350"/>
                    </a:lnTo>
                    <a:lnTo>
                      <a:pt x="972" y="350"/>
                    </a:lnTo>
                    <a:lnTo>
                      <a:pt x="970" y="348"/>
                    </a:lnTo>
                    <a:lnTo>
                      <a:pt x="970" y="348"/>
                    </a:lnTo>
                    <a:lnTo>
                      <a:pt x="970" y="348"/>
                    </a:lnTo>
                    <a:lnTo>
                      <a:pt x="970" y="346"/>
                    </a:lnTo>
                    <a:lnTo>
                      <a:pt x="968" y="346"/>
                    </a:lnTo>
                    <a:lnTo>
                      <a:pt x="968" y="346"/>
                    </a:lnTo>
                    <a:lnTo>
                      <a:pt x="966" y="346"/>
                    </a:lnTo>
                    <a:lnTo>
                      <a:pt x="960" y="344"/>
                    </a:lnTo>
                    <a:lnTo>
                      <a:pt x="954" y="344"/>
                    </a:lnTo>
                    <a:lnTo>
                      <a:pt x="950" y="344"/>
                    </a:lnTo>
                    <a:lnTo>
                      <a:pt x="944" y="344"/>
                    </a:lnTo>
                    <a:lnTo>
                      <a:pt x="944" y="344"/>
                    </a:lnTo>
                    <a:lnTo>
                      <a:pt x="942" y="344"/>
                    </a:lnTo>
                    <a:lnTo>
                      <a:pt x="942" y="344"/>
                    </a:lnTo>
                    <a:lnTo>
                      <a:pt x="940" y="346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50"/>
                    </a:lnTo>
                    <a:lnTo>
                      <a:pt x="942" y="350"/>
                    </a:lnTo>
                    <a:lnTo>
                      <a:pt x="942" y="352"/>
                    </a:lnTo>
                    <a:lnTo>
                      <a:pt x="942" y="352"/>
                    </a:lnTo>
                    <a:lnTo>
                      <a:pt x="940" y="354"/>
                    </a:lnTo>
                    <a:lnTo>
                      <a:pt x="938" y="358"/>
                    </a:lnTo>
                    <a:close/>
                    <a:moveTo>
                      <a:pt x="870" y="536"/>
                    </a:moveTo>
                    <a:lnTo>
                      <a:pt x="870" y="534"/>
                    </a:lnTo>
                    <a:lnTo>
                      <a:pt x="870" y="534"/>
                    </a:lnTo>
                    <a:lnTo>
                      <a:pt x="870" y="534"/>
                    </a:lnTo>
                    <a:lnTo>
                      <a:pt x="868" y="534"/>
                    </a:lnTo>
                    <a:lnTo>
                      <a:pt x="868" y="534"/>
                    </a:lnTo>
                    <a:lnTo>
                      <a:pt x="868" y="532"/>
                    </a:lnTo>
                    <a:lnTo>
                      <a:pt x="866" y="532"/>
                    </a:lnTo>
                    <a:lnTo>
                      <a:pt x="866" y="532"/>
                    </a:lnTo>
                    <a:lnTo>
                      <a:pt x="866" y="532"/>
                    </a:lnTo>
                    <a:lnTo>
                      <a:pt x="864" y="532"/>
                    </a:lnTo>
                    <a:lnTo>
                      <a:pt x="860" y="532"/>
                    </a:lnTo>
                    <a:lnTo>
                      <a:pt x="856" y="532"/>
                    </a:lnTo>
                    <a:lnTo>
                      <a:pt x="850" y="532"/>
                    </a:lnTo>
                    <a:lnTo>
                      <a:pt x="848" y="532"/>
                    </a:lnTo>
                    <a:lnTo>
                      <a:pt x="844" y="532"/>
                    </a:lnTo>
                    <a:lnTo>
                      <a:pt x="842" y="534"/>
                    </a:lnTo>
                    <a:lnTo>
                      <a:pt x="842" y="534"/>
                    </a:lnTo>
                    <a:lnTo>
                      <a:pt x="840" y="534"/>
                    </a:lnTo>
                    <a:lnTo>
                      <a:pt x="836" y="540"/>
                    </a:lnTo>
                    <a:lnTo>
                      <a:pt x="836" y="544"/>
                    </a:lnTo>
                    <a:lnTo>
                      <a:pt x="836" y="546"/>
                    </a:lnTo>
                    <a:lnTo>
                      <a:pt x="836" y="546"/>
                    </a:lnTo>
                    <a:lnTo>
                      <a:pt x="836" y="546"/>
                    </a:lnTo>
                    <a:lnTo>
                      <a:pt x="836" y="550"/>
                    </a:lnTo>
                    <a:lnTo>
                      <a:pt x="836" y="550"/>
                    </a:lnTo>
                    <a:lnTo>
                      <a:pt x="836" y="550"/>
                    </a:lnTo>
                    <a:lnTo>
                      <a:pt x="836" y="552"/>
                    </a:lnTo>
                    <a:lnTo>
                      <a:pt x="836" y="552"/>
                    </a:lnTo>
                    <a:lnTo>
                      <a:pt x="838" y="554"/>
                    </a:lnTo>
                    <a:lnTo>
                      <a:pt x="840" y="554"/>
                    </a:lnTo>
                    <a:lnTo>
                      <a:pt x="840" y="554"/>
                    </a:lnTo>
                    <a:lnTo>
                      <a:pt x="840" y="554"/>
                    </a:lnTo>
                    <a:lnTo>
                      <a:pt x="844" y="556"/>
                    </a:lnTo>
                    <a:lnTo>
                      <a:pt x="844" y="556"/>
                    </a:lnTo>
                    <a:lnTo>
                      <a:pt x="844" y="556"/>
                    </a:lnTo>
                    <a:lnTo>
                      <a:pt x="846" y="556"/>
                    </a:lnTo>
                    <a:lnTo>
                      <a:pt x="850" y="556"/>
                    </a:lnTo>
                    <a:lnTo>
                      <a:pt x="854" y="556"/>
                    </a:lnTo>
                    <a:lnTo>
                      <a:pt x="858" y="556"/>
                    </a:lnTo>
                    <a:lnTo>
                      <a:pt x="860" y="554"/>
                    </a:lnTo>
                    <a:lnTo>
                      <a:pt x="860" y="554"/>
                    </a:lnTo>
                    <a:lnTo>
                      <a:pt x="862" y="554"/>
                    </a:lnTo>
                    <a:lnTo>
                      <a:pt x="864" y="554"/>
                    </a:lnTo>
                    <a:lnTo>
                      <a:pt x="864" y="554"/>
                    </a:lnTo>
                    <a:lnTo>
                      <a:pt x="864" y="554"/>
                    </a:lnTo>
                    <a:lnTo>
                      <a:pt x="866" y="552"/>
                    </a:lnTo>
                    <a:lnTo>
                      <a:pt x="866" y="552"/>
                    </a:lnTo>
                    <a:lnTo>
                      <a:pt x="868" y="550"/>
                    </a:lnTo>
                    <a:lnTo>
                      <a:pt x="870" y="548"/>
                    </a:lnTo>
                    <a:lnTo>
                      <a:pt x="870" y="548"/>
                    </a:lnTo>
                    <a:lnTo>
                      <a:pt x="870" y="548"/>
                    </a:lnTo>
                    <a:lnTo>
                      <a:pt x="872" y="544"/>
                    </a:lnTo>
                    <a:lnTo>
                      <a:pt x="872" y="544"/>
                    </a:lnTo>
                    <a:lnTo>
                      <a:pt x="872" y="542"/>
                    </a:lnTo>
                    <a:lnTo>
                      <a:pt x="872" y="542"/>
                    </a:lnTo>
                    <a:lnTo>
                      <a:pt x="872" y="542"/>
                    </a:lnTo>
                    <a:lnTo>
                      <a:pt x="872" y="540"/>
                    </a:lnTo>
                    <a:lnTo>
                      <a:pt x="872" y="538"/>
                    </a:lnTo>
                    <a:lnTo>
                      <a:pt x="872" y="538"/>
                    </a:lnTo>
                    <a:lnTo>
                      <a:pt x="872" y="538"/>
                    </a:lnTo>
                    <a:lnTo>
                      <a:pt x="872" y="536"/>
                    </a:lnTo>
                    <a:lnTo>
                      <a:pt x="872" y="536"/>
                    </a:lnTo>
                    <a:lnTo>
                      <a:pt x="870" y="536"/>
                    </a:lnTo>
                    <a:lnTo>
                      <a:pt x="870" y="536"/>
                    </a:lnTo>
                    <a:close/>
                    <a:moveTo>
                      <a:pt x="890" y="574"/>
                    </a:moveTo>
                    <a:lnTo>
                      <a:pt x="890" y="574"/>
                    </a:lnTo>
                    <a:lnTo>
                      <a:pt x="892" y="574"/>
                    </a:lnTo>
                    <a:lnTo>
                      <a:pt x="892" y="574"/>
                    </a:lnTo>
                    <a:lnTo>
                      <a:pt x="892" y="574"/>
                    </a:lnTo>
                    <a:lnTo>
                      <a:pt x="894" y="574"/>
                    </a:lnTo>
                    <a:lnTo>
                      <a:pt x="896" y="576"/>
                    </a:lnTo>
                    <a:lnTo>
                      <a:pt x="898" y="576"/>
                    </a:lnTo>
                    <a:lnTo>
                      <a:pt x="898" y="576"/>
                    </a:lnTo>
                    <a:lnTo>
                      <a:pt x="900" y="576"/>
                    </a:lnTo>
                    <a:lnTo>
                      <a:pt x="902" y="576"/>
                    </a:lnTo>
                    <a:lnTo>
                      <a:pt x="902" y="576"/>
                    </a:lnTo>
                    <a:lnTo>
                      <a:pt x="902" y="576"/>
                    </a:lnTo>
                    <a:lnTo>
                      <a:pt x="904" y="574"/>
                    </a:lnTo>
                    <a:lnTo>
                      <a:pt x="904" y="574"/>
                    </a:lnTo>
                    <a:lnTo>
                      <a:pt x="906" y="574"/>
                    </a:lnTo>
                    <a:lnTo>
                      <a:pt x="908" y="570"/>
                    </a:lnTo>
                    <a:lnTo>
                      <a:pt x="908" y="570"/>
                    </a:lnTo>
                    <a:lnTo>
                      <a:pt x="910" y="570"/>
                    </a:lnTo>
                    <a:lnTo>
                      <a:pt x="910" y="566"/>
                    </a:lnTo>
                    <a:lnTo>
                      <a:pt x="910" y="566"/>
                    </a:lnTo>
                    <a:lnTo>
                      <a:pt x="910" y="564"/>
                    </a:lnTo>
                    <a:lnTo>
                      <a:pt x="912" y="560"/>
                    </a:lnTo>
                    <a:lnTo>
                      <a:pt x="912" y="560"/>
                    </a:lnTo>
                    <a:lnTo>
                      <a:pt x="912" y="560"/>
                    </a:lnTo>
                    <a:lnTo>
                      <a:pt x="910" y="556"/>
                    </a:lnTo>
                    <a:lnTo>
                      <a:pt x="910" y="556"/>
                    </a:lnTo>
                    <a:lnTo>
                      <a:pt x="910" y="554"/>
                    </a:lnTo>
                    <a:lnTo>
                      <a:pt x="908" y="550"/>
                    </a:lnTo>
                    <a:lnTo>
                      <a:pt x="908" y="550"/>
                    </a:lnTo>
                    <a:lnTo>
                      <a:pt x="908" y="550"/>
                    </a:lnTo>
                    <a:lnTo>
                      <a:pt x="904" y="546"/>
                    </a:lnTo>
                    <a:lnTo>
                      <a:pt x="904" y="546"/>
                    </a:lnTo>
                    <a:lnTo>
                      <a:pt x="904" y="546"/>
                    </a:lnTo>
                    <a:lnTo>
                      <a:pt x="902" y="544"/>
                    </a:lnTo>
                    <a:lnTo>
                      <a:pt x="902" y="544"/>
                    </a:lnTo>
                    <a:lnTo>
                      <a:pt x="902" y="544"/>
                    </a:lnTo>
                    <a:lnTo>
                      <a:pt x="898" y="544"/>
                    </a:lnTo>
                    <a:lnTo>
                      <a:pt x="898" y="544"/>
                    </a:lnTo>
                    <a:lnTo>
                      <a:pt x="896" y="544"/>
                    </a:lnTo>
                    <a:lnTo>
                      <a:pt x="896" y="544"/>
                    </a:lnTo>
                    <a:lnTo>
                      <a:pt x="896" y="546"/>
                    </a:lnTo>
                    <a:lnTo>
                      <a:pt x="894" y="548"/>
                    </a:lnTo>
                    <a:lnTo>
                      <a:pt x="894" y="550"/>
                    </a:lnTo>
                    <a:lnTo>
                      <a:pt x="894" y="552"/>
                    </a:lnTo>
                    <a:lnTo>
                      <a:pt x="892" y="554"/>
                    </a:lnTo>
                    <a:lnTo>
                      <a:pt x="892" y="554"/>
                    </a:lnTo>
                    <a:lnTo>
                      <a:pt x="892" y="556"/>
                    </a:lnTo>
                    <a:lnTo>
                      <a:pt x="892" y="560"/>
                    </a:lnTo>
                    <a:lnTo>
                      <a:pt x="892" y="562"/>
                    </a:lnTo>
                    <a:lnTo>
                      <a:pt x="892" y="562"/>
                    </a:lnTo>
                    <a:lnTo>
                      <a:pt x="890" y="564"/>
                    </a:lnTo>
                    <a:lnTo>
                      <a:pt x="890" y="566"/>
                    </a:lnTo>
                    <a:lnTo>
                      <a:pt x="890" y="566"/>
                    </a:lnTo>
                    <a:lnTo>
                      <a:pt x="890" y="566"/>
                    </a:lnTo>
                    <a:lnTo>
                      <a:pt x="890" y="568"/>
                    </a:lnTo>
                    <a:lnTo>
                      <a:pt x="890" y="568"/>
                    </a:lnTo>
                    <a:lnTo>
                      <a:pt x="888" y="570"/>
                    </a:lnTo>
                    <a:lnTo>
                      <a:pt x="890" y="570"/>
                    </a:lnTo>
                    <a:lnTo>
                      <a:pt x="890" y="570"/>
                    </a:lnTo>
                    <a:lnTo>
                      <a:pt x="890" y="572"/>
                    </a:lnTo>
                    <a:lnTo>
                      <a:pt x="890" y="574"/>
                    </a:lnTo>
                    <a:close/>
                    <a:moveTo>
                      <a:pt x="884" y="626"/>
                    </a:moveTo>
                    <a:lnTo>
                      <a:pt x="884" y="626"/>
                    </a:lnTo>
                    <a:lnTo>
                      <a:pt x="884" y="626"/>
                    </a:lnTo>
                    <a:lnTo>
                      <a:pt x="882" y="628"/>
                    </a:lnTo>
                    <a:lnTo>
                      <a:pt x="882" y="628"/>
                    </a:lnTo>
                    <a:lnTo>
                      <a:pt x="882" y="628"/>
                    </a:lnTo>
                    <a:lnTo>
                      <a:pt x="880" y="632"/>
                    </a:lnTo>
                    <a:lnTo>
                      <a:pt x="880" y="632"/>
                    </a:lnTo>
                    <a:lnTo>
                      <a:pt x="880" y="632"/>
                    </a:lnTo>
                    <a:lnTo>
                      <a:pt x="880" y="634"/>
                    </a:lnTo>
                    <a:lnTo>
                      <a:pt x="880" y="634"/>
                    </a:lnTo>
                    <a:lnTo>
                      <a:pt x="880" y="636"/>
                    </a:lnTo>
                    <a:lnTo>
                      <a:pt x="880" y="638"/>
                    </a:lnTo>
                    <a:lnTo>
                      <a:pt x="880" y="642"/>
                    </a:lnTo>
                    <a:lnTo>
                      <a:pt x="882" y="646"/>
                    </a:lnTo>
                    <a:lnTo>
                      <a:pt x="882" y="650"/>
                    </a:lnTo>
                    <a:lnTo>
                      <a:pt x="882" y="650"/>
                    </a:lnTo>
                    <a:lnTo>
                      <a:pt x="884" y="652"/>
                    </a:lnTo>
                    <a:lnTo>
                      <a:pt x="884" y="652"/>
                    </a:lnTo>
                    <a:lnTo>
                      <a:pt x="886" y="652"/>
                    </a:lnTo>
                    <a:lnTo>
                      <a:pt x="890" y="652"/>
                    </a:lnTo>
                    <a:lnTo>
                      <a:pt x="890" y="652"/>
                    </a:lnTo>
                    <a:lnTo>
                      <a:pt x="892" y="652"/>
                    </a:lnTo>
                    <a:lnTo>
                      <a:pt x="894" y="648"/>
                    </a:lnTo>
                    <a:lnTo>
                      <a:pt x="894" y="648"/>
                    </a:lnTo>
                    <a:lnTo>
                      <a:pt x="896" y="648"/>
                    </a:lnTo>
                    <a:lnTo>
                      <a:pt x="896" y="646"/>
                    </a:lnTo>
                    <a:lnTo>
                      <a:pt x="896" y="646"/>
                    </a:lnTo>
                    <a:lnTo>
                      <a:pt x="898" y="644"/>
                    </a:lnTo>
                    <a:lnTo>
                      <a:pt x="898" y="640"/>
                    </a:lnTo>
                    <a:lnTo>
                      <a:pt x="898" y="640"/>
                    </a:lnTo>
                    <a:lnTo>
                      <a:pt x="898" y="640"/>
                    </a:lnTo>
                    <a:lnTo>
                      <a:pt x="898" y="636"/>
                    </a:lnTo>
                    <a:lnTo>
                      <a:pt x="898" y="636"/>
                    </a:lnTo>
                    <a:lnTo>
                      <a:pt x="898" y="636"/>
                    </a:lnTo>
                    <a:lnTo>
                      <a:pt x="896" y="632"/>
                    </a:lnTo>
                    <a:lnTo>
                      <a:pt x="896" y="632"/>
                    </a:lnTo>
                    <a:lnTo>
                      <a:pt x="896" y="632"/>
                    </a:lnTo>
                    <a:lnTo>
                      <a:pt x="894" y="628"/>
                    </a:lnTo>
                    <a:lnTo>
                      <a:pt x="894" y="628"/>
                    </a:lnTo>
                    <a:lnTo>
                      <a:pt x="894" y="628"/>
                    </a:lnTo>
                    <a:lnTo>
                      <a:pt x="892" y="624"/>
                    </a:lnTo>
                    <a:lnTo>
                      <a:pt x="892" y="624"/>
                    </a:lnTo>
                    <a:lnTo>
                      <a:pt x="890" y="622"/>
                    </a:lnTo>
                    <a:lnTo>
                      <a:pt x="890" y="622"/>
                    </a:lnTo>
                    <a:lnTo>
                      <a:pt x="888" y="622"/>
                    </a:lnTo>
                    <a:lnTo>
                      <a:pt x="884" y="626"/>
                    </a:lnTo>
                    <a:close/>
                    <a:moveTo>
                      <a:pt x="892" y="732"/>
                    </a:moveTo>
                    <a:lnTo>
                      <a:pt x="892" y="734"/>
                    </a:lnTo>
                    <a:lnTo>
                      <a:pt x="892" y="736"/>
                    </a:lnTo>
                    <a:lnTo>
                      <a:pt x="892" y="738"/>
                    </a:lnTo>
                    <a:lnTo>
                      <a:pt x="892" y="738"/>
                    </a:lnTo>
                    <a:lnTo>
                      <a:pt x="894" y="740"/>
                    </a:lnTo>
                    <a:lnTo>
                      <a:pt x="898" y="742"/>
                    </a:lnTo>
                    <a:lnTo>
                      <a:pt x="902" y="744"/>
                    </a:lnTo>
                    <a:lnTo>
                      <a:pt x="904" y="744"/>
                    </a:lnTo>
                    <a:lnTo>
                      <a:pt x="904" y="744"/>
                    </a:lnTo>
                    <a:lnTo>
                      <a:pt x="906" y="744"/>
                    </a:lnTo>
                    <a:lnTo>
                      <a:pt x="908" y="746"/>
                    </a:lnTo>
                    <a:lnTo>
                      <a:pt x="908" y="746"/>
                    </a:lnTo>
                    <a:lnTo>
                      <a:pt x="908" y="744"/>
                    </a:lnTo>
                    <a:lnTo>
                      <a:pt x="910" y="744"/>
                    </a:lnTo>
                    <a:lnTo>
                      <a:pt x="910" y="744"/>
                    </a:lnTo>
                    <a:lnTo>
                      <a:pt x="912" y="742"/>
                    </a:lnTo>
                    <a:lnTo>
                      <a:pt x="912" y="740"/>
                    </a:lnTo>
                    <a:lnTo>
                      <a:pt x="912" y="740"/>
                    </a:lnTo>
                    <a:lnTo>
                      <a:pt x="912" y="740"/>
                    </a:lnTo>
                    <a:lnTo>
                      <a:pt x="914" y="736"/>
                    </a:lnTo>
                    <a:lnTo>
                      <a:pt x="914" y="734"/>
                    </a:lnTo>
                    <a:lnTo>
                      <a:pt x="914" y="732"/>
                    </a:lnTo>
                    <a:lnTo>
                      <a:pt x="916" y="732"/>
                    </a:lnTo>
                    <a:lnTo>
                      <a:pt x="918" y="730"/>
                    </a:lnTo>
                    <a:lnTo>
                      <a:pt x="920" y="728"/>
                    </a:lnTo>
                    <a:lnTo>
                      <a:pt x="924" y="726"/>
                    </a:lnTo>
                    <a:lnTo>
                      <a:pt x="928" y="722"/>
                    </a:lnTo>
                    <a:lnTo>
                      <a:pt x="930" y="720"/>
                    </a:lnTo>
                    <a:lnTo>
                      <a:pt x="932" y="718"/>
                    </a:lnTo>
                    <a:lnTo>
                      <a:pt x="932" y="716"/>
                    </a:lnTo>
                    <a:lnTo>
                      <a:pt x="932" y="716"/>
                    </a:lnTo>
                    <a:lnTo>
                      <a:pt x="934" y="714"/>
                    </a:lnTo>
                    <a:lnTo>
                      <a:pt x="934" y="714"/>
                    </a:lnTo>
                    <a:lnTo>
                      <a:pt x="934" y="714"/>
                    </a:lnTo>
                    <a:lnTo>
                      <a:pt x="934" y="712"/>
                    </a:lnTo>
                    <a:lnTo>
                      <a:pt x="934" y="710"/>
                    </a:lnTo>
                    <a:lnTo>
                      <a:pt x="934" y="710"/>
                    </a:lnTo>
                    <a:lnTo>
                      <a:pt x="934" y="710"/>
                    </a:lnTo>
                    <a:lnTo>
                      <a:pt x="934" y="708"/>
                    </a:lnTo>
                    <a:lnTo>
                      <a:pt x="934" y="708"/>
                    </a:lnTo>
                    <a:lnTo>
                      <a:pt x="932" y="708"/>
                    </a:lnTo>
                    <a:lnTo>
                      <a:pt x="932" y="706"/>
                    </a:lnTo>
                    <a:lnTo>
                      <a:pt x="932" y="706"/>
                    </a:lnTo>
                    <a:lnTo>
                      <a:pt x="930" y="706"/>
                    </a:lnTo>
                    <a:lnTo>
                      <a:pt x="928" y="704"/>
                    </a:lnTo>
                    <a:lnTo>
                      <a:pt x="928" y="704"/>
                    </a:lnTo>
                    <a:lnTo>
                      <a:pt x="928" y="704"/>
                    </a:lnTo>
                    <a:lnTo>
                      <a:pt x="920" y="704"/>
                    </a:lnTo>
                    <a:lnTo>
                      <a:pt x="912" y="704"/>
                    </a:lnTo>
                    <a:lnTo>
                      <a:pt x="904" y="704"/>
                    </a:lnTo>
                    <a:lnTo>
                      <a:pt x="898" y="704"/>
                    </a:lnTo>
                    <a:lnTo>
                      <a:pt x="898" y="704"/>
                    </a:lnTo>
                    <a:lnTo>
                      <a:pt x="896" y="704"/>
                    </a:lnTo>
                    <a:lnTo>
                      <a:pt x="894" y="706"/>
                    </a:lnTo>
                    <a:lnTo>
                      <a:pt x="894" y="710"/>
                    </a:lnTo>
                    <a:lnTo>
                      <a:pt x="894" y="714"/>
                    </a:lnTo>
                    <a:lnTo>
                      <a:pt x="894" y="718"/>
                    </a:lnTo>
                    <a:lnTo>
                      <a:pt x="892" y="720"/>
                    </a:lnTo>
                    <a:lnTo>
                      <a:pt x="892" y="722"/>
                    </a:lnTo>
                    <a:lnTo>
                      <a:pt x="892" y="724"/>
                    </a:lnTo>
                    <a:lnTo>
                      <a:pt x="892" y="726"/>
                    </a:lnTo>
                    <a:lnTo>
                      <a:pt x="892" y="728"/>
                    </a:lnTo>
                    <a:lnTo>
                      <a:pt x="892" y="730"/>
                    </a:lnTo>
                    <a:lnTo>
                      <a:pt x="892" y="732"/>
                    </a:lnTo>
                    <a:close/>
                    <a:moveTo>
                      <a:pt x="1166" y="894"/>
                    </a:moveTo>
                    <a:lnTo>
                      <a:pt x="1166" y="894"/>
                    </a:lnTo>
                    <a:lnTo>
                      <a:pt x="1166" y="894"/>
                    </a:lnTo>
                    <a:lnTo>
                      <a:pt x="1164" y="894"/>
                    </a:lnTo>
                    <a:lnTo>
                      <a:pt x="1164" y="894"/>
                    </a:lnTo>
                    <a:lnTo>
                      <a:pt x="1162" y="894"/>
                    </a:lnTo>
                    <a:lnTo>
                      <a:pt x="1162" y="892"/>
                    </a:lnTo>
                    <a:lnTo>
                      <a:pt x="1162" y="892"/>
                    </a:lnTo>
                    <a:lnTo>
                      <a:pt x="1160" y="892"/>
                    </a:lnTo>
                    <a:lnTo>
                      <a:pt x="1158" y="890"/>
                    </a:lnTo>
                    <a:lnTo>
                      <a:pt x="1156" y="888"/>
                    </a:lnTo>
                    <a:lnTo>
                      <a:pt x="1154" y="886"/>
                    </a:lnTo>
                    <a:lnTo>
                      <a:pt x="1152" y="884"/>
                    </a:lnTo>
                    <a:lnTo>
                      <a:pt x="1150" y="882"/>
                    </a:lnTo>
                    <a:lnTo>
                      <a:pt x="1148" y="880"/>
                    </a:lnTo>
                    <a:lnTo>
                      <a:pt x="1144" y="876"/>
                    </a:lnTo>
                    <a:lnTo>
                      <a:pt x="1144" y="876"/>
                    </a:lnTo>
                    <a:lnTo>
                      <a:pt x="1144" y="876"/>
                    </a:lnTo>
                    <a:lnTo>
                      <a:pt x="1142" y="876"/>
                    </a:lnTo>
                    <a:lnTo>
                      <a:pt x="1142" y="876"/>
                    </a:lnTo>
                    <a:lnTo>
                      <a:pt x="1140" y="876"/>
                    </a:lnTo>
                    <a:lnTo>
                      <a:pt x="1138" y="874"/>
                    </a:lnTo>
                    <a:lnTo>
                      <a:pt x="1138" y="874"/>
                    </a:lnTo>
                    <a:lnTo>
                      <a:pt x="1138" y="874"/>
                    </a:lnTo>
                    <a:lnTo>
                      <a:pt x="1134" y="876"/>
                    </a:lnTo>
                    <a:lnTo>
                      <a:pt x="1132" y="876"/>
                    </a:lnTo>
                    <a:lnTo>
                      <a:pt x="1130" y="878"/>
                    </a:lnTo>
                    <a:lnTo>
                      <a:pt x="1128" y="878"/>
                    </a:lnTo>
                    <a:lnTo>
                      <a:pt x="1124" y="880"/>
                    </a:lnTo>
                    <a:lnTo>
                      <a:pt x="1124" y="880"/>
                    </a:lnTo>
                    <a:lnTo>
                      <a:pt x="1124" y="882"/>
                    </a:lnTo>
                    <a:lnTo>
                      <a:pt x="1124" y="882"/>
                    </a:lnTo>
                    <a:lnTo>
                      <a:pt x="1124" y="884"/>
                    </a:lnTo>
                    <a:lnTo>
                      <a:pt x="1128" y="888"/>
                    </a:lnTo>
                    <a:lnTo>
                      <a:pt x="1130" y="890"/>
                    </a:lnTo>
                    <a:lnTo>
                      <a:pt x="1136" y="894"/>
                    </a:lnTo>
                    <a:lnTo>
                      <a:pt x="1138" y="894"/>
                    </a:lnTo>
                    <a:lnTo>
                      <a:pt x="1138" y="896"/>
                    </a:lnTo>
                    <a:lnTo>
                      <a:pt x="1138" y="896"/>
                    </a:lnTo>
                    <a:lnTo>
                      <a:pt x="1138" y="896"/>
                    </a:lnTo>
                    <a:lnTo>
                      <a:pt x="1140" y="898"/>
                    </a:lnTo>
                    <a:lnTo>
                      <a:pt x="1140" y="898"/>
                    </a:lnTo>
                    <a:lnTo>
                      <a:pt x="1140" y="898"/>
                    </a:lnTo>
                    <a:lnTo>
                      <a:pt x="1142" y="900"/>
                    </a:lnTo>
                    <a:lnTo>
                      <a:pt x="1142" y="900"/>
                    </a:lnTo>
                    <a:lnTo>
                      <a:pt x="1142" y="900"/>
                    </a:lnTo>
                    <a:lnTo>
                      <a:pt x="1146" y="900"/>
                    </a:lnTo>
                    <a:lnTo>
                      <a:pt x="1148" y="900"/>
                    </a:lnTo>
                    <a:lnTo>
                      <a:pt x="1150" y="902"/>
                    </a:lnTo>
                    <a:lnTo>
                      <a:pt x="1150" y="902"/>
                    </a:lnTo>
                    <a:lnTo>
                      <a:pt x="1150" y="902"/>
                    </a:lnTo>
                    <a:lnTo>
                      <a:pt x="1158" y="902"/>
                    </a:lnTo>
                    <a:lnTo>
                      <a:pt x="1164" y="900"/>
                    </a:lnTo>
                    <a:lnTo>
                      <a:pt x="1164" y="900"/>
                    </a:lnTo>
                    <a:lnTo>
                      <a:pt x="1166" y="900"/>
                    </a:lnTo>
                    <a:lnTo>
                      <a:pt x="1166" y="898"/>
                    </a:lnTo>
                    <a:lnTo>
                      <a:pt x="1166" y="898"/>
                    </a:lnTo>
                    <a:lnTo>
                      <a:pt x="1168" y="898"/>
                    </a:lnTo>
                    <a:lnTo>
                      <a:pt x="1168" y="896"/>
                    </a:lnTo>
                    <a:lnTo>
                      <a:pt x="1166" y="896"/>
                    </a:lnTo>
                    <a:lnTo>
                      <a:pt x="1166" y="896"/>
                    </a:lnTo>
                    <a:lnTo>
                      <a:pt x="1166" y="894"/>
                    </a:lnTo>
                    <a:lnTo>
                      <a:pt x="1166" y="89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95" name="Freeform 27">
                <a:extLst>
                  <a:ext uri="{FF2B5EF4-FFF2-40B4-BE49-F238E27FC236}">
                    <a16:creationId xmlns:a16="http://schemas.microsoft.com/office/drawing/2014/main" id="{40E940F9-3275-486F-8D85-997484B1AB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63" y="1761332"/>
                <a:ext cx="2694475" cy="1976436"/>
              </a:xfrm>
              <a:custGeom>
                <a:avLst/>
                <a:gdLst>
                  <a:gd name="T0" fmla="*/ 300 w 1672"/>
                  <a:gd name="T1" fmla="*/ 1176 h 1238"/>
                  <a:gd name="T2" fmla="*/ 310 w 1672"/>
                  <a:gd name="T3" fmla="*/ 1196 h 1238"/>
                  <a:gd name="T4" fmla="*/ 356 w 1672"/>
                  <a:gd name="T5" fmla="*/ 1236 h 1238"/>
                  <a:gd name="T6" fmla="*/ 1656 w 1672"/>
                  <a:gd name="T7" fmla="*/ 728 h 1238"/>
                  <a:gd name="T8" fmla="*/ 1628 w 1672"/>
                  <a:gd name="T9" fmla="*/ 750 h 1238"/>
                  <a:gd name="T10" fmla="*/ 1532 w 1672"/>
                  <a:gd name="T11" fmla="*/ 788 h 1238"/>
                  <a:gd name="T12" fmla="*/ 1432 w 1672"/>
                  <a:gd name="T13" fmla="*/ 848 h 1238"/>
                  <a:gd name="T14" fmla="*/ 1432 w 1672"/>
                  <a:gd name="T15" fmla="*/ 796 h 1238"/>
                  <a:gd name="T16" fmla="*/ 1410 w 1672"/>
                  <a:gd name="T17" fmla="*/ 758 h 1238"/>
                  <a:gd name="T18" fmla="*/ 1366 w 1672"/>
                  <a:gd name="T19" fmla="*/ 840 h 1238"/>
                  <a:gd name="T20" fmla="*/ 1400 w 1672"/>
                  <a:gd name="T21" fmla="*/ 746 h 1238"/>
                  <a:gd name="T22" fmla="*/ 1324 w 1672"/>
                  <a:gd name="T23" fmla="*/ 722 h 1238"/>
                  <a:gd name="T24" fmla="*/ 1238 w 1672"/>
                  <a:gd name="T25" fmla="*/ 702 h 1238"/>
                  <a:gd name="T26" fmla="*/ 860 w 1672"/>
                  <a:gd name="T27" fmla="*/ 704 h 1238"/>
                  <a:gd name="T28" fmla="*/ 814 w 1672"/>
                  <a:gd name="T29" fmla="*/ 738 h 1238"/>
                  <a:gd name="T30" fmla="*/ 886 w 1672"/>
                  <a:gd name="T31" fmla="*/ 992 h 1238"/>
                  <a:gd name="T32" fmla="*/ 954 w 1672"/>
                  <a:gd name="T33" fmla="*/ 1004 h 1238"/>
                  <a:gd name="T34" fmla="*/ 1052 w 1672"/>
                  <a:gd name="T35" fmla="*/ 1034 h 1238"/>
                  <a:gd name="T36" fmla="*/ 1130 w 1672"/>
                  <a:gd name="T37" fmla="*/ 1068 h 1238"/>
                  <a:gd name="T38" fmla="*/ 1184 w 1672"/>
                  <a:gd name="T39" fmla="*/ 1116 h 1238"/>
                  <a:gd name="T40" fmla="*/ 1246 w 1672"/>
                  <a:gd name="T41" fmla="*/ 1072 h 1238"/>
                  <a:gd name="T42" fmla="*/ 1350 w 1672"/>
                  <a:gd name="T43" fmla="*/ 1056 h 1238"/>
                  <a:gd name="T44" fmla="*/ 1412 w 1672"/>
                  <a:gd name="T45" fmla="*/ 1056 h 1238"/>
                  <a:gd name="T46" fmla="*/ 1466 w 1672"/>
                  <a:gd name="T47" fmla="*/ 1138 h 1238"/>
                  <a:gd name="T48" fmla="*/ 1452 w 1672"/>
                  <a:gd name="T49" fmla="*/ 1036 h 1238"/>
                  <a:gd name="T50" fmla="*/ 1546 w 1672"/>
                  <a:gd name="T51" fmla="*/ 912 h 1238"/>
                  <a:gd name="T52" fmla="*/ 1632 w 1672"/>
                  <a:gd name="T53" fmla="*/ 848 h 1238"/>
                  <a:gd name="T54" fmla="*/ 1640 w 1672"/>
                  <a:gd name="T55" fmla="*/ 796 h 1238"/>
                  <a:gd name="T56" fmla="*/ 678 w 1672"/>
                  <a:gd name="T57" fmla="*/ 506 h 1238"/>
                  <a:gd name="T58" fmla="*/ 622 w 1672"/>
                  <a:gd name="T59" fmla="*/ 436 h 1238"/>
                  <a:gd name="T60" fmla="*/ 582 w 1672"/>
                  <a:gd name="T61" fmla="*/ 430 h 1238"/>
                  <a:gd name="T62" fmla="*/ 572 w 1672"/>
                  <a:gd name="T63" fmla="*/ 324 h 1238"/>
                  <a:gd name="T64" fmla="*/ 576 w 1672"/>
                  <a:gd name="T65" fmla="*/ 66 h 1238"/>
                  <a:gd name="T66" fmla="*/ 458 w 1672"/>
                  <a:gd name="T67" fmla="*/ 38 h 1238"/>
                  <a:gd name="T68" fmla="*/ 388 w 1672"/>
                  <a:gd name="T69" fmla="*/ 22 h 1238"/>
                  <a:gd name="T70" fmla="*/ 356 w 1672"/>
                  <a:gd name="T71" fmla="*/ 2 h 1238"/>
                  <a:gd name="T72" fmla="*/ 300 w 1672"/>
                  <a:gd name="T73" fmla="*/ 26 h 1238"/>
                  <a:gd name="T74" fmla="*/ 256 w 1672"/>
                  <a:gd name="T75" fmla="*/ 54 h 1238"/>
                  <a:gd name="T76" fmla="*/ 194 w 1672"/>
                  <a:gd name="T77" fmla="*/ 118 h 1238"/>
                  <a:gd name="T78" fmla="*/ 228 w 1672"/>
                  <a:gd name="T79" fmla="*/ 180 h 1238"/>
                  <a:gd name="T80" fmla="*/ 238 w 1672"/>
                  <a:gd name="T81" fmla="*/ 222 h 1238"/>
                  <a:gd name="T82" fmla="*/ 166 w 1672"/>
                  <a:gd name="T83" fmla="*/ 236 h 1238"/>
                  <a:gd name="T84" fmla="*/ 204 w 1672"/>
                  <a:gd name="T85" fmla="*/ 276 h 1238"/>
                  <a:gd name="T86" fmla="*/ 274 w 1672"/>
                  <a:gd name="T87" fmla="*/ 306 h 1238"/>
                  <a:gd name="T88" fmla="*/ 206 w 1672"/>
                  <a:gd name="T89" fmla="*/ 378 h 1238"/>
                  <a:gd name="T90" fmla="*/ 210 w 1672"/>
                  <a:gd name="T91" fmla="*/ 406 h 1238"/>
                  <a:gd name="T92" fmla="*/ 252 w 1672"/>
                  <a:gd name="T93" fmla="*/ 448 h 1238"/>
                  <a:gd name="T94" fmla="*/ 304 w 1672"/>
                  <a:gd name="T95" fmla="*/ 464 h 1238"/>
                  <a:gd name="T96" fmla="*/ 274 w 1672"/>
                  <a:gd name="T97" fmla="*/ 516 h 1238"/>
                  <a:gd name="T98" fmla="*/ 160 w 1672"/>
                  <a:gd name="T99" fmla="*/ 580 h 1238"/>
                  <a:gd name="T100" fmla="*/ 28 w 1672"/>
                  <a:gd name="T101" fmla="*/ 616 h 1238"/>
                  <a:gd name="T102" fmla="*/ 116 w 1672"/>
                  <a:gd name="T103" fmla="*/ 614 h 1238"/>
                  <a:gd name="T104" fmla="*/ 196 w 1672"/>
                  <a:gd name="T105" fmla="*/ 594 h 1238"/>
                  <a:gd name="T106" fmla="*/ 386 w 1672"/>
                  <a:gd name="T107" fmla="*/ 442 h 1238"/>
                  <a:gd name="T108" fmla="*/ 382 w 1672"/>
                  <a:gd name="T109" fmla="*/ 474 h 1238"/>
                  <a:gd name="T110" fmla="*/ 488 w 1672"/>
                  <a:gd name="T111" fmla="*/ 414 h 1238"/>
                  <a:gd name="T112" fmla="*/ 538 w 1672"/>
                  <a:gd name="T113" fmla="*/ 418 h 1238"/>
                  <a:gd name="T114" fmla="*/ 598 w 1672"/>
                  <a:gd name="T115" fmla="*/ 466 h 1238"/>
                  <a:gd name="T116" fmla="*/ 624 w 1672"/>
                  <a:gd name="T117" fmla="*/ 510 h 1238"/>
                  <a:gd name="T118" fmla="*/ 634 w 1672"/>
                  <a:gd name="T119" fmla="*/ 482 h 1238"/>
                  <a:gd name="T120" fmla="*/ 642 w 1672"/>
                  <a:gd name="T121" fmla="*/ 510 h 1238"/>
                  <a:gd name="T122" fmla="*/ 648 w 1672"/>
                  <a:gd name="T123" fmla="*/ 548 h 1238"/>
                  <a:gd name="T124" fmla="*/ 688 w 1672"/>
                  <a:gd name="T125" fmla="*/ 520 h 1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2" h="1238">
                    <a:moveTo>
                      <a:pt x="370" y="1220"/>
                    </a:moveTo>
                    <a:lnTo>
                      <a:pt x="366" y="1216"/>
                    </a:lnTo>
                    <a:lnTo>
                      <a:pt x="364" y="1212"/>
                    </a:lnTo>
                    <a:lnTo>
                      <a:pt x="362" y="1210"/>
                    </a:lnTo>
                    <a:lnTo>
                      <a:pt x="360" y="1208"/>
                    </a:lnTo>
                    <a:lnTo>
                      <a:pt x="358" y="1204"/>
                    </a:lnTo>
                    <a:lnTo>
                      <a:pt x="356" y="1200"/>
                    </a:lnTo>
                    <a:lnTo>
                      <a:pt x="354" y="1194"/>
                    </a:lnTo>
                    <a:lnTo>
                      <a:pt x="354" y="1194"/>
                    </a:lnTo>
                    <a:lnTo>
                      <a:pt x="352" y="1192"/>
                    </a:lnTo>
                    <a:lnTo>
                      <a:pt x="348" y="1190"/>
                    </a:lnTo>
                    <a:lnTo>
                      <a:pt x="342" y="1188"/>
                    </a:lnTo>
                    <a:lnTo>
                      <a:pt x="338" y="1186"/>
                    </a:lnTo>
                    <a:lnTo>
                      <a:pt x="332" y="1186"/>
                    </a:lnTo>
                    <a:lnTo>
                      <a:pt x="328" y="1186"/>
                    </a:lnTo>
                    <a:lnTo>
                      <a:pt x="322" y="1186"/>
                    </a:lnTo>
                    <a:lnTo>
                      <a:pt x="316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2"/>
                    </a:lnTo>
                    <a:lnTo>
                      <a:pt x="308" y="1182"/>
                    </a:lnTo>
                    <a:lnTo>
                      <a:pt x="308" y="1182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6" y="1178"/>
                    </a:lnTo>
                    <a:lnTo>
                      <a:pt x="306" y="1178"/>
                    </a:lnTo>
                    <a:lnTo>
                      <a:pt x="306" y="1178"/>
                    </a:lnTo>
                    <a:lnTo>
                      <a:pt x="304" y="1178"/>
                    </a:lnTo>
                    <a:lnTo>
                      <a:pt x="304" y="1178"/>
                    </a:lnTo>
                    <a:lnTo>
                      <a:pt x="304" y="1176"/>
                    </a:lnTo>
                    <a:lnTo>
                      <a:pt x="300" y="1176"/>
                    </a:lnTo>
                    <a:lnTo>
                      <a:pt x="300" y="1176"/>
                    </a:lnTo>
                    <a:lnTo>
                      <a:pt x="298" y="1176"/>
                    </a:lnTo>
                    <a:lnTo>
                      <a:pt x="294" y="1176"/>
                    </a:lnTo>
                    <a:lnTo>
                      <a:pt x="294" y="1176"/>
                    </a:lnTo>
                    <a:lnTo>
                      <a:pt x="292" y="1176"/>
                    </a:lnTo>
                    <a:lnTo>
                      <a:pt x="290" y="1178"/>
                    </a:lnTo>
                    <a:lnTo>
                      <a:pt x="286" y="1180"/>
                    </a:lnTo>
                    <a:lnTo>
                      <a:pt x="284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78" y="1182"/>
                    </a:lnTo>
                    <a:lnTo>
                      <a:pt x="278" y="1182"/>
                    </a:lnTo>
                    <a:lnTo>
                      <a:pt x="278" y="1182"/>
                    </a:lnTo>
                    <a:lnTo>
                      <a:pt x="278" y="1184"/>
                    </a:lnTo>
                    <a:lnTo>
                      <a:pt x="278" y="1184"/>
                    </a:lnTo>
                    <a:lnTo>
                      <a:pt x="278" y="1184"/>
                    </a:lnTo>
                    <a:lnTo>
                      <a:pt x="278" y="1186"/>
                    </a:lnTo>
                    <a:lnTo>
                      <a:pt x="276" y="1188"/>
                    </a:lnTo>
                    <a:lnTo>
                      <a:pt x="276" y="1188"/>
                    </a:lnTo>
                    <a:lnTo>
                      <a:pt x="278" y="1192"/>
                    </a:lnTo>
                    <a:lnTo>
                      <a:pt x="278" y="1192"/>
                    </a:lnTo>
                    <a:lnTo>
                      <a:pt x="280" y="1192"/>
                    </a:lnTo>
                    <a:lnTo>
                      <a:pt x="286" y="1192"/>
                    </a:lnTo>
                    <a:lnTo>
                      <a:pt x="292" y="1192"/>
                    </a:lnTo>
                    <a:lnTo>
                      <a:pt x="298" y="1192"/>
                    </a:lnTo>
                    <a:lnTo>
                      <a:pt x="304" y="1190"/>
                    </a:lnTo>
                    <a:lnTo>
                      <a:pt x="304" y="1190"/>
                    </a:lnTo>
                    <a:lnTo>
                      <a:pt x="304" y="1190"/>
                    </a:lnTo>
                    <a:lnTo>
                      <a:pt x="306" y="1190"/>
                    </a:lnTo>
                    <a:lnTo>
                      <a:pt x="306" y="1190"/>
                    </a:lnTo>
                    <a:lnTo>
                      <a:pt x="308" y="1190"/>
                    </a:lnTo>
                    <a:lnTo>
                      <a:pt x="308" y="1188"/>
                    </a:lnTo>
                    <a:lnTo>
                      <a:pt x="308" y="1192"/>
                    </a:lnTo>
                    <a:lnTo>
                      <a:pt x="310" y="1194"/>
                    </a:lnTo>
                    <a:lnTo>
                      <a:pt x="310" y="1196"/>
                    </a:lnTo>
                    <a:lnTo>
                      <a:pt x="310" y="1196"/>
                    </a:lnTo>
                    <a:lnTo>
                      <a:pt x="310" y="1196"/>
                    </a:lnTo>
                    <a:lnTo>
                      <a:pt x="312" y="1198"/>
                    </a:lnTo>
                    <a:lnTo>
                      <a:pt x="312" y="1198"/>
                    </a:lnTo>
                    <a:lnTo>
                      <a:pt x="312" y="1198"/>
                    </a:lnTo>
                    <a:lnTo>
                      <a:pt x="314" y="1200"/>
                    </a:lnTo>
                    <a:lnTo>
                      <a:pt x="314" y="1200"/>
                    </a:lnTo>
                    <a:lnTo>
                      <a:pt x="314" y="1200"/>
                    </a:lnTo>
                    <a:lnTo>
                      <a:pt x="316" y="1202"/>
                    </a:lnTo>
                    <a:lnTo>
                      <a:pt x="318" y="1202"/>
                    </a:lnTo>
                    <a:lnTo>
                      <a:pt x="322" y="1204"/>
                    </a:lnTo>
                    <a:lnTo>
                      <a:pt x="322" y="1204"/>
                    </a:lnTo>
                    <a:lnTo>
                      <a:pt x="322" y="1204"/>
                    </a:lnTo>
                    <a:lnTo>
                      <a:pt x="324" y="1204"/>
                    </a:lnTo>
                    <a:lnTo>
                      <a:pt x="326" y="1206"/>
                    </a:lnTo>
                    <a:lnTo>
                      <a:pt x="330" y="1206"/>
                    </a:lnTo>
                    <a:lnTo>
                      <a:pt x="332" y="1208"/>
                    </a:lnTo>
                    <a:lnTo>
                      <a:pt x="334" y="1208"/>
                    </a:lnTo>
                    <a:lnTo>
                      <a:pt x="336" y="1210"/>
                    </a:lnTo>
                    <a:lnTo>
                      <a:pt x="336" y="1210"/>
                    </a:lnTo>
                    <a:lnTo>
                      <a:pt x="336" y="1212"/>
                    </a:lnTo>
                    <a:lnTo>
                      <a:pt x="338" y="1212"/>
                    </a:lnTo>
                    <a:lnTo>
                      <a:pt x="340" y="1214"/>
                    </a:lnTo>
                    <a:lnTo>
                      <a:pt x="342" y="1214"/>
                    </a:lnTo>
                    <a:lnTo>
                      <a:pt x="342" y="1216"/>
                    </a:lnTo>
                    <a:lnTo>
                      <a:pt x="344" y="1218"/>
                    </a:lnTo>
                    <a:lnTo>
                      <a:pt x="344" y="1222"/>
                    </a:lnTo>
                    <a:lnTo>
                      <a:pt x="344" y="1226"/>
                    </a:lnTo>
                    <a:lnTo>
                      <a:pt x="346" y="1230"/>
                    </a:lnTo>
                    <a:lnTo>
                      <a:pt x="346" y="1232"/>
                    </a:lnTo>
                    <a:lnTo>
                      <a:pt x="346" y="1232"/>
                    </a:lnTo>
                    <a:lnTo>
                      <a:pt x="348" y="1234"/>
                    </a:lnTo>
                    <a:lnTo>
                      <a:pt x="350" y="1236"/>
                    </a:lnTo>
                    <a:lnTo>
                      <a:pt x="350" y="1236"/>
                    </a:lnTo>
                    <a:lnTo>
                      <a:pt x="352" y="1238"/>
                    </a:lnTo>
                    <a:lnTo>
                      <a:pt x="352" y="1238"/>
                    </a:lnTo>
                    <a:lnTo>
                      <a:pt x="354" y="1238"/>
                    </a:lnTo>
                    <a:lnTo>
                      <a:pt x="356" y="1236"/>
                    </a:lnTo>
                    <a:lnTo>
                      <a:pt x="358" y="1234"/>
                    </a:lnTo>
                    <a:lnTo>
                      <a:pt x="362" y="1232"/>
                    </a:lnTo>
                    <a:lnTo>
                      <a:pt x="362" y="1232"/>
                    </a:lnTo>
                    <a:lnTo>
                      <a:pt x="364" y="1230"/>
                    </a:lnTo>
                    <a:lnTo>
                      <a:pt x="366" y="1230"/>
                    </a:lnTo>
                    <a:lnTo>
                      <a:pt x="368" y="1230"/>
                    </a:lnTo>
                    <a:lnTo>
                      <a:pt x="372" y="1228"/>
                    </a:lnTo>
                    <a:lnTo>
                      <a:pt x="372" y="1228"/>
                    </a:lnTo>
                    <a:lnTo>
                      <a:pt x="374" y="1226"/>
                    </a:lnTo>
                    <a:lnTo>
                      <a:pt x="374" y="1226"/>
                    </a:lnTo>
                    <a:lnTo>
                      <a:pt x="374" y="1224"/>
                    </a:lnTo>
                    <a:lnTo>
                      <a:pt x="370" y="1220"/>
                    </a:lnTo>
                    <a:close/>
                    <a:moveTo>
                      <a:pt x="1672" y="778"/>
                    </a:moveTo>
                    <a:lnTo>
                      <a:pt x="1672" y="778"/>
                    </a:lnTo>
                    <a:lnTo>
                      <a:pt x="1672" y="776"/>
                    </a:lnTo>
                    <a:lnTo>
                      <a:pt x="1670" y="774"/>
                    </a:lnTo>
                    <a:lnTo>
                      <a:pt x="1670" y="774"/>
                    </a:lnTo>
                    <a:lnTo>
                      <a:pt x="1670" y="774"/>
                    </a:lnTo>
                    <a:lnTo>
                      <a:pt x="1668" y="774"/>
                    </a:lnTo>
                    <a:lnTo>
                      <a:pt x="1666" y="772"/>
                    </a:lnTo>
                    <a:lnTo>
                      <a:pt x="1662" y="770"/>
                    </a:lnTo>
                    <a:lnTo>
                      <a:pt x="1662" y="768"/>
                    </a:lnTo>
                    <a:lnTo>
                      <a:pt x="1660" y="766"/>
                    </a:lnTo>
                    <a:lnTo>
                      <a:pt x="1660" y="764"/>
                    </a:lnTo>
                    <a:lnTo>
                      <a:pt x="1660" y="762"/>
                    </a:lnTo>
                    <a:lnTo>
                      <a:pt x="1660" y="754"/>
                    </a:lnTo>
                    <a:lnTo>
                      <a:pt x="1660" y="748"/>
                    </a:lnTo>
                    <a:lnTo>
                      <a:pt x="1660" y="744"/>
                    </a:lnTo>
                    <a:lnTo>
                      <a:pt x="1660" y="742"/>
                    </a:lnTo>
                    <a:lnTo>
                      <a:pt x="1660" y="738"/>
                    </a:lnTo>
                    <a:lnTo>
                      <a:pt x="1658" y="732"/>
                    </a:lnTo>
                    <a:lnTo>
                      <a:pt x="1658" y="730"/>
                    </a:lnTo>
                    <a:lnTo>
                      <a:pt x="1658" y="730"/>
                    </a:lnTo>
                    <a:lnTo>
                      <a:pt x="1658" y="730"/>
                    </a:lnTo>
                    <a:lnTo>
                      <a:pt x="1658" y="728"/>
                    </a:lnTo>
                    <a:lnTo>
                      <a:pt x="1656" y="728"/>
                    </a:lnTo>
                    <a:lnTo>
                      <a:pt x="1656" y="728"/>
                    </a:lnTo>
                    <a:lnTo>
                      <a:pt x="1656" y="726"/>
                    </a:lnTo>
                    <a:lnTo>
                      <a:pt x="1656" y="726"/>
                    </a:lnTo>
                    <a:lnTo>
                      <a:pt x="1656" y="726"/>
                    </a:lnTo>
                    <a:lnTo>
                      <a:pt x="1654" y="726"/>
                    </a:lnTo>
                    <a:lnTo>
                      <a:pt x="1652" y="726"/>
                    </a:lnTo>
                    <a:lnTo>
                      <a:pt x="1652" y="726"/>
                    </a:lnTo>
                    <a:lnTo>
                      <a:pt x="1652" y="726"/>
                    </a:lnTo>
                    <a:lnTo>
                      <a:pt x="1650" y="726"/>
                    </a:lnTo>
                    <a:lnTo>
                      <a:pt x="1650" y="726"/>
                    </a:lnTo>
                    <a:lnTo>
                      <a:pt x="1650" y="726"/>
                    </a:lnTo>
                    <a:lnTo>
                      <a:pt x="1648" y="728"/>
                    </a:lnTo>
                    <a:lnTo>
                      <a:pt x="1646" y="728"/>
                    </a:lnTo>
                    <a:lnTo>
                      <a:pt x="1644" y="730"/>
                    </a:lnTo>
                    <a:lnTo>
                      <a:pt x="1642" y="732"/>
                    </a:lnTo>
                    <a:lnTo>
                      <a:pt x="1642" y="732"/>
                    </a:lnTo>
                    <a:lnTo>
                      <a:pt x="1642" y="732"/>
                    </a:lnTo>
                    <a:lnTo>
                      <a:pt x="1640" y="730"/>
                    </a:lnTo>
                    <a:lnTo>
                      <a:pt x="1638" y="730"/>
                    </a:lnTo>
                    <a:lnTo>
                      <a:pt x="1636" y="728"/>
                    </a:lnTo>
                    <a:lnTo>
                      <a:pt x="1634" y="728"/>
                    </a:lnTo>
                    <a:lnTo>
                      <a:pt x="1634" y="728"/>
                    </a:lnTo>
                    <a:lnTo>
                      <a:pt x="1634" y="728"/>
                    </a:lnTo>
                    <a:lnTo>
                      <a:pt x="1632" y="728"/>
                    </a:lnTo>
                    <a:lnTo>
                      <a:pt x="1632" y="728"/>
                    </a:lnTo>
                    <a:lnTo>
                      <a:pt x="1630" y="728"/>
                    </a:lnTo>
                    <a:lnTo>
                      <a:pt x="1630" y="730"/>
                    </a:lnTo>
                    <a:lnTo>
                      <a:pt x="1630" y="730"/>
                    </a:lnTo>
                    <a:lnTo>
                      <a:pt x="1628" y="730"/>
                    </a:lnTo>
                    <a:lnTo>
                      <a:pt x="1628" y="732"/>
                    </a:lnTo>
                    <a:lnTo>
                      <a:pt x="1628" y="732"/>
                    </a:lnTo>
                    <a:lnTo>
                      <a:pt x="1628" y="732"/>
                    </a:lnTo>
                    <a:lnTo>
                      <a:pt x="1628" y="734"/>
                    </a:lnTo>
                    <a:lnTo>
                      <a:pt x="1628" y="738"/>
                    </a:lnTo>
                    <a:lnTo>
                      <a:pt x="1628" y="740"/>
                    </a:lnTo>
                    <a:lnTo>
                      <a:pt x="1628" y="746"/>
                    </a:lnTo>
                    <a:lnTo>
                      <a:pt x="1628" y="748"/>
                    </a:lnTo>
                    <a:lnTo>
                      <a:pt x="1628" y="750"/>
                    </a:lnTo>
                    <a:lnTo>
                      <a:pt x="1626" y="752"/>
                    </a:lnTo>
                    <a:lnTo>
                      <a:pt x="1626" y="752"/>
                    </a:lnTo>
                    <a:lnTo>
                      <a:pt x="1622" y="756"/>
                    </a:lnTo>
                    <a:lnTo>
                      <a:pt x="1618" y="758"/>
                    </a:lnTo>
                    <a:lnTo>
                      <a:pt x="1616" y="760"/>
                    </a:lnTo>
                    <a:lnTo>
                      <a:pt x="1614" y="762"/>
                    </a:lnTo>
                    <a:lnTo>
                      <a:pt x="1614" y="762"/>
                    </a:lnTo>
                    <a:lnTo>
                      <a:pt x="1614" y="762"/>
                    </a:lnTo>
                    <a:lnTo>
                      <a:pt x="1612" y="766"/>
                    </a:lnTo>
                    <a:lnTo>
                      <a:pt x="1608" y="772"/>
                    </a:lnTo>
                    <a:lnTo>
                      <a:pt x="1606" y="776"/>
                    </a:lnTo>
                    <a:lnTo>
                      <a:pt x="1606" y="776"/>
                    </a:lnTo>
                    <a:lnTo>
                      <a:pt x="1604" y="778"/>
                    </a:lnTo>
                    <a:lnTo>
                      <a:pt x="1602" y="778"/>
                    </a:lnTo>
                    <a:lnTo>
                      <a:pt x="1600" y="780"/>
                    </a:lnTo>
                    <a:lnTo>
                      <a:pt x="1596" y="780"/>
                    </a:lnTo>
                    <a:lnTo>
                      <a:pt x="1592" y="780"/>
                    </a:lnTo>
                    <a:lnTo>
                      <a:pt x="1584" y="780"/>
                    </a:lnTo>
                    <a:lnTo>
                      <a:pt x="1580" y="780"/>
                    </a:lnTo>
                    <a:lnTo>
                      <a:pt x="1578" y="780"/>
                    </a:lnTo>
                    <a:lnTo>
                      <a:pt x="1570" y="778"/>
                    </a:lnTo>
                    <a:lnTo>
                      <a:pt x="1564" y="778"/>
                    </a:lnTo>
                    <a:lnTo>
                      <a:pt x="1558" y="778"/>
                    </a:lnTo>
                    <a:lnTo>
                      <a:pt x="1554" y="778"/>
                    </a:lnTo>
                    <a:lnTo>
                      <a:pt x="1550" y="778"/>
                    </a:lnTo>
                    <a:lnTo>
                      <a:pt x="1548" y="778"/>
                    </a:lnTo>
                    <a:lnTo>
                      <a:pt x="1546" y="778"/>
                    </a:lnTo>
                    <a:lnTo>
                      <a:pt x="1542" y="780"/>
                    </a:lnTo>
                    <a:lnTo>
                      <a:pt x="1542" y="780"/>
                    </a:lnTo>
                    <a:lnTo>
                      <a:pt x="1542" y="780"/>
                    </a:lnTo>
                    <a:lnTo>
                      <a:pt x="1538" y="782"/>
                    </a:lnTo>
                    <a:lnTo>
                      <a:pt x="1538" y="784"/>
                    </a:lnTo>
                    <a:lnTo>
                      <a:pt x="1536" y="786"/>
                    </a:lnTo>
                    <a:lnTo>
                      <a:pt x="1534" y="786"/>
                    </a:lnTo>
                    <a:lnTo>
                      <a:pt x="1534" y="788"/>
                    </a:lnTo>
                    <a:lnTo>
                      <a:pt x="1534" y="788"/>
                    </a:lnTo>
                    <a:lnTo>
                      <a:pt x="1532" y="788"/>
                    </a:lnTo>
                    <a:lnTo>
                      <a:pt x="1532" y="792"/>
                    </a:lnTo>
                    <a:lnTo>
                      <a:pt x="1530" y="794"/>
                    </a:lnTo>
                    <a:lnTo>
                      <a:pt x="1528" y="798"/>
                    </a:lnTo>
                    <a:lnTo>
                      <a:pt x="1526" y="802"/>
                    </a:lnTo>
                    <a:lnTo>
                      <a:pt x="1526" y="804"/>
                    </a:lnTo>
                    <a:lnTo>
                      <a:pt x="1524" y="808"/>
                    </a:lnTo>
                    <a:lnTo>
                      <a:pt x="1522" y="808"/>
                    </a:lnTo>
                    <a:lnTo>
                      <a:pt x="1518" y="810"/>
                    </a:lnTo>
                    <a:lnTo>
                      <a:pt x="1516" y="812"/>
                    </a:lnTo>
                    <a:lnTo>
                      <a:pt x="1508" y="812"/>
                    </a:lnTo>
                    <a:lnTo>
                      <a:pt x="1506" y="812"/>
                    </a:lnTo>
                    <a:lnTo>
                      <a:pt x="1502" y="814"/>
                    </a:lnTo>
                    <a:lnTo>
                      <a:pt x="1498" y="814"/>
                    </a:lnTo>
                    <a:lnTo>
                      <a:pt x="1496" y="814"/>
                    </a:lnTo>
                    <a:lnTo>
                      <a:pt x="1496" y="814"/>
                    </a:lnTo>
                    <a:lnTo>
                      <a:pt x="1496" y="814"/>
                    </a:lnTo>
                    <a:lnTo>
                      <a:pt x="1494" y="816"/>
                    </a:lnTo>
                    <a:lnTo>
                      <a:pt x="1492" y="816"/>
                    </a:lnTo>
                    <a:lnTo>
                      <a:pt x="1492" y="816"/>
                    </a:lnTo>
                    <a:lnTo>
                      <a:pt x="1490" y="816"/>
                    </a:lnTo>
                    <a:lnTo>
                      <a:pt x="1488" y="818"/>
                    </a:lnTo>
                    <a:lnTo>
                      <a:pt x="1488" y="820"/>
                    </a:lnTo>
                    <a:lnTo>
                      <a:pt x="1486" y="820"/>
                    </a:lnTo>
                    <a:lnTo>
                      <a:pt x="1484" y="822"/>
                    </a:lnTo>
                    <a:lnTo>
                      <a:pt x="1482" y="824"/>
                    </a:lnTo>
                    <a:lnTo>
                      <a:pt x="1480" y="826"/>
                    </a:lnTo>
                    <a:lnTo>
                      <a:pt x="1476" y="828"/>
                    </a:lnTo>
                    <a:lnTo>
                      <a:pt x="1468" y="836"/>
                    </a:lnTo>
                    <a:lnTo>
                      <a:pt x="1464" y="838"/>
                    </a:lnTo>
                    <a:lnTo>
                      <a:pt x="1460" y="842"/>
                    </a:lnTo>
                    <a:lnTo>
                      <a:pt x="1456" y="844"/>
                    </a:lnTo>
                    <a:lnTo>
                      <a:pt x="1452" y="846"/>
                    </a:lnTo>
                    <a:lnTo>
                      <a:pt x="1450" y="846"/>
                    </a:lnTo>
                    <a:lnTo>
                      <a:pt x="1444" y="848"/>
                    </a:lnTo>
                    <a:lnTo>
                      <a:pt x="1440" y="848"/>
                    </a:lnTo>
                    <a:lnTo>
                      <a:pt x="1436" y="848"/>
                    </a:lnTo>
                    <a:lnTo>
                      <a:pt x="1432" y="848"/>
                    </a:lnTo>
                    <a:lnTo>
                      <a:pt x="1428" y="848"/>
                    </a:lnTo>
                    <a:lnTo>
                      <a:pt x="1426" y="848"/>
                    </a:lnTo>
                    <a:lnTo>
                      <a:pt x="1426" y="846"/>
                    </a:lnTo>
                    <a:lnTo>
                      <a:pt x="1426" y="846"/>
                    </a:lnTo>
                    <a:lnTo>
                      <a:pt x="1426" y="846"/>
                    </a:lnTo>
                    <a:lnTo>
                      <a:pt x="1426" y="844"/>
                    </a:lnTo>
                    <a:lnTo>
                      <a:pt x="1426" y="844"/>
                    </a:lnTo>
                    <a:lnTo>
                      <a:pt x="1428" y="840"/>
                    </a:lnTo>
                    <a:lnTo>
                      <a:pt x="1430" y="836"/>
                    </a:lnTo>
                    <a:lnTo>
                      <a:pt x="1434" y="830"/>
                    </a:lnTo>
                    <a:lnTo>
                      <a:pt x="1436" y="826"/>
                    </a:lnTo>
                    <a:lnTo>
                      <a:pt x="1438" y="822"/>
                    </a:lnTo>
                    <a:lnTo>
                      <a:pt x="1440" y="818"/>
                    </a:lnTo>
                    <a:lnTo>
                      <a:pt x="1440" y="818"/>
                    </a:lnTo>
                    <a:lnTo>
                      <a:pt x="1440" y="818"/>
                    </a:lnTo>
                    <a:lnTo>
                      <a:pt x="1442" y="812"/>
                    </a:lnTo>
                    <a:lnTo>
                      <a:pt x="1442" y="812"/>
                    </a:lnTo>
                    <a:lnTo>
                      <a:pt x="1442" y="806"/>
                    </a:lnTo>
                    <a:lnTo>
                      <a:pt x="1442" y="806"/>
                    </a:lnTo>
                    <a:lnTo>
                      <a:pt x="1442" y="806"/>
                    </a:lnTo>
                    <a:lnTo>
                      <a:pt x="1440" y="802"/>
                    </a:lnTo>
                    <a:lnTo>
                      <a:pt x="1440" y="802"/>
                    </a:lnTo>
                    <a:lnTo>
                      <a:pt x="1440" y="802"/>
                    </a:lnTo>
                    <a:lnTo>
                      <a:pt x="1440" y="800"/>
                    </a:lnTo>
                    <a:lnTo>
                      <a:pt x="1440" y="800"/>
                    </a:lnTo>
                    <a:lnTo>
                      <a:pt x="1440" y="800"/>
                    </a:lnTo>
                    <a:lnTo>
                      <a:pt x="1438" y="798"/>
                    </a:lnTo>
                    <a:lnTo>
                      <a:pt x="1438" y="798"/>
                    </a:lnTo>
                    <a:lnTo>
                      <a:pt x="1438" y="798"/>
                    </a:lnTo>
                    <a:lnTo>
                      <a:pt x="1436" y="796"/>
                    </a:lnTo>
                    <a:lnTo>
                      <a:pt x="1436" y="796"/>
                    </a:lnTo>
                    <a:lnTo>
                      <a:pt x="1436" y="796"/>
                    </a:lnTo>
                    <a:lnTo>
                      <a:pt x="1434" y="796"/>
                    </a:lnTo>
                    <a:lnTo>
                      <a:pt x="1434" y="796"/>
                    </a:lnTo>
                    <a:lnTo>
                      <a:pt x="1434" y="796"/>
                    </a:lnTo>
                    <a:lnTo>
                      <a:pt x="1432" y="796"/>
                    </a:lnTo>
                    <a:lnTo>
                      <a:pt x="1432" y="796"/>
                    </a:lnTo>
                    <a:lnTo>
                      <a:pt x="1432" y="798"/>
                    </a:lnTo>
                    <a:lnTo>
                      <a:pt x="1428" y="798"/>
                    </a:lnTo>
                    <a:lnTo>
                      <a:pt x="1424" y="802"/>
                    </a:lnTo>
                    <a:lnTo>
                      <a:pt x="1422" y="804"/>
                    </a:lnTo>
                    <a:lnTo>
                      <a:pt x="1418" y="806"/>
                    </a:lnTo>
                    <a:lnTo>
                      <a:pt x="1416" y="808"/>
                    </a:lnTo>
                    <a:lnTo>
                      <a:pt x="1418" y="804"/>
                    </a:lnTo>
                    <a:lnTo>
                      <a:pt x="1420" y="800"/>
                    </a:lnTo>
                    <a:lnTo>
                      <a:pt x="1422" y="796"/>
                    </a:lnTo>
                    <a:lnTo>
                      <a:pt x="1424" y="792"/>
                    </a:lnTo>
                    <a:lnTo>
                      <a:pt x="1424" y="786"/>
                    </a:lnTo>
                    <a:lnTo>
                      <a:pt x="1426" y="782"/>
                    </a:lnTo>
                    <a:lnTo>
                      <a:pt x="1426" y="782"/>
                    </a:lnTo>
                    <a:lnTo>
                      <a:pt x="1426" y="782"/>
                    </a:lnTo>
                    <a:lnTo>
                      <a:pt x="1426" y="780"/>
                    </a:lnTo>
                    <a:lnTo>
                      <a:pt x="1426" y="776"/>
                    </a:lnTo>
                    <a:lnTo>
                      <a:pt x="1426" y="776"/>
                    </a:lnTo>
                    <a:lnTo>
                      <a:pt x="1426" y="776"/>
                    </a:lnTo>
                    <a:lnTo>
                      <a:pt x="1424" y="770"/>
                    </a:lnTo>
                    <a:lnTo>
                      <a:pt x="1424" y="770"/>
                    </a:lnTo>
                    <a:lnTo>
                      <a:pt x="1424" y="770"/>
                    </a:lnTo>
                    <a:lnTo>
                      <a:pt x="1422" y="766"/>
                    </a:lnTo>
                    <a:lnTo>
                      <a:pt x="1422" y="766"/>
                    </a:lnTo>
                    <a:lnTo>
                      <a:pt x="1422" y="766"/>
                    </a:lnTo>
                    <a:lnTo>
                      <a:pt x="1420" y="764"/>
                    </a:lnTo>
                    <a:lnTo>
                      <a:pt x="1420" y="764"/>
                    </a:lnTo>
                    <a:lnTo>
                      <a:pt x="1420" y="764"/>
                    </a:lnTo>
                    <a:lnTo>
                      <a:pt x="1418" y="762"/>
                    </a:lnTo>
                    <a:lnTo>
                      <a:pt x="1418" y="762"/>
                    </a:lnTo>
                    <a:lnTo>
                      <a:pt x="1418" y="762"/>
                    </a:lnTo>
                    <a:lnTo>
                      <a:pt x="1416" y="760"/>
                    </a:lnTo>
                    <a:lnTo>
                      <a:pt x="1416" y="760"/>
                    </a:lnTo>
                    <a:lnTo>
                      <a:pt x="1416" y="760"/>
                    </a:lnTo>
                    <a:lnTo>
                      <a:pt x="1414" y="760"/>
                    </a:lnTo>
                    <a:lnTo>
                      <a:pt x="1414" y="760"/>
                    </a:lnTo>
                    <a:lnTo>
                      <a:pt x="1414" y="760"/>
                    </a:lnTo>
                    <a:lnTo>
                      <a:pt x="1410" y="758"/>
                    </a:lnTo>
                    <a:lnTo>
                      <a:pt x="1410" y="758"/>
                    </a:lnTo>
                    <a:lnTo>
                      <a:pt x="1408" y="758"/>
                    </a:lnTo>
                    <a:lnTo>
                      <a:pt x="1404" y="758"/>
                    </a:lnTo>
                    <a:lnTo>
                      <a:pt x="1404" y="758"/>
                    </a:lnTo>
                    <a:lnTo>
                      <a:pt x="1404" y="758"/>
                    </a:lnTo>
                    <a:lnTo>
                      <a:pt x="1400" y="758"/>
                    </a:lnTo>
                    <a:lnTo>
                      <a:pt x="1400" y="758"/>
                    </a:lnTo>
                    <a:lnTo>
                      <a:pt x="1400" y="758"/>
                    </a:lnTo>
                    <a:lnTo>
                      <a:pt x="1398" y="758"/>
                    </a:lnTo>
                    <a:lnTo>
                      <a:pt x="1398" y="758"/>
                    </a:lnTo>
                    <a:lnTo>
                      <a:pt x="1398" y="758"/>
                    </a:lnTo>
                    <a:lnTo>
                      <a:pt x="1394" y="760"/>
                    </a:lnTo>
                    <a:lnTo>
                      <a:pt x="1394" y="760"/>
                    </a:lnTo>
                    <a:lnTo>
                      <a:pt x="1394" y="762"/>
                    </a:lnTo>
                    <a:lnTo>
                      <a:pt x="1390" y="764"/>
                    </a:lnTo>
                    <a:lnTo>
                      <a:pt x="1390" y="764"/>
                    </a:lnTo>
                    <a:lnTo>
                      <a:pt x="1390" y="764"/>
                    </a:lnTo>
                    <a:lnTo>
                      <a:pt x="1388" y="768"/>
                    </a:lnTo>
                    <a:lnTo>
                      <a:pt x="1384" y="772"/>
                    </a:lnTo>
                    <a:lnTo>
                      <a:pt x="1382" y="776"/>
                    </a:lnTo>
                    <a:lnTo>
                      <a:pt x="1382" y="780"/>
                    </a:lnTo>
                    <a:lnTo>
                      <a:pt x="1378" y="786"/>
                    </a:lnTo>
                    <a:lnTo>
                      <a:pt x="1376" y="794"/>
                    </a:lnTo>
                    <a:lnTo>
                      <a:pt x="1374" y="798"/>
                    </a:lnTo>
                    <a:lnTo>
                      <a:pt x="1374" y="802"/>
                    </a:lnTo>
                    <a:lnTo>
                      <a:pt x="1374" y="808"/>
                    </a:lnTo>
                    <a:lnTo>
                      <a:pt x="1374" y="812"/>
                    </a:lnTo>
                    <a:lnTo>
                      <a:pt x="1376" y="820"/>
                    </a:lnTo>
                    <a:lnTo>
                      <a:pt x="1376" y="826"/>
                    </a:lnTo>
                    <a:lnTo>
                      <a:pt x="1378" y="828"/>
                    </a:lnTo>
                    <a:lnTo>
                      <a:pt x="1376" y="832"/>
                    </a:lnTo>
                    <a:lnTo>
                      <a:pt x="1376" y="834"/>
                    </a:lnTo>
                    <a:lnTo>
                      <a:pt x="1376" y="836"/>
                    </a:lnTo>
                    <a:lnTo>
                      <a:pt x="1374" y="838"/>
                    </a:lnTo>
                    <a:lnTo>
                      <a:pt x="1372" y="838"/>
                    </a:lnTo>
                    <a:lnTo>
                      <a:pt x="1370" y="840"/>
                    </a:lnTo>
                    <a:lnTo>
                      <a:pt x="1366" y="840"/>
                    </a:lnTo>
                    <a:lnTo>
                      <a:pt x="1366" y="842"/>
                    </a:lnTo>
                    <a:lnTo>
                      <a:pt x="1364" y="840"/>
                    </a:lnTo>
                    <a:lnTo>
                      <a:pt x="1364" y="840"/>
                    </a:lnTo>
                    <a:lnTo>
                      <a:pt x="1362" y="838"/>
                    </a:lnTo>
                    <a:lnTo>
                      <a:pt x="1362" y="836"/>
                    </a:lnTo>
                    <a:lnTo>
                      <a:pt x="1360" y="832"/>
                    </a:lnTo>
                    <a:lnTo>
                      <a:pt x="1360" y="828"/>
                    </a:lnTo>
                    <a:lnTo>
                      <a:pt x="1358" y="822"/>
                    </a:lnTo>
                    <a:lnTo>
                      <a:pt x="1358" y="816"/>
                    </a:lnTo>
                    <a:lnTo>
                      <a:pt x="1358" y="812"/>
                    </a:lnTo>
                    <a:lnTo>
                      <a:pt x="1358" y="808"/>
                    </a:lnTo>
                    <a:lnTo>
                      <a:pt x="1358" y="798"/>
                    </a:lnTo>
                    <a:lnTo>
                      <a:pt x="1360" y="790"/>
                    </a:lnTo>
                    <a:lnTo>
                      <a:pt x="1360" y="790"/>
                    </a:lnTo>
                    <a:lnTo>
                      <a:pt x="1362" y="782"/>
                    </a:lnTo>
                    <a:lnTo>
                      <a:pt x="1364" y="780"/>
                    </a:lnTo>
                    <a:lnTo>
                      <a:pt x="1366" y="776"/>
                    </a:lnTo>
                    <a:lnTo>
                      <a:pt x="1368" y="774"/>
                    </a:lnTo>
                    <a:lnTo>
                      <a:pt x="1372" y="770"/>
                    </a:lnTo>
                    <a:lnTo>
                      <a:pt x="1376" y="768"/>
                    </a:lnTo>
                    <a:lnTo>
                      <a:pt x="1380" y="766"/>
                    </a:lnTo>
                    <a:lnTo>
                      <a:pt x="1384" y="764"/>
                    </a:lnTo>
                    <a:lnTo>
                      <a:pt x="1388" y="762"/>
                    </a:lnTo>
                    <a:lnTo>
                      <a:pt x="1392" y="760"/>
                    </a:lnTo>
                    <a:lnTo>
                      <a:pt x="1392" y="760"/>
                    </a:lnTo>
                    <a:lnTo>
                      <a:pt x="1392" y="758"/>
                    </a:lnTo>
                    <a:lnTo>
                      <a:pt x="1394" y="756"/>
                    </a:lnTo>
                    <a:lnTo>
                      <a:pt x="1394" y="756"/>
                    </a:lnTo>
                    <a:lnTo>
                      <a:pt x="1396" y="756"/>
                    </a:lnTo>
                    <a:lnTo>
                      <a:pt x="1398" y="754"/>
                    </a:lnTo>
                    <a:lnTo>
                      <a:pt x="1398" y="752"/>
                    </a:lnTo>
                    <a:lnTo>
                      <a:pt x="1398" y="752"/>
                    </a:lnTo>
                    <a:lnTo>
                      <a:pt x="1398" y="750"/>
                    </a:lnTo>
                    <a:lnTo>
                      <a:pt x="1400" y="748"/>
                    </a:lnTo>
                    <a:lnTo>
                      <a:pt x="1400" y="748"/>
                    </a:lnTo>
                    <a:lnTo>
                      <a:pt x="1400" y="748"/>
                    </a:lnTo>
                    <a:lnTo>
                      <a:pt x="1400" y="746"/>
                    </a:lnTo>
                    <a:lnTo>
                      <a:pt x="1400" y="746"/>
                    </a:lnTo>
                    <a:lnTo>
                      <a:pt x="1400" y="744"/>
                    </a:lnTo>
                    <a:lnTo>
                      <a:pt x="1400" y="742"/>
                    </a:lnTo>
                    <a:lnTo>
                      <a:pt x="1400" y="742"/>
                    </a:lnTo>
                    <a:lnTo>
                      <a:pt x="1400" y="742"/>
                    </a:lnTo>
                    <a:lnTo>
                      <a:pt x="1400" y="740"/>
                    </a:lnTo>
                    <a:lnTo>
                      <a:pt x="1400" y="740"/>
                    </a:lnTo>
                    <a:lnTo>
                      <a:pt x="1400" y="738"/>
                    </a:lnTo>
                    <a:lnTo>
                      <a:pt x="1398" y="736"/>
                    </a:lnTo>
                    <a:lnTo>
                      <a:pt x="1398" y="736"/>
                    </a:lnTo>
                    <a:lnTo>
                      <a:pt x="1398" y="736"/>
                    </a:lnTo>
                    <a:lnTo>
                      <a:pt x="1396" y="736"/>
                    </a:lnTo>
                    <a:lnTo>
                      <a:pt x="1396" y="736"/>
                    </a:lnTo>
                    <a:lnTo>
                      <a:pt x="1394" y="734"/>
                    </a:lnTo>
                    <a:lnTo>
                      <a:pt x="1392" y="734"/>
                    </a:lnTo>
                    <a:lnTo>
                      <a:pt x="1386" y="732"/>
                    </a:lnTo>
                    <a:lnTo>
                      <a:pt x="1382" y="732"/>
                    </a:lnTo>
                    <a:lnTo>
                      <a:pt x="1376" y="732"/>
                    </a:lnTo>
                    <a:lnTo>
                      <a:pt x="1368" y="732"/>
                    </a:lnTo>
                    <a:lnTo>
                      <a:pt x="1362" y="732"/>
                    </a:lnTo>
                    <a:lnTo>
                      <a:pt x="1356" y="732"/>
                    </a:lnTo>
                    <a:lnTo>
                      <a:pt x="1348" y="732"/>
                    </a:lnTo>
                    <a:lnTo>
                      <a:pt x="1342" y="732"/>
                    </a:lnTo>
                    <a:lnTo>
                      <a:pt x="1334" y="732"/>
                    </a:lnTo>
                    <a:lnTo>
                      <a:pt x="1326" y="734"/>
                    </a:lnTo>
                    <a:lnTo>
                      <a:pt x="1320" y="736"/>
                    </a:lnTo>
                    <a:lnTo>
                      <a:pt x="1312" y="736"/>
                    </a:lnTo>
                    <a:lnTo>
                      <a:pt x="1308" y="736"/>
                    </a:lnTo>
                    <a:lnTo>
                      <a:pt x="1306" y="736"/>
                    </a:lnTo>
                    <a:lnTo>
                      <a:pt x="1304" y="736"/>
                    </a:lnTo>
                    <a:lnTo>
                      <a:pt x="1302" y="736"/>
                    </a:lnTo>
                    <a:lnTo>
                      <a:pt x="1304" y="736"/>
                    </a:lnTo>
                    <a:lnTo>
                      <a:pt x="1306" y="734"/>
                    </a:lnTo>
                    <a:lnTo>
                      <a:pt x="1308" y="732"/>
                    </a:lnTo>
                    <a:lnTo>
                      <a:pt x="1314" y="728"/>
                    </a:lnTo>
                    <a:lnTo>
                      <a:pt x="1318" y="724"/>
                    </a:lnTo>
                    <a:lnTo>
                      <a:pt x="1324" y="722"/>
                    </a:lnTo>
                    <a:lnTo>
                      <a:pt x="1326" y="720"/>
                    </a:lnTo>
                    <a:lnTo>
                      <a:pt x="1328" y="718"/>
                    </a:lnTo>
                    <a:lnTo>
                      <a:pt x="1328" y="716"/>
                    </a:lnTo>
                    <a:lnTo>
                      <a:pt x="1328" y="716"/>
                    </a:lnTo>
                    <a:lnTo>
                      <a:pt x="1330" y="716"/>
                    </a:lnTo>
                    <a:lnTo>
                      <a:pt x="1330" y="714"/>
                    </a:lnTo>
                    <a:lnTo>
                      <a:pt x="1330" y="714"/>
                    </a:lnTo>
                    <a:lnTo>
                      <a:pt x="1330" y="712"/>
                    </a:lnTo>
                    <a:lnTo>
                      <a:pt x="1330" y="710"/>
                    </a:lnTo>
                    <a:lnTo>
                      <a:pt x="1330" y="710"/>
                    </a:lnTo>
                    <a:lnTo>
                      <a:pt x="1328" y="710"/>
                    </a:lnTo>
                    <a:lnTo>
                      <a:pt x="1326" y="708"/>
                    </a:lnTo>
                    <a:lnTo>
                      <a:pt x="1326" y="708"/>
                    </a:lnTo>
                    <a:lnTo>
                      <a:pt x="1326" y="708"/>
                    </a:lnTo>
                    <a:lnTo>
                      <a:pt x="1322" y="706"/>
                    </a:lnTo>
                    <a:lnTo>
                      <a:pt x="1318" y="706"/>
                    </a:lnTo>
                    <a:lnTo>
                      <a:pt x="1314" y="706"/>
                    </a:lnTo>
                    <a:lnTo>
                      <a:pt x="1310" y="706"/>
                    </a:lnTo>
                    <a:lnTo>
                      <a:pt x="1306" y="704"/>
                    </a:lnTo>
                    <a:lnTo>
                      <a:pt x="1302" y="704"/>
                    </a:lnTo>
                    <a:lnTo>
                      <a:pt x="1296" y="704"/>
                    </a:lnTo>
                    <a:lnTo>
                      <a:pt x="1292" y="704"/>
                    </a:lnTo>
                    <a:lnTo>
                      <a:pt x="1282" y="704"/>
                    </a:lnTo>
                    <a:lnTo>
                      <a:pt x="1272" y="704"/>
                    </a:lnTo>
                    <a:lnTo>
                      <a:pt x="1260" y="704"/>
                    </a:lnTo>
                    <a:lnTo>
                      <a:pt x="1258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4" y="704"/>
                    </a:lnTo>
                    <a:lnTo>
                      <a:pt x="1254" y="704"/>
                    </a:lnTo>
                    <a:lnTo>
                      <a:pt x="1252" y="704"/>
                    </a:lnTo>
                    <a:lnTo>
                      <a:pt x="1250" y="704"/>
                    </a:lnTo>
                    <a:lnTo>
                      <a:pt x="1248" y="702"/>
                    </a:lnTo>
                    <a:lnTo>
                      <a:pt x="1244" y="702"/>
                    </a:lnTo>
                    <a:lnTo>
                      <a:pt x="1238" y="702"/>
                    </a:lnTo>
                    <a:lnTo>
                      <a:pt x="1232" y="702"/>
                    </a:lnTo>
                    <a:lnTo>
                      <a:pt x="1210" y="702"/>
                    </a:lnTo>
                    <a:lnTo>
                      <a:pt x="1206" y="702"/>
                    </a:lnTo>
                    <a:lnTo>
                      <a:pt x="1192" y="702"/>
                    </a:lnTo>
                    <a:lnTo>
                      <a:pt x="1180" y="702"/>
                    </a:lnTo>
                    <a:lnTo>
                      <a:pt x="1164" y="702"/>
                    </a:lnTo>
                    <a:lnTo>
                      <a:pt x="1148" y="702"/>
                    </a:lnTo>
                    <a:lnTo>
                      <a:pt x="1132" y="702"/>
                    </a:lnTo>
                    <a:lnTo>
                      <a:pt x="1116" y="702"/>
                    </a:lnTo>
                    <a:lnTo>
                      <a:pt x="1100" y="702"/>
                    </a:lnTo>
                    <a:lnTo>
                      <a:pt x="1084" y="702"/>
                    </a:lnTo>
                    <a:lnTo>
                      <a:pt x="1068" y="702"/>
                    </a:lnTo>
                    <a:lnTo>
                      <a:pt x="1052" y="702"/>
                    </a:lnTo>
                    <a:lnTo>
                      <a:pt x="1038" y="702"/>
                    </a:lnTo>
                    <a:lnTo>
                      <a:pt x="1026" y="702"/>
                    </a:lnTo>
                    <a:lnTo>
                      <a:pt x="1020" y="702"/>
                    </a:lnTo>
                    <a:lnTo>
                      <a:pt x="932" y="702"/>
                    </a:lnTo>
                    <a:lnTo>
                      <a:pt x="916" y="702"/>
                    </a:lnTo>
                    <a:lnTo>
                      <a:pt x="910" y="702"/>
                    </a:lnTo>
                    <a:lnTo>
                      <a:pt x="902" y="702"/>
                    </a:lnTo>
                    <a:lnTo>
                      <a:pt x="896" y="704"/>
                    </a:lnTo>
                    <a:lnTo>
                      <a:pt x="890" y="704"/>
                    </a:lnTo>
                    <a:lnTo>
                      <a:pt x="886" y="704"/>
                    </a:lnTo>
                    <a:lnTo>
                      <a:pt x="880" y="704"/>
                    </a:lnTo>
                    <a:lnTo>
                      <a:pt x="876" y="704"/>
                    </a:lnTo>
                    <a:lnTo>
                      <a:pt x="872" y="704"/>
                    </a:lnTo>
                    <a:lnTo>
                      <a:pt x="870" y="704"/>
                    </a:lnTo>
                    <a:lnTo>
                      <a:pt x="868" y="704"/>
                    </a:lnTo>
                    <a:lnTo>
                      <a:pt x="866" y="702"/>
                    </a:lnTo>
                    <a:lnTo>
                      <a:pt x="866" y="702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2" y="704"/>
                    </a:lnTo>
                    <a:lnTo>
                      <a:pt x="860" y="704"/>
                    </a:lnTo>
                    <a:lnTo>
                      <a:pt x="860" y="704"/>
                    </a:lnTo>
                    <a:lnTo>
                      <a:pt x="860" y="704"/>
                    </a:lnTo>
                    <a:lnTo>
                      <a:pt x="858" y="706"/>
                    </a:lnTo>
                    <a:lnTo>
                      <a:pt x="858" y="706"/>
                    </a:lnTo>
                    <a:lnTo>
                      <a:pt x="858" y="708"/>
                    </a:lnTo>
                    <a:lnTo>
                      <a:pt x="858" y="710"/>
                    </a:lnTo>
                    <a:lnTo>
                      <a:pt x="858" y="710"/>
                    </a:lnTo>
                    <a:lnTo>
                      <a:pt x="860" y="710"/>
                    </a:lnTo>
                    <a:lnTo>
                      <a:pt x="860" y="714"/>
                    </a:lnTo>
                    <a:lnTo>
                      <a:pt x="862" y="718"/>
                    </a:lnTo>
                    <a:lnTo>
                      <a:pt x="864" y="722"/>
                    </a:lnTo>
                    <a:lnTo>
                      <a:pt x="866" y="728"/>
                    </a:lnTo>
                    <a:lnTo>
                      <a:pt x="868" y="732"/>
                    </a:lnTo>
                    <a:lnTo>
                      <a:pt x="868" y="734"/>
                    </a:lnTo>
                    <a:lnTo>
                      <a:pt x="868" y="736"/>
                    </a:lnTo>
                    <a:lnTo>
                      <a:pt x="868" y="738"/>
                    </a:lnTo>
                    <a:lnTo>
                      <a:pt x="868" y="738"/>
                    </a:lnTo>
                    <a:lnTo>
                      <a:pt x="866" y="740"/>
                    </a:lnTo>
                    <a:lnTo>
                      <a:pt x="866" y="740"/>
                    </a:lnTo>
                    <a:lnTo>
                      <a:pt x="862" y="742"/>
                    </a:lnTo>
                    <a:lnTo>
                      <a:pt x="856" y="742"/>
                    </a:lnTo>
                    <a:lnTo>
                      <a:pt x="854" y="742"/>
                    </a:lnTo>
                    <a:lnTo>
                      <a:pt x="850" y="740"/>
                    </a:lnTo>
                    <a:lnTo>
                      <a:pt x="844" y="740"/>
                    </a:lnTo>
                    <a:lnTo>
                      <a:pt x="840" y="738"/>
                    </a:lnTo>
                    <a:lnTo>
                      <a:pt x="834" y="736"/>
                    </a:lnTo>
                    <a:lnTo>
                      <a:pt x="828" y="734"/>
                    </a:lnTo>
                    <a:lnTo>
                      <a:pt x="824" y="734"/>
                    </a:lnTo>
                    <a:lnTo>
                      <a:pt x="824" y="734"/>
                    </a:lnTo>
                    <a:lnTo>
                      <a:pt x="824" y="734"/>
                    </a:lnTo>
                    <a:lnTo>
                      <a:pt x="820" y="734"/>
                    </a:lnTo>
                    <a:lnTo>
                      <a:pt x="820" y="734"/>
                    </a:lnTo>
                    <a:lnTo>
                      <a:pt x="820" y="734"/>
                    </a:lnTo>
                    <a:lnTo>
                      <a:pt x="818" y="734"/>
                    </a:lnTo>
                    <a:lnTo>
                      <a:pt x="818" y="734"/>
                    </a:lnTo>
                    <a:lnTo>
                      <a:pt x="816" y="736"/>
                    </a:lnTo>
                    <a:lnTo>
                      <a:pt x="814" y="736"/>
                    </a:lnTo>
                    <a:lnTo>
                      <a:pt x="814" y="736"/>
                    </a:lnTo>
                    <a:lnTo>
                      <a:pt x="814" y="738"/>
                    </a:lnTo>
                    <a:lnTo>
                      <a:pt x="814" y="740"/>
                    </a:lnTo>
                    <a:lnTo>
                      <a:pt x="814" y="740"/>
                    </a:lnTo>
                    <a:lnTo>
                      <a:pt x="814" y="740"/>
                    </a:lnTo>
                    <a:lnTo>
                      <a:pt x="812" y="742"/>
                    </a:lnTo>
                    <a:lnTo>
                      <a:pt x="812" y="746"/>
                    </a:lnTo>
                    <a:lnTo>
                      <a:pt x="812" y="750"/>
                    </a:lnTo>
                    <a:lnTo>
                      <a:pt x="814" y="754"/>
                    </a:lnTo>
                    <a:lnTo>
                      <a:pt x="814" y="758"/>
                    </a:lnTo>
                    <a:lnTo>
                      <a:pt x="814" y="764"/>
                    </a:lnTo>
                    <a:lnTo>
                      <a:pt x="816" y="770"/>
                    </a:lnTo>
                    <a:lnTo>
                      <a:pt x="816" y="778"/>
                    </a:lnTo>
                    <a:lnTo>
                      <a:pt x="818" y="786"/>
                    </a:lnTo>
                    <a:lnTo>
                      <a:pt x="820" y="802"/>
                    </a:lnTo>
                    <a:lnTo>
                      <a:pt x="820" y="810"/>
                    </a:lnTo>
                    <a:lnTo>
                      <a:pt x="822" y="818"/>
                    </a:lnTo>
                    <a:lnTo>
                      <a:pt x="822" y="824"/>
                    </a:lnTo>
                    <a:lnTo>
                      <a:pt x="822" y="832"/>
                    </a:lnTo>
                    <a:lnTo>
                      <a:pt x="822" y="844"/>
                    </a:lnTo>
                    <a:lnTo>
                      <a:pt x="822" y="852"/>
                    </a:lnTo>
                    <a:lnTo>
                      <a:pt x="822" y="858"/>
                    </a:lnTo>
                    <a:lnTo>
                      <a:pt x="822" y="866"/>
                    </a:lnTo>
                    <a:lnTo>
                      <a:pt x="824" y="872"/>
                    </a:lnTo>
                    <a:lnTo>
                      <a:pt x="828" y="886"/>
                    </a:lnTo>
                    <a:lnTo>
                      <a:pt x="832" y="902"/>
                    </a:lnTo>
                    <a:lnTo>
                      <a:pt x="838" y="916"/>
                    </a:lnTo>
                    <a:lnTo>
                      <a:pt x="840" y="922"/>
                    </a:lnTo>
                    <a:lnTo>
                      <a:pt x="844" y="930"/>
                    </a:lnTo>
                    <a:lnTo>
                      <a:pt x="848" y="938"/>
                    </a:lnTo>
                    <a:lnTo>
                      <a:pt x="854" y="946"/>
                    </a:lnTo>
                    <a:lnTo>
                      <a:pt x="858" y="956"/>
                    </a:lnTo>
                    <a:lnTo>
                      <a:pt x="864" y="964"/>
                    </a:lnTo>
                    <a:lnTo>
                      <a:pt x="870" y="972"/>
                    </a:lnTo>
                    <a:lnTo>
                      <a:pt x="876" y="980"/>
                    </a:lnTo>
                    <a:lnTo>
                      <a:pt x="882" y="986"/>
                    </a:lnTo>
                    <a:lnTo>
                      <a:pt x="884" y="990"/>
                    </a:lnTo>
                    <a:lnTo>
                      <a:pt x="886" y="992"/>
                    </a:lnTo>
                    <a:lnTo>
                      <a:pt x="886" y="992"/>
                    </a:lnTo>
                    <a:lnTo>
                      <a:pt x="886" y="992"/>
                    </a:lnTo>
                    <a:lnTo>
                      <a:pt x="892" y="996"/>
                    </a:lnTo>
                    <a:lnTo>
                      <a:pt x="892" y="996"/>
                    </a:lnTo>
                    <a:lnTo>
                      <a:pt x="892" y="996"/>
                    </a:lnTo>
                    <a:lnTo>
                      <a:pt x="896" y="998"/>
                    </a:lnTo>
                    <a:lnTo>
                      <a:pt x="896" y="998"/>
                    </a:lnTo>
                    <a:lnTo>
                      <a:pt x="898" y="998"/>
                    </a:lnTo>
                    <a:lnTo>
                      <a:pt x="902" y="1000"/>
                    </a:lnTo>
                    <a:lnTo>
                      <a:pt x="906" y="1002"/>
                    </a:lnTo>
                    <a:lnTo>
                      <a:pt x="912" y="1002"/>
                    </a:lnTo>
                    <a:lnTo>
                      <a:pt x="916" y="1002"/>
                    </a:lnTo>
                    <a:lnTo>
                      <a:pt x="918" y="1002"/>
                    </a:lnTo>
                    <a:lnTo>
                      <a:pt x="922" y="1004"/>
                    </a:lnTo>
                    <a:lnTo>
                      <a:pt x="924" y="1004"/>
                    </a:lnTo>
                    <a:lnTo>
                      <a:pt x="926" y="1006"/>
                    </a:lnTo>
                    <a:lnTo>
                      <a:pt x="926" y="1008"/>
                    </a:lnTo>
                    <a:lnTo>
                      <a:pt x="928" y="1010"/>
                    </a:lnTo>
                    <a:lnTo>
                      <a:pt x="930" y="1010"/>
                    </a:lnTo>
                    <a:lnTo>
                      <a:pt x="930" y="1010"/>
                    </a:lnTo>
                    <a:lnTo>
                      <a:pt x="930" y="1012"/>
                    </a:lnTo>
                    <a:lnTo>
                      <a:pt x="932" y="1012"/>
                    </a:lnTo>
                    <a:lnTo>
                      <a:pt x="932" y="1012"/>
                    </a:lnTo>
                    <a:lnTo>
                      <a:pt x="932" y="1012"/>
                    </a:lnTo>
                    <a:lnTo>
                      <a:pt x="934" y="1014"/>
                    </a:lnTo>
                    <a:lnTo>
                      <a:pt x="934" y="1014"/>
                    </a:lnTo>
                    <a:lnTo>
                      <a:pt x="934" y="1014"/>
                    </a:lnTo>
                    <a:lnTo>
                      <a:pt x="936" y="1014"/>
                    </a:lnTo>
                    <a:lnTo>
                      <a:pt x="936" y="1014"/>
                    </a:lnTo>
                    <a:lnTo>
                      <a:pt x="938" y="1014"/>
                    </a:lnTo>
                    <a:lnTo>
                      <a:pt x="940" y="1014"/>
                    </a:lnTo>
                    <a:lnTo>
                      <a:pt x="940" y="1014"/>
                    </a:lnTo>
                    <a:lnTo>
                      <a:pt x="940" y="1014"/>
                    </a:lnTo>
                    <a:lnTo>
                      <a:pt x="942" y="1012"/>
                    </a:lnTo>
                    <a:lnTo>
                      <a:pt x="946" y="1010"/>
                    </a:lnTo>
                    <a:lnTo>
                      <a:pt x="948" y="1008"/>
                    </a:lnTo>
                    <a:lnTo>
                      <a:pt x="952" y="1006"/>
                    </a:lnTo>
                    <a:lnTo>
                      <a:pt x="954" y="1004"/>
                    </a:lnTo>
                    <a:lnTo>
                      <a:pt x="956" y="1004"/>
                    </a:lnTo>
                    <a:lnTo>
                      <a:pt x="956" y="1004"/>
                    </a:lnTo>
                    <a:lnTo>
                      <a:pt x="958" y="1004"/>
                    </a:lnTo>
                    <a:lnTo>
                      <a:pt x="958" y="1004"/>
                    </a:lnTo>
                    <a:lnTo>
                      <a:pt x="958" y="1006"/>
                    </a:lnTo>
                    <a:lnTo>
                      <a:pt x="960" y="1006"/>
                    </a:lnTo>
                    <a:lnTo>
                      <a:pt x="960" y="1008"/>
                    </a:lnTo>
                    <a:lnTo>
                      <a:pt x="962" y="1010"/>
                    </a:lnTo>
                    <a:lnTo>
                      <a:pt x="964" y="1012"/>
                    </a:lnTo>
                    <a:lnTo>
                      <a:pt x="964" y="1012"/>
                    </a:lnTo>
                    <a:lnTo>
                      <a:pt x="964" y="1014"/>
                    </a:lnTo>
                    <a:lnTo>
                      <a:pt x="966" y="1016"/>
                    </a:lnTo>
                    <a:lnTo>
                      <a:pt x="970" y="1018"/>
                    </a:lnTo>
                    <a:lnTo>
                      <a:pt x="974" y="1020"/>
                    </a:lnTo>
                    <a:lnTo>
                      <a:pt x="980" y="1022"/>
                    </a:lnTo>
                    <a:lnTo>
                      <a:pt x="984" y="1024"/>
                    </a:lnTo>
                    <a:lnTo>
                      <a:pt x="994" y="1028"/>
                    </a:lnTo>
                    <a:lnTo>
                      <a:pt x="998" y="1030"/>
                    </a:lnTo>
                    <a:lnTo>
                      <a:pt x="1002" y="1032"/>
                    </a:lnTo>
                    <a:lnTo>
                      <a:pt x="1004" y="1032"/>
                    </a:lnTo>
                    <a:lnTo>
                      <a:pt x="1008" y="1034"/>
                    </a:lnTo>
                    <a:lnTo>
                      <a:pt x="1010" y="1034"/>
                    </a:lnTo>
                    <a:lnTo>
                      <a:pt x="1012" y="1034"/>
                    </a:lnTo>
                    <a:lnTo>
                      <a:pt x="1016" y="1036"/>
                    </a:lnTo>
                    <a:lnTo>
                      <a:pt x="1018" y="1036"/>
                    </a:lnTo>
                    <a:lnTo>
                      <a:pt x="1020" y="1036"/>
                    </a:lnTo>
                    <a:lnTo>
                      <a:pt x="1024" y="1036"/>
                    </a:lnTo>
                    <a:lnTo>
                      <a:pt x="1028" y="1036"/>
                    </a:lnTo>
                    <a:lnTo>
                      <a:pt x="1036" y="1036"/>
                    </a:lnTo>
                    <a:lnTo>
                      <a:pt x="1040" y="1036"/>
                    </a:lnTo>
                    <a:lnTo>
                      <a:pt x="1044" y="1036"/>
                    </a:lnTo>
                    <a:lnTo>
                      <a:pt x="1048" y="1034"/>
                    </a:lnTo>
                    <a:lnTo>
                      <a:pt x="1048" y="1034"/>
                    </a:lnTo>
                    <a:lnTo>
                      <a:pt x="1050" y="1034"/>
                    </a:lnTo>
                    <a:lnTo>
                      <a:pt x="1052" y="1034"/>
                    </a:lnTo>
                    <a:lnTo>
                      <a:pt x="1052" y="1034"/>
                    </a:lnTo>
                    <a:lnTo>
                      <a:pt x="1052" y="1034"/>
                    </a:lnTo>
                    <a:lnTo>
                      <a:pt x="1054" y="1032"/>
                    </a:lnTo>
                    <a:lnTo>
                      <a:pt x="1054" y="1032"/>
                    </a:lnTo>
                    <a:lnTo>
                      <a:pt x="1056" y="1030"/>
                    </a:lnTo>
                    <a:lnTo>
                      <a:pt x="1056" y="1028"/>
                    </a:lnTo>
                    <a:lnTo>
                      <a:pt x="1056" y="1028"/>
                    </a:lnTo>
                    <a:lnTo>
                      <a:pt x="1056" y="1028"/>
                    </a:lnTo>
                    <a:lnTo>
                      <a:pt x="1056" y="1026"/>
                    </a:lnTo>
                    <a:lnTo>
                      <a:pt x="1056" y="1026"/>
                    </a:lnTo>
                    <a:lnTo>
                      <a:pt x="1056" y="1026"/>
                    </a:lnTo>
                    <a:lnTo>
                      <a:pt x="1056" y="1022"/>
                    </a:lnTo>
                    <a:lnTo>
                      <a:pt x="1058" y="1020"/>
                    </a:lnTo>
                    <a:lnTo>
                      <a:pt x="1058" y="1020"/>
                    </a:lnTo>
                    <a:lnTo>
                      <a:pt x="1058" y="1020"/>
                    </a:lnTo>
                    <a:lnTo>
                      <a:pt x="1060" y="1020"/>
                    </a:lnTo>
                    <a:lnTo>
                      <a:pt x="1062" y="1022"/>
                    </a:lnTo>
                    <a:lnTo>
                      <a:pt x="1066" y="1024"/>
                    </a:lnTo>
                    <a:lnTo>
                      <a:pt x="1068" y="1026"/>
                    </a:lnTo>
                    <a:lnTo>
                      <a:pt x="1072" y="1028"/>
                    </a:lnTo>
                    <a:lnTo>
                      <a:pt x="1080" y="1034"/>
                    </a:lnTo>
                    <a:lnTo>
                      <a:pt x="1084" y="1036"/>
                    </a:lnTo>
                    <a:lnTo>
                      <a:pt x="1088" y="1040"/>
                    </a:lnTo>
                    <a:lnTo>
                      <a:pt x="1094" y="1046"/>
                    </a:lnTo>
                    <a:lnTo>
                      <a:pt x="1100" y="1050"/>
                    </a:lnTo>
                    <a:lnTo>
                      <a:pt x="1106" y="1056"/>
                    </a:lnTo>
                    <a:lnTo>
                      <a:pt x="1112" y="1060"/>
                    </a:lnTo>
                    <a:lnTo>
                      <a:pt x="1116" y="1064"/>
                    </a:lnTo>
                    <a:lnTo>
                      <a:pt x="1122" y="1066"/>
                    </a:lnTo>
                    <a:lnTo>
                      <a:pt x="1122" y="1066"/>
                    </a:lnTo>
                    <a:lnTo>
                      <a:pt x="1122" y="1066"/>
                    </a:lnTo>
                    <a:lnTo>
                      <a:pt x="1124" y="1068"/>
                    </a:lnTo>
                    <a:lnTo>
                      <a:pt x="1124" y="1068"/>
                    </a:lnTo>
                    <a:lnTo>
                      <a:pt x="1124" y="1068"/>
                    </a:lnTo>
                    <a:lnTo>
                      <a:pt x="1126" y="1068"/>
                    </a:lnTo>
                    <a:lnTo>
                      <a:pt x="1126" y="1068"/>
                    </a:lnTo>
                    <a:lnTo>
                      <a:pt x="1126" y="1068"/>
                    </a:lnTo>
                    <a:lnTo>
                      <a:pt x="1130" y="1068"/>
                    </a:lnTo>
                    <a:lnTo>
                      <a:pt x="1130" y="1068"/>
                    </a:lnTo>
                    <a:lnTo>
                      <a:pt x="1130" y="1068"/>
                    </a:lnTo>
                    <a:lnTo>
                      <a:pt x="1132" y="1066"/>
                    </a:lnTo>
                    <a:lnTo>
                      <a:pt x="1132" y="1066"/>
                    </a:lnTo>
                    <a:lnTo>
                      <a:pt x="1134" y="1066"/>
                    </a:lnTo>
                    <a:lnTo>
                      <a:pt x="1136" y="1064"/>
                    </a:lnTo>
                    <a:lnTo>
                      <a:pt x="1138" y="1062"/>
                    </a:lnTo>
                    <a:lnTo>
                      <a:pt x="1140" y="1062"/>
                    </a:lnTo>
                    <a:lnTo>
                      <a:pt x="1140" y="1060"/>
                    </a:lnTo>
                    <a:lnTo>
                      <a:pt x="1142" y="1060"/>
                    </a:lnTo>
                    <a:lnTo>
                      <a:pt x="1146" y="1062"/>
                    </a:lnTo>
                    <a:lnTo>
                      <a:pt x="1148" y="1064"/>
                    </a:lnTo>
                    <a:lnTo>
                      <a:pt x="1152" y="1066"/>
                    </a:lnTo>
                    <a:lnTo>
                      <a:pt x="1156" y="1068"/>
                    </a:lnTo>
                    <a:lnTo>
                      <a:pt x="1160" y="1070"/>
                    </a:lnTo>
                    <a:lnTo>
                      <a:pt x="1164" y="1072"/>
                    </a:lnTo>
                    <a:lnTo>
                      <a:pt x="1166" y="1076"/>
                    </a:lnTo>
                    <a:lnTo>
                      <a:pt x="1168" y="1078"/>
                    </a:lnTo>
                    <a:lnTo>
                      <a:pt x="1170" y="1080"/>
                    </a:lnTo>
                    <a:lnTo>
                      <a:pt x="1172" y="1082"/>
                    </a:lnTo>
                    <a:lnTo>
                      <a:pt x="1172" y="1082"/>
                    </a:lnTo>
                    <a:lnTo>
                      <a:pt x="1172" y="1086"/>
                    </a:lnTo>
                    <a:lnTo>
                      <a:pt x="1172" y="1090"/>
                    </a:lnTo>
                    <a:lnTo>
                      <a:pt x="1172" y="1096"/>
                    </a:lnTo>
                    <a:lnTo>
                      <a:pt x="1174" y="1100"/>
                    </a:lnTo>
                    <a:lnTo>
                      <a:pt x="1174" y="1100"/>
                    </a:lnTo>
                    <a:lnTo>
                      <a:pt x="1174" y="1100"/>
                    </a:lnTo>
                    <a:lnTo>
                      <a:pt x="1174" y="1102"/>
                    </a:lnTo>
                    <a:lnTo>
                      <a:pt x="1174" y="1102"/>
                    </a:lnTo>
                    <a:lnTo>
                      <a:pt x="1174" y="1104"/>
                    </a:lnTo>
                    <a:lnTo>
                      <a:pt x="1176" y="1108"/>
                    </a:lnTo>
                    <a:lnTo>
                      <a:pt x="1176" y="1108"/>
                    </a:lnTo>
                    <a:lnTo>
                      <a:pt x="1178" y="1108"/>
                    </a:lnTo>
                    <a:lnTo>
                      <a:pt x="1180" y="1112"/>
                    </a:lnTo>
                    <a:lnTo>
                      <a:pt x="1180" y="1112"/>
                    </a:lnTo>
                    <a:lnTo>
                      <a:pt x="1180" y="1114"/>
                    </a:lnTo>
                    <a:lnTo>
                      <a:pt x="1184" y="1116"/>
                    </a:lnTo>
                    <a:lnTo>
                      <a:pt x="1184" y="1116"/>
                    </a:lnTo>
                    <a:lnTo>
                      <a:pt x="1186" y="1118"/>
                    </a:lnTo>
                    <a:lnTo>
                      <a:pt x="1188" y="1118"/>
                    </a:lnTo>
                    <a:lnTo>
                      <a:pt x="1190" y="1120"/>
                    </a:lnTo>
                    <a:lnTo>
                      <a:pt x="1190" y="1120"/>
                    </a:lnTo>
                    <a:lnTo>
                      <a:pt x="1190" y="1120"/>
                    </a:lnTo>
                    <a:lnTo>
                      <a:pt x="1192" y="1120"/>
                    </a:lnTo>
                    <a:lnTo>
                      <a:pt x="1196" y="1120"/>
                    </a:lnTo>
                    <a:lnTo>
                      <a:pt x="1204" y="1120"/>
                    </a:lnTo>
                    <a:lnTo>
                      <a:pt x="1206" y="1120"/>
                    </a:lnTo>
                    <a:lnTo>
                      <a:pt x="1210" y="1118"/>
                    </a:lnTo>
                    <a:lnTo>
                      <a:pt x="1214" y="1118"/>
                    </a:lnTo>
                    <a:lnTo>
                      <a:pt x="1214" y="1118"/>
                    </a:lnTo>
                    <a:lnTo>
                      <a:pt x="1214" y="1118"/>
                    </a:lnTo>
                    <a:lnTo>
                      <a:pt x="1216" y="1116"/>
                    </a:lnTo>
                    <a:lnTo>
                      <a:pt x="1216" y="1116"/>
                    </a:lnTo>
                    <a:lnTo>
                      <a:pt x="1216" y="1116"/>
                    </a:lnTo>
                    <a:lnTo>
                      <a:pt x="1218" y="1114"/>
                    </a:lnTo>
                    <a:lnTo>
                      <a:pt x="1218" y="1114"/>
                    </a:lnTo>
                    <a:lnTo>
                      <a:pt x="1218" y="1112"/>
                    </a:lnTo>
                    <a:lnTo>
                      <a:pt x="1218" y="1112"/>
                    </a:lnTo>
                    <a:lnTo>
                      <a:pt x="1218" y="1112"/>
                    </a:lnTo>
                    <a:lnTo>
                      <a:pt x="1218" y="1110"/>
                    </a:lnTo>
                    <a:lnTo>
                      <a:pt x="1218" y="1108"/>
                    </a:lnTo>
                    <a:lnTo>
                      <a:pt x="1218" y="1106"/>
                    </a:lnTo>
                    <a:lnTo>
                      <a:pt x="1218" y="1104"/>
                    </a:lnTo>
                    <a:lnTo>
                      <a:pt x="1216" y="1102"/>
                    </a:lnTo>
                    <a:lnTo>
                      <a:pt x="1216" y="1100"/>
                    </a:lnTo>
                    <a:lnTo>
                      <a:pt x="1218" y="1098"/>
                    </a:lnTo>
                    <a:lnTo>
                      <a:pt x="1218" y="1096"/>
                    </a:lnTo>
                    <a:lnTo>
                      <a:pt x="1220" y="1094"/>
                    </a:lnTo>
                    <a:lnTo>
                      <a:pt x="1224" y="1088"/>
                    </a:lnTo>
                    <a:lnTo>
                      <a:pt x="1228" y="1082"/>
                    </a:lnTo>
                    <a:lnTo>
                      <a:pt x="1232" y="1080"/>
                    </a:lnTo>
                    <a:lnTo>
                      <a:pt x="1234" y="1078"/>
                    </a:lnTo>
                    <a:lnTo>
                      <a:pt x="1238" y="1076"/>
                    </a:lnTo>
                    <a:lnTo>
                      <a:pt x="1242" y="1074"/>
                    </a:lnTo>
                    <a:lnTo>
                      <a:pt x="1246" y="1072"/>
                    </a:lnTo>
                    <a:lnTo>
                      <a:pt x="1252" y="1068"/>
                    </a:lnTo>
                    <a:lnTo>
                      <a:pt x="1256" y="1066"/>
                    </a:lnTo>
                    <a:lnTo>
                      <a:pt x="1262" y="1066"/>
                    </a:lnTo>
                    <a:lnTo>
                      <a:pt x="1266" y="1064"/>
                    </a:lnTo>
                    <a:lnTo>
                      <a:pt x="1272" y="1062"/>
                    </a:lnTo>
                    <a:lnTo>
                      <a:pt x="1276" y="1062"/>
                    </a:lnTo>
                    <a:lnTo>
                      <a:pt x="1282" y="1062"/>
                    </a:lnTo>
                    <a:lnTo>
                      <a:pt x="1286" y="1064"/>
                    </a:lnTo>
                    <a:lnTo>
                      <a:pt x="1292" y="1064"/>
                    </a:lnTo>
                    <a:lnTo>
                      <a:pt x="1298" y="1066"/>
                    </a:lnTo>
                    <a:lnTo>
                      <a:pt x="1302" y="1066"/>
                    </a:lnTo>
                    <a:lnTo>
                      <a:pt x="1308" y="1068"/>
                    </a:lnTo>
                    <a:lnTo>
                      <a:pt x="1312" y="1068"/>
                    </a:lnTo>
                    <a:lnTo>
                      <a:pt x="1316" y="1070"/>
                    </a:lnTo>
                    <a:lnTo>
                      <a:pt x="1320" y="1070"/>
                    </a:lnTo>
                    <a:lnTo>
                      <a:pt x="1322" y="1072"/>
                    </a:lnTo>
                    <a:lnTo>
                      <a:pt x="1324" y="1072"/>
                    </a:lnTo>
                    <a:lnTo>
                      <a:pt x="1328" y="1072"/>
                    </a:lnTo>
                    <a:lnTo>
                      <a:pt x="1330" y="1074"/>
                    </a:lnTo>
                    <a:lnTo>
                      <a:pt x="1332" y="1074"/>
                    </a:lnTo>
                    <a:lnTo>
                      <a:pt x="1332" y="1074"/>
                    </a:lnTo>
                    <a:lnTo>
                      <a:pt x="1334" y="1074"/>
                    </a:lnTo>
                    <a:lnTo>
                      <a:pt x="1336" y="1072"/>
                    </a:lnTo>
                    <a:lnTo>
                      <a:pt x="1336" y="1072"/>
                    </a:lnTo>
                    <a:lnTo>
                      <a:pt x="1336" y="1072"/>
                    </a:lnTo>
                    <a:lnTo>
                      <a:pt x="1338" y="1072"/>
                    </a:lnTo>
                    <a:lnTo>
                      <a:pt x="1338" y="1072"/>
                    </a:lnTo>
                    <a:lnTo>
                      <a:pt x="1340" y="1070"/>
                    </a:lnTo>
                    <a:lnTo>
                      <a:pt x="1340" y="1068"/>
                    </a:lnTo>
                    <a:lnTo>
                      <a:pt x="1340" y="1068"/>
                    </a:lnTo>
                    <a:lnTo>
                      <a:pt x="1342" y="1068"/>
                    </a:lnTo>
                    <a:lnTo>
                      <a:pt x="1342" y="1066"/>
                    </a:lnTo>
                    <a:lnTo>
                      <a:pt x="1344" y="1064"/>
                    </a:lnTo>
                    <a:lnTo>
                      <a:pt x="1346" y="1060"/>
                    </a:lnTo>
                    <a:lnTo>
                      <a:pt x="1348" y="1058"/>
                    </a:lnTo>
                    <a:lnTo>
                      <a:pt x="1348" y="1056"/>
                    </a:lnTo>
                    <a:lnTo>
                      <a:pt x="1350" y="1056"/>
                    </a:lnTo>
                    <a:lnTo>
                      <a:pt x="1352" y="1054"/>
                    </a:lnTo>
                    <a:lnTo>
                      <a:pt x="1356" y="1054"/>
                    </a:lnTo>
                    <a:lnTo>
                      <a:pt x="1360" y="1054"/>
                    </a:lnTo>
                    <a:lnTo>
                      <a:pt x="1364" y="1054"/>
                    </a:lnTo>
                    <a:lnTo>
                      <a:pt x="1368" y="1054"/>
                    </a:lnTo>
                    <a:lnTo>
                      <a:pt x="1372" y="1054"/>
                    </a:lnTo>
                    <a:lnTo>
                      <a:pt x="1376" y="1054"/>
                    </a:lnTo>
                    <a:lnTo>
                      <a:pt x="1378" y="1054"/>
                    </a:lnTo>
                    <a:lnTo>
                      <a:pt x="1380" y="1054"/>
                    </a:lnTo>
                    <a:lnTo>
                      <a:pt x="1382" y="1054"/>
                    </a:lnTo>
                    <a:lnTo>
                      <a:pt x="1382" y="1056"/>
                    </a:lnTo>
                    <a:lnTo>
                      <a:pt x="1384" y="1056"/>
                    </a:lnTo>
                    <a:lnTo>
                      <a:pt x="1384" y="1058"/>
                    </a:lnTo>
                    <a:lnTo>
                      <a:pt x="1384" y="1058"/>
                    </a:lnTo>
                    <a:lnTo>
                      <a:pt x="1386" y="1058"/>
                    </a:lnTo>
                    <a:lnTo>
                      <a:pt x="1386" y="1058"/>
                    </a:lnTo>
                    <a:lnTo>
                      <a:pt x="1386" y="1058"/>
                    </a:lnTo>
                    <a:lnTo>
                      <a:pt x="1388" y="1058"/>
                    </a:lnTo>
                    <a:lnTo>
                      <a:pt x="1388" y="1058"/>
                    </a:lnTo>
                    <a:lnTo>
                      <a:pt x="1392" y="1060"/>
                    </a:lnTo>
                    <a:lnTo>
                      <a:pt x="1394" y="1060"/>
                    </a:lnTo>
                    <a:lnTo>
                      <a:pt x="1398" y="1060"/>
                    </a:lnTo>
                    <a:lnTo>
                      <a:pt x="1398" y="1060"/>
                    </a:lnTo>
                    <a:lnTo>
                      <a:pt x="1398" y="1060"/>
                    </a:lnTo>
                    <a:lnTo>
                      <a:pt x="1402" y="1060"/>
                    </a:lnTo>
                    <a:lnTo>
                      <a:pt x="1402" y="1060"/>
                    </a:lnTo>
                    <a:lnTo>
                      <a:pt x="1402" y="1060"/>
                    </a:lnTo>
                    <a:lnTo>
                      <a:pt x="1404" y="1060"/>
                    </a:lnTo>
                    <a:lnTo>
                      <a:pt x="1404" y="1060"/>
                    </a:lnTo>
                    <a:lnTo>
                      <a:pt x="1404" y="1060"/>
                    </a:lnTo>
                    <a:lnTo>
                      <a:pt x="1406" y="1058"/>
                    </a:lnTo>
                    <a:lnTo>
                      <a:pt x="1408" y="1056"/>
                    </a:lnTo>
                    <a:lnTo>
                      <a:pt x="1410" y="1054"/>
                    </a:lnTo>
                    <a:lnTo>
                      <a:pt x="1410" y="1054"/>
                    </a:lnTo>
                    <a:lnTo>
                      <a:pt x="1410" y="1054"/>
                    </a:lnTo>
                    <a:lnTo>
                      <a:pt x="1412" y="1056"/>
                    </a:lnTo>
                    <a:lnTo>
                      <a:pt x="1412" y="1056"/>
                    </a:lnTo>
                    <a:lnTo>
                      <a:pt x="1414" y="1058"/>
                    </a:lnTo>
                    <a:lnTo>
                      <a:pt x="1416" y="1060"/>
                    </a:lnTo>
                    <a:lnTo>
                      <a:pt x="1420" y="1064"/>
                    </a:lnTo>
                    <a:lnTo>
                      <a:pt x="1424" y="1070"/>
                    </a:lnTo>
                    <a:lnTo>
                      <a:pt x="1428" y="1076"/>
                    </a:lnTo>
                    <a:lnTo>
                      <a:pt x="1432" y="1080"/>
                    </a:lnTo>
                    <a:lnTo>
                      <a:pt x="1434" y="1086"/>
                    </a:lnTo>
                    <a:lnTo>
                      <a:pt x="1436" y="1088"/>
                    </a:lnTo>
                    <a:lnTo>
                      <a:pt x="1438" y="1092"/>
                    </a:lnTo>
                    <a:lnTo>
                      <a:pt x="1438" y="1094"/>
                    </a:lnTo>
                    <a:lnTo>
                      <a:pt x="1438" y="1098"/>
                    </a:lnTo>
                    <a:lnTo>
                      <a:pt x="1436" y="1100"/>
                    </a:lnTo>
                    <a:lnTo>
                      <a:pt x="1436" y="1102"/>
                    </a:lnTo>
                    <a:lnTo>
                      <a:pt x="1436" y="1106"/>
                    </a:lnTo>
                    <a:lnTo>
                      <a:pt x="1436" y="1106"/>
                    </a:lnTo>
                    <a:lnTo>
                      <a:pt x="1436" y="1106"/>
                    </a:lnTo>
                    <a:lnTo>
                      <a:pt x="1436" y="1108"/>
                    </a:lnTo>
                    <a:lnTo>
                      <a:pt x="1436" y="1108"/>
                    </a:lnTo>
                    <a:lnTo>
                      <a:pt x="1436" y="1108"/>
                    </a:lnTo>
                    <a:lnTo>
                      <a:pt x="1436" y="1112"/>
                    </a:lnTo>
                    <a:lnTo>
                      <a:pt x="1436" y="1112"/>
                    </a:lnTo>
                    <a:lnTo>
                      <a:pt x="1436" y="1112"/>
                    </a:lnTo>
                    <a:lnTo>
                      <a:pt x="1438" y="1116"/>
                    </a:lnTo>
                    <a:lnTo>
                      <a:pt x="1440" y="1118"/>
                    </a:lnTo>
                    <a:lnTo>
                      <a:pt x="1444" y="1126"/>
                    </a:lnTo>
                    <a:lnTo>
                      <a:pt x="1448" y="1128"/>
                    </a:lnTo>
                    <a:lnTo>
                      <a:pt x="1450" y="1132"/>
                    </a:lnTo>
                    <a:lnTo>
                      <a:pt x="1452" y="1134"/>
                    </a:lnTo>
                    <a:lnTo>
                      <a:pt x="1456" y="1136"/>
                    </a:lnTo>
                    <a:lnTo>
                      <a:pt x="1456" y="1136"/>
                    </a:lnTo>
                    <a:lnTo>
                      <a:pt x="1456" y="1136"/>
                    </a:lnTo>
                    <a:lnTo>
                      <a:pt x="1460" y="1138"/>
                    </a:lnTo>
                    <a:lnTo>
                      <a:pt x="1460" y="1138"/>
                    </a:lnTo>
                    <a:lnTo>
                      <a:pt x="1462" y="1138"/>
                    </a:lnTo>
                    <a:lnTo>
                      <a:pt x="1464" y="1138"/>
                    </a:lnTo>
                    <a:lnTo>
                      <a:pt x="1466" y="1138"/>
                    </a:lnTo>
                    <a:lnTo>
                      <a:pt x="1466" y="1138"/>
                    </a:lnTo>
                    <a:lnTo>
                      <a:pt x="1468" y="1138"/>
                    </a:lnTo>
                    <a:lnTo>
                      <a:pt x="1470" y="1138"/>
                    </a:lnTo>
                    <a:lnTo>
                      <a:pt x="1470" y="1138"/>
                    </a:lnTo>
                    <a:lnTo>
                      <a:pt x="1470" y="1138"/>
                    </a:lnTo>
                    <a:lnTo>
                      <a:pt x="1472" y="1136"/>
                    </a:lnTo>
                    <a:lnTo>
                      <a:pt x="1472" y="1136"/>
                    </a:lnTo>
                    <a:lnTo>
                      <a:pt x="1472" y="1136"/>
                    </a:lnTo>
                    <a:lnTo>
                      <a:pt x="1474" y="1134"/>
                    </a:lnTo>
                    <a:lnTo>
                      <a:pt x="1474" y="1134"/>
                    </a:lnTo>
                    <a:lnTo>
                      <a:pt x="1474" y="1132"/>
                    </a:lnTo>
                    <a:lnTo>
                      <a:pt x="1476" y="1130"/>
                    </a:lnTo>
                    <a:lnTo>
                      <a:pt x="1476" y="1130"/>
                    </a:lnTo>
                    <a:lnTo>
                      <a:pt x="1476" y="1130"/>
                    </a:lnTo>
                    <a:lnTo>
                      <a:pt x="1476" y="1128"/>
                    </a:lnTo>
                    <a:lnTo>
                      <a:pt x="1476" y="1126"/>
                    </a:lnTo>
                    <a:lnTo>
                      <a:pt x="1478" y="1120"/>
                    </a:lnTo>
                    <a:lnTo>
                      <a:pt x="1478" y="1114"/>
                    </a:lnTo>
                    <a:lnTo>
                      <a:pt x="1478" y="1106"/>
                    </a:lnTo>
                    <a:lnTo>
                      <a:pt x="1476" y="1100"/>
                    </a:lnTo>
                    <a:lnTo>
                      <a:pt x="1476" y="1094"/>
                    </a:lnTo>
                    <a:lnTo>
                      <a:pt x="1476" y="1086"/>
                    </a:lnTo>
                    <a:lnTo>
                      <a:pt x="1474" y="1082"/>
                    </a:lnTo>
                    <a:lnTo>
                      <a:pt x="1474" y="1082"/>
                    </a:lnTo>
                    <a:lnTo>
                      <a:pt x="1474" y="1080"/>
                    </a:lnTo>
                    <a:lnTo>
                      <a:pt x="1472" y="1076"/>
                    </a:lnTo>
                    <a:lnTo>
                      <a:pt x="1470" y="1072"/>
                    </a:lnTo>
                    <a:lnTo>
                      <a:pt x="1466" y="1066"/>
                    </a:lnTo>
                    <a:lnTo>
                      <a:pt x="1462" y="1064"/>
                    </a:lnTo>
                    <a:lnTo>
                      <a:pt x="1460" y="1060"/>
                    </a:lnTo>
                    <a:lnTo>
                      <a:pt x="1458" y="1056"/>
                    </a:lnTo>
                    <a:lnTo>
                      <a:pt x="1456" y="1052"/>
                    </a:lnTo>
                    <a:lnTo>
                      <a:pt x="1454" y="1050"/>
                    </a:lnTo>
                    <a:lnTo>
                      <a:pt x="1452" y="1046"/>
                    </a:lnTo>
                    <a:lnTo>
                      <a:pt x="1452" y="1044"/>
                    </a:lnTo>
                    <a:lnTo>
                      <a:pt x="1452" y="1040"/>
                    </a:lnTo>
                    <a:lnTo>
                      <a:pt x="1452" y="1038"/>
                    </a:lnTo>
                    <a:lnTo>
                      <a:pt x="1452" y="1036"/>
                    </a:lnTo>
                    <a:lnTo>
                      <a:pt x="1452" y="1034"/>
                    </a:lnTo>
                    <a:lnTo>
                      <a:pt x="1454" y="1030"/>
                    </a:lnTo>
                    <a:lnTo>
                      <a:pt x="1458" y="1026"/>
                    </a:lnTo>
                    <a:lnTo>
                      <a:pt x="1460" y="1024"/>
                    </a:lnTo>
                    <a:lnTo>
                      <a:pt x="1462" y="1022"/>
                    </a:lnTo>
                    <a:lnTo>
                      <a:pt x="1464" y="1020"/>
                    </a:lnTo>
                    <a:lnTo>
                      <a:pt x="1468" y="1018"/>
                    </a:lnTo>
                    <a:lnTo>
                      <a:pt x="1474" y="1014"/>
                    </a:lnTo>
                    <a:lnTo>
                      <a:pt x="1482" y="1008"/>
                    </a:lnTo>
                    <a:lnTo>
                      <a:pt x="1490" y="1002"/>
                    </a:lnTo>
                    <a:lnTo>
                      <a:pt x="1498" y="998"/>
                    </a:lnTo>
                    <a:lnTo>
                      <a:pt x="1504" y="992"/>
                    </a:lnTo>
                    <a:lnTo>
                      <a:pt x="1508" y="990"/>
                    </a:lnTo>
                    <a:lnTo>
                      <a:pt x="1510" y="988"/>
                    </a:lnTo>
                    <a:lnTo>
                      <a:pt x="1516" y="984"/>
                    </a:lnTo>
                    <a:lnTo>
                      <a:pt x="1520" y="982"/>
                    </a:lnTo>
                    <a:lnTo>
                      <a:pt x="1526" y="978"/>
                    </a:lnTo>
                    <a:lnTo>
                      <a:pt x="1530" y="976"/>
                    </a:lnTo>
                    <a:lnTo>
                      <a:pt x="1534" y="972"/>
                    </a:lnTo>
                    <a:lnTo>
                      <a:pt x="1538" y="968"/>
                    </a:lnTo>
                    <a:lnTo>
                      <a:pt x="1540" y="964"/>
                    </a:lnTo>
                    <a:lnTo>
                      <a:pt x="1540" y="964"/>
                    </a:lnTo>
                    <a:lnTo>
                      <a:pt x="1542" y="964"/>
                    </a:lnTo>
                    <a:lnTo>
                      <a:pt x="1544" y="960"/>
                    </a:lnTo>
                    <a:lnTo>
                      <a:pt x="1544" y="960"/>
                    </a:lnTo>
                    <a:lnTo>
                      <a:pt x="1544" y="958"/>
                    </a:lnTo>
                    <a:lnTo>
                      <a:pt x="1546" y="954"/>
                    </a:lnTo>
                    <a:lnTo>
                      <a:pt x="1546" y="954"/>
                    </a:lnTo>
                    <a:lnTo>
                      <a:pt x="1546" y="954"/>
                    </a:lnTo>
                    <a:lnTo>
                      <a:pt x="1546" y="948"/>
                    </a:lnTo>
                    <a:lnTo>
                      <a:pt x="1546" y="942"/>
                    </a:lnTo>
                    <a:lnTo>
                      <a:pt x="1546" y="936"/>
                    </a:lnTo>
                    <a:lnTo>
                      <a:pt x="1546" y="928"/>
                    </a:lnTo>
                    <a:lnTo>
                      <a:pt x="1544" y="922"/>
                    </a:lnTo>
                    <a:lnTo>
                      <a:pt x="1544" y="916"/>
                    </a:lnTo>
                    <a:lnTo>
                      <a:pt x="1544" y="918"/>
                    </a:lnTo>
                    <a:lnTo>
                      <a:pt x="1546" y="912"/>
                    </a:lnTo>
                    <a:lnTo>
                      <a:pt x="1548" y="906"/>
                    </a:lnTo>
                    <a:lnTo>
                      <a:pt x="1550" y="902"/>
                    </a:lnTo>
                    <a:lnTo>
                      <a:pt x="1552" y="896"/>
                    </a:lnTo>
                    <a:lnTo>
                      <a:pt x="1556" y="892"/>
                    </a:lnTo>
                    <a:lnTo>
                      <a:pt x="1560" y="888"/>
                    </a:lnTo>
                    <a:lnTo>
                      <a:pt x="1562" y="884"/>
                    </a:lnTo>
                    <a:lnTo>
                      <a:pt x="1566" y="880"/>
                    </a:lnTo>
                    <a:lnTo>
                      <a:pt x="1570" y="876"/>
                    </a:lnTo>
                    <a:lnTo>
                      <a:pt x="1572" y="874"/>
                    </a:lnTo>
                    <a:lnTo>
                      <a:pt x="1574" y="872"/>
                    </a:lnTo>
                    <a:lnTo>
                      <a:pt x="1578" y="872"/>
                    </a:lnTo>
                    <a:lnTo>
                      <a:pt x="1580" y="870"/>
                    </a:lnTo>
                    <a:lnTo>
                      <a:pt x="1586" y="870"/>
                    </a:lnTo>
                    <a:lnTo>
                      <a:pt x="1590" y="868"/>
                    </a:lnTo>
                    <a:lnTo>
                      <a:pt x="1594" y="866"/>
                    </a:lnTo>
                    <a:lnTo>
                      <a:pt x="1598" y="866"/>
                    </a:lnTo>
                    <a:lnTo>
                      <a:pt x="1604" y="864"/>
                    </a:lnTo>
                    <a:lnTo>
                      <a:pt x="1608" y="862"/>
                    </a:lnTo>
                    <a:lnTo>
                      <a:pt x="1614" y="862"/>
                    </a:lnTo>
                    <a:lnTo>
                      <a:pt x="1620" y="860"/>
                    </a:lnTo>
                    <a:lnTo>
                      <a:pt x="1624" y="858"/>
                    </a:lnTo>
                    <a:lnTo>
                      <a:pt x="1628" y="856"/>
                    </a:lnTo>
                    <a:lnTo>
                      <a:pt x="1628" y="856"/>
                    </a:lnTo>
                    <a:lnTo>
                      <a:pt x="1628" y="856"/>
                    </a:lnTo>
                    <a:lnTo>
                      <a:pt x="1630" y="856"/>
                    </a:lnTo>
                    <a:lnTo>
                      <a:pt x="1630" y="856"/>
                    </a:lnTo>
                    <a:lnTo>
                      <a:pt x="1630" y="856"/>
                    </a:lnTo>
                    <a:lnTo>
                      <a:pt x="1632" y="854"/>
                    </a:lnTo>
                    <a:lnTo>
                      <a:pt x="1632" y="854"/>
                    </a:lnTo>
                    <a:lnTo>
                      <a:pt x="1632" y="854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0"/>
                    </a:lnTo>
                    <a:lnTo>
                      <a:pt x="1632" y="848"/>
                    </a:lnTo>
                    <a:lnTo>
                      <a:pt x="1632" y="848"/>
                    </a:lnTo>
                    <a:lnTo>
                      <a:pt x="1632" y="846"/>
                    </a:lnTo>
                    <a:lnTo>
                      <a:pt x="1630" y="844"/>
                    </a:lnTo>
                    <a:lnTo>
                      <a:pt x="1630" y="844"/>
                    </a:lnTo>
                    <a:lnTo>
                      <a:pt x="1630" y="844"/>
                    </a:lnTo>
                    <a:lnTo>
                      <a:pt x="1628" y="842"/>
                    </a:lnTo>
                    <a:lnTo>
                      <a:pt x="1626" y="840"/>
                    </a:lnTo>
                    <a:lnTo>
                      <a:pt x="1624" y="838"/>
                    </a:lnTo>
                    <a:lnTo>
                      <a:pt x="1622" y="836"/>
                    </a:lnTo>
                    <a:lnTo>
                      <a:pt x="1622" y="836"/>
                    </a:lnTo>
                    <a:lnTo>
                      <a:pt x="1622" y="834"/>
                    </a:lnTo>
                    <a:lnTo>
                      <a:pt x="1622" y="830"/>
                    </a:lnTo>
                    <a:lnTo>
                      <a:pt x="1622" y="824"/>
                    </a:lnTo>
                    <a:lnTo>
                      <a:pt x="1622" y="822"/>
                    </a:lnTo>
                    <a:lnTo>
                      <a:pt x="1622" y="820"/>
                    </a:lnTo>
                    <a:lnTo>
                      <a:pt x="1624" y="816"/>
                    </a:lnTo>
                    <a:lnTo>
                      <a:pt x="1624" y="816"/>
                    </a:lnTo>
                    <a:lnTo>
                      <a:pt x="1624" y="816"/>
                    </a:lnTo>
                    <a:lnTo>
                      <a:pt x="1624" y="814"/>
                    </a:lnTo>
                    <a:lnTo>
                      <a:pt x="1626" y="814"/>
                    </a:lnTo>
                    <a:lnTo>
                      <a:pt x="1630" y="814"/>
                    </a:lnTo>
                    <a:lnTo>
                      <a:pt x="1630" y="814"/>
                    </a:lnTo>
                    <a:lnTo>
                      <a:pt x="1630" y="814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4" y="810"/>
                    </a:lnTo>
                    <a:lnTo>
                      <a:pt x="1634" y="810"/>
                    </a:lnTo>
                    <a:lnTo>
                      <a:pt x="1634" y="810"/>
                    </a:lnTo>
                    <a:lnTo>
                      <a:pt x="1634" y="808"/>
                    </a:lnTo>
                    <a:lnTo>
                      <a:pt x="1636" y="808"/>
                    </a:lnTo>
                    <a:lnTo>
                      <a:pt x="1636" y="802"/>
                    </a:lnTo>
                    <a:lnTo>
                      <a:pt x="1638" y="798"/>
                    </a:lnTo>
                    <a:lnTo>
                      <a:pt x="1638" y="798"/>
                    </a:lnTo>
                    <a:lnTo>
                      <a:pt x="1640" y="796"/>
                    </a:lnTo>
                    <a:lnTo>
                      <a:pt x="1640" y="796"/>
                    </a:lnTo>
                    <a:lnTo>
                      <a:pt x="1640" y="796"/>
                    </a:lnTo>
                    <a:lnTo>
                      <a:pt x="1644" y="796"/>
                    </a:lnTo>
                    <a:lnTo>
                      <a:pt x="1648" y="796"/>
                    </a:lnTo>
                    <a:lnTo>
                      <a:pt x="1652" y="796"/>
                    </a:lnTo>
                    <a:lnTo>
                      <a:pt x="1652" y="796"/>
                    </a:lnTo>
                    <a:lnTo>
                      <a:pt x="1652" y="796"/>
                    </a:lnTo>
                    <a:lnTo>
                      <a:pt x="1654" y="796"/>
                    </a:lnTo>
                    <a:lnTo>
                      <a:pt x="1654" y="796"/>
                    </a:lnTo>
                    <a:lnTo>
                      <a:pt x="1654" y="796"/>
                    </a:lnTo>
                    <a:lnTo>
                      <a:pt x="1656" y="794"/>
                    </a:lnTo>
                    <a:lnTo>
                      <a:pt x="1660" y="794"/>
                    </a:lnTo>
                    <a:lnTo>
                      <a:pt x="1664" y="790"/>
                    </a:lnTo>
                    <a:lnTo>
                      <a:pt x="1666" y="788"/>
                    </a:lnTo>
                    <a:lnTo>
                      <a:pt x="1670" y="784"/>
                    </a:lnTo>
                    <a:lnTo>
                      <a:pt x="1670" y="782"/>
                    </a:lnTo>
                    <a:lnTo>
                      <a:pt x="1670" y="782"/>
                    </a:lnTo>
                    <a:lnTo>
                      <a:pt x="1672" y="782"/>
                    </a:lnTo>
                    <a:lnTo>
                      <a:pt x="1672" y="780"/>
                    </a:lnTo>
                    <a:lnTo>
                      <a:pt x="1672" y="780"/>
                    </a:lnTo>
                    <a:lnTo>
                      <a:pt x="1672" y="780"/>
                    </a:lnTo>
                    <a:lnTo>
                      <a:pt x="1672" y="778"/>
                    </a:lnTo>
                    <a:close/>
                    <a:moveTo>
                      <a:pt x="688" y="518"/>
                    </a:moveTo>
                    <a:lnTo>
                      <a:pt x="688" y="516"/>
                    </a:lnTo>
                    <a:lnTo>
                      <a:pt x="688" y="516"/>
                    </a:lnTo>
                    <a:lnTo>
                      <a:pt x="688" y="516"/>
                    </a:lnTo>
                    <a:lnTo>
                      <a:pt x="686" y="514"/>
                    </a:lnTo>
                    <a:lnTo>
                      <a:pt x="686" y="514"/>
                    </a:lnTo>
                    <a:lnTo>
                      <a:pt x="686" y="514"/>
                    </a:lnTo>
                    <a:lnTo>
                      <a:pt x="684" y="512"/>
                    </a:lnTo>
                    <a:lnTo>
                      <a:pt x="684" y="512"/>
                    </a:lnTo>
                    <a:lnTo>
                      <a:pt x="682" y="512"/>
                    </a:lnTo>
                    <a:lnTo>
                      <a:pt x="682" y="512"/>
                    </a:lnTo>
                    <a:lnTo>
                      <a:pt x="682" y="512"/>
                    </a:lnTo>
                    <a:lnTo>
                      <a:pt x="680" y="510"/>
                    </a:lnTo>
                    <a:lnTo>
                      <a:pt x="678" y="508"/>
                    </a:lnTo>
                    <a:lnTo>
                      <a:pt x="678" y="506"/>
                    </a:lnTo>
                    <a:lnTo>
                      <a:pt x="678" y="506"/>
                    </a:lnTo>
                    <a:lnTo>
                      <a:pt x="676" y="506"/>
                    </a:lnTo>
                    <a:lnTo>
                      <a:pt x="672" y="504"/>
                    </a:lnTo>
                    <a:lnTo>
                      <a:pt x="670" y="504"/>
                    </a:lnTo>
                    <a:lnTo>
                      <a:pt x="668" y="504"/>
                    </a:lnTo>
                    <a:lnTo>
                      <a:pt x="668" y="504"/>
                    </a:lnTo>
                    <a:lnTo>
                      <a:pt x="666" y="502"/>
                    </a:lnTo>
                    <a:lnTo>
                      <a:pt x="666" y="502"/>
                    </a:lnTo>
                    <a:lnTo>
                      <a:pt x="664" y="502"/>
                    </a:lnTo>
                    <a:lnTo>
                      <a:pt x="664" y="500"/>
                    </a:lnTo>
                    <a:lnTo>
                      <a:pt x="664" y="498"/>
                    </a:lnTo>
                    <a:lnTo>
                      <a:pt x="662" y="494"/>
                    </a:lnTo>
                    <a:lnTo>
                      <a:pt x="662" y="494"/>
                    </a:lnTo>
                    <a:lnTo>
                      <a:pt x="662" y="492"/>
                    </a:lnTo>
                    <a:lnTo>
                      <a:pt x="660" y="490"/>
                    </a:lnTo>
                    <a:lnTo>
                      <a:pt x="658" y="490"/>
                    </a:lnTo>
                    <a:lnTo>
                      <a:pt x="656" y="484"/>
                    </a:lnTo>
                    <a:lnTo>
                      <a:pt x="656" y="484"/>
                    </a:lnTo>
                    <a:lnTo>
                      <a:pt x="656" y="484"/>
                    </a:lnTo>
                    <a:lnTo>
                      <a:pt x="652" y="482"/>
                    </a:lnTo>
                    <a:lnTo>
                      <a:pt x="650" y="478"/>
                    </a:lnTo>
                    <a:lnTo>
                      <a:pt x="648" y="476"/>
                    </a:lnTo>
                    <a:lnTo>
                      <a:pt x="646" y="472"/>
                    </a:lnTo>
                    <a:lnTo>
                      <a:pt x="646" y="472"/>
                    </a:lnTo>
                    <a:lnTo>
                      <a:pt x="646" y="470"/>
                    </a:lnTo>
                    <a:lnTo>
                      <a:pt x="644" y="466"/>
                    </a:lnTo>
                    <a:lnTo>
                      <a:pt x="642" y="462"/>
                    </a:lnTo>
                    <a:lnTo>
                      <a:pt x="640" y="456"/>
                    </a:lnTo>
                    <a:lnTo>
                      <a:pt x="638" y="452"/>
                    </a:lnTo>
                    <a:lnTo>
                      <a:pt x="638" y="452"/>
                    </a:lnTo>
                    <a:lnTo>
                      <a:pt x="638" y="452"/>
                    </a:lnTo>
                    <a:lnTo>
                      <a:pt x="632" y="446"/>
                    </a:lnTo>
                    <a:lnTo>
                      <a:pt x="628" y="440"/>
                    </a:lnTo>
                    <a:lnTo>
                      <a:pt x="628" y="440"/>
                    </a:lnTo>
                    <a:lnTo>
                      <a:pt x="628" y="440"/>
                    </a:lnTo>
                    <a:lnTo>
                      <a:pt x="624" y="438"/>
                    </a:lnTo>
                    <a:lnTo>
                      <a:pt x="622" y="436"/>
                    </a:lnTo>
                    <a:lnTo>
                      <a:pt x="620" y="436"/>
                    </a:lnTo>
                    <a:lnTo>
                      <a:pt x="620" y="434"/>
                    </a:lnTo>
                    <a:lnTo>
                      <a:pt x="620" y="434"/>
                    </a:lnTo>
                    <a:lnTo>
                      <a:pt x="620" y="434"/>
                    </a:lnTo>
                    <a:lnTo>
                      <a:pt x="618" y="432"/>
                    </a:lnTo>
                    <a:lnTo>
                      <a:pt x="616" y="430"/>
                    </a:lnTo>
                    <a:lnTo>
                      <a:pt x="614" y="428"/>
                    </a:lnTo>
                    <a:lnTo>
                      <a:pt x="614" y="428"/>
                    </a:lnTo>
                    <a:lnTo>
                      <a:pt x="614" y="428"/>
                    </a:lnTo>
                    <a:lnTo>
                      <a:pt x="610" y="428"/>
                    </a:lnTo>
                    <a:lnTo>
                      <a:pt x="610" y="428"/>
                    </a:lnTo>
                    <a:lnTo>
                      <a:pt x="610" y="428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8"/>
                    </a:lnTo>
                    <a:lnTo>
                      <a:pt x="604" y="428"/>
                    </a:lnTo>
                    <a:lnTo>
                      <a:pt x="602" y="430"/>
                    </a:lnTo>
                    <a:lnTo>
                      <a:pt x="602" y="430"/>
                    </a:lnTo>
                    <a:lnTo>
                      <a:pt x="602" y="430"/>
                    </a:lnTo>
                    <a:lnTo>
                      <a:pt x="600" y="432"/>
                    </a:lnTo>
                    <a:lnTo>
                      <a:pt x="600" y="432"/>
                    </a:lnTo>
                    <a:lnTo>
                      <a:pt x="600" y="432"/>
                    </a:lnTo>
                    <a:lnTo>
                      <a:pt x="600" y="434"/>
                    </a:lnTo>
                    <a:lnTo>
                      <a:pt x="600" y="434"/>
                    </a:lnTo>
                    <a:lnTo>
                      <a:pt x="600" y="436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598" y="440"/>
                    </a:lnTo>
                    <a:lnTo>
                      <a:pt x="594" y="440"/>
                    </a:lnTo>
                    <a:lnTo>
                      <a:pt x="594" y="440"/>
                    </a:lnTo>
                    <a:lnTo>
                      <a:pt x="592" y="440"/>
                    </a:lnTo>
                    <a:lnTo>
                      <a:pt x="592" y="438"/>
                    </a:lnTo>
                    <a:lnTo>
                      <a:pt x="590" y="436"/>
                    </a:lnTo>
                    <a:lnTo>
                      <a:pt x="590" y="436"/>
                    </a:lnTo>
                    <a:lnTo>
                      <a:pt x="590" y="436"/>
                    </a:lnTo>
                    <a:lnTo>
                      <a:pt x="586" y="434"/>
                    </a:lnTo>
                    <a:lnTo>
                      <a:pt x="582" y="430"/>
                    </a:lnTo>
                    <a:lnTo>
                      <a:pt x="580" y="428"/>
                    </a:lnTo>
                    <a:lnTo>
                      <a:pt x="578" y="422"/>
                    </a:lnTo>
                    <a:lnTo>
                      <a:pt x="578" y="422"/>
                    </a:lnTo>
                    <a:lnTo>
                      <a:pt x="578" y="420"/>
                    </a:lnTo>
                    <a:lnTo>
                      <a:pt x="578" y="418"/>
                    </a:lnTo>
                    <a:lnTo>
                      <a:pt x="578" y="418"/>
                    </a:lnTo>
                    <a:lnTo>
                      <a:pt x="576" y="416"/>
                    </a:lnTo>
                    <a:lnTo>
                      <a:pt x="576" y="416"/>
                    </a:lnTo>
                    <a:lnTo>
                      <a:pt x="576" y="416"/>
                    </a:lnTo>
                    <a:lnTo>
                      <a:pt x="576" y="414"/>
                    </a:lnTo>
                    <a:lnTo>
                      <a:pt x="574" y="414"/>
                    </a:lnTo>
                    <a:lnTo>
                      <a:pt x="574" y="414"/>
                    </a:lnTo>
                    <a:lnTo>
                      <a:pt x="574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4" y="408"/>
                    </a:lnTo>
                    <a:lnTo>
                      <a:pt x="574" y="406"/>
                    </a:lnTo>
                    <a:lnTo>
                      <a:pt x="574" y="404"/>
                    </a:lnTo>
                    <a:lnTo>
                      <a:pt x="574" y="400"/>
                    </a:lnTo>
                    <a:lnTo>
                      <a:pt x="574" y="396"/>
                    </a:lnTo>
                    <a:lnTo>
                      <a:pt x="574" y="394"/>
                    </a:lnTo>
                    <a:lnTo>
                      <a:pt x="572" y="392"/>
                    </a:lnTo>
                    <a:lnTo>
                      <a:pt x="572" y="390"/>
                    </a:lnTo>
                    <a:lnTo>
                      <a:pt x="572" y="386"/>
                    </a:lnTo>
                    <a:lnTo>
                      <a:pt x="572" y="382"/>
                    </a:lnTo>
                    <a:lnTo>
                      <a:pt x="572" y="378"/>
                    </a:lnTo>
                    <a:lnTo>
                      <a:pt x="572" y="372"/>
                    </a:lnTo>
                    <a:lnTo>
                      <a:pt x="572" y="364"/>
                    </a:lnTo>
                    <a:lnTo>
                      <a:pt x="572" y="358"/>
                    </a:lnTo>
                    <a:lnTo>
                      <a:pt x="572" y="348"/>
                    </a:lnTo>
                    <a:lnTo>
                      <a:pt x="572" y="338"/>
                    </a:lnTo>
                    <a:lnTo>
                      <a:pt x="572" y="330"/>
                    </a:lnTo>
                    <a:lnTo>
                      <a:pt x="572" y="324"/>
                    </a:lnTo>
                    <a:lnTo>
                      <a:pt x="572" y="316"/>
                    </a:lnTo>
                    <a:lnTo>
                      <a:pt x="572" y="310"/>
                    </a:lnTo>
                    <a:lnTo>
                      <a:pt x="572" y="302"/>
                    </a:lnTo>
                    <a:lnTo>
                      <a:pt x="572" y="292"/>
                    </a:lnTo>
                    <a:lnTo>
                      <a:pt x="572" y="276"/>
                    </a:lnTo>
                    <a:lnTo>
                      <a:pt x="572" y="256"/>
                    </a:lnTo>
                    <a:lnTo>
                      <a:pt x="572" y="238"/>
                    </a:lnTo>
                    <a:lnTo>
                      <a:pt x="572" y="218"/>
                    </a:lnTo>
                    <a:lnTo>
                      <a:pt x="572" y="200"/>
                    </a:lnTo>
                    <a:lnTo>
                      <a:pt x="572" y="180"/>
                    </a:lnTo>
                    <a:lnTo>
                      <a:pt x="572" y="162"/>
                    </a:lnTo>
                    <a:lnTo>
                      <a:pt x="572" y="144"/>
                    </a:lnTo>
                    <a:lnTo>
                      <a:pt x="572" y="136"/>
                    </a:lnTo>
                    <a:lnTo>
                      <a:pt x="572" y="130"/>
                    </a:lnTo>
                    <a:lnTo>
                      <a:pt x="572" y="122"/>
                    </a:lnTo>
                    <a:lnTo>
                      <a:pt x="572" y="114"/>
                    </a:lnTo>
                    <a:lnTo>
                      <a:pt x="572" y="108"/>
                    </a:lnTo>
                    <a:lnTo>
                      <a:pt x="574" y="102"/>
                    </a:lnTo>
                    <a:lnTo>
                      <a:pt x="574" y="88"/>
                    </a:lnTo>
                    <a:lnTo>
                      <a:pt x="574" y="86"/>
                    </a:lnTo>
                    <a:lnTo>
                      <a:pt x="574" y="82"/>
                    </a:lnTo>
                    <a:lnTo>
                      <a:pt x="574" y="80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6" y="74"/>
                    </a:lnTo>
                    <a:lnTo>
                      <a:pt x="576" y="74"/>
                    </a:lnTo>
                    <a:lnTo>
                      <a:pt x="576" y="72"/>
                    </a:lnTo>
                    <a:lnTo>
                      <a:pt x="576" y="72"/>
                    </a:lnTo>
                    <a:lnTo>
                      <a:pt x="576" y="72"/>
                    </a:lnTo>
                    <a:lnTo>
                      <a:pt x="576" y="70"/>
                    </a:lnTo>
                    <a:lnTo>
                      <a:pt x="576" y="68"/>
                    </a:lnTo>
                    <a:lnTo>
                      <a:pt x="576" y="68"/>
                    </a:lnTo>
                    <a:lnTo>
                      <a:pt x="576" y="68"/>
                    </a:lnTo>
                    <a:lnTo>
                      <a:pt x="576" y="66"/>
                    </a:lnTo>
                    <a:lnTo>
                      <a:pt x="576" y="66"/>
                    </a:lnTo>
                    <a:lnTo>
                      <a:pt x="576" y="66"/>
                    </a:lnTo>
                    <a:lnTo>
                      <a:pt x="576" y="64"/>
                    </a:lnTo>
                    <a:lnTo>
                      <a:pt x="576" y="64"/>
                    </a:lnTo>
                    <a:lnTo>
                      <a:pt x="574" y="64"/>
                    </a:lnTo>
                    <a:lnTo>
                      <a:pt x="574" y="64"/>
                    </a:lnTo>
                    <a:lnTo>
                      <a:pt x="574" y="64"/>
                    </a:lnTo>
                    <a:lnTo>
                      <a:pt x="570" y="64"/>
                    </a:lnTo>
                    <a:lnTo>
                      <a:pt x="570" y="66"/>
                    </a:lnTo>
                    <a:lnTo>
                      <a:pt x="570" y="66"/>
                    </a:lnTo>
                    <a:lnTo>
                      <a:pt x="570" y="66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68" y="68"/>
                    </a:lnTo>
                    <a:lnTo>
                      <a:pt x="566" y="68"/>
                    </a:lnTo>
                    <a:lnTo>
                      <a:pt x="560" y="66"/>
                    </a:lnTo>
                    <a:lnTo>
                      <a:pt x="554" y="66"/>
                    </a:lnTo>
                    <a:lnTo>
                      <a:pt x="546" y="66"/>
                    </a:lnTo>
                    <a:lnTo>
                      <a:pt x="538" y="66"/>
                    </a:lnTo>
                    <a:lnTo>
                      <a:pt x="532" y="68"/>
                    </a:lnTo>
                    <a:lnTo>
                      <a:pt x="524" y="68"/>
                    </a:lnTo>
                    <a:lnTo>
                      <a:pt x="518" y="66"/>
                    </a:lnTo>
                    <a:lnTo>
                      <a:pt x="508" y="66"/>
                    </a:lnTo>
                    <a:lnTo>
                      <a:pt x="498" y="64"/>
                    </a:lnTo>
                    <a:lnTo>
                      <a:pt x="490" y="62"/>
                    </a:lnTo>
                    <a:lnTo>
                      <a:pt x="486" y="60"/>
                    </a:lnTo>
                    <a:lnTo>
                      <a:pt x="482" y="60"/>
                    </a:lnTo>
                    <a:lnTo>
                      <a:pt x="478" y="56"/>
                    </a:lnTo>
                    <a:lnTo>
                      <a:pt x="478" y="58"/>
                    </a:lnTo>
                    <a:lnTo>
                      <a:pt x="474" y="54"/>
                    </a:lnTo>
                    <a:lnTo>
                      <a:pt x="470" y="50"/>
                    </a:lnTo>
                    <a:lnTo>
                      <a:pt x="464" y="44"/>
                    </a:lnTo>
                    <a:lnTo>
                      <a:pt x="460" y="40"/>
                    </a:lnTo>
                    <a:lnTo>
                      <a:pt x="460" y="40"/>
                    </a:lnTo>
                    <a:lnTo>
                      <a:pt x="460" y="40"/>
                    </a:lnTo>
                    <a:lnTo>
                      <a:pt x="458" y="38"/>
                    </a:lnTo>
                    <a:lnTo>
                      <a:pt x="458" y="38"/>
                    </a:lnTo>
                    <a:lnTo>
                      <a:pt x="456" y="38"/>
                    </a:lnTo>
                    <a:lnTo>
                      <a:pt x="452" y="38"/>
                    </a:lnTo>
                    <a:lnTo>
                      <a:pt x="452" y="38"/>
                    </a:lnTo>
                    <a:lnTo>
                      <a:pt x="452" y="38"/>
                    </a:lnTo>
                    <a:lnTo>
                      <a:pt x="448" y="38"/>
                    </a:lnTo>
                    <a:lnTo>
                      <a:pt x="448" y="38"/>
                    </a:lnTo>
                    <a:lnTo>
                      <a:pt x="448" y="38"/>
                    </a:lnTo>
                    <a:lnTo>
                      <a:pt x="444" y="38"/>
                    </a:lnTo>
                    <a:lnTo>
                      <a:pt x="444" y="38"/>
                    </a:lnTo>
                    <a:lnTo>
                      <a:pt x="444" y="40"/>
                    </a:lnTo>
                    <a:lnTo>
                      <a:pt x="440" y="42"/>
                    </a:lnTo>
                    <a:lnTo>
                      <a:pt x="436" y="44"/>
                    </a:lnTo>
                    <a:lnTo>
                      <a:pt x="434" y="46"/>
                    </a:lnTo>
                    <a:lnTo>
                      <a:pt x="430" y="48"/>
                    </a:lnTo>
                    <a:lnTo>
                      <a:pt x="428" y="50"/>
                    </a:lnTo>
                    <a:lnTo>
                      <a:pt x="426" y="50"/>
                    </a:lnTo>
                    <a:lnTo>
                      <a:pt x="424" y="50"/>
                    </a:lnTo>
                    <a:lnTo>
                      <a:pt x="422" y="50"/>
                    </a:lnTo>
                    <a:lnTo>
                      <a:pt x="420" y="50"/>
                    </a:lnTo>
                    <a:lnTo>
                      <a:pt x="420" y="50"/>
                    </a:lnTo>
                    <a:lnTo>
                      <a:pt x="418" y="46"/>
                    </a:lnTo>
                    <a:lnTo>
                      <a:pt x="414" y="44"/>
                    </a:lnTo>
                    <a:lnTo>
                      <a:pt x="412" y="42"/>
                    </a:lnTo>
                    <a:lnTo>
                      <a:pt x="412" y="40"/>
                    </a:lnTo>
                    <a:lnTo>
                      <a:pt x="408" y="36"/>
                    </a:lnTo>
                    <a:lnTo>
                      <a:pt x="406" y="32"/>
                    </a:lnTo>
                    <a:lnTo>
                      <a:pt x="404" y="30"/>
                    </a:lnTo>
                    <a:lnTo>
                      <a:pt x="402" y="28"/>
                    </a:lnTo>
                    <a:lnTo>
                      <a:pt x="400" y="26"/>
                    </a:lnTo>
                    <a:lnTo>
                      <a:pt x="400" y="26"/>
                    </a:lnTo>
                    <a:lnTo>
                      <a:pt x="398" y="26"/>
                    </a:lnTo>
                    <a:lnTo>
                      <a:pt x="396" y="24"/>
                    </a:lnTo>
                    <a:lnTo>
                      <a:pt x="396" y="24"/>
                    </a:lnTo>
                    <a:lnTo>
                      <a:pt x="396" y="24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0"/>
                    </a:lnTo>
                    <a:lnTo>
                      <a:pt x="382" y="20"/>
                    </a:lnTo>
                    <a:lnTo>
                      <a:pt x="382" y="20"/>
                    </a:lnTo>
                    <a:lnTo>
                      <a:pt x="380" y="20"/>
                    </a:lnTo>
                    <a:lnTo>
                      <a:pt x="376" y="20"/>
                    </a:lnTo>
                    <a:lnTo>
                      <a:pt x="376" y="20"/>
                    </a:lnTo>
                    <a:lnTo>
                      <a:pt x="376" y="20"/>
                    </a:lnTo>
                    <a:lnTo>
                      <a:pt x="374" y="20"/>
                    </a:lnTo>
                    <a:lnTo>
                      <a:pt x="370" y="22"/>
                    </a:lnTo>
                    <a:lnTo>
                      <a:pt x="368" y="24"/>
                    </a:lnTo>
                    <a:lnTo>
                      <a:pt x="364" y="26"/>
                    </a:lnTo>
                    <a:lnTo>
                      <a:pt x="360" y="28"/>
                    </a:lnTo>
                    <a:lnTo>
                      <a:pt x="358" y="30"/>
                    </a:lnTo>
                    <a:lnTo>
                      <a:pt x="354" y="34"/>
                    </a:lnTo>
                    <a:lnTo>
                      <a:pt x="352" y="36"/>
                    </a:lnTo>
                    <a:lnTo>
                      <a:pt x="350" y="36"/>
                    </a:lnTo>
                    <a:lnTo>
                      <a:pt x="350" y="36"/>
                    </a:lnTo>
                    <a:lnTo>
                      <a:pt x="352" y="30"/>
                    </a:lnTo>
                    <a:lnTo>
                      <a:pt x="352" y="26"/>
                    </a:lnTo>
                    <a:lnTo>
                      <a:pt x="354" y="24"/>
                    </a:lnTo>
                    <a:lnTo>
                      <a:pt x="354" y="22"/>
                    </a:lnTo>
                    <a:lnTo>
                      <a:pt x="358" y="16"/>
                    </a:lnTo>
                    <a:lnTo>
                      <a:pt x="360" y="14"/>
                    </a:lnTo>
                    <a:lnTo>
                      <a:pt x="360" y="12"/>
                    </a:lnTo>
                    <a:lnTo>
                      <a:pt x="360" y="12"/>
                    </a:lnTo>
                    <a:lnTo>
                      <a:pt x="360" y="10"/>
                    </a:lnTo>
                    <a:lnTo>
                      <a:pt x="362" y="8"/>
                    </a:lnTo>
                    <a:lnTo>
                      <a:pt x="362" y="8"/>
                    </a:lnTo>
                    <a:lnTo>
                      <a:pt x="362" y="8"/>
                    </a:lnTo>
                    <a:lnTo>
                      <a:pt x="360" y="6"/>
                    </a:lnTo>
                    <a:lnTo>
                      <a:pt x="360" y="6"/>
                    </a:lnTo>
                    <a:lnTo>
                      <a:pt x="360" y="4"/>
                    </a:lnTo>
                    <a:lnTo>
                      <a:pt x="358" y="4"/>
                    </a:lnTo>
                    <a:lnTo>
                      <a:pt x="358" y="4"/>
                    </a:lnTo>
                    <a:lnTo>
                      <a:pt x="358" y="4"/>
                    </a:lnTo>
                    <a:lnTo>
                      <a:pt x="356" y="2"/>
                    </a:lnTo>
                    <a:lnTo>
                      <a:pt x="356" y="2"/>
                    </a:lnTo>
                    <a:lnTo>
                      <a:pt x="356" y="2"/>
                    </a:lnTo>
                    <a:lnTo>
                      <a:pt x="354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46" y="0"/>
                    </a:lnTo>
                    <a:lnTo>
                      <a:pt x="344" y="0"/>
                    </a:lnTo>
                    <a:lnTo>
                      <a:pt x="344" y="0"/>
                    </a:lnTo>
                    <a:lnTo>
                      <a:pt x="344" y="0"/>
                    </a:lnTo>
                    <a:lnTo>
                      <a:pt x="342" y="0"/>
                    </a:lnTo>
                    <a:lnTo>
                      <a:pt x="342" y="0"/>
                    </a:lnTo>
                    <a:lnTo>
                      <a:pt x="340" y="2"/>
                    </a:lnTo>
                    <a:lnTo>
                      <a:pt x="338" y="2"/>
                    </a:lnTo>
                    <a:lnTo>
                      <a:pt x="338" y="2"/>
                    </a:lnTo>
                    <a:lnTo>
                      <a:pt x="338" y="4"/>
                    </a:lnTo>
                    <a:lnTo>
                      <a:pt x="336" y="6"/>
                    </a:lnTo>
                    <a:lnTo>
                      <a:pt x="336" y="6"/>
                    </a:lnTo>
                    <a:lnTo>
                      <a:pt x="336" y="6"/>
                    </a:lnTo>
                    <a:lnTo>
                      <a:pt x="336" y="8"/>
                    </a:lnTo>
                    <a:lnTo>
                      <a:pt x="334" y="12"/>
                    </a:lnTo>
                    <a:lnTo>
                      <a:pt x="334" y="16"/>
                    </a:lnTo>
                    <a:lnTo>
                      <a:pt x="334" y="20"/>
                    </a:lnTo>
                    <a:lnTo>
                      <a:pt x="332" y="22"/>
                    </a:lnTo>
                    <a:lnTo>
                      <a:pt x="332" y="24"/>
                    </a:lnTo>
                    <a:lnTo>
                      <a:pt x="330" y="26"/>
                    </a:lnTo>
                    <a:lnTo>
                      <a:pt x="328" y="26"/>
                    </a:lnTo>
                    <a:lnTo>
                      <a:pt x="326" y="26"/>
                    </a:lnTo>
                    <a:lnTo>
                      <a:pt x="322" y="26"/>
                    </a:lnTo>
                    <a:lnTo>
                      <a:pt x="318" y="26"/>
                    </a:lnTo>
                    <a:lnTo>
                      <a:pt x="312" y="26"/>
                    </a:lnTo>
                    <a:lnTo>
                      <a:pt x="308" y="26"/>
                    </a:lnTo>
                    <a:lnTo>
                      <a:pt x="304" y="24"/>
                    </a:lnTo>
                    <a:lnTo>
                      <a:pt x="304" y="24"/>
                    </a:lnTo>
                    <a:lnTo>
                      <a:pt x="304" y="24"/>
                    </a:lnTo>
                    <a:lnTo>
                      <a:pt x="302" y="26"/>
                    </a:lnTo>
                    <a:lnTo>
                      <a:pt x="302" y="26"/>
                    </a:lnTo>
                    <a:lnTo>
                      <a:pt x="300" y="26"/>
                    </a:lnTo>
                    <a:lnTo>
                      <a:pt x="298" y="26"/>
                    </a:lnTo>
                    <a:lnTo>
                      <a:pt x="298" y="26"/>
                    </a:lnTo>
                    <a:lnTo>
                      <a:pt x="298" y="28"/>
                    </a:lnTo>
                    <a:lnTo>
                      <a:pt x="296" y="28"/>
                    </a:lnTo>
                    <a:lnTo>
                      <a:pt x="296" y="28"/>
                    </a:lnTo>
                    <a:lnTo>
                      <a:pt x="296" y="30"/>
                    </a:lnTo>
                    <a:lnTo>
                      <a:pt x="296" y="30"/>
                    </a:lnTo>
                    <a:lnTo>
                      <a:pt x="296" y="30"/>
                    </a:lnTo>
                    <a:lnTo>
                      <a:pt x="296" y="32"/>
                    </a:lnTo>
                    <a:lnTo>
                      <a:pt x="294" y="34"/>
                    </a:lnTo>
                    <a:lnTo>
                      <a:pt x="294" y="34"/>
                    </a:lnTo>
                    <a:lnTo>
                      <a:pt x="294" y="34"/>
                    </a:lnTo>
                    <a:lnTo>
                      <a:pt x="294" y="38"/>
                    </a:lnTo>
                    <a:lnTo>
                      <a:pt x="294" y="42"/>
                    </a:lnTo>
                    <a:lnTo>
                      <a:pt x="292" y="44"/>
                    </a:lnTo>
                    <a:lnTo>
                      <a:pt x="294" y="46"/>
                    </a:lnTo>
                    <a:lnTo>
                      <a:pt x="294" y="52"/>
                    </a:lnTo>
                    <a:lnTo>
                      <a:pt x="294" y="54"/>
                    </a:lnTo>
                    <a:lnTo>
                      <a:pt x="294" y="54"/>
                    </a:lnTo>
                    <a:lnTo>
                      <a:pt x="292" y="54"/>
                    </a:lnTo>
                    <a:lnTo>
                      <a:pt x="290" y="52"/>
                    </a:lnTo>
                    <a:lnTo>
                      <a:pt x="286" y="52"/>
                    </a:lnTo>
                    <a:lnTo>
                      <a:pt x="284" y="50"/>
                    </a:lnTo>
                    <a:lnTo>
                      <a:pt x="282" y="50"/>
                    </a:lnTo>
                    <a:lnTo>
                      <a:pt x="280" y="50"/>
                    </a:lnTo>
                    <a:lnTo>
                      <a:pt x="272" y="50"/>
                    </a:lnTo>
                    <a:lnTo>
                      <a:pt x="270" y="48"/>
                    </a:lnTo>
                    <a:lnTo>
                      <a:pt x="266" y="50"/>
                    </a:lnTo>
                    <a:lnTo>
                      <a:pt x="266" y="50"/>
                    </a:lnTo>
                    <a:lnTo>
                      <a:pt x="266" y="50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0" y="52"/>
                    </a:lnTo>
                    <a:lnTo>
                      <a:pt x="260" y="52"/>
                    </a:lnTo>
                    <a:lnTo>
                      <a:pt x="258" y="52"/>
                    </a:lnTo>
                    <a:lnTo>
                      <a:pt x="256" y="54"/>
                    </a:lnTo>
                    <a:lnTo>
                      <a:pt x="252" y="56"/>
                    </a:lnTo>
                    <a:lnTo>
                      <a:pt x="250" y="58"/>
                    </a:lnTo>
                    <a:lnTo>
                      <a:pt x="248" y="62"/>
                    </a:lnTo>
                    <a:lnTo>
                      <a:pt x="244" y="68"/>
                    </a:lnTo>
                    <a:lnTo>
                      <a:pt x="242" y="72"/>
                    </a:lnTo>
                    <a:lnTo>
                      <a:pt x="242" y="74"/>
                    </a:lnTo>
                    <a:lnTo>
                      <a:pt x="240" y="78"/>
                    </a:lnTo>
                    <a:lnTo>
                      <a:pt x="240" y="80"/>
                    </a:lnTo>
                    <a:lnTo>
                      <a:pt x="240" y="80"/>
                    </a:lnTo>
                    <a:lnTo>
                      <a:pt x="240" y="80"/>
                    </a:lnTo>
                    <a:lnTo>
                      <a:pt x="240" y="86"/>
                    </a:lnTo>
                    <a:lnTo>
                      <a:pt x="240" y="90"/>
                    </a:lnTo>
                    <a:lnTo>
                      <a:pt x="240" y="92"/>
                    </a:lnTo>
                    <a:lnTo>
                      <a:pt x="240" y="94"/>
                    </a:lnTo>
                    <a:lnTo>
                      <a:pt x="240" y="94"/>
                    </a:lnTo>
                    <a:lnTo>
                      <a:pt x="238" y="94"/>
                    </a:lnTo>
                    <a:lnTo>
                      <a:pt x="236" y="96"/>
                    </a:lnTo>
                    <a:lnTo>
                      <a:pt x="232" y="96"/>
                    </a:lnTo>
                    <a:lnTo>
                      <a:pt x="230" y="98"/>
                    </a:lnTo>
                    <a:lnTo>
                      <a:pt x="230" y="98"/>
                    </a:lnTo>
                    <a:lnTo>
                      <a:pt x="230" y="98"/>
                    </a:lnTo>
                    <a:lnTo>
                      <a:pt x="228" y="98"/>
                    </a:lnTo>
                    <a:lnTo>
                      <a:pt x="228" y="98"/>
                    </a:lnTo>
                    <a:lnTo>
                      <a:pt x="228" y="98"/>
                    </a:lnTo>
                    <a:lnTo>
                      <a:pt x="224" y="102"/>
                    </a:lnTo>
                    <a:lnTo>
                      <a:pt x="222" y="104"/>
                    </a:lnTo>
                    <a:lnTo>
                      <a:pt x="218" y="108"/>
                    </a:lnTo>
                    <a:lnTo>
                      <a:pt x="214" y="110"/>
                    </a:lnTo>
                    <a:lnTo>
                      <a:pt x="214" y="110"/>
                    </a:lnTo>
                    <a:lnTo>
                      <a:pt x="212" y="112"/>
                    </a:lnTo>
                    <a:lnTo>
                      <a:pt x="206" y="112"/>
                    </a:lnTo>
                    <a:lnTo>
                      <a:pt x="200" y="114"/>
                    </a:lnTo>
                    <a:lnTo>
                      <a:pt x="198" y="114"/>
                    </a:lnTo>
                    <a:lnTo>
                      <a:pt x="196" y="116"/>
                    </a:lnTo>
                    <a:lnTo>
                      <a:pt x="196" y="116"/>
                    </a:lnTo>
                    <a:lnTo>
                      <a:pt x="196" y="116"/>
                    </a:lnTo>
                    <a:lnTo>
                      <a:pt x="194" y="118"/>
                    </a:lnTo>
                    <a:lnTo>
                      <a:pt x="194" y="118"/>
                    </a:lnTo>
                    <a:lnTo>
                      <a:pt x="194" y="120"/>
                    </a:lnTo>
                    <a:lnTo>
                      <a:pt x="192" y="122"/>
                    </a:lnTo>
                    <a:lnTo>
                      <a:pt x="192" y="122"/>
                    </a:lnTo>
                    <a:lnTo>
                      <a:pt x="190" y="122"/>
                    </a:lnTo>
                    <a:lnTo>
                      <a:pt x="190" y="126"/>
                    </a:lnTo>
                    <a:lnTo>
                      <a:pt x="190" y="126"/>
                    </a:lnTo>
                    <a:lnTo>
                      <a:pt x="190" y="126"/>
                    </a:lnTo>
                    <a:lnTo>
                      <a:pt x="190" y="130"/>
                    </a:lnTo>
                    <a:lnTo>
                      <a:pt x="190" y="130"/>
                    </a:lnTo>
                    <a:lnTo>
                      <a:pt x="190" y="130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90" y="138"/>
                    </a:lnTo>
                    <a:lnTo>
                      <a:pt x="190" y="138"/>
                    </a:lnTo>
                    <a:lnTo>
                      <a:pt x="190" y="138"/>
                    </a:lnTo>
                    <a:lnTo>
                      <a:pt x="192" y="140"/>
                    </a:lnTo>
                    <a:lnTo>
                      <a:pt x="192" y="140"/>
                    </a:lnTo>
                    <a:lnTo>
                      <a:pt x="192" y="140"/>
                    </a:lnTo>
                    <a:lnTo>
                      <a:pt x="194" y="142"/>
                    </a:lnTo>
                    <a:lnTo>
                      <a:pt x="196" y="144"/>
                    </a:lnTo>
                    <a:lnTo>
                      <a:pt x="198" y="146"/>
                    </a:lnTo>
                    <a:lnTo>
                      <a:pt x="202" y="148"/>
                    </a:lnTo>
                    <a:lnTo>
                      <a:pt x="206" y="150"/>
                    </a:lnTo>
                    <a:lnTo>
                      <a:pt x="212" y="156"/>
                    </a:lnTo>
                    <a:lnTo>
                      <a:pt x="216" y="158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6" y="166"/>
                    </a:lnTo>
                    <a:lnTo>
                      <a:pt x="228" y="168"/>
                    </a:lnTo>
                    <a:lnTo>
                      <a:pt x="228" y="170"/>
                    </a:lnTo>
                    <a:lnTo>
                      <a:pt x="228" y="172"/>
                    </a:lnTo>
                    <a:lnTo>
                      <a:pt x="228" y="174"/>
                    </a:lnTo>
                    <a:lnTo>
                      <a:pt x="228" y="178"/>
                    </a:lnTo>
                    <a:lnTo>
                      <a:pt x="228" y="180"/>
                    </a:lnTo>
                    <a:lnTo>
                      <a:pt x="228" y="180"/>
                    </a:lnTo>
                    <a:lnTo>
                      <a:pt x="230" y="180"/>
                    </a:lnTo>
                    <a:lnTo>
                      <a:pt x="230" y="182"/>
                    </a:lnTo>
                    <a:lnTo>
                      <a:pt x="230" y="182"/>
                    </a:lnTo>
                    <a:lnTo>
                      <a:pt x="230" y="184"/>
                    </a:lnTo>
                    <a:lnTo>
                      <a:pt x="232" y="186"/>
                    </a:lnTo>
                    <a:lnTo>
                      <a:pt x="232" y="186"/>
                    </a:lnTo>
                    <a:lnTo>
                      <a:pt x="232" y="186"/>
                    </a:lnTo>
                    <a:lnTo>
                      <a:pt x="234" y="186"/>
                    </a:lnTo>
                    <a:lnTo>
                      <a:pt x="234" y="186"/>
                    </a:lnTo>
                    <a:lnTo>
                      <a:pt x="236" y="188"/>
                    </a:lnTo>
                    <a:lnTo>
                      <a:pt x="238" y="188"/>
                    </a:lnTo>
                    <a:lnTo>
                      <a:pt x="242" y="188"/>
                    </a:lnTo>
                    <a:lnTo>
                      <a:pt x="246" y="188"/>
                    </a:lnTo>
                    <a:lnTo>
                      <a:pt x="252" y="188"/>
                    </a:lnTo>
                    <a:lnTo>
                      <a:pt x="254" y="188"/>
                    </a:lnTo>
                    <a:lnTo>
                      <a:pt x="258" y="188"/>
                    </a:lnTo>
                    <a:lnTo>
                      <a:pt x="262" y="190"/>
                    </a:lnTo>
                    <a:lnTo>
                      <a:pt x="266" y="192"/>
                    </a:lnTo>
                    <a:lnTo>
                      <a:pt x="270" y="196"/>
                    </a:lnTo>
                    <a:lnTo>
                      <a:pt x="272" y="198"/>
                    </a:lnTo>
                    <a:lnTo>
                      <a:pt x="272" y="200"/>
                    </a:lnTo>
                    <a:lnTo>
                      <a:pt x="274" y="202"/>
                    </a:lnTo>
                    <a:lnTo>
                      <a:pt x="274" y="204"/>
                    </a:lnTo>
                    <a:lnTo>
                      <a:pt x="274" y="208"/>
                    </a:lnTo>
                    <a:lnTo>
                      <a:pt x="274" y="206"/>
                    </a:lnTo>
                    <a:lnTo>
                      <a:pt x="276" y="210"/>
                    </a:lnTo>
                    <a:lnTo>
                      <a:pt x="274" y="212"/>
                    </a:lnTo>
                    <a:lnTo>
                      <a:pt x="274" y="212"/>
                    </a:lnTo>
                    <a:lnTo>
                      <a:pt x="272" y="214"/>
                    </a:lnTo>
                    <a:lnTo>
                      <a:pt x="272" y="214"/>
                    </a:lnTo>
                    <a:lnTo>
                      <a:pt x="270" y="216"/>
                    </a:lnTo>
                    <a:lnTo>
                      <a:pt x="266" y="218"/>
                    </a:lnTo>
                    <a:lnTo>
                      <a:pt x="260" y="218"/>
                    </a:lnTo>
                    <a:lnTo>
                      <a:pt x="254" y="220"/>
                    </a:lnTo>
                    <a:lnTo>
                      <a:pt x="248" y="222"/>
                    </a:lnTo>
                    <a:lnTo>
                      <a:pt x="242" y="222"/>
                    </a:lnTo>
                    <a:lnTo>
                      <a:pt x="238" y="222"/>
                    </a:lnTo>
                    <a:lnTo>
                      <a:pt x="236" y="222"/>
                    </a:lnTo>
                    <a:lnTo>
                      <a:pt x="236" y="222"/>
                    </a:lnTo>
                    <a:lnTo>
                      <a:pt x="234" y="220"/>
                    </a:lnTo>
                    <a:lnTo>
                      <a:pt x="236" y="218"/>
                    </a:lnTo>
                    <a:lnTo>
                      <a:pt x="236" y="214"/>
                    </a:lnTo>
                    <a:lnTo>
                      <a:pt x="238" y="210"/>
                    </a:lnTo>
                    <a:lnTo>
                      <a:pt x="238" y="210"/>
                    </a:lnTo>
                    <a:lnTo>
                      <a:pt x="238" y="210"/>
                    </a:lnTo>
                    <a:lnTo>
                      <a:pt x="238" y="206"/>
                    </a:lnTo>
                    <a:lnTo>
                      <a:pt x="238" y="206"/>
                    </a:lnTo>
                    <a:lnTo>
                      <a:pt x="238" y="206"/>
                    </a:lnTo>
                    <a:lnTo>
                      <a:pt x="236" y="204"/>
                    </a:lnTo>
                    <a:lnTo>
                      <a:pt x="236" y="204"/>
                    </a:lnTo>
                    <a:lnTo>
                      <a:pt x="236" y="204"/>
                    </a:lnTo>
                    <a:lnTo>
                      <a:pt x="236" y="202"/>
                    </a:lnTo>
                    <a:lnTo>
                      <a:pt x="236" y="202"/>
                    </a:lnTo>
                    <a:lnTo>
                      <a:pt x="234" y="202"/>
                    </a:lnTo>
                    <a:lnTo>
                      <a:pt x="232" y="202"/>
                    </a:lnTo>
                    <a:lnTo>
                      <a:pt x="232" y="202"/>
                    </a:lnTo>
                    <a:lnTo>
                      <a:pt x="232" y="202"/>
                    </a:lnTo>
                    <a:lnTo>
                      <a:pt x="230" y="202"/>
                    </a:lnTo>
                    <a:lnTo>
                      <a:pt x="230" y="202"/>
                    </a:lnTo>
                    <a:lnTo>
                      <a:pt x="230" y="202"/>
                    </a:lnTo>
                    <a:lnTo>
                      <a:pt x="226" y="202"/>
                    </a:lnTo>
                    <a:lnTo>
                      <a:pt x="224" y="204"/>
                    </a:lnTo>
                    <a:lnTo>
                      <a:pt x="220" y="206"/>
                    </a:lnTo>
                    <a:lnTo>
                      <a:pt x="216" y="208"/>
                    </a:lnTo>
                    <a:lnTo>
                      <a:pt x="208" y="212"/>
                    </a:lnTo>
                    <a:lnTo>
                      <a:pt x="198" y="216"/>
                    </a:lnTo>
                    <a:lnTo>
                      <a:pt x="188" y="222"/>
                    </a:lnTo>
                    <a:lnTo>
                      <a:pt x="184" y="224"/>
                    </a:lnTo>
                    <a:lnTo>
                      <a:pt x="180" y="226"/>
                    </a:lnTo>
                    <a:lnTo>
                      <a:pt x="176" y="228"/>
                    </a:lnTo>
                    <a:lnTo>
                      <a:pt x="172" y="230"/>
                    </a:lnTo>
                    <a:lnTo>
                      <a:pt x="170" y="232"/>
                    </a:lnTo>
                    <a:lnTo>
                      <a:pt x="168" y="234"/>
                    </a:lnTo>
                    <a:lnTo>
                      <a:pt x="166" y="236"/>
                    </a:lnTo>
                    <a:lnTo>
                      <a:pt x="166" y="236"/>
                    </a:lnTo>
                    <a:lnTo>
                      <a:pt x="166" y="236"/>
                    </a:lnTo>
                    <a:lnTo>
                      <a:pt x="166" y="238"/>
                    </a:lnTo>
                    <a:lnTo>
                      <a:pt x="166" y="238"/>
                    </a:lnTo>
                    <a:lnTo>
                      <a:pt x="166" y="238"/>
                    </a:lnTo>
                    <a:lnTo>
                      <a:pt x="166" y="240"/>
                    </a:lnTo>
                    <a:lnTo>
                      <a:pt x="166" y="240"/>
                    </a:lnTo>
                    <a:lnTo>
                      <a:pt x="166" y="240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8" y="242"/>
                    </a:lnTo>
                    <a:lnTo>
                      <a:pt x="180" y="244"/>
                    </a:lnTo>
                    <a:lnTo>
                      <a:pt x="182" y="244"/>
                    </a:lnTo>
                    <a:lnTo>
                      <a:pt x="182" y="246"/>
                    </a:lnTo>
                    <a:lnTo>
                      <a:pt x="184" y="248"/>
                    </a:lnTo>
                    <a:lnTo>
                      <a:pt x="186" y="252"/>
                    </a:lnTo>
                    <a:lnTo>
                      <a:pt x="188" y="256"/>
                    </a:lnTo>
                    <a:lnTo>
                      <a:pt x="188" y="260"/>
                    </a:lnTo>
                    <a:lnTo>
                      <a:pt x="190" y="264"/>
                    </a:lnTo>
                    <a:lnTo>
                      <a:pt x="192" y="266"/>
                    </a:lnTo>
                    <a:lnTo>
                      <a:pt x="194" y="270"/>
                    </a:lnTo>
                    <a:lnTo>
                      <a:pt x="194" y="270"/>
                    </a:lnTo>
                    <a:lnTo>
                      <a:pt x="194" y="270"/>
                    </a:lnTo>
                    <a:lnTo>
                      <a:pt x="196" y="272"/>
                    </a:lnTo>
                    <a:lnTo>
                      <a:pt x="196" y="272"/>
                    </a:lnTo>
                    <a:lnTo>
                      <a:pt x="196" y="272"/>
                    </a:lnTo>
                    <a:lnTo>
                      <a:pt x="198" y="272"/>
                    </a:lnTo>
                    <a:lnTo>
                      <a:pt x="200" y="274"/>
                    </a:lnTo>
                    <a:lnTo>
                      <a:pt x="200" y="274"/>
                    </a:lnTo>
                    <a:lnTo>
                      <a:pt x="200" y="274"/>
                    </a:lnTo>
                    <a:lnTo>
                      <a:pt x="202" y="276"/>
                    </a:lnTo>
                    <a:lnTo>
                      <a:pt x="204" y="276"/>
                    </a:lnTo>
                    <a:lnTo>
                      <a:pt x="206" y="276"/>
                    </a:lnTo>
                    <a:lnTo>
                      <a:pt x="210" y="276"/>
                    </a:lnTo>
                    <a:lnTo>
                      <a:pt x="214" y="276"/>
                    </a:lnTo>
                    <a:lnTo>
                      <a:pt x="218" y="276"/>
                    </a:lnTo>
                    <a:lnTo>
                      <a:pt x="222" y="276"/>
                    </a:lnTo>
                    <a:lnTo>
                      <a:pt x="226" y="278"/>
                    </a:lnTo>
                    <a:lnTo>
                      <a:pt x="232" y="276"/>
                    </a:lnTo>
                    <a:lnTo>
                      <a:pt x="236" y="276"/>
                    </a:lnTo>
                    <a:lnTo>
                      <a:pt x="240" y="276"/>
                    </a:lnTo>
                    <a:lnTo>
                      <a:pt x="242" y="276"/>
                    </a:lnTo>
                    <a:lnTo>
                      <a:pt x="246" y="276"/>
                    </a:lnTo>
                    <a:lnTo>
                      <a:pt x="246" y="276"/>
                    </a:lnTo>
                    <a:lnTo>
                      <a:pt x="246" y="276"/>
                    </a:lnTo>
                    <a:lnTo>
                      <a:pt x="248" y="274"/>
                    </a:lnTo>
                    <a:lnTo>
                      <a:pt x="248" y="274"/>
                    </a:lnTo>
                    <a:lnTo>
                      <a:pt x="248" y="274"/>
                    </a:lnTo>
                    <a:lnTo>
                      <a:pt x="250" y="274"/>
                    </a:lnTo>
                    <a:lnTo>
                      <a:pt x="250" y="272"/>
                    </a:lnTo>
                    <a:lnTo>
                      <a:pt x="252" y="270"/>
                    </a:lnTo>
                    <a:lnTo>
                      <a:pt x="252" y="270"/>
                    </a:lnTo>
                    <a:lnTo>
                      <a:pt x="254" y="270"/>
                    </a:lnTo>
                    <a:lnTo>
                      <a:pt x="256" y="270"/>
                    </a:lnTo>
                    <a:lnTo>
                      <a:pt x="260" y="270"/>
                    </a:lnTo>
                    <a:lnTo>
                      <a:pt x="266" y="272"/>
                    </a:lnTo>
                    <a:lnTo>
                      <a:pt x="268" y="272"/>
                    </a:lnTo>
                    <a:lnTo>
                      <a:pt x="270" y="272"/>
                    </a:lnTo>
                    <a:lnTo>
                      <a:pt x="272" y="274"/>
                    </a:lnTo>
                    <a:lnTo>
                      <a:pt x="274" y="276"/>
                    </a:lnTo>
                    <a:lnTo>
                      <a:pt x="274" y="278"/>
                    </a:lnTo>
                    <a:lnTo>
                      <a:pt x="276" y="280"/>
                    </a:lnTo>
                    <a:lnTo>
                      <a:pt x="276" y="284"/>
                    </a:lnTo>
                    <a:lnTo>
                      <a:pt x="278" y="288"/>
                    </a:lnTo>
                    <a:lnTo>
                      <a:pt x="278" y="294"/>
                    </a:lnTo>
                    <a:lnTo>
                      <a:pt x="278" y="298"/>
                    </a:lnTo>
                    <a:lnTo>
                      <a:pt x="276" y="300"/>
                    </a:lnTo>
                    <a:lnTo>
                      <a:pt x="276" y="304"/>
                    </a:lnTo>
                    <a:lnTo>
                      <a:pt x="274" y="306"/>
                    </a:lnTo>
                    <a:lnTo>
                      <a:pt x="272" y="306"/>
                    </a:lnTo>
                    <a:lnTo>
                      <a:pt x="270" y="308"/>
                    </a:lnTo>
                    <a:lnTo>
                      <a:pt x="266" y="310"/>
                    </a:lnTo>
                    <a:lnTo>
                      <a:pt x="258" y="312"/>
                    </a:lnTo>
                    <a:lnTo>
                      <a:pt x="254" y="312"/>
                    </a:lnTo>
                    <a:lnTo>
                      <a:pt x="252" y="314"/>
                    </a:lnTo>
                    <a:lnTo>
                      <a:pt x="248" y="316"/>
                    </a:lnTo>
                    <a:lnTo>
                      <a:pt x="244" y="316"/>
                    </a:lnTo>
                    <a:lnTo>
                      <a:pt x="236" y="318"/>
                    </a:lnTo>
                    <a:lnTo>
                      <a:pt x="228" y="320"/>
                    </a:lnTo>
                    <a:lnTo>
                      <a:pt x="224" y="322"/>
                    </a:lnTo>
                    <a:lnTo>
                      <a:pt x="220" y="324"/>
                    </a:lnTo>
                    <a:lnTo>
                      <a:pt x="218" y="326"/>
                    </a:lnTo>
                    <a:lnTo>
                      <a:pt x="214" y="328"/>
                    </a:lnTo>
                    <a:lnTo>
                      <a:pt x="214" y="328"/>
                    </a:lnTo>
                    <a:lnTo>
                      <a:pt x="214" y="328"/>
                    </a:lnTo>
                    <a:lnTo>
                      <a:pt x="210" y="334"/>
                    </a:lnTo>
                    <a:lnTo>
                      <a:pt x="210" y="334"/>
                    </a:lnTo>
                    <a:lnTo>
                      <a:pt x="210" y="334"/>
                    </a:lnTo>
                    <a:lnTo>
                      <a:pt x="206" y="340"/>
                    </a:lnTo>
                    <a:lnTo>
                      <a:pt x="204" y="348"/>
                    </a:lnTo>
                    <a:lnTo>
                      <a:pt x="202" y="354"/>
                    </a:lnTo>
                    <a:lnTo>
                      <a:pt x="200" y="360"/>
                    </a:lnTo>
                    <a:lnTo>
                      <a:pt x="200" y="364"/>
                    </a:lnTo>
                    <a:lnTo>
                      <a:pt x="200" y="366"/>
                    </a:lnTo>
                    <a:lnTo>
                      <a:pt x="200" y="366"/>
                    </a:lnTo>
                    <a:lnTo>
                      <a:pt x="200" y="366"/>
                    </a:lnTo>
                    <a:lnTo>
                      <a:pt x="200" y="370"/>
                    </a:lnTo>
                    <a:lnTo>
                      <a:pt x="200" y="370"/>
                    </a:lnTo>
                    <a:lnTo>
                      <a:pt x="200" y="370"/>
                    </a:lnTo>
                    <a:lnTo>
                      <a:pt x="202" y="372"/>
                    </a:lnTo>
                    <a:lnTo>
                      <a:pt x="202" y="372"/>
                    </a:lnTo>
                    <a:lnTo>
                      <a:pt x="202" y="374"/>
                    </a:lnTo>
                    <a:lnTo>
                      <a:pt x="204" y="376"/>
                    </a:lnTo>
                    <a:lnTo>
                      <a:pt x="204" y="376"/>
                    </a:lnTo>
                    <a:lnTo>
                      <a:pt x="204" y="376"/>
                    </a:lnTo>
                    <a:lnTo>
                      <a:pt x="206" y="378"/>
                    </a:lnTo>
                    <a:lnTo>
                      <a:pt x="206" y="378"/>
                    </a:lnTo>
                    <a:lnTo>
                      <a:pt x="206" y="378"/>
                    </a:lnTo>
                    <a:lnTo>
                      <a:pt x="208" y="380"/>
                    </a:lnTo>
                    <a:lnTo>
                      <a:pt x="212" y="382"/>
                    </a:lnTo>
                    <a:lnTo>
                      <a:pt x="218" y="384"/>
                    </a:lnTo>
                    <a:lnTo>
                      <a:pt x="220" y="386"/>
                    </a:lnTo>
                    <a:lnTo>
                      <a:pt x="222" y="388"/>
                    </a:lnTo>
                    <a:lnTo>
                      <a:pt x="224" y="390"/>
                    </a:lnTo>
                    <a:lnTo>
                      <a:pt x="228" y="392"/>
                    </a:lnTo>
                    <a:lnTo>
                      <a:pt x="230" y="394"/>
                    </a:lnTo>
                    <a:lnTo>
                      <a:pt x="234" y="396"/>
                    </a:lnTo>
                    <a:lnTo>
                      <a:pt x="234" y="396"/>
                    </a:lnTo>
                    <a:lnTo>
                      <a:pt x="234" y="396"/>
                    </a:lnTo>
                    <a:lnTo>
                      <a:pt x="230" y="396"/>
                    </a:lnTo>
                    <a:lnTo>
                      <a:pt x="224" y="394"/>
                    </a:lnTo>
                    <a:lnTo>
                      <a:pt x="218" y="394"/>
                    </a:lnTo>
                    <a:lnTo>
                      <a:pt x="214" y="394"/>
                    </a:lnTo>
                    <a:lnTo>
                      <a:pt x="212" y="394"/>
                    </a:lnTo>
                    <a:lnTo>
                      <a:pt x="210" y="394"/>
                    </a:lnTo>
                    <a:lnTo>
                      <a:pt x="210" y="394"/>
                    </a:lnTo>
                    <a:lnTo>
                      <a:pt x="210" y="394"/>
                    </a:lnTo>
                    <a:lnTo>
                      <a:pt x="208" y="394"/>
                    </a:lnTo>
                    <a:lnTo>
                      <a:pt x="208" y="394"/>
                    </a:lnTo>
                    <a:lnTo>
                      <a:pt x="206" y="394"/>
                    </a:lnTo>
                    <a:lnTo>
                      <a:pt x="206" y="394"/>
                    </a:lnTo>
                    <a:lnTo>
                      <a:pt x="206" y="394"/>
                    </a:lnTo>
                    <a:lnTo>
                      <a:pt x="206" y="396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206" y="400"/>
                    </a:lnTo>
                    <a:lnTo>
                      <a:pt x="206" y="400"/>
                    </a:lnTo>
                    <a:lnTo>
                      <a:pt x="206" y="400"/>
                    </a:lnTo>
                    <a:lnTo>
                      <a:pt x="206" y="402"/>
                    </a:lnTo>
                    <a:lnTo>
                      <a:pt x="206" y="402"/>
                    </a:lnTo>
                    <a:lnTo>
                      <a:pt x="206" y="404"/>
                    </a:lnTo>
                    <a:lnTo>
                      <a:pt x="210" y="406"/>
                    </a:lnTo>
                    <a:lnTo>
                      <a:pt x="212" y="410"/>
                    </a:lnTo>
                    <a:lnTo>
                      <a:pt x="216" y="414"/>
                    </a:lnTo>
                    <a:lnTo>
                      <a:pt x="218" y="418"/>
                    </a:lnTo>
                    <a:lnTo>
                      <a:pt x="222" y="420"/>
                    </a:lnTo>
                    <a:lnTo>
                      <a:pt x="224" y="422"/>
                    </a:lnTo>
                    <a:lnTo>
                      <a:pt x="224" y="422"/>
                    </a:lnTo>
                    <a:lnTo>
                      <a:pt x="224" y="424"/>
                    </a:lnTo>
                    <a:lnTo>
                      <a:pt x="228" y="424"/>
                    </a:lnTo>
                    <a:lnTo>
                      <a:pt x="228" y="424"/>
                    </a:lnTo>
                    <a:lnTo>
                      <a:pt x="228" y="424"/>
                    </a:lnTo>
                    <a:lnTo>
                      <a:pt x="230" y="424"/>
                    </a:lnTo>
                    <a:lnTo>
                      <a:pt x="230" y="424"/>
                    </a:lnTo>
                    <a:lnTo>
                      <a:pt x="230" y="426"/>
                    </a:lnTo>
                    <a:lnTo>
                      <a:pt x="232" y="426"/>
                    </a:lnTo>
                    <a:lnTo>
                      <a:pt x="234" y="424"/>
                    </a:lnTo>
                    <a:lnTo>
                      <a:pt x="234" y="424"/>
                    </a:lnTo>
                    <a:lnTo>
                      <a:pt x="236" y="424"/>
                    </a:lnTo>
                    <a:lnTo>
                      <a:pt x="240" y="422"/>
                    </a:lnTo>
                    <a:lnTo>
                      <a:pt x="244" y="422"/>
                    </a:lnTo>
                    <a:lnTo>
                      <a:pt x="246" y="420"/>
                    </a:lnTo>
                    <a:lnTo>
                      <a:pt x="248" y="418"/>
                    </a:lnTo>
                    <a:lnTo>
                      <a:pt x="254" y="414"/>
                    </a:lnTo>
                    <a:lnTo>
                      <a:pt x="256" y="412"/>
                    </a:lnTo>
                    <a:lnTo>
                      <a:pt x="256" y="412"/>
                    </a:lnTo>
                    <a:lnTo>
                      <a:pt x="256" y="412"/>
                    </a:lnTo>
                    <a:lnTo>
                      <a:pt x="256" y="416"/>
                    </a:lnTo>
                    <a:lnTo>
                      <a:pt x="254" y="420"/>
                    </a:lnTo>
                    <a:lnTo>
                      <a:pt x="254" y="426"/>
                    </a:lnTo>
                    <a:lnTo>
                      <a:pt x="252" y="432"/>
                    </a:lnTo>
                    <a:lnTo>
                      <a:pt x="252" y="438"/>
                    </a:lnTo>
                    <a:lnTo>
                      <a:pt x="250" y="442"/>
                    </a:lnTo>
                    <a:lnTo>
                      <a:pt x="250" y="442"/>
                    </a:lnTo>
                    <a:lnTo>
                      <a:pt x="250" y="442"/>
                    </a:lnTo>
                    <a:lnTo>
                      <a:pt x="252" y="444"/>
                    </a:lnTo>
                    <a:lnTo>
                      <a:pt x="252" y="446"/>
                    </a:lnTo>
                    <a:lnTo>
                      <a:pt x="252" y="446"/>
                    </a:lnTo>
                    <a:lnTo>
                      <a:pt x="252" y="448"/>
                    </a:lnTo>
                    <a:lnTo>
                      <a:pt x="252" y="450"/>
                    </a:lnTo>
                    <a:lnTo>
                      <a:pt x="252" y="450"/>
                    </a:lnTo>
                    <a:lnTo>
                      <a:pt x="254" y="450"/>
                    </a:lnTo>
                    <a:lnTo>
                      <a:pt x="254" y="452"/>
                    </a:lnTo>
                    <a:lnTo>
                      <a:pt x="254" y="452"/>
                    </a:lnTo>
                    <a:lnTo>
                      <a:pt x="256" y="454"/>
                    </a:lnTo>
                    <a:lnTo>
                      <a:pt x="258" y="454"/>
                    </a:lnTo>
                    <a:lnTo>
                      <a:pt x="258" y="454"/>
                    </a:lnTo>
                    <a:lnTo>
                      <a:pt x="258" y="454"/>
                    </a:lnTo>
                    <a:lnTo>
                      <a:pt x="260" y="456"/>
                    </a:lnTo>
                    <a:lnTo>
                      <a:pt x="260" y="456"/>
                    </a:lnTo>
                    <a:lnTo>
                      <a:pt x="260" y="456"/>
                    </a:lnTo>
                    <a:lnTo>
                      <a:pt x="266" y="458"/>
                    </a:lnTo>
                    <a:lnTo>
                      <a:pt x="270" y="458"/>
                    </a:lnTo>
                    <a:lnTo>
                      <a:pt x="272" y="458"/>
                    </a:lnTo>
                    <a:lnTo>
                      <a:pt x="272" y="458"/>
                    </a:lnTo>
                    <a:lnTo>
                      <a:pt x="274" y="458"/>
                    </a:lnTo>
                    <a:lnTo>
                      <a:pt x="274" y="458"/>
                    </a:lnTo>
                    <a:lnTo>
                      <a:pt x="274" y="458"/>
                    </a:lnTo>
                    <a:lnTo>
                      <a:pt x="278" y="458"/>
                    </a:lnTo>
                    <a:lnTo>
                      <a:pt x="284" y="456"/>
                    </a:lnTo>
                    <a:lnTo>
                      <a:pt x="288" y="456"/>
                    </a:lnTo>
                    <a:lnTo>
                      <a:pt x="290" y="454"/>
                    </a:lnTo>
                    <a:lnTo>
                      <a:pt x="292" y="454"/>
                    </a:lnTo>
                    <a:lnTo>
                      <a:pt x="292" y="456"/>
                    </a:lnTo>
                    <a:lnTo>
                      <a:pt x="294" y="456"/>
                    </a:lnTo>
                    <a:lnTo>
                      <a:pt x="294" y="458"/>
                    </a:lnTo>
                    <a:lnTo>
                      <a:pt x="296" y="460"/>
                    </a:lnTo>
                    <a:lnTo>
                      <a:pt x="298" y="462"/>
                    </a:lnTo>
                    <a:lnTo>
                      <a:pt x="300" y="462"/>
                    </a:lnTo>
                    <a:lnTo>
                      <a:pt x="300" y="462"/>
                    </a:lnTo>
                    <a:lnTo>
                      <a:pt x="300" y="464"/>
                    </a:lnTo>
                    <a:lnTo>
                      <a:pt x="302" y="464"/>
                    </a:lnTo>
                    <a:lnTo>
                      <a:pt x="302" y="464"/>
                    </a:lnTo>
                    <a:lnTo>
                      <a:pt x="302" y="464"/>
                    </a:lnTo>
                    <a:lnTo>
                      <a:pt x="304" y="464"/>
                    </a:lnTo>
                    <a:lnTo>
                      <a:pt x="304" y="464"/>
                    </a:lnTo>
                    <a:lnTo>
                      <a:pt x="306" y="464"/>
                    </a:lnTo>
                    <a:lnTo>
                      <a:pt x="306" y="464"/>
                    </a:lnTo>
                    <a:lnTo>
                      <a:pt x="306" y="464"/>
                    </a:lnTo>
                    <a:lnTo>
                      <a:pt x="308" y="462"/>
                    </a:lnTo>
                    <a:lnTo>
                      <a:pt x="310" y="462"/>
                    </a:lnTo>
                    <a:lnTo>
                      <a:pt x="310" y="462"/>
                    </a:lnTo>
                    <a:lnTo>
                      <a:pt x="310" y="460"/>
                    </a:lnTo>
                    <a:lnTo>
                      <a:pt x="310" y="458"/>
                    </a:lnTo>
                    <a:lnTo>
                      <a:pt x="312" y="456"/>
                    </a:lnTo>
                    <a:lnTo>
                      <a:pt x="312" y="454"/>
                    </a:lnTo>
                    <a:lnTo>
                      <a:pt x="314" y="452"/>
                    </a:lnTo>
                    <a:lnTo>
                      <a:pt x="314" y="450"/>
                    </a:lnTo>
                    <a:lnTo>
                      <a:pt x="316" y="448"/>
                    </a:lnTo>
                    <a:lnTo>
                      <a:pt x="318" y="448"/>
                    </a:lnTo>
                    <a:lnTo>
                      <a:pt x="316" y="448"/>
                    </a:lnTo>
                    <a:lnTo>
                      <a:pt x="318" y="448"/>
                    </a:lnTo>
                    <a:lnTo>
                      <a:pt x="322" y="446"/>
                    </a:lnTo>
                    <a:lnTo>
                      <a:pt x="324" y="446"/>
                    </a:lnTo>
                    <a:lnTo>
                      <a:pt x="324" y="446"/>
                    </a:lnTo>
                    <a:lnTo>
                      <a:pt x="326" y="448"/>
                    </a:lnTo>
                    <a:lnTo>
                      <a:pt x="326" y="448"/>
                    </a:lnTo>
                    <a:lnTo>
                      <a:pt x="326" y="448"/>
                    </a:lnTo>
                    <a:lnTo>
                      <a:pt x="326" y="450"/>
                    </a:lnTo>
                    <a:lnTo>
                      <a:pt x="326" y="454"/>
                    </a:lnTo>
                    <a:lnTo>
                      <a:pt x="326" y="456"/>
                    </a:lnTo>
                    <a:lnTo>
                      <a:pt x="324" y="464"/>
                    </a:lnTo>
                    <a:lnTo>
                      <a:pt x="322" y="468"/>
                    </a:lnTo>
                    <a:lnTo>
                      <a:pt x="322" y="470"/>
                    </a:lnTo>
                    <a:lnTo>
                      <a:pt x="318" y="476"/>
                    </a:lnTo>
                    <a:lnTo>
                      <a:pt x="316" y="482"/>
                    </a:lnTo>
                    <a:lnTo>
                      <a:pt x="310" y="488"/>
                    </a:lnTo>
                    <a:lnTo>
                      <a:pt x="306" y="492"/>
                    </a:lnTo>
                    <a:lnTo>
                      <a:pt x="300" y="498"/>
                    </a:lnTo>
                    <a:lnTo>
                      <a:pt x="294" y="502"/>
                    </a:lnTo>
                    <a:lnTo>
                      <a:pt x="288" y="508"/>
                    </a:lnTo>
                    <a:lnTo>
                      <a:pt x="280" y="512"/>
                    </a:lnTo>
                    <a:lnTo>
                      <a:pt x="274" y="516"/>
                    </a:lnTo>
                    <a:lnTo>
                      <a:pt x="266" y="520"/>
                    </a:lnTo>
                    <a:lnTo>
                      <a:pt x="260" y="522"/>
                    </a:lnTo>
                    <a:lnTo>
                      <a:pt x="252" y="526"/>
                    </a:lnTo>
                    <a:lnTo>
                      <a:pt x="246" y="530"/>
                    </a:lnTo>
                    <a:lnTo>
                      <a:pt x="240" y="532"/>
                    </a:lnTo>
                    <a:lnTo>
                      <a:pt x="232" y="536"/>
                    </a:lnTo>
                    <a:lnTo>
                      <a:pt x="232" y="536"/>
                    </a:lnTo>
                    <a:lnTo>
                      <a:pt x="232" y="536"/>
                    </a:lnTo>
                    <a:lnTo>
                      <a:pt x="226" y="540"/>
                    </a:lnTo>
                    <a:lnTo>
                      <a:pt x="226" y="540"/>
                    </a:lnTo>
                    <a:lnTo>
                      <a:pt x="226" y="540"/>
                    </a:lnTo>
                    <a:lnTo>
                      <a:pt x="224" y="542"/>
                    </a:lnTo>
                    <a:lnTo>
                      <a:pt x="224" y="542"/>
                    </a:lnTo>
                    <a:lnTo>
                      <a:pt x="224" y="544"/>
                    </a:lnTo>
                    <a:lnTo>
                      <a:pt x="222" y="546"/>
                    </a:lnTo>
                    <a:lnTo>
                      <a:pt x="222" y="546"/>
                    </a:lnTo>
                    <a:lnTo>
                      <a:pt x="222" y="546"/>
                    </a:lnTo>
                    <a:lnTo>
                      <a:pt x="218" y="552"/>
                    </a:lnTo>
                    <a:lnTo>
                      <a:pt x="218" y="556"/>
                    </a:lnTo>
                    <a:lnTo>
                      <a:pt x="216" y="558"/>
                    </a:lnTo>
                    <a:lnTo>
                      <a:pt x="214" y="560"/>
                    </a:lnTo>
                    <a:lnTo>
                      <a:pt x="212" y="562"/>
                    </a:lnTo>
                    <a:lnTo>
                      <a:pt x="210" y="562"/>
                    </a:lnTo>
                    <a:lnTo>
                      <a:pt x="208" y="562"/>
                    </a:lnTo>
                    <a:lnTo>
                      <a:pt x="200" y="564"/>
                    </a:lnTo>
                    <a:lnTo>
                      <a:pt x="192" y="564"/>
                    </a:lnTo>
                    <a:lnTo>
                      <a:pt x="188" y="564"/>
                    </a:lnTo>
                    <a:lnTo>
                      <a:pt x="186" y="564"/>
                    </a:lnTo>
                    <a:lnTo>
                      <a:pt x="182" y="566"/>
                    </a:lnTo>
                    <a:lnTo>
                      <a:pt x="180" y="566"/>
                    </a:lnTo>
                    <a:lnTo>
                      <a:pt x="176" y="568"/>
                    </a:lnTo>
                    <a:lnTo>
                      <a:pt x="174" y="570"/>
                    </a:lnTo>
                    <a:lnTo>
                      <a:pt x="170" y="574"/>
                    </a:lnTo>
                    <a:lnTo>
                      <a:pt x="166" y="576"/>
                    </a:lnTo>
                    <a:lnTo>
                      <a:pt x="162" y="578"/>
                    </a:lnTo>
                    <a:lnTo>
                      <a:pt x="160" y="580"/>
                    </a:lnTo>
                    <a:lnTo>
                      <a:pt x="160" y="580"/>
                    </a:lnTo>
                    <a:lnTo>
                      <a:pt x="160" y="580"/>
                    </a:lnTo>
                    <a:lnTo>
                      <a:pt x="156" y="584"/>
                    </a:lnTo>
                    <a:lnTo>
                      <a:pt x="156" y="584"/>
                    </a:lnTo>
                    <a:lnTo>
                      <a:pt x="156" y="584"/>
                    </a:lnTo>
                    <a:lnTo>
                      <a:pt x="154" y="586"/>
                    </a:lnTo>
                    <a:lnTo>
                      <a:pt x="154" y="586"/>
                    </a:lnTo>
                    <a:lnTo>
                      <a:pt x="154" y="586"/>
                    </a:lnTo>
                    <a:lnTo>
                      <a:pt x="154" y="588"/>
                    </a:lnTo>
                    <a:lnTo>
                      <a:pt x="152" y="594"/>
                    </a:lnTo>
                    <a:lnTo>
                      <a:pt x="152" y="596"/>
                    </a:lnTo>
                    <a:lnTo>
                      <a:pt x="150" y="598"/>
                    </a:lnTo>
                    <a:lnTo>
                      <a:pt x="150" y="600"/>
                    </a:lnTo>
                    <a:lnTo>
                      <a:pt x="146" y="600"/>
                    </a:lnTo>
                    <a:lnTo>
                      <a:pt x="144" y="602"/>
                    </a:lnTo>
                    <a:lnTo>
                      <a:pt x="140" y="602"/>
                    </a:lnTo>
                    <a:lnTo>
                      <a:pt x="134" y="602"/>
                    </a:lnTo>
                    <a:lnTo>
                      <a:pt x="128" y="602"/>
                    </a:lnTo>
                    <a:lnTo>
                      <a:pt x="116" y="602"/>
                    </a:lnTo>
                    <a:lnTo>
                      <a:pt x="110" y="604"/>
                    </a:lnTo>
                    <a:lnTo>
                      <a:pt x="106" y="604"/>
                    </a:lnTo>
                    <a:lnTo>
                      <a:pt x="100" y="606"/>
                    </a:lnTo>
                    <a:lnTo>
                      <a:pt x="96" y="608"/>
                    </a:lnTo>
                    <a:lnTo>
                      <a:pt x="94" y="608"/>
                    </a:lnTo>
                    <a:lnTo>
                      <a:pt x="90" y="610"/>
                    </a:lnTo>
                    <a:lnTo>
                      <a:pt x="88" y="612"/>
                    </a:lnTo>
                    <a:lnTo>
                      <a:pt x="86" y="612"/>
                    </a:lnTo>
                    <a:lnTo>
                      <a:pt x="76" y="616"/>
                    </a:lnTo>
                    <a:lnTo>
                      <a:pt x="72" y="616"/>
                    </a:lnTo>
                    <a:lnTo>
                      <a:pt x="66" y="616"/>
                    </a:lnTo>
                    <a:lnTo>
                      <a:pt x="60" y="616"/>
                    </a:lnTo>
                    <a:lnTo>
                      <a:pt x="54" y="616"/>
                    </a:lnTo>
                    <a:lnTo>
                      <a:pt x="46" y="614"/>
                    </a:lnTo>
                    <a:lnTo>
                      <a:pt x="40" y="614"/>
                    </a:lnTo>
                    <a:lnTo>
                      <a:pt x="32" y="616"/>
                    </a:lnTo>
                    <a:lnTo>
                      <a:pt x="28" y="616"/>
                    </a:lnTo>
                    <a:lnTo>
                      <a:pt x="28" y="616"/>
                    </a:lnTo>
                    <a:lnTo>
                      <a:pt x="28" y="616"/>
                    </a:lnTo>
                    <a:lnTo>
                      <a:pt x="22" y="618"/>
                    </a:lnTo>
                    <a:lnTo>
                      <a:pt x="16" y="620"/>
                    </a:lnTo>
                    <a:lnTo>
                      <a:pt x="12" y="622"/>
                    </a:lnTo>
                    <a:lnTo>
                      <a:pt x="8" y="624"/>
                    </a:lnTo>
                    <a:lnTo>
                      <a:pt x="4" y="628"/>
                    </a:lnTo>
                    <a:lnTo>
                      <a:pt x="2" y="630"/>
                    </a:lnTo>
                    <a:lnTo>
                      <a:pt x="0" y="632"/>
                    </a:lnTo>
                    <a:lnTo>
                      <a:pt x="0" y="632"/>
                    </a:lnTo>
                    <a:lnTo>
                      <a:pt x="0" y="632"/>
                    </a:lnTo>
                    <a:lnTo>
                      <a:pt x="0" y="634"/>
                    </a:lnTo>
                    <a:lnTo>
                      <a:pt x="0" y="634"/>
                    </a:lnTo>
                    <a:lnTo>
                      <a:pt x="0" y="636"/>
                    </a:lnTo>
                    <a:lnTo>
                      <a:pt x="0" y="636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4" y="638"/>
                    </a:lnTo>
                    <a:lnTo>
                      <a:pt x="6" y="636"/>
                    </a:lnTo>
                    <a:lnTo>
                      <a:pt x="10" y="636"/>
                    </a:lnTo>
                    <a:lnTo>
                      <a:pt x="14" y="634"/>
                    </a:lnTo>
                    <a:lnTo>
                      <a:pt x="18" y="632"/>
                    </a:lnTo>
                    <a:lnTo>
                      <a:pt x="24" y="632"/>
                    </a:lnTo>
                    <a:lnTo>
                      <a:pt x="28" y="630"/>
                    </a:lnTo>
                    <a:lnTo>
                      <a:pt x="32" y="630"/>
                    </a:lnTo>
                    <a:lnTo>
                      <a:pt x="40" y="628"/>
                    </a:lnTo>
                    <a:lnTo>
                      <a:pt x="48" y="626"/>
                    </a:lnTo>
                    <a:lnTo>
                      <a:pt x="58" y="626"/>
                    </a:lnTo>
                    <a:lnTo>
                      <a:pt x="66" y="624"/>
                    </a:lnTo>
                    <a:lnTo>
                      <a:pt x="72" y="622"/>
                    </a:lnTo>
                    <a:lnTo>
                      <a:pt x="78" y="622"/>
                    </a:lnTo>
                    <a:lnTo>
                      <a:pt x="84" y="620"/>
                    </a:lnTo>
                    <a:lnTo>
                      <a:pt x="88" y="620"/>
                    </a:lnTo>
                    <a:lnTo>
                      <a:pt x="90" y="618"/>
                    </a:lnTo>
                    <a:lnTo>
                      <a:pt x="100" y="616"/>
                    </a:lnTo>
                    <a:lnTo>
                      <a:pt x="110" y="614"/>
                    </a:lnTo>
                    <a:lnTo>
                      <a:pt x="116" y="614"/>
                    </a:lnTo>
                    <a:lnTo>
                      <a:pt x="122" y="612"/>
                    </a:lnTo>
                    <a:lnTo>
                      <a:pt x="134" y="612"/>
                    </a:lnTo>
                    <a:lnTo>
                      <a:pt x="140" y="612"/>
                    </a:lnTo>
                    <a:lnTo>
                      <a:pt x="146" y="612"/>
                    </a:lnTo>
                    <a:lnTo>
                      <a:pt x="152" y="612"/>
                    </a:lnTo>
                    <a:lnTo>
                      <a:pt x="156" y="612"/>
                    </a:lnTo>
                    <a:lnTo>
                      <a:pt x="160" y="610"/>
                    </a:lnTo>
                    <a:lnTo>
                      <a:pt x="160" y="610"/>
                    </a:lnTo>
                    <a:lnTo>
                      <a:pt x="160" y="610"/>
                    </a:lnTo>
                    <a:lnTo>
                      <a:pt x="164" y="610"/>
                    </a:lnTo>
                    <a:lnTo>
                      <a:pt x="164" y="610"/>
                    </a:lnTo>
                    <a:lnTo>
                      <a:pt x="164" y="608"/>
                    </a:lnTo>
                    <a:lnTo>
                      <a:pt x="168" y="608"/>
                    </a:lnTo>
                    <a:lnTo>
                      <a:pt x="170" y="606"/>
                    </a:lnTo>
                    <a:lnTo>
                      <a:pt x="174" y="602"/>
                    </a:lnTo>
                    <a:lnTo>
                      <a:pt x="176" y="600"/>
                    </a:lnTo>
                    <a:lnTo>
                      <a:pt x="176" y="600"/>
                    </a:lnTo>
                    <a:lnTo>
                      <a:pt x="176" y="600"/>
                    </a:lnTo>
                    <a:lnTo>
                      <a:pt x="178" y="600"/>
                    </a:lnTo>
                    <a:lnTo>
                      <a:pt x="180" y="600"/>
                    </a:lnTo>
                    <a:lnTo>
                      <a:pt x="182" y="600"/>
                    </a:lnTo>
                    <a:lnTo>
                      <a:pt x="184" y="602"/>
                    </a:lnTo>
                    <a:lnTo>
                      <a:pt x="184" y="602"/>
                    </a:lnTo>
                    <a:lnTo>
                      <a:pt x="184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88" y="602"/>
                    </a:lnTo>
                    <a:lnTo>
                      <a:pt x="188" y="602"/>
                    </a:lnTo>
                    <a:lnTo>
                      <a:pt x="190" y="600"/>
                    </a:lnTo>
                    <a:lnTo>
                      <a:pt x="192" y="600"/>
                    </a:lnTo>
                    <a:lnTo>
                      <a:pt x="192" y="600"/>
                    </a:lnTo>
                    <a:lnTo>
                      <a:pt x="192" y="600"/>
                    </a:lnTo>
                    <a:lnTo>
                      <a:pt x="194" y="596"/>
                    </a:lnTo>
                    <a:lnTo>
                      <a:pt x="194" y="596"/>
                    </a:lnTo>
                    <a:lnTo>
                      <a:pt x="194" y="596"/>
                    </a:lnTo>
                    <a:lnTo>
                      <a:pt x="196" y="594"/>
                    </a:lnTo>
                    <a:lnTo>
                      <a:pt x="198" y="590"/>
                    </a:lnTo>
                    <a:lnTo>
                      <a:pt x="200" y="586"/>
                    </a:lnTo>
                    <a:lnTo>
                      <a:pt x="204" y="582"/>
                    </a:lnTo>
                    <a:lnTo>
                      <a:pt x="206" y="578"/>
                    </a:lnTo>
                    <a:lnTo>
                      <a:pt x="210" y="574"/>
                    </a:lnTo>
                    <a:lnTo>
                      <a:pt x="216" y="570"/>
                    </a:lnTo>
                    <a:lnTo>
                      <a:pt x="218" y="568"/>
                    </a:lnTo>
                    <a:lnTo>
                      <a:pt x="222" y="566"/>
                    </a:lnTo>
                    <a:lnTo>
                      <a:pt x="230" y="562"/>
                    </a:lnTo>
                    <a:lnTo>
                      <a:pt x="238" y="558"/>
                    </a:lnTo>
                    <a:lnTo>
                      <a:pt x="248" y="554"/>
                    </a:lnTo>
                    <a:lnTo>
                      <a:pt x="258" y="548"/>
                    </a:lnTo>
                    <a:lnTo>
                      <a:pt x="268" y="544"/>
                    </a:lnTo>
                    <a:lnTo>
                      <a:pt x="278" y="540"/>
                    </a:lnTo>
                    <a:lnTo>
                      <a:pt x="286" y="534"/>
                    </a:lnTo>
                    <a:lnTo>
                      <a:pt x="302" y="526"/>
                    </a:lnTo>
                    <a:lnTo>
                      <a:pt x="316" y="518"/>
                    </a:lnTo>
                    <a:lnTo>
                      <a:pt x="330" y="510"/>
                    </a:lnTo>
                    <a:lnTo>
                      <a:pt x="338" y="504"/>
                    </a:lnTo>
                    <a:lnTo>
                      <a:pt x="344" y="500"/>
                    </a:lnTo>
                    <a:lnTo>
                      <a:pt x="350" y="494"/>
                    </a:lnTo>
                    <a:lnTo>
                      <a:pt x="356" y="486"/>
                    </a:lnTo>
                    <a:lnTo>
                      <a:pt x="362" y="478"/>
                    </a:lnTo>
                    <a:lnTo>
                      <a:pt x="368" y="472"/>
                    </a:lnTo>
                    <a:lnTo>
                      <a:pt x="374" y="464"/>
                    </a:lnTo>
                    <a:lnTo>
                      <a:pt x="378" y="458"/>
                    </a:lnTo>
                    <a:lnTo>
                      <a:pt x="382" y="452"/>
                    </a:lnTo>
                    <a:lnTo>
                      <a:pt x="384" y="450"/>
                    </a:lnTo>
                    <a:lnTo>
                      <a:pt x="384" y="448"/>
                    </a:lnTo>
                    <a:lnTo>
                      <a:pt x="386" y="446"/>
                    </a:lnTo>
                    <a:lnTo>
                      <a:pt x="386" y="446"/>
                    </a:lnTo>
                    <a:lnTo>
                      <a:pt x="386" y="444"/>
                    </a:lnTo>
                    <a:lnTo>
                      <a:pt x="386" y="444"/>
                    </a:lnTo>
                    <a:lnTo>
                      <a:pt x="386" y="444"/>
                    </a:lnTo>
                    <a:lnTo>
                      <a:pt x="386" y="442"/>
                    </a:lnTo>
                    <a:lnTo>
                      <a:pt x="386" y="442"/>
                    </a:lnTo>
                    <a:lnTo>
                      <a:pt x="386" y="442"/>
                    </a:lnTo>
                    <a:lnTo>
                      <a:pt x="386" y="440"/>
                    </a:lnTo>
                    <a:lnTo>
                      <a:pt x="384" y="440"/>
                    </a:lnTo>
                    <a:lnTo>
                      <a:pt x="384" y="440"/>
                    </a:lnTo>
                    <a:lnTo>
                      <a:pt x="390" y="440"/>
                    </a:lnTo>
                    <a:lnTo>
                      <a:pt x="396" y="440"/>
                    </a:lnTo>
                    <a:lnTo>
                      <a:pt x="398" y="440"/>
                    </a:lnTo>
                    <a:lnTo>
                      <a:pt x="400" y="440"/>
                    </a:lnTo>
                    <a:lnTo>
                      <a:pt x="402" y="440"/>
                    </a:lnTo>
                    <a:lnTo>
                      <a:pt x="404" y="440"/>
                    </a:lnTo>
                    <a:lnTo>
                      <a:pt x="404" y="440"/>
                    </a:lnTo>
                    <a:lnTo>
                      <a:pt x="402" y="442"/>
                    </a:lnTo>
                    <a:lnTo>
                      <a:pt x="400" y="444"/>
                    </a:lnTo>
                    <a:lnTo>
                      <a:pt x="398" y="446"/>
                    </a:lnTo>
                    <a:lnTo>
                      <a:pt x="396" y="450"/>
                    </a:lnTo>
                    <a:lnTo>
                      <a:pt x="394" y="452"/>
                    </a:lnTo>
                    <a:lnTo>
                      <a:pt x="388" y="458"/>
                    </a:lnTo>
                    <a:lnTo>
                      <a:pt x="380" y="464"/>
                    </a:lnTo>
                    <a:lnTo>
                      <a:pt x="378" y="468"/>
                    </a:lnTo>
                    <a:lnTo>
                      <a:pt x="376" y="470"/>
                    </a:lnTo>
                    <a:lnTo>
                      <a:pt x="374" y="472"/>
                    </a:lnTo>
                    <a:lnTo>
                      <a:pt x="372" y="474"/>
                    </a:lnTo>
                    <a:lnTo>
                      <a:pt x="370" y="474"/>
                    </a:lnTo>
                    <a:lnTo>
                      <a:pt x="370" y="474"/>
                    </a:lnTo>
                    <a:lnTo>
                      <a:pt x="370" y="476"/>
                    </a:lnTo>
                    <a:lnTo>
                      <a:pt x="370" y="476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70" y="478"/>
                    </a:lnTo>
                    <a:lnTo>
                      <a:pt x="372" y="480"/>
                    </a:lnTo>
                    <a:lnTo>
                      <a:pt x="372" y="480"/>
                    </a:lnTo>
                    <a:lnTo>
                      <a:pt x="372" y="480"/>
                    </a:lnTo>
                    <a:lnTo>
                      <a:pt x="374" y="480"/>
                    </a:lnTo>
                    <a:lnTo>
                      <a:pt x="374" y="480"/>
                    </a:lnTo>
                    <a:lnTo>
                      <a:pt x="376" y="478"/>
                    </a:lnTo>
                    <a:lnTo>
                      <a:pt x="378" y="478"/>
                    </a:lnTo>
                    <a:lnTo>
                      <a:pt x="380" y="476"/>
                    </a:lnTo>
                    <a:lnTo>
                      <a:pt x="382" y="474"/>
                    </a:lnTo>
                    <a:lnTo>
                      <a:pt x="388" y="470"/>
                    </a:lnTo>
                    <a:lnTo>
                      <a:pt x="394" y="464"/>
                    </a:lnTo>
                    <a:lnTo>
                      <a:pt x="400" y="460"/>
                    </a:lnTo>
                    <a:lnTo>
                      <a:pt x="406" y="456"/>
                    </a:lnTo>
                    <a:lnTo>
                      <a:pt x="408" y="454"/>
                    </a:lnTo>
                    <a:lnTo>
                      <a:pt x="410" y="452"/>
                    </a:lnTo>
                    <a:lnTo>
                      <a:pt x="418" y="446"/>
                    </a:lnTo>
                    <a:lnTo>
                      <a:pt x="424" y="442"/>
                    </a:lnTo>
                    <a:lnTo>
                      <a:pt x="430" y="438"/>
                    </a:lnTo>
                    <a:lnTo>
                      <a:pt x="436" y="432"/>
                    </a:lnTo>
                    <a:lnTo>
                      <a:pt x="442" y="428"/>
                    </a:lnTo>
                    <a:lnTo>
                      <a:pt x="448" y="424"/>
                    </a:lnTo>
                    <a:lnTo>
                      <a:pt x="454" y="422"/>
                    </a:lnTo>
                    <a:lnTo>
                      <a:pt x="456" y="420"/>
                    </a:lnTo>
                    <a:lnTo>
                      <a:pt x="456" y="420"/>
                    </a:lnTo>
                    <a:lnTo>
                      <a:pt x="458" y="420"/>
                    </a:lnTo>
                    <a:lnTo>
                      <a:pt x="458" y="420"/>
                    </a:lnTo>
                    <a:lnTo>
                      <a:pt x="460" y="422"/>
                    </a:lnTo>
                    <a:lnTo>
                      <a:pt x="460" y="422"/>
                    </a:lnTo>
                    <a:lnTo>
                      <a:pt x="460" y="422"/>
                    </a:lnTo>
                    <a:lnTo>
                      <a:pt x="462" y="422"/>
                    </a:lnTo>
                    <a:lnTo>
                      <a:pt x="462" y="422"/>
                    </a:lnTo>
                    <a:lnTo>
                      <a:pt x="462" y="424"/>
                    </a:lnTo>
                    <a:lnTo>
                      <a:pt x="464" y="424"/>
                    </a:lnTo>
                    <a:lnTo>
                      <a:pt x="464" y="424"/>
                    </a:lnTo>
                    <a:lnTo>
                      <a:pt x="468" y="424"/>
                    </a:lnTo>
                    <a:lnTo>
                      <a:pt x="472" y="424"/>
                    </a:lnTo>
                    <a:lnTo>
                      <a:pt x="474" y="422"/>
                    </a:lnTo>
                    <a:lnTo>
                      <a:pt x="474" y="422"/>
                    </a:lnTo>
                    <a:lnTo>
                      <a:pt x="476" y="422"/>
                    </a:lnTo>
                    <a:lnTo>
                      <a:pt x="478" y="422"/>
                    </a:lnTo>
                    <a:lnTo>
                      <a:pt x="478" y="422"/>
                    </a:lnTo>
                    <a:lnTo>
                      <a:pt x="478" y="422"/>
                    </a:lnTo>
                    <a:lnTo>
                      <a:pt x="480" y="420"/>
                    </a:lnTo>
                    <a:lnTo>
                      <a:pt x="482" y="420"/>
                    </a:lnTo>
                    <a:lnTo>
                      <a:pt x="484" y="418"/>
                    </a:lnTo>
                    <a:lnTo>
                      <a:pt x="488" y="414"/>
                    </a:lnTo>
                    <a:lnTo>
                      <a:pt x="492" y="410"/>
                    </a:lnTo>
                    <a:lnTo>
                      <a:pt x="492" y="408"/>
                    </a:lnTo>
                    <a:lnTo>
                      <a:pt x="494" y="406"/>
                    </a:lnTo>
                    <a:lnTo>
                      <a:pt x="494" y="406"/>
                    </a:lnTo>
                    <a:lnTo>
                      <a:pt x="496" y="406"/>
                    </a:lnTo>
                    <a:lnTo>
                      <a:pt x="496" y="406"/>
                    </a:lnTo>
                    <a:lnTo>
                      <a:pt x="496" y="406"/>
                    </a:lnTo>
                    <a:lnTo>
                      <a:pt x="498" y="406"/>
                    </a:lnTo>
                    <a:lnTo>
                      <a:pt x="500" y="404"/>
                    </a:lnTo>
                    <a:lnTo>
                      <a:pt x="502" y="404"/>
                    </a:lnTo>
                    <a:lnTo>
                      <a:pt x="506" y="402"/>
                    </a:lnTo>
                    <a:lnTo>
                      <a:pt x="510" y="400"/>
                    </a:lnTo>
                    <a:lnTo>
                      <a:pt x="512" y="400"/>
                    </a:lnTo>
                    <a:lnTo>
                      <a:pt x="512" y="400"/>
                    </a:lnTo>
                    <a:lnTo>
                      <a:pt x="512" y="400"/>
                    </a:lnTo>
                    <a:lnTo>
                      <a:pt x="512" y="404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0" y="414"/>
                    </a:lnTo>
                    <a:lnTo>
                      <a:pt x="510" y="414"/>
                    </a:lnTo>
                    <a:lnTo>
                      <a:pt x="510" y="414"/>
                    </a:lnTo>
                    <a:lnTo>
                      <a:pt x="510" y="418"/>
                    </a:lnTo>
                    <a:lnTo>
                      <a:pt x="510" y="418"/>
                    </a:lnTo>
                    <a:lnTo>
                      <a:pt x="510" y="418"/>
                    </a:lnTo>
                    <a:lnTo>
                      <a:pt x="512" y="420"/>
                    </a:lnTo>
                    <a:lnTo>
                      <a:pt x="512" y="420"/>
                    </a:lnTo>
                    <a:lnTo>
                      <a:pt x="514" y="422"/>
                    </a:lnTo>
                    <a:lnTo>
                      <a:pt x="516" y="422"/>
                    </a:lnTo>
                    <a:lnTo>
                      <a:pt x="516" y="422"/>
                    </a:lnTo>
                    <a:lnTo>
                      <a:pt x="516" y="422"/>
                    </a:lnTo>
                    <a:lnTo>
                      <a:pt x="518" y="422"/>
                    </a:lnTo>
                    <a:lnTo>
                      <a:pt x="520" y="422"/>
                    </a:lnTo>
                    <a:lnTo>
                      <a:pt x="522" y="422"/>
                    </a:lnTo>
                    <a:lnTo>
                      <a:pt x="526" y="420"/>
                    </a:lnTo>
                    <a:lnTo>
                      <a:pt x="532" y="418"/>
                    </a:lnTo>
                    <a:lnTo>
                      <a:pt x="536" y="418"/>
                    </a:lnTo>
                    <a:lnTo>
                      <a:pt x="538" y="418"/>
                    </a:lnTo>
                    <a:lnTo>
                      <a:pt x="540" y="418"/>
                    </a:lnTo>
                    <a:lnTo>
                      <a:pt x="542" y="418"/>
                    </a:lnTo>
                    <a:lnTo>
                      <a:pt x="546" y="420"/>
                    </a:lnTo>
                    <a:lnTo>
                      <a:pt x="548" y="422"/>
                    </a:lnTo>
                    <a:lnTo>
                      <a:pt x="550" y="422"/>
                    </a:lnTo>
                    <a:lnTo>
                      <a:pt x="550" y="422"/>
                    </a:lnTo>
                    <a:lnTo>
                      <a:pt x="550" y="422"/>
                    </a:lnTo>
                    <a:lnTo>
                      <a:pt x="552" y="424"/>
                    </a:lnTo>
                    <a:lnTo>
                      <a:pt x="552" y="424"/>
                    </a:lnTo>
                    <a:lnTo>
                      <a:pt x="552" y="424"/>
                    </a:lnTo>
                    <a:lnTo>
                      <a:pt x="554" y="424"/>
                    </a:lnTo>
                    <a:lnTo>
                      <a:pt x="554" y="424"/>
                    </a:lnTo>
                    <a:lnTo>
                      <a:pt x="556" y="422"/>
                    </a:lnTo>
                    <a:lnTo>
                      <a:pt x="560" y="422"/>
                    </a:lnTo>
                    <a:lnTo>
                      <a:pt x="560" y="422"/>
                    </a:lnTo>
                    <a:lnTo>
                      <a:pt x="560" y="424"/>
                    </a:lnTo>
                    <a:lnTo>
                      <a:pt x="560" y="426"/>
                    </a:lnTo>
                    <a:lnTo>
                      <a:pt x="560" y="428"/>
                    </a:lnTo>
                    <a:lnTo>
                      <a:pt x="560" y="430"/>
                    </a:lnTo>
                    <a:lnTo>
                      <a:pt x="560" y="430"/>
                    </a:lnTo>
                    <a:lnTo>
                      <a:pt x="560" y="430"/>
                    </a:lnTo>
                    <a:lnTo>
                      <a:pt x="560" y="434"/>
                    </a:lnTo>
                    <a:lnTo>
                      <a:pt x="564" y="436"/>
                    </a:lnTo>
                    <a:lnTo>
                      <a:pt x="568" y="438"/>
                    </a:lnTo>
                    <a:lnTo>
                      <a:pt x="576" y="444"/>
                    </a:lnTo>
                    <a:lnTo>
                      <a:pt x="578" y="448"/>
                    </a:lnTo>
                    <a:lnTo>
                      <a:pt x="582" y="452"/>
                    </a:lnTo>
                    <a:lnTo>
                      <a:pt x="584" y="456"/>
                    </a:lnTo>
                    <a:lnTo>
                      <a:pt x="586" y="458"/>
                    </a:lnTo>
                    <a:lnTo>
                      <a:pt x="586" y="458"/>
                    </a:lnTo>
                    <a:lnTo>
                      <a:pt x="588" y="460"/>
                    </a:lnTo>
                    <a:lnTo>
                      <a:pt x="590" y="462"/>
                    </a:lnTo>
                    <a:lnTo>
                      <a:pt x="590" y="462"/>
                    </a:lnTo>
                    <a:lnTo>
                      <a:pt x="592" y="464"/>
                    </a:lnTo>
                    <a:lnTo>
                      <a:pt x="594" y="466"/>
                    </a:lnTo>
                    <a:lnTo>
                      <a:pt x="594" y="466"/>
                    </a:lnTo>
                    <a:lnTo>
                      <a:pt x="598" y="466"/>
                    </a:lnTo>
                    <a:lnTo>
                      <a:pt x="600" y="466"/>
                    </a:lnTo>
                    <a:lnTo>
                      <a:pt x="600" y="466"/>
                    </a:lnTo>
                    <a:lnTo>
                      <a:pt x="600" y="466"/>
                    </a:lnTo>
                    <a:lnTo>
                      <a:pt x="598" y="468"/>
                    </a:lnTo>
                    <a:lnTo>
                      <a:pt x="598" y="470"/>
                    </a:lnTo>
                    <a:lnTo>
                      <a:pt x="598" y="470"/>
                    </a:lnTo>
                    <a:lnTo>
                      <a:pt x="598" y="470"/>
                    </a:lnTo>
                    <a:lnTo>
                      <a:pt x="598" y="474"/>
                    </a:lnTo>
                    <a:lnTo>
                      <a:pt x="600" y="478"/>
                    </a:lnTo>
                    <a:lnTo>
                      <a:pt x="600" y="478"/>
                    </a:lnTo>
                    <a:lnTo>
                      <a:pt x="602" y="478"/>
                    </a:lnTo>
                    <a:lnTo>
                      <a:pt x="602" y="480"/>
                    </a:lnTo>
                    <a:lnTo>
                      <a:pt x="604" y="482"/>
                    </a:lnTo>
                    <a:lnTo>
                      <a:pt x="606" y="486"/>
                    </a:lnTo>
                    <a:lnTo>
                      <a:pt x="606" y="486"/>
                    </a:lnTo>
                    <a:lnTo>
                      <a:pt x="606" y="486"/>
                    </a:lnTo>
                    <a:lnTo>
                      <a:pt x="610" y="490"/>
                    </a:lnTo>
                    <a:lnTo>
                      <a:pt x="612" y="494"/>
                    </a:lnTo>
                    <a:lnTo>
                      <a:pt x="614" y="498"/>
                    </a:lnTo>
                    <a:lnTo>
                      <a:pt x="614" y="502"/>
                    </a:lnTo>
                    <a:lnTo>
                      <a:pt x="614" y="502"/>
                    </a:lnTo>
                    <a:lnTo>
                      <a:pt x="614" y="504"/>
                    </a:lnTo>
                    <a:lnTo>
                      <a:pt x="614" y="504"/>
                    </a:lnTo>
                    <a:lnTo>
                      <a:pt x="614" y="504"/>
                    </a:lnTo>
                    <a:lnTo>
                      <a:pt x="616" y="508"/>
                    </a:lnTo>
                    <a:lnTo>
                      <a:pt x="618" y="508"/>
                    </a:lnTo>
                    <a:lnTo>
                      <a:pt x="618" y="508"/>
                    </a:lnTo>
                    <a:lnTo>
                      <a:pt x="618" y="508"/>
                    </a:lnTo>
                    <a:lnTo>
                      <a:pt x="618" y="510"/>
                    </a:lnTo>
                    <a:lnTo>
                      <a:pt x="618" y="510"/>
                    </a:lnTo>
                    <a:lnTo>
                      <a:pt x="620" y="510"/>
                    </a:lnTo>
                    <a:lnTo>
                      <a:pt x="620" y="510"/>
                    </a:lnTo>
                    <a:lnTo>
                      <a:pt x="620" y="510"/>
                    </a:lnTo>
                    <a:lnTo>
                      <a:pt x="622" y="510"/>
                    </a:lnTo>
                    <a:lnTo>
                      <a:pt x="622" y="510"/>
                    </a:lnTo>
                    <a:lnTo>
                      <a:pt x="622" y="510"/>
                    </a:lnTo>
                    <a:lnTo>
                      <a:pt x="624" y="510"/>
                    </a:lnTo>
                    <a:lnTo>
                      <a:pt x="624" y="510"/>
                    </a:lnTo>
                    <a:lnTo>
                      <a:pt x="624" y="510"/>
                    </a:lnTo>
                    <a:lnTo>
                      <a:pt x="626" y="508"/>
                    </a:lnTo>
                    <a:lnTo>
                      <a:pt x="626" y="508"/>
                    </a:lnTo>
                    <a:lnTo>
                      <a:pt x="626" y="508"/>
                    </a:lnTo>
                    <a:lnTo>
                      <a:pt x="626" y="506"/>
                    </a:lnTo>
                    <a:lnTo>
                      <a:pt x="628" y="504"/>
                    </a:lnTo>
                    <a:lnTo>
                      <a:pt x="628" y="504"/>
                    </a:lnTo>
                    <a:lnTo>
                      <a:pt x="628" y="502"/>
                    </a:lnTo>
                    <a:lnTo>
                      <a:pt x="628" y="500"/>
                    </a:lnTo>
                    <a:lnTo>
                      <a:pt x="628" y="500"/>
                    </a:lnTo>
                    <a:lnTo>
                      <a:pt x="628" y="498"/>
                    </a:lnTo>
                    <a:lnTo>
                      <a:pt x="626" y="496"/>
                    </a:lnTo>
                    <a:lnTo>
                      <a:pt x="626" y="494"/>
                    </a:lnTo>
                    <a:lnTo>
                      <a:pt x="624" y="492"/>
                    </a:lnTo>
                    <a:lnTo>
                      <a:pt x="624" y="490"/>
                    </a:lnTo>
                    <a:lnTo>
                      <a:pt x="626" y="490"/>
                    </a:lnTo>
                    <a:lnTo>
                      <a:pt x="626" y="490"/>
                    </a:lnTo>
                    <a:lnTo>
                      <a:pt x="628" y="490"/>
                    </a:lnTo>
                    <a:lnTo>
                      <a:pt x="630" y="490"/>
                    </a:lnTo>
                    <a:lnTo>
                      <a:pt x="630" y="490"/>
                    </a:lnTo>
                    <a:lnTo>
                      <a:pt x="630" y="488"/>
                    </a:lnTo>
                    <a:lnTo>
                      <a:pt x="632" y="486"/>
                    </a:lnTo>
                    <a:lnTo>
                      <a:pt x="632" y="486"/>
                    </a:lnTo>
                    <a:lnTo>
                      <a:pt x="632" y="484"/>
                    </a:lnTo>
                    <a:lnTo>
                      <a:pt x="632" y="482"/>
                    </a:lnTo>
                    <a:lnTo>
                      <a:pt x="632" y="482"/>
                    </a:lnTo>
                    <a:lnTo>
                      <a:pt x="632" y="482"/>
                    </a:lnTo>
                    <a:lnTo>
                      <a:pt x="632" y="480"/>
                    </a:lnTo>
                    <a:lnTo>
                      <a:pt x="630" y="478"/>
                    </a:lnTo>
                    <a:lnTo>
                      <a:pt x="630" y="474"/>
                    </a:lnTo>
                    <a:lnTo>
                      <a:pt x="630" y="472"/>
                    </a:lnTo>
                    <a:lnTo>
                      <a:pt x="630" y="470"/>
                    </a:lnTo>
                    <a:lnTo>
                      <a:pt x="630" y="472"/>
                    </a:lnTo>
                    <a:lnTo>
                      <a:pt x="632" y="472"/>
                    </a:lnTo>
                    <a:lnTo>
                      <a:pt x="634" y="476"/>
                    </a:lnTo>
                    <a:lnTo>
                      <a:pt x="634" y="482"/>
                    </a:lnTo>
                    <a:lnTo>
                      <a:pt x="636" y="488"/>
                    </a:lnTo>
                    <a:lnTo>
                      <a:pt x="636" y="488"/>
                    </a:lnTo>
                    <a:lnTo>
                      <a:pt x="638" y="490"/>
                    </a:lnTo>
                    <a:lnTo>
                      <a:pt x="640" y="490"/>
                    </a:lnTo>
                    <a:lnTo>
                      <a:pt x="644" y="492"/>
                    </a:lnTo>
                    <a:lnTo>
                      <a:pt x="644" y="494"/>
                    </a:lnTo>
                    <a:lnTo>
                      <a:pt x="644" y="494"/>
                    </a:lnTo>
                    <a:lnTo>
                      <a:pt x="644" y="492"/>
                    </a:lnTo>
                    <a:lnTo>
                      <a:pt x="640" y="492"/>
                    </a:lnTo>
                    <a:lnTo>
                      <a:pt x="638" y="492"/>
                    </a:lnTo>
                    <a:lnTo>
                      <a:pt x="638" y="492"/>
                    </a:lnTo>
                    <a:lnTo>
                      <a:pt x="638" y="492"/>
                    </a:lnTo>
                    <a:lnTo>
                      <a:pt x="634" y="492"/>
                    </a:lnTo>
                    <a:lnTo>
                      <a:pt x="634" y="492"/>
                    </a:lnTo>
                    <a:lnTo>
                      <a:pt x="634" y="492"/>
                    </a:lnTo>
                    <a:lnTo>
                      <a:pt x="632" y="492"/>
                    </a:lnTo>
                    <a:lnTo>
                      <a:pt x="632" y="492"/>
                    </a:lnTo>
                    <a:lnTo>
                      <a:pt x="632" y="492"/>
                    </a:lnTo>
                    <a:lnTo>
                      <a:pt x="630" y="494"/>
                    </a:lnTo>
                    <a:lnTo>
                      <a:pt x="630" y="494"/>
                    </a:lnTo>
                    <a:lnTo>
                      <a:pt x="630" y="494"/>
                    </a:lnTo>
                    <a:lnTo>
                      <a:pt x="628" y="496"/>
                    </a:lnTo>
                    <a:lnTo>
                      <a:pt x="628" y="496"/>
                    </a:lnTo>
                    <a:lnTo>
                      <a:pt x="628" y="496"/>
                    </a:lnTo>
                    <a:lnTo>
                      <a:pt x="628" y="498"/>
                    </a:lnTo>
                    <a:lnTo>
                      <a:pt x="628" y="498"/>
                    </a:lnTo>
                    <a:lnTo>
                      <a:pt x="628" y="498"/>
                    </a:lnTo>
                    <a:lnTo>
                      <a:pt x="628" y="500"/>
                    </a:lnTo>
                    <a:lnTo>
                      <a:pt x="630" y="504"/>
                    </a:lnTo>
                    <a:lnTo>
                      <a:pt x="630" y="504"/>
                    </a:lnTo>
                    <a:lnTo>
                      <a:pt x="632" y="506"/>
                    </a:lnTo>
                    <a:lnTo>
                      <a:pt x="632" y="506"/>
                    </a:lnTo>
                    <a:lnTo>
                      <a:pt x="634" y="506"/>
                    </a:lnTo>
                    <a:lnTo>
                      <a:pt x="634" y="508"/>
                    </a:lnTo>
                    <a:lnTo>
                      <a:pt x="636" y="508"/>
                    </a:lnTo>
                    <a:lnTo>
                      <a:pt x="640" y="508"/>
                    </a:lnTo>
                    <a:lnTo>
                      <a:pt x="642" y="510"/>
                    </a:lnTo>
                    <a:lnTo>
                      <a:pt x="642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6" y="512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2" y="512"/>
                    </a:lnTo>
                    <a:lnTo>
                      <a:pt x="642" y="512"/>
                    </a:lnTo>
                    <a:lnTo>
                      <a:pt x="640" y="514"/>
                    </a:lnTo>
                    <a:lnTo>
                      <a:pt x="640" y="518"/>
                    </a:lnTo>
                    <a:lnTo>
                      <a:pt x="640" y="520"/>
                    </a:lnTo>
                    <a:lnTo>
                      <a:pt x="640" y="522"/>
                    </a:lnTo>
                    <a:lnTo>
                      <a:pt x="640" y="524"/>
                    </a:lnTo>
                    <a:lnTo>
                      <a:pt x="640" y="528"/>
                    </a:lnTo>
                    <a:lnTo>
                      <a:pt x="640" y="530"/>
                    </a:lnTo>
                    <a:lnTo>
                      <a:pt x="640" y="530"/>
                    </a:lnTo>
                    <a:lnTo>
                      <a:pt x="640" y="532"/>
                    </a:lnTo>
                    <a:lnTo>
                      <a:pt x="640" y="534"/>
                    </a:lnTo>
                    <a:lnTo>
                      <a:pt x="640" y="536"/>
                    </a:lnTo>
                    <a:lnTo>
                      <a:pt x="640" y="538"/>
                    </a:lnTo>
                    <a:lnTo>
                      <a:pt x="642" y="540"/>
                    </a:lnTo>
                    <a:lnTo>
                      <a:pt x="642" y="540"/>
                    </a:lnTo>
                    <a:lnTo>
                      <a:pt x="642" y="542"/>
                    </a:lnTo>
                    <a:lnTo>
                      <a:pt x="644" y="544"/>
                    </a:lnTo>
                    <a:lnTo>
                      <a:pt x="644" y="544"/>
                    </a:lnTo>
                    <a:lnTo>
                      <a:pt x="644" y="544"/>
                    </a:lnTo>
                    <a:lnTo>
                      <a:pt x="646" y="546"/>
                    </a:lnTo>
                    <a:lnTo>
                      <a:pt x="646" y="546"/>
                    </a:lnTo>
                    <a:lnTo>
                      <a:pt x="646" y="546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50" y="548"/>
                    </a:lnTo>
                    <a:lnTo>
                      <a:pt x="650" y="548"/>
                    </a:lnTo>
                    <a:lnTo>
                      <a:pt x="652" y="548"/>
                    </a:lnTo>
                    <a:lnTo>
                      <a:pt x="654" y="546"/>
                    </a:lnTo>
                    <a:lnTo>
                      <a:pt x="656" y="546"/>
                    </a:lnTo>
                    <a:lnTo>
                      <a:pt x="656" y="546"/>
                    </a:lnTo>
                    <a:lnTo>
                      <a:pt x="658" y="544"/>
                    </a:lnTo>
                    <a:lnTo>
                      <a:pt x="662" y="542"/>
                    </a:lnTo>
                    <a:lnTo>
                      <a:pt x="664" y="542"/>
                    </a:lnTo>
                    <a:lnTo>
                      <a:pt x="666" y="540"/>
                    </a:lnTo>
                    <a:lnTo>
                      <a:pt x="668" y="540"/>
                    </a:lnTo>
                    <a:lnTo>
                      <a:pt x="668" y="540"/>
                    </a:lnTo>
                    <a:lnTo>
                      <a:pt x="670" y="542"/>
                    </a:lnTo>
                    <a:lnTo>
                      <a:pt x="672" y="542"/>
                    </a:lnTo>
                    <a:lnTo>
                      <a:pt x="672" y="542"/>
                    </a:lnTo>
                    <a:lnTo>
                      <a:pt x="674" y="542"/>
                    </a:lnTo>
                    <a:lnTo>
                      <a:pt x="674" y="542"/>
                    </a:lnTo>
                    <a:lnTo>
                      <a:pt x="674" y="542"/>
                    </a:lnTo>
                    <a:lnTo>
                      <a:pt x="676" y="542"/>
                    </a:lnTo>
                    <a:lnTo>
                      <a:pt x="678" y="544"/>
                    </a:lnTo>
                    <a:lnTo>
                      <a:pt x="678" y="544"/>
                    </a:lnTo>
                    <a:lnTo>
                      <a:pt x="678" y="544"/>
                    </a:lnTo>
                    <a:lnTo>
                      <a:pt x="680" y="546"/>
                    </a:lnTo>
                    <a:lnTo>
                      <a:pt x="680" y="546"/>
                    </a:lnTo>
                    <a:lnTo>
                      <a:pt x="682" y="546"/>
                    </a:lnTo>
                    <a:lnTo>
                      <a:pt x="682" y="546"/>
                    </a:lnTo>
                    <a:lnTo>
                      <a:pt x="682" y="546"/>
                    </a:lnTo>
                    <a:lnTo>
                      <a:pt x="684" y="544"/>
                    </a:lnTo>
                    <a:lnTo>
                      <a:pt x="686" y="544"/>
                    </a:lnTo>
                    <a:lnTo>
                      <a:pt x="686" y="544"/>
                    </a:lnTo>
                    <a:lnTo>
                      <a:pt x="686" y="542"/>
                    </a:lnTo>
                    <a:lnTo>
                      <a:pt x="686" y="540"/>
                    </a:lnTo>
                    <a:lnTo>
                      <a:pt x="688" y="538"/>
                    </a:lnTo>
                    <a:lnTo>
                      <a:pt x="688" y="534"/>
                    </a:lnTo>
                    <a:lnTo>
                      <a:pt x="688" y="530"/>
                    </a:lnTo>
                    <a:lnTo>
                      <a:pt x="688" y="524"/>
                    </a:lnTo>
                    <a:lnTo>
                      <a:pt x="688" y="520"/>
                    </a:lnTo>
                    <a:lnTo>
                      <a:pt x="688" y="520"/>
                    </a:lnTo>
                    <a:lnTo>
                      <a:pt x="688" y="520"/>
                    </a:lnTo>
                    <a:lnTo>
                      <a:pt x="688" y="518"/>
                    </a:lnTo>
                    <a:lnTo>
                      <a:pt x="688" y="518"/>
                    </a:lnTo>
                    <a:lnTo>
                      <a:pt x="688" y="518"/>
                    </a:lnTo>
                    <a:lnTo>
                      <a:pt x="688" y="518"/>
                    </a:lnTo>
                    <a:close/>
                    <a:moveTo>
                      <a:pt x="294" y="54"/>
                    </a:moveTo>
                    <a:lnTo>
                      <a:pt x="294" y="54"/>
                    </a:lnTo>
                    <a:lnTo>
                      <a:pt x="294" y="54"/>
                    </a:lnTo>
                    <a:lnTo>
                      <a:pt x="294" y="54"/>
                    </a:lnTo>
                    <a:close/>
                    <a:moveTo>
                      <a:pt x="606" y="460"/>
                    </a:move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0"/>
                    </a:lnTo>
                    <a:lnTo>
                      <a:pt x="604" y="458"/>
                    </a:lnTo>
                    <a:lnTo>
                      <a:pt x="604" y="458"/>
                    </a:lnTo>
                    <a:lnTo>
                      <a:pt x="606" y="458"/>
                    </a:lnTo>
                    <a:lnTo>
                      <a:pt x="608" y="460"/>
                    </a:lnTo>
                    <a:lnTo>
                      <a:pt x="606" y="460"/>
                    </a:lnTo>
                    <a:close/>
                    <a:moveTo>
                      <a:pt x="654" y="516"/>
                    </a:moveTo>
                    <a:lnTo>
                      <a:pt x="654" y="516"/>
                    </a:lnTo>
                    <a:lnTo>
                      <a:pt x="652" y="516"/>
                    </a:lnTo>
                    <a:lnTo>
                      <a:pt x="650" y="514"/>
                    </a:lnTo>
                    <a:lnTo>
                      <a:pt x="648" y="514"/>
                    </a:lnTo>
                    <a:lnTo>
                      <a:pt x="648" y="514"/>
                    </a:lnTo>
                    <a:lnTo>
                      <a:pt x="648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2" y="514"/>
                    </a:lnTo>
                    <a:lnTo>
                      <a:pt x="654" y="516"/>
                    </a:lnTo>
                    <a:lnTo>
                      <a:pt x="654" y="516"/>
                    </a:lnTo>
                    <a:lnTo>
                      <a:pt x="654" y="51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96" name="Freeform 24">
                <a:extLst>
                  <a:ext uri="{FF2B5EF4-FFF2-40B4-BE49-F238E27FC236}">
                    <a16:creationId xmlns:a16="http://schemas.microsoft.com/office/drawing/2014/main" id="{2432F9EA-8C8A-4308-8443-FF2C1FEE1397}"/>
                  </a:ext>
                </a:extLst>
              </p:cNvPr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gray">
              <a:xfrm>
                <a:off x="2578959" y="4737100"/>
                <a:ext cx="426179" cy="1007062"/>
              </a:xfrm>
              <a:custGeom>
                <a:avLst/>
                <a:gdLst/>
                <a:ahLst/>
                <a:cxnLst/>
                <a:rect l="l" t="t" r="r" b="b"/>
                <a:pathLst>
                  <a:path w="426179" h="1007062">
                    <a:moveTo>
                      <a:pt x="295614" y="854662"/>
                    </a:moveTo>
                    <a:cubicBezTo>
                      <a:pt x="328952" y="856209"/>
                      <a:pt x="348002" y="856209"/>
                      <a:pt x="376577" y="862396"/>
                    </a:cubicBezTo>
                    <a:cubicBezTo>
                      <a:pt x="371815" y="876317"/>
                      <a:pt x="363877" y="879411"/>
                      <a:pt x="349590" y="882505"/>
                    </a:cubicBezTo>
                    <a:cubicBezTo>
                      <a:pt x="341652" y="896426"/>
                      <a:pt x="336890" y="897973"/>
                      <a:pt x="321014" y="901066"/>
                    </a:cubicBezTo>
                    <a:cubicBezTo>
                      <a:pt x="303552" y="914987"/>
                      <a:pt x="297202" y="897973"/>
                      <a:pt x="278152" y="894879"/>
                    </a:cubicBezTo>
                    <a:cubicBezTo>
                      <a:pt x="270214" y="882505"/>
                      <a:pt x="274977" y="874771"/>
                      <a:pt x="287677" y="868583"/>
                    </a:cubicBezTo>
                    <a:cubicBezTo>
                      <a:pt x="294027" y="860849"/>
                      <a:pt x="290852" y="865490"/>
                      <a:pt x="295614" y="854662"/>
                    </a:cubicBezTo>
                    <a:close/>
                    <a:moveTo>
                      <a:pt x="167429" y="363"/>
                    </a:moveTo>
                    <a:cubicBezTo>
                      <a:pt x="170608" y="1534"/>
                      <a:pt x="180528" y="5044"/>
                      <a:pt x="225759" y="3518"/>
                    </a:cubicBezTo>
                    <a:cubicBezTo>
                      <a:pt x="233704" y="8199"/>
                      <a:pt x="252747" y="9725"/>
                      <a:pt x="259094" y="17561"/>
                    </a:cubicBezTo>
                    <a:cubicBezTo>
                      <a:pt x="274984" y="23768"/>
                      <a:pt x="306722" y="40863"/>
                      <a:pt x="314667" y="53380"/>
                    </a:cubicBezTo>
                    <a:cubicBezTo>
                      <a:pt x="333709" y="67422"/>
                      <a:pt x="349599" y="78310"/>
                      <a:pt x="363892" y="97034"/>
                    </a:cubicBezTo>
                    <a:cubicBezTo>
                      <a:pt x="362294" y="106396"/>
                      <a:pt x="359099" y="110975"/>
                      <a:pt x="354349" y="118810"/>
                    </a:cubicBezTo>
                    <a:cubicBezTo>
                      <a:pt x="359099" y="126646"/>
                      <a:pt x="362294" y="129699"/>
                      <a:pt x="371794" y="132853"/>
                    </a:cubicBezTo>
                    <a:cubicBezTo>
                      <a:pt x="386086" y="134380"/>
                      <a:pt x="408324" y="140587"/>
                      <a:pt x="421019" y="134380"/>
                    </a:cubicBezTo>
                    <a:cubicBezTo>
                      <a:pt x="428964" y="137534"/>
                      <a:pt x="425769" y="145268"/>
                      <a:pt x="424214" y="151577"/>
                    </a:cubicBezTo>
                    <a:cubicBezTo>
                      <a:pt x="414671" y="156258"/>
                      <a:pt x="411519" y="160939"/>
                      <a:pt x="406726" y="170199"/>
                    </a:cubicBezTo>
                    <a:cubicBezTo>
                      <a:pt x="398781" y="176508"/>
                      <a:pt x="395629" y="181189"/>
                      <a:pt x="390879" y="188922"/>
                    </a:cubicBezTo>
                    <a:cubicBezTo>
                      <a:pt x="381336" y="196758"/>
                      <a:pt x="374989" y="206119"/>
                      <a:pt x="368642" y="217008"/>
                    </a:cubicBezTo>
                    <a:cubicBezTo>
                      <a:pt x="344806" y="234103"/>
                      <a:pt x="354349" y="287119"/>
                      <a:pt x="354349" y="302688"/>
                    </a:cubicBezTo>
                    <a:cubicBezTo>
                      <a:pt x="357544" y="316731"/>
                      <a:pt x="360696" y="327619"/>
                      <a:pt x="367044" y="340136"/>
                    </a:cubicBezTo>
                    <a:cubicBezTo>
                      <a:pt x="387684" y="355705"/>
                      <a:pt x="382934" y="358757"/>
                      <a:pt x="387684" y="386843"/>
                    </a:cubicBezTo>
                    <a:cubicBezTo>
                      <a:pt x="386086" y="397731"/>
                      <a:pt x="378184" y="397731"/>
                      <a:pt x="376587" y="408619"/>
                    </a:cubicBezTo>
                    <a:cubicBezTo>
                      <a:pt x="367044" y="427343"/>
                      <a:pt x="352751" y="446066"/>
                      <a:pt x="333709" y="455428"/>
                    </a:cubicBezTo>
                    <a:cubicBezTo>
                      <a:pt x="325764" y="456955"/>
                      <a:pt x="270234" y="469471"/>
                      <a:pt x="268637" y="470997"/>
                    </a:cubicBezTo>
                    <a:cubicBezTo>
                      <a:pt x="257496" y="478833"/>
                      <a:pt x="260692" y="494402"/>
                      <a:pt x="257496" y="506816"/>
                    </a:cubicBezTo>
                    <a:cubicBezTo>
                      <a:pt x="246399" y="508445"/>
                      <a:pt x="244801" y="513024"/>
                      <a:pt x="240052" y="522385"/>
                    </a:cubicBezTo>
                    <a:cubicBezTo>
                      <a:pt x="190827" y="525540"/>
                      <a:pt x="190827" y="519333"/>
                      <a:pt x="197174" y="553625"/>
                    </a:cubicBezTo>
                    <a:cubicBezTo>
                      <a:pt x="217814" y="555152"/>
                      <a:pt x="228954" y="559833"/>
                      <a:pt x="224161" y="581609"/>
                    </a:cubicBezTo>
                    <a:cubicBezTo>
                      <a:pt x="198772" y="583237"/>
                      <a:pt x="187674" y="580083"/>
                      <a:pt x="192424" y="606540"/>
                    </a:cubicBezTo>
                    <a:cubicBezTo>
                      <a:pt x="190827" y="617530"/>
                      <a:pt x="187674" y="623737"/>
                      <a:pt x="182881" y="633099"/>
                    </a:cubicBezTo>
                    <a:cubicBezTo>
                      <a:pt x="171784" y="640833"/>
                      <a:pt x="173382" y="650194"/>
                      <a:pt x="168632" y="661083"/>
                    </a:cubicBezTo>
                    <a:cubicBezTo>
                      <a:pt x="136852" y="662711"/>
                      <a:pt x="136852" y="658030"/>
                      <a:pt x="133700" y="686013"/>
                    </a:cubicBezTo>
                    <a:cubicBezTo>
                      <a:pt x="140047" y="695375"/>
                      <a:pt x="144797" y="706263"/>
                      <a:pt x="154340" y="712572"/>
                    </a:cubicBezTo>
                    <a:cubicBezTo>
                      <a:pt x="173382" y="715625"/>
                      <a:pt x="171784" y="723461"/>
                      <a:pt x="176534" y="740556"/>
                    </a:cubicBezTo>
                    <a:cubicBezTo>
                      <a:pt x="171784" y="746865"/>
                      <a:pt x="170187" y="754599"/>
                      <a:pt x="163839" y="760806"/>
                    </a:cubicBezTo>
                    <a:cubicBezTo>
                      <a:pt x="149547" y="774849"/>
                      <a:pt x="138449" y="776477"/>
                      <a:pt x="133700" y="796727"/>
                    </a:cubicBezTo>
                    <a:cubicBezTo>
                      <a:pt x="140047" y="806089"/>
                      <a:pt x="141645" y="810668"/>
                      <a:pt x="135297" y="820030"/>
                    </a:cubicBezTo>
                    <a:cubicBezTo>
                      <a:pt x="100365" y="821658"/>
                      <a:pt x="105114" y="823184"/>
                      <a:pt x="101919" y="859003"/>
                    </a:cubicBezTo>
                    <a:cubicBezTo>
                      <a:pt x="105114" y="866839"/>
                      <a:pt x="109864" y="871520"/>
                      <a:pt x="111462" y="880881"/>
                    </a:cubicBezTo>
                    <a:cubicBezTo>
                      <a:pt x="124157" y="897977"/>
                      <a:pt x="119407" y="910493"/>
                      <a:pt x="121005" y="933796"/>
                    </a:cubicBezTo>
                    <a:cubicBezTo>
                      <a:pt x="130504" y="936950"/>
                      <a:pt x="133700" y="940105"/>
                      <a:pt x="138449" y="947839"/>
                    </a:cubicBezTo>
                    <a:cubicBezTo>
                      <a:pt x="151144" y="957200"/>
                      <a:pt x="155894" y="971243"/>
                      <a:pt x="163839" y="983658"/>
                    </a:cubicBezTo>
                    <a:cubicBezTo>
                      <a:pt x="171784" y="988339"/>
                      <a:pt x="189272" y="999227"/>
                      <a:pt x="197174" y="1002381"/>
                    </a:cubicBezTo>
                    <a:lnTo>
                      <a:pt x="187674" y="1007062"/>
                    </a:lnTo>
                    <a:cubicBezTo>
                      <a:pt x="190827" y="986812"/>
                      <a:pt x="130504" y="991493"/>
                      <a:pt x="116212" y="988339"/>
                    </a:cubicBezTo>
                    <a:cubicBezTo>
                      <a:pt x="109065" y="986812"/>
                      <a:pt x="107090" y="987982"/>
                      <a:pt x="106102" y="988567"/>
                    </a:cubicBezTo>
                    <a:lnTo>
                      <a:pt x="101919" y="985286"/>
                    </a:lnTo>
                    <a:cubicBezTo>
                      <a:pt x="95572" y="977450"/>
                      <a:pt x="84474" y="955674"/>
                      <a:pt x="76529" y="943158"/>
                    </a:cubicBezTo>
                    <a:cubicBezTo>
                      <a:pt x="68584" y="930743"/>
                      <a:pt x="57487" y="921381"/>
                      <a:pt x="49542" y="913546"/>
                    </a:cubicBezTo>
                    <a:cubicBezTo>
                      <a:pt x="41597" y="905812"/>
                      <a:pt x="25750" y="904184"/>
                      <a:pt x="24152" y="894822"/>
                    </a:cubicBezTo>
                    <a:cubicBezTo>
                      <a:pt x="22554" y="885562"/>
                      <a:pt x="38445" y="866839"/>
                      <a:pt x="35249" y="854322"/>
                    </a:cubicBezTo>
                    <a:cubicBezTo>
                      <a:pt x="32097" y="841908"/>
                      <a:pt x="3512" y="835599"/>
                      <a:pt x="360" y="821658"/>
                    </a:cubicBezTo>
                    <a:cubicBezTo>
                      <a:pt x="-2836" y="807615"/>
                      <a:pt x="16207" y="790418"/>
                      <a:pt x="20957" y="773322"/>
                    </a:cubicBezTo>
                    <a:cubicBezTo>
                      <a:pt x="25750" y="756125"/>
                      <a:pt x="28902" y="742184"/>
                      <a:pt x="33695" y="718780"/>
                    </a:cubicBezTo>
                    <a:cubicBezTo>
                      <a:pt x="38445" y="695375"/>
                      <a:pt x="51139" y="656402"/>
                      <a:pt x="49542" y="629944"/>
                    </a:cubicBezTo>
                    <a:cubicBezTo>
                      <a:pt x="47944" y="603487"/>
                      <a:pt x="25750" y="578556"/>
                      <a:pt x="24152" y="559833"/>
                    </a:cubicBezTo>
                    <a:cubicBezTo>
                      <a:pt x="22554" y="541109"/>
                      <a:pt x="32097" y="538056"/>
                      <a:pt x="35249" y="520859"/>
                    </a:cubicBezTo>
                    <a:cubicBezTo>
                      <a:pt x="38445" y="503764"/>
                      <a:pt x="44792" y="481885"/>
                      <a:pt x="47944" y="460109"/>
                    </a:cubicBezTo>
                    <a:cubicBezTo>
                      <a:pt x="51139" y="438231"/>
                      <a:pt x="52737" y="411774"/>
                      <a:pt x="59085" y="389997"/>
                    </a:cubicBezTo>
                    <a:cubicBezTo>
                      <a:pt x="63834" y="377481"/>
                      <a:pt x="84474" y="341662"/>
                      <a:pt x="86072" y="324465"/>
                    </a:cubicBezTo>
                    <a:cubicBezTo>
                      <a:pt x="76529" y="302688"/>
                      <a:pt x="76529" y="270024"/>
                      <a:pt x="73377" y="244991"/>
                    </a:cubicBezTo>
                    <a:cubicBezTo>
                      <a:pt x="76529" y="218534"/>
                      <a:pt x="70182" y="185869"/>
                      <a:pt x="87670" y="165518"/>
                    </a:cubicBezTo>
                    <a:cubicBezTo>
                      <a:pt x="94017" y="149949"/>
                      <a:pt x="106712" y="154629"/>
                      <a:pt x="111462" y="146896"/>
                    </a:cubicBezTo>
                    <a:cubicBezTo>
                      <a:pt x="116212" y="139060"/>
                      <a:pt x="121005" y="128172"/>
                      <a:pt x="121005" y="118810"/>
                    </a:cubicBezTo>
                    <a:cubicBezTo>
                      <a:pt x="121005" y="109449"/>
                      <a:pt x="113060" y="101715"/>
                      <a:pt x="116212" y="90725"/>
                    </a:cubicBezTo>
                    <a:cubicBezTo>
                      <a:pt x="122559" y="76784"/>
                      <a:pt x="121005" y="67422"/>
                      <a:pt x="130504" y="54906"/>
                    </a:cubicBezTo>
                    <a:cubicBezTo>
                      <a:pt x="144797" y="51853"/>
                      <a:pt x="147992" y="23768"/>
                      <a:pt x="149547" y="11251"/>
                    </a:cubicBezTo>
                    <a:cubicBezTo>
                      <a:pt x="167812" y="363"/>
                      <a:pt x="164249" y="-807"/>
                      <a:pt x="167429" y="36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97" name="Freeform 21">
                <a:extLst>
                  <a:ext uri="{FF2B5EF4-FFF2-40B4-BE49-F238E27FC236}">
                    <a16:creationId xmlns:a16="http://schemas.microsoft.com/office/drawing/2014/main" id="{0E144B79-2E25-4DD1-8993-36B0B75368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0125" y="1279525"/>
                <a:ext cx="4076700" cy="1876425"/>
              </a:xfrm>
              <a:custGeom>
                <a:avLst/>
                <a:gdLst>
                  <a:gd name="T0" fmla="*/ 550 w 2568"/>
                  <a:gd name="T1" fmla="*/ 246 h 1182"/>
                  <a:gd name="T2" fmla="*/ 746 w 2568"/>
                  <a:gd name="T3" fmla="*/ 24 h 1182"/>
                  <a:gd name="T4" fmla="*/ 602 w 2568"/>
                  <a:gd name="T5" fmla="*/ 80 h 1182"/>
                  <a:gd name="T6" fmla="*/ 514 w 2568"/>
                  <a:gd name="T7" fmla="*/ 210 h 1182"/>
                  <a:gd name="T8" fmla="*/ 0 w 2568"/>
                  <a:gd name="T9" fmla="*/ 880 h 1182"/>
                  <a:gd name="T10" fmla="*/ 2398 w 2568"/>
                  <a:gd name="T11" fmla="*/ 330 h 1182"/>
                  <a:gd name="T12" fmla="*/ 2492 w 2568"/>
                  <a:gd name="T13" fmla="*/ 480 h 1182"/>
                  <a:gd name="T14" fmla="*/ 2246 w 2568"/>
                  <a:gd name="T15" fmla="*/ 404 h 1182"/>
                  <a:gd name="T16" fmla="*/ 2142 w 2568"/>
                  <a:gd name="T17" fmla="*/ 402 h 1182"/>
                  <a:gd name="T18" fmla="*/ 1968 w 2568"/>
                  <a:gd name="T19" fmla="*/ 284 h 1182"/>
                  <a:gd name="T20" fmla="*/ 1802 w 2568"/>
                  <a:gd name="T21" fmla="*/ 308 h 1182"/>
                  <a:gd name="T22" fmla="*/ 1658 w 2568"/>
                  <a:gd name="T23" fmla="*/ 286 h 1182"/>
                  <a:gd name="T24" fmla="*/ 1562 w 2568"/>
                  <a:gd name="T25" fmla="*/ 232 h 1182"/>
                  <a:gd name="T26" fmla="*/ 1420 w 2568"/>
                  <a:gd name="T27" fmla="*/ 182 h 1182"/>
                  <a:gd name="T28" fmla="*/ 1380 w 2568"/>
                  <a:gd name="T29" fmla="*/ 190 h 1182"/>
                  <a:gd name="T30" fmla="*/ 1344 w 2568"/>
                  <a:gd name="T31" fmla="*/ 206 h 1182"/>
                  <a:gd name="T32" fmla="*/ 1386 w 2568"/>
                  <a:gd name="T33" fmla="*/ 28 h 1182"/>
                  <a:gd name="T34" fmla="*/ 1232 w 2568"/>
                  <a:gd name="T35" fmla="*/ 36 h 1182"/>
                  <a:gd name="T36" fmla="*/ 1096 w 2568"/>
                  <a:gd name="T37" fmla="*/ 94 h 1182"/>
                  <a:gd name="T38" fmla="*/ 928 w 2568"/>
                  <a:gd name="T39" fmla="*/ 210 h 1182"/>
                  <a:gd name="T40" fmla="*/ 896 w 2568"/>
                  <a:gd name="T41" fmla="*/ 264 h 1182"/>
                  <a:gd name="T42" fmla="*/ 838 w 2568"/>
                  <a:gd name="T43" fmla="*/ 234 h 1182"/>
                  <a:gd name="T44" fmla="*/ 826 w 2568"/>
                  <a:gd name="T45" fmla="*/ 444 h 1182"/>
                  <a:gd name="T46" fmla="*/ 796 w 2568"/>
                  <a:gd name="T47" fmla="*/ 308 h 1182"/>
                  <a:gd name="T48" fmla="*/ 622 w 2568"/>
                  <a:gd name="T49" fmla="*/ 388 h 1182"/>
                  <a:gd name="T50" fmla="*/ 534 w 2568"/>
                  <a:gd name="T51" fmla="*/ 444 h 1182"/>
                  <a:gd name="T52" fmla="*/ 388 w 2568"/>
                  <a:gd name="T53" fmla="*/ 484 h 1182"/>
                  <a:gd name="T54" fmla="*/ 328 w 2568"/>
                  <a:gd name="T55" fmla="*/ 534 h 1182"/>
                  <a:gd name="T56" fmla="*/ 268 w 2568"/>
                  <a:gd name="T57" fmla="*/ 612 h 1182"/>
                  <a:gd name="T58" fmla="*/ 324 w 2568"/>
                  <a:gd name="T59" fmla="*/ 496 h 1182"/>
                  <a:gd name="T60" fmla="*/ 144 w 2568"/>
                  <a:gd name="T61" fmla="*/ 466 h 1182"/>
                  <a:gd name="T62" fmla="*/ 136 w 2568"/>
                  <a:gd name="T63" fmla="*/ 722 h 1182"/>
                  <a:gd name="T64" fmla="*/ 160 w 2568"/>
                  <a:gd name="T65" fmla="*/ 860 h 1182"/>
                  <a:gd name="T66" fmla="*/ 282 w 2568"/>
                  <a:gd name="T67" fmla="*/ 988 h 1182"/>
                  <a:gd name="T68" fmla="*/ 310 w 2568"/>
                  <a:gd name="T69" fmla="*/ 1134 h 1182"/>
                  <a:gd name="T70" fmla="*/ 432 w 2568"/>
                  <a:gd name="T71" fmla="*/ 1088 h 1182"/>
                  <a:gd name="T72" fmla="*/ 432 w 2568"/>
                  <a:gd name="T73" fmla="*/ 994 h 1182"/>
                  <a:gd name="T74" fmla="*/ 628 w 2568"/>
                  <a:gd name="T75" fmla="*/ 962 h 1182"/>
                  <a:gd name="T76" fmla="*/ 806 w 2568"/>
                  <a:gd name="T77" fmla="*/ 890 h 1182"/>
                  <a:gd name="T78" fmla="*/ 956 w 2568"/>
                  <a:gd name="T79" fmla="*/ 978 h 1182"/>
                  <a:gd name="T80" fmla="*/ 1188 w 2568"/>
                  <a:gd name="T81" fmla="*/ 998 h 1182"/>
                  <a:gd name="T82" fmla="*/ 1464 w 2568"/>
                  <a:gd name="T83" fmla="*/ 998 h 1182"/>
                  <a:gd name="T84" fmla="*/ 1658 w 2568"/>
                  <a:gd name="T85" fmla="*/ 1010 h 1182"/>
                  <a:gd name="T86" fmla="*/ 1690 w 2568"/>
                  <a:gd name="T87" fmla="*/ 1148 h 1182"/>
                  <a:gd name="T88" fmla="*/ 1796 w 2568"/>
                  <a:gd name="T89" fmla="*/ 890 h 1182"/>
                  <a:gd name="T90" fmla="*/ 1850 w 2568"/>
                  <a:gd name="T91" fmla="*/ 770 h 1182"/>
                  <a:gd name="T92" fmla="*/ 2000 w 2568"/>
                  <a:gd name="T93" fmla="*/ 766 h 1182"/>
                  <a:gd name="T94" fmla="*/ 2144 w 2568"/>
                  <a:gd name="T95" fmla="*/ 706 h 1182"/>
                  <a:gd name="T96" fmla="*/ 2048 w 2568"/>
                  <a:gd name="T97" fmla="*/ 878 h 1182"/>
                  <a:gd name="T98" fmla="*/ 2120 w 2568"/>
                  <a:gd name="T99" fmla="*/ 902 h 1182"/>
                  <a:gd name="T100" fmla="*/ 2156 w 2568"/>
                  <a:gd name="T101" fmla="*/ 794 h 1182"/>
                  <a:gd name="T102" fmla="*/ 2222 w 2568"/>
                  <a:gd name="T103" fmla="*/ 734 h 1182"/>
                  <a:gd name="T104" fmla="*/ 2420 w 2568"/>
                  <a:gd name="T105" fmla="*/ 640 h 1182"/>
                  <a:gd name="T106" fmla="*/ 2460 w 2568"/>
                  <a:gd name="T107" fmla="*/ 560 h 1182"/>
                  <a:gd name="T108" fmla="*/ 2566 w 2568"/>
                  <a:gd name="T109" fmla="*/ 538 h 1182"/>
                  <a:gd name="T110" fmla="*/ 856 w 2568"/>
                  <a:gd name="T111" fmla="*/ 302 h 1182"/>
                  <a:gd name="T112" fmla="*/ 1752 w 2568"/>
                  <a:gd name="T113" fmla="*/ 90 h 1182"/>
                  <a:gd name="T114" fmla="*/ 1762 w 2568"/>
                  <a:gd name="T115" fmla="*/ 200 h 1182"/>
                  <a:gd name="T116" fmla="*/ 1860 w 2568"/>
                  <a:gd name="T117" fmla="*/ 150 h 1182"/>
                  <a:gd name="T118" fmla="*/ 1830 w 2568"/>
                  <a:gd name="T119" fmla="*/ 68 h 1182"/>
                  <a:gd name="T120" fmla="*/ 1972 w 2568"/>
                  <a:gd name="T121" fmla="*/ 146 h 1182"/>
                  <a:gd name="T122" fmla="*/ 1870 w 2568"/>
                  <a:gd name="T123" fmla="*/ 202 h 1182"/>
                  <a:gd name="T124" fmla="*/ 2222 w 2568"/>
                  <a:gd name="T125" fmla="*/ 860 h 1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68" h="1182">
                    <a:moveTo>
                      <a:pt x="486" y="312"/>
                    </a:moveTo>
                    <a:lnTo>
                      <a:pt x="486" y="318"/>
                    </a:lnTo>
                    <a:lnTo>
                      <a:pt x="486" y="318"/>
                    </a:lnTo>
                    <a:lnTo>
                      <a:pt x="486" y="318"/>
                    </a:lnTo>
                    <a:lnTo>
                      <a:pt x="488" y="320"/>
                    </a:lnTo>
                    <a:lnTo>
                      <a:pt x="488" y="320"/>
                    </a:lnTo>
                    <a:lnTo>
                      <a:pt x="488" y="320"/>
                    </a:lnTo>
                    <a:lnTo>
                      <a:pt x="490" y="320"/>
                    </a:lnTo>
                    <a:lnTo>
                      <a:pt x="490" y="320"/>
                    </a:lnTo>
                    <a:lnTo>
                      <a:pt x="490" y="320"/>
                    </a:lnTo>
                    <a:lnTo>
                      <a:pt x="494" y="320"/>
                    </a:lnTo>
                    <a:lnTo>
                      <a:pt x="496" y="320"/>
                    </a:lnTo>
                    <a:lnTo>
                      <a:pt x="496" y="320"/>
                    </a:lnTo>
                    <a:lnTo>
                      <a:pt x="496" y="320"/>
                    </a:lnTo>
                    <a:lnTo>
                      <a:pt x="500" y="326"/>
                    </a:lnTo>
                    <a:lnTo>
                      <a:pt x="502" y="330"/>
                    </a:lnTo>
                    <a:lnTo>
                      <a:pt x="502" y="334"/>
                    </a:lnTo>
                    <a:lnTo>
                      <a:pt x="502" y="336"/>
                    </a:lnTo>
                    <a:lnTo>
                      <a:pt x="502" y="336"/>
                    </a:lnTo>
                    <a:lnTo>
                      <a:pt x="502" y="338"/>
                    </a:lnTo>
                    <a:lnTo>
                      <a:pt x="502" y="338"/>
                    </a:lnTo>
                    <a:lnTo>
                      <a:pt x="500" y="338"/>
                    </a:lnTo>
                    <a:lnTo>
                      <a:pt x="500" y="338"/>
                    </a:lnTo>
                    <a:lnTo>
                      <a:pt x="498" y="340"/>
                    </a:lnTo>
                    <a:lnTo>
                      <a:pt x="498" y="340"/>
                    </a:lnTo>
                    <a:lnTo>
                      <a:pt x="498" y="340"/>
                    </a:lnTo>
                    <a:lnTo>
                      <a:pt x="498" y="342"/>
                    </a:lnTo>
                    <a:lnTo>
                      <a:pt x="500" y="342"/>
                    </a:lnTo>
                    <a:lnTo>
                      <a:pt x="500" y="344"/>
                    </a:lnTo>
                    <a:lnTo>
                      <a:pt x="502" y="344"/>
                    </a:lnTo>
                    <a:lnTo>
                      <a:pt x="504" y="346"/>
                    </a:lnTo>
                    <a:lnTo>
                      <a:pt x="506" y="346"/>
                    </a:lnTo>
                    <a:lnTo>
                      <a:pt x="506" y="348"/>
                    </a:lnTo>
                    <a:lnTo>
                      <a:pt x="506" y="348"/>
                    </a:lnTo>
                    <a:lnTo>
                      <a:pt x="506" y="350"/>
                    </a:lnTo>
                    <a:lnTo>
                      <a:pt x="508" y="352"/>
                    </a:lnTo>
                    <a:lnTo>
                      <a:pt x="508" y="352"/>
                    </a:lnTo>
                    <a:lnTo>
                      <a:pt x="508" y="352"/>
                    </a:lnTo>
                    <a:lnTo>
                      <a:pt x="510" y="356"/>
                    </a:lnTo>
                    <a:lnTo>
                      <a:pt x="510" y="356"/>
                    </a:lnTo>
                    <a:lnTo>
                      <a:pt x="510" y="356"/>
                    </a:lnTo>
                    <a:lnTo>
                      <a:pt x="514" y="358"/>
                    </a:lnTo>
                    <a:lnTo>
                      <a:pt x="514" y="358"/>
                    </a:lnTo>
                    <a:lnTo>
                      <a:pt x="514" y="358"/>
                    </a:lnTo>
                    <a:lnTo>
                      <a:pt x="520" y="360"/>
                    </a:lnTo>
                    <a:lnTo>
                      <a:pt x="520" y="360"/>
                    </a:lnTo>
                    <a:lnTo>
                      <a:pt x="520" y="360"/>
                    </a:lnTo>
                    <a:lnTo>
                      <a:pt x="526" y="364"/>
                    </a:lnTo>
                    <a:lnTo>
                      <a:pt x="526" y="364"/>
                    </a:lnTo>
                    <a:lnTo>
                      <a:pt x="528" y="364"/>
                    </a:lnTo>
                    <a:lnTo>
                      <a:pt x="538" y="362"/>
                    </a:lnTo>
                    <a:lnTo>
                      <a:pt x="550" y="364"/>
                    </a:lnTo>
                    <a:lnTo>
                      <a:pt x="560" y="362"/>
                    </a:lnTo>
                    <a:lnTo>
                      <a:pt x="566" y="362"/>
                    </a:lnTo>
                    <a:lnTo>
                      <a:pt x="570" y="362"/>
                    </a:lnTo>
                    <a:lnTo>
                      <a:pt x="570" y="362"/>
                    </a:lnTo>
                    <a:lnTo>
                      <a:pt x="572" y="360"/>
                    </a:lnTo>
                    <a:lnTo>
                      <a:pt x="574" y="360"/>
                    </a:lnTo>
                    <a:lnTo>
                      <a:pt x="574" y="360"/>
                    </a:lnTo>
                    <a:lnTo>
                      <a:pt x="574" y="358"/>
                    </a:lnTo>
                    <a:lnTo>
                      <a:pt x="574" y="356"/>
                    </a:lnTo>
                    <a:lnTo>
                      <a:pt x="574" y="356"/>
                    </a:lnTo>
                    <a:lnTo>
                      <a:pt x="574" y="356"/>
                    </a:lnTo>
                    <a:lnTo>
                      <a:pt x="574" y="354"/>
                    </a:lnTo>
                    <a:lnTo>
                      <a:pt x="574" y="354"/>
                    </a:lnTo>
                    <a:lnTo>
                      <a:pt x="574" y="354"/>
                    </a:lnTo>
                    <a:lnTo>
                      <a:pt x="572" y="352"/>
                    </a:lnTo>
                    <a:lnTo>
                      <a:pt x="570" y="348"/>
                    </a:lnTo>
                    <a:lnTo>
                      <a:pt x="568" y="346"/>
                    </a:lnTo>
                    <a:lnTo>
                      <a:pt x="568" y="346"/>
                    </a:lnTo>
                    <a:lnTo>
                      <a:pt x="566" y="340"/>
                    </a:lnTo>
                    <a:lnTo>
                      <a:pt x="564" y="336"/>
                    </a:lnTo>
                    <a:lnTo>
                      <a:pt x="562" y="328"/>
                    </a:lnTo>
                    <a:lnTo>
                      <a:pt x="560" y="322"/>
                    </a:lnTo>
                    <a:lnTo>
                      <a:pt x="558" y="318"/>
                    </a:lnTo>
                    <a:lnTo>
                      <a:pt x="558" y="318"/>
                    </a:lnTo>
                    <a:lnTo>
                      <a:pt x="558" y="318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50" y="310"/>
                    </a:lnTo>
                    <a:lnTo>
                      <a:pt x="550" y="308"/>
                    </a:lnTo>
                    <a:lnTo>
                      <a:pt x="550" y="306"/>
                    </a:lnTo>
                    <a:lnTo>
                      <a:pt x="548" y="304"/>
                    </a:lnTo>
                    <a:lnTo>
                      <a:pt x="548" y="304"/>
                    </a:lnTo>
                    <a:lnTo>
                      <a:pt x="548" y="302"/>
                    </a:lnTo>
                    <a:lnTo>
                      <a:pt x="546" y="300"/>
                    </a:lnTo>
                    <a:lnTo>
                      <a:pt x="546" y="300"/>
                    </a:lnTo>
                    <a:lnTo>
                      <a:pt x="548" y="298"/>
                    </a:lnTo>
                    <a:lnTo>
                      <a:pt x="548" y="296"/>
                    </a:lnTo>
                    <a:lnTo>
                      <a:pt x="548" y="294"/>
                    </a:lnTo>
                    <a:lnTo>
                      <a:pt x="548" y="292"/>
                    </a:lnTo>
                    <a:lnTo>
                      <a:pt x="548" y="290"/>
                    </a:lnTo>
                    <a:lnTo>
                      <a:pt x="548" y="288"/>
                    </a:lnTo>
                    <a:lnTo>
                      <a:pt x="550" y="284"/>
                    </a:lnTo>
                    <a:lnTo>
                      <a:pt x="548" y="278"/>
                    </a:lnTo>
                    <a:lnTo>
                      <a:pt x="548" y="268"/>
                    </a:lnTo>
                    <a:lnTo>
                      <a:pt x="548" y="260"/>
                    </a:lnTo>
                    <a:lnTo>
                      <a:pt x="548" y="254"/>
                    </a:lnTo>
                    <a:lnTo>
                      <a:pt x="548" y="248"/>
                    </a:lnTo>
                    <a:lnTo>
                      <a:pt x="550" y="246"/>
                    </a:lnTo>
                    <a:lnTo>
                      <a:pt x="550" y="246"/>
                    </a:lnTo>
                    <a:lnTo>
                      <a:pt x="550" y="242"/>
                    </a:lnTo>
                    <a:lnTo>
                      <a:pt x="552" y="240"/>
                    </a:lnTo>
                    <a:lnTo>
                      <a:pt x="554" y="238"/>
                    </a:lnTo>
                    <a:lnTo>
                      <a:pt x="556" y="236"/>
                    </a:lnTo>
                    <a:lnTo>
                      <a:pt x="560" y="234"/>
                    </a:lnTo>
                    <a:lnTo>
                      <a:pt x="560" y="234"/>
                    </a:lnTo>
                    <a:lnTo>
                      <a:pt x="562" y="232"/>
                    </a:lnTo>
                    <a:lnTo>
                      <a:pt x="562" y="228"/>
                    </a:lnTo>
                    <a:lnTo>
                      <a:pt x="562" y="226"/>
                    </a:lnTo>
                    <a:lnTo>
                      <a:pt x="564" y="220"/>
                    </a:lnTo>
                    <a:lnTo>
                      <a:pt x="564" y="218"/>
                    </a:lnTo>
                    <a:lnTo>
                      <a:pt x="566" y="216"/>
                    </a:lnTo>
                    <a:lnTo>
                      <a:pt x="568" y="214"/>
                    </a:lnTo>
                    <a:lnTo>
                      <a:pt x="570" y="212"/>
                    </a:lnTo>
                    <a:lnTo>
                      <a:pt x="570" y="212"/>
                    </a:lnTo>
                    <a:lnTo>
                      <a:pt x="572" y="210"/>
                    </a:lnTo>
                    <a:lnTo>
                      <a:pt x="574" y="202"/>
                    </a:lnTo>
                    <a:lnTo>
                      <a:pt x="578" y="194"/>
                    </a:lnTo>
                    <a:lnTo>
                      <a:pt x="582" y="186"/>
                    </a:lnTo>
                    <a:lnTo>
                      <a:pt x="584" y="182"/>
                    </a:lnTo>
                    <a:lnTo>
                      <a:pt x="586" y="178"/>
                    </a:lnTo>
                    <a:lnTo>
                      <a:pt x="586" y="178"/>
                    </a:lnTo>
                    <a:lnTo>
                      <a:pt x="586" y="178"/>
                    </a:lnTo>
                    <a:lnTo>
                      <a:pt x="586" y="174"/>
                    </a:lnTo>
                    <a:lnTo>
                      <a:pt x="586" y="170"/>
                    </a:lnTo>
                    <a:lnTo>
                      <a:pt x="588" y="166"/>
                    </a:lnTo>
                    <a:lnTo>
                      <a:pt x="588" y="166"/>
                    </a:lnTo>
                    <a:lnTo>
                      <a:pt x="588" y="166"/>
                    </a:lnTo>
                    <a:lnTo>
                      <a:pt x="590" y="164"/>
                    </a:lnTo>
                    <a:lnTo>
                      <a:pt x="594" y="164"/>
                    </a:lnTo>
                    <a:lnTo>
                      <a:pt x="598" y="164"/>
                    </a:lnTo>
                    <a:lnTo>
                      <a:pt x="602" y="164"/>
                    </a:lnTo>
                    <a:lnTo>
                      <a:pt x="602" y="164"/>
                    </a:lnTo>
                    <a:lnTo>
                      <a:pt x="602" y="164"/>
                    </a:lnTo>
                    <a:lnTo>
                      <a:pt x="606" y="162"/>
                    </a:lnTo>
                    <a:lnTo>
                      <a:pt x="606" y="162"/>
                    </a:lnTo>
                    <a:lnTo>
                      <a:pt x="606" y="162"/>
                    </a:lnTo>
                    <a:lnTo>
                      <a:pt x="608" y="160"/>
                    </a:lnTo>
                    <a:lnTo>
                      <a:pt x="608" y="160"/>
                    </a:lnTo>
                    <a:lnTo>
                      <a:pt x="608" y="158"/>
                    </a:lnTo>
                    <a:lnTo>
                      <a:pt x="610" y="156"/>
                    </a:lnTo>
                    <a:lnTo>
                      <a:pt x="610" y="154"/>
                    </a:lnTo>
                    <a:lnTo>
                      <a:pt x="612" y="154"/>
                    </a:lnTo>
                    <a:lnTo>
                      <a:pt x="612" y="152"/>
                    </a:lnTo>
                    <a:lnTo>
                      <a:pt x="614" y="150"/>
                    </a:lnTo>
                    <a:lnTo>
                      <a:pt x="616" y="150"/>
                    </a:lnTo>
                    <a:lnTo>
                      <a:pt x="616" y="150"/>
                    </a:lnTo>
                    <a:lnTo>
                      <a:pt x="618" y="148"/>
                    </a:lnTo>
                    <a:lnTo>
                      <a:pt x="618" y="144"/>
                    </a:lnTo>
                    <a:lnTo>
                      <a:pt x="620" y="142"/>
                    </a:lnTo>
                    <a:lnTo>
                      <a:pt x="622" y="134"/>
                    </a:lnTo>
                    <a:lnTo>
                      <a:pt x="622" y="130"/>
                    </a:lnTo>
                    <a:lnTo>
                      <a:pt x="624" y="128"/>
                    </a:lnTo>
                    <a:lnTo>
                      <a:pt x="626" y="124"/>
                    </a:lnTo>
                    <a:lnTo>
                      <a:pt x="626" y="124"/>
                    </a:lnTo>
                    <a:lnTo>
                      <a:pt x="630" y="122"/>
                    </a:lnTo>
                    <a:lnTo>
                      <a:pt x="632" y="122"/>
                    </a:lnTo>
                    <a:lnTo>
                      <a:pt x="638" y="120"/>
                    </a:lnTo>
                    <a:lnTo>
                      <a:pt x="642" y="118"/>
                    </a:lnTo>
                    <a:lnTo>
                      <a:pt x="644" y="118"/>
                    </a:lnTo>
                    <a:lnTo>
                      <a:pt x="646" y="118"/>
                    </a:lnTo>
                    <a:lnTo>
                      <a:pt x="646" y="118"/>
                    </a:lnTo>
                    <a:lnTo>
                      <a:pt x="646" y="118"/>
                    </a:lnTo>
                    <a:lnTo>
                      <a:pt x="648" y="118"/>
                    </a:lnTo>
                    <a:lnTo>
                      <a:pt x="652" y="114"/>
                    </a:lnTo>
                    <a:lnTo>
                      <a:pt x="654" y="110"/>
                    </a:lnTo>
                    <a:lnTo>
                      <a:pt x="656" y="108"/>
                    </a:lnTo>
                    <a:lnTo>
                      <a:pt x="658" y="106"/>
                    </a:lnTo>
                    <a:lnTo>
                      <a:pt x="660" y="102"/>
                    </a:lnTo>
                    <a:lnTo>
                      <a:pt x="662" y="100"/>
                    </a:lnTo>
                    <a:lnTo>
                      <a:pt x="662" y="100"/>
                    </a:lnTo>
                    <a:lnTo>
                      <a:pt x="664" y="100"/>
                    </a:lnTo>
                    <a:lnTo>
                      <a:pt x="666" y="98"/>
                    </a:lnTo>
                    <a:lnTo>
                      <a:pt x="668" y="98"/>
                    </a:lnTo>
                    <a:lnTo>
                      <a:pt x="670" y="98"/>
                    </a:lnTo>
                    <a:lnTo>
                      <a:pt x="674" y="98"/>
                    </a:lnTo>
                    <a:lnTo>
                      <a:pt x="678" y="96"/>
                    </a:lnTo>
                    <a:lnTo>
                      <a:pt x="684" y="96"/>
                    </a:lnTo>
                    <a:lnTo>
                      <a:pt x="684" y="96"/>
                    </a:lnTo>
                    <a:lnTo>
                      <a:pt x="686" y="96"/>
                    </a:lnTo>
                    <a:lnTo>
                      <a:pt x="692" y="92"/>
                    </a:lnTo>
                    <a:lnTo>
                      <a:pt x="696" y="90"/>
                    </a:lnTo>
                    <a:lnTo>
                      <a:pt x="708" y="84"/>
                    </a:lnTo>
                    <a:lnTo>
                      <a:pt x="718" y="78"/>
                    </a:lnTo>
                    <a:lnTo>
                      <a:pt x="724" y="74"/>
                    </a:lnTo>
                    <a:lnTo>
                      <a:pt x="728" y="70"/>
                    </a:lnTo>
                    <a:lnTo>
                      <a:pt x="734" y="66"/>
                    </a:lnTo>
                    <a:lnTo>
                      <a:pt x="738" y="62"/>
                    </a:lnTo>
                    <a:lnTo>
                      <a:pt x="746" y="54"/>
                    </a:lnTo>
                    <a:lnTo>
                      <a:pt x="750" y="50"/>
                    </a:lnTo>
                    <a:lnTo>
                      <a:pt x="752" y="46"/>
                    </a:lnTo>
                    <a:lnTo>
                      <a:pt x="754" y="42"/>
                    </a:lnTo>
                    <a:lnTo>
                      <a:pt x="758" y="40"/>
                    </a:lnTo>
                    <a:lnTo>
                      <a:pt x="754" y="38"/>
                    </a:lnTo>
                    <a:lnTo>
                      <a:pt x="754" y="38"/>
                    </a:lnTo>
                    <a:lnTo>
                      <a:pt x="756" y="34"/>
                    </a:lnTo>
                    <a:lnTo>
                      <a:pt x="758" y="32"/>
                    </a:lnTo>
                    <a:lnTo>
                      <a:pt x="756" y="30"/>
                    </a:lnTo>
                    <a:lnTo>
                      <a:pt x="754" y="28"/>
                    </a:lnTo>
                    <a:lnTo>
                      <a:pt x="750" y="26"/>
                    </a:lnTo>
                    <a:lnTo>
                      <a:pt x="746" y="24"/>
                    </a:lnTo>
                    <a:lnTo>
                      <a:pt x="742" y="20"/>
                    </a:lnTo>
                    <a:lnTo>
                      <a:pt x="740" y="18"/>
                    </a:lnTo>
                    <a:lnTo>
                      <a:pt x="736" y="16"/>
                    </a:lnTo>
                    <a:lnTo>
                      <a:pt x="732" y="14"/>
                    </a:lnTo>
                    <a:lnTo>
                      <a:pt x="732" y="14"/>
                    </a:lnTo>
                    <a:lnTo>
                      <a:pt x="732" y="14"/>
                    </a:lnTo>
                    <a:lnTo>
                      <a:pt x="728" y="12"/>
                    </a:lnTo>
                    <a:lnTo>
                      <a:pt x="724" y="12"/>
                    </a:lnTo>
                    <a:lnTo>
                      <a:pt x="718" y="12"/>
                    </a:lnTo>
                    <a:lnTo>
                      <a:pt x="718" y="12"/>
                    </a:lnTo>
                    <a:lnTo>
                      <a:pt x="718" y="12"/>
                    </a:lnTo>
                    <a:lnTo>
                      <a:pt x="712" y="12"/>
                    </a:lnTo>
                    <a:lnTo>
                      <a:pt x="712" y="12"/>
                    </a:lnTo>
                    <a:lnTo>
                      <a:pt x="712" y="12"/>
                    </a:lnTo>
                    <a:lnTo>
                      <a:pt x="706" y="14"/>
                    </a:lnTo>
                    <a:lnTo>
                      <a:pt x="706" y="14"/>
                    </a:lnTo>
                    <a:lnTo>
                      <a:pt x="704" y="16"/>
                    </a:lnTo>
                    <a:lnTo>
                      <a:pt x="702" y="18"/>
                    </a:lnTo>
                    <a:lnTo>
                      <a:pt x="700" y="20"/>
                    </a:lnTo>
                    <a:lnTo>
                      <a:pt x="696" y="26"/>
                    </a:lnTo>
                    <a:lnTo>
                      <a:pt x="694" y="30"/>
                    </a:lnTo>
                    <a:lnTo>
                      <a:pt x="694" y="32"/>
                    </a:lnTo>
                    <a:lnTo>
                      <a:pt x="692" y="34"/>
                    </a:lnTo>
                    <a:lnTo>
                      <a:pt x="692" y="34"/>
                    </a:lnTo>
                    <a:lnTo>
                      <a:pt x="692" y="34"/>
                    </a:lnTo>
                    <a:lnTo>
                      <a:pt x="692" y="36"/>
                    </a:lnTo>
                    <a:lnTo>
                      <a:pt x="692" y="38"/>
                    </a:lnTo>
                    <a:lnTo>
                      <a:pt x="692" y="40"/>
                    </a:lnTo>
                    <a:lnTo>
                      <a:pt x="692" y="42"/>
                    </a:lnTo>
                    <a:lnTo>
                      <a:pt x="692" y="42"/>
                    </a:lnTo>
                    <a:lnTo>
                      <a:pt x="690" y="42"/>
                    </a:lnTo>
                    <a:lnTo>
                      <a:pt x="688" y="44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82" y="44"/>
                    </a:lnTo>
                    <a:lnTo>
                      <a:pt x="680" y="46"/>
                    </a:lnTo>
                    <a:lnTo>
                      <a:pt x="678" y="46"/>
                    </a:lnTo>
                    <a:lnTo>
                      <a:pt x="678" y="46"/>
                    </a:lnTo>
                    <a:lnTo>
                      <a:pt x="678" y="46"/>
                    </a:lnTo>
                    <a:lnTo>
                      <a:pt x="676" y="48"/>
                    </a:lnTo>
                    <a:lnTo>
                      <a:pt x="676" y="48"/>
                    </a:lnTo>
                    <a:lnTo>
                      <a:pt x="676" y="48"/>
                    </a:lnTo>
                    <a:lnTo>
                      <a:pt x="676" y="50"/>
                    </a:lnTo>
                    <a:lnTo>
                      <a:pt x="676" y="50"/>
                    </a:lnTo>
                    <a:lnTo>
                      <a:pt x="676" y="50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2" y="52"/>
                    </a:lnTo>
                    <a:lnTo>
                      <a:pt x="668" y="54"/>
                    </a:lnTo>
                    <a:lnTo>
                      <a:pt x="666" y="54"/>
                    </a:lnTo>
                    <a:lnTo>
                      <a:pt x="664" y="54"/>
                    </a:lnTo>
                    <a:lnTo>
                      <a:pt x="662" y="56"/>
                    </a:lnTo>
                    <a:lnTo>
                      <a:pt x="658" y="56"/>
                    </a:lnTo>
                    <a:lnTo>
                      <a:pt x="656" y="56"/>
                    </a:lnTo>
                    <a:lnTo>
                      <a:pt x="656" y="56"/>
                    </a:lnTo>
                    <a:lnTo>
                      <a:pt x="654" y="56"/>
                    </a:lnTo>
                    <a:lnTo>
                      <a:pt x="652" y="58"/>
                    </a:lnTo>
                    <a:lnTo>
                      <a:pt x="650" y="58"/>
                    </a:lnTo>
                    <a:lnTo>
                      <a:pt x="648" y="58"/>
                    </a:lnTo>
                    <a:lnTo>
                      <a:pt x="646" y="58"/>
                    </a:lnTo>
                    <a:lnTo>
                      <a:pt x="642" y="58"/>
                    </a:lnTo>
                    <a:lnTo>
                      <a:pt x="638" y="58"/>
                    </a:lnTo>
                    <a:lnTo>
                      <a:pt x="634" y="58"/>
                    </a:lnTo>
                    <a:lnTo>
                      <a:pt x="630" y="56"/>
                    </a:lnTo>
                    <a:lnTo>
                      <a:pt x="630" y="56"/>
                    </a:lnTo>
                    <a:lnTo>
                      <a:pt x="630" y="56"/>
                    </a:lnTo>
                    <a:lnTo>
                      <a:pt x="628" y="56"/>
                    </a:lnTo>
                    <a:lnTo>
                      <a:pt x="626" y="54"/>
                    </a:lnTo>
                    <a:lnTo>
                      <a:pt x="626" y="54"/>
                    </a:lnTo>
                    <a:lnTo>
                      <a:pt x="624" y="54"/>
                    </a:lnTo>
                    <a:lnTo>
                      <a:pt x="624" y="54"/>
                    </a:lnTo>
                    <a:lnTo>
                      <a:pt x="624" y="54"/>
                    </a:lnTo>
                    <a:lnTo>
                      <a:pt x="622" y="54"/>
                    </a:lnTo>
                    <a:lnTo>
                      <a:pt x="622" y="56"/>
                    </a:lnTo>
                    <a:lnTo>
                      <a:pt x="622" y="56"/>
                    </a:lnTo>
                    <a:lnTo>
                      <a:pt x="620" y="56"/>
                    </a:lnTo>
                    <a:lnTo>
                      <a:pt x="618" y="60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6" y="66"/>
                    </a:lnTo>
                    <a:lnTo>
                      <a:pt x="616" y="66"/>
                    </a:lnTo>
                    <a:lnTo>
                      <a:pt x="616" y="66"/>
                    </a:lnTo>
                    <a:lnTo>
                      <a:pt x="616" y="68"/>
                    </a:lnTo>
                    <a:lnTo>
                      <a:pt x="616" y="68"/>
                    </a:lnTo>
                    <a:lnTo>
                      <a:pt x="616" y="68"/>
                    </a:lnTo>
                    <a:lnTo>
                      <a:pt x="616" y="70"/>
                    </a:lnTo>
                    <a:lnTo>
                      <a:pt x="616" y="70"/>
                    </a:lnTo>
                    <a:lnTo>
                      <a:pt x="614" y="70"/>
                    </a:lnTo>
                    <a:lnTo>
                      <a:pt x="608" y="70"/>
                    </a:lnTo>
                    <a:lnTo>
                      <a:pt x="608" y="70"/>
                    </a:lnTo>
                    <a:lnTo>
                      <a:pt x="606" y="72"/>
                    </a:lnTo>
                    <a:lnTo>
                      <a:pt x="606" y="76"/>
                    </a:lnTo>
                    <a:lnTo>
                      <a:pt x="604" y="78"/>
                    </a:lnTo>
                    <a:lnTo>
                      <a:pt x="604" y="76"/>
                    </a:lnTo>
                    <a:lnTo>
                      <a:pt x="604" y="78"/>
                    </a:lnTo>
                    <a:lnTo>
                      <a:pt x="602" y="80"/>
                    </a:lnTo>
                    <a:lnTo>
                      <a:pt x="600" y="80"/>
                    </a:lnTo>
                    <a:lnTo>
                      <a:pt x="598" y="82"/>
                    </a:lnTo>
                    <a:lnTo>
                      <a:pt x="596" y="82"/>
                    </a:lnTo>
                    <a:lnTo>
                      <a:pt x="592" y="82"/>
                    </a:lnTo>
                    <a:lnTo>
                      <a:pt x="592" y="82"/>
                    </a:lnTo>
                    <a:lnTo>
                      <a:pt x="590" y="84"/>
                    </a:lnTo>
                    <a:lnTo>
                      <a:pt x="588" y="86"/>
                    </a:lnTo>
                    <a:lnTo>
                      <a:pt x="586" y="88"/>
                    </a:lnTo>
                    <a:lnTo>
                      <a:pt x="582" y="92"/>
                    </a:lnTo>
                    <a:lnTo>
                      <a:pt x="578" y="94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4" y="98"/>
                    </a:lnTo>
                    <a:lnTo>
                      <a:pt x="572" y="102"/>
                    </a:lnTo>
                    <a:lnTo>
                      <a:pt x="570" y="104"/>
                    </a:lnTo>
                    <a:lnTo>
                      <a:pt x="570" y="108"/>
                    </a:lnTo>
                    <a:lnTo>
                      <a:pt x="568" y="108"/>
                    </a:lnTo>
                    <a:lnTo>
                      <a:pt x="568" y="110"/>
                    </a:lnTo>
                    <a:lnTo>
                      <a:pt x="566" y="110"/>
                    </a:lnTo>
                    <a:lnTo>
                      <a:pt x="566" y="110"/>
                    </a:lnTo>
                    <a:lnTo>
                      <a:pt x="566" y="110"/>
                    </a:lnTo>
                    <a:lnTo>
                      <a:pt x="564" y="112"/>
                    </a:lnTo>
                    <a:lnTo>
                      <a:pt x="562" y="112"/>
                    </a:lnTo>
                    <a:lnTo>
                      <a:pt x="560" y="112"/>
                    </a:lnTo>
                    <a:lnTo>
                      <a:pt x="560" y="112"/>
                    </a:lnTo>
                    <a:lnTo>
                      <a:pt x="558" y="114"/>
                    </a:lnTo>
                    <a:lnTo>
                      <a:pt x="558" y="114"/>
                    </a:lnTo>
                    <a:lnTo>
                      <a:pt x="558" y="116"/>
                    </a:lnTo>
                    <a:lnTo>
                      <a:pt x="558" y="118"/>
                    </a:lnTo>
                    <a:lnTo>
                      <a:pt x="560" y="120"/>
                    </a:lnTo>
                    <a:lnTo>
                      <a:pt x="560" y="120"/>
                    </a:lnTo>
                    <a:lnTo>
                      <a:pt x="558" y="120"/>
                    </a:lnTo>
                    <a:lnTo>
                      <a:pt x="554" y="122"/>
                    </a:lnTo>
                    <a:lnTo>
                      <a:pt x="552" y="122"/>
                    </a:lnTo>
                    <a:lnTo>
                      <a:pt x="552" y="122"/>
                    </a:lnTo>
                    <a:lnTo>
                      <a:pt x="550" y="122"/>
                    </a:lnTo>
                    <a:lnTo>
                      <a:pt x="550" y="122"/>
                    </a:lnTo>
                    <a:lnTo>
                      <a:pt x="550" y="122"/>
                    </a:lnTo>
                    <a:lnTo>
                      <a:pt x="548" y="124"/>
                    </a:lnTo>
                    <a:lnTo>
                      <a:pt x="546" y="128"/>
                    </a:lnTo>
                    <a:lnTo>
                      <a:pt x="546" y="128"/>
                    </a:lnTo>
                    <a:lnTo>
                      <a:pt x="544" y="128"/>
                    </a:lnTo>
                    <a:lnTo>
                      <a:pt x="544" y="134"/>
                    </a:lnTo>
                    <a:lnTo>
                      <a:pt x="542" y="138"/>
                    </a:lnTo>
                    <a:lnTo>
                      <a:pt x="542" y="144"/>
                    </a:lnTo>
                    <a:lnTo>
                      <a:pt x="542" y="154"/>
                    </a:lnTo>
                    <a:lnTo>
                      <a:pt x="540" y="158"/>
                    </a:lnTo>
                    <a:lnTo>
                      <a:pt x="540" y="162"/>
                    </a:lnTo>
                    <a:lnTo>
                      <a:pt x="540" y="162"/>
                    </a:lnTo>
                    <a:lnTo>
                      <a:pt x="540" y="166"/>
                    </a:lnTo>
                    <a:lnTo>
                      <a:pt x="540" y="166"/>
                    </a:lnTo>
                    <a:lnTo>
                      <a:pt x="538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4" y="168"/>
                    </a:lnTo>
                    <a:lnTo>
                      <a:pt x="534" y="168"/>
                    </a:lnTo>
                    <a:lnTo>
                      <a:pt x="534" y="170"/>
                    </a:lnTo>
                    <a:lnTo>
                      <a:pt x="534" y="174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2" y="176"/>
                    </a:lnTo>
                    <a:lnTo>
                      <a:pt x="532" y="176"/>
                    </a:lnTo>
                    <a:lnTo>
                      <a:pt x="532" y="176"/>
                    </a:lnTo>
                    <a:lnTo>
                      <a:pt x="530" y="176"/>
                    </a:lnTo>
                    <a:lnTo>
                      <a:pt x="530" y="176"/>
                    </a:lnTo>
                    <a:lnTo>
                      <a:pt x="528" y="176"/>
                    </a:lnTo>
                    <a:lnTo>
                      <a:pt x="528" y="176"/>
                    </a:lnTo>
                    <a:lnTo>
                      <a:pt x="528" y="176"/>
                    </a:lnTo>
                    <a:lnTo>
                      <a:pt x="526" y="176"/>
                    </a:lnTo>
                    <a:lnTo>
                      <a:pt x="526" y="178"/>
                    </a:lnTo>
                    <a:lnTo>
                      <a:pt x="526" y="178"/>
                    </a:lnTo>
                    <a:lnTo>
                      <a:pt x="526" y="178"/>
                    </a:lnTo>
                    <a:lnTo>
                      <a:pt x="526" y="180"/>
                    </a:lnTo>
                    <a:lnTo>
                      <a:pt x="526" y="180"/>
                    </a:lnTo>
                    <a:lnTo>
                      <a:pt x="526" y="180"/>
                    </a:lnTo>
                    <a:lnTo>
                      <a:pt x="526" y="182"/>
                    </a:lnTo>
                    <a:lnTo>
                      <a:pt x="526" y="184"/>
                    </a:lnTo>
                    <a:lnTo>
                      <a:pt x="526" y="186"/>
                    </a:lnTo>
                    <a:lnTo>
                      <a:pt x="524" y="188"/>
                    </a:lnTo>
                    <a:lnTo>
                      <a:pt x="522" y="192"/>
                    </a:lnTo>
                    <a:lnTo>
                      <a:pt x="520" y="194"/>
                    </a:lnTo>
                    <a:lnTo>
                      <a:pt x="518" y="196"/>
                    </a:lnTo>
                    <a:lnTo>
                      <a:pt x="516" y="198"/>
                    </a:lnTo>
                    <a:lnTo>
                      <a:pt x="514" y="198"/>
                    </a:lnTo>
                    <a:lnTo>
                      <a:pt x="514" y="198"/>
                    </a:lnTo>
                    <a:lnTo>
                      <a:pt x="514" y="198"/>
                    </a:lnTo>
                    <a:lnTo>
                      <a:pt x="512" y="200"/>
                    </a:lnTo>
                    <a:lnTo>
                      <a:pt x="512" y="204"/>
                    </a:lnTo>
                    <a:lnTo>
                      <a:pt x="512" y="204"/>
                    </a:lnTo>
                    <a:lnTo>
                      <a:pt x="512" y="204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12" y="208"/>
                    </a:lnTo>
                    <a:lnTo>
                      <a:pt x="514" y="210"/>
                    </a:lnTo>
                    <a:lnTo>
                      <a:pt x="514" y="210"/>
                    </a:lnTo>
                    <a:lnTo>
                      <a:pt x="514" y="210"/>
                    </a:lnTo>
                    <a:lnTo>
                      <a:pt x="516" y="212"/>
                    </a:lnTo>
                    <a:lnTo>
                      <a:pt x="516" y="212"/>
                    </a:lnTo>
                    <a:lnTo>
                      <a:pt x="516" y="212"/>
                    </a:lnTo>
                    <a:lnTo>
                      <a:pt x="518" y="212"/>
                    </a:lnTo>
                    <a:lnTo>
                      <a:pt x="520" y="212"/>
                    </a:lnTo>
                    <a:lnTo>
                      <a:pt x="520" y="214"/>
                    </a:lnTo>
                    <a:lnTo>
                      <a:pt x="518" y="216"/>
                    </a:lnTo>
                    <a:lnTo>
                      <a:pt x="516" y="218"/>
                    </a:lnTo>
                    <a:lnTo>
                      <a:pt x="516" y="218"/>
                    </a:lnTo>
                    <a:lnTo>
                      <a:pt x="516" y="218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2" y="226"/>
                    </a:lnTo>
                    <a:lnTo>
                      <a:pt x="508" y="226"/>
                    </a:lnTo>
                    <a:lnTo>
                      <a:pt x="506" y="226"/>
                    </a:lnTo>
                    <a:lnTo>
                      <a:pt x="500" y="228"/>
                    </a:lnTo>
                    <a:lnTo>
                      <a:pt x="500" y="228"/>
                    </a:lnTo>
                    <a:lnTo>
                      <a:pt x="498" y="230"/>
                    </a:lnTo>
                    <a:lnTo>
                      <a:pt x="498" y="232"/>
                    </a:lnTo>
                    <a:lnTo>
                      <a:pt x="500" y="234"/>
                    </a:lnTo>
                    <a:lnTo>
                      <a:pt x="500" y="236"/>
                    </a:lnTo>
                    <a:lnTo>
                      <a:pt x="500" y="240"/>
                    </a:lnTo>
                    <a:lnTo>
                      <a:pt x="500" y="240"/>
                    </a:lnTo>
                    <a:lnTo>
                      <a:pt x="500" y="244"/>
                    </a:lnTo>
                    <a:lnTo>
                      <a:pt x="498" y="244"/>
                    </a:lnTo>
                    <a:lnTo>
                      <a:pt x="498" y="246"/>
                    </a:lnTo>
                    <a:lnTo>
                      <a:pt x="496" y="248"/>
                    </a:lnTo>
                    <a:lnTo>
                      <a:pt x="492" y="250"/>
                    </a:lnTo>
                    <a:lnTo>
                      <a:pt x="488" y="252"/>
                    </a:lnTo>
                    <a:lnTo>
                      <a:pt x="488" y="252"/>
                    </a:lnTo>
                    <a:lnTo>
                      <a:pt x="486" y="254"/>
                    </a:lnTo>
                    <a:lnTo>
                      <a:pt x="486" y="256"/>
                    </a:lnTo>
                    <a:lnTo>
                      <a:pt x="488" y="258"/>
                    </a:lnTo>
                    <a:lnTo>
                      <a:pt x="490" y="260"/>
                    </a:lnTo>
                    <a:lnTo>
                      <a:pt x="490" y="260"/>
                    </a:lnTo>
                    <a:lnTo>
                      <a:pt x="490" y="262"/>
                    </a:lnTo>
                    <a:lnTo>
                      <a:pt x="490" y="262"/>
                    </a:lnTo>
                    <a:lnTo>
                      <a:pt x="492" y="264"/>
                    </a:lnTo>
                    <a:lnTo>
                      <a:pt x="496" y="266"/>
                    </a:lnTo>
                    <a:lnTo>
                      <a:pt x="496" y="268"/>
                    </a:lnTo>
                    <a:lnTo>
                      <a:pt x="494" y="268"/>
                    </a:lnTo>
                    <a:lnTo>
                      <a:pt x="494" y="268"/>
                    </a:lnTo>
                    <a:lnTo>
                      <a:pt x="494" y="268"/>
                    </a:lnTo>
                    <a:lnTo>
                      <a:pt x="492" y="270"/>
                    </a:lnTo>
                    <a:lnTo>
                      <a:pt x="492" y="270"/>
                    </a:lnTo>
                    <a:lnTo>
                      <a:pt x="492" y="270"/>
                    </a:lnTo>
                    <a:lnTo>
                      <a:pt x="490" y="270"/>
                    </a:lnTo>
                    <a:lnTo>
                      <a:pt x="490" y="270"/>
                    </a:lnTo>
                    <a:lnTo>
                      <a:pt x="490" y="272"/>
                    </a:lnTo>
                    <a:lnTo>
                      <a:pt x="488" y="274"/>
                    </a:lnTo>
                    <a:lnTo>
                      <a:pt x="488" y="274"/>
                    </a:lnTo>
                    <a:lnTo>
                      <a:pt x="488" y="274"/>
                    </a:lnTo>
                    <a:lnTo>
                      <a:pt x="486" y="276"/>
                    </a:lnTo>
                    <a:lnTo>
                      <a:pt x="486" y="278"/>
                    </a:lnTo>
                    <a:lnTo>
                      <a:pt x="484" y="282"/>
                    </a:lnTo>
                    <a:lnTo>
                      <a:pt x="484" y="282"/>
                    </a:lnTo>
                    <a:lnTo>
                      <a:pt x="484" y="282"/>
                    </a:lnTo>
                    <a:lnTo>
                      <a:pt x="484" y="286"/>
                    </a:lnTo>
                    <a:lnTo>
                      <a:pt x="484" y="292"/>
                    </a:lnTo>
                    <a:lnTo>
                      <a:pt x="484" y="300"/>
                    </a:lnTo>
                    <a:lnTo>
                      <a:pt x="484" y="304"/>
                    </a:lnTo>
                    <a:lnTo>
                      <a:pt x="484" y="308"/>
                    </a:lnTo>
                    <a:lnTo>
                      <a:pt x="486" y="312"/>
                    </a:lnTo>
                    <a:close/>
                    <a:moveTo>
                      <a:pt x="52" y="880"/>
                    </a:moveTo>
                    <a:lnTo>
                      <a:pt x="52" y="876"/>
                    </a:lnTo>
                    <a:lnTo>
                      <a:pt x="52" y="874"/>
                    </a:lnTo>
                    <a:lnTo>
                      <a:pt x="52" y="874"/>
                    </a:lnTo>
                    <a:lnTo>
                      <a:pt x="52" y="874"/>
                    </a:lnTo>
                    <a:lnTo>
                      <a:pt x="50" y="870"/>
                    </a:lnTo>
                    <a:lnTo>
                      <a:pt x="50" y="870"/>
                    </a:lnTo>
                    <a:lnTo>
                      <a:pt x="50" y="870"/>
                    </a:lnTo>
                    <a:lnTo>
                      <a:pt x="46" y="868"/>
                    </a:lnTo>
                    <a:lnTo>
                      <a:pt x="46" y="868"/>
                    </a:lnTo>
                    <a:lnTo>
                      <a:pt x="46" y="868"/>
                    </a:lnTo>
                    <a:lnTo>
                      <a:pt x="42" y="866"/>
                    </a:lnTo>
                    <a:lnTo>
                      <a:pt x="42" y="866"/>
                    </a:lnTo>
                    <a:lnTo>
                      <a:pt x="42" y="866"/>
                    </a:lnTo>
                    <a:lnTo>
                      <a:pt x="38" y="864"/>
                    </a:lnTo>
                    <a:lnTo>
                      <a:pt x="32" y="862"/>
                    </a:lnTo>
                    <a:lnTo>
                      <a:pt x="26" y="862"/>
                    </a:lnTo>
                    <a:lnTo>
                      <a:pt x="26" y="862"/>
                    </a:lnTo>
                    <a:lnTo>
                      <a:pt x="24" y="862"/>
                    </a:lnTo>
                    <a:lnTo>
                      <a:pt x="20" y="864"/>
                    </a:lnTo>
                    <a:lnTo>
                      <a:pt x="16" y="866"/>
                    </a:lnTo>
                    <a:lnTo>
                      <a:pt x="10" y="868"/>
                    </a:lnTo>
                    <a:lnTo>
                      <a:pt x="6" y="872"/>
                    </a:lnTo>
                    <a:lnTo>
                      <a:pt x="2" y="874"/>
                    </a:lnTo>
                    <a:lnTo>
                      <a:pt x="2" y="874"/>
                    </a:lnTo>
                    <a:lnTo>
                      <a:pt x="2" y="874"/>
                    </a:lnTo>
                    <a:lnTo>
                      <a:pt x="0" y="876"/>
                    </a:lnTo>
                    <a:lnTo>
                      <a:pt x="0" y="878"/>
                    </a:lnTo>
                    <a:lnTo>
                      <a:pt x="0" y="878"/>
                    </a:lnTo>
                    <a:lnTo>
                      <a:pt x="0" y="878"/>
                    </a:lnTo>
                    <a:lnTo>
                      <a:pt x="0" y="880"/>
                    </a:lnTo>
                    <a:lnTo>
                      <a:pt x="0" y="880"/>
                    </a:lnTo>
                    <a:lnTo>
                      <a:pt x="0" y="880"/>
                    </a:lnTo>
                    <a:lnTo>
                      <a:pt x="0" y="882"/>
                    </a:lnTo>
                    <a:lnTo>
                      <a:pt x="0" y="882"/>
                    </a:lnTo>
                    <a:lnTo>
                      <a:pt x="0" y="882"/>
                    </a:lnTo>
                    <a:lnTo>
                      <a:pt x="0" y="884"/>
                    </a:lnTo>
                    <a:lnTo>
                      <a:pt x="0" y="884"/>
                    </a:lnTo>
                    <a:lnTo>
                      <a:pt x="2" y="884"/>
                    </a:lnTo>
                    <a:lnTo>
                      <a:pt x="4" y="886"/>
                    </a:lnTo>
                    <a:lnTo>
                      <a:pt x="4" y="886"/>
                    </a:lnTo>
                    <a:lnTo>
                      <a:pt x="4" y="886"/>
                    </a:lnTo>
                    <a:lnTo>
                      <a:pt x="10" y="886"/>
                    </a:lnTo>
                    <a:lnTo>
                      <a:pt x="16" y="888"/>
                    </a:lnTo>
                    <a:lnTo>
                      <a:pt x="26" y="888"/>
                    </a:lnTo>
                    <a:lnTo>
                      <a:pt x="38" y="888"/>
                    </a:lnTo>
                    <a:lnTo>
                      <a:pt x="50" y="888"/>
                    </a:lnTo>
                    <a:lnTo>
                      <a:pt x="50" y="888"/>
                    </a:lnTo>
                    <a:lnTo>
                      <a:pt x="52" y="888"/>
                    </a:lnTo>
                    <a:lnTo>
                      <a:pt x="52" y="888"/>
                    </a:lnTo>
                    <a:lnTo>
                      <a:pt x="52" y="886"/>
                    </a:lnTo>
                    <a:lnTo>
                      <a:pt x="52" y="882"/>
                    </a:lnTo>
                    <a:lnTo>
                      <a:pt x="52" y="880"/>
                    </a:lnTo>
                    <a:close/>
                    <a:moveTo>
                      <a:pt x="2398" y="340"/>
                    </a:moveTo>
                    <a:lnTo>
                      <a:pt x="2398" y="340"/>
                    </a:lnTo>
                    <a:lnTo>
                      <a:pt x="2398" y="342"/>
                    </a:lnTo>
                    <a:lnTo>
                      <a:pt x="2398" y="342"/>
                    </a:lnTo>
                    <a:lnTo>
                      <a:pt x="2398" y="342"/>
                    </a:lnTo>
                    <a:lnTo>
                      <a:pt x="2398" y="344"/>
                    </a:lnTo>
                    <a:lnTo>
                      <a:pt x="2400" y="346"/>
                    </a:lnTo>
                    <a:lnTo>
                      <a:pt x="2400" y="346"/>
                    </a:lnTo>
                    <a:lnTo>
                      <a:pt x="2402" y="346"/>
                    </a:lnTo>
                    <a:lnTo>
                      <a:pt x="2402" y="346"/>
                    </a:lnTo>
                    <a:lnTo>
                      <a:pt x="2402" y="346"/>
                    </a:lnTo>
                    <a:lnTo>
                      <a:pt x="2404" y="346"/>
                    </a:lnTo>
                    <a:lnTo>
                      <a:pt x="2406" y="348"/>
                    </a:lnTo>
                    <a:lnTo>
                      <a:pt x="2410" y="348"/>
                    </a:lnTo>
                    <a:lnTo>
                      <a:pt x="2414" y="348"/>
                    </a:lnTo>
                    <a:lnTo>
                      <a:pt x="2420" y="346"/>
                    </a:lnTo>
                    <a:lnTo>
                      <a:pt x="2422" y="346"/>
                    </a:lnTo>
                    <a:lnTo>
                      <a:pt x="2426" y="346"/>
                    </a:lnTo>
                    <a:lnTo>
                      <a:pt x="2428" y="344"/>
                    </a:lnTo>
                    <a:lnTo>
                      <a:pt x="2428" y="344"/>
                    </a:lnTo>
                    <a:lnTo>
                      <a:pt x="2430" y="344"/>
                    </a:lnTo>
                    <a:lnTo>
                      <a:pt x="2432" y="342"/>
                    </a:lnTo>
                    <a:lnTo>
                      <a:pt x="2434" y="342"/>
                    </a:lnTo>
                    <a:lnTo>
                      <a:pt x="2438" y="340"/>
                    </a:lnTo>
                    <a:lnTo>
                      <a:pt x="2436" y="340"/>
                    </a:lnTo>
                    <a:lnTo>
                      <a:pt x="2438" y="338"/>
                    </a:lnTo>
                    <a:lnTo>
                      <a:pt x="2440" y="338"/>
                    </a:lnTo>
                    <a:lnTo>
                      <a:pt x="2446" y="336"/>
                    </a:lnTo>
                    <a:lnTo>
                      <a:pt x="2448" y="334"/>
                    </a:lnTo>
                    <a:lnTo>
                      <a:pt x="2450" y="334"/>
                    </a:lnTo>
                    <a:lnTo>
                      <a:pt x="2450" y="334"/>
                    </a:lnTo>
                    <a:lnTo>
                      <a:pt x="2452" y="334"/>
                    </a:lnTo>
                    <a:lnTo>
                      <a:pt x="2452" y="332"/>
                    </a:lnTo>
                    <a:lnTo>
                      <a:pt x="2452" y="332"/>
                    </a:lnTo>
                    <a:lnTo>
                      <a:pt x="2454" y="332"/>
                    </a:lnTo>
                    <a:lnTo>
                      <a:pt x="2454" y="330"/>
                    </a:lnTo>
                    <a:lnTo>
                      <a:pt x="2454" y="330"/>
                    </a:lnTo>
                    <a:lnTo>
                      <a:pt x="2454" y="330"/>
                    </a:lnTo>
                    <a:lnTo>
                      <a:pt x="2454" y="328"/>
                    </a:lnTo>
                    <a:lnTo>
                      <a:pt x="2454" y="328"/>
                    </a:lnTo>
                    <a:lnTo>
                      <a:pt x="2454" y="328"/>
                    </a:lnTo>
                    <a:lnTo>
                      <a:pt x="2454" y="326"/>
                    </a:lnTo>
                    <a:lnTo>
                      <a:pt x="2454" y="326"/>
                    </a:lnTo>
                    <a:lnTo>
                      <a:pt x="2454" y="324"/>
                    </a:lnTo>
                    <a:lnTo>
                      <a:pt x="2454" y="322"/>
                    </a:lnTo>
                    <a:lnTo>
                      <a:pt x="2454" y="322"/>
                    </a:lnTo>
                    <a:lnTo>
                      <a:pt x="2452" y="320"/>
                    </a:lnTo>
                    <a:lnTo>
                      <a:pt x="2450" y="318"/>
                    </a:lnTo>
                    <a:lnTo>
                      <a:pt x="2450" y="318"/>
                    </a:lnTo>
                    <a:lnTo>
                      <a:pt x="2450" y="316"/>
                    </a:lnTo>
                    <a:lnTo>
                      <a:pt x="2448" y="316"/>
                    </a:lnTo>
                    <a:lnTo>
                      <a:pt x="2446" y="314"/>
                    </a:lnTo>
                    <a:lnTo>
                      <a:pt x="2446" y="314"/>
                    </a:lnTo>
                    <a:lnTo>
                      <a:pt x="2446" y="314"/>
                    </a:lnTo>
                    <a:lnTo>
                      <a:pt x="2444" y="312"/>
                    </a:lnTo>
                    <a:lnTo>
                      <a:pt x="2442" y="310"/>
                    </a:lnTo>
                    <a:lnTo>
                      <a:pt x="2438" y="310"/>
                    </a:lnTo>
                    <a:lnTo>
                      <a:pt x="2436" y="308"/>
                    </a:lnTo>
                    <a:lnTo>
                      <a:pt x="2432" y="308"/>
                    </a:lnTo>
                    <a:lnTo>
                      <a:pt x="2428" y="306"/>
                    </a:lnTo>
                    <a:lnTo>
                      <a:pt x="2428" y="306"/>
                    </a:lnTo>
                    <a:lnTo>
                      <a:pt x="2428" y="306"/>
                    </a:lnTo>
                    <a:lnTo>
                      <a:pt x="2424" y="306"/>
                    </a:lnTo>
                    <a:lnTo>
                      <a:pt x="2422" y="306"/>
                    </a:lnTo>
                    <a:lnTo>
                      <a:pt x="2422" y="306"/>
                    </a:lnTo>
                    <a:lnTo>
                      <a:pt x="2420" y="308"/>
                    </a:lnTo>
                    <a:lnTo>
                      <a:pt x="2418" y="308"/>
                    </a:lnTo>
                    <a:lnTo>
                      <a:pt x="2418" y="308"/>
                    </a:lnTo>
                    <a:lnTo>
                      <a:pt x="2418" y="308"/>
                    </a:lnTo>
                    <a:lnTo>
                      <a:pt x="2414" y="310"/>
                    </a:lnTo>
                    <a:lnTo>
                      <a:pt x="2412" y="312"/>
                    </a:lnTo>
                    <a:lnTo>
                      <a:pt x="2408" y="314"/>
                    </a:lnTo>
                    <a:lnTo>
                      <a:pt x="2406" y="318"/>
                    </a:lnTo>
                    <a:lnTo>
                      <a:pt x="2404" y="320"/>
                    </a:lnTo>
                    <a:lnTo>
                      <a:pt x="2402" y="322"/>
                    </a:lnTo>
                    <a:lnTo>
                      <a:pt x="2400" y="324"/>
                    </a:lnTo>
                    <a:lnTo>
                      <a:pt x="2398" y="326"/>
                    </a:lnTo>
                    <a:lnTo>
                      <a:pt x="2398" y="330"/>
                    </a:lnTo>
                    <a:lnTo>
                      <a:pt x="2398" y="330"/>
                    </a:lnTo>
                    <a:lnTo>
                      <a:pt x="2398" y="330"/>
                    </a:lnTo>
                    <a:lnTo>
                      <a:pt x="2396" y="334"/>
                    </a:lnTo>
                    <a:lnTo>
                      <a:pt x="2396" y="336"/>
                    </a:lnTo>
                    <a:lnTo>
                      <a:pt x="2396" y="338"/>
                    </a:lnTo>
                    <a:lnTo>
                      <a:pt x="2398" y="340"/>
                    </a:lnTo>
                    <a:close/>
                    <a:moveTo>
                      <a:pt x="2568" y="530"/>
                    </a:moveTo>
                    <a:lnTo>
                      <a:pt x="2568" y="530"/>
                    </a:lnTo>
                    <a:lnTo>
                      <a:pt x="2566" y="530"/>
                    </a:lnTo>
                    <a:lnTo>
                      <a:pt x="2566" y="528"/>
                    </a:lnTo>
                    <a:lnTo>
                      <a:pt x="2566" y="528"/>
                    </a:lnTo>
                    <a:lnTo>
                      <a:pt x="2566" y="528"/>
                    </a:lnTo>
                    <a:lnTo>
                      <a:pt x="2564" y="526"/>
                    </a:lnTo>
                    <a:lnTo>
                      <a:pt x="2564" y="526"/>
                    </a:lnTo>
                    <a:lnTo>
                      <a:pt x="2562" y="526"/>
                    </a:lnTo>
                    <a:lnTo>
                      <a:pt x="2560" y="524"/>
                    </a:lnTo>
                    <a:lnTo>
                      <a:pt x="2558" y="522"/>
                    </a:lnTo>
                    <a:lnTo>
                      <a:pt x="2554" y="520"/>
                    </a:lnTo>
                    <a:lnTo>
                      <a:pt x="2552" y="520"/>
                    </a:lnTo>
                    <a:lnTo>
                      <a:pt x="2550" y="518"/>
                    </a:lnTo>
                    <a:lnTo>
                      <a:pt x="2550" y="518"/>
                    </a:lnTo>
                    <a:lnTo>
                      <a:pt x="2550" y="516"/>
                    </a:lnTo>
                    <a:lnTo>
                      <a:pt x="2548" y="514"/>
                    </a:lnTo>
                    <a:lnTo>
                      <a:pt x="2548" y="516"/>
                    </a:lnTo>
                    <a:lnTo>
                      <a:pt x="2548" y="512"/>
                    </a:lnTo>
                    <a:lnTo>
                      <a:pt x="2548" y="508"/>
                    </a:lnTo>
                    <a:lnTo>
                      <a:pt x="2548" y="506"/>
                    </a:lnTo>
                    <a:lnTo>
                      <a:pt x="2548" y="506"/>
                    </a:lnTo>
                    <a:lnTo>
                      <a:pt x="2548" y="506"/>
                    </a:lnTo>
                    <a:lnTo>
                      <a:pt x="2546" y="504"/>
                    </a:lnTo>
                    <a:lnTo>
                      <a:pt x="2546" y="504"/>
                    </a:lnTo>
                    <a:lnTo>
                      <a:pt x="2546" y="504"/>
                    </a:lnTo>
                    <a:lnTo>
                      <a:pt x="2546" y="502"/>
                    </a:lnTo>
                    <a:lnTo>
                      <a:pt x="2546" y="502"/>
                    </a:lnTo>
                    <a:lnTo>
                      <a:pt x="2544" y="502"/>
                    </a:lnTo>
                    <a:lnTo>
                      <a:pt x="2542" y="500"/>
                    </a:lnTo>
                    <a:lnTo>
                      <a:pt x="2542" y="500"/>
                    </a:lnTo>
                    <a:lnTo>
                      <a:pt x="2542" y="498"/>
                    </a:lnTo>
                    <a:lnTo>
                      <a:pt x="2538" y="498"/>
                    </a:lnTo>
                    <a:lnTo>
                      <a:pt x="2538" y="498"/>
                    </a:lnTo>
                    <a:lnTo>
                      <a:pt x="2538" y="498"/>
                    </a:lnTo>
                    <a:lnTo>
                      <a:pt x="2536" y="496"/>
                    </a:lnTo>
                    <a:lnTo>
                      <a:pt x="2534" y="496"/>
                    </a:lnTo>
                    <a:lnTo>
                      <a:pt x="2530" y="496"/>
                    </a:lnTo>
                    <a:lnTo>
                      <a:pt x="2528" y="496"/>
                    </a:lnTo>
                    <a:lnTo>
                      <a:pt x="2524" y="496"/>
                    </a:lnTo>
                    <a:lnTo>
                      <a:pt x="2520" y="496"/>
                    </a:lnTo>
                    <a:lnTo>
                      <a:pt x="2516" y="496"/>
                    </a:lnTo>
                    <a:lnTo>
                      <a:pt x="2512" y="498"/>
                    </a:lnTo>
                    <a:lnTo>
                      <a:pt x="2508" y="498"/>
                    </a:lnTo>
                    <a:lnTo>
                      <a:pt x="2508" y="498"/>
                    </a:lnTo>
                    <a:lnTo>
                      <a:pt x="2508" y="498"/>
                    </a:lnTo>
                    <a:lnTo>
                      <a:pt x="2506" y="498"/>
                    </a:lnTo>
                    <a:lnTo>
                      <a:pt x="2506" y="498"/>
                    </a:lnTo>
                    <a:lnTo>
                      <a:pt x="2506" y="500"/>
                    </a:lnTo>
                    <a:lnTo>
                      <a:pt x="2504" y="500"/>
                    </a:lnTo>
                    <a:lnTo>
                      <a:pt x="2504" y="500"/>
                    </a:lnTo>
                    <a:lnTo>
                      <a:pt x="2504" y="502"/>
                    </a:lnTo>
                    <a:lnTo>
                      <a:pt x="2502" y="502"/>
                    </a:lnTo>
                    <a:lnTo>
                      <a:pt x="2502" y="502"/>
                    </a:lnTo>
                    <a:lnTo>
                      <a:pt x="2502" y="504"/>
                    </a:lnTo>
                    <a:lnTo>
                      <a:pt x="2502" y="504"/>
                    </a:lnTo>
                    <a:lnTo>
                      <a:pt x="2502" y="504"/>
                    </a:lnTo>
                    <a:lnTo>
                      <a:pt x="2502" y="506"/>
                    </a:lnTo>
                    <a:lnTo>
                      <a:pt x="2502" y="508"/>
                    </a:lnTo>
                    <a:lnTo>
                      <a:pt x="2504" y="510"/>
                    </a:lnTo>
                    <a:lnTo>
                      <a:pt x="2504" y="512"/>
                    </a:lnTo>
                    <a:lnTo>
                      <a:pt x="2504" y="514"/>
                    </a:lnTo>
                    <a:lnTo>
                      <a:pt x="2504" y="516"/>
                    </a:lnTo>
                    <a:lnTo>
                      <a:pt x="2504" y="518"/>
                    </a:lnTo>
                    <a:lnTo>
                      <a:pt x="2504" y="522"/>
                    </a:lnTo>
                    <a:lnTo>
                      <a:pt x="2504" y="522"/>
                    </a:lnTo>
                    <a:lnTo>
                      <a:pt x="2504" y="522"/>
                    </a:lnTo>
                    <a:lnTo>
                      <a:pt x="2502" y="520"/>
                    </a:lnTo>
                    <a:lnTo>
                      <a:pt x="2498" y="518"/>
                    </a:lnTo>
                    <a:lnTo>
                      <a:pt x="2498" y="516"/>
                    </a:lnTo>
                    <a:lnTo>
                      <a:pt x="2496" y="514"/>
                    </a:lnTo>
                    <a:lnTo>
                      <a:pt x="2496" y="516"/>
                    </a:lnTo>
                    <a:lnTo>
                      <a:pt x="2496" y="514"/>
                    </a:lnTo>
                    <a:lnTo>
                      <a:pt x="2496" y="514"/>
                    </a:lnTo>
                    <a:lnTo>
                      <a:pt x="2496" y="512"/>
                    </a:lnTo>
                    <a:lnTo>
                      <a:pt x="2496" y="508"/>
                    </a:lnTo>
                    <a:lnTo>
                      <a:pt x="2498" y="504"/>
                    </a:lnTo>
                    <a:lnTo>
                      <a:pt x="2498" y="504"/>
                    </a:lnTo>
                    <a:lnTo>
                      <a:pt x="2498" y="504"/>
                    </a:lnTo>
                    <a:lnTo>
                      <a:pt x="2498" y="502"/>
                    </a:lnTo>
                    <a:lnTo>
                      <a:pt x="2500" y="500"/>
                    </a:lnTo>
                    <a:lnTo>
                      <a:pt x="2500" y="500"/>
                    </a:lnTo>
                    <a:lnTo>
                      <a:pt x="2500" y="500"/>
                    </a:lnTo>
                    <a:lnTo>
                      <a:pt x="2500" y="498"/>
                    </a:lnTo>
                    <a:lnTo>
                      <a:pt x="2502" y="496"/>
                    </a:lnTo>
                    <a:lnTo>
                      <a:pt x="2502" y="496"/>
                    </a:lnTo>
                    <a:lnTo>
                      <a:pt x="2502" y="496"/>
                    </a:lnTo>
                    <a:lnTo>
                      <a:pt x="2502" y="494"/>
                    </a:lnTo>
                    <a:lnTo>
                      <a:pt x="2502" y="494"/>
                    </a:lnTo>
                    <a:lnTo>
                      <a:pt x="2502" y="492"/>
                    </a:lnTo>
                    <a:lnTo>
                      <a:pt x="2502" y="490"/>
                    </a:lnTo>
                    <a:lnTo>
                      <a:pt x="2500" y="490"/>
                    </a:lnTo>
                    <a:lnTo>
                      <a:pt x="2500" y="488"/>
                    </a:lnTo>
                    <a:lnTo>
                      <a:pt x="2498" y="486"/>
                    </a:lnTo>
                    <a:lnTo>
                      <a:pt x="2496" y="484"/>
                    </a:lnTo>
                    <a:lnTo>
                      <a:pt x="2492" y="480"/>
                    </a:lnTo>
                    <a:lnTo>
                      <a:pt x="2490" y="478"/>
                    </a:lnTo>
                    <a:lnTo>
                      <a:pt x="2486" y="476"/>
                    </a:lnTo>
                    <a:lnTo>
                      <a:pt x="2480" y="470"/>
                    </a:lnTo>
                    <a:lnTo>
                      <a:pt x="2472" y="464"/>
                    </a:lnTo>
                    <a:lnTo>
                      <a:pt x="2462" y="456"/>
                    </a:lnTo>
                    <a:lnTo>
                      <a:pt x="2454" y="450"/>
                    </a:lnTo>
                    <a:lnTo>
                      <a:pt x="2448" y="446"/>
                    </a:lnTo>
                    <a:lnTo>
                      <a:pt x="2444" y="442"/>
                    </a:lnTo>
                    <a:lnTo>
                      <a:pt x="2442" y="440"/>
                    </a:lnTo>
                    <a:lnTo>
                      <a:pt x="2438" y="436"/>
                    </a:lnTo>
                    <a:lnTo>
                      <a:pt x="2434" y="432"/>
                    </a:lnTo>
                    <a:lnTo>
                      <a:pt x="2432" y="430"/>
                    </a:lnTo>
                    <a:lnTo>
                      <a:pt x="2430" y="426"/>
                    </a:lnTo>
                    <a:lnTo>
                      <a:pt x="2424" y="420"/>
                    </a:lnTo>
                    <a:lnTo>
                      <a:pt x="2422" y="418"/>
                    </a:lnTo>
                    <a:lnTo>
                      <a:pt x="2418" y="414"/>
                    </a:lnTo>
                    <a:lnTo>
                      <a:pt x="2414" y="412"/>
                    </a:lnTo>
                    <a:lnTo>
                      <a:pt x="2408" y="410"/>
                    </a:lnTo>
                    <a:lnTo>
                      <a:pt x="2398" y="404"/>
                    </a:lnTo>
                    <a:lnTo>
                      <a:pt x="2392" y="402"/>
                    </a:lnTo>
                    <a:lnTo>
                      <a:pt x="2388" y="398"/>
                    </a:lnTo>
                    <a:lnTo>
                      <a:pt x="2384" y="396"/>
                    </a:lnTo>
                    <a:lnTo>
                      <a:pt x="2380" y="394"/>
                    </a:lnTo>
                    <a:lnTo>
                      <a:pt x="2376" y="394"/>
                    </a:lnTo>
                    <a:lnTo>
                      <a:pt x="2374" y="392"/>
                    </a:lnTo>
                    <a:lnTo>
                      <a:pt x="2372" y="392"/>
                    </a:lnTo>
                    <a:lnTo>
                      <a:pt x="2370" y="390"/>
                    </a:lnTo>
                    <a:lnTo>
                      <a:pt x="2368" y="388"/>
                    </a:lnTo>
                    <a:lnTo>
                      <a:pt x="2368" y="388"/>
                    </a:lnTo>
                    <a:lnTo>
                      <a:pt x="2368" y="388"/>
                    </a:lnTo>
                    <a:lnTo>
                      <a:pt x="2366" y="388"/>
                    </a:lnTo>
                    <a:lnTo>
                      <a:pt x="2364" y="388"/>
                    </a:lnTo>
                    <a:lnTo>
                      <a:pt x="2364" y="388"/>
                    </a:lnTo>
                    <a:lnTo>
                      <a:pt x="2358" y="388"/>
                    </a:lnTo>
                    <a:lnTo>
                      <a:pt x="2352" y="388"/>
                    </a:lnTo>
                    <a:lnTo>
                      <a:pt x="2348" y="388"/>
                    </a:lnTo>
                    <a:lnTo>
                      <a:pt x="2342" y="388"/>
                    </a:lnTo>
                    <a:lnTo>
                      <a:pt x="2340" y="388"/>
                    </a:lnTo>
                    <a:lnTo>
                      <a:pt x="2336" y="386"/>
                    </a:lnTo>
                    <a:lnTo>
                      <a:pt x="2330" y="386"/>
                    </a:lnTo>
                    <a:lnTo>
                      <a:pt x="2324" y="384"/>
                    </a:lnTo>
                    <a:lnTo>
                      <a:pt x="2322" y="384"/>
                    </a:lnTo>
                    <a:lnTo>
                      <a:pt x="2318" y="382"/>
                    </a:lnTo>
                    <a:lnTo>
                      <a:pt x="2316" y="382"/>
                    </a:lnTo>
                    <a:lnTo>
                      <a:pt x="2316" y="382"/>
                    </a:lnTo>
                    <a:lnTo>
                      <a:pt x="2312" y="382"/>
                    </a:lnTo>
                    <a:lnTo>
                      <a:pt x="2310" y="380"/>
                    </a:lnTo>
                    <a:lnTo>
                      <a:pt x="2308" y="380"/>
                    </a:lnTo>
                    <a:lnTo>
                      <a:pt x="2306" y="380"/>
                    </a:lnTo>
                    <a:lnTo>
                      <a:pt x="2304" y="380"/>
                    </a:lnTo>
                    <a:lnTo>
                      <a:pt x="2300" y="378"/>
                    </a:lnTo>
                    <a:lnTo>
                      <a:pt x="2294" y="376"/>
                    </a:lnTo>
                    <a:lnTo>
                      <a:pt x="2290" y="376"/>
                    </a:lnTo>
                    <a:lnTo>
                      <a:pt x="2288" y="376"/>
                    </a:lnTo>
                    <a:lnTo>
                      <a:pt x="2286" y="376"/>
                    </a:lnTo>
                    <a:lnTo>
                      <a:pt x="2284" y="376"/>
                    </a:lnTo>
                    <a:lnTo>
                      <a:pt x="2282" y="376"/>
                    </a:lnTo>
                    <a:lnTo>
                      <a:pt x="2282" y="376"/>
                    </a:lnTo>
                    <a:lnTo>
                      <a:pt x="2282" y="376"/>
                    </a:lnTo>
                    <a:lnTo>
                      <a:pt x="2280" y="376"/>
                    </a:lnTo>
                    <a:lnTo>
                      <a:pt x="2280" y="376"/>
                    </a:lnTo>
                    <a:lnTo>
                      <a:pt x="2280" y="376"/>
                    </a:lnTo>
                    <a:lnTo>
                      <a:pt x="2278" y="378"/>
                    </a:lnTo>
                    <a:lnTo>
                      <a:pt x="2278" y="378"/>
                    </a:lnTo>
                    <a:lnTo>
                      <a:pt x="2278" y="378"/>
                    </a:lnTo>
                    <a:lnTo>
                      <a:pt x="2276" y="382"/>
                    </a:lnTo>
                    <a:lnTo>
                      <a:pt x="2276" y="382"/>
                    </a:lnTo>
                    <a:lnTo>
                      <a:pt x="2276" y="382"/>
                    </a:lnTo>
                    <a:lnTo>
                      <a:pt x="2274" y="386"/>
                    </a:lnTo>
                    <a:lnTo>
                      <a:pt x="2274" y="386"/>
                    </a:lnTo>
                    <a:lnTo>
                      <a:pt x="2274" y="392"/>
                    </a:lnTo>
                    <a:lnTo>
                      <a:pt x="2274" y="392"/>
                    </a:lnTo>
                    <a:lnTo>
                      <a:pt x="2274" y="392"/>
                    </a:lnTo>
                    <a:lnTo>
                      <a:pt x="2274" y="394"/>
                    </a:lnTo>
                    <a:lnTo>
                      <a:pt x="2274" y="394"/>
                    </a:lnTo>
                    <a:lnTo>
                      <a:pt x="2276" y="396"/>
                    </a:lnTo>
                    <a:lnTo>
                      <a:pt x="2276" y="400"/>
                    </a:lnTo>
                    <a:lnTo>
                      <a:pt x="2278" y="404"/>
                    </a:lnTo>
                    <a:lnTo>
                      <a:pt x="2280" y="408"/>
                    </a:lnTo>
                    <a:lnTo>
                      <a:pt x="2282" y="412"/>
                    </a:lnTo>
                    <a:lnTo>
                      <a:pt x="2282" y="416"/>
                    </a:lnTo>
                    <a:lnTo>
                      <a:pt x="2284" y="420"/>
                    </a:lnTo>
                    <a:lnTo>
                      <a:pt x="2284" y="420"/>
                    </a:lnTo>
                    <a:lnTo>
                      <a:pt x="2284" y="420"/>
                    </a:lnTo>
                    <a:lnTo>
                      <a:pt x="2282" y="420"/>
                    </a:lnTo>
                    <a:lnTo>
                      <a:pt x="2280" y="420"/>
                    </a:lnTo>
                    <a:lnTo>
                      <a:pt x="2276" y="420"/>
                    </a:lnTo>
                    <a:lnTo>
                      <a:pt x="2272" y="420"/>
                    </a:lnTo>
                    <a:lnTo>
                      <a:pt x="2268" y="418"/>
                    </a:lnTo>
                    <a:lnTo>
                      <a:pt x="2266" y="418"/>
                    </a:lnTo>
                    <a:lnTo>
                      <a:pt x="2262" y="418"/>
                    </a:lnTo>
                    <a:lnTo>
                      <a:pt x="2258" y="416"/>
                    </a:lnTo>
                    <a:lnTo>
                      <a:pt x="2254" y="416"/>
                    </a:lnTo>
                    <a:lnTo>
                      <a:pt x="2250" y="414"/>
                    </a:lnTo>
                    <a:lnTo>
                      <a:pt x="2252" y="416"/>
                    </a:lnTo>
                    <a:lnTo>
                      <a:pt x="2250" y="414"/>
                    </a:lnTo>
                    <a:lnTo>
                      <a:pt x="2250" y="414"/>
                    </a:lnTo>
                    <a:lnTo>
                      <a:pt x="2248" y="412"/>
                    </a:lnTo>
                    <a:lnTo>
                      <a:pt x="2248" y="410"/>
                    </a:lnTo>
                    <a:lnTo>
                      <a:pt x="2248" y="408"/>
                    </a:lnTo>
                    <a:lnTo>
                      <a:pt x="2246" y="404"/>
                    </a:lnTo>
                    <a:lnTo>
                      <a:pt x="2246" y="402"/>
                    </a:lnTo>
                    <a:lnTo>
                      <a:pt x="2246" y="398"/>
                    </a:lnTo>
                    <a:lnTo>
                      <a:pt x="2246" y="400"/>
                    </a:lnTo>
                    <a:lnTo>
                      <a:pt x="2248" y="398"/>
                    </a:lnTo>
                    <a:lnTo>
                      <a:pt x="2248" y="396"/>
                    </a:lnTo>
                    <a:lnTo>
                      <a:pt x="2248" y="396"/>
                    </a:lnTo>
                    <a:lnTo>
                      <a:pt x="2250" y="394"/>
                    </a:lnTo>
                    <a:lnTo>
                      <a:pt x="2252" y="394"/>
                    </a:lnTo>
                    <a:lnTo>
                      <a:pt x="2256" y="394"/>
                    </a:lnTo>
                    <a:lnTo>
                      <a:pt x="2258" y="394"/>
                    </a:lnTo>
                    <a:lnTo>
                      <a:pt x="2262" y="392"/>
                    </a:lnTo>
                    <a:lnTo>
                      <a:pt x="2264" y="392"/>
                    </a:lnTo>
                    <a:lnTo>
                      <a:pt x="2264" y="392"/>
                    </a:lnTo>
                    <a:lnTo>
                      <a:pt x="2264" y="392"/>
                    </a:lnTo>
                    <a:lnTo>
                      <a:pt x="2266" y="390"/>
                    </a:lnTo>
                    <a:lnTo>
                      <a:pt x="2266" y="390"/>
                    </a:lnTo>
                    <a:lnTo>
                      <a:pt x="2266" y="388"/>
                    </a:lnTo>
                    <a:lnTo>
                      <a:pt x="2266" y="386"/>
                    </a:lnTo>
                    <a:lnTo>
                      <a:pt x="2266" y="386"/>
                    </a:lnTo>
                    <a:lnTo>
                      <a:pt x="2264" y="386"/>
                    </a:lnTo>
                    <a:lnTo>
                      <a:pt x="2264" y="384"/>
                    </a:lnTo>
                    <a:lnTo>
                      <a:pt x="2262" y="382"/>
                    </a:lnTo>
                    <a:lnTo>
                      <a:pt x="2258" y="380"/>
                    </a:lnTo>
                    <a:lnTo>
                      <a:pt x="2256" y="378"/>
                    </a:lnTo>
                    <a:lnTo>
                      <a:pt x="2254" y="378"/>
                    </a:lnTo>
                    <a:lnTo>
                      <a:pt x="2254" y="378"/>
                    </a:lnTo>
                    <a:lnTo>
                      <a:pt x="2254" y="378"/>
                    </a:lnTo>
                    <a:lnTo>
                      <a:pt x="2250" y="376"/>
                    </a:lnTo>
                    <a:lnTo>
                      <a:pt x="2250" y="376"/>
                    </a:lnTo>
                    <a:lnTo>
                      <a:pt x="2250" y="376"/>
                    </a:lnTo>
                    <a:lnTo>
                      <a:pt x="2248" y="376"/>
                    </a:lnTo>
                    <a:lnTo>
                      <a:pt x="2248" y="376"/>
                    </a:lnTo>
                    <a:lnTo>
                      <a:pt x="2248" y="376"/>
                    </a:lnTo>
                    <a:lnTo>
                      <a:pt x="2246" y="378"/>
                    </a:lnTo>
                    <a:lnTo>
                      <a:pt x="2246" y="378"/>
                    </a:lnTo>
                    <a:lnTo>
                      <a:pt x="2244" y="378"/>
                    </a:lnTo>
                    <a:lnTo>
                      <a:pt x="2244" y="380"/>
                    </a:lnTo>
                    <a:lnTo>
                      <a:pt x="2244" y="380"/>
                    </a:lnTo>
                    <a:lnTo>
                      <a:pt x="2244" y="380"/>
                    </a:lnTo>
                    <a:lnTo>
                      <a:pt x="2242" y="382"/>
                    </a:lnTo>
                    <a:lnTo>
                      <a:pt x="2240" y="386"/>
                    </a:lnTo>
                    <a:lnTo>
                      <a:pt x="2238" y="390"/>
                    </a:lnTo>
                    <a:lnTo>
                      <a:pt x="2236" y="392"/>
                    </a:lnTo>
                    <a:lnTo>
                      <a:pt x="2234" y="394"/>
                    </a:lnTo>
                    <a:lnTo>
                      <a:pt x="2230" y="398"/>
                    </a:lnTo>
                    <a:lnTo>
                      <a:pt x="2230" y="400"/>
                    </a:lnTo>
                    <a:lnTo>
                      <a:pt x="2228" y="402"/>
                    </a:lnTo>
                    <a:lnTo>
                      <a:pt x="2226" y="402"/>
                    </a:lnTo>
                    <a:lnTo>
                      <a:pt x="2226" y="402"/>
                    </a:lnTo>
                    <a:lnTo>
                      <a:pt x="2226" y="402"/>
                    </a:lnTo>
                    <a:lnTo>
                      <a:pt x="2224" y="402"/>
                    </a:lnTo>
                    <a:lnTo>
                      <a:pt x="2224" y="402"/>
                    </a:lnTo>
                    <a:lnTo>
                      <a:pt x="2222" y="400"/>
                    </a:lnTo>
                    <a:lnTo>
                      <a:pt x="2220" y="398"/>
                    </a:lnTo>
                    <a:lnTo>
                      <a:pt x="2220" y="398"/>
                    </a:lnTo>
                    <a:lnTo>
                      <a:pt x="2220" y="398"/>
                    </a:lnTo>
                    <a:lnTo>
                      <a:pt x="2218" y="398"/>
                    </a:lnTo>
                    <a:lnTo>
                      <a:pt x="2218" y="398"/>
                    </a:lnTo>
                    <a:lnTo>
                      <a:pt x="2216" y="398"/>
                    </a:lnTo>
                    <a:lnTo>
                      <a:pt x="2216" y="396"/>
                    </a:lnTo>
                    <a:lnTo>
                      <a:pt x="2216" y="396"/>
                    </a:lnTo>
                    <a:lnTo>
                      <a:pt x="2214" y="396"/>
                    </a:lnTo>
                    <a:lnTo>
                      <a:pt x="2212" y="396"/>
                    </a:lnTo>
                    <a:lnTo>
                      <a:pt x="2210" y="396"/>
                    </a:lnTo>
                    <a:lnTo>
                      <a:pt x="2204" y="398"/>
                    </a:lnTo>
                    <a:lnTo>
                      <a:pt x="2198" y="398"/>
                    </a:lnTo>
                    <a:lnTo>
                      <a:pt x="2196" y="398"/>
                    </a:lnTo>
                    <a:lnTo>
                      <a:pt x="2194" y="398"/>
                    </a:lnTo>
                    <a:lnTo>
                      <a:pt x="2194" y="398"/>
                    </a:lnTo>
                    <a:lnTo>
                      <a:pt x="2192" y="396"/>
                    </a:lnTo>
                    <a:lnTo>
                      <a:pt x="2192" y="394"/>
                    </a:lnTo>
                    <a:lnTo>
                      <a:pt x="2190" y="390"/>
                    </a:lnTo>
                    <a:lnTo>
                      <a:pt x="2190" y="390"/>
                    </a:lnTo>
                    <a:lnTo>
                      <a:pt x="2190" y="390"/>
                    </a:lnTo>
                    <a:lnTo>
                      <a:pt x="2188" y="390"/>
                    </a:lnTo>
                    <a:lnTo>
                      <a:pt x="2188" y="390"/>
                    </a:lnTo>
                    <a:lnTo>
                      <a:pt x="2186" y="388"/>
                    </a:lnTo>
                    <a:lnTo>
                      <a:pt x="2186" y="388"/>
                    </a:lnTo>
                    <a:lnTo>
                      <a:pt x="2186" y="388"/>
                    </a:lnTo>
                    <a:lnTo>
                      <a:pt x="2184" y="388"/>
                    </a:lnTo>
                    <a:lnTo>
                      <a:pt x="2182" y="388"/>
                    </a:lnTo>
                    <a:lnTo>
                      <a:pt x="2178" y="388"/>
                    </a:lnTo>
                    <a:lnTo>
                      <a:pt x="2176" y="388"/>
                    </a:lnTo>
                    <a:lnTo>
                      <a:pt x="2172" y="388"/>
                    </a:lnTo>
                    <a:lnTo>
                      <a:pt x="2164" y="388"/>
                    </a:lnTo>
                    <a:lnTo>
                      <a:pt x="2162" y="388"/>
                    </a:lnTo>
                    <a:lnTo>
                      <a:pt x="2158" y="388"/>
                    </a:lnTo>
                    <a:lnTo>
                      <a:pt x="2156" y="390"/>
                    </a:lnTo>
                    <a:lnTo>
                      <a:pt x="2154" y="390"/>
                    </a:lnTo>
                    <a:lnTo>
                      <a:pt x="2154" y="390"/>
                    </a:lnTo>
                    <a:lnTo>
                      <a:pt x="2154" y="390"/>
                    </a:lnTo>
                    <a:lnTo>
                      <a:pt x="2150" y="392"/>
                    </a:lnTo>
                    <a:lnTo>
                      <a:pt x="2150" y="392"/>
                    </a:lnTo>
                    <a:lnTo>
                      <a:pt x="2150" y="392"/>
                    </a:lnTo>
                    <a:lnTo>
                      <a:pt x="2148" y="394"/>
                    </a:lnTo>
                    <a:lnTo>
                      <a:pt x="2144" y="398"/>
                    </a:lnTo>
                    <a:lnTo>
                      <a:pt x="2144" y="400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0" y="402"/>
                    </a:lnTo>
                    <a:lnTo>
                      <a:pt x="2140" y="400"/>
                    </a:lnTo>
                    <a:lnTo>
                      <a:pt x="2140" y="400"/>
                    </a:lnTo>
                    <a:lnTo>
                      <a:pt x="2140" y="400"/>
                    </a:lnTo>
                    <a:lnTo>
                      <a:pt x="2138" y="398"/>
                    </a:lnTo>
                    <a:lnTo>
                      <a:pt x="2138" y="398"/>
                    </a:lnTo>
                    <a:lnTo>
                      <a:pt x="2138" y="398"/>
                    </a:lnTo>
                    <a:lnTo>
                      <a:pt x="2136" y="396"/>
                    </a:lnTo>
                    <a:lnTo>
                      <a:pt x="2132" y="394"/>
                    </a:lnTo>
                    <a:lnTo>
                      <a:pt x="2130" y="390"/>
                    </a:lnTo>
                    <a:lnTo>
                      <a:pt x="2128" y="390"/>
                    </a:lnTo>
                    <a:lnTo>
                      <a:pt x="2128" y="390"/>
                    </a:lnTo>
                    <a:lnTo>
                      <a:pt x="2128" y="390"/>
                    </a:lnTo>
                    <a:lnTo>
                      <a:pt x="2126" y="388"/>
                    </a:lnTo>
                    <a:lnTo>
                      <a:pt x="2120" y="388"/>
                    </a:lnTo>
                    <a:lnTo>
                      <a:pt x="2118" y="388"/>
                    </a:lnTo>
                    <a:lnTo>
                      <a:pt x="2118" y="386"/>
                    </a:lnTo>
                    <a:lnTo>
                      <a:pt x="2118" y="386"/>
                    </a:lnTo>
                    <a:lnTo>
                      <a:pt x="2120" y="384"/>
                    </a:lnTo>
                    <a:lnTo>
                      <a:pt x="2124" y="382"/>
                    </a:lnTo>
                    <a:lnTo>
                      <a:pt x="2124" y="382"/>
                    </a:lnTo>
                    <a:lnTo>
                      <a:pt x="2124" y="380"/>
                    </a:lnTo>
                    <a:lnTo>
                      <a:pt x="2124" y="378"/>
                    </a:lnTo>
                    <a:lnTo>
                      <a:pt x="2124" y="378"/>
                    </a:lnTo>
                    <a:lnTo>
                      <a:pt x="2126" y="378"/>
                    </a:lnTo>
                    <a:lnTo>
                      <a:pt x="2126" y="376"/>
                    </a:lnTo>
                    <a:lnTo>
                      <a:pt x="2126" y="376"/>
                    </a:lnTo>
                    <a:lnTo>
                      <a:pt x="2126" y="376"/>
                    </a:lnTo>
                    <a:lnTo>
                      <a:pt x="2126" y="372"/>
                    </a:lnTo>
                    <a:lnTo>
                      <a:pt x="2126" y="372"/>
                    </a:lnTo>
                    <a:lnTo>
                      <a:pt x="2126" y="368"/>
                    </a:lnTo>
                    <a:lnTo>
                      <a:pt x="2126" y="366"/>
                    </a:lnTo>
                    <a:lnTo>
                      <a:pt x="2126" y="362"/>
                    </a:lnTo>
                    <a:lnTo>
                      <a:pt x="2124" y="358"/>
                    </a:lnTo>
                    <a:lnTo>
                      <a:pt x="2122" y="356"/>
                    </a:lnTo>
                    <a:lnTo>
                      <a:pt x="2120" y="354"/>
                    </a:lnTo>
                    <a:lnTo>
                      <a:pt x="2120" y="350"/>
                    </a:lnTo>
                    <a:lnTo>
                      <a:pt x="2116" y="346"/>
                    </a:lnTo>
                    <a:lnTo>
                      <a:pt x="2114" y="342"/>
                    </a:lnTo>
                    <a:lnTo>
                      <a:pt x="2112" y="340"/>
                    </a:lnTo>
                    <a:lnTo>
                      <a:pt x="2108" y="336"/>
                    </a:lnTo>
                    <a:lnTo>
                      <a:pt x="2108" y="336"/>
                    </a:lnTo>
                    <a:lnTo>
                      <a:pt x="2108" y="336"/>
                    </a:lnTo>
                    <a:lnTo>
                      <a:pt x="2104" y="334"/>
                    </a:lnTo>
                    <a:lnTo>
                      <a:pt x="2104" y="334"/>
                    </a:lnTo>
                    <a:lnTo>
                      <a:pt x="2104" y="334"/>
                    </a:lnTo>
                    <a:lnTo>
                      <a:pt x="2098" y="332"/>
                    </a:lnTo>
                    <a:lnTo>
                      <a:pt x="2094" y="330"/>
                    </a:lnTo>
                    <a:lnTo>
                      <a:pt x="2088" y="330"/>
                    </a:lnTo>
                    <a:lnTo>
                      <a:pt x="2082" y="328"/>
                    </a:lnTo>
                    <a:lnTo>
                      <a:pt x="2076" y="328"/>
                    </a:lnTo>
                    <a:lnTo>
                      <a:pt x="2068" y="328"/>
                    </a:lnTo>
                    <a:lnTo>
                      <a:pt x="2062" y="328"/>
                    </a:lnTo>
                    <a:lnTo>
                      <a:pt x="2056" y="328"/>
                    </a:lnTo>
                    <a:lnTo>
                      <a:pt x="2052" y="328"/>
                    </a:lnTo>
                    <a:lnTo>
                      <a:pt x="2048" y="328"/>
                    </a:lnTo>
                    <a:lnTo>
                      <a:pt x="2048" y="328"/>
                    </a:lnTo>
                    <a:lnTo>
                      <a:pt x="2046" y="328"/>
                    </a:lnTo>
                    <a:lnTo>
                      <a:pt x="2044" y="330"/>
                    </a:lnTo>
                    <a:lnTo>
                      <a:pt x="2044" y="330"/>
                    </a:lnTo>
                    <a:lnTo>
                      <a:pt x="2044" y="330"/>
                    </a:lnTo>
                    <a:lnTo>
                      <a:pt x="2042" y="332"/>
                    </a:lnTo>
                    <a:lnTo>
                      <a:pt x="2042" y="332"/>
                    </a:lnTo>
                    <a:lnTo>
                      <a:pt x="2040" y="332"/>
                    </a:lnTo>
                    <a:lnTo>
                      <a:pt x="2038" y="334"/>
                    </a:lnTo>
                    <a:lnTo>
                      <a:pt x="2038" y="336"/>
                    </a:lnTo>
                    <a:lnTo>
                      <a:pt x="2036" y="338"/>
                    </a:lnTo>
                    <a:lnTo>
                      <a:pt x="2036" y="338"/>
                    </a:lnTo>
                    <a:lnTo>
                      <a:pt x="2034" y="340"/>
                    </a:lnTo>
                    <a:lnTo>
                      <a:pt x="2032" y="340"/>
                    </a:lnTo>
                    <a:lnTo>
                      <a:pt x="2030" y="340"/>
                    </a:lnTo>
                    <a:lnTo>
                      <a:pt x="2026" y="340"/>
                    </a:lnTo>
                    <a:lnTo>
                      <a:pt x="2018" y="338"/>
                    </a:lnTo>
                    <a:lnTo>
                      <a:pt x="2014" y="336"/>
                    </a:lnTo>
                    <a:lnTo>
                      <a:pt x="2010" y="336"/>
                    </a:lnTo>
                    <a:lnTo>
                      <a:pt x="2006" y="334"/>
                    </a:lnTo>
                    <a:lnTo>
                      <a:pt x="2004" y="334"/>
                    </a:lnTo>
                    <a:lnTo>
                      <a:pt x="2002" y="332"/>
                    </a:lnTo>
                    <a:lnTo>
                      <a:pt x="2002" y="334"/>
                    </a:lnTo>
                    <a:lnTo>
                      <a:pt x="2000" y="332"/>
                    </a:lnTo>
                    <a:lnTo>
                      <a:pt x="2000" y="332"/>
                    </a:lnTo>
                    <a:lnTo>
                      <a:pt x="2000" y="332"/>
                    </a:lnTo>
                    <a:lnTo>
                      <a:pt x="1998" y="330"/>
                    </a:lnTo>
                    <a:lnTo>
                      <a:pt x="1996" y="328"/>
                    </a:lnTo>
                    <a:lnTo>
                      <a:pt x="1994" y="326"/>
                    </a:lnTo>
                    <a:lnTo>
                      <a:pt x="1992" y="326"/>
                    </a:lnTo>
                    <a:lnTo>
                      <a:pt x="1988" y="322"/>
                    </a:lnTo>
                    <a:lnTo>
                      <a:pt x="1984" y="318"/>
                    </a:lnTo>
                    <a:lnTo>
                      <a:pt x="1980" y="314"/>
                    </a:lnTo>
                    <a:lnTo>
                      <a:pt x="1978" y="310"/>
                    </a:lnTo>
                    <a:lnTo>
                      <a:pt x="1974" y="306"/>
                    </a:lnTo>
                    <a:lnTo>
                      <a:pt x="1972" y="304"/>
                    </a:lnTo>
                    <a:lnTo>
                      <a:pt x="1968" y="300"/>
                    </a:lnTo>
                    <a:lnTo>
                      <a:pt x="1966" y="296"/>
                    </a:lnTo>
                    <a:lnTo>
                      <a:pt x="1966" y="296"/>
                    </a:lnTo>
                    <a:lnTo>
                      <a:pt x="1966" y="294"/>
                    </a:lnTo>
                    <a:lnTo>
                      <a:pt x="1966" y="290"/>
                    </a:lnTo>
                    <a:lnTo>
                      <a:pt x="1968" y="286"/>
                    </a:lnTo>
                    <a:lnTo>
                      <a:pt x="1968" y="284"/>
                    </a:lnTo>
                    <a:lnTo>
                      <a:pt x="1968" y="284"/>
                    </a:lnTo>
                    <a:lnTo>
                      <a:pt x="1968" y="284"/>
                    </a:lnTo>
                    <a:lnTo>
                      <a:pt x="1966" y="282"/>
                    </a:lnTo>
                    <a:lnTo>
                      <a:pt x="1966" y="282"/>
                    </a:lnTo>
                    <a:lnTo>
                      <a:pt x="1966" y="280"/>
                    </a:lnTo>
                    <a:lnTo>
                      <a:pt x="1964" y="278"/>
                    </a:lnTo>
                    <a:lnTo>
                      <a:pt x="1964" y="278"/>
                    </a:lnTo>
                    <a:lnTo>
                      <a:pt x="1964" y="278"/>
                    </a:lnTo>
                    <a:lnTo>
                      <a:pt x="1962" y="276"/>
                    </a:lnTo>
                    <a:lnTo>
                      <a:pt x="1962" y="276"/>
                    </a:lnTo>
                    <a:lnTo>
                      <a:pt x="1962" y="276"/>
                    </a:lnTo>
                    <a:lnTo>
                      <a:pt x="1960" y="274"/>
                    </a:lnTo>
                    <a:lnTo>
                      <a:pt x="1958" y="274"/>
                    </a:lnTo>
                    <a:lnTo>
                      <a:pt x="1954" y="272"/>
                    </a:lnTo>
                    <a:lnTo>
                      <a:pt x="1952" y="270"/>
                    </a:lnTo>
                    <a:lnTo>
                      <a:pt x="1948" y="270"/>
                    </a:lnTo>
                    <a:lnTo>
                      <a:pt x="1944" y="268"/>
                    </a:lnTo>
                    <a:lnTo>
                      <a:pt x="1940" y="268"/>
                    </a:lnTo>
                    <a:lnTo>
                      <a:pt x="1934" y="268"/>
                    </a:lnTo>
                    <a:lnTo>
                      <a:pt x="1924" y="266"/>
                    </a:lnTo>
                    <a:lnTo>
                      <a:pt x="1920" y="266"/>
                    </a:lnTo>
                    <a:lnTo>
                      <a:pt x="1916" y="264"/>
                    </a:lnTo>
                    <a:lnTo>
                      <a:pt x="1914" y="264"/>
                    </a:lnTo>
                    <a:lnTo>
                      <a:pt x="1910" y="262"/>
                    </a:lnTo>
                    <a:lnTo>
                      <a:pt x="1906" y="260"/>
                    </a:lnTo>
                    <a:lnTo>
                      <a:pt x="1900" y="256"/>
                    </a:lnTo>
                    <a:lnTo>
                      <a:pt x="1896" y="254"/>
                    </a:lnTo>
                    <a:lnTo>
                      <a:pt x="1890" y="252"/>
                    </a:lnTo>
                    <a:lnTo>
                      <a:pt x="1884" y="250"/>
                    </a:lnTo>
                    <a:lnTo>
                      <a:pt x="1876" y="248"/>
                    </a:lnTo>
                    <a:lnTo>
                      <a:pt x="1870" y="248"/>
                    </a:lnTo>
                    <a:lnTo>
                      <a:pt x="1870" y="248"/>
                    </a:lnTo>
                    <a:lnTo>
                      <a:pt x="1866" y="248"/>
                    </a:lnTo>
                    <a:lnTo>
                      <a:pt x="1862" y="248"/>
                    </a:lnTo>
                    <a:lnTo>
                      <a:pt x="1852" y="250"/>
                    </a:lnTo>
                    <a:lnTo>
                      <a:pt x="1848" y="252"/>
                    </a:lnTo>
                    <a:lnTo>
                      <a:pt x="1844" y="254"/>
                    </a:lnTo>
                    <a:lnTo>
                      <a:pt x="1840" y="254"/>
                    </a:lnTo>
                    <a:lnTo>
                      <a:pt x="1836" y="256"/>
                    </a:lnTo>
                    <a:lnTo>
                      <a:pt x="1832" y="258"/>
                    </a:lnTo>
                    <a:lnTo>
                      <a:pt x="1828" y="260"/>
                    </a:lnTo>
                    <a:lnTo>
                      <a:pt x="1828" y="260"/>
                    </a:lnTo>
                    <a:lnTo>
                      <a:pt x="1828" y="260"/>
                    </a:lnTo>
                    <a:lnTo>
                      <a:pt x="1824" y="264"/>
                    </a:lnTo>
                    <a:lnTo>
                      <a:pt x="1824" y="264"/>
                    </a:lnTo>
                    <a:lnTo>
                      <a:pt x="1824" y="264"/>
                    </a:lnTo>
                    <a:lnTo>
                      <a:pt x="1822" y="266"/>
                    </a:lnTo>
                    <a:lnTo>
                      <a:pt x="1822" y="266"/>
                    </a:lnTo>
                    <a:lnTo>
                      <a:pt x="1822" y="268"/>
                    </a:lnTo>
                    <a:lnTo>
                      <a:pt x="1820" y="270"/>
                    </a:lnTo>
                    <a:lnTo>
                      <a:pt x="1820" y="274"/>
                    </a:lnTo>
                    <a:lnTo>
                      <a:pt x="1818" y="274"/>
                    </a:lnTo>
                    <a:lnTo>
                      <a:pt x="1818" y="274"/>
                    </a:lnTo>
                    <a:lnTo>
                      <a:pt x="1818" y="270"/>
                    </a:lnTo>
                    <a:lnTo>
                      <a:pt x="1818" y="266"/>
                    </a:lnTo>
                    <a:lnTo>
                      <a:pt x="1818" y="264"/>
                    </a:lnTo>
                    <a:lnTo>
                      <a:pt x="1818" y="262"/>
                    </a:lnTo>
                    <a:lnTo>
                      <a:pt x="1818" y="262"/>
                    </a:lnTo>
                    <a:lnTo>
                      <a:pt x="1818" y="262"/>
                    </a:lnTo>
                    <a:lnTo>
                      <a:pt x="1816" y="262"/>
                    </a:lnTo>
                    <a:lnTo>
                      <a:pt x="1816" y="260"/>
                    </a:lnTo>
                    <a:lnTo>
                      <a:pt x="1816" y="260"/>
                    </a:lnTo>
                    <a:lnTo>
                      <a:pt x="1814" y="260"/>
                    </a:lnTo>
                    <a:lnTo>
                      <a:pt x="1814" y="260"/>
                    </a:lnTo>
                    <a:lnTo>
                      <a:pt x="1814" y="260"/>
                    </a:lnTo>
                    <a:lnTo>
                      <a:pt x="1812" y="260"/>
                    </a:lnTo>
                    <a:lnTo>
                      <a:pt x="1812" y="260"/>
                    </a:lnTo>
                    <a:lnTo>
                      <a:pt x="1812" y="260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08" y="266"/>
                    </a:lnTo>
                    <a:lnTo>
                      <a:pt x="1806" y="268"/>
                    </a:lnTo>
                    <a:lnTo>
                      <a:pt x="1806" y="272"/>
                    </a:lnTo>
                    <a:lnTo>
                      <a:pt x="1804" y="276"/>
                    </a:lnTo>
                    <a:lnTo>
                      <a:pt x="1804" y="278"/>
                    </a:lnTo>
                    <a:lnTo>
                      <a:pt x="1804" y="280"/>
                    </a:lnTo>
                    <a:lnTo>
                      <a:pt x="1804" y="280"/>
                    </a:lnTo>
                    <a:lnTo>
                      <a:pt x="1804" y="282"/>
                    </a:lnTo>
                    <a:lnTo>
                      <a:pt x="1804" y="282"/>
                    </a:lnTo>
                    <a:lnTo>
                      <a:pt x="1804" y="282"/>
                    </a:lnTo>
                    <a:lnTo>
                      <a:pt x="1804" y="284"/>
                    </a:lnTo>
                    <a:lnTo>
                      <a:pt x="1806" y="284"/>
                    </a:lnTo>
                    <a:lnTo>
                      <a:pt x="1806" y="284"/>
                    </a:lnTo>
                    <a:lnTo>
                      <a:pt x="1806" y="286"/>
                    </a:lnTo>
                    <a:lnTo>
                      <a:pt x="1808" y="286"/>
                    </a:lnTo>
                    <a:lnTo>
                      <a:pt x="1810" y="286"/>
                    </a:lnTo>
                    <a:lnTo>
                      <a:pt x="1812" y="288"/>
                    </a:lnTo>
                    <a:lnTo>
                      <a:pt x="1814" y="288"/>
                    </a:lnTo>
                    <a:lnTo>
                      <a:pt x="1814" y="290"/>
                    </a:lnTo>
                    <a:lnTo>
                      <a:pt x="1814" y="292"/>
                    </a:lnTo>
                    <a:lnTo>
                      <a:pt x="1816" y="294"/>
                    </a:lnTo>
                    <a:lnTo>
                      <a:pt x="1816" y="298"/>
                    </a:lnTo>
                    <a:lnTo>
                      <a:pt x="1816" y="302"/>
                    </a:lnTo>
                    <a:lnTo>
                      <a:pt x="1816" y="304"/>
                    </a:lnTo>
                    <a:lnTo>
                      <a:pt x="1816" y="308"/>
                    </a:lnTo>
                    <a:lnTo>
                      <a:pt x="1816" y="310"/>
                    </a:lnTo>
                    <a:lnTo>
                      <a:pt x="1814" y="310"/>
                    </a:lnTo>
                    <a:lnTo>
                      <a:pt x="1814" y="310"/>
                    </a:lnTo>
                    <a:lnTo>
                      <a:pt x="1812" y="310"/>
                    </a:lnTo>
                    <a:lnTo>
                      <a:pt x="1808" y="310"/>
                    </a:lnTo>
                    <a:lnTo>
                      <a:pt x="1802" y="308"/>
                    </a:lnTo>
                    <a:lnTo>
                      <a:pt x="1800" y="306"/>
                    </a:lnTo>
                    <a:lnTo>
                      <a:pt x="1798" y="306"/>
                    </a:lnTo>
                    <a:lnTo>
                      <a:pt x="1798" y="306"/>
                    </a:lnTo>
                    <a:lnTo>
                      <a:pt x="1796" y="306"/>
                    </a:lnTo>
                    <a:lnTo>
                      <a:pt x="1794" y="306"/>
                    </a:lnTo>
                    <a:lnTo>
                      <a:pt x="1794" y="306"/>
                    </a:lnTo>
                    <a:lnTo>
                      <a:pt x="1792" y="308"/>
                    </a:lnTo>
                    <a:lnTo>
                      <a:pt x="1790" y="308"/>
                    </a:lnTo>
                    <a:lnTo>
                      <a:pt x="1790" y="308"/>
                    </a:lnTo>
                    <a:lnTo>
                      <a:pt x="1788" y="308"/>
                    </a:lnTo>
                    <a:lnTo>
                      <a:pt x="1786" y="308"/>
                    </a:lnTo>
                    <a:lnTo>
                      <a:pt x="1782" y="308"/>
                    </a:lnTo>
                    <a:lnTo>
                      <a:pt x="1780" y="308"/>
                    </a:lnTo>
                    <a:lnTo>
                      <a:pt x="1774" y="308"/>
                    </a:lnTo>
                    <a:lnTo>
                      <a:pt x="1770" y="308"/>
                    </a:lnTo>
                    <a:lnTo>
                      <a:pt x="1766" y="308"/>
                    </a:lnTo>
                    <a:lnTo>
                      <a:pt x="1760" y="308"/>
                    </a:lnTo>
                    <a:lnTo>
                      <a:pt x="1756" y="308"/>
                    </a:lnTo>
                    <a:lnTo>
                      <a:pt x="1754" y="308"/>
                    </a:lnTo>
                    <a:lnTo>
                      <a:pt x="1752" y="308"/>
                    </a:lnTo>
                    <a:lnTo>
                      <a:pt x="1752" y="308"/>
                    </a:lnTo>
                    <a:lnTo>
                      <a:pt x="1750" y="308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6" y="310"/>
                    </a:lnTo>
                    <a:lnTo>
                      <a:pt x="1746" y="312"/>
                    </a:lnTo>
                    <a:lnTo>
                      <a:pt x="1744" y="314"/>
                    </a:lnTo>
                    <a:lnTo>
                      <a:pt x="1744" y="314"/>
                    </a:lnTo>
                    <a:lnTo>
                      <a:pt x="1742" y="314"/>
                    </a:lnTo>
                    <a:lnTo>
                      <a:pt x="1742" y="314"/>
                    </a:lnTo>
                    <a:lnTo>
                      <a:pt x="1740" y="314"/>
                    </a:lnTo>
                    <a:lnTo>
                      <a:pt x="1734" y="316"/>
                    </a:lnTo>
                    <a:lnTo>
                      <a:pt x="1730" y="316"/>
                    </a:lnTo>
                    <a:lnTo>
                      <a:pt x="1728" y="316"/>
                    </a:lnTo>
                    <a:lnTo>
                      <a:pt x="1728" y="316"/>
                    </a:lnTo>
                    <a:lnTo>
                      <a:pt x="1726" y="314"/>
                    </a:lnTo>
                    <a:lnTo>
                      <a:pt x="1722" y="312"/>
                    </a:lnTo>
                    <a:lnTo>
                      <a:pt x="1724" y="312"/>
                    </a:lnTo>
                    <a:lnTo>
                      <a:pt x="1722" y="310"/>
                    </a:lnTo>
                    <a:lnTo>
                      <a:pt x="1720" y="306"/>
                    </a:lnTo>
                    <a:lnTo>
                      <a:pt x="1720" y="306"/>
                    </a:lnTo>
                    <a:lnTo>
                      <a:pt x="1720" y="304"/>
                    </a:lnTo>
                    <a:lnTo>
                      <a:pt x="1718" y="302"/>
                    </a:lnTo>
                    <a:lnTo>
                      <a:pt x="1718" y="296"/>
                    </a:lnTo>
                    <a:lnTo>
                      <a:pt x="1718" y="294"/>
                    </a:lnTo>
                    <a:lnTo>
                      <a:pt x="1718" y="292"/>
                    </a:lnTo>
                    <a:lnTo>
                      <a:pt x="1718" y="290"/>
                    </a:lnTo>
                    <a:lnTo>
                      <a:pt x="1718" y="290"/>
                    </a:lnTo>
                    <a:lnTo>
                      <a:pt x="1716" y="288"/>
                    </a:lnTo>
                    <a:lnTo>
                      <a:pt x="1716" y="288"/>
                    </a:lnTo>
                    <a:lnTo>
                      <a:pt x="1716" y="288"/>
                    </a:lnTo>
                    <a:lnTo>
                      <a:pt x="1714" y="286"/>
                    </a:lnTo>
                    <a:lnTo>
                      <a:pt x="1714" y="286"/>
                    </a:lnTo>
                    <a:lnTo>
                      <a:pt x="1714" y="286"/>
                    </a:lnTo>
                    <a:lnTo>
                      <a:pt x="1712" y="288"/>
                    </a:lnTo>
                    <a:lnTo>
                      <a:pt x="1710" y="288"/>
                    </a:lnTo>
                    <a:lnTo>
                      <a:pt x="1710" y="288"/>
                    </a:lnTo>
                    <a:lnTo>
                      <a:pt x="1710" y="288"/>
                    </a:lnTo>
                    <a:lnTo>
                      <a:pt x="1708" y="290"/>
                    </a:lnTo>
                    <a:lnTo>
                      <a:pt x="1706" y="292"/>
                    </a:lnTo>
                    <a:lnTo>
                      <a:pt x="1704" y="296"/>
                    </a:lnTo>
                    <a:lnTo>
                      <a:pt x="1702" y="298"/>
                    </a:lnTo>
                    <a:lnTo>
                      <a:pt x="1702" y="300"/>
                    </a:lnTo>
                    <a:lnTo>
                      <a:pt x="1700" y="302"/>
                    </a:lnTo>
                    <a:lnTo>
                      <a:pt x="1700" y="302"/>
                    </a:lnTo>
                    <a:lnTo>
                      <a:pt x="1700" y="304"/>
                    </a:lnTo>
                    <a:lnTo>
                      <a:pt x="1700" y="306"/>
                    </a:lnTo>
                    <a:lnTo>
                      <a:pt x="1700" y="308"/>
                    </a:lnTo>
                    <a:lnTo>
                      <a:pt x="1700" y="312"/>
                    </a:lnTo>
                    <a:lnTo>
                      <a:pt x="1700" y="316"/>
                    </a:lnTo>
                    <a:lnTo>
                      <a:pt x="1700" y="318"/>
                    </a:lnTo>
                    <a:lnTo>
                      <a:pt x="1698" y="322"/>
                    </a:lnTo>
                    <a:lnTo>
                      <a:pt x="1696" y="326"/>
                    </a:lnTo>
                    <a:lnTo>
                      <a:pt x="1696" y="330"/>
                    </a:lnTo>
                    <a:lnTo>
                      <a:pt x="1694" y="334"/>
                    </a:lnTo>
                    <a:lnTo>
                      <a:pt x="1692" y="338"/>
                    </a:lnTo>
                    <a:lnTo>
                      <a:pt x="1690" y="342"/>
                    </a:lnTo>
                    <a:lnTo>
                      <a:pt x="1688" y="344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4" y="344"/>
                    </a:lnTo>
                    <a:lnTo>
                      <a:pt x="1682" y="342"/>
                    </a:lnTo>
                    <a:lnTo>
                      <a:pt x="1680" y="340"/>
                    </a:lnTo>
                    <a:lnTo>
                      <a:pt x="1678" y="336"/>
                    </a:lnTo>
                    <a:lnTo>
                      <a:pt x="1674" y="334"/>
                    </a:lnTo>
                    <a:lnTo>
                      <a:pt x="1672" y="330"/>
                    </a:lnTo>
                    <a:lnTo>
                      <a:pt x="1668" y="326"/>
                    </a:lnTo>
                    <a:lnTo>
                      <a:pt x="1666" y="322"/>
                    </a:lnTo>
                    <a:lnTo>
                      <a:pt x="1664" y="318"/>
                    </a:lnTo>
                    <a:lnTo>
                      <a:pt x="1662" y="314"/>
                    </a:lnTo>
                    <a:lnTo>
                      <a:pt x="1660" y="312"/>
                    </a:lnTo>
                    <a:lnTo>
                      <a:pt x="1660" y="308"/>
                    </a:lnTo>
                    <a:lnTo>
                      <a:pt x="1658" y="302"/>
                    </a:lnTo>
                    <a:lnTo>
                      <a:pt x="1658" y="294"/>
                    </a:lnTo>
                    <a:lnTo>
                      <a:pt x="1658" y="288"/>
                    </a:lnTo>
                    <a:lnTo>
                      <a:pt x="1658" y="286"/>
                    </a:lnTo>
                    <a:lnTo>
                      <a:pt x="1658" y="284"/>
                    </a:lnTo>
                    <a:lnTo>
                      <a:pt x="1658" y="284"/>
                    </a:lnTo>
                    <a:lnTo>
                      <a:pt x="1660" y="280"/>
                    </a:lnTo>
                    <a:lnTo>
                      <a:pt x="1662" y="276"/>
                    </a:lnTo>
                    <a:lnTo>
                      <a:pt x="1664" y="274"/>
                    </a:lnTo>
                    <a:lnTo>
                      <a:pt x="1664" y="274"/>
                    </a:lnTo>
                    <a:lnTo>
                      <a:pt x="1664" y="274"/>
                    </a:lnTo>
                    <a:lnTo>
                      <a:pt x="1664" y="272"/>
                    </a:lnTo>
                    <a:lnTo>
                      <a:pt x="1664" y="268"/>
                    </a:lnTo>
                    <a:lnTo>
                      <a:pt x="1664" y="264"/>
                    </a:lnTo>
                    <a:lnTo>
                      <a:pt x="1664" y="258"/>
                    </a:lnTo>
                    <a:lnTo>
                      <a:pt x="1664" y="250"/>
                    </a:lnTo>
                    <a:lnTo>
                      <a:pt x="1664" y="244"/>
                    </a:lnTo>
                    <a:lnTo>
                      <a:pt x="1664" y="244"/>
                    </a:lnTo>
                    <a:lnTo>
                      <a:pt x="1664" y="244"/>
                    </a:lnTo>
                    <a:lnTo>
                      <a:pt x="1662" y="240"/>
                    </a:lnTo>
                    <a:lnTo>
                      <a:pt x="1662" y="238"/>
                    </a:lnTo>
                    <a:lnTo>
                      <a:pt x="1658" y="232"/>
                    </a:lnTo>
                    <a:lnTo>
                      <a:pt x="1658" y="232"/>
                    </a:lnTo>
                    <a:lnTo>
                      <a:pt x="1658" y="232"/>
                    </a:lnTo>
                    <a:lnTo>
                      <a:pt x="1654" y="226"/>
                    </a:lnTo>
                    <a:lnTo>
                      <a:pt x="1648" y="222"/>
                    </a:lnTo>
                    <a:lnTo>
                      <a:pt x="1648" y="222"/>
                    </a:lnTo>
                    <a:lnTo>
                      <a:pt x="1648" y="222"/>
                    </a:lnTo>
                    <a:lnTo>
                      <a:pt x="1646" y="220"/>
                    </a:lnTo>
                    <a:lnTo>
                      <a:pt x="1646" y="220"/>
                    </a:lnTo>
                    <a:lnTo>
                      <a:pt x="1646" y="220"/>
                    </a:lnTo>
                    <a:lnTo>
                      <a:pt x="1642" y="218"/>
                    </a:lnTo>
                    <a:lnTo>
                      <a:pt x="1642" y="218"/>
                    </a:lnTo>
                    <a:lnTo>
                      <a:pt x="1642" y="218"/>
                    </a:lnTo>
                    <a:lnTo>
                      <a:pt x="1636" y="216"/>
                    </a:lnTo>
                    <a:lnTo>
                      <a:pt x="1630" y="216"/>
                    </a:lnTo>
                    <a:lnTo>
                      <a:pt x="1626" y="216"/>
                    </a:lnTo>
                    <a:lnTo>
                      <a:pt x="1624" y="214"/>
                    </a:lnTo>
                    <a:lnTo>
                      <a:pt x="1618" y="214"/>
                    </a:lnTo>
                    <a:lnTo>
                      <a:pt x="1614" y="212"/>
                    </a:lnTo>
                    <a:lnTo>
                      <a:pt x="1610" y="210"/>
                    </a:lnTo>
                    <a:lnTo>
                      <a:pt x="1606" y="210"/>
                    </a:lnTo>
                    <a:lnTo>
                      <a:pt x="1606" y="210"/>
                    </a:lnTo>
                    <a:lnTo>
                      <a:pt x="1604" y="208"/>
                    </a:lnTo>
                    <a:lnTo>
                      <a:pt x="1604" y="208"/>
                    </a:lnTo>
                    <a:lnTo>
                      <a:pt x="1602" y="206"/>
                    </a:lnTo>
                    <a:lnTo>
                      <a:pt x="1600" y="204"/>
                    </a:lnTo>
                    <a:lnTo>
                      <a:pt x="1598" y="202"/>
                    </a:lnTo>
                    <a:lnTo>
                      <a:pt x="1596" y="200"/>
                    </a:lnTo>
                    <a:lnTo>
                      <a:pt x="1596" y="200"/>
                    </a:lnTo>
                    <a:lnTo>
                      <a:pt x="1596" y="200"/>
                    </a:lnTo>
                    <a:lnTo>
                      <a:pt x="1594" y="198"/>
                    </a:lnTo>
                    <a:lnTo>
                      <a:pt x="1594" y="198"/>
                    </a:lnTo>
                    <a:lnTo>
                      <a:pt x="1594" y="198"/>
                    </a:lnTo>
                    <a:lnTo>
                      <a:pt x="1592" y="196"/>
                    </a:lnTo>
                    <a:lnTo>
                      <a:pt x="1592" y="196"/>
                    </a:lnTo>
                    <a:lnTo>
                      <a:pt x="1592" y="196"/>
                    </a:lnTo>
                    <a:lnTo>
                      <a:pt x="1586" y="196"/>
                    </a:lnTo>
                    <a:lnTo>
                      <a:pt x="1586" y="196"/>
                    </a:lnTo>
                    <a:lnTo>
                      <a:pt x="1582" y="198"/>
                    </a:lnTo>
                    <a:lnTo>
                      <a:pt x="1582" y="198"/>
                    </a:lnTo>
                    <a:lnTo>
                      <a:pt x="1582" y="198"/>
                    </a:lnTo>
                    <a:lnTo>
                      <a:pt x="1578" y="198"/>
                    </a:lnTo>
                    <a:lnTo>
                      <a:pt x="1578" y="198"/>
                    </a:lnTo>
                    <a:lnTo>
                      <a:pt x="1578" y="198"/>
                    </a:lnTo>
                    <a:lnTo>
                      <a:pt x="1576" y="200"/>
                    </a:lnTo>
                    <a:lnTo>
                      <a:pt x="1574" y="200"/>
                    </a:lnTo>
                    <a:lnTo>
                      <a:pt x="1574" y="200"/>
                    </a:lnTo>
                    <a:lnTo>
                      <a:pt x="1574" y="200"/>
                    </a:lnTo>
                    <a:lnTo>
                      <a:pt x="1572" y="202"/>
                    </a:lnTo>
                    <a:lnTo>
                      <a:pt x="1572" y="202"/>
                    </a:lnTo>
                    <a:lnTo>
                      <a:pt x="1572" y="204"/>
                    </a:lnTo>
                    <a:lnTo>
                      <a:pt x="1570" y="206"/>
                    </a:lnTo>
                    <a:lnTo>
                      <a:pt x="1570" y="206"/>
                    </a:lnTo>
                    <a:lnTo>
                      <a:pt x="1570" y="206"/>
                    </a:lnTo>
                    <a:lnTo>
                      <a:pt x="1568" y="210"/>
                    </a:lnTo>
                    <a:lnTo>
                      <a:pt x="1568" y="210"/>
                    </a:lnTo>
                    <a:lnTo>
                      <a:pt x="1568" y="210"/>
                    </a:lnTo>
                    <a:lnTo>
                      <a:pt x="1568" y="214"/>
                    </a:lnTo>
                    <a:lnTo>
                      <a:pt x="1568" y="214"/>
                    </a:lnTo>
                    <a:lnTo>
                      <a:pt x="1568" y="216"/>
                    </a:lnTo>
                    <a:lnTo>
                      <a:pt x="1568" y="216"/>
                    </a:lnTo>
                    <a:lnTo>
                      <a:pt x="1568" y="216"/>
                    </a:lnTo>
                    <a:lnTo>
                      <a:pt x="1570" y="220"/>
                    </a:lnTo>
                    <a:lnTo>
                      <a:pt x="1570" y="222"/>
                    </a:lnTo>
                    <a:lnTo>
                      <a:pt x="1572" y="224"/>
                    </a:lnTo>
                    <a:lnTo>
                      <a:pt x="1574" y="226"/>
                    </a:lnTo>
                    <a:lnTo>
                      <a:pt x="1574" y="228"/>
                    </a:lnTo>
                    <a:lnTo>
                      <a:pt x="1576" y="230"/>
                    </a:lnTo>
                    <a:lnTo>
                      <a:pt x="1576" y="232"/>
                    </a:lnTo>
                    <a:lnTo>
                      <a:pt x="1576" y="232"/>
                    </a:lnTo>
                    <a:lnTo>
                      <a:pt x="1576" y="234"/>
                    </a:lnTo>
                    <a:lnTo>
                      <a:pt x="1574" y="236"/>
                    </a:lnTo>
                    <a:lnTo>
                      <a:pt x="1570" y="238"/>
                    </a:lnTo>
                    <a:lnTo>
                      <a:pt x="1572" y="238"/>
                    </a:lnTo>
                    <a:lnTo>
                      <a:pt x="1570" y="238"/>
                    </a:lnTo>
                    <a:lnTo>
                      <a:pt x="1570" y="238"/>
                    </a:lnTo>
                    <a:lnTo>
                      <a:pt x="1568" y="236"/>
                    </a:lnTo>
                    <a:lnTo>
                      <a:pt x="1566" y="234"/>
                    </a:lnTo>
                    <a:lnTo>
                      <a:pt x="1566" y="234"/>
                    </a:lnTo>
                    <a:lnTo>
                      <a:pt x="1566" y="234"/>
                    </a:lnTo>
                    <a:lnTo>
                      <a:pt x="1564" y="234"/>
                    </a:lnTo>
                    <a:lnTo>
                      <a:pt x="1564" y="234"/>
                    </a:lnTo>
                    <a:lnTo>
                      <a:pt x="1564" y="234"/>
                    </a:lnTo>
                    <a:lnTo>
                      <a:pt x="1562" y="232"/>
                    </a:lnTo>
                    <a:lnTo>
                      <a:pt x="1560" y="232"/>
                    </a:lnTo>
                    <a:lnTo>
                      <a:pt x="1558" y="234"/>
                    </a:lnTo>
                    <a:lnTo>
                      <a:pt x="1556" y="234"/>
                    </a:lnTo>
                    <a:lnTo>
                      <a:pt x="1550" y="234"/>
                    </a:lnTo>
                    <a:lnTo>
                      <a:pt x="1544" y="236"/>
                    </a:lnTo>
                    <a:lnTo>
                      <a:pt x="1542" y="238"/>
                    </a:lnTo>
                    <a:lnTo>
                      <a:pt x="1540" y="238"/>
                    </a:lnTo>
                    <a:lnTo>
                      <a:pt x="1534" y="238"/>
                    </a:lnTo>
                    <a:lnTo>
                      <a:pt x="1530" y="238"/>
                    </a:lnTo>
                    <a:lnTo>
                      <a:pt x="1526" y="238"/>
                    </a:lnTo>
                    <a:lnTo>
                      <a:pt x="1526" y="238"/>
                    </a:lnTo>
                    <a:lnTo>
                      <a:pt x="1524" y="238"/>
                    </a:lnTo>
                    <a:lnTo>
                      <a:pt x="1524" y="238"/>
                    </a:lnTo>
                    <a:lnTo>
                      <a:pt x="1524" y="238"/>
                    </a:lnTo>
                    <a:lnTo>
                      <a:pt x="1522" y="236"/>
                    </a:lnTo>
                    <a:lnTo>
                      <a:pt x="1524" y="238"/>
                    </a:lnTo>
                    <a:lnTo>
                      <a:pt x="1522" y="234"/>
                    </a:lnTo>
                    <a:lnTo>
                      <a:pt x="1522" y="232"/>
                    </a:lnTo>
                    <a:lnTo>
                      <a:pt x="1522" y="230"/>
                    </a:lnTo>
                    <a:lnTo>
                      <a:pt x="1522" y="230"/>
                    </a:lnTo>
                    <a:lnTo>
                      <a:pt x="1522" y="230"/>
                    </a:lnTo>
                    <a:lnTo>
                      <a:pt x="1522" y="228"/>
                    </a:lnTo>
                    <a:lnTo>
                      <a:pt x="1522" y="228"/>
                    </a:lnTo>
                    <a:lnTo>
                      <a:pt x="1520" y="228"/>
                    </a:lnTo>
                    <a:lnTo>
                      <a:pt x="1520" y="228"/>
                    </a:lnTo>
                    <a:lnTo>
                      <a:pt x="1520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4" y="228"/>
                    </a:lnTo>
                    <a:lnTo>
                      <a:pt x="1512" y="230"/>
                    </a:lnTo>
                    <a:lnTo>
                      <a:pt x="1512" y="232"/>
                    </a:lnTo>
                    <a:lnTo>
                      <a:pt x="1510" y="234"/>
                    </a:lnTo>
                    <a:lnTo>
                      <a:pt x="1510" y="234"/>
                    </a:lnTo>
                    <a:lnTo>
                      <a:pt x="1508" y="234"/>
                    </a:lnTo>
                    <a:lnTo>
                      <a:pt x="1508" y="234"/>
                    </a:lnTo>
                    <a:lnTo>
                      <a:pt x="1508" y="234"/>
                    </a:lnTo>
                    <a:lnTo>
                      <a:pt x="1506" y="232"/>
                    </a:lnTo>
                    <a:lnTo>
                      <a:pt x="1504" y="230"/>
                    </a:lnTo>
                    <a:lnTo>
                      <a:pt x="1504" y="228"/>
                    </a:lnTo>
                    <a:lnTo>
                      <a:pt x="1504" y="228"/>
                    </a:lnTo>
                    <a:lnTo>
                      <a:pt x="1504" y="226"/>
                    </a:lnTo>
                    <a:lnTo>
                      <a:pt x="1506" y="220"/>
                    </a:lnTo>
                    <a:lnTo>
                      <a:pt x="1506" y="218"/>
                    </a:lnTo>
                    <a:lnTo>
                      <a:pt x="1506" y="218"/>
                    </a:lnTo>
                    <a:lnTo>
                      <a:pt x="1508" y="218"/>
                    </a:lnTo>
                    <a:lnTo>
                      <a:pt x="1508" y="216"/>
                    </a:lnTo>
                    <a:lnTo>
                      <a:pt x="1508" y="214"/>
                    </a:lnTo>
                    <a:lnTo>
                      <a:pt x="1508" y="212"/>
                    </a:lnTo>
                    <a:lnTo>
                      <a:pt x="1508" y="212"/>
                    </a:lnTo>
                    <a:lnTo>
                      <a:pt x="1506" y="210"/>
                    </a:lnTo>
                    <a:lnTo>
                      <a:pt x="1506" y="208"/>
                    </a:lnTo>
                    <a:lnTo>
                      <a:pt x="1506" y="208"/>
                    </a:lnTo>
                    <a:lnTo>
                      <a:pt x="1504" y="208"/>
                    </a:lnTo>
                    <a:lnTo>
                      <a:pt x="1502" y="206"/>
                    </a:lnTo>
                    <a:lnTo>
                      <a:pt x="1502" y="206"/>
                    </a:lnTo>
                    <a:lnTo>
                      <a:pt x="1502" y="206"/>
                    </a:lnTo>
                    <a:lnTo>
                      <a:pt x="1498" y="206"/>
                    </a:lnTo>
                    <a:lnTo>
                      <a:pt x="1494" y="204"/>
                    </a:lnTo>
                    <a:lnTo>
                      <a:pt x="1488" y="204"/>
                    </a:lnTo>
                    <a:lnTo>
                      <a:pt x="1480" y="204"/>
                    </a:lnTo>
                    <a:lnTo>
                      <a:pt x="1476" y="204"/>
                    </a:lnTo>
                    <a:lnTo>
                      <a:pt x="1472" y="202"/>
                    </a:lnTo>
                    <a:lnTo>
                      <a:pt x="1466" y="202"/>
                    </a:lnTo>
                    <a:lnTo>
                      <a:pt x="1458" y="202"/>
                    </a:lnTo>
                    <a:lnTo>
                      <a:pt x="1452" y="202"/>
                    </a:lnTo>
                    <a:lnTo>
                      <a:pt x="1446" y="202"/>
                    </a:lnTo>
                    <a:lnTo>
                      <a:pt x="1442" y="204"/>
                    </a:lnTo>
                    <a:lnTo>
                      <a:pt x="1438" y="204"/>
                    </a:lnTo>
                    <a:lnTo>
                      <a:pt x="1432" y="204"/>
                    </a:lnTo>
                    <a:lnTo>
                      <a:pt x="1428" y="204"/>
                    </a:lnTo>
                    <a:lnTo>
                      <a:pt x="1424" y="204"/>
                    </a:lnTo>
                    <a:lnTo>
                      <a:pt x="1424" y="204"/>
                    </a:lnTo>
                    <a:lnTo>
                      <a:pt x="1424" y="204"/>
                    </a:lnTo>
                    <a:lnTo>
                      <a:pt x="1422" y="204"/>
                    </a:lnTo>
                    <a:lnTo>
                      <a:pt x="1422" y="204"/>
                    </a:lnTo>
                    <a:lnTo>
                      <a:pt x="1420" y="206"/>
                    </a:lnTo>
                    <a:lnTo>
                      <a:pt x="1420" y="206"/>
                    </a:lnTo>
                    <a:lnTo>
                      <a:pt x="1418" y="202"/>
                    </a:lnTo>
                    <a:lnTo>
                      <a:pt x="1418" y="198"/>
                    </a:lnTo>
                    <a:lnTo>
                      <a:pt x="1416" y="194"/>
                    </a:lnTo>
                    <a:lnTo>
                      <a:pt x="1416" y="194"/>
                    </a:lnTo>
                    <a:lnTo>
                      <a:pt x="1416" y="194"/>
                    </a:lnTo>
                    <a:lnTo>
                      <a:pt x="1416" y="192"/>
                    </a:lnTo>
                    <a:lnTo>
                      <a:pt x="1416" y="192"/>
                    </a:lnTo>
                    <a:lnTo>
                      <a:pt x="1416" y="192"/>
                    </a:lnTo>
                    <a:lnTo>
                      <a:pt x="1414" y="190"/>
                    </a:lnTo>
                    <a:lnTo>
                      <a:pt x="1414" y="190"/>
                    </a:lnTo>
                    <a:lnTo>
                      <a:pt x="1414" y="190"/>
                    </a:lnTo>
                    <a:lnTo>
                      <a:pt x="1414" y="188"/>
                    </a:lnTo>
                    <a:lnTo>
                      <a:pt x="1414" y="188"/>
                    </a:lnTo>
                    <a:lnTo>
                      <a:pt x="1414" y="186"/>
                    </a:lnTo>
                    <a:lnTo>
                      <a:pt x="1414" y="186"/>
                    </a:lnTo>
                    <a:lnTo>
                      <a:pt x="1416" y="186"/>
                    </a:lnTo>
                    <a:lnTo>
                      <a:pt x="1416" y="186"/>
                    </a:lnTo>
                    <a:lnTo>
                      <a:pt x="1416" y="186"/>
                    </a:lnTo>
                    <a:lnTo>
                      <a:pt x="1418" y="184"/>
                    </a:lnTo>
                    <a:lnTo>
                      <a:pt x="1418" y="184"/>
                    </a:lnTo>
                    <a:lnTo>
                      <a:pt x="1420" y="184"/>
                    </a:lnTo>
                    <a:lnTo>
                      <a:pt x="1420" y="182"/>
                    </a:lnTo>
                    <a:lnTo>
                      <a:pt x="1420" y="182"/>
                    </a:lnTo>
                    <a:lnTo>
                      <a:pt x="1420" y="180"/>
                    </a:lnTo>
                    <a:lnTo>
                      <a:pt x="1420" y="178"/>
                    </a:lnTo>
                    <a:lnTo>
                      <a:pt x="1418" y="176"/>
                    </a:lnTo>
                    <a:lnTo>
                      <a:pt x="1418" y="172"/>
                    </a:lnTo>
                    <a:lnTo>
                      <a:pt x="1416" y="168"/>
                    </a:lnTo>
                    <a:lnTo>
                      <a:pt x="1416" y="166"/>
                    </a:lnTo>
                    <a:lnTo>
                      <a:pt x="1414" y="162"/>
                    </a:lnTo>
                    <a:lnTo>
                      <a:pt x="1412" y="160"/>
                    </a:lnTo>
                    <a:lnTo>
                      <a:pt x="1412" y="160"/>
                    </a:lnTo>
                    <a:lnTo>
                      <a:pt x="1412" y="160"/>
                    </a:lnTo>
                    <a:lnTo>
                      <a:pt x="1410" y="158"/>
                    </a:lnTo>
                    <a:lnTo>
                      <a:pt x="1410" y="158"/>
                    </a:lnTo>
                    <a:lnTo>
                      <a:pt x="1410" y="158"/>
                    </a:lnTo>
                    <a:lnTo>
                      <a:pt x="1408" y="156"/>
                    </a:lnTo>
                    <a:lnTo>
                      <a:pt x="1408" y="156"/>
                    </a:lnTo>
                    <a:lnTo>
                      <a:pt x="1408" y="156"/>
                    </a:lnTo>
                    <a:lnTo>
                      <a:pt x="1406" y="156"/>
                    </a:lnTo>
                    <a:lnTo>
                      <a:pt x="1406" y="156"/>
                    </a:lnTo>
                    <a:lnTo>
                      <a:pt x="1406" y="156"/>
                    </a:lnTo>
                    <a:lnTo>
                      <a:pt x="1400" y="156"/>
                    </a:lnTo>
                    <a:lnTo>
                      <a:pt x="1400" y="156"/>
                    </a:lnTo>
                    <a:lnTo>
                      <a:pt x="1398" y="156"/>
                    </a:lnTo>
                    <a:lnTo>
                      <a:pt x="1398" y="156"/>
                    </a:lnTo>
                    <a:lnTo>
                      <a:pt x="1398" y="156"/>
                    </a:lnTo>
                    <a:lnTo>
                      <a:pt x="1396" y="156"/>
                    </a:lnTo>
                    <a:lnTo>
                      <a:pt x="1396" y="156"/>
                    </a:lnTo>
                    <a:lnTo>
                      <a:pt x="1396" y="156"/>
                    </a:lnTo>
                    <a:lnTo>
                      <a:pt x="1394" y="158"/>
                    </a:lnTo>
                    <a:lnTo>
                      <a:pt x="1394" y="158"/>
                    </a:lnTo>
                    <a:lnTo>
                      <a:pt x="1392" y="158"/>
                    </a:lnTo>
                    <a:lnTo>
                      <a:pt x="1392" y="158"/>
                    </a:lnTo>
                    <a:lnTo>
                      <a:pt x="1392" y="158"/>
                    </a:lnTo>
                    <a:lnTo>
                      <a:pt x="1392" y="160"/>
                    </a:lnTo>
                    <a:lnTo>
                      <a:pt x="1390" y="162"/>
                    </a:lnTo>
                    <a:lnTo>
                      <a:pt x="1390" y="162"/>
                    </a:lnTo>
                    <a:lnTo>
                      <a:pt x="1390" y="162"/>
                    </a:lnTo>
                    <a:lnTo>
                      <a:pt x="1390" y="164"/>
                    </a:lnTo>
                    <a:lnTo>
                      <a:pt x="1390" y="164"/>
                    </a:lnTo>
                    <a:lnTo>
                      <a:pt x="1390" y="170"/>
                    </a:lnTo>
                    <a:lnTo>
                      <a:pt x="1390" y="170"/>
                    </a:lnTo>
                    <a:lnTo>
                      <a:pt x="1390" y="170"/>
                    </a:lnTo>
                    <a:lnTo>
                      <a:pt x="1392" y="174"/>
                    </a:lnTo>
                    <a:lnTo>
                      <a:pt x="1392" y="174"/>
                    </a:lnTo>
                    <a:lnTo>
                      <a:pt x="1392" y="176"/>
                    </a:lnTo>
                    <a:lnTo>
                      <a:pt x="1394" y="178"/>
                    </a:lnTo>
                    <a:lnTo>
                      <a:pt x="1394" y="180"/>
                    </a:lnTo>
                    <a:lnTo>
                      <a:pt x="1394" y="180"/>
                    </a:lnTo>
                    <a:lnTo>
                      <a:pt x="1394" y="180"/>
                    </a:lnTo>
                    <a:lnTo>
                      <a:pt x="1396" y="182"/>
                    </a:lnTo>
                    <a:lnTo>
                      <a:pt x="1396" y="182"/>
                    </a:lnTo>
                    <a:lnTo>
                      <a:pt x="1396" y="182"/>
                    </a:lnTo>
                    <a:lnTo>
                      <a:pt x="1398" y="182"/>
                    </a:lnTo>
                    <a:lnTo>
                      <a:pt x="1398" y="182"/>
                    </a:lnTo>
                    <a:lnTo>
                      <a:pt x="1398" y="182"/>
                    </a:lnTo>
                    <a:lnTo>
                      <a:pt x="1404" y="184"/>
                    </a:lnTo>
                    <a:lnTo>
                      <a:pt x="1404" y="184"/>
                    </a:lnTo>
                    <a:lnTo>
                      <a:pt x="1404" y="184"/>
                    </a:lnTo>
                    <a:lnTo>
                      <a:pt x="1404" y="188"/>
                    </a:lnTo>
                    <a:lnTo>
                      <a:pt x="1404" y="188"/>
                    </a:lnTo>
                    <a:lnTo>
                      <a:pt x="1404" y="188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8" y="192"/>
                    </a:lnTo>
                    <a:lnTo>
                      <a:pt x="1408" y="194"/>
                    </a:lnTo>
                    <a:lnTo>
                      <a:pt x="1408" y="196"/>
                    </a:lnTo>
                    <a:lnTo>
                      <a:pt x="1406" y="200"/>
                    </a:lnTo>
                    <a:lnTo>
                      <a:pt x="1406" y="202"/>
                    </a:lnTo>
                    <a:lnTo>
                      <a:pt x="1404" y="204"/>
                    </a:lnTo>
                    <a:lnTo>
                      <a:pt x="1404" y="204"/>
                    </a:lnTo>
                    <a:lnTo>
                      <a:pt x="1402" y="200"/>
                    </a:lnTo>
                    <a:lnTo>
                      <a:pt x="1402" y="196"/>
                    </a:lnTo>
                    <a:lnTo>
                      <a:pt x="1400" y="192"/>
                    </a:lnTo>
                    <a:lnTo>
                      <a:pt x="1396" y="188"/>
                    </a:lnTo>
                    <a:lnTo>
                      <a:pt x="1394" y="186"/>
                    </a:lnTo>
                    <a:lnTo>
                      <a:pt x="1394" y="186"/>
                    </a:lnTo>
                    <a:lnTo>
                      <a:pt x="1394" y="186"/>
                    </a:lnTo>
                    <a:lnTo>
                      <a:pt x="1394" y="184"/>
                    </a:lnTo>
                    <a:lnTo>
                      <a:pt x="1394" y="184"/>
                    </a:lnTo>
                    <a:lnTo>
                      <a:pt x="1392" y="184"/>
                    </a:lnTo>
                    <a:lnTo>
                      <a:pt x="1392" y="184"/>
                    </a:lnTo>
                    <a:lnTo>
                      <a:pt x="1392" y="184"/>
                    </a:lnTo>
                    <a:lnTo>
                      <a:pt x="1390" y="184"/>
                    </a:lnTo>
                    <a:lnTo>
                      <a:pt x="1390" y="184"/>
                    </a:lnTo>
                    <a:lnTo>
                      <a:pt x="1390" y="184"/>
                    </a:lnTo>
                    <a:lnTo>
                      <a:pt x="1388" y="184"/>
                    </a:lnTo>
                    <a:lnTo>
                      <a:pt x="1388" y="184"/>
                    </a:lnTo>
                    <a:lnTo>
                      <a:pt x="1388" y="184"/>
                    </a:lnTo>
                    <a:lnTo>
                      <a:pt x="1386" y="184"/>
                    </a:lnTo>
                    <a:lnTo>
                      <a:pt x="1384" y="186"/>
                    </a:lnTo>
                    <a:lnTo>
                      <a:pt x="1384" y="186"/>
                    </a:lnTo>
                    <a:lnTo>
                      <a:pt x="1384" y="188"/>
                    </a:lnTo>
                    <a:lnTo>
                      <a:pt x="1382" y="190"/>
                    </a:lnTo>
                    <a:lnTo>
                      <a:pt x="1382" y="192"/>
                    </a:lnTo>
                    <a:lnTo>
                      <a:pt x="1382" y="192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78" y="190"/>
                    </a:lnTo>
                    <a:lnTo>
                      <a:pt x="1378" y="190"/>
                    </a:lnTo>
                    <a:lnTo>
                      <a:pt x="1376" y="190"/>
                    </a:lnTo>
                    <a:lnTo>
                      <a:pt x="1374" y="190"/>
                    </a:lnTo>
                    <a:lnTo>
                      <a:pt x="1370" y="188"/>
                    </a:lnTo>
                    <a:lnTo>
                      <a:pt x="1368" y="190"/>
                    </a:lnTo>
                    <a:lnTo>
                      <a:pt x="1364" y="190"/>
                    </a:lnTo>
                    <a:lnTo>
                      <a:pt x="1362" y="190"/>
                    </a:lnTo>
                    <a:lnTo>
                      <a:pt x="1362" y="190"/>
                    </a:lnTo>
                    <a:lnTo>
                      <a:pt x="1362" y="190"/>
                    </a:lnTo>
                    <a:lnTo>
                      <a:pt x="1362" y="192"/>
                    </a:lnTo>
                    <a:lnTo>
                      <a:pt x="1362" y="192"/>
                    </a:lnTo>
                    <a:lnTo>
                      <a:pt x="1360" y="192"/>
                    </a:lnTo>
                    <a:lnTo>
                      <a:pt x="1360" y="192"/>
                    </a:lnTo>
                    <a:lnTo>
                      <a:pt x="1360" y="192"/>
                    </a:lnTo>
                    <a:lnTo>
                      <a:pt x="1360" y="194"/>
                    </a:lnTo>
                    <a:lnTo>
                      <a:pt x="1360" y="196"/>
                    </a:lnTo>
                    <a:lnTo>
                      <a:pt x="1360" y="196"/>
                    </a:lnTo>
                    <a:lnTo>
                      <a:pt x="1360" y="196"/>
                    </a:lnTo>
                    <a:lnTo>
                      <a:pt x="1362" y="198"/>
                    </a:lnTo>
                    <a:lnTo>
                      <a:pt x="1364" y="200"/>
                    </a:lnTo>
                    <a:lnTo>
                      <a:pt x="1366" y="202"/>
                    </a:lnTo>
                    <a:lnTo>
                      <a:pt x="1368" y="204"/>
                    </a:lnTo>
                    <a:lnTo>
                      <a:pt x="1370" y="206"/>
                    </a:lnTo>
                    <a:lnTo>
                      <a:pt x="1368" y="206"/>
                    </a:lnTo>
                    <a:lnTo>
                      <a:pt x="1366" y="208"/>
                    </a:lnTo>
                    <a:lnTo>
                      <a:pt x="1366" y="210"/>
                    </a:lnTo>
                    <a:lnTo>
                      <a:pt x="1362" y="212"/>
                    </a:lnTo>
                    <a:lnTo>
                      <a:pt x="1356" y="214"/>
                    </a:lnTo>
                    <a:lnTo>
                      <a:pt x="1352" y="216"/>
                    </a:lnTo>
                    <a:lnTo>
                      <a:pt x="1352" y="216"/>
                    </a:lnTo>
                    <a:lnTo>
                      <a:pt x="1352" y="216"/>
                    </a:lnTo>
                    <a:lnTo>
                      <a:pt x="1348" y="218"/>
                    </a:lnTo>
                    <a:lnTo>
                      <a:pt x="1348" y="218"/>
                    </a:lnTo>
                    <a:lnTo>
                      <a:pt x="1348" y="218"/>
                    </a:lnTo>
                    <a:lnTo>
                      <a:pt x="1346" y="218"/>
                    </a:lnTo>
                    <a:lnTo>
                      <a:pt x="1346" y="218"/>
                    </a:lnTo>
                    <a:lnTo>
                      <a:pt x="1346" y="220"/>
                    </a:lnTo>
                    <a:lnTo>
                      <a:pt x="1344" y="222"/>
                    </a:lnTo>
                    <a:lnTo>
                      <a:pt x="1344" y="222"/>
                    </a:lnTo>
                    <a:lnTo>
                      <a:pt x="1344" y="222"/>
                    </a:lnTo>
                    <a:lnTo>
                      <a:pt x="1342" y="226"/>
                    </a:lnTo>
                    <a:lnTo>
                      <a:pt x="1342" y="228"/>
                    </a:lnTo>
                    <a:lnTo>
                      <a:pt x="1340" y="230"/>
                    </a:lnTo>
                    <a:lnTo>
                      <a:pt x="1340" y="230"/>
                    </a:lnTo>
                    <a:lnTo>
                      <a:pt x="1338" y="230"/>
                    </a:lnTo>
                    <a:lnTo>
                      <a:pt x="1336" y="232"/>
                    </a:lnTo>
                    <a:lnTo>
                      <a:pt x="1332" y="232"/>
                    </a:lnTo>
                    <a:lnTo>
                      <a:pt x="1330" y="232"/>
                    </a:lnTo>
                    <a:lnTo>
                      <a:pt x="1330" y="232"/>
                    </a:lnTo>
                    <a:lnTo>
                      <a:pt x="1328" y="232"/>
                    </a:lnTo>
                    <a:lnTo>
                      <a:pt x="1326" y="232"/>
                    </a:lnTo>
                    <a:lnTo>
                      <a:pt x="1324" y="234"/>
                    </a:lnTo>
                    <a:lnTo>
                      <a:pt x="1322" y="234"/>
                    </a:lnTo>
                    <a:lnTo>
                      <a:pt x="1320" y="236"/>
                    </a:lnTo>
                    <a:lnTo>
                      <a:pt x="1318" y="238"/>
                    </a:lnTo>
                    <a:lnTo>
                      <a:pt x="1314" y="240"/>
                    </a:lnTo>
                    <a:lnTo>
                      <a:pt x="1310" y="242"/>
                    </a:lnTo>
                    <a:lnTo>
                      <a:pt x="1306" y="244"/>
                    </a:lnTo>
                    <a:lnTo>
                      <a:pt x="1306" y="244"/>
                    </a:lnTo>
                    <a:lnTo>
                      <a:pt x="1306" y="244"/>
                    </a:lnTo>
                    <a:lnTo>
                      <a:pt x="1310" y="238"/>
                    </a:lnTo>
                    <a:lnTo>
                      <a:pt x="1312" y="236"/>
                    </a:lnTo>
                    <a:lnTo>
                      <a:pt x="1314" y="234"/>
                    </a:lnTo>
                    <a:lnTo>
                      <a:pt x="1314" y="232"/>
                    </a:lnTo>
                    <a:lnTo>
                      <a:pt x="1316" y="230"/>
                    </a:lnTo>
                    <a:lnTo>
                      <a:pt x="1318" y="226"/>
                    </a:lnTo>
                    <a:lnTo>
                      <a:pt x="1320" y="224"/>
                    </a:lnTo>
                    <a:lnTo>
                      <a:pt x="1322" y="222"/>
                    </a:lnTo>
                    <a:lnTo>
                      <a:pt x="1322" y="222"/>
                    </a:lnTo>
                    <a:lnTo>
                      <a:pt x="1322" y="222"/>
                    </a:lnTo>
                    <a:lnTo>
                      <a:pt x="1322" y="220"/>
                    </a:lnTo>
                    <a:lnTo>
                      <a:pt x="1322" y="220"/>
                    </a:lnTo>
                    <a:lnTo>
                      <a:pt x="1324" y="220"/>
                    </a:lnTo>
                    <a:lnTo>
                      <a:pt x="1324" y="218"/>
                    </a:lnTo>
                    <a:lnTo>
                      <a:pt x="1324" y="218"/>
                    </a:lnTo>
                    <a:lnTo>
                      <a:pt x="1324" y="216"/>
                    </a:lnTo>
                    <a:lnTo>
                      <a:pt x="1324" y="216"/>
                    </a:lnTo>
                    <a:lnTo>
                      <a:pt x="1324" y="216"/>
                    </a:lnTo>
                    <a:lnTo>
                      <a:pt x="1322" y="214"/>
                    </a:lnTo>
                    <a:lnTo>
                      <a:pt x="1322" y="212"/>
                    </a:lnTo>
                    <a:lnTo>
                      <a:pt x="1322" y="214"/>
                    </a:lnTo>
                    <a:lnTo>
                      <a:pt x="1322" y="214"/>
                    </a:lnTo>
                    <a:lnTo>
                      <a:pt x="1324" y="214"/>
                    </a:lnTo>
                    <a:lnTo>
                      <a:pt x="1326" y="214"/>
                    </a:lnTo>
                    <a:lnTo>
                      <a:pt x="1326" y="214"/>
                    </a:lnTo>
                    <a:lnTo>
                      <a:pt x="1326" y="214"/>
                    </a:lnTo>
                    <a:lnTo>
                      <a:pt x="1330" y="214"/>
                    </a:lnTo>
                    <a:lnTo>
                      <a:pt x="1330" y="214"/>
                    </a:lnTo>
                    <a:lnTo>
                      <a:pt x="1334" y="212"/>
                    </a:lnTo>
                    <a:lnTo>
                      <a:pt x="1334" y="212"/>
                    </a:lnTo>
                    <a:lnTo>
                      <a:pt x="1334" y="212"/>
                    </a:lnTo>
                    <a:lnTo>
                      <a:pt x="1338" y="210"/>
                    </a:lnTo>
                    <a:lnTo>
                      <a:pt x="1338" y="210"/>
                    </a:lnTo>
                    <a:lnTo>
                      <a:pt x="1338" y="210"/>
                    </a:lnTo>
                    <a:lnTo>
                      <a:pt x="1342" y="208"/>
                    </a:lnTo>
                    <a:lnTo>
                      <a:pt x="1342" y="208"/>
                    </a:lnTo>
                    <a:lnTo>
                      <a:pt x="1342" y="208"/>
                    </a:lnTo>
                    <a:lnTo>
                      <a:pt x="1344" y="206"/>
                    </a:lnTo>
                    <a:lnTo>
                      <a:pt x="1344" y="206"/>
                    </a:lnTo>
                    <a:lnTo>
                      <a:pt x="1344" y="206"/>
                    </a:lnTo>
                    <a:lnTo>
                      <a:pt x="1346" y="204"/>
                    </a:lnTo>
                    <a:lnTo>
                      <a:pt x="1348" y="200"/>
                    </a:lnTo>
                    <a:lnTo>
                      <a:pt x="1352" y="196"/>
                    </a:lnTo>
                    <a:lnTo>
                      <a:pt x="1354" y="192"/>
                    </a:lnTo>
                    <a:lnTo>
                      <a:pt x="1356" y="188"/>
                    </a:lnTo>
                    <a:lnTo>
                      <a:pt x="1358" y="184"/>
                    </a:lnTo>
                    <a:lnTo>
                      <a:pt x="1360" y="180"/>
                    </a:lnTo>
                    <a:lnTo>
                      <a:pt x="1364" y="176"/>
                    </a:lnTo>
                    <a:lnTo>
                      <a:pt x="1366" y="174"/>
                    </a:lnTo>
                    <a:lnTo>
                      <a:pt x="1368" y="172"/>
                    </a:lnTo>
                    <a:lnTo>
                      <a:pt x="1374" y="166"/>
                    </a:lnTo>
                    <a:lnTo>
                      <a:pt x="1378" y="160"/>
                    </a:lnTo>
                    <a:lnTo>
                      <a:pt x="1380" y="158"/>
                    </a:lnTo>
                    <a:lnTo>
                      <a:pt x="1384" y="156"/>
                    </a:lnTo>
                    <a:lnTo>
                      <a:pt x="1386" y="154"/>
                    </a:lnTo>
                    <a:lnTo>
                      <a:pt x="1388" y="154"/>
                    </a:lnTo>
                    <a:lnTo>
                      <a:pt x="1394" y="152"/>
                    </a:lnTo>
                    <a:lnTo>
                      <a:pt x="1396" y="150"/>
                    </a:lnTo>
                    <a:lnTo>
                      <a:pt x="1400" y="148"/>
                    </a:lnTo>
                    <a:lnTo>
                      <a:pt x="1402" y="146"/>
                    </a:lnTo>
                    <a:lnTo>
                      <a:pt x="1404" y="144"/>
                    </a:lnTo>
                    <a:lnTo>
                      <a:pt x="1408" y="140"/>
                    </a:lnTo>
                    <a:lnTo>
                      <a:pt x="1412" y="138"/>
                    </a:lnTo>
                    <a:lnTo>
                      <a:pt x="1414" y="134"/>
                    </a:lnTo>
                    <a:lnTo>
                      <a:pt x="1418" y="130"/>
                    </a:lnTo>
                    <a:lnTo>
                      <a:pt x="1422" y="124"/>
                    </a:lnTo>
                    <a:lnTo>
                      <a:pt x="1424" y="120"/>
                    </a:lnTo>
                    <a:lnTo>
                      <a:pt x="1426" y="118"/>
                    </a:lnTo>
                    <a:lnTo>
                      <a:pt x="1428" y="114"/>
                    </a:lnTo>
                    <a:lnTo>
                      <a:pt x="1430" y="112"/>
                    </a:lnTo>
                    <a:lnTo>
                      <a:pt x="1430" y="112"/>
                    </a:lnTo>
                    <a:lnTo>
                      <a:pt x="1430" y="110"/>
                    </a:lnTo>
                    <a:lnTo>
                      <a:pt x="1430" y="108"/>
                    </a:lnTo>
                    <a:lnTo>
                      <a:pt x="1430" y="108"/>
                    </a:lnTo>
                    <a:lnTo>
                      <a:pt x="1430" y="108"/>
                    </a:lnTo>
                    <a:lnTo>
                      <a:pt x="1430" y="106"/>
                    </a:lnTo>
                    <a:lnTo>
                      <a:pt x="1430" y="106"/>
                    </a:lnTo>
                    <a:lnTo>
                      <a:pt x="1428" y="104"/>
                    </a:lnTo>
                    <a:lnTo>
                      <a:pt x="1428" y="102"/>
                    </a:lnTo>
                    <a:lnTo>
                      <a:pt x="1426" y="98"/>
                    </a:lnTo>
                    <a:lnTo>
                      <a:pt x="1426" y="100"/>
                    </a:lnTo>
                    <a:lnTo>
                      <a:pt x="1426" y="98"/>
                    </a:lnTo>
                    <a:lnTo>
                      <a:pt x="1426" y="98"/>
                    </a:lnTo>
                    <a:lnTo>
                      <a:pt x="1426" y="98"/>
                    </a:lnTo>
                    <a:lnTo>
                      <a:pt x="1426" y="96"/>
                    </a:lnTo>
                    <a:lnTo>
                      <a:pt x="1430" y="94"/>
                    </a:lnTo>
                    <a:lnTo>
                      <a:pt x="1432" y="92"/>
                    </a:lnTo>
                    <a:lnTo>
                      <a:pt x="1432" y="92"/>
                    </a:lnTo>
                    <a:lnTo>
                      <a:pt x="1432" y="90"/>
                    </a:lnTo>
                    <a:lnTo>
                      <a:pt x="1434" y="90"/>
                    </a:lnTo>
                    <a:lnTo>
                      <a:pt x="1434" y="90"/>
                    </a:lnTo>
                    <a:lnTo>
                      <a:pt x="1434" y="88"/>
                    </a:lnTo>
                    <a:lnTo>
                      <a:pt x="1434" y="86"/>
                    </a:lnTo>
                    <a:lnTo>
                      <a:pt x="1434" y="86"/>
                    </a:lnTo>
                    <a:lnTo>
                      <a:pt x="1434" y="84"/>
                    </a:lnTo>
                    <a:lnTo>
                      <a:pt x="1434" y="84"/>
                    </a:lnTo>
                    <a:lnTo>
                      <a:pt x="1434" y="82"/>
                    </a:lnTo>
                    <a:lnTo>
                      <a:pt x="1432" y="80"/>
                    </a:lnTo>
                    <a:lnTo>
                      <a:pt x="1430" y="76"/>
                    </a:lnTo>
                    <a:lnTo>
                      <a:pt x="1428" y="70"/>
                    </a:lnTo>
                    <a:lnTo>
                      <a:pt x="1426" y="68"/>
                    </a:lnTo>
                    <a:lnTo>
                      <a:pt x="1426" y="66"/>
                    </a:lnTo>
                    <a:lnTo>
                      <a:pt x="1426" y="66"/>
                    </a:lnTo>
                    <a:lnTo>
                      <a:pt x="1426" y="64"/>
                    </a:lnTo>
                    <a:lnTo>
                      <a:pt x="1426" y="62"/>
                    </a:lnTo>
                    <a:lnTo>
                      <a:pt x="1426" y="56"/>
                    </a:lnTo>
                    <a:lnTo>
                      <a:pt x="1426" y="54"/>
                    </a:lnTo>
                    <a:lnTo>
                      <a:pt x="1428" y="52"/>
                    </a:lnTo>
                    <a:lnTo>
                      <a:pt x="1428" y="50"/>
                    </a:lnTo>
                    <a:lnTo>
                      <a:pt x="1428" y="50"/>
                    </a:lnTo>
                    <a:lnTo>
                      <a:pt x="1426" y="48"/>
                    </a:lnTo>
                    <a:lnTo>
                      <a:pt x="1426" y="48"/>
                    </a:lnTo>
                    <a:lnTo>
                      <a:pt x="1426" y="48"/>
                    </a:lnTo>
                    <a:lnTo>
                      <a:pt x="1424" y="46"/>
                    </a:lnTo>
                    <a:lnTo>
                      <a:pt x="1424" y="46"/>
                    </a:lnTo>
                    <a:lnTo>
                      <a:pt x="1424" y="46"/>
                    </a:lnTo>
                    <a:lnTo>
                      <a:pt x="1422" y="46"/>
                    </a:lnTo>
                    <a:lnTo>
                      <a:pt x="1420" y="46"/>
                    </a:lnTo>
                    <a:lnTo>
                      <a:pt x="1418" y="46"/>
                    </a:lnTo>
                    <a:lnTo>
                      <a:pt x="1416" y="48"/>
                    </a:lnTo>
                    <a:lnTo>
                      <a:pt x="1410" y="48"/>
                    </a:lnTo>
                    <a:lnTo>
                      <a:pt x="1408" y="50"/>
                    </a:lnTo>
                    <a:lnTo>
                      <a:pt x="1408" y="50"/>
                    </a:lnTo>
                    <a:lnTo>
                      <a:pt x="1408" y="48"/>
                    </a:lnTo>
                    <a:lnTo>
                      <a:pt x="1408" y="46"/>
                    </a:lnTo>
                    <a:lnTo>
                      <a:pt x="1408" y="42"/>
                    </a:lnTo>
                    <a:lnTo>
                      <a:pt x="1408" y="42"/>
                    </a:lnTo>
                    <a:lnTo>
                      <a:pt x="1408" y="42"/>
                    </a:lnTo>
                    <a:lnTo>
                      <a:pt x="1406" y="42"/>
                    </a:lnTo>
                    <a:lnTo>
                      <a:pt x="1406" y="42"/>
                    </a:lnTo>
                    <a:lnTo>
                      <a:pt x="1406" y="40"/>
                    </a:lnTo>
                    <a:lnTo>
                      <a:pt x="1404" y="38"/>
                    </a:lnTo>
                    <a:lnTo>
                      <a:pt x="1402" y="36"/>
                    </a:lnTo>
                    <a:lnTo>
                      <a:pt x="1400" y="34"/>
                    </a:lnTo>
                    <a:lnTo>
                      <a:pt x="1400" y="34"/>
                    </a:lnTo>
                    <a:lnTo>
                      <a:pt x="1400" y="34"/>
                    </a:lnTo>
                    <a:lnTo>
                      <a:pt x="1398" y="32"/>
                    </a:lnTo>
                    <a:lnTo>
                      <a:pt x="1394" y="32"/>
                    </a:lnTo>
                    <a:lnTo>
                      <a:pt x="1392" y="30"/>
                    </a:lnTo>
                    <a:lnTo>
                      <a:pt x="1388" y="30"/>
                    </a:lnTo>
                    <a:lnTo>
                      <a:pt x="1386" y="28"/>
                    </a:lnTo>
                    <a:lnTo>
                      <a:pt x="1384" y="28"/>
                    </a:lnTo>
                    <a:lnTo>
                      <a:pt x="1378" y="28"/>
                    </a:lnTo>
                    <a:lnTo>
                      <a:pt x="1372" y="26"/>
                    </a:lnTo>
                    <a:lnTo>
                      <a:pt x="1366" y="26"/>
                    </a:lnTo>
                    <a:lnTo>
                      <a:pt x="1358" y="26"/>
                    </a:lnTo>
                    <a:lnTo>
                      <a:pt x="1352" y="26"/>
                    </a:lnTo>
                    <a:lnTo>
                      <a:pt x="1348" y="24"/>
                    </a:lnTo>
                    <a:lnTo>
                      <a:pt x="1346" y="26"/>
                    </a:lnTo>
                    <a:lnTo>
                      <a:pt x="1344" y="26"/>
                    </a:lnTo>
                    <a:lnTo>
                      <a:pt x="1344" y="26"/>
                    </a:lnTo>
                    <a:lnTo>
                      <a:pt x="1340" y="26"/>
                    </a:lnTo>
                    <a:lnTo>
                      <a:pt x="1340" y="26"/>
                    </a:lnTo>
                    <a:lnTo>
                      <a:pt x="1340" y="26"/>
                    </a:lnTo>
                    <a:lnTo>
                      <a:pt x="1338" y="28"/>
                    </a:lnTo>
                    <a:lnTo>
                      <a:pt x="1338" y="28"/>
                    </a:lnTo>
                    <a:lnTo>
                      <a:pt x="1338" y="28"/>
                    </a:lnTo>
                    <a:lnTo>
                      <a:pt x="1336" y="30"/>
                    </a:lnTo>
                    <a:lnTo>
                      <a:pt x="1336" y="30"/>
                    </a:lnTo>
                    <a:lnTo>
                      <a:pt x="1336" y="30"/>
                    </a:lnTo>
                    <a:lnTo>
                      <a:pt x="1336" y="32"/>
                    </a:lnTo>
                    <a:lnTo>
                      <a:pt x="1336" y="32"/>
                    </a:lnTo>
                    <a:lnTo>
                      <a:pt x="1336" y="32"/>
                    </a:lnTo>
                    <a:lnTo>
                      <a:pt x="1336" y="34"/>
                    </a:lnTo>
                    <a:lnTo>
                      <a:pt x="1336" y="34"/>
                    </a:lnTo>
                    <a:lnTo>
                      <a:pt x="1336" y="34"/>
                    </a:lnTo>
                    <a:lnTo>
                      <a:pt x="1334" y="36"/>
                    </a:lnTo>
                    <a:lnTo>
                      <a:pt x="1332" y="36"/>
                    </a:lnTo>
                    <a:lnTo>
                      <a:pt x="1326" y="38"/>
                    </a:lnTo>
                    <a:lnTo>
                      <a:pt x="1326" y="38"/>
                    </a:lnTo>
                    <a:lnTo>
                      <a:pt x="1322" y="38"/>
                    </a:lnTo>
                    <a:lnTo>
                      <a:pt x="1322" y="38"/>
                    </a:lnTo>
                    <a:lnTo>
                      <a:pt x="1322" y="38"/>
                    </a:lnTo>
                    <a:lnTo>
                      <a:pt x="1322" y="36"/>
                    </a:lnTo>
                    <a:lnTo>
                      <a:pt x="1324" y="36"/>
                    </a:lnTo>
                    <a:lnTo>
                      <a:pt x="1324" y="36"/>
                    </a:lnTo>
                    <a:lnTo>
                      <a:pt x="1324" y="36"/>
                    </a:lnTo>
                    <a:lnTo>
                      <a:pt x="1326" y="34"/>
                    </a:lnTo>
                    <a:lnTo>
                      <a:pt x="1326" y="30"/>
                    </a:lnTo>
                    <a:lnTo>
                      <a:pt x="1328" y="28"/>
                    </a:lnTo>
                    <a:lnTo>
                      <a:pt x="1330" y="24"/>
                    </a:lnTo>
                    <a:lnTo>
                      <a:pt x="1330" y="20"/>
                    </a:lnTo>
                    <a:lnTo>
                      <a:pt x="1332" y="16"/>
                    </a:lnTo>
                    <a:lnTo>
                      <a:pt x="1332" y="12"/>
                    </a:lnTo>
                    <a:lnTo>
                      <a:pt x="1332" y="10"/>
                    </a:lnTo>
                    <a:lnTo>
                      <a:pt x="1332" y="10"/>
                    </a:lnTo>
                    <a:lnTo>
                      <a:pt x="1332" y="8"/>
                    </a:lnTo>
                    <a:lnTo>
                      <a:pt x="1332" y="6"/>
                    </a:lnTo>
                    <a:lnTo>
                      <a:pt x="1332" y="6"/>
                    </a:lnTo>
                    <a:lnTo>
                      <a:pt x="1332" y="6"/>
                    </a:lnTo>
                    <a:lnTo>
                      <a:pt x="1330" y="4"/>
                    </a:lnTo>
                    <a:lnTo>
                      <a:pt x="1330" y="4"/>
                    </a:lnTo>
                    <a:lnTo>
                      <a:pt x="1330" y="2"/>
                    </a:lnTo>
                    <a:lnTo>
                      <a:pt x="1328" y="2"/>
                    </a:lnTo>
                    <a:lnTo>
                      <a:pt x="1328" y="2"/>
                    </a:lnTo>
                    <a:lnTo>
                      <a:pt x="1326" y="2"/>
                    </a:lnTo>
                    <a:lnTo>
                      <a:pt x="1324" y="0"/>
                    </a:lnTo>
                    <a:lnTo>
                      <a:pt x="1324" y="0"/>
                    </a:lnTo>
                    <a:lnTo>
                      <a:pt x="1322" y="0"/>
                    </a:lnTo>
                    <a:lnTo>
                      <a:pt x="1318" y="0"/>
                    </a:lnTo>
                    <a:lnTo>
                      <a:pt x="1314" y="0"/>
                    </a:lnTo>
                    <a:lnTo>
                      <a:pt x="1310" y="0"/>
                    </a:lnTo>
                    <a:lnTo>
                      <a:pt x="1304" y="0"/>
                    </a:lnTo>
                    <a:lnTo>
                      <a:pt x="1302" y="0"/>
                    </a:lnTo>
                    <a:lnTo>
                      <a:pt x="1298" y="0"/>
                    </a:lnTo>
                    <a:lnTo>
                      <a:pt x="1294" y="0"/>
                    </a:lnTo>
                    <a:lnTo>
                      <a:pt x="1290" y="0"/>
                    </a:lnTo>
                    <a:lnTo>
                      <a:pt x="1280" y="0"/>
                    </a:lnTo>
                    <a:lnTo>
                      <a:pt x="1270" y="0"/>
                    </a:lnTo>
                    <a:lnTo>
                      <a:pt x="1260" y="0"/>
                    </a:lnTo>
                    <a:lnTo>
                      <a:pt x="1250" y="0"/>
                    </a:lnTo>
                    <a:lnTo>
                      <a:pt x="1246" y="0"/>
                    </a:lnTo>
                    <a:lnTo>
                      <a:pt x="1242" y="0"/>
                    </a:lnTo>
                    <a:lnTo>
                      <a:pt x="1240" y="0"/>
                    </a:lnTo>
                    <a:lnTo>
                      <a:pt x="1236" y="0"/>
                    </a:lnTo>
                    <a:lnTo>
                      <a:pt x="1234" y="0"/>
                    </a:lnTo>
                    <a:lnTo>
                      <a:pt x="1232" y="0"/>
                    </a:lnTo>
                    <a:lnTo>
                      <a:pt x="1232" y="0"/>
                    </a:lnTo>
                    <a:lnTo>
                      <a:pt x="1232" y="0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28" y="2"/>
                    </a:lnTo>
                    <a:lnTo>
                      <a:pt x="1228" y="2"/>
                    </a:lnTo>
                    <a:lnTo>
                      <a:pt x="1228" y="6"/>
                    </a:lnTo>
                    <a:lnTo>
                      <a:pt x="1228" y="6"/>
                    </a:lnTo>
                    <a:lnTo>
                      <a:pt x="1228" y="6"/>
                    </a:lnTo>
                    <a:lnTo>
                      <a:pt x="1228" y="8"/>
                    </a:lnTo>
                    <a:lnTo>
                      <a:pt x="1230" y="8"/>
                    </a:lnTo>
                    <a:lnTo>
                      <a:pt x="1230" y="10"/>
                    </a:lnTo>
                    <a:lnTo>
                      <a:pt x="1230" y="10"/>
                    </a:lnTo>
                    <a:lnTo>
                      <a:pt x="1230" y="12"/>
                    </a:lnTo>
                    <a:lnTo>
                      <a:pt x="1230" y="14"/>
                    </a:lnTo>
                    <a:lnTo>
                      <a:pt x="1232" y="16"/>
                    </a:lnTo>
                    <a:lnTo>
                      <a:pt x="1232" y="20"/>
                    </a:lnTo>
                    <a:lnTo>
                      <a:pt x="1234" y="24"/>
                    </a:lnTo>
                    <a:lnTo>
                      <a:pt x="1234" y="26"/>
                    </a:lnTo>
                    <a:lnTo>
                      <a:pt x="1234" y="28"/>
                    </a:lnTo>
                    <a:lnTo>
                      <a:pt x="1234" y="28"/>
                    </a:lnTo>
                    <a:lnTo>
                      <a:pt x="1232" y="30"/>
                    </a:lnTo>
                    <a:lnTo>
                      <a:pt x="1232" y="36"/>
                    </a:lnTo>
                    <a:lnTo>
                      <a:pt x="1232" y="34"/>
                    </a:lnTo>
                    <a:lnTo>
                      <a:pt x="1228" y="38"/>
                    </a:lnTo>
                    <a:lnTo>
                      <a:pt x="1230" y="38"/>
                    </a:lnTo>
                    <a:lnTo>
                      <a:pt x="1228" y="40"/>
                    </a:lnTo>
                    <a:lnTo>
                      <a:pt x="1228" y="40"/>
                    </a:lnTo>
                    <a:lnTo>
                      <a:pt x="1226" y="40"/>
                    </a:lnTo>
                    <a:lnTo>
                      <a:pt x="1224" y="42"/>
                    </a:lnTo>
                    <a:lnTo>
                      <a:pt x="1216" y="42"/>
                    </a:lnTo>
                    <a:lnTo>
                      <a:pt x="1214" y="42"/>
                    </a:lnTo>
                    <a:lnTo>
                      <a:pt x="1214" y="42"/>
                    </a:lnTo>
                    <a:lnTo>
                      <a:pt x="1212" y="42"/>
                    </a:lnTo>
                    <a:lnTo>
                      <a:pt x="1210" y="42"/>
                    </a:lnTo>
                    <a:lnTo>
                      <a:pt x="1210" y="42"/>
                    </a:lnTo>
                    <a:lnTo>
                      <a:pt x="1210" y="42"/>
                    </a:lnTo>
                    <a:lnTo>
                      <a:pt x="1208" y="44"/>
                    </a:lnTo>
                    <a:lnTo>
                      <a:pt x="1208" y="44"/>
                    </a:lnTo>
                    <a:lnTo>
                      <a:pt x="1206" y="44"/>
                    </a:lnTo>
                    <a:lnTo>
                      <a:pt x="1206" y="46"/>
                    </a:lnTo>
                    <a:lnTo>
                      <a:pt x="1206" y="46"/>
                    </a:lnTo>
                    <a:lnTo>
                      <a:pt x="1206" y="48"/>
                    </a:lnTo>
                    <a:lnTo>
                      <a:pt x="1206" y="50"/>
                    </a:lnTo>
                    <a:lnTo>
                      <a:pt x="1206" y="50"/>
                    </a:lnTo>
                    <a:lnTo>
                      <a:pt x="1206" y="52"/>
                    </a:lnTo>
                    <a:lnTo>
                      <a:pt x="1208" y="54"/>
                    </a:lnTo>
                    <a:lnTo>
                      <a:pt x="1208" y="58"/>
                    </a:lnTo>
                    <a:lnTo>
                      <a:pt x="1210" y="60"/>
                    </a:lnTo>
                    <a:lnTo>
                      <a:pt x="1210" y="60"/>
                    </a:lnTo>
                    <a:lnTo>
                      <a:pt x="1208" y="60"/>
                    </a:lnTo>
                    <a:lnTo>
                      <a:pt x="1204" y="58"/>
                    </a:lnTo>
                    <a:lnTo>
                      <a:pt x="1204" y="58"/>
                    </a:lnTo>
                    <a:lnTo>
                      <a:pt x="1204" y="58"/>
                    </a:lnTo>
                    <a:lnTo>
                      <a:pt x="1202" y="56"/>
                    </a:lnTo>
                    <a:lnTo>
                      <a:pt x="1202" y="56"/>
                    </a:lnTo>
                    <a:lnTo>
                      <a:pt x="1202" y="56"/>
                    </a:lnTo>
                    <a:lnTo>
                      <a:pt x="1200" y="56"/>
                    </a:lnTo>
                    <a:lnTo>
                      <a:pt x="1198" y="56"/>
                    </a:lnTo>
                    <a:lnTo>
                      <a:pt x="1196" y="56"/>
                    </a:lnTo>
                    <a:lnTo>
                      <a:pt x="1192" y="56"/>
                    </a:lnTo>
                    <a:lnTo>
                      <a:pt x="1188" y="58"/>
                    </a:lnTo>
                    <a:lnTo>
                      <a:pt x="1182" y="62"/>
                    </a:lnTo>
                    <a:lnTo>
                      <a:pt x="1176" y="64"/>
                    </a:lnTo>
                    <a:lnTo>
                      <a:pt x="1176" y="64"/>
                    </a:lnTo>
                    <a:lnTo>
                      <a:pt x="1174" y="64"/>
                    </a:lnTo>
                    <a:lnTo>
                      <a:pt x="1172" y="66"/>
                    </a:lnTo>
                    <a:lnTo>
                      <a:pt x="1170" y="70"/>
                    </a:lnTo>
                    <a:lnTo>
                      <a:pt x="1166" y="74"/>
                    </a:lnTo>
                    <a:lnTo>
                      <a:pt x="1164" y="76"/>
                    </a:lnTo>
                    <a:lnTo>
                      <a:pt x="1162" y="78"/>
                    </a:lnTo>
                    <a:lnTo>
                      <a:pt x="1160" y="78"/>
                    </a:lnTo>
                    <a:lnTo>
                      <a:pt x="1160" y="78"/>
                    </a:lnTo>
                    <a:lnTo>
                      <a:pt x="1158" y="78"/>
                    </a:lnTo>
                    <a:lnTo>
                      <a:pt x="1158" y="78"/>
                    </a:lnTo>
                    <a:lnTo>
                      <a:pt x="1158" y="78"/>
                    </a:lnTo>
                    <a:lnTo>
                      <a:pt x="1156" y="76"/>
                    </a:lnTo>
                    <a:lnTo>
                      <a:pt x="1152" y="72"/>
                    </a:lnTo>
                    <a:lnTo>
                      <a:pt x="1150" y="70"/>
                    </a:lnTo>
                    <a:lnTo>
                      <a:pt x="1148" y="66"/>
                    </a:lnTo>
                    <a:lnTo>
                      <a:pt x="1144" y="62"/>
                    </a:lnTo>
                    <a:lnTo>
                      <a:pt x="1142" y="58"/>
                    </a:lnTo>
                    <a:lnTo>
                      <a:pt x="1142" y="58"/>
                    </a:lnTo>
                    <a:lnTo>
                      <a:pt x="1142" y="58"/>
                    </a:lnTo>
                    <a:lnTo>
                      <a:pt x="1140" y="58"/>
                    </a:lnTo>
                    <a:lnTo>
                      <a:pt x="1140" y="58"/>
                    </a:lnTo>
                    <a:lnTo>
                      <a:pt x="1140" y="58"/>
                    </a:lnTo>
                    <a:lnTo>
                      <a:pt x="1140" y="56"/>
                    </a:lnTo>
                    <a:lnTo>
                      <a:pt x="1140" y="56"/>
                    </a:lnTo>
                    <a:lnTo>
                      <a:pt x="1138" y="56"/>
                    </a:lnTo>
                    <a:lnTo>
                      <a:pt x="1136" y="56"/>
                    </a:lnTo>
                    <a:lnTo>
                      <a:pt x="1136" y="56"/>
                    </a:lnTo>
                    <a:lnTo>
                      <a:pt x="1136" y="56"/>
                    </a:lnTo>
                    <a:lnTo>
                      <a:pt x="1134" y="56"/>
                    </a:lnTo>
                    <a:lnTo>
                      <a:pt x="1134" y="56"/>
                    </a:lnTo>
                    <a:lnTo>
                      <a:pt x="1132" y="56"/>
                    </a:lnTo>
                    <a:lnTo>
                      <a:pt x="1132" y="58"/>
                    </a:lnTo>
                    <a:lnTo>
                      <a:pt x="1132" y="58"/>
                    </a:lnTo>
                    <a:lnTo>
                      <a:pt x="1130" y="58"/>
                    </a:lnTo>
                    <a:lnTo>
                      <a:pt x="1130" y="60"/>
                    </a:lnTo>
                    <a:lnTo>
                      <a:pt x="1130" y="60"/>
                    </a:lnTo>
                    <a:lnTo>
                      <a:pt x="1130" y="60"/>
                    </a:lnTo>
                    <a:lnTo>
                      <a:pt x="1126" y="62"/>
                    </a:lnTo>
                    <a:lnTo>
                      <a:pt x="1124" y="66"/>
                    </a:lnTo>
                    <a:lnTo>
                      <a:pt x="1120" y="70"/>
                    </a:lnTo>
                    <a:lnTo>
                      <a:pt x="1118" y="74"/>
                    </a:lnTo>
                    <a:lnTo>
                      <a:pt x="1114" y="78"/>
                    </a:lnTo>
                    <a:lnTo>
                      <a:pt x="1112" y="82"/>
                    </a:lnTo>
                    <a:lnTo>
                      <a:pt x="1112" y="82"/>
                    </a:lnTo>
                    <a:lnTo>
                      <a:pt x="1112" y="82"/>
                    </a:lnTo>
                    <a:lnTo>
                      <a:pt x="1112" y="84"/>
                    </a:lnTo>
                    <a:lnTo>
                      <a:pt x="1112" y="84"/>
                    </a:lnTo>
                    <a:lnTo>
                      <a:pt x="1112" y="84"/>
                    </a:lnTo>
                    <a:lnTo>
                      <a:pt x="1112" y="86"/>
                    </a:lnTo>
                    <a:lnTo>
                      <a:pt x="1112" y="86"/>
                    </a:lnTo>
                    <a:lnTo>
                      <a:pt x="1112" y="90"/>
                    </a:lnTo>
                    <a:lnTo>
                      <a:pt x="1112" y="92"/>
                    </a:lnTo>
                    <a:lnTo>
                      <a:pt x="1112" y="92"/>
                    </a:lnTo>
                    <a:lnTo>
                      <a:pt x="1112" y="92"/>
                    </a:lnTo>
                    <a:lnTo>
                      <a:pt x="1110" y="92"/>
                    </a:lnTo>
                    <a:lnTo>
                      <a:pt x="1108" y="94"/>
                    </a:lnTo>
                    <a:lnTo>
                      <a:pt x="1106" y="94"/>
                    </a:lnTo>
                    <a:lnTo>
                      <a:pt x="1102" y="94"/>
                    </a:lnTo>
                    <a:lnTo>
                      <a:pt x="1096" y="94"/>
                    </a:lnTo>
                    <a:lnTo>
                      <a:pt x="1086" y="94"/>
                    </a:lnTo>
                    <a:lnTo>
                      <a:pt x="1084" y="94"/>
                    </a:lnTo>
                    <a:lnTo>
                      <a:pt x="1080" y="94"/>
                    </a:lnTo>
                    <a:lnTo>
                      <a:pt x="1076" y="94"/>
                    </a:lnTo>
                    <a:lnTo>
                      <a:pt x="1072" y="94"/>
                    </a:lnTo>
                    <a:lnTo>
                      <a:pt x="1070" y="94"/>
                    </a:lnTo>
                    <a:lnTo>
                      <a:pt x="1064" y="96"/>
                    </a:lnTo>
                    <a:lnTo>
                      <a:pt x="1056" y="98"/>
                    </a:lnTo>
                    <a:lnTo>
                      <a:pt x="1054" y="98"/>
                    </a:lnTo>
                    <a:lnTo>
                      <a:pt x="1050" y="100"/>
                    </a:lnTo>
                    <a:lnTo>
                      <a:pt x="1050" y="100"/>
                    </a:lnTo>
                    <a:lnTo>
                      <a:pt x="1050" y="100"/>
                    </a:lnTo>
                    <a:lnTo>
                      <a:pt x="1048" y="102"/>
                    </a:lnTo>
                    <a:lnTo>
                      <a:pt x="1048" y="102"/>
                    </a:lnTo>
                    <a:lnTo>
                      <a:pt x="1048" y="102"/>
                    </a:lnTo>
                    <a:lnTo>
                      <a:pt x="1046" y="106"/>
                    </a:lnTo>
                    <a:lnTo>
                      <a:pt x="1042" y="110"/>
                    </a:lnTo>
                    <a:lnTo>
                      <a:pt x="1040" y="116"/>
                    </a:lnTo>
                    <a:lnTo>
                      <a:pt x="1038" y="118"/>
                    </a:lnTo>
                    <a:lnTo>
                      <a:pt x="1038" y="118"/>
                    </a:lnTo>
                    <a:lnTo>
                      <a:pt x="1036" y="120"/>
                    </a:lnTo>
                    <a:lnTo>
                      <a:pt x="1036" y="120"/>
                    </a:lnTo>
                    <a:lnTo>
                      <a:pt x="1032" y="122"/>
                    </a:lnTo>
                    <a:lnTo>
                      <a:pt x="1028" y="122"/>
                    </a:lnTo>
                    <a:lnTo>
                      <a:pt x="1028" y="122"/>
                    </a:lnTo>
                    <a:lnTo>
                      <a:pt x="1028" y="124"/>
                    </a:lnTo>
                    <a:lnTo>
                      <a:pt x="1026" y="124"/>
                    </a:lnTo>
                    <a:lnTo>
                      <a:pt x="1026" y="124"/>
                    </a:lnTo>
                    <a:lnTo>
                      <a:pt x="1026" y="124"/>
                    </a:lnTo>
                    <a:lnTo>
                      <a:pt x="1024" y="126"/>
                    </a:lnTo>
                    <a:lnTo>
                      <a:pt x="1024" y="126"/>
                    </a:lnTo>
                    <a:lnTo>
                      <a:pt x="1024" y="126"/>
                    </a:lnTo>
                    <a:lnTo>
                      <a:pt x="1024" y="128"/>
                    </a:lnTo>
                    <a:lnTo>
                      <a:pt x="1024" y="128"/>
                    </a:lnTo>
                    <a:lnTo>
                      <a:pt x="1024" y="130"/>
                    </a:lnTo>
                    <a:lnTo>
                      <a:pt x="1022" y="132"/>
                    </a:lnTo>
                    <a:lnTo>
                      <a:pt x="1024" y="136"/>
                    </a:lnTo>
                    <a:lnTo>
                      <a:pt x="1024" y="138"/>
                    </a:lnTo>
                    <a:lnTo>
                      <a:pt x="1024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18" y="140"/>
                    </a:lnTo>
                    <a:lnTo>
                      <a:pt x="1016" y="140"/>
                    </a:lnTo>
                    <a:lnTo>
                      <a:pt x="1012" y="140"/>
                    </a:lnTo>
                    <a:lnTo>
                      <a:pt x="1010" y="140"/>
                    </a:lnTo>
                    <a:lnTo>
                      <a:pt x="1010" y="140"/>
                    </a:lnTo>
                    <a:lnTo>
                      <a:pt x="1008" y="140"/>
                    </a:lnTo>
                    <a:lnTo>
                      <a:pt x="1008" y="140"/>
                    </a:lnTo>
                    <a:lnTo>
                      <a:pt x="1006" y="140"/>
                    </a:lnTo>
                    <a:lnTo>
                      <a:pt x="1006" y="140"/>
                    </a:lnTo>
                    <a:lnTo>
                      <a:pt x="1006" y="140"/>
                    </a:lnTo>
                    <a:lnTo>
                      <a:pt x="1004" y="142"/>
                    </a:lnTo>
                    <a:lnTo>
                      <a:pt x="1004" y="142"/>
                    </a:lnTo>
                    <a:lnTo>
                      <a:pt x="1004" y="142"/>
                    </a:lnTo>
                    <a:lnTo>
                      <a:pt x="1004" y="144"/>
                    </a:lnTo>
                    <a:lnTo>
                      <a:pt x="1004" y="146"/>
                    </a:lnTo>
                    <a:lnTo>
                      <a:pt x="1004" y="146"/>
                    </a:lnTo>
                    <a:lnTo>
                      <a:pt x="1004" y="146"/>
                    </a:lnTo>
                    <a:lnTo>
                      <a:pt x="1004" y="148"/>
                    </a:lnTo>
                    <a:lnTo>
                      <a:pt x="1006" y="150"/>
                    </a:lnTo>
                    <a:lnTo>
                      <a:pt x="1008" y="154"/>
                    </a:lnTo>
                    <a:lnTo>
                      <a:pt x="1010" y="156"/>
                    </a:lnTo>
                    <a:lnTo>
                      <a:pt x="1010" y="158"/>
                    </a:lnTo>
                    <a:lnTo>
                      <a:pt x="1012" y="162"/>
                    </a:lnTo>
                    <a:lnTo>
                      <a:pt x="1014" y="166"/>
                    </a:lnTo>
                    <a:lnTo>
                      <a:pt x="1016" y="172"/>
                    </a:lnTo>
                    <a:lnTo>
                      <a:pt x="1018" y="176"/>
                    </a:lnTo>
                    <a:lnTo>
                      <a:pt x="1020" y="180"/>
                    </a:lnTo>
                    <a:lnTo>
                      <a:pt x="1022" y="184"/>
                    </a:lnTo>
                    <a:lnTo>
                      <a:pt x="1022" y="184"/>
                    </a:lnTo>
                    <a:lnTo>
                      <a:pt x="1022" y="186"/>
                    </a:lnTo>
                    <a:lnTo>
                      <a:pt x="1022" y="188"/>
                    </a:lnTo>
                    <a:lnTo>
                      <a:pt x="1022" y="188"/>
                    </a:lnTo>
                    <a:lnTo>
                      <a:pt x="1020" y="190"/>
                    </a:lnTo>
                    <a:lnTo>
                      <a:pt x="1020" y="188"/>
                    </a:lnTo>
                    <a:lnTo>
                      <a:pt x="1018" y="190"/>
                    </a:lnTo>
                    <a:lnTo>
                      <a:pt x="1016" y="192"/>
                    </a:lnTo>
                    <a:lnTo>
                      <a:pt x="1014" y="192"/>
                    </a:lnTo>
                    <a:lnTo>
                      <a:pt x="1008" y="194"/>
                    </a:lnTo>
                    <a:lnTo>
                      <a:pt x="1004" y="196"/>
                    </a:lnTo>
                    <a:lnTo>
                      <a:pt x="1002" y="196"/>
                    </a:lnTo>
                    <a:lnTo>
                      <a:pt x="996" y="198"/>
                    </a:lnTo>
                    <a:lnTo>
                      <a:pt x="990" y="198"/>
                    </a:lnTo>
                    <a:lnTo>
                      <a:pt x="984" y="200"/>
                    </a:lnTo>
                    <a:lnTo>
                      <a:pt x="978" y="202"/>
                    </a:lnTo>
                    <a:lnTo>
                      <a:pt x="972" y="204"/>
                    </a:lnTo>
                    <a:lnTo>
                      <a:pt x="968" y="206"/>
                    </a:lnTo>
                    <a:lnTo>
                      <a:pt x="964" y="208"/>
                    </a:lnTo>
                    <a:lnTo>
                      <a:pt x="962" y="208"/>
                    </a:lnTo>
                    <a:lnTo>
                      <a:pt x="960" y="208"/>
                    </a:lnTo>
                    <a:lnTo>
                      <a:pt x="956" y="208"/>
                    </a:lnTo>
                    <a:lnTo>
                      <a:pt x="952" y="208"/>
                    </a:lnTo>
                    <a:lnTo>
                      <a:pt x="944" y="208"/>
                    </a:lnTo>
                    <a:lnTo>
                      <a:pt x="940" y="208"/>
                    </a:lnTo>
                    <a:lnTo>
                      <a:pt x="936" y="208"/>
                    </a:lnTo>
                    <a:lnTo>
                      <a:pt x="932" y="208"/>
                    </a:lnTo>
                    <a:lnTo>
                      <a:pt x="928" y="208"/>
                    </a:lnTo>
                    <a:lnTo>
                      <a:pt x="928" y="208"/>
                    </a:lnTo>
                    <a:lnTo>
                      <a:pt x="928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4" y="210"/>
                    </a:lnTo>
                    <a:lnTo>
                      <a:pt x="924" y="212"/>
                    </a:lnTo>
                    <a:lnTo>
                      <a:pt x="924" y="212"/>
                    </a:lnTo>
                    <a:lnTo>
                      <a:pt x="922" y="212"/>
                    </a:lnTo>
                    <a:lnTo>
                      <a:pt x="920" y="216"/>
                    </a:lnTo>
                    <a:lnTo>
                      <a:pt x="920" y="216"/>
                    </a:lnTo>
                    <a:lnTo>
                      <a:pt x="920" y="216"/>
                    </a:lnTo>
                    <a:lnTo>
                      <a:pt x="918" y="220"/>
                    </a:lnTo>
                    <a:lnTo>
                      <a:pt x="918" y="220"/>
                    </a:lnTo>
                    <a:lnTo>
                      <a:pt x="918" y="220"/>
                    </a:lnTo>
                    <a:lnTo>
                      <a:pt x="918" y="224"/>
                    </a:lnTo>
                    <a:lnTo>
                      <a:pt x="918" y="224"/>
                    </a:lnTo>
                    <a:lnTo>
                      <a:pt x="918" y="226"/>
                    </a:lnTo>
                    <a:lnTo>
                      <a:pt x="918" y="226"/>
                    </a:lnTo>
                    <a:lnTo>
                      <a:pt x="918" y="226"/>
                    </a:lnTo>
                    <a:lnTo>
                      <a:pt x="920" y="228"/>
                    </a:lnTo>
                    <a:lnTo>
                      <a:pt x="920" y="228"/>
                    </a:lnTo>
                    <a:lnTo>
                      <a:pt x="920" y="228"/>
                    </a:lnTo>
                    <a:lnTo>
                      <a:pt x="922" y="232"/>
                    </a:lnTo>
                    <a:lnTo>
                      <a:pt x="924" y="234"/>
                    </a:lnTo>
                    <a:lnTo>
                      <a:pt x="924" y="234"/>
                    </a:lnTo>
                    <a:lnTo>
                      <a:pt x="926" y="234"/>
                    </a:lnTo>
                    <a:lnTo>
                      <a:pt x="926" y="236"/>
                    </a:lnTo>
                    <a:lnTo>
                      <a:pt x="926" y="236"/>
                    </a:lnTo>
                    <a:lnTo>
                      <a:pt x="926" y="238"/>
                    </a:lnTo>
                    <a:lnTo>
                      <a:pt x="926" y="236"/>
                    </a:lnTo>
                    <a:lnTo>
                      <a:pt x="926" y="240"/>
                    </a:lnTo>
                    <a:lnTo>
                      <a:pt x="924" y="244"/>
                    </a:lnTo>
                    <a:lnTo>
                      <a:pt x="924" y="248"/>
                    </a:lnTo>
                    <a:lnTo>
                      <a:pt x="924" y="252"/>
                    </a:lnTo>
                    <a:lnTo>
                      <a:pt x="924" y="256"/>
                    </a:lnTo>
                    <a:lnTo>
                      <a:pt x="924" y="260"/>
                    </a:lnTo>
                    <a:lnTo>
                      <a:pt x="924" y="262"/>
                    </a:lnTo>
                    <a:lnTo>
                      <a:pt x="924" y="262"/>
                    </a:lnTo>
                    <a:lnTo>
                      <a:pt x="924" y="262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8" y="268"/>
                    </a:lnTo>
                    <a:lnTo>
                      <a:pt x="928" y="268"/>
                    </a:lnTo>
                    <a:lnTo>
                      <a:pt x="930" y="268"/>
                    </a:lnTo>
                    <a:lnTo>
                      <a:pt x="932" y="270"/>
                    </a:lnTo>
                    <a:lnTo>
                      <a:pt x="934" y="272"/>
                    </a:lnTo>
                    <a:lnTo>
                      <a:pt x="938" y="272"/>
                    </a:lnTo>
                    <a:lnTo>
                      <a:pt x="940" y="274"/>
                    </a:lnTo>
                    <a:lnTo>
                      <a:pt x="944" y="274"/>
                    </a:lnTo>
                    <a:lnTo>
                      <a:pt x="946" y="274"/>
                    </a:lnTo>
                    <a:lnTo>
                      <a:pt x="946" y="276"/>
                    </a:lnTo>
                    <a:lnTo>
                      <a:pt x="946" y="276"/>
                    </a:lnTo>
                    <a:lnTo>
                      <a:pt x="948" y="278"/>
                    </a:lnTo>
                    <a:lnTo>
                      <a:pt x="948" y="278"/>
                    </a:lnTo>
                    <a:lnTo>
                      <a:pt x="948" y="282"/>
                    </a:lnTo>
                    <a:lnTo>
                      <a:pt x="948" y="282"/>
                    </a:lnTo>
                    <a:lnTo>
                      <a:pt x="948" y="282"/>
                    </a:lnTo>
                    <a:lnTo>
                      <a:pt x="948" y="284"/>
                    </a:lnTo>
                    <a:lnTo>
                      <a:pt x="948" y="284"/>
                    </a:lnTo>
                    <a:lnTo>
                      <a:pt x="948" y="284"/>
                    </a:lnTo>
                    <a:lnTo>
                      <a:pt x="948" y="288"/>
                    </a:lnTo>
                    <a:lnTo>
                      <a:pt x="948" y="288"/>
                    </a:lnTo>
                    <a:lnTo>
                      <a:pt x="950" y="288"/>
                    </a:lnTo>
                    <a:lnTo>
                      <a:pt x="952" y="290"/>
                    </a:lnTo>
                    <a:lnTo>
                      <a:pt x="954" y="292"/>
                    </a:lnTo>
                    <a:lnTo>
                      <a:pt x="954" y="292"/>
                    </a:lnTo>
                    <a:lnTo>
                      <a:pt x="954" y="292"/>
                    </a:lnTo>
                    <a:lnTo>
                      <a:pt x="956" y="294"/>
                    </a:lnTo>
                    <a:lnTo>
                      <a:pt x="956" y="294"/>
                    </a:lnTo>
                    <a:lnTo>
                      <a:pt x="956" y="296"/>
                    </a:lnTo>
                    <a:lnTo>
                      <a:pt x="958" y="296"/>
                    </a:lnTo>
                    <a:lnTo>
                      <a:pt x="958" y="296"/>
                    </a:lnTo>
                    <a:lnTo>
                      <a:pt x="956" y="298"/>
                    </a:lnTo>
                    <a:lnTo>
                      <a:pt x="954" y="298"/>
                    </a:lnTo>
                    <a:lnTo>
                      <a:pt x="948" y="300"/>
                    </a:lnTo>
                    <a:lnTo>
                      <a:pt x="946" y="302"/>
                    </a:lnTo>
                    <a:lnTo>
                      <a:pt x="944" y="302"/>
                    </a:lnTo>
                    <a:lnTo>
                      <a:pt x="944" y="302"/>
                    </a:lnTo>
                    <a:lnTo>
                      <a:pt x="944" y="302"/>
                    </a:lnTo>
                    <a:lnTo>
                      <a:pt x="942" y="300"/>
                    </a:lnTo>
                    <a:lnTo>
                      <a:pt x="940" y="298"/>
                    </a:lnTo>
                    <a:lnTo>
                      <a:pt x="938" y="296"/>
                    </a:lnTo>
                    <a:lnTo>
                      <a:pt x="936" y="296"/>
                    </a:lnTo>
                    <a:lnTo>
                      <a:pt x="934" y="294"/>
                    </a:lnTo>
                    <a:lnTo>
                      <a:pt x="932" y="292"/>
                    </a:lnTo>
                    <a:lnTo>
                      <a:pt x="928" y="288"/>
                    </a:lnTo>
                    <a:lnTo>
                      <a:pt x="926" y="284"/>
                    </a:lnTo>
                    <a:lnTo>
                      <a:pt x="922" y="282"/>
                    </a:lnTo>
                    <a:lnTo>
                      <a:pt x="918" y="278"/>
                    </a:lnTo>
                    <a:lnTo>
                      <a:pt x="914" y="274"/>
                    </a:lnTo>
                    <a:lnTo>
                      <a:pt x="910" y="272"/>
                    </a:lnTo>
                    <a:lnTo>
                      <a:pt x="908" y="270"/>
                    </a:lnTo>
                    <a:lnTo>
                      <a:pt x="904" y="268"/>
                    </a:lnTo>
                    <a:lnTo>
                      <a:pt x="902" y="266"/>
                    </a:lnTo>
                    <a:lnTo>
                      <a:pt x="900" y="266"/>
                    </a:lnTo>
                    <a:lnTo>
                      <a:pt x="900" y="266"/>
                    </a:lnTo>
                    <a:lnTo>
                      <a:pt x="900" y="266"/>
                    </a:lnTo>
                    <a:lnTo>
                      <a:pt x="898" y="264"/>
                    </a:lnTo>
                    <a:lnTo>
                      <a:pt x="896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0" y="262"/>
                    </a:lnTo>
                    <a:lnTo>
                      <a:pt x="888" y="260"/>
                    </a:lnTo>
                    <a:lnTo>
                      <a:pt x="886" y="258"/>
                    </a:lnTo>
                    <a:lnTo>
                      <a:pt x="886" y="258"/>
                    </a:lnTo>
                    <a:lnTo>
                      <a:pt x="886" y="258"/>
                    </a:lnTo>
                    <a:lnTo>
                      <a:pt x="884" y="258"/>
                    </a:lnTo>
                    <a:lnTo>
                      <a:pt x="884" y="256"/>
                    </a:lnTo>
                    <a:lnTo>
                      <a:pt x="884" y="256"/>
                    </a:lnTo>
                    <a:lnTo>
                      <a:pt x="882" y="256"/>
                    </a:lnTo>
                    <a:lnTo>
                      <a:pt x="882" y="256"/>
                    </a:lnTo>
                    <a:lnTo>
                      <a:pt x="882" y="256"/>
                    </a:lnTo>
                    <a:lnTo>
                      <a:pt x="880" y="256"/>
                    </a:lnTo>
                    <a:lnTo>
                      <a:pt x="878" y="256"/>
                    </a:lnTo>
                    <a:lnTo>
                      <a:pt x="878" y="256"/>
                    </a:lnTo>
                    <a:lnTo>
                      <a:pt x="878" y="256"/>
                    </a:lnTo>
                    <a:lnTo>
                      <a:pt x="876" y="258"/>
                    </a:lnTo>
                    <a:lnTo>
                      <a:pt x="874" y="258"/>
                    </a:lnTo>
                    <a:lnTo>
                      <a:pt x="872" y="260"/>
                    </a:lnTo>
                    <a:lnTo>
                      <a:pt x="870" y="262"/>
                    </a:lnTo>
                    <a:lnTo>
                      <a:pt x="868" y="264"/>
                    </a:lnTo>
                    <a:lnTo>
                      <a:pt x="866" y="266"/>
                    </a:lnTo>
                    <a:lnTo>
                      <a:pt x="866" y="266"/>
                    </a:lnTo>
                    <a:lnTo>
                      <a:pt x="866" y="266"/>
                    </a:lnTo>
                    <a:lnTo>
                      <a:pt x="866" y="268"/>
                    </a:lnTo>
                    <a:lnTo>
                      <a:pt x="866" y="268"/>
                    </a:lnTo>
                    <a:lnTo>
                      <a:pt x="866" y="268"/>
                    </a:lnTo>
                    <a:lnTo>
                      <a:pt x="866" y="270"/>
                    </a:lnTo>
                    <a:lnTo>
                      <a:pt x="866" y="270"/>
                    </a:lnTo>
                    <a:lnTo>
                      <a:pt x="866" y="272"/>
                    </a:lnTo>
                    <a:lnTo>
                      <a:pt x="866" y="272"/>
                    </a:lnTo>
                    <a:lnTo>
                      <a:pt x="866" y="272"/>
                    </a:lnTo>
                    <a:lnTo>
                      <a:pt x="868" y="272"/>
                    </a:lnTo>
                    <a:lnTo>
                      <a:pt x="868" y="274"/>
                    </a:lnTo>
                    <a:lnTo>
                      <a:pt x="868" y="274"/>
                    </a:lnTo>
                    <a:lnTo>
                      <a:pt x="870" y="274"/>
                    </a:lnTo>
                    <a:lnTo>
                      <a:pt x="870" y="274"/>
                    </a:lnTo>
                    <a:lnTo>
                      <a:pt x="874" y="276"/>
                    </a:lnTo>
                    <a:lnTo>
                      <a:pt x="876" y="276"/>
                    </a:lnTo>
                    <a:lnTo>
                      <a:pt x="876" y="278"/>
                    </a:lnTo>
                    <a:lnTo>
                      <a:pt x="878" y="278"/>
                    </a:lnTo>
                    <a:lnTo>
                      <a:pt x="880" y="280"/>
                    </a:lnTo>
                    <a:lnTo>
                      <a:pt x="882" y="284"/>
                    </a:lnTo>
                    <a:lnTo>
                      <a:pt x="882" y="284"/>
                    </a:lnTo>
                    <a:lnTo>
                      <a:pt x="882" y="286"/>
                    </a:lnTo>
                    <a:lnTo>
                      <a:pt x="882" y="286"/>
                    </a:lnTo>
                    <a:lnTo>
                      <a:pt x="882" y="286"/>
                    </a:lnTo>
                    <a:lnTo>
                      <a:pt x="882" y="290"/>
                    </a:lnTo>
                    <a:lnTo>
                      <a:pt x="882" y="290"/>
                    </a:lnTo>
                    <a:lnTo>
                      <a:pt x="882" y="292"/>
                    </a:lnTo>
                    <a:lnTo>
                      <a:pt x="882" y="292"/>
                    </a:lnTo>
                    <a:lnTo>
                      <a:pt x="880" y="292"/>
                    </a:lnTo>
                    <a:lnTo>
                      <a:pt x="878" y="290"/>
                    </a:lnTo>
                    <a:lnTo>
                      <a:pt x="878" y="288"/>
                    </a:lnTo>
                    <a:lnTo>
                      <a:pt x="874" y="286"/>
                    </a:lnTo>
                    <a:lnTo>
                      <a:pt x="872" y="284"/>
                    </a:lnTo>
                    <a:lnTo>
                      <a:pt x="870" y="282"/>
                    </a:lnTo>
                    <a:lnTo>
                      <a:pt x="870" y="282"/>
                    </a:lnTo>
                    <a:lnTo>
                      <a:pt x="870" y="282"/>
                    </a:lnTo>
                    <a:lnTo>
                      <a:pt x="868" y="280"/>
                    </a:lnTo>
                    <a:lnTo>
                      <a:pt x="868" y="280"/>
                    </a:lnTo>
                    <a:lnTo>
                      <a:pt x="868" y="280"/>
                    </a:lnTo>
                    <a:lnTo>
                      <a:pt x="866" y="280"/>
                    </a:lnTo>
                    <a:lnTo>
                      <a:pt x="866" y="280"/>
                    </a:lnTo>
                    <a:lnTo>
                      <a:pt x="866" y="280"/>
                    </a:lnTo>
                    <a:lnTo>
                      <a:pt x="864" y="282"/>
                    </a:lnTo>
                    <a:lnTo>
                      <a:pt x="864" y="282"/>
                    </a:lnTo>
                    <a:lnTo>
                      <a:pt x="864" y="282"/>
                    </a:lnTo>
                    <a:lnTo>
                      <a:pt x="862" y="282"/>
                    </a:lnTo>
                    <a:lnTo>
                      <a:pt x="862" y="282"/>
                    </a:lnTo>
                    <a:lnTo>
                      <a:pt x="862" y="282"/>
                    </a:lnTo>
                    <a:lnTo>
                      <a:pt x="860" y="284"/>
                    </a:lnTo>
                    <a:lnTo>
                      <a:pt x="860" y="284"/>
                    </a:lnTo>
                    <a:lnTo>
                      <a:pt x="858" y="286"/>
                    </a:lnTo>
                    <a:lnTo>
                      <a:pt x="858" y="286"/>
                    </a:lnTo>
                    <a:lnTo>
                      <a:pt x="858" y="288"/>
                    </a:lnTo>
                    <a:lnTo>
                      <a:pt x="856" y="290"/>
                    </a:lnTo>
                    <a:lnTo>
                      <a:pt x="856" y="290"/>
                    </a:lnTo>
                    <a:lnTo>
                      <a:pt x="856" y="288"/>
                    </a:lnTo>
                    <a:lnTo>
                      <a:pt x="856" y="286"/>
                    </a:lnTo>
                    <a:lnTo>
                      <a:pt x="856" y="282"/>
                    </a:lnTo>
                    <a:lnTo>
                      <a:pt x="856" y="278"/>
                    </a:lnTo>
                    <a:lnTo>
                      <a:pt x="856" y="274"/>
                    </a:lnTo>
                    <a:lnTo>
                      <a:pt x="856" y="268"/>
                    </a:lnTo>
                    <a:lnTo>
                      <a:pt x="854" y="264"/>
                    </a:lnTo>
                    <a:lnTo>
                      <a:pt x="854" y="260"/>
                    </a:lnTo>
                    <a:lnTo>
                      <a:pt x="854" y="256"/>
                    </a:lnTo>
                    <a:lnTo>
                      <a:pt x="852" y="252"/>
                    </a:lnTo>
                    <a:lnTo>
                      <a:pt x="850" y="250"/>
                    </a:lnTo>
                    <a:lnTo>
                      <a:pt x="848" y="244"/>
                    </a:lnTo>
                    <a:lnTo>
                      <a:pt x="846" y="240"/>
                    </a:lnTo>
                    <a:lnTo>
                      <a:pt x="844" y="238"/>
                    </a:lnTo>
                    <a:lnTo>
                      <a:pt x="842" y="236"/>
                    </a:lnTo>
                    <a:lnTo>
                      <a:pt x="840" y="236"/>
                    </a:lnTo>
                    <a:lnTo>
                      <a:pt x="840" y="236"/>
                    </a:lnTo>
                    <a:lnTo>
                      <a:pt x="840" y="234"/>
                    </a:lnTo>
                    <a:lnTo>
                      <a:pt x="838" y="234"/>
                    </a:lnTo>
                    <a:lnTo>
                      <a:pt x="838" y="234"/>
                    </a:lnTo>
                    <a:lnTo>
                      <a:pt x="836" y="234"/>
                    </a:lnTo>
                    <a:lnTo>
                      <a:pt x="836" y="234"/>
                    </a:lnTo>
                    <a:lnTo>
                      <a:pt x="836" y="234"/>
                    </a:lnTo>
                    <a:lnTo>
                      <a:pt x="834" y="236"/>
                    </a:lnTo>
                    <a:lnTo>
                      <a:pt x="834" y="236"/>
                    </a:lnTo>
                    <a:lnTo>
                      <a:pt x="834" y="236"/>
                    </a:lnTo>
                    <a:lnTo>
                      <a:pt x="832" y="236"/>
                    </a:lnTo>
                    <a:lnTo>
                      <a:pt x="832" y="238"/>
                    </a:lnTo>
                    <a:lnTo>
                      <a:pt x="832" y="238"/>
                    </a:lnTo>
                    <a:lnTo>
                      <a:pt x="832" y="238"/>
                    </a:lnTo>
                    <a:lnTo>
                      <a:pt x="830" y="242"/>
                    </a:lnTo>
                    <a:lnTo>
                      <a:pt x="830" y="242"/>
                    </a:lnTo>
                    <a:lnTo>
                      <a:pt x="830" y="242"/>
                    </a:lnTo>
                    <a:lnTo>
                      <a:pt x="830" y="244"/>
                    </a:lnTo>
                    <a:lnTo>
                      <a:pt x="830" y="244"/>
                    </a:lnTo>
                    <a:lnTo>
                      <a:pt x="830" y="246"/>
                    </a:lnTo>
                    <a:lnTo>
                      <a:pt x="830" y="246"/>
                    </a:lnTo>
                    <a:lnTo>
                      <a:pt x="830" y="246"/>
                    </a:lnTo>
                    <a:lnTo>
                      <a:pt x="830" y="248"/>
                    </a:lnTo>
                    <a:lnTo>
                      <a:pt x="830" y="250"/>
                    </a:lnTo>
                    <a:lnTo>
                      <a:pt x="830" y="250"/>
                    </a:lnTo>
                    <a:lnTo>
                      <a:pt x="832" y="250"/>
                    </a:lnTo>
                    <a:lnTo>
                      <a:pt x="834" y="252"/>
                    </a:lnTo>
                    <a:lnTo>
                      <a:pt x="836" y="254"/>
                    </a:lnTo>
                    <a:lnTo>
                      <a:pt x="838" y="256"/>
                    </a:lnTo>
                    <a:lnTo>
                      <a:pt x="840" y="256"/>
                    </a:lnTo>
                    <a:lnTo>
                      <a:pt x="842" y="258"/>
                    </a:lnTo>
                    <a:lnTo>
                      <a:pt x="842" y="258"/>
                    </a:lnTo>
                    <a:lnTo>
                      <a:pt x="844" y="260"/>
                    </a:lnTo>
                    <a:lnTo>
                      <a:pt x="844" y="262"/>
                    </a:lnTo>
                    <a:lnTo>
                      <a:pt x="844" y="264"/>
                    </a:lnTo>
                    <a:lnTo>
                      <a:pt x="844" y="266"/>
                    </a:lnTo>
                    <a:lnTo>
                      <a:pt x="842" y="270"/>
                    </a:lnTo>
                    <a:lnTo>
                      <a:pt x="840" y="274"/>
                    </a:lnTo>
                    <a:lnTo>
                      <a:pt x="836" y="280"/>
                    </a:lnTo>
                    <a:lnTo>
                      <a:pt x="834" y="282"/>
                    </a:lnTo>
                    <a:lnTo>
                      <a:pt x="834" y="284"/>
                    </a:lnTo>
                    <a:lnTo>
                      <a:pt x="832" y="286"/>
                    </a:lnTo>
                    <a:lnTo>
                      <a:pt x="832" y="286"/>
                    </a:lnTo>
                    <a:lnTo>
                      <a:pt x="830" y="286"/>
                    </a:lnTo>
                    <a:lnTo>
                      <a:pt x="828" y="286"/>
                    </a:lnTo>
                    <a:lnTo>
                      <a:pt x="828" y="286"/>
                    </a:lnTo>
                    <a:lnTo>
                      <a:pt x="828" y="286"/>
                    </a:lnTo>
                    <a:lnTo>
                      <a:pt x="826" y="286"/>
                    </a:lnTo>
                    <a:lnTo>
                      <a:pt x="826" y="286"/>
                    </a:lnTo>
                    <a:lnTo>
                      <a:pt x="824" y="288"/>
                    </a:lnTo>
                    <a:lnTo>
                      <a:pt x="824" y="288"/>
                    </a:lnTo>
                    <a:lnTo>
                      <a:pt x="824" y="288"/>
                    </a:lnTo>
                    <a:lnTo>
                      <a:pt x="822" y="290"/>
                    </a:lnTo>
                    <a:lnTo>
                      <a:pt x="822" y="290"/>
                    </a:lnTo>
                    <a:lnTo>
                      <a:pt x="820" y="292"/>
                    </a:lnTo>
                    <a:lnTo>
                      <a:pt x="820" y="292"/>
                    </a:lnTo>
                    <a:lnTo>
                      <a:pt x="820" y="292"/>
                    </a:lnTo>
                    <a:lnTo>
                      <a:pt x="820" y="294"/>
                    </a:lnTo>
                    <a:lnTo>
                      <a:pt x="820" y="298"/>
                    </a:lnTo>
                    <a:lnTo>
                      <a:pt x="820" y="300"/>
                    </a:lnTo>
                    <a:lnTo>
                      <a:pt x="820" y="304"/>
                    </a:lnTo>
                    <a:lnTo>
                      <a:pt x="818" y="308"/>
                    </a:lnTo>
                    <a:lnTo>
                      <a:pt x="818" y="318"/>
                    </a:lnTo>
                    <a:lnTo>
                      <a:pt x="820" y="324"/>
                    </a:lnTo>
                    <a:lnTo>
                      <a:pt x="820" y="334"/>
                    </a:lnTo>
                    <a:lnTo>
                      <a:pt x="820" y="346"/>
                    </a:lnTo>
                    <a:lnTo>
                      <a:pt x="820" y="356"/>
                    </a:lnTo>
                    <a:lnTo>
                      <a:pt x="820" y="360"/>
                    </a:lnTo>
                    <a:lnTo>
                      <a:pt x="820" y="364"/>
                    </a:lnTo>
                    <a:lnTo>
                      <a:pt x="820" y="370"/>
                    </a:lnTo>
                    <a:lnTo>
                      <a:pt x="820" y="372"/>
                    </a:lnTo>
                    <a:lnTo>
                      <a:pt x="820" y="378"/>
                    </a:lnTo>
                    <a:lnTo>
                      <a:pt x="820" y="382"/>
                    </a:lnTo>
                    <a:lnTo>
                      <a:pt x="820" y="386"/>
                    </a:lnTo>
                    <a:lnTo>
                      <a:pt x="820" y="390"/>
                    </a:lnTo>
                    <a:lnTo>
                      <a:pt x="818" y="392"/>
                    </a:lnTo>
                    <a:lnTo>
                      <a:pt x="818" y="394"/>
                    </a:lnTo>
                    <a:lnTo>
                      <a:pt x="818" y="396"/>
                    </a:lnTo>
                    <a:lnTo>
                      <a:pt x="818" y="400"/>
                    </a:lnTo>
                    <a:lnTo>
                      <a:pt x="818" y="404"/>
                    </a:lnTo>
                    <a:lnTo>
                      <a:pt x="816" y="410"/>
                    </a:lnTo>
                    <a:lnTo>
                      <a:pt x="818" y="412"/>
                    </a:lnTo>
                    <a:lnTo>
                      <a:pt x="818" y="412"/>
                    </a:lnTo>
                    <a:lnTo>
                      <a:pt x="818" y="414"/>
                    </a:lnTo>
                    <a:lnTo>
                      <a:pt x="818" y="416"/>
                    </a:lnTo>
                    <a:lnTo>
                      <a:pt x="818" y="416"/>
                    </a:lnTo>
                    <a:lnTo>
                      <a:pt x="818" y="416"/>
                    </a:lnTo>
                    <a:lnTo>
                      <a:pt x="820" y="418"/>
                    </a:lnTo>
                    <a:lnTo>
                      <a:pt x="820" y="418"/>
                    </a:lnTo>
                    <a:lnTo>
                      <a:pt x="820" y="418"/>
                    </a:lnTo>
                    <a:lnTo>
                      <a:pt x="822" y="420"/>
                    </a:lnTo>
                    <a:lnTo>
                      <a:pt x="822" y="420"/>
                    </a:lnTo>
                    <a:lnTo>
                      <a:pt x="824" y="420"/>
                    </a:lnTo>
                    <a:lnTo>
                      <a:pt x="826" y="420"/>
                    </a:lnTo>
                    <a:lnTo>
                      <a:pt x="826" y="420"/>
                    </a:lnTo>
                    <a:lnTo>
                      <a:pt x="826" y="420"/>
                    </a:lnTo>
                    <a:lnTo>
                      <a:pt x="830" y="420"/>
                    </a:lnTo>
                    <a:lnTo>
                      <a:pt x="836" y="420"/>
                    </a:lnTo>
                    <a:lnTo>
                      <a:pt x="834" y="422"/>
                    </a:lnTo>
                    <a:lnTo>
                      <a:pt x="832" y="426"/>
                    </a:lnTo>
                    <a:lnTo>
                      <a:pt x="830" y="430"/>
                    </a:lnTo>
                    <a:lnTo>
                      <a:pt x="828" y="434"/>
                    </a:lnTo>
                    <a:lnTo>
                      <a:pt x="828" y="438"/>
                    </a:lnTo>
                    <a:lnTo>
                      <a:pt x="826" y="442"/>
                    </a:lnTo>
                    <a:lnTo>
                      <a:pt x="826" y="444"/>
                    </a:lnTo>
                    <a:lnTo>
                      <a:pt x="826" y="444"/>
                    </a:lnTo>
                    <a:lnTo>
                      <a:pt x="826" y="446"/>
                    </a:lnTo>
                    <a:lnTo>
                      <a:pt x="826" y="446"/>
                    </a:lnTo>
                    <a:lnTo>
                      <a:pt x="826" y="448"/>
                    </a:lnTo>
                    <a:lnTo>
                      <a:pt x="828" y="450"/>
                    </a:lnTo>
                    <a:lnTo>
                      <a:pt x="828" y="450"/>
                    </a:lnTo>
                    <a:lnTo>
                      <a:pt x="828" y="450"/>
                    </a:lnTo>
                    <a:lnTo>
                      <a:pt x="828" y="452"/>
                    </a:lnTo>
                    <a:lnTo>
                      <a:pt x="828" y="454"/>
                    </a:lnTo>
                    <a:lnTo>
                      <a:pt x="828" y="454"/>
                    </a:lnTo>
                    <a:lnTo>
                      <a:pt x="828" y="456"/>
                    </a:lnTo>
                    <a:lnTo>
                      <a:pt x="828" y="460"/>
                    </a:lnTo>
                    <a:lnTo>
                      <a:pt x="828" y="462"/>
                    </a:lnTo>
                    <a:lnTo>
                      <a:pt x="828" y="466"/>
                    </a:lnTo>
                    <a:lnTo>
                      <a:pt x="828" y="470"/>
                    </a:lnTo>
                    <a:lnTo>
                      <a:pt x="826" y="476"/>
                    </a:lnTo>
                    <a:lnTo>
                      <a:pt x="826" y="482"/>
                    </a:lnTo>
                    <a:lnTo>
                      <a:pt x="824" y="486"/>
                    </a:lnTo>
                    <a:lnTo>
                      <a:pt x="824" y="488"/>
                    </a:lnTo>
                    <a:lnTo>
                      <a:pt x="822" y="490"/>
                    </a:lnTo>
                    <a:lnTo>
                      <a:pt x="820" y="492"/>
                    </a:lnTo>
                    <a:lnTo>
                      <a:pt x="820" y="492"/>
                    </a:lnTo>
                    <a:lnTo>
                      <a:pt x="818" y="494"/>
                    </a:lnTo>
                    <a:lnTo>
                      <a:pt x="818" y="494"/>
                    </a:lnTo>
                    <a:lnTo>
                      <a:pt x="816" y="496"/>
                    </a:lnTo>
                    <a:lnTo>
                      <a:pt x="814" y="496"/>
                    </a:lnTo>
                    <a:lnTo>
                      <a:pt x="812" y="498"/>
                    </a:lnTo>
                    <a:lnTo>
                      <a:pt x="806" y="500"/>
                    </a:lnTo>
                    <a:lnTo>
                      <a:pt x="802" y="502"/>
                    </a:lnTo>
                    <a:lnTo>
                      <a:pt x="796" y="506"/>
                    </a:lnTo>
                    <a:lnTo>
                      <a:pt x="790" y="508"/>
                    </a:lnTo>
                    <a:lnTo>
                      <a:pt x="788" y="510"/>
                    </a:lnTo>
                    <a:lnTo>
                      <a:pt x="790" y="508"/>
                    </a:lnTo>
                    <a:lnTo>
                      <a:pt x="792" y="504"/>
                    </a:lnTo>
                    <a:lnTo>
                      <a:pt x="796" y="500"/>
                    </a:lnTo>
                    <a:lnTo>
                      <a:pt x="798" y="496"/>
                    </a:lnTo>
                    <a:lnTo>
                      <a:pt x="800" y="494"/>
                    </a:lnTo>
                    <a:lnTo>
                      <a:pt x="800" y="494"/>
                    </a:lnTo>
                    <a:lnTo>
                      <a:pt x="800" y="494"/>
                    </a:lnTo>
                    <a:lnTo>
                      <a:pt x="800" y="492"/>
                    </a:lnTo>
                    <a:lnTo>
                      <a:pt x="800" y="492"/>
                    </a:lnTo>
                    <a:lnTo>
                      <a:pt x="802" y="490"/>
                    </a:lnTo>
                    <a:lnTo>
                      <a:pt x="802" y="488"/>
                    </a:lnTo>
                    <a:lnTo>
                      <a:pt x="802" y="488"/>
                    </a:lnTo>
                    <a:lnTo>
                      <a:pt x="802" y="488"/>
                    </a:lnTo>
                    <a:lnTo>
                      <a:pt x="802" y="484"/>
                    </a:lnTo>
                    <a:lnTo>
                      <a:pt x="800" y="480"/>
                    </a:lnTo>
                    <a:lnTo>
                      <a:pt x="800" y="476"/>
                    </a:lnTo>
                    <a:lnTo>
                      <a:pt x="800" y="472"/>
                    </a:lnTo>
                    <a:lnTo>
                      <a:pt x="800" y="470"/>
                    </a:lnTo>
                    <a:lnTo>
                      <a:pt x="800" y="470"/>
                    </a:lnTo>
                    <a:lnTo>
                      <a:pt x="800" y="468"/>
                    </a:lnTo>
                    <a:lnTo>
                      <a:pt x="800" y="466"/>
                    </a:lnTo>
                    <a:lnTo>
                      <a:pt x="800" y="462"/>
                    </a:lnTo>
                    <a:lnTo>
                      <a:pt x="800" y="458"/>
                    </a:lnTo>
                    <a:lnTo>
                      <a:pt x="800" y="454"/>
                    </a:lnTo>
                    <a:lnTo>
                      <a:pt x="800" y="452"/>
                    </a:lnTo>
                    <a:lnTo>
                      <a:pt x="800" y="448"/>
                    </a:lnTo>
                    <a:lnTo>
                      <a:pt x="800" y="442"/>
                    </a:lnTo>
                    <a:lnTo>
                      <a:pt x="800" y="436"/>
                    </a:lnTo>
                    <a:lnTo>
                      <a:pt x="800" y="430"/>
                    </a:lnTo>
                    <a:lnTo>
                      <a:pt x="800" y="424"/>
                    </a:lnTo>
                    <a:lnTo>
                      <a:pt x="802" y="418"/>
                    </a:lnTo>
                    <a:lnTo>
                      <a:pt x="802" y="402"/>
                    </a:lnTo>
                    <a:lnTo>
                      <a:pt x="802" y="388"/>
                    </a:lnTo>
                    <a:lnTo>
                      <a:pt x="804" y="382"/>
                    </a:lnTo>
                    <a:lnTo>
                      <a:pt x="804" y="376"/>
                    </a:lnTo>
                    <a:lnTo>
                      <a:pt x="804" y="370"/>
                    </a:lnTo>
                    <a:lnTo>
                      <a:pt x="804" y="364"/>
                    </a:lnTo>
                    <a:lnTo>
                      <a:pt x="804" y="360"/>
                    </a:lnTo>
                    <a:lnTo>
                      <a:pt x="804" y="354"/>
                    </a:lnTo>
                    <a:lnTo>
                      <a:pt x="804" y="352"/>
                    </a:lnTo>
                    <a:lnTo>
                      <a:pt x="804" y="350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2"/>
                    </a:lnTo>
                    <a:lnTo>
                      <a:pt x="802" y="338"/>
                    </a:lnTo>
                    <a:lnTo>
                      <a:pt x="802" y="332"/>
                    </a:lnTo>
                    <a:lnTo>
                      <a:pt x="802" y="326"/>
                    </a:lnTo>
                    <a:lnTo>
                      <a:pt x="802" y="320"/>
                    </a:lnTo>
                    <a:lnTo>
                      <a:pt x="802" y="320"/>
                    </a:lnTo>
                    <a:lnTo>
                      <a:pt x="802" y="316"/>
                    </a:lnTo>
                    <a:lnTo>
                      <a:pt x="802" y="316"/>
                    </a:lnTo>
                    <a:lnTo>
                      <a:pt x="802" y="314"/>
                    </a:lnTo>
                    <a:lnTo>
                      <a:pt x="802" y="312"/>
                    </a:lnTo>
                    <a:lnTo>
                      <a:pt x="802" y="312"/>
                    </a:lnTo>
                    <a:lnTo>
                      <a:pt x="800" y="312"/>
                    </a:lnTo>
                    <a:lnTo>
                      <a:pt x="800" y="310"/>
                    </a:lnTo>
                    <a:lnTo>
                      <a:pt x="800" y="310"/>
                    </a:lnTo>
                    <a:lnTo>
                      <a:pt x="800" y="310"/>
                    </a:lnTo>
                    <a:lnTo>
                      <a:pt x="798" y="310"/>
                    </a:lnTo>
                    <a:lnTo>
                      <a:pt x="798" y="310"/>
                    </a:lnTo>
                    <a:lnTo>
                      <a:pt x="798" y="308"/>
                    </a:lnTo>
                    <a:lnTo>
                      <a:pt x="796" y="308"/>
                    </a:lnTo>
                    <a:lnTo>
                      <a:pt x="796" y="308"/>
                    </a:lnTo>
                    <a:lnTo>
                      <a:pt x="796" y="308"/>
                    </a:lnTo>
                    <a:lnTo>
                      <a:pt x="792" y="308"/>
                    </a:lnTo>
                    <a:lnTo>
                      <a:pt x="790" y="306"/>
                    </a:lnTo>
                    <a:lnTo>
                      <a:pt x="784" y="306"/>
                    </a:lnTo>
                    <a:lnTo>
                      <a:pt x="778" y="306"/>
                    </a:lnTo>
                    <a:lnTo>
                      <a:pt x="770" y="308"/>
                    </a:lnTo>
                    <a:lnTo>
                      <a:pt x="764" y="310"/>
                    </a:lnTo>
                    <a:lnTo>
                      <a:pt x="762" y="310"/>
                    </a:lnTo>
                    <a:lnTo>
                      <a:pt x="762" y="310"/>
                    </a:lnTo>
                    <a:lnTo>
                      <a:pt x="762" y="310"/>
                    </a:lnTo>
                    <a:lnTo>
                      <a:pt x="760" y="312"/>
                    </a:lnTo>
                    <a:lnTo>
                      <a:pt x="758" y="312"/>
                    </a:lnTo>
                    <a:lnTo>
                      <a:pt x="758" y="312"/>
                    </a:lnTo>
                    <a:lnTo>
                      <a:pt x="758" y="314"/>
                    </a:lnTo>
                    <a:lnTo>
                      <a:pt x="756" y="314"/>
                    </a:lnTo>
                    <a:lnTo>
                      <a:pt x="756" y="314"/>
                    </a:lnTo>
                    <a:lnTo>
                      <a:pt x="756" y="316"/>
                    </a:lnTo>
                    <a:lnTo>
                      <a:pt x="756" y="318"/>
                    </a:lnTo>
                    <a:lnTo>
                      <a:pt x="756" y="318"/>
                    </a:lnTo>
                    <a:lnTo>
                      <a:pt x="754" y="318"/>
                    </a:lnTo>
                    <a:lnTo>
                      <a:pt x="754" y="320"/>
                    </a:lnTo>
                    <a:lnTo>
                      <a:pt x="754" y="320"/>
                    </a:lnTo>
                    <a:lnTo>
                      <a:pt x="754" y="322"/>
                    </a:lnTo>
                    <a:lnTo>
                      <a:pt x="754" y="322"/>
                    </a:lnTo>
                    <a:lnTo>
                      <a:pt x="754" y="322"/>
                    </a:lnTo>
                    <a:lnTo>
                      <a:pt x="756" y="326"/>
                    </a:lnTo>
                    <a:lnTo>
                      <a:pt x="758" y="330"/>
                    </a:lnTo>
                    <a:lnTo>
                      <a:pt x="760" y="336"/>
                    </a:lnTo>
                    <a:lnTo>
                      <a:pt x="762" y="342"/>
                    </a:lnTo>
                    <a:lnTo>
                      <a:pt x="764" y="348"/>
                    </a:lnTo>
                    <a:lnTo>
                      <a:pt x="766" y="354"/>
                    </a:lnTo>
                    <a:lnTo>
                      <a:pt x="766" y="356"/>
                    </a:lnTo>
                    <a:lnTo>
                      <a:pt x="766" y="358"/>
                    </a:lnTo>
                    <a:lnTo>
                      <a:pt x="766" y="370"/>
                    </a:lnTo>
                    <a:lnTo>
                      <a:pt x="764" y="380"/>
                    </a:lnTo>
                    <a:lnTo>
                      <a:pt x="762" y="392"/>
                    </a:lnTo>
                    <a:lnTo>
                      <a:pt x="760" y="398"/>
                    </a:lnTo>
                    <a:lnTo>
                      <a:pt x="758" y="404"/>
                    </a:lnTo>
                    <a:lnTo>
                      <a:pt x="758" y="408"/>
                    </a:lnTo>
                    <a:lnTo>
                      <a:pt x="756" y="412"/>
                    </a:lnTo>
                    <a:lnTo>
                      <a:pt x="754" y="420"/>
                    </a:lnTo>
                    <a:lnTo>
                      <a:pt x="750" y="430"/>
                    </a:lnTo>
                    <a:lnTo>
                      <a:pt x="746" y="440"/>
                    </a:lnTo>
                    <a:lnTo>
                      <a:pt x="742" y="450"/>
                    </a:lnTo>
                    <a:lnTo>
                      <a:pt x="740" y="454"/>
                    </a:lnTo>
                    <a:lnTo>
                      <a:pt x="740" y="458"/>
                    </a:lnTo>
                    <a:lnTo>
                      <a:pt x="738" y="460"/>
                    </a:lnTo>
                    <a:lnTo>
                      <a:pt x="736" y="462"/>
                    </a:lnTo>
                    <a:lnTo>
                      <a:pt x="736" y="452"/>
                    </a:lnTo>
                    <a:lnTo>
                      <a:pt x="736" y="448"/>
                    </a:lnTo>
                    <a:lnTo>
                      <a:pt x="736" y="446"/>
                    </a:lnTo>
                    <a:lnTo>
                      <a:pt x="736" y="442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4" y="438"/>
                    </a:lnTo>
                    <a:lnTo>
                      <a:pt x="734" y="436"/>
                    </a:lnTo>
                    <a:lnTo>
                      <a:pt x="734" y="436"/>
                    </a:lnTo>
                    <a:lnTo>
                      <a:pt x="732" y="436"/>
                    </a:lnTo>
                    <a:lnTo>
                      <a:pt x="730" y="436"/>
                    </a:lnTo>
                    <a:lnTo>
                      <a:pt x="730" y="436"/>
                    </a:lnTo>
                    <a:lnTo>
                      <a:pt x="730" y="434"/>
                    </a:lnTo>
                    <a:lnTo>
                      <a:pt x="728" y="434"/>
                    </a:lnTo>
                    <a:lnTo>
                      <a:pt x="728" y="434"/>
                    </a:lnTo>
                    <a:lnTo>
                      <a:pt x="726" y="434"/>
                    </a:lnTo>
                    <a:lnTo>
                      <a:pt x="722" y="434"/>
                    </a:lnTo>
                    <a:lnTo>
                      <a:pt x="722" y="434"/>
                    </a:lnTo>
                    <a:lnTo>
                      <a:pt x="722" y="434"/>
                    </a:lnTo>
                    <a:lnTo>
                      <a:pt x="720" y="434"/>
                    </a:lnTo>
                    <a:lnTo>
                      <a:pt x="718" y="434"/>
                    </a:lnTo>
                    <a:lnTo>
                      <a:pt x="716" y="434"/>
                    </a:lnTo>
                    <a:lnTo>
                      <a:pt x="716" y="432"/>
                    </a:lnTo>
                    <a:lnTo>
                      <a:pt x="716" y="432"/>
                    </a:lnTo>
                    <a:lnTo>
                      <a:pt x="716" y="432"/>
                    </a:lnTo>
                    <a:lnTo>
                      <a:pt x="716" y="430"/>
                    </a:lnTo>
                    <a:lnTo>
                      <a:pt x="714" y="428"/>
                    </a:lnTo>
                    <a:lnTo>
                      <a:pt x="710" y="428"/>
                    </a:lnTo>
                    <a:lnTo>
                      <a:pt x="708" y="426"/>
                    </a:lnTo>
                    <a:lnTo>
                      <a:pt x="702" y="424"/>
                    </a:lnTo>
                    <a:lnTo>
                      <a:pt x="698" y="422"/>
                    </a:lnTo>
                    <a:lnTo>
                      <a:pt x="694" y="418"/>
                    </a:lnTo>
                    <a:lnTo>
                      <a:pt x="690" y="412"/>
                    </a:lnTo>
                    <a:lnTo>
                      <a:pt x="684" y="408"/>
                    </a:lnTo>
                    <a:lnTo>
                      <a:pt x="680" y="402"/>
                    </a:lnTo>
                    <a:lnTo>
                      <a:pt x="674" y="398"/>
                    </a:lnTo>
                    <a:lnTo>
                      <a:pt x="674" y="398"/>
                    </a:lnTo>
                    <a:lnTo>
                      <a:pt x="672" y="398"/>
                    </a:lnTo>
                    <a:lnTo>
                      <a:pt x="670" y="398"/>
                    </a:lnTo>
                    <a:lnTo>
                      <a:pt x="666" y="398"/>
                    </a:lnTo>
                    <a:lnTo>
                      <a:pt x="662" y="396"/>
                    </a:lnTo>
                    <a:lnTo>
                      <a:pt x="656" y="392"/>
                    </a:lnTo>
                    <a:lnTo>
                      <a:pt x="654" y="392"/>
                    </a:lnTo>
                    <a:lnTo>
                      <a:pt x="650" y="390"/>
                    </a:lnTo>
                    <a:lnTo>
                      <a:pt x="650" y="390"/>
                    </a:lnTo>
                    <a:lnTo>
                      <a:pt x="650" y="390"/>
                    </a:lnTo>
                    <a:lnTo>
                      <a:pt x="638" y="390"/>
                    </a:lnTo>
                    <a:lnTo>
                      <a:pt x="626" y="388"/>
                    </a:lnTo>
                    <a:lnTo>
                      <a:pt x="622" y="388"/>
                    </a:lnTo>
                    <a:lnTo>
                      <a:pt x="620" y="386"/>
                    </a:lnTo>
                    <a:lnTo>
                      <a:pt x="616" y="384"/>
                    </a:lnTo>
                    <a:lnTo>
                      <a:pt x="614" y="380"/>
                    </a:lnTo>
                    <a:lnTo>
                      <a:pt x="610" y="374"/>
                    </a:lnTo>
                    <a:lnTo>
                      <a:pt x="606" y="372"/>
                    </a:lnTo>
                    <a:lnTo>
                      <a:pt x="606" y="372"/>
                    </a:lnTo>
                    <a:lnTo>
                      <a:pt x="606" y="372"/>
                    </a:lnTo>
                    <a:lnTo>
                      <a:pt x="604" y="368"/>
                    </a:lnTo>
                    <a:lnTo>
                      <a:pt x="602" y="368"/>
                    </a:lnTo>
                    <a:lnTo>
                      <a:pt x="602" y="368"/>
                    </a:lnTo>
                    <a:lnTo>
                      <a:pt x="600" y="368"/>
                    </a:lnTo>
                    <a:lnTo>
                      <a:pt x="600" y="366"/>
                    </a:lnTo>
                    <a:lnTo>
                      <a:pt x="600" y="366"/>
                    </a:lnTo>
                    <a:lnTo>
                      <a:pt x="598" y="366"/>
                    </a:lnTo>
                    <a:lnTo>
                      <a:pt x="596" y="366"/>
                    </a:lnTo>
                    <a:lnTo>
                      <a:pt x="596" y="366"/>
                    </a:lnTo>
                    <a:lnTo>
                      <a:pt x="596" y="366"/>
                    </a:lnTo>
                    <a:lnTo>
                      <a:pt x="594" y="366"/>
                    </a:lnTo>
                    <a:lnTo>
                      <a:pt x="594" y="366"/>
                    </a:lnTo>
                    <a:lnTo>
                      <a:pt x="594" y="368"/>
                    </a:lnTo>
                    <a:lnTo>
                      <a:pt x="592" y="368"/>
                    </a:lnTo>
                    <a:lnTo>
                      <a:pt x="592" y="368"/>
                    </a:lnTo>
                    <a:lnTo>
                      <a:pt x="592" y="368"/>
                    </a:lnTo>
                    <a:lnTo>
                      <a:pt x="592" y="370"/>
                    </a:lnTo>
                    <a:lnTo>
                      <a:pt x="590" y="372"/>
                    </a:lnTo>
                    <a:lnTo>
                      <a:pt x="590" y="372"/>
                    </a:lnTo>
                    <a:lnTo>
                      <a:pt x="590" y="376"/>
                    </a:lnTo>
                    <a:lnTo>
                      <a:pt x="592" y="380"/>
                    </a:lnTo>
                    <a:lnTo>
                      <a:pt x="594" y="382"/>
                    </a:lnTo>
                    <a:lnTo>
                      <a:pt x="594" y="386"/>
                    </a:lnTo>
                    <a:lnTo>
                      <a:pt x="596" y="388"/>
                    </a:lnTo>
                    <a:lnTo>
                      <a:pt x="596" y="388"/>
                    </a:lnTo>
                    <a:lnTo>
                      <a:pt x="598" y="390"/>
                    </a:lnTo>
                    <a:lnTo>
                      <a:pt x="600" y="392"/>
                    </a:lnTo>
                    <a:lnTo>
                      <a:pt x="602" y="396"/>
                    </a:lnTo>
                    <a:lnTo>
                      <a:pt x="606" y="398"/>
                    </a:lnTo>
                    <a:lnTo>
                      <a:pt x="610" y="402"/>
                    </a:lnTo>
                    <a:lnTo>
                      <a:pt x="614" y="406"/>
                    </a:lnTo>
                    <a:lnTo>
                      <a:pt x="616" y="408"/>
                    </a:lnTo>
                    <a:lnTo>
                      <a:pt x="618" y="412"/>
                    </a:lnTo>
                    <a:lnTo>
                      <a:pt x="620" y="414"/>
                    </a:lnTo>
                    <a:lnTo>
                      <a:pt x="620" y="418"/>
                    </a:lnTo>
                    <a:lnTo>
                      <a:pt x="622" y="422"/>
                    </a:lnTo>
                    <a:lnTo>
                      <a:pt x="622" y="422"/>
                    </a:lnTo>
                    <a:lnTo>
                      <a:pt x="622" y="424"/>
                    </a:lnTo>
                    <a:lnTo>
                      <a:pt x="622" y="424"/>
                    </a:lnTo>
                    <a:lnTo>
                      <a:pt x="620" y="424"/>
                    </a:lnTo>
                    <a:lnTo>
                      <a:pt x="618" y="426"/>
                    </a:lnTo>
                    <a:lnTo>
                      <a:pt x="616" y="426"/>
                    </a:lnTo>
                    <a:lnTo>
                      <a:pt x="614" y="426"/>
                    </a:lnTo>
                    <a:lnTo>
                      <a:pt x="610" y="426"/>
                    </a:lnTo>
                    <a:lnTo>
                      <a:pt x="608" y="426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2"/>
                    </a:lnTo>
                    <a:lnTo>
                      <a:pt x="604" y="422"/>
                    </a:lnTo>
                    <a:lnTo>
                      <a:pt x="604" y="422"/>
                    </a:lnTo>
                    <a:lnTo>
                      <a:pt x="604" y="420"/>
                    </a:lnTo>
                    <a:lnTo>
                      <a:pt x="602" y="416"/>
                    </a:lnTo>
                    <a:lnTo>
                      <a:pt x="600" y="414"/>
                    </a:lnTo>
                    <a:lnTo>
                      <a:pt x="598" y="412"/>
                    </a:lnTo>
                    <a:lnTo>
                      <a:pt x="598" y="412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4" y="410"/>
                    </a:lnTo>
                    <a:lnTo>
                      <a:pt x="592" y="410"/>
                    </a:lnTo>
                    <a:lnTo>
                      <a:pt x="592" y="410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4"/>
                    </a:lnTo>
                    <a:lnTo>
                      <a:pt x="590" y="414"/>
                    </a:lnTo>
                    <a:lnTo>
                      <a:pt x="590" y="414"/>
                    </a:lnTo>
                    <a:lnTo>
                      <a:pt x="590" y="416"/>
                    </a:lnTo>
                    <a:lnTo>
                      <a:pt x="588" y="418"/>
                    </a:lnTo>
                    <a:lnTo>
                      <a:pt x="588" y="422"/>
                    </a:lnTo>
                    <a:lnTo>
                      <a:pt x="588" y="426"/>
                    </a:lnTo>
                    <a:lnTo>
                      <a:pt x="588" y="430"/>
                    </a:lnTo>
                    <a:lnTo>
                      <a:pt x="586" y="432"/>
                    </a:lnTo>
                    <a:lnTo>
                      <a:pt x="582" y="434"/>
                    </a:lnTo>
                    <a:lnTo>
                      <a:pt x="576" y="436"/>
                    </a:lnTo>
                    <a:lnTo>
                      <a:pt x="572" y="440"/>
                    </a:lnTo>
                    <a:lnTo>
                      <a:pt x="568" y="440"/>
                    </a:lnTo>
                    <a:lnTo>
                      <a:pt x="562" y="438"/>
                    </a:lnTo>
                    <a:lnTo>
                      <a:pt x="556" y="438"/>
                    </a:lnTo>
                    <a:lnTo>
                      <a:pt x="550" y="438"/>
                    </a:lnTo>
                    <a:lnTo>
                      <a:pt x="544" y="438"/>
                    </a:lnTo>
                    <a:lnTo>
                      <a:pt x="544" y="438"/>
                    </a:lnTo>
                    <a:lnTo>
                      <a:pt x="544" y="438"/>
                    </a:lnTo>
                    <a:lnTo>
                      <a:pt x="540" y="440"/>
                    </a:lnTo>
                    <a:lnTo>
                      <a:pt x="540" y="440"/>
                    </a:lnTo>
                    <a:lnTo>
                      <a:pt x="538" y="440"/>
                    </a:lnTo>
                    <a:lnTo>
                      <a:pt x="534" y="442"/>
                    </a:lnTo>
                    <a:lnTo>
                      <a:pt x="534" y="442"/>
                    </a:lnTo>
                    <a:lnTo>
                      <a:pt x="534" y="444"/>
                    </a:lnTo>
                    <a:lnTo>
                      <a:pt x="532" y="444"/>
                    </a:lnTo>
                    <a:lnTo>
                      <a:pt x="532" y="444"/>
                    </a:lnTo>
                    <a:lnTo>
                      <a:pt x="532" y="446"/>
                    </a:lnTo>
                    <a:lnTo>
                      <a:pt x="530" y="446"/>
                    </a:lnTo>
                    <a:lnTo>
                      <a:pt x="528" y="446"/>
                    </a:lnTo>
                    <a:lnTo>
                      <a:pt x="524" y="448"/>
                    </a:lnTo>
                    <a:lnTo>
                      <a:pt x="522" y="448"/>
                    </a:lnTo>
                    <a:lnTo>
                      <a:pt x="520" y="448"/>
                    </a:lnTo>
                    <a:lnTo>
                      <a:pt x="520" y="448"/>
                    </a:lnTo>
                    <a:lnTo>
                      <a:pt x="520" y="448"/>
                    </a:lnTo>
                    <a:lnTo>
                      <a:pt x="518" y="446"/>
                    </a:lnTo>
                    <a:lnTo>
                      <a:pt x="520" y="442"/>
                    </a:lnTo>
                    <a:lnTo>
                      <a:pt x="520" y="442"/>
                    </a:lnTo>
                    <a:lnTo>
                      <a:pt x="520" y="440"/>
                    </a:lnTo>
                    <a:lnTo>
                      <a:pt x="522" y="438"/>
                    </a:lnTo>
                    <a:lnTo>
                      <a:pt x="524" y="436"/>
                    </a:lnTo>
                    <a:lnTo>
                      <a:pt x="524" y="436"/>
                    </a:lnTo>
                    <a:lnTo>
                      <a:pt x="524" y="434"/>
                    </a:lnTo>
                    <a:lnTo>
                      <a:pt x="524" y="434"/>
                    </a:lnTo>
                    <a:lnTo>
                      <a:pt x="524" y="434"/>
                    </a:lnTo>
                    <a:lnTo>
                      <a:pt x="524" y="432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0" y="430"/>
                    </a:lnTo>
                    <a:lnTo>
                      <a:pt x="520" y="430"/>
                    </a:lnTo>
                    <a:lnTo>
                      <a:pt x="518" y="430"/>
                    </a:lnTo>
                    <a:lnTo>
                      <a:pt x="516" y="430"/>
                    </a:lnTo>
                    <a:lnTo>
                      <a:pt x="514" y="430"/>
                    </a:lnTo>
                    <a:lnTo>
                      <a:pt x="510" y="428"/>
                    </a:lnTo>
                    <a:lnTo>
                      <a:pt x="506" y="428"/>
                    </a:lnTo>
                    <a:lnTo>
                      <a:pt x="506" y="428"/>
                    </a:lnTo>
                    <a:lnTo>
                      <a:pt x="504" y="428"/>
                    </a:lnTo>
                    <a:lnTo>
                      <a:pt x="498" y="434"/>
                    </a:lnTo>
                    <a:lnTo>
                      <a:pt x="494" y="436"/>
                    </a:lnTo>
                    <a:lnTo>
                      <a:pt x="490" y="438"/>
                    </a:lnTo>
                    <a:lnTo>
                      <a:pt x="490" y="438"/>
                    </a:lnTo>
                    <a:lnTo>
                      <a:pt x="486" y="438"/>
                    </a:lnTo>
                    <a:lnTo>
                      <a:pt x="484" y="438"/>
                    </a:lnTo>
                    <a:lnTo>
                      <a:pt x="476" y="440"/>
                    </a:lnTo>
                    <a:lnTo>
                      <a:pt x="474" y="442"/>
                    </a:lnTo>
                    <a:lnTo>
                      <a:pt x="474" y="442"/>
                    </a:lnTo>
                    <a:lnTo>
                      <a:pt x="474" y="442"/>
                    </a:lnTo>
                    <a:lnTo>
                      <a:pt x="472" y="442"/>
                    </a:lnTo>
                    <a:lnTo>
                      <a:pt x="472" y="442"/>
                    </a:lnTo>
                    <a:lnTo>
                      <a:pt x="470" y="444"/>
                    </a:lnTo>
                    <a:lnTo>
                      <a:pt x="468" y="446"/>
                    </a:lnTo>
                    <a:lnTo>
                      <a:pt x="468" y="446"/>
                    </a:lnTo>
                    <a:lnTo>
                      <a:pt x="468" y="446"/>
                    </a:lnTo>
                    <a:lnTo>
                      <a:pt x="466" y="448"/>
                    </a:lnTo>
                    <a:lnTo>
                      <a:pt x="462" y="454"/>
                    </a:lnTo>
                    <a:lnTo>
                      <a:pt x="460" y="460"/>
                    </a:lnTo>
                    <a:lnTo>
                      <a:pt x="458" y="462"/>
                    </a:lnTo>
                    <a:lnTo>
                      <a:pt x="456" y="464"/>
                    </a:lnTo>
                    <a:lnTo>
                      <a:pt x="452" y="464"/>
                    </a:lnTo>
                    <a:lnTo>
                      <a:pt x="452" y="464"/>
                    </a:lnTo>
                    <a:lnTo>
                      <a:pt x="452" y="464"/>
                    </a:lnTo>
                    <a:lnTo>
                      <a:pt x="446" y="466"/>
                    </a:lnTo>
                    <a:lnTo>
                      <a:pt x="446" y="466"/>
                    </a:lnTo>
                    <a:lnTo>
                      <a:pt x="446" y="466"/>
                    </a:lnTo>
                    <a:lnTo>
                      <a:pt x="442" y="470"/>
                    </a:lnTo>
                    <a:lnTo>
                      <a:pt x="438" y="472"/>
                    </a:lnTo>
                    <a:lnTo>
                      <a:pt x="434" y="476"/>
                    </a:lnTo>
                    <a:lnTo>
                      <a:pt x="430" y="480"/>
                    </a:lnTo>
                    <a:lnTo>
                      <a:pt x="424" y="488"/>
                    </a:lnTo>
                    <a:lnTo>
                      <a:pt x="422" y="490"/>
                    </a:lnTo>
                    <a:lnTo>
                      <a:pt x="420" y="492"/>
                    </a:lnTo>
                    <a:lnTo>
                      <a:pt x="420" y="492"/>
                    </a:lnTo>
                    <a:lnTo>
                      <a:pt x="420" y="492"/>
                    </a:lnTo>
                    <a:lnTo>
                      <a:pt x="418" y="494"/>
                    </a:lnTo>
                    <a:lnTo>
                      <a:pt x="418" y="494"/>
                    </a:lnTo>
                    <a:lnTo>
                      <a:pt x="418" y="494"/>
                    </a:lnTo>
                    <a:lnTo>
                      <a:pt x="416" y="496"/>
                    </a:lnTo>
                    <a:lnTo>
                      <a:pt x="416" y="496"/>
                    </a:lnTo>
                    <a:lnTo>
                      <a:pt x="416" y="496"/>
                    </a:lnTo>
                    <a:lnTo>
                      <a:pt x="416" y="498"/>
                    </a:lnTo>
                    <a:lnTo>
                      <a:pt x="416" y="498"/>
                    </a:lnTo>
                    <a:lnTo>
                      <a:pt x="416" y="498"/>
                    </a:lnTo>
                    <a:lnTo>
                      <a:pt x="416" y="500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2" y="504"/>
                    </a:lnTo>
                    <a:lnTo>
                      <a:pt x="408" y="504"/>
                    </a:lnTo>
                    <a:lnTo>
                      <a:pt x="404" y="504"/>
                    </a:lnTo>
                    <a:lnTo>
                      <a:pt x="400" y="506"/>
                    </a:lnTo>
                    <a:lnTo>
                      <a:pt x="398" y="504"/>
                    </a:lnTo>
                    <a:lnTo>
                      <a:pt x="396" y="502"/>
                    </a:lnTo>
                    <a:lnTo>
                      <a:pt x="392" y="502"/>
                    </a:lnTo>
                    <a:lnTo>
                      <a:pt x="390" y="500"/>
                    </a:lnTo>
                    <a:lnTo>
                      <a:pt x="388" y="498"/>
                    </a:lnTo>
                    <a:lnTo>
                      <a:pt x="388" y="496"/>
                    </a:lnTo>
                    <a:lnTo>
                      <a:pt x="388" y="494"/>
                    </a:lnTo>
                    <a:lnTo>
                      <a:pt x="388" y="490"/>
                    </a:lnTo>
                    <a:lnTo>
                      <a:pt x="388" y="488"/>
                    </a:lnTo>
                    <a:lnTo>
                      <a:pt x="388" y="486"/>
                    </a:lnTo>
                    <a:lnTo>
                      <a:pt x="388" y="484"/>
                    </a:lnTo>
                    <a:lnTo>
                      <a:pt x="388" y="482"/>
                    </a:lnTo>
                    <a:lnTo>
                      <a:pt x="390" y="480"/>
                    </a:lnTo>
                    <a:lnTo>
                      <a:pt x="396" y="476"/>
                    </a:lnTo>
                    <a:lnTo>
                      <a:pt x="398" y="474"/>
                    </a:lnTo>
                    <a:lnTo>
                      <a:pt x="400" y="472"/>
                    </a:lnTo>
                    <a:lnTo>
                      <a:pt x="400" y="472"/>
                    </a:lnTo>
                    <a:lnTo>
                      <a:pt x="402" y="472"/>
                    </a:lnTo>
                    <a:lnTo>
                      <a:pt x="404" y="468"/>
                    </a:lnTo>
                    <a:lnTo>
                      <a:pt x="404" y="468"/>
                    </a:lnTo>
                    <a:lnTo>
                      <a:pt x="404" y="468"/>
                    </a:lnTo>
                    <a:lnTo>
                      <a:pt x="406" y="464"/>
                    </a:lnTo>
                    <a:lnTo>
                      <a:pt x="406" y="464"/>
                    </a:lnTo>
                    <a:lnTo>
                      <a:pt x="406" y="462"/>
                    </a:lnTo>
                    <a:lnTo>
                      <a:pt x="404" y="460"/>
                    </a:lnTo>
                    <a:lnTo>
                      <a:pt x="402" y="460"/>
                    </a:lnTo>
                    <a:lnTo>
                      <a:pt x="402" y="460"/>
                    </a:lnTo>
                    <a:lnTo>
                      <a:pt x="400" y="458"/>
                    </a:lnTo>
                    <a:lnTo>
                      <a:pt x="400" y="458"/>
                    </a:lnTo>
                    <a:lnTo>
                      <a:pt x="400" y="454"/>
                    </a:lnTo>
                    <a:lnTo>
                      <a:pt x="400" y="454"/>
                    </a:lnTo>
                    <a:lnTo>
                      <a:pt x="400" y="454"/>
                    </a:lnTo>
                    <a:lnTo>
                      <a:pt x="398" y="452"/>
                    </a:lnTo>
                    <a:lnTo>
                      <a:pt x="396" y="450"/>
                    </a:lnTo>
                    <a:lnTo>
                      <a:pt x="396" y="450"/>
                    </a:lnTo>
                    <a:lnTo>
                      <a:pt x="396" y="448"/>
                    </a:lnTo>
                    <a:lnTo>
                      <a:pt x="394" y="448"/>
                    </a:lnTo>
                    <a:lnTo>
                      <a:pt x="394" y="448"/>
                    </a:lnTo>
                    <a:lnTo>
                      <a:pt x="392" y="448"/>
                    </a:lnTo>
                    <a:lnTo>
                      <a:pt x="390" y="446"/>
                    </a:lnTo>
                    <a:lnTo>
                      <a:pt x="384" y="446"/>
                    </a:lnTo>
                    <a:lnTo>
                      <a:pt x="378" y="444"/>
                    </a:lnTo>
                    <a:lnTo>
                      <a:pt x="376" y="444"/>
                    </a:lnTo>
                    <a:lnTo>
                      <a:pt x="372" y="444"/>
                    </a:lnTo>
                    <a:lnTo>
                      <a:pt x="370" y="442"/>
                    </a:lnTo>
                    <a:lnTo>
                      <a:pt x="368" y="442"/>
                    </a:lnTo>
                    <a:lnTo>
                      <a:pt x="368" y="440"/>
                    </a:lnTo>
                    <a:lnTo>
                      <a:pt x="366" y="438"/>
                    </a:lnTo>
                    <a:lnTo>
                      <a:pt x="364" y="438"/>
                    </a:lnTo>
                    <a:lnTo>
                      <a:pt x="364" y="438"/>
                    </a:lnTo>
                    <a:lnTo>
                      <a:pt x="362" y="438"/>
                    </a:lnTo>
                    <a:lnTo>
                      <a:pt x="362" y="438"/>
                    </a:lnTo>
                    <a:lnTo>
                      <a:pt x="362" y="438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58" y="442"/>
                    </a:lnTo>
                    <a:lnTo>
                      <a:pt x="358" y="442"/>
                    </a:lnTo>
                    <a:lnTo>
                      <a:pt x="358" y="444"/>
                    </a:lnTo>
                    <a:lnTo>
                      <a:pt x="358" y="444"/>
                    </a:lnTo>
                    <a:lnTo>
                      <a:pt x="358" y="446"/>
                    </a:lnTo>
                    <a:lnTo>
                      <a:pt x="358" y="446"/>
                    </a:lnTo>
                    <a:lnTo>
                      <a:pt x="358" y="448"/>
                    </a:lnTo>
                    <a:lnTo>
                      <a:pt x="360" y="448"/>
                    </a:lnTo>
                    <a:lnTo>
                      <a:pt x="360" y="452"/>
                    </a:lnTo>
                    <a:lnTo>
                      <a:pt x="362" y="454"/>
                    </a:lnTo>
                    <a:lnTo>
                      <a:pt x="364" y="458"/>
                    </a:lnTo>
                    <a:lnTo>
                      <a:pt x="366" y="462"/>
                    </a:lnTo>
                    <a:lnTo>
                      <a:pt x="366" y="464"/>
                    </a:lnTo>
                    <a:lnTo>
                      <a:pt x="368" y="466"/>
                    </a:lnTo>
                    <a:lnTo>
                      <a:pt x="368" y="470"/>
                    </a:lnTo>
                    <a:lnTo>
                      <a:pt x="368" y="474"/>
                    </a:lnTo>
                    <a:lnTo>
                      <a:pt x="366" y="476"/>
                    </a:lnTo>
                    <a:lnTo>
                      <a:pt x="366" y="478"/>
                    </a:lnTo>
                    <a:lnTo>
                      <a:pt x="364" y="480"/>
                    </a:lnTo>
                    <a:lnTo>
                      <a:pt x="362" y="482"/>
                    </a:lnTo>
                    <a:lnTo>
                      <a:pt x="362" y="482"/>
                    </a:lnTo>
                    <a:lnTo>
                      <a:pt x="362" y="482"/>
                    </a:lnTo>
                    <a:lnTo>
                      <a:pt x="360" y="486"/>
                    </a:lnTo>
                    <a:lnTo>
                      <a:pt x="360" y="486"/>
                    </a:lnTo>
                    <a:lnTo>
                      <a:pt x="360" y="486"/>
                    </a:lnTo>
                    <a:lnTo>
                      <a:pt x="360" y="490"/>
                    </a:lnTo>
                    <a:lnTo>
                      <a:pt x="360" y="490"/>
                    </a:lnTo>
                    <a:lnTo>
                      <a:pt x="360" y="492"/>
                    </a:lnTo>
                    <a:lnTo>
                      <a:pt x="362" y="496"/>
                    </a:lnTo>
                    <a:lnTo>
                      <a:pt x="364" y="500"/>
                    </a:lnTo>
                    <a:lnTo>
                      <a:pt x="366" y="502"/>
                    </a:lnTo>
                    <a:lnTo>
                      <a:pt x="368" y="504"/>
                    </a:lnTo>
                    <a:lnTo>
                      <a:pt x="368" y="506"/>
                    </a:lnTo>
                    <a:lnTo>
                      <a:pt x="370" y="510"/>
                    </a:lnTo>
                    <a:lnTo>
                      <a:pt x="370" y="514"/>
                    </a:lnTo>
                    <a:lnTo>
                      <a:pt x="370" y="518"/>
                    </a:lnTo>
                    <a:lnTo>
                      <a:pt x="370" y="520"/>
                    </a:lnTo>
                    <a:lnTo>
                      <a:pt x="368" y="524"/>
                    </a:lnTo>
                    <a:lnTo>
                      <a:pt x="368" y="528"/>
                    </a:lnTo>
                    <a:lnTo>
                      <a:pt x="366" y="530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58" y="530"/>
                    </a:lnTo>
                    <a:lnTo>
                      <a:pt x="354" y="530"/>
                    </a:lnTo>
                    <a:lnTo>
                      <a:pt x="352" y="530"/>
                    </a:lnTo>
                    <a:lnTo>
                      <a:pt x="348" y="530"/>
                    </a:lnTo>
                    <a:lnTo>
                      <a:pt x="344" y="530"/>
                    </a:lnTo>
                    <a:lnTo>
                      <a:pt x="338" y="530"/>
                    </a:lnTo>
                    <a:lnTo>
                      <a:pt x="338" y="530"/>
                    </a:lnTo>
                    <a:lnTo>
                      <a:pt x="338" y="530"/>
                    </a:lnTo>
                    <a:lnTo>
                      <a:pt x="334" y="530"/>
                    </a:lnTo>
                    <a:lnTo>
                      <a:pt x="332" y="530"/>
                    </a:lnTo>
                    <a:lnTo>
                      <a:pt x="332" y="530"/>
                    </a:lnTo>
                    <a:lnTo>
                      <a:pt x="332" y="530"/>
                    </a:lnTo>
                    <a:lnTo>
                      <a:pt x="328" y="534"/>
                    </a:lnTo>
                    <a:lnTo>
                      <a:pt x="324" y="536"/>
                    </a:lnTo>
                    <a:lnTo>
                      <a:pt x="320" y="538"/>
                    </a:lnTo>
                    <a:lnTo>
                      <a:pt x="316" y="538"/>
                    </a:lnTo>
                    <a:lnTo>
                      <a:pt x="314" y="540"/>
                    </a:lnTo>
                    <a:lnTo>
                      <a:pt x="314" y="540"/>
                    </a:lnTo>
                    <a:lnTo>
                      <a:pt x="314" y="540"/>
                    </a:lnTo>
                    <a:lnTo>
                      <a:pt x="312" y="542"/>
                    </a:lnTo>
                    <a:lnTo>
                      <a:pt x="312" y="542"/>
                    </a:lnTo>
                    <a:lnTo>
                      <a:pt x="310" y="542"/>
                    </a:lnTo>
                    <a:lnTo>
                      <a:pt x="308" y="544"/>
                    </a:lnTo>
                    <a:lnTo>
                      <a:pt x="306" y="546"/>
                    </a:lnTo>
                    <a:lnTo>
                      <a:pt x="306" y="548"/>
                    </a:lnTo>
                    <a:lnTo>
                      <a:pt x="302" y="548"/>
                    </a:lnTo>
                    <a:lnTo>
                      <a:pt x="302" y="548"/>
                    </a:lnTo>
                    <a:lnTo>
                      <a:pt x="302" y="548"/>
                    </a:ln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50"/>
                    </a:lnTo>
                    <a:lnTo>
                      <a:pt x="298" y="550"/>
                    </a:lnTo>
                    <a:lnTo>
                      <a:pt x="298" y="550"/>
                    </a:lnTo>
                    <a:lnTo>
                      <a:pt x="298" y="550"/>
                    </a:lnTo>
                    <a:lnTo>
                      <a:pt x="296" y="552"/>
                    </a:lnTo>
                    <a:lnTo>
                      <a:pt x="296" y="552"/>
                    </a:lnTo>
                    <a:lnTo>
                      <a:pt x="296" y="554"/>
                    </a:lnTo>
                    <a:lnTo>
                      <a:pt x="296" y="554"/>
                    </a:lnTo>
                    <a:lnTo>
                      <a:pt x="296" y="554"/>
                    </a:lnTo>
                    <a:lnTo>
                      <a:pt x="296" y="556"/>
                    </a:lnTo>
                    <a:lnTo>
                      <a:pt x="296" y="558"/>
                    </a:lnTo>
                    <a:lnTo>
                      <a:pt x="296" y="558"/>
                    </a:lnTo>
                    <a:lnTo>
                      <a:pt x="296" y="558"/>
                    </a:lnTo>
                    <a:lnTo>
                      <a:pt x="298" y="562"/>
                    </a:lnTo>
                    <a:lnTo>
                      <a:pt x="298" y="562"/>
                    </a:lnTo>
                    <a:lnTo>
                      <a:pt x="298" y="562"/>
                    </a:lnTo>
                    <a:lnTo>
                      <a:pt x="302" y="564"/>
                    </a:lnTo>
                    <a:lnTo>
                      <a:pt x="302" y="564"/>
                    </a:lnTo>
                    <a:lnTo>
                      <a:pt x="304" y="566"/>
                    </a:lnTo>
                    <a:lnTo>
                      <a:pt x="306" y="568"/>
                    </a:lnTo>
                    <a:lnTo>
                      <a:pt x="306" y="570"/>
                    </a:lnTo>
                    <a:lnTo>
                      <a:pt x="306" y="572"/>
                    </a:lnTo>
                    <a:lnTo>
                      <a:pt x="308" y="576"/>
                    </a:lnTo>
                    <a:lnTo>
                      <a:pt x="308" y="578"/>
                    </a:lnTo>
                    <a:lnTo>
                      <a:pt x="308" y="580"/>
                    </a:lnTo>
                    <a:lnTo>
                      <a:pt x="304" y="580"/>
                    </a:lnTo>
                    <a:lnTo>
                      <a:pt x="298" y="580"/>
                    </a:lnTo>
                    <a:lnTo>
                      <a:pt x="290" y="580"/>
                    </a:lnTo>
                    <a:lnTo>
                      <a:pt x="288" y="580"/>
                    </a:lnTo>
                    <a:lnTo>
                      <a:pt x="284" y="578"/>
                    </a:lnTo>
                    <a:lnTo>
                      <a:pt x="280" y="576"/>
                    </a:lnTo>
                    <a:lnTo>
                      <a:pt x="276" y="576"/>
                    </a:lnTo>
                    <a:lnTo>
                      <a:pt x="270" y="572"/>
                    </a:lnTo>
                    <a:lnTo>
                      <a:pt x="266" y="570"/>
                    </a:lnTo>
                    <a:lnTo>
                      <a:pt x="266" y="570"/>
                    </a:lnTo>
                    <a:lnTo>
                      <a:pt x="266" y="570"/>
                    </a:lnTo>
                    <a:lnTo>
                      <a:pt x="266" y="568"/>
                    </a:lnTo>
                    <a:lnTo>
                      <a:pt x="264" y="568"/>
                    </a:lnTo>
                    <a:lnTo>
                      <a:pt x="260" y="568"/>
                    </a:lnTo>
                    <a:lnTo>
                      <a:pt x="258" y="568"/>
                    </a:lnTo>
                    <a:lnTo>
                      <a:pt x="254" y="566"/>
                    </a:lnTo>
                    <a:lnTo>
                      <a:pt x="250" y="566"/>
                    </a:lnTo>
                    <a:lnTo>
                      <a:pt x="246" y="568"/>
                    </a:lnTo>
                    <a:lnTo>
                      <a:pt x="246" y="568"/>
                    </a:lnTo>
                    <a:lnTo>
                      <a:pt x="246" y="568"/>
                    </a:lnTo>
                    <a:lnTo>
                      <a:pt x="244" y="568"/>
                    </a:lnTo>
                    <a:lnTo>
                      <a:pt x="242" y="568"/>
                    </a:lnTo>
                    <a:lnTo>
                      <a:pt x="240" y="568"/>
                    </a:lnTo>
                    <a:lnTo>
                      <a:pt x="238" y="570"/>
                    </a:lnTo>
                    <a:lnTo>
                      <a:pt x="238" y="570"/>
                    </a:lnTo>
                    <a:lnTo>
                      <a:pt x="236" y="570"/>
                    </a:lnTo>
                    <a:lnTo>
                      <a:pt x="236" y="570"/>
                    </a:lnTo>
                    <a:lnTo>
                      <a:pt x="236" y="570"/>
                    </a:lnTo>
                    <a:lnTo>
                      <a:pt x="236" y="574"/>
                    </a:lnTo>
                    <a:lnTo>
                      <a:pt x="236" y="574"/>
                    </a:lnTo>
                    <a:lnTo>
                      <a:pt x="236" y="574"/>
                    </a:lnTo>
                    <a:lnTo>
                      <a:pt x="238" y="576"/>
                    </a:lnTo>
                    <a:lnTo>
                      <a:pt x="238" y="576"/>
                    </a:lnTo>
                    <a:lnTo>
                      <a:pt x="240" y="578"/>
                    </a:lnTo>
                    <a:lnTo>
                      <a:pt x="242" y="578"/>
                    </a:lnTo>
                    <a:lnTo>
                      <a:pt x="242" y="578"/>
                    </a:lnTo>
                    <a:lnTo>
                      <a:pt x="242" y="580"/>
                    </a:lnTo>
                    <a:lnTo>
                      <a:pt x="242" y="580"/>
                    </a:lnTo>
                    <a:lnTo>
                      <a:pt x="244" y="580"/>
                    </a:lnTo>
                    <a:lnTo>
                      <a:pt x="246" y="582"/>
                    </a:lnTo>
                    <a:lnTo>
                      <a:pt x="250" y="584"/>
                    </a:lnTo>
                    <a:lnTo>
                      <a:pt x="252" y="586"/>
                    </a:lnTo>
                    <a:lnTo>
                      <a:pt x="254" y="588"/>
                    </a:lnTo>
                    <a:lnTo>
                      <a:pt x="254" y="588"/>
                    </a:lnTo>
                    <a:lnTo>
                      <a:pt x="254" y="588"/>
                    </a:lnTo>
                    <a:lnTo>
                      <a:pt x="256" y="590"/>
                    </a:lnTo>
                    <a:lnTo>
                      <a:pt x="262" y="592"/>
                    </a:lnTo>
                    <a:lnTo>
                      <a:pt x="268" y="596"/>
                    </a:lnTo>
                    <a:lnTo>
                      <a:pt x="272" y="600"/>
                    </a:lnTo>
                    <a:lnTo>
                      <a:pt x="274" y="602"/>
                    </a:lnTo>
                    <a:lnTo>
                      <a:pt x="276" y="606"/>
                    </a:lnTo>
                    <a:lnTo>
                      <a:pt x="276" y="606"/>
                    </a:lnTo>
                    <a:lnTo>
                      <a:pt x="278" y="608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2" y="612"/>
                    </a:lnTo>
                    <a:lnTo>
                      <a:pt x="268" y="612"/>
                    </a:lnTo>
                    <a:lnTo>
                      <a:pt x="262" y="612"/>
                    </a:lnTo>
                    <a:lnTo>
                      <a:pt x="256" y="612"/>
                    </a:lnTo>
                    <a:lnTo>
                      <a:pt x="252" y="610"/>
                    </a:lnTo>
                    <a:lnTo>
                      <a:pt x="250" y="610"/>
                    </a:lnTo>
                    <a:lnTo>
                      <a:pt x="250" y="610"/>
                    </a:lnTo>
                    <a:lnTo>
                      <a:pt x="248" y="610"/>
                    </a:lnTo>
                    <a:lnTo>
                      <a:pt x="248" y="608"/>
                    </a:lnTo>
                    <a:lnTo>
                      <a:pt x="246" y="606"/>
                    </a:lnTo>
                    <a:lnTo>
                      <a:pt x="244" y="602"/>
                    </a:lnTo>
                    <a:lnTo>
                      <a:pt x="244" y="600"/>
                    </a:lnTo>
                    <a:lnTo>
                      <a:pt x="242" y="598"/>
                    </a:lnTo>
                    <a:lnTo>
                      <a:pt x="242" y="594"/>
                    </a:lnTo>
                    <a:lnTo>
                      <a:pt x="240" y="592"/>
                    </a:lnTo>
                    <a:lnTo>
                      <a:pt x="238" y="584"/>
                    </a:lnTo>
                    <a:lnTo>
                      <a:pt x="236" y="576"/>
                    </a:lnTo>
                    <a:lnTo>
                      <a:pt x="232" y="566"/>
                    </a:lnTo>
                    <a:lnTo>
                      <a:pt x="230" y="558"/>
                    </a:lnTo>
                    <a:lnTo>
                      <a:pt x="228" y="552"/>
                    </a:lnTo>
                    <a:lnTo>
                      <a:pt x="228" y="548"/>
                    </a:lnTo>
                    <a:lnTo>
                      <a:pt x="226" y="546"/>
                    </a:lnTo>
                    <a:lnTo>
                      <a:pt x="226" y="546"/>
                    </a:lnTo>
                    <a:lnTo>
                      <a:pt x="226" y="544"/>
                    </a:lnTo>
                    <a:lnTo>
                      <a:pt x="222" y="542"/>
                    </a:lnTo>
                    <a:lnTo>
                      <a:pt x="220" y="540"/>
                    </a:lnTo>
                    <a:lnTo>
                      <a:pt x="220" y="538"/>
                    </a:lnTo>
                    <a:lnTo>
                      <a:pt x="218" y="536"/>
                    </a:lnTo>
                    <a:lnTo>
                      <a:pt x="218" y="530"/>
                    </a:lnTo>
                    <a:lnTo>
                      <a:pt x="216" y="524"/>
                    </a:lnTo>
                    <a:lnTo>
                      <a:pt x="216" y="524"/>
                    </a:lnTo>
                    <a:lnTo>
                      <a:pt x="214" y="522"/>
                    </a:lnTo>
                    <a:lnTo>
                      <a:pt x="210" y="520"/>
                    </a:lnTo>
                    <a:lnTo>
                      <a:pt x="206" y="518"/>
                    </a:lnTo>
                    <a:lnTo>
                      <a:pt x="200" y="516"/>
                    </a:lnTo>
                    <a:lnTo>
                      <a:pt x="196" y="512"/>
                    </a:lnTo>
                    <a:lnTo>
                      <a:pt x="196" y="512"/>
                    </a:lnTo>
                    <a:lnTo>
                      <a:pt x="192" y="508"/>
                    </a:lnTo>
                    <a:lnTo>
                      <a:pt x="190" y="506"/>
                    </a:lnTo>
                    <a:lnTo>
                      <a:pt x="188" y="504"/>
                    </a:lnTo>
                    <a:lnTo>
                      <a:pt x="188" y="504"/>
                    </a:lnTo>
                    <a:lnTo>
                      <a:pt x="188" y="500"/>
                    </a:lnTo>
                    <a:lnTo>
                      <a:pt x="188" y="500"/>
                    </a:lnTo>
                    <a:lnTo>
                      <a:pt x="188" y="498"/>
                    </a:lnTo>
                    <a:lnTo>
                      <a:pt x="188" y="498"/>
                    </a:lnTo>
                    <a:lnTo>
                      <a:pt x="190" y="498"/>
                    </a:lnTo>
                    <a:lnTo>
                      <a:pt x="192" y="498"/>
                    </a:lnTo>
                    <a:lnTo>
                      <a:pt x="192" y="498"/>
                    </a:lnTo>
                    <a:lnTo>
                      <a:pt x="192" y="498"/>
                    </a:lnTo>
                    <a:lnTo>
                      <a:pt x="192" y="500"/>
                    </a:lnTo>
                    <a:lnTo>
                      <a:pt x="196" y="502"/>
                    </a:lnTo>
                    <a:lnTo>
                      <a:pt x="198" y="506"/>
                    </a:lnTo>
                    <a:lnTo>
                      <a:pt x="200" y="510"/>
                    </a:lnTo>
                    <a:lnTo>
                      <a:pt x="200" y="510"/>
                    </a:lnTo>
                    <a:lnTo>
                      <a:pt x="202" y="510"/>
                    </a:lnTo>
                    <a:lnTo>
                      <a:pt x="206" y="512"/>
                    </a:lnTo>
                    <a:lnTo>
                      <a:pt x="212" y="512"/>
                    </a:lnTo>
                    <a:lnTo>
                      <a:pt x="218" y="514"/>
                    </a:lnTo>
                    <a:lnTo>
                      <a:pt x="222" y="516"/>
                    </a:lnTo>
                    <a:lnTo>
                      <a:pt x="222" y="516"/>
                    </a:lnTo>
                    <a:lnTo>
                      <a:pt x="222" y="516"/>
                    </a:lnTo>
                    <a:lnTo>
                      <a:pt x="224" y="518"/>
                    </a:lnTo>
                    <a:lnTo>
                      <a:pt x="226" y="518"/>
                    </a:lnTo>
                    <a:lnTo>
                      <a:pt x="228" y="518"/>
                    </a:lnTo>
                    <a:lnTo>
                      <a:pt x="228" y="520"/>
                    </a:lnTo>
                    <a:lnTo>
                      <a:pt x="230" y="522"/>
                    </a:lnTo>
                    <a:lnTo>
                      <a:pt x="232" y="524"/>
                    </a:lnTo>
                    <a:lnTo>
                      <a:pt x="234" y="526"/>
                    </a:lnTo>
                    <a:lnTo>
                      <a:pt x="234" y="526"/>
                    </a:lnTo>
                    <a:lnTo>
                      <a:pt x="236" y="526"/>
                    </a:lnTo>
                    <a:lnTo>
                      <a:pt x="240" y="526"/>
                    </a:lnTo>
                    <a:lnTo>
                      <a:pt x="244" y="528"/>
                    </a:lnTo>
                    <a:lnTo>
                      <a:pt x="248" y="530"/>
                    </a:lnTo>
                    <a:lnTo>
                      <a:pt x="252" y="532"/>
                    </a:lnTo>
                    <a:lnTo>
                      <a:pt x="252" y="532"/>
                    </a:lnTo>
                    <a:lnTo>
                      <a:pt x="254" y="532"/>
                    </a:lnTo>
                    <a:lnTo>
                      <a:pt x="258" y="532"/>
                    </a:lnTo>
                    <a:lnTo>
                      <a:pt x="264" y="534"/>
                    </a:lnTo>
                    <a:lnTo>
                      <a:pt x="272" y="536"/>
                    </a:lnTo>
                    <a:lnTo>
                      <a:pt x="276" y="536"/>
                    </a:lnTo>
                    <a:lnTo>
                      <a:pt x="282" y="536"/>
                    </a:lnTo>
                    <a:lnTo>
                      <a:pt x="286" y="538"/>
                    </a:lnTo>
                    <a:lnTo>
                      <a:pt x="292" y="538"/>
                    </a:lnTo>
                    <a:lnTo>
                      <a:pt x="292" y="538"/>
                    </a:lnTo>
                    <a:lnTo>
                      <a:pt x="294" y="538"/>
                    </a:lnTo>
                    <a:lnTo>
                      <a:pt x="298" y="534"/>
                    </a:lnTo>
                    <a:lnTo>
                      <a:pt x="302" y="532"/>
                    </a:lnTo>
                    <a:lnTo>
                      <a:pt x="306" y="530"/>
                    </a:lnTo>
                    <a:lnTo>
                      <a:pt x="312" y="526"/>
                    </a:lnTo>
                    <a:lnTo>
                      <a:pt x="316" y="522"/>
                    </a:lnTo>
                    <a:lnTo>
                      <a:pt x="316" y="522"/>
                    </a:lnTo>
                    <a:lnTo>
                      <a:pt x="316" y="522"/>
                    </a:lnTo>
                    <a:lnTo>
                      <a:pt x="318" y="518"/>
                    </a:lnTo>
                    <a:lnTo>
                      <a:pt x="318" y="518"/>
                    </a:lnTo>
                    <a:lnTo>
                      <a:pt x="320" y="518"/>
                    </a:lnTo>
                    <a:lnTo>
                      <a:pt x="320" y="516"/>
                    </a:lnTo>
                    <a:lnTo>
                      <a:pt x="322" y="512"/>
                    </a:lnTo>
                    <a:lnTo>
                      <a:pt x="322" y="510"/>
                    </a:lnTo>
                    <a:lnTo>
                      <a:pt x="324" y="506"/>
                    </a:lnTo>
                    <a:lnTo>
                      <a:pt x="324" y="502"/>
                    </a:lnTo>
                    <a:lnTo>
                      <a:pt x="324" y="496"/>
                    </a:lnTo>
                    <a:lnTo>
                      <a:pt x="324" y="496"/>
                    </a:lnTo>
                    <a:lnTo>
                      <a:pt x="324" y="496"/>
                    </a:lnTo>
                    <a:lnTo>
                      <a:pt x="324" y="492"/>
                    </a:lnTo>
                    <a:lnTo>
                      <a:pt x="322" y="490"/>
                    </a:lnTo>
                    <a:lnTo>
                      <a:pt x="322" y="486"/>
                    </a:lnTo>
                    <a:lnTo>
                      <a:pt x="322" y="486"/>
                    </a:lnTo>
                    <a:lnTo>
                      <a:pt x="322" y="486"/>
                    </a:lnTo>
                    <a:lnTo>
                      <a:pt x="318" y="482"/>
                    </a:lnTo>
                    <a:lnTo>
                      <a:pt x="316" y="480"/>
                    </a:lnTo>
                    <a:lnTo>
                      <a:pt x="316" y="480"/>
                    </a:lnTo>
                    <a:lnTo>
                      <a:pt x="316" y="478"/>
                    </a:lnTo>
                    <a:lnTo>
                      <a:pt x="312" y="476"/>
                    </a:lnTo>
                    <a:lnTo>
                      <a:pt x="308" y="474"/>
                    </a:lnTo>
                    <a:lnTo>
                      <a:pt x="306" y="472"/>
                    </a:lnTo>
                    <a:lnTo>
                      <a:pt x="304" y="468"/>
                    </a:lnTo>
                    <a:lnTo>
                      <a:pt x="300" y="462"/>
                    </a:lnTo>
                    <a:lnTo>
                      <a:pt x="298" y="458"/>
                    </a:lnTo>
                    <a:lnTo>
                      <a:pt x="296" y="454"/>
                    </a:lnTo>
                    <a:lnTo>
                      <a:pt x="292" y="448"/>
                    </a:lnTo>
                    <a:lnTo>
                      <a:pt x="292" y="448"/>
                    </a:lnTo>
                    <a:lnTo>
                      <a:pt x="286" y="442"/>
                    </a:lnTo>
                    <a:lnTo>
                      <a:pt x="282" y="438"/>
                    </a:lnTo>
                    <a:lnTo>
                      <a:pt x="276" y="434"/>
                    </a:lnTo>
                    <a:lnTo>
                      <a:pt x="276" y="434"/>
                    </a:lnTo>
                    <a:lnTo>
                      <a:pt x="274" y="434"/>
                    </a:lnTo>
                    <a:lnTo>
                      <a:pt x="270" y="434"/>
                    </a:lnTo>
                    <a:lnTo>
                      <a:pt x="266" y="432"/>
                    </a:lnTo>
                    <a:lnTo>
                      <a:pt x="262" y="430"/>
                    </a:lnTo>
                    <a:lnTo>
                      <a:pt x="258" y="428"/>
                    </a:lnTo>
                    <a:lnTo>
                      <a:pt x="248" y="424"/>
                    </a:lnTo>
                    <a:lnTo>
                      <a:pt x="244" y="422"/>
                    </a:lnTo>
                    <a:lnTo>
                      <a:pt x="240" y="418"/>
                    </a:lnTo>
                    <a:lnTo>
                      <a:pt x="240" y="418"/>
                    </a:lnTo>
                    <a:lnTo>
                      <a:pt x="238" y="418"/>
                    </a:lnTo>
                    <a:lnTo>
                      <a:pt x="234" y="418"/>
                    </a:lnTo>
                    <a:lnTo>
                      <a:pt x="230" y="418"/>
                    </a:lnTo>
                    <a:lnTo>
                      <a:pt x="224" y="418"/>
                    </a:lnTo>
                    <a:lnTo>
                      <a:pt x="218" y="418"/>
                    </a:lnTo>
                    <a:lnTo>
                      <a:pt x="214" y="418"/>
                    </a:lnTo>
                    <a:lnTo>
                      <a:pt x="210" y="418"/>
                    </a:lnTo>
                    <a:lnTo>
                      <a:pt x="206" y="418"/>
                    </a:lnTo>
                    <a:lnTo>
                      <a:pt x="206" y="418"/>
                    </a:lnTo>
                    <a:lnTo>
                      <a:pt x="206" y="418"/>
                    </a:lnTo>
                    <a:lnTo>
                      <a:pt x="204" y="418"/>
                    </a:lnTo>
                    <a:lnTo>
                      <a:pt x="204" y="416"/>
                    </a:lnTo>
                    <a:lnTo>
                      <a:pt x="204" y="414"/>
                    </a:lnTo>
                    <a:lnTo>
                      <a:pt x="204" y="410"/>
                    </a:lnTo>
                    <a:lnTo>
                      <a:pt x="204" y="406"/>
                    </a:lnTo>
                    <a:lnTo>
                      <a:pt x="202" y="402"/>
                    </a:lnTo>
                    <a:lnTo>
                      <a:pt x="202" y="402"/>
                    </a:lnTo>
                    <a:lnTo>
                      <a:pt x="200" y="400"/>
                    </a:lnTo>
                    <a:lnTo>
                      <a:pt x="196" y="400"/>
                    </a:lnTo>
                    <a:lnTo>
                      <a:pt x="194" y="398"/>
                    </a:lnTo>
                    <a:lnTo>
                      <a:pt x="186" y="396"/>
                    </a:lnTo>
                    <a:lnTo>
                      <a:pt x="180" y="396"/>
                    </a:lnTo>
                    <a:lnTo>
                      <a:pt x="174" y="396"/>
                    </a:lnTo>
                    <a:lnTo>
                      <a:pt x="174" y="396"/>
                    </a:lnTo>
                    <a:lnTo>
                      <a:pt x="172" y="396"/>
                    </a:lnTo>
                    <a:lnTo>
                      <a:pt x="164" y="400"/>
                    </a:lnTo>
                    <a:lnTo>
                      <a:pt x="156" y="406"/>
                    </a:lnTo>
                    <a:lnTo>
                      <a:pt x="152" y="410"/>
                    </a:lnTo>
                    <a:lnTo>
                      <a:pt x="148" y="412"/>
                    </a:lnTo>
                    <a:lnTo>
                      <a:pt x="144" y="416"/>
                    </a:lnTo>
                    <a:lnTo>
                      <a:pt x="142" y="420"/>
                    </a:lnTo>
                    <a:lnTo>
                      <a:pt x="140" y="422"/>
                    </a:lnTo>
                    <a:lnTo>
                      <a:pt x="138" y="424"/>
                    </a:lnTo>
                    <a:lnTo>
                      <a:pt x="134" y="426"/>
                    </a:lnTo>
                    <a:lnTo>
                      <a:pt x="132" y="428"/>
                    </a:lnTo>
                    <a:lnTo>
                      <a:pt x="132" y="428"/>
                    </a:lnTo>
                    <a:lnTo>
                      <a:pt x="132" y="428"/>
                    </a:lnTo>
                    <a:lnTo>
                      <a:pt x="130" y="428"/>
                    </a:lnTo>
                    <a:lnTo>
                      <a:pt x="130" y="428"/>
                    </a:lnTo>
                    <a:lnTo>
                      <a:pt x="130" y="430"/>
                    </a:lnTo>
                    <a:lnTo>
                      <a:pt x="128" y="432"/>
                    </a:lnTo>
                    <a:lnTo>
                      <a:pt x="128" y="432"/>
                    </a:lnTo>
                    <a:lnTo>
                      <a:pt x="128" y="432"/>
                    </a:lnTo>
                    <a:lnTo>
                      <a:pt x="128" y="434"/>
                    </a:lnTo>
                    <a:lnTo>
                      <a:pt x="128" y="434"/>
                    </a:lnTo>
                    <a:lnTo>
                      <a:pt x="128" y="434"/>
                    </a:lnTo>
                    <a:lnTo>
                      <a:pt x="128" y="436"/>
                    </a:lnTo>
                    <a:lnTo>
                      <a:pt x="128" y="436"/>
                    </a:lnTo>
                    <a:lnTo>
                      <a:pt x="130" y="438"/>
                    </a:lnTo>
                    <a:lnTo>
                      <a:pt x="130" y="440"/>
                    </a:lnTo>
                    <a:lnTo>
                      <a:pt x="132" y="442"/>
                    </a:lnTo>
                    <a:lnTo>
                      <a:pt x="134" y="446"/>
                    </a:lnTo>
                    <a:lnTo>
                      <a:pt x="138" y="448"/>
                    </a:lnTo>
                    <a:lnTo>
                      <a:pt x="138" y="450"/>
                    </a:lnTo>
                    <a:lnTo>
                      <a:pt x="140" y="452"/>
                    </a:lnTo>
                    <a:lnTo>
                      <a:pt x="140" y="452"/>
                    </a:lnTo>
                    <a:lnTo>
                      <a:pt x="140" y="452"/>
                    </a:lnTo>
                    <a:lnTo>
                      <a:pt x="140" y="454"/>
                    </a:lnTo>
                    <a:lnTo>
                      <a:pt x="142" y="454"/>
                    </a:lnTo>
                    <a:lnTo>
                      <a:pt x="142" y="454"/>
                    </a:lnTo>
                    <a:lnTo>
                      <a:pt x="142" y="456"/>
                    </a:lnTo>
                    <a:lnTo>
                      <a:pt x="142" y="456"/>
                    </a:lnTo>
                    <a:lnTo>
                      <a:pt x="142" y="456"/>
                    </a:lnTo>
                    <a:lnTo>
                      <a:pt x="142" y="458"/>
                    </a:lnTo>
                    <a:lnTo>
                      <a:pt x="142" y="458"/>
                    </a:lnTo>
                    <a:lnTo>
                      <a:pt x="142" y="460"/>
                    </a:lnTo>
                    <a:lnTo>
                      <a:pt x="142" y="460"/>
                    </a:lnTo>
                    <a:lnTo>
                      <a:pt x="142" y="460"/>
                    </a:lnTo>
                    <a:lnTo>
                      <a:pt x="142" y="464"/>
                    </a:lnTo>
                    <a:lnTo>
                      <a:pt x="144" y="466"/>
                    </a:lnTo>
                    <a:lnTo>
                      <a:pt x="146" y="472"/>
                    </a:lnTo>
                    <a:lnTo>
                      <a:pt x="148" y="476"/>
                    </a:lnTo>
                    <a:lnTo>
                      <a:pt x="148" y="478"/>
                    </a:lnTo>
                    <a:lnTo>
                      <a:pt x="150" y="482"/>
                    </a:lnTo>
                    <a:lnTo>
                      <a:pt x="150" y="484"/>
                    </a:lnTo>
                    <a:lnTo>
                      <a:pt x="148" y="486"/>
                    </a:lnTo>
                    <a:lnTo>
                      <a:pt x="146" y="490"/>
                    </a:lnTo>
                    <a:lnTo>
                      <a:pt x="144" y="492"/>
                    </a:lnTo>
                    <a:lnTo>
                      <a:pt x="144" y="492"/>
                    </a:lnTo>
                    <a:lnTo>
                      <a:pt x="144" y="492"/>
                    </a:lnTo>
                    <a:lnTo>
                      <a:pt x="144" y="494"/>
                    </a:lnTo>
                    <a:lnTo>
                      <a:pt x="144" y="494"/>
                    </a:lnTo>
                    <a:lnTo>
                      <a:pt x="144" y="496"/>
                    </a:lnTo>
                    <a:lnTo>
                      <a:pt x="144" y="498"/>
                    </a:lnTo>
                    <a:lnTo>
                      <a:pt x="144" y="502"/>
                    </a:lnTo>
                    <a:lnTo>
                      <a:pt x="144" y="504"/>
                    </a:lnTo>
                    <a:lnTo>
                      <a:pt x="144" y="508"/>
                    </a:lnTo>
                    <a:lnTo>
                      <a:pt x="144" y="508"/>
                    </a:lnTo>
                    <a:lnTo>
                      <a:pt x="144" y="510"/>
                    </a:lnTo>
                    <a:lnTo>
                      <a:pt x="148" y="514"/>
                    </a:lnTo>
                    <a:lnTo>
                      <a:pt x="148" y="516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52" y="532"/>
                    </a:lnTo>
                    <a:lnTo>
                      <a:pt x="154" y="542"/>
                    </a:lnTo>
                    <a:lnTo>
                      <a:pt x="154" y="544"/>
                    </a:lnTo>
                    <a:lnTo>
                      <a:pt x="154" y="544"/>
                    </a:lnTo>
                    <a:lnTo>
                      <a:pt x="154" y="546"/>
                    </a:lnTo>
                    <a:lnTo>
                      <a:pt x="156" y="546"/>
                    </a:lnTo>
                    <a:lnTo>
                      <a:pt x="156" y="550"/>
                    </a:lnTo>
                    <a:lnTo>
                      <a:pt x="158" y="552"/>
                    </a:lnTo>
                    <a:lnTo>
                      <a:pt x="158" y="554"/>
                    </a:lnTo>
                    <a:lnTo>
                      <a:pt x="158" y="556"/>
                    </a:lnTo>
                    <a:lnTo>
                      <a:pt x="158" y="560"/>
                    </a:lnTo>
                    <a:lnTo>
                      <a:pt x="158" y="564"/>
                    </a:lnTo>
                    <a:lnTo>
                      <a:pt x="158" y="570"/>
                    </a:lnTo>
                    <a:lnTo>
                      <a:pt x="156" y="576"/>
                    </a:lnTo>
                    <a:lnTo>
                      <a:pt x="156" y="584"/>
                    </a:lnTo>
                    <a:lnTo>
                      <a:pt x="154" y="592"/>
                    </a:lnTo>
                    <a:lnTo>
                      <a:pt x="154" y="598"/>
                    </a:lnTo>
                    <a:lnTo>
                      <a:pt x="154" y="606"/>
                    </a:lnTo>
                    <a:lnTo>
                      <a:pt x="154" y="612"/>
                    </a:lnTo>
                    <a:lnTo>
                      <a:pt x="154" y="612"/>
                    </a:lnTo>
                    <a:lnTo>
                      <a:pt x="154" y="612"/>
                    </a:lnTo>
                    <a:lnTo>
                      <a:pt x="156" y="616"/>
                    </a:lnTo>
                    <a:lnTo>
                      <a:pt x="158" y="622"/>
                    </a:lnTo>
                    <a:lnTo>
                      <a:pt x="164" y="628"/>
                    </a:lnTo>
                    <a:lnTo>
                      <a:pt x="166" y="632"/>
                    </a:lnTo>
                    <a:lnTo>
                      <a:pt x="168" y="636"/>
                    </a:lnTo>
                    <a:lnTo>
                      <a:pt x="170" y="640"/>
                    </a:lnTo>
                    <a:lnTo>
                      <a:pt x="172" y="644"/>
                    </a:lnTo>
                    <a:lnTo>
                      <a:pt x="170" y="648"/>
                    </a:lnTo>
                    <a:lnTo>
                      <a:pt x="170" y="648"/>
                    </a:lnTo>
                    <a:lnTo>
                      <a:pt x="170" y="650"/>
                    </a:lnTo>
                    <a:lnTo>
                      <a:pt x="170" y="656"/>
                    </a:lnTo>
                    <a:lnTo>
                      <a:pt x="168" y="662"/>
                    </a:lnTo>
                    <a:lnTo>
                      <a:pt x="168" y="666"/>
                    </a:lnTo>
                    <a:lnTo>
                      <a:pt x="168" y="668"/>
                    </a:lnTo>
                    <a:lnTo>
                      <a:pt x="166" y="668"/>
                    </a:lnTo>
                    <a:lnTo>
                      <a:pt x="166" y="668"/>
                    </a:lnTo>
                    <a:lnTo>
                      <a:pt x="164" y="668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58" y="670"/>
                    </a:lnTo>
                    <a:lnTo>
                      <a:pt x="158" y="672"/>
                    </a:lnTo>
                    <a:lnTo>
                      <a:pt x="158" y="672"/>
                    </a:lnTo>
                    <a:lnTo>
                      <a:pt x="156" y="672"/>
                    </a:lnTo>
                    <a:lnTo>
                      <a:pt x="156" y="674"/>
                    </a:lnTo>
                    <a:lnTo>
                      <a:pt x="156" y="674"/>
                    </a:lnTo>
                    <a:lnTo>
                      <a:pt x="156" y="674"/>
                    </a:lnTo>
                    <a:lnTo>
                      <a:pt x="156" y="676"/>
                    </a:lnTo>
                    <a:lnTo>
                      <a:pt x="156" y="680"/>
                    </a:lnTo>
                    <a:lnTo>
                      <a:pt x="156" y="684"/>
                    </a:lnTo>
                    <a:lnTo>
                      <a:pt x="154" y="686"/>
                    </a:lnTo>
                    <a:lnTo>
                      <a:pt x="154" y="686"/>
                    </a:lnTo>
                    <a:lnTo>
                      <a:pt x="150" y="688"/>
                    </a:lnTo>
                    <a:lnTo>
                      <a:pt x="146" y="692"/>
                    </a:lnTo>
                    <a:lnTo>
                      <a:pt x="144" y="696"/>
                    </a:lnTo>
                    <a:lnTo>
                      <a:pt x="144" y="696"/>
                    </a:lnTo>
                    <a:lnTo>
                      <a:pt x="144" y="698"/>
                    </a:lnTo>
                    <a:lnTo>
                      <a:pt x="142" y="700"/>
                    </a:lnTo>
                    <a:lnTo>
                      <a:pt x="140" y="702"/>
                    </a:lnTo>
                    <a:lnTo>
                      <a:pt x="138" y="704"/>
                    </a:lnTo>
                    <a:lnTo>
                      <a:pt x="136" y="706"/>
                    </a:lnTo>
                    <a:lnTo>
                      <a:pt x="134" y="708"/>
                    </a:lnTo>
                    <a:lnTo>
                      <a:pt x="134" y="710"/>
                    </a:lnTo>
                    <a:lnTo>
                      <a:pt x="134" y="710"/>
                    </a:lnTo>
                    <a:lnTo>
                      <a:pt x="134" y="710"/>
                    </a:lnTo>
                    <a:lnTo>
                      <a:pt x="132" y="712"/>
                    </a:lnTo>
                    <a:lnTo>
                      <a:pt x="132" y="712"/>
                    </a:lnTo>
                    <a:lnTo>
                      <a:pt x="132" y="712"/>
                    </a:lnTo>
                    <a:lnTo>
                      <a:pt x="132" y="714"/>
                    </a:lnTo>
                    <a:lnTo>
                      <a:pt x="132" y="714"/>
                    </a:lnTo>
                    <a:lnTo>
                      <a:pt x="132" y="716"/>
                    </a:lnTo>
                    <a:lnTo>
                      <a:pt x="134" y="718"/>
                    </a:lnTo>
                    <a:lnTo>
                      <a:pt x="134" y="718"/>
                    </a:lnTo>
                    <a:lnTo>
                      <a:pt x="134" y="718"/>
                    </a:lnTo>
                    <a:lnTo>
                      <a:pt x="136" y="722"/>
                    </a:lnTo>
                    <a:lnTo>
                      <a:pt x="138" y="724"/>
                    </a:lnTo>
                    <a:lnTo>
                      <a:pt x="140" y="728"/>
                    </a:lnTo>
                    <a:lnTo>
                      <a:pt x="140" y="728"/>
                    </a:lnTo>
                    <a:lnTo>
                      <a:pt x="142" y="728"/>
                    </a:lnTo>
                    <a:lnTo>
                      <a:pt x="144" y="732"/>
                    </a:lnTo>
                    <a:lnTo>
                      <a:pt x="146" y="734"/>
                    </a:lnTo>
                    <a:lnTo>
                      <a:pt x="148" y="736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2" y="738"/>
                    </a:lnTo>
                    <a:lnTo>
                      <a:pt x="140" y="740"/>
                    </a:lnTo>
                    <a:lnTo>
                      <a:pt x="140" y="740"/>
                    </a:lnTo>
                    <a:lnTo>
                      <a:pt x="140" y="740"/>
                    </a:lnTo>
                    <a:lnTo>
                      <a:pt x="138" y="740"/>
                    </a:lnTo>
                    <a:lnTo>
                      <a:pt x="138" y="740"/>
                    </a:lnTo>
                    <a:lnTo>
                      <a:pt x="136" y="740"/>
                    </a:lnTo>
                    <a:lnTo>
                      <a:pt x="134" y="742"/>
                    </a:lnTo>
                    <a:lnTo>
                      <a:pt x="134" y="742"/>
                    </a:lnTo>
                    <a:lnTo>
                      <a:pt x="134" y="742"/>
                    </a:lnTo>
                    <a:lnTo>
                      <a:pt x="132" y="744"/>
                    </a:lnTo>
                    <a:lnTo>
                      <a:pt x="132" y="744"/>
                    </a:lnTo>
                    <a:lnTo>
                      <a:pt x="132" y="746"/>
                    </a:lnTo>
                    <a:lnTo>
                      <a:pt x="132" y="748"/>
                    </a:lnTo>
                    <a:lnTo>
                      <a:pt x="130" y="748"/>
                    </a:lnTo>
                    <a:lnTo>
                      <a:pt x="130" y="748"/>
                    </a:lnTo>
                    <a:lnTo>
                      <a:pt x="130" y="750"/>
                    </a:lnTo>
                    <a:lnTo>
                      <a:pt x="130" y="750"/>
                    </a:lnTo>
                    <a:lnTo>
                      <a:pt x="130" y="750"/>
                    </a:lnTo>
                    <a:lnTo>
                      <a:pt x="130" y="752"/>
                    </a:lnTo>
                    <a:lnTo>
                      <a:pt x="128" y="756"/>
                    </a:lnTo>
                    <a:lnTo>
                      <a:pt x="128" y="756"/>
                    </a:lnTo>
                    <a:lnTo>
                      <a:pt x="128" y="756"/>
                    </a:lnTo>
                    <a:lnTo>
                      <a:pt x="128" y="760"/>
                    </a:lnTo>
                    <a:lnTo>
                      <a:pt x="128" y="762"/>
                    </a:lnTo>
                    <a:lnTo>
                      <a:pt x="128" y="766"/>
                    </a:lnTo>
                    <a:lnTo>
                      <a:pt x="126" y="768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124" y="774"/>
                    </a:lnTo>
                    <a:lnTo>
                      <a:pt x="124" y="774"/>
                    </a:lnTo>
                    <a:lnTo>
                      <a:pt x="124" y="776"/>
                    </a:lnTo>
                    <a:lnTo>
                      <a:pt x="124" y="778"/>
                    </a:lnTo>
                    <a:lnTo>
                      <a:pt x="124" y="778"/>
                    </a:lnTo>
                    <a:lnTo>
                      <a:pt x="124" y="778"/>
                    </a:lnTo>
                    <a:lnTo>
                      <a:pt x="124" y="780"/>
                    </a:lnTo>
                    <a:lnTo>
                      <a:pt x="124" y="782"/>
                    </a:lnTo>
                    <a:lnTo>
                      <a:pt x="122" y="784"/>
                    </a:lnTo>
                    <a:lnTo>
                      <a:pt x="122" y="788"/>
                    </a:lnTo>
                    <a:lnTo>
                      <a:pt x="122" y="790"/>
                    </a:lnTo>
                    <a:lnTo>
                      <a:pt x="122" y="792"/>
                    </a:lnTo>
                    <a:lnTo>
                      <a:pt x="122" y="792"/>
                    </a:lnTo>
                    <a:lnTo>
                      <a:pt x="122" y="792"/>
                    </a:lnTo>
                    <a:lnTo>
                      <a:pt x="124" y="794"/>
                    </a:lnTo>
                    <a:lnTo>
                      <a:pt x="124" y="794"/>
                    </a:lnTo>
                    <a:lnTo>
                      <a:pt x="124" y="794"/>
                    </a:lnTo>
                    <a:lnTo>
                      <a:pt x="124" y="796"/>
                    </a:lnTo>
                    <a:lnTo>
                      <a:pt x="124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8" y="796"/>
                    </a:lnTo>
                    <a:lnTo>
                      <a:pt x="128" y="796"/>
                    </a:lnTo>
                    <a:lnTo>
                      <a:pt x="128" y="796"/>
                    </a:lnTo>
                    <a:lnTo>
                      <a:pt x="128" y="798"/>
                    </a:lnTo>
                    <a:lnTo>
                      <a:pt x="130" y="800"/>
                    </a:lnTo>
                    <a:lnTo>
                      <a:pt x="130" y="800"/>
                    </a:lnTo>
                    <a:lnTo>
                      <a:pt x="130" y="800"/>
                    </a:lnTo>
                    <a:lnTo>
                      <a:pt x="132" y="802"/>
                    </a:lnTo>
                    <a:lnTo>
                      <a:pt x="134" y="802"/>
                    </a:lnTo>
                    <a:lnTo>
                      <a:pt x="134" y="804"/>
                    </a:lnTo>
                    <a:lnTo>
                      <a:pt x="134" y="804"/>
                    </a:lnTo>
                    <a:lnTo>
                      <a:pt x="132" y="806"/>
                    </a:lnTo>
                    <a:lnTo>
                      <a:pt x="132" y="808"/>
                    </a:lnTo>
                    <a:lnTo>
                      <a:pt x="132" y="810"/>
                    </a:lnTo>
                    <a:lnTo>
                      <a:pt x="130" y="814"/>
                    </a:lnTo>
                    <a:lnTo>
                      <a:pt x="130" y="818"/>
                    </a:lnTo>
                    <a:lnTo>
                      <a:pt x="128" y="822"/>
                    </a:lnTo>
                    <a:lnTo>
                      <a:pt x="128" y="826"/>
                    </a:lnTo>
                    <a:lnTo>
                      <a:pt x="128" y="828"/>
                    </a:lnTo>
                    <a:lnTo>
                      <a:pt x="128" y="828"/>
                    </a:lnTo>
                    <a:lnTo>
                      <a:pt x="128" y="830"/>
                    </a:lnTo>
                    <a:lnTo>
                      <a:pt x="128" y="832"/>
                    </a:lnTo>
                    <a:lnTo>
                      <a:pt x="128" y="832"/>
                    </a:lnTo>
                    <a:lnTo>
                      <a:pt x="128" y="832"/>
                    </a:lnTo>
                    <a:lnTo>
                      <a:pt x="130" y="834"/>
                    </a:lnTo>
                    <a:lnTo>
                      <a:pt x="130" y="834"/>
                    </a:lnTo>
                    <a:lnTo>
                      <a:pt x="130" y="836"/>
                    </a:lnTo>
                    <a:lnTo>
                      <a:pt x="132" y="838"/>
                    </a:lnTo>
                    <a:lnTo>
                      <a:pt x="132" y="838"/>
                    </a:lnTo>
                    <a:lnTo>
                      <a:pt x="132" y="838"/>
                    </a:lnTo>
                    <a:lnTo>
                      <a:pt x="136" y="840"/>
                    </a:lnTo>
                    <a:lnTo>
                      <a:pt x="140" y="844"/>
                    </a:lnTo>
                    <a:lnTo>
                      <a:pt x="144" y="846"/>
                    </a:lnTo>
                    <a:lnTo>
                      <a:pt x="148" y="848"/>
                    </a:lnTo>
                    <a:lnTo>
                      <a:pt x="152" y="852"/>
                    </a:lnTo>
                    <a:lnTo>
                      <a:pt x="154" y="856"/>
                    </a:lnTo>
                    <a:lnTo>
                      <a:pt x="158" y="858"/>
                    </a:lnTo>
                    <a:lnTo>
                      <a:pt x="160" y="860"/>
                    </a:lnTo>
                    <a:lnTo>
                      <a:pt x="160" y="860"/>
                    </a:lnTo>
                    <a:lnTo>
                      <a:pt x="162" y="862"/>
                    </a:lnTo>
                    <a:lnTo>
                      <a:pt x="162" y="862"/>
                    </a:lnTo>
                    <a:lnTo>
                      <a:pt x="164" y="864"/>
                    </a:lnTo>
                    <a:lnTo>
                      <a:pt x="164" y="866"/>
                    </a:lnTo>
                    <a:lnTo>
                      <a:pt x="164" y="868"/>
                    </a:lnTo>
                    <a:lnTo>
                      <a:pt x="166" y="872"/>
                    </a:lnTo>
                    <a:lnTo>
                      <a:pt x="168" y="878"/>
                    </a:lnTo>
                    <a:lnTo>
                      <a:pt x="170" y="882"/>
                    </a:lnTo>
                    <a:lnTo>
                      <a:pt x="172" y="886"/>
                    </a:lnTo>
                    <a:lnTo>
                      <a:pt x="172" y="890"/>
                    </a:lnTo>
                    <a:lnTo>
                      <a:pt x="172" y="892"/>
                    </a:lnTo>
                    <a:lnTo>
                      <a:pt x="172" y="898"/>
                    </a:lnTo>
                    <a:lnTo>
                      <a:pt x="172" y="902"/>
                    </a:lnTo>
                    <a:lnTo>
                      <a:pt x="172" y="906"/>
                    </a:lnTo>
                    <a:lnTo>
                      <a:pt x="172" y="906"/>
                    </a:lnTo>
                    <a:lnTo>
                      <a:pt x="172" y="906"/>
                    </a:lnTo>
                    <a:lnTo>
                      <a:pt x="172" y="908"/>
                    </a:lnTo>
                    <a:lnTo>
                      <a:pt x="172" y="910"/>
                    </a:lnTo>
                    <a:lnTo>
                      <a:pt x="172" y="912"/>
                    </a:lnTo>
                    <a:lnTo>
                      <a:pt x="174" y="916"/>
                    </a:lnTo>
                    <a:lnTo>
                      <a:pt x="174" y="918"/>
                    </a:lnTo>
                    <a:lnTo>
                      <a:pt x="174" y="920"/>
                    </a:lnTo>
                    <a:lnTo>
                      <a:pt x="174" y="922"/>
                    </a:lnTo>
                    <a:lnTo>
                      <a:pt x="174" y="922"/>
                    </a:lnTo>
                    <a:lnTo>
                      <a:pt x="174" y="924"/>
                    </a:lnTo>
                    <a:lnTo>
                      <a:pt x="172" y="926"/>
                    </a:lnTo>
                    <a:lnTo>
                      <a:pt x="170" y="928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68" y="932"/>
                    </a:lnTo>
                    <a:lnTo>
                      <a:pt x="168" y="932"/>
                    </a:lnTo>
                    <a:lnTo>
                      <a:pt x="168" y="934"/>
                    </a:lnTo>
                    <a:lnTo>
                      <a:pt x="168" y="936"/>
                    </a:lnTo>
                    <a:lnTo>
                      <a:pt x="168" y="936"/>
                    </a:lnTo>
                    <a:lnTo>
                      <a:pt x="170" y="936"/>
                    </a:lnTo>
                    <a:lnTo>
                      <a:pt x="170" y="938"/>
                    </a:lnTo>
                    <a:lnTo>
                      <a:pt x="170" y="938"/>
                    </a:lnTo>
                    <a:lnTo>
                      <a:pt x="170" y="938"/>
                    </a:lnTo>
                    <a:lnTo>
                      <a:pt x="172" y="940"/>
                    </a:lnTo>
                    <a:lnTo>
                      <a:pt x="172" y="940"/>
                    </a:lnTo>
                    <a:lnTo>
                      <a:pt x="172" y="940"/>
                    </a:lnTo>
                    <a:lnTo>
                      <a:pt x="174" y="940"/>
                    </a:lnTo>
                    <a:lnTo>
                      <a:pt x="176" y="942"/>
                    </a:lnTo>
                    <a:lnTo>
                      <a:pt x="178" y="942"/>
                    </a:lnTo>
                    <a:lnTo>
                      <a:pt x="182" y="942"/>
                    </a:lnTo>
                    <a:lnTo>
                      <a:pt x="188" y="942"/>
                    </a:lnTo>
                    <a:lnTo>
                      <a:pt x="194" y="942"/>
                    </a:lnTo>
                    <a:lnTo>
                      <a:pt x="200" y="942"/>
                    </a:lnTo>
                    <a:lnTo>
                      <a:pt x="206" y="942"/>
                    </a:lnTo>
                    <a:lnTo>
                      <a:pt x="210" y="942"/>
                    </a:lnTo>
                    <a:lnTo>
                      <a:pt x="212" y="942"/>
                    </a:lnTo>
                    <a:lnTo>
                      <a:pt x="214" y="942"/>
                    </a:lnTo>
                    <a:lnTo>
                      <a:pt x="216" y="942"/>
                    </a:lnTo>
                    <a:lnTo>
                      <a:pt x="216" y="944"/>
                    </a:lnTo>
                    <a:lnTo>
                      <a:pt x="218" y="946"/>
                    </a:lnTo>
                    <a:lnTo>
                      <a:pt x="218" y="946"/>
                    </a:lnTo>
                    <a:lnTo>
                      <a:pt x="218" y="952"/>
                    </a:lnTo>
                    <a:lnTo>
                      <a:pt x="218" y="954"/>
                    </a:lnTo>
                    <a:lnTo>
                      <a:pt x="218" y="954"/>
                    </a:lnTo>
                    <a:lnTo>
                      <a:pt x="220" y="954"/>
                    </a:lnTo>
                    <a:lnTo>
                      <a:pt x="220" y="956"/>
                    </a:lnTo>
                    <a:lnTo>
                      <a:pt x="220" y="956"/>
                    </a:lnTo>
                    <a:lnTo>
                      <a:pt x="220" y="956"/>
                    </a:lnTo>
                    <a:lnTo>
                      <a:pt x="222" y="958"/>
                    </a:lnTo>
                    <a:lnTo>
                      <a:pt x="222" y="958"/>
                    </a:lnTo>
                    <a:lnTo>
                      <a:pt x="222" y="958"/>
                    </a:lnTo>
                    <a:lnTo>
                      <a:pt x="224" y="960"/>
                    </a:lnTo>
                    <a:lnTo>
                      <a:pt x="224" y="960"/>
                    </a:lnTo>
                    <a:lnTo>
                      <a:pt x="224" y="960"/>
                    </a:lnTo>
                    <a:lnTo>
                      <a:pt x="228" y="962"/>
                    </a:lnTo>
                    <a:lnTo>
                      <a:pt x="232" y="964"/>
                    </a:lnTo>
                    <a:lnTo>
                      <a:pt x="232" y="964"/>
                    </a:lnTo>
                    <a:lnTo>
                      <a:pt x="234" y="966"/>
                    </a:lnTo>
                    <a:lnTo>
                      <a:pt x="234" y="966"/>
                    </a:lnTo>
                    <a:lnTo>
                      <a:pt x="234" y="966"/>
                    </a:lnTo>
                    <a:lnTo>
                      <a:pt x="238" y="970"/>
                    </a:lnTo>
                    <a:lnTo>
                      <a:pt x="242" y="974"/>
                    </a:lnTo>
                    <a:lnTo>
                      <a:pt x="248" y="978"/>
                    </a:lnTo>
                    <a:lnTo>
                      <a:pt x="252" y="980"/>
                    </a:lnTo>
                    <a:lnTo>
                      <a:pt x="252" y="980"/>
                    </a:lnTo>
                    <a:lnTo>
                      <a:pt x="252" y="982"/>
                    </a:lnTo>
                    <a:lnTo>
                      <a:pt x="254" y="982"/>
                    </a:lnTo>
                    <a:lnTo>
                      <a:pt x="254" y="982"/>
                    </a:lnTo>
                    <a:lnTo>
                      <a:pt x="256" y="982"/>
                    </a:lnTo>
                    <a:lnTo>
                      <a:pt x="260" y="982"/>
                    </a:lnTo>
                    <a:lnTo>
                      <a:pt x="266" y="984"/>
                    </a:lnTo>
                    <a:lnTo>
                      <a:pt x="268" y="986"/>
                    </a:lnTo>
                    <a:lnTo>
                      <a:pt x="270" y="986"/>
                    </a:lnTo>
                    <a:lnTo>
                      <a:pt x="272" y="988"/>
                    </a:lnTo>
                    <a:lnTo>
                      <a:pt x="272" y="988"/>
                    </a:lnTo>
                    <a:lnTo>
                      <a:pt x="274" y="988"/>
                    </a:lnTo>
                    <a:lnTo>
                      <a:pt x="274" y="990"/>
                    </a:lnTo>
                    <a:lnTo>
                      <a:pt x="274" y="990"/>
                    </a:lnTo>
                    <a:lnTo>
                      <a:pt x="276" y="990"/>
                    </a:lnTo>
                    <a:lnTo>
                      <a:pt x="278" y="990"/>
                    </a:lnTo>
                    <a:lnTo>
                      <a:pt x="278" y="990"/>
                    </a:lnTo>
                    <a:lnTo>
                      <a:pt x="278" y="990"/>
                    </a:lnTo>
                    <a:lnTo>
                      <a:pt x="280" y="990"/>
                    </a:lnTo>
                    <a:lnTo>
                      <a:pt x="280" y="988"/>
                    </a:lnTo>
                    <a:lnTo>
                      <a:pt x="282" y="988"/>
                    </a:lnTo>
                    <a:lnTo>
                      <a:pt x="284" y="988"/>
                    </a:lnTo>
                    <a:lnTo>
                      <a:pt x="286" y="988"/>
                    </a:lnTo>
                    <a:lnTo>
                      <a:pt x="288" y="988"/>
                    </a:lnTo>
                    <a:lnTo>
                      <a:pt x="290" y="990"/>
                    </a:lnTo>
                    <a:lnTo>
                      <a:pt x="296" y="992"/>
                    </a:lnTo>
                    <a:lnTo>
                      <a:pt x="300" y="994"/>
                    </a:lnTo>
                    <a:lnTo>
                      <a:pt x="304" y="996"/>
                    </a:lnTo>
                    <a:lnTo>
                      <a:pt x="306" y="998"/>
                    </a:lnTo>
                    <a:lnTo>
                      <a:pt x="306" y="998"/>
                    </a:lnTo>
                    <a:lnTo>
                      <a:pt x="308" y="1000"/>
                    </a:lnTo>
                    <a:lnTo>
                      <a:pt x="308" y="1004"/>
                    </a:lnTo>
                    <a:lnTo>
                      <a:pt x="308" y="1004"/>
                    </a:lnTo>
                    <a:lnTo>
                      <a:pt x="310" y="1006"/>
                    </a:lnTo>
                    <a:lnTo>
                      <a:pt x="308" y="1008"/>
                    </a:lnTo>
                    <a:lnTo>
                      <a:pt x="308" y="1010"/>
                    </a:lnTo>
                    <a:lnTo>
                      <a:pt x="308" y="1014"/>
                    </a:lnTo>
                    <a:lnTo>
                      <a:pt x="306" y="1018"/>
                    </a:lnTo>
                    <a:lnTo>
                      <a:pt x="304" y="1024"/>
                    </a:lnTo>
                    <a:lnTo>
                      <a:pt x="302" y="1028"/>
                    </a:lnTo>
                    <a:lnTo>
                      <a:pt x="302" y="1030"/>
                    </a:lnTo>
                    <a:lnTo>
                      <a:pt x="298" y="1036"/>
                    </a:lnTo>
                    <a:lnTo>
                      <a:pt x="298" y="1036"/>
                    </a:lnTo>
                    <a:lnTo>
                      <a:pt x="296" y="1040"/>
                    </a:lnTo>
                    <a:lnTo>
                      <a:pt x="292" y="1042"/>
                    </a:lnTo>
                    <a:lnTo>
                      <a:pt x="290" y="1044"/>
                    </a:lnTo>
                    <a:lnTo>
                      <a:pt x="290" y="1044"/>
                    </a:lnTo>
                    <a:lnTo>
                      <a:pt x="288" y="1044"/>
                    </a:lnTo>
                    <a:lnTo>
                      <a:pt x="288" y="1044"/>
                    </a:lnTo>
                    <a:lnTo>
                      <a:pt x="286" y="1044"/>
                    </a:lnTo>
                    <a:lnTo>
                      <a:pt x="284" y="1042"/>
                    </a:lnTo>
                    <a:lnTo>
                      <a:pt x="284" y="1042"/>
                    </a:lnTo>
                    <a:lnTo>
                      <a:pt x="284" y="1042"/>
                    </a:lnTo>
                    <a:lnTo>
                      <a:pt x="282" y="1042"/>
                    </a:lnTo>
                    <a:lnTo>
                      <a:pt x="282" y="1042"/>
                    </a:lnTo>
                    <a:lnTo>
                      <a:pt x="280" y="1044"/>
                    </a:lnTo>
                    <a:lnTo>
                      <a:pt x="280" y="1044"/>
                    </a:lnTo>
                    <a:lnTo>
                      <a:pt x="280" y="1044"/>
                    </a:lnTo>
                    <a:lnTo>
                      <a:pt x="278" y="1046"/>
                    </a:lnTo>
                    <a:lnTo>
                      <a:pt x="278" y="1046"/>
                    </a:lnTo>
                    <a:lnTo>
                      <a:pt x="278" y="1046"/>
                    </a:lnTo>
                    <a:lnTo>
                      <a:pt x="278" y="1048"/>
                    </a:lnTo>
                    <a:lnTo>
                      <a:pt x="280" y="1050"/>
                    </a:lnTo>
                    <a:lnTo>
                      <a:pt x="284" y="1052"/>
                    </a:lnTo>
                    <a:lnTo>
                      <a:pt x="286" y="1052"/>
                    </a:lnTo>
                    <a:lnTo>
                      <a:pt x="286" y="1054"/>
                    </a:lnTo>
                    <a:lnTo>
                      <a:pt x="288" y="1056"/>
                    </a:lnTo>
                    <a:lnTo>
                      <a:pt x="288" y="1058"/>
                    </a:lnTo>
                    <a:lnTo>
                      <a:pt x="288" y="1058"/>
                    </a:lnTo>
                    <a:lnTo>
                      <a:pt x="288" y="1062"/>
                    </a:lnTo>
                    <a:lnTo>
                      <a:pt x="288" y="1064"/>
                    </a:lnTo>
                    <a:lnTo>
                      <a:pt x="288" y="1066"/>
                    </a:lnTo>
                    <a:lnTo>
                      <a:pt x="288" y="1066"/>
                    </a:lnTo>
                    <a:lnTo>
                      <a:pt x="286" y="1066"/>
                    </a:lnTo>
                    <a:lnTo>
                      <a:pt x="282" y="1066"/>
                    </a:lnTo>
                    <a:lnTo>
                      <a:pt x="282" y="1066"/>
                    </a:lnTo>
                    <a:lnTo>
                      <a:pt x="282" y="1066"/>
                    </a:lnTo>
                    <a:lnTo>
                      <a:pt x="280" y="1068"/>
                    </a:lnTo>
                    <a:lnTo>
                      <a:pt x="280" y="1068"/>
                    </a:lnTo>
                    <a:lnTo>
                      <a:pt x="280" y="1068"/>
                    </a:lnTo>
                    <a:lnTo>
                      <a:pt x="280" y="1070"/>
                    </a:lnTo>
                    <a:lnTo>
                      <a:pt x="280" y="1070"/>
                    </a:lnTo>
                    <a:lnTo>
                      <a:pt x="278" y="1070"/>
                    </a:lnTo>
                    <a:lnTo>
                      <a:pt x="278" y="1072"/>
                    </a:lnTo>
                    <a:lnTo>
                      <a:pt x="278" y="1078"/>
                    </a:lnTo>
                    <a:lnTo>
                      <a:pt x="278" y="1080"/>
                    </a:lnTo>
                    <a:lnTo>
                      <a:pt x="278" y="1082"/>
                    </a:lnTo>
                    <a:lnTo>
                      <a:pt x="278" y="1086"/>
                    </a:lnTo>
                    <a:lnTo>
                      <a:pt x="276" y="1090"/>
                    </a:lnTo>
                    <a:lnTo>
                      <a:pt x="276" y="1092"/>
                    </a:lnTo>
                    <a:lnTo>
                      <a:pt x="276" y="1092"/>
                    </a:lnTo>
                    <a:lnTo>
                      <a:pt x="276" y="1092"/>
                    </a:lnTo>
                    <a:lnTo>
                      <a:pt x="274" y="1092"/>
                    </a:lnTo>
                    <a:lnTo>
                      <a:pt x="272" y="1092"/>
                    </a:lnTo>
                    <a:lnTo>
                      <a:pt x="272" y="1092"/>
                    </a:lnTo>
                    <a:lnTo>
                      <a:pt x="272" y="1092"/>
                    </a:lnTo>
                    <a:lnTo>
                      <a:pt x="270" y="1094"/>
                    </a:lnTo>
                    <a:lnTo>
                      <a:pt x="270" y="1094"/>
                    </a:lnTo>
                    <a:lnTo>
                      <a:pt x="270" y="1094"/>
                    </a:lnTo>
                    <a:lnTo>
                      <a:pt x="268" y="1096"/>
                    </a:lnTo>
                    <a:lnTo>
                      <a:pt x="268" y="1096"/>
                    </a:lnTo>
                    <a:lnTo>
                      <a:pt x="268" y="1096"/>
                    </a:lnTo>
                    <a:lnTo>
                      <a:pt x="266" y="1098"/>
                    </a:lnTo>
                    <a:lnTo>
                      <a:pt x="266" y="1100"/>
                    </a:lnTo>
                    <a:lnTo>
                      <a:pt x="266" y="1102"/>
                    </a:lnTo>
                    <a:lnTo>
                      <a:pt x="266" y="1102"/>
                    </a:lnTo>
                    <a:lnTo>
                      <a:pt x="266" y="1104"/>
                    </a:lnTo>
                    <a:lnTo>
                      <a:pt x="266" y="1104"/>
                    </a:lnTo>
                    <a:lnTo>
                      <a:pt x="274" y="1108"/>
                    </a:lnTo>
                    <a:lnTo>
                      <a:pt x="280" y="1112"/>
                    </a:lnTo>
                    <a:lnTo>
                      <a:pt x="284" y="1116"/>
                    </a:lnTo>
                    <a:lnTo>
                      <a:pt x="286" y="1118"/>
                    </a:lnTo>
                    <a:lnTo>
                      <a:pt x="288" y="1120"/>
                    </a:lnTo>
                    <a:lnTo>
                      <a:pt x="292" y="1124"/>
                    </a:lnTo>
                    <a:lnTo>
                      <a:pt x="292" y="1124"/>
                    </a:lnTo>
                    <a:lnTo>
                      <a:pt x="294" y="1124"/>
                    </a:lnTo>
                    <a:lnTo>
                      <a:pt x="296" y="1126"/>
                    </a:lnTo>
                    <a:lnTo>
                      <a:pt x="298" y="1126"/>
                    </a:lnTo>
                    <a:lnTo>
                      <a:pt x="302" y="1128"/>
                    </a:lnTo>
                    <a:lnTo>
                      <a:pt x="306" y="1132"/>
                    </a:lnTo>
                    <a:lnTo>
                      <a:pt x="310" y="1134"/>
                    </a:lnTo>
                    <a:lnTo>
                      <a:pt x="310" y="1134"/>
                    </a:lnTo>
                    <a:lnTo>
                      <a:pt x="312" y="1134"/>
                    </a:lnTo>
                    <a:lnTo>
                      <a:pt x="318" y="1136"/>
                    </a:lnTo>
                    <a:lnTo>
                      <a:pt x="324" y="1138"/>
                    </a:lnTo>
                    <a:lnTo>
                      <a:pt x="330" y="1140"/>
                    </a:lnTo>
                    <a:lnTo>
                      <a:pt x="332" y="1140"/>
                    </a:lnTo>
                    <a:lnTo>
                      <a:pt x="334" y="1142"/>
                    </a:lnTo>
                    <a:lnTo>
                      <a:pt x="334" y="1142"/>
                    </a:lnTo>
                    <a:lnTo>
                      <a:pt x="336" y="1144"/>
                    </a:lnTo>
                    <a:lnTo>
                      <a:pt x="336" y="1144"/>
                    </a:lnTo>
                    <a:lnTo>
                      <a:pt x="338" y="1144"/>
                    </a:lnTo>
                    <a:lnTo>
                      <a:pt x="340" y="1144"/>
                    </a:lnTo>
                    <a:lnTo>
                      <a:pt x="342" y="1144"/>
                    </a:lnTo>
                    <a:lnTo>
                      <a:pt x="348" y="1146"/>
                    </a:lnTo>
                    <a:lnTo>
                      <a:pt x="350" y="1146"/>
                    </a:lnTo>
                    <a:lnTo>
                      <a:pt x="354" y="1146"/>
                    </a:lnTo>
                    <a:lnTo>
                      <a:pt x="360" y="1146"/>
                    </a:lnTo>
                    <a:lnTo>
                      <a:pt x="364" y="1148"/>
                    </a:lnTo>
                    <a:lnTo>
                      <a:pt x="370" y="1150"/>
                    </a:lnTo>
                    <a:lnTo>
                      <a:pt x="370" y="1150"/>
                    </a:lnTo>
                    <a:lnTo>
                      <a:pt x="374" y="1152"/>
                    </a:lnTo>
                    <a:lnTo>
                      <a:pt x="374" y="1152"/>
                    </a:lnTo>
                    <a:lnTo>
                      <a:pt x="376" y="1152"/>
                    </a:lnTo>
                    <a:lnTo>
                      <a:pt x="380" y="1152"/>
                    </a:lnTo>
                    <a:lnTo>
                      <a:pt x="382" y="1152"/>
                    </a:lnTo>
                    <a:lnTo>
                      <a:pt x="388" y="1154"/>
                    </a:lnTo>
                    <a:lnTo>
                      <a:pt x="390" y="1154"/>
                    </a:lnTo>
                    <a:lnTo>
                      <a:pt x="392" y="1154"/>
                    </a:lnTo>
                    <a:lnTo>
                      <a:pt x="394" y="1156"/>
                    </a:lnTo>
                    <a:lnTo>
                      <a:pt x="396" y="1158"/>
                    </a:lnTo>
                    <a:lnTo>
                      <a:pt x="396" y="1158"/>
                    </a:lnTo>
                    <a:lnTo>
                      <a:pt x="396" y="1158"/>
                    </a:lnTo>
                    <a:lnTo>
                      <a:pt x="398" y="1158"/>
                    </a:lnTo>
                    <a:lnTo>
                      <a:pt x="400" y="1160"/>
                    </a:lnTo>
                    <a:lnTo>
                      <a:pt x="400" y="1160"/>
                    </a:lnTo>
                    <a:lnTo>
                      <a:pt x="400" y="1160"/>
                    </a:lnTo>
                    <a:lnTo>
                      <a:pt x="402" y="1162"/>
                    </a:lnTo>
                    <a:lnTo>
                      <a:pt x="404" y="1166"/>
                    </a:lnTo>
                    <a:lnTo>
                      <a:pt x="408" y="1172"/>
                    </a:lnTo>
                    <a:lnTo>
                      <a:pt x="408" y="1172"/>
                    </a:lnTo>
                    <a:lnTo>
                      <a:pt x="408" y="1172"/>
                    </a:lnTo>
                    <a:lnTo>
                      <a:pt x="410" y="1176"/>
                    </a:lnTo>
                    <a:lnTo>
                      <a:pt x="414" y="1178"/>
                    </a:lnTo>
                    <a:lnTo>
                      <a:pt x="416" y="1180"/>
                    </a:lnTo>
                    <a:lnTo>
                      <a:pt x="418" y="1182"/>
                    </a:lnTo>
                    <a:lnTo>
                      <a:pt x="418" y="1182"/>
                    </a:lnTo>
                    <a:lnTo>
                      <a:pt x="418" y="1182"/>
                    </a:lnTo>
                    <a:lnTo>
                      <a:pt x="420" y="1182"/>
                    </a:lnTo>
                    <a:lnTo>
                      <a:pt x="420" y="1182"/>
                    </a:lnTo>
                    <a:lnTo>
                      <a:pt x="420" y="1182"/>
                    </a:lnTo>
                    <a:lnTo>
                      <a:pt x="422" y="1182"/>
                    </a:lnTo>
                    <a:lnTo>
                      <a:pt x="422" y="1182"/>
                    </a:lnTo>
                    <a:lnTo>
                      <a:pt x="424" y="1182"/>
                    </a:lnTo>
                    <a:lnTo>
                      <a:pt x="424" y="1180"/>
                    </a:lnTo>
                    <a:lnTo>
                      <a:pt x="424" y="1180"/>
                    </a:lnTo>
                    <a:lnTo>
                      <a:pt x="426" y="1180"/>
                    </a:lnTo>
                    <a:lnTo>
                      <a:pt x="426" y="1178"/>
                    </a:lnTo>
                    <a:lnTo>
                      <a:pt x="426" y="1178"/>
                    </a:lnTo>
                    <a:lnTo>
                      <a:pt x="426" y="1178"/>
                    </a:lnTo>
                    <a:lnTo>
                      <a:pt x="428" y="1176"/>
                    </a:lnTo>
                    <a:lnTo>
                      <a:pt x="428" y="1176"/>
                    </a:lnTo>
                    <a:lnTo>
                      <a:pt x="428" y="1176"/>
                    </a:lnTo>
                    <a:lnTo>
                      <a:pt x="428" y="1174"/>
                    </a:lnTo>
                    <a:lnTo>
                      <a:pt x="428" y="1170"/>
                    </a:lnTo>
                    <a:lnTo>
                      <a:pt x="428" y="1168"/>
                    </a:lnTo>
                    <a:lnTo>
                      <a:pt x="428" y="1166"/>
                    </a:lnTo>
                    <a:lnTo>
                      <a:pt x="428" y="1166"/>
                    </a:lnTo>
                    <a:lnTo>
                      <a:pt x="428" y="1164"/>
                    </a:lnTo>
                    <a:lnTo>
                      <a:pt x="426" y="1162"/>
                    </a:lnTo>
                    <a:lnTo>
                      <a:pt x="426" y="1162"/>
                    </a:lnTo>
                    <a:lnTo>
                      <a:pt x="424" y="1162"/>
                    </a:lnTo>
                    <a:lnTo>
                      <a:pt x="424" y="1160"/>
                    </a:lnTo>
                    <a:lnTo>
                      <a:pt x="426" y="1158"/>
                    </a:lnTo>
                    <a:lnTo>
                      <a:pt x="426" y="1152"/>
                    </a:lnTo>
                    <a:lnTo>
                      <a:pt x="426" y="1150"/>
                    </a:lnTo>
                    <a:lnTo>
                      <a:pt x="426" y="1150"/>
                    </a:lnTo>
                    <a:lnTo>
                      <a:pt x="426" y="1150"/>
                    </a:lnTo>
                    <a:lnTo>
                      <a:pt x="426" y="1146"/>
                    </a:lnTo>
                    <a:lnTo>
                      <a:pt x="426" y="1146"/>
                    </a:lnTo>
                    <a:lnTo>
                      <a:pt x="426" y="1144"/>
                    </a:lnTo>
                    <a:lnTo>
                      <a:pt x="422" y="1136"/>
                    </a:lnTo>
                    <a:lnTo>
                      <a:pt x="420" y="1128"/>
                    </a:lnTo>
                    <a:lnTo>
                      <a:pt x="418" y="1120"/>
                    </a:lnTo>
                    <a:lnTo>
                      <a:pt x="418" y="1118"/>
                    </a:lnTo>
                    <a:lnTo>
                      <a:pt x="418" y="1114"/>
                    </a:lnTo>
                    <a:lnTo>
                      <a:pt x="420" y="1112"/>
                    </a:lnTo>
                    <a:lnTo>
                      <a:pt x="420" y="1108"/>
                    </a:lnTo>
                    <a:lnTo>
                      <a:pt x="422" y="1106"/>
                    </a:lnTo>
                    <a:lnTo>
                      <a:pt x="422" y="1104"/>
                    </a:lnTo>
                    <a:lnTo>
                      <a:pt x="424" y="1102"/>
                    </a:lnTo>
                    <a:lnTo>
                      <a:pt x="424" y="1102"/>
                    </a:lnTo>
                    <a:lnTo>
                      <a:pt x="424" y="1102"/>
                    </a:lnTo>
                    <a:lnTo>
                      <a:pt x="426" y="1100"/>
                    </a:lnTo>
                    <a:lnTo>
                      <a:pt x="426" y="1100"/>
                    </a:lnTo>
                    <a:lnTo>
                      <a:pt x="426" y="1100"/>
                    </a:lnTo>
                    <a:lnTo>
                      <a:pt x="428" y="1098"/>
                    </a:lnTo>
                    <a:lnTo>
                      <a:pt x="428" y="1098"/>
                    </a:lnTo>
                    <a:lnTo>
                      <a:pt x="428" y="1098"/>
                    </a:lnTo>
                    <a:lnTo>
                      <a:pt x="430" y="1094"/>
                    </a:lnTo>
                    <a:lnTo>
                      <a:pt x="430" y="1092"/>
                    </a:lnTo>
                    <a:lnTo>
                      <a:pt x="430" y="1090"/>
                    </a:lnTo>
                    <a:lnTo>
                      <a:pt x="432" y="1088"/>
                    </a:lnTo>
                    <a:lnTo>
                      <a:pt x="432" y="1088"/>
                    </a:lnTo>
                    <a:lnTo>
                      <a:pt x="432" y="1086"/>
                    </a:lnTo>
                    <a:lnTo>
                      <a:pt x="434" y="1084"/>
                    </a:lnTo>
                    <a:lnTo>
                      <a:pt x="434" y="1084"/>
                    </a:lnTo>
                    <a:lnTo>
                      <a:pt x="436" y="1084"/>
                    </a:lnTo>
                    <a:lnTo>
                      <a:pt x="438" y="1082"/>
                    </a:lnTo>
                    <a:lnTo>
                      <a:pt x="438" y="1082"/>
                    </a:lnTo>
                    <a:lnTo>
                      <a:pt x="438" y="1082"/>
                    </a:lnTo>
                    <a:lnTo>
                      <a:pt x="440" y="1080"/>
                    </a:lnTo>
                    <a:lnTo>
                      <a:pt x="440" y="1080"/>
                    </a:lnTo>
                    <a:lnTo>
                      <a:pt x="440" y="1080"/>
                    </a:lnTo>
                    <a:lnTo>
                      <a:pt x="440" y="1078"/>
                    </a:lnTo>
                    <a:lnTo>
                      <a:pt x="440" y="1078"/>
                    </a:lnTo>
                    <a:lnTo>
                      <a:pt x="440" y="1076"/>
                    </a:lnTo>
                    <a:lnTo>
                      <a:pt x="440" y="1074"/>
                    </a:lnTo>
                    <a:lnTo>
                      <a:pt x="440" y="1074"/>
                    </a:lnTo>
                    <a:lnTo>
                      <a:pt x="440" y="1074"/>
                    </a:lnTo>
                    <a:lnTo>
                      <a:pt x="440" y="1072"/>
                    </a:lnTo>
                    <a:lnTo>
                      <a:pt x="438" y="1066"/>
                    </a:lnTo>
                    <a:lnTo>
                      <a:pt x="438" y="1066"/>
                    </a:lnTo>
                    <a:lnTo>
                      <a:pt x="436" y="1064"/>
                    </a:lnTo>
                    <a:lnTo>
                      <a:pt x="434" y="1064"/>
                    </a:lnTo>
                    <a:lnTo>
                      <a:pt x="432" y="1062"/>
                    </a:lnTo>
                    <a:lnTo>
                      <a:pt x="432" y="1062"/>
                    </a:lnTo>
                    <a:lnTo>
                      <a:pt x="432" y="1062"/>
                    </a:lnTo>
                    <a:lnTo>
                      <a:pt x="430" y="1060"/>
                    </a:lnTo>
                    <a:lnTo>
                      <a:pt x="430" y="1058"/>
                    </a:lnTo>
                    <a:lnTo>
                      <a:pt x="430" y="1056"/>
                    </a:lnTo>
                    <a:lnTo>
                      <a:pt x="430" y="1054"/>
                    </a:lnTo>
                    <a:lnTo>
                      <a:pt x="430" y="1050"/>
                    </a:lnTo>
                    <a:lnTo>
                      <a:pt x="430" y="1050"/>
                    </a:lnTo>
                    <a:lnTo>
                      <a:pt x="428" y="1048"/>
                    </a:lnTo>
                    <a:lnTo>
                      <a:pt x="426" y="1048"/>
                    </a:lnTo>
                    <a:lnTo>
                      <a:pt x="424" y="1048"/>
                    </a:lnTo>
                    <a:lnTo>
                      <a:pt x="422" y="1048"/>
                    </a:lnTo>
                    <a:lnTo>
                      <a:pt x="420" y="1046"/>
                    </a:lnTo>
                    <a:lnTo>
                      <a:pt x="420" y="1046"/>
                    </a:lnTo>
                    <a:lnTo>
                      <a:pt x="420" y="1046"/>
                    </a:lnTo>
                    <a:lnTo>
                      <a:pt x="420" y="1044"/>
                    </a:lnTo>
                    <a:lnTo>
                      <a:pt x="418" y="1042"/>
                    </a:lnTo>
                    <a:lnTo>
                      <a:pt x="418" y="1042"/>
                    </a:lnTo>
                    <a:lnTo>
                      <a:pt x="416" y="1042"/>
                    </a:lnTo>
                    <a:lnTo>
                      <a:pt x="414" y="1040"/>
                    </a:lnTo>
                    <a:lnTo>
                      <a:pt x="410" y="1038"/>
                    </a:lnTo>
                    <a:lnTo>
                      <a:pt x="404" y="1034"/>
                    </a:lnTo>
                    <a:lnTo>
                      <a:pt x="404" y="1034"/>
                    </a:lnTo>
                    <a:lnTo>
                      <a:pt x="404" y="1034"/>
                    </a:lnTo>
                    <a:lnTo>
                      <a:pt x="400" y="1032"/>
                    </a:lnTo>
                    <a:lnTo>
                      <a:pt x="402" y="1032"/>
                    </a:lnTo>
                    <a:lnTo>
                      <a:pt x="400" y="1032"/>
                    </a:lnTo>
                    <a:lnTo>
                      <a:pt x="400" y="1032"/>
                    </a:lnTo>
                    <a:lnTo>
                      <a:pt x="400" y="1032"/>
                    </a:lnTo>
                    <a:lnTo>
                      <a:pt x="400" y="1030"/>
                    </a:lnTo>
                    <a:lnTo>
                      <a:pt x="400" y="1030"/>
                    </a:lnTo>
                    <a:lnTo>
                      <a:pt x="400" y="1028"/>
                    </a:lnTo>
                    <a:lnTo>
                      <a:pt x="400" y="1026"/>
                    </a:lnTo>
                    <a:lnTo>
                      <a:pt x="400" y="1026"/>
                    </a:lnTo>
                    <a:lnTo>
                      <a:pt x="400" y="1024"/>
                    </a:lnTo>
                    <a:lnTo>
                      <a:pt x="402" y="1024"/>
                    </a:lnTo>
                    <a:lnTo>
                      <a:pt x="404" y="1022"/>
                    </a:lnTo>
                    <a:lnTo>
                      <a:pt x="408" y="1020"/>
                    </a:lnTo>
                    <a:lnTo>
                      <a:pt x="408" y="1020"/>
                    </a:lnTo>
                    <a:lnTo>
                      <a:pt x="408" y="1020"/>
                    </a:lnTo>
                    <a:lnTo>
                      <a:pt x="410" y="1018"/>
                    </a:lnTo>
                    <a:lnTo>
                      <a:pt x="410" y="1018"/>
                    </a:lnTo>
                    <a:lnTo>
                      <a:pt x="410" y="1018"/>
                    </a:lnTo>
                    <a:lnTo>
                      <a:pt x="412" y="1018"/>
                    </a:lnTo>
                    <a:lnTo>
                      <a:pt x="412" y="1018"/>
                    </a:lnTo>
                    <a:lnTo>
                      <a:pt x="412" y="1016"/>
                    </a:lnTo>
                    <a:lnTo>
                      <a:pt x="414" y="1014"/>
                    </a:lnTo>
                    <a:lnTo>
                      <a:pt x="414" y="1014"/>
                    </a:lnTo>
                    <a:lnTo>
                      <a:pt x="414" y="1012"/>
                    </a:lnTo>
                    <a:lnTo>
                      <a:pt x="414" y="1010"/>
                    </a:lnTo>
                    <a:lnTo>
                      <a:pt x="414" y="1006"/>
                    </a:lnTo>
                    <a:lnTo>
                      <a:pt x="416" y="1004"/>
                    </a:lnTo>
                    <a:lnTo>
                      <a:pt x="416" y="1002"/>
                    </a:lnTo>
                    <a:lnTo>
                      <a:pt x="416" y="1002"/>
                    </a:lnTo>
                    <a:lnTo>
                      <a:pt x="416" y="1000"/>
                    </a:lnTo>
                    <a:lnTo>
                      <a:pt x="416" y="998"/>
                    </a:lnTo>
                    <a:lnTo>
                      <a:pt x="416" y="994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20" y="992"/>
                    </a:lnTo>
                    <a:lnTo>
                      <a:pt x="422" y="994"/>
                    </a:lnTo>
                    <a:lnTo>
                      <a:pt x="424" y="994"/>
                    </a:lnTo>
                    <a:lnTo>
                      <a:pt x="426" y="996"/>
                    </a:lnTo>
                    <a:lnTo>
                      <a:pt x="426" y="996"/>
                    </a:lnTo>
                    <a:lnTo>
                      <a:pt x="426" y="996"/>
                    </a:lnTo>
                    <a:lnTo>
                      <a:pt x="428" y="996"/>
                    </a:lnTo>
                    <a:lnTo>
                      <a:pt x="428" y="996"/>
                    </a:lnTo>
                    <a:lnTo>
                      <a:pt x="428" y="996"/>
                    </a:lnTo>
                    <a:lnTo>
                      <a:pt x="430" y="996"/>
                    </a:lnTo>
                    <a:lnTo>
                      <a:pt x="430" y="996"/>
                    </a:lnTo>
                    <a:lnTo>
                      <a:pt x="430" y="996"/>
                    </a:lnTo>
                    <a:lnTo>
                      <a:pt x="432" y="996"/>
                    </a:lnTo>
                    <a:lnTo>
                      <a:pt x="432" y="996"/>
                    </a:lnTo>
                    <a:lnTo>
                      <a:pt x="432" y="994"/>
                    </a:lnTo>
                    <a:lnTo>
                      <a:pt x="432" y="994"/>
                    </a:lnTo>
                    <a:lnTo>
                      <a:pt x="432" y="994"/>
                    </a:lnTo>
                    <a:lnTo>
                      <a:pt x="434" y="994"/>
                    </a:lnTo>
                    <a:lnTo>
                      <a:pt x="434" y="992"/>
                    </a:lnTo>
                    <a:lnTo>
                      <a:pt x="434" y="992"/>
                    </a:lnTo>
                    <a:lnTo>
                      <a:pt x="434" y="992"/>
                    </a:lnTo>
                    <a:lnTo>
                      <a:pt x="434" y="990"/>
                    </a:lnTo>
                    <a:lnTo>
                      <a:pt x="434" y="988"/>
                    </a:lnTo>
                    <a:lnTo>
                      <a:pt x="436" y="986"/>
                    </a:lnTo>
                    <a:lnTo>
                      <a:pt x="436" y="984"/>
                    </a:lnTo>
                    <a:lnTo>
                      <a:pt x="438" y="980"/>
                    </a:lnTo>
                    <a:lnTo>
                      <a:pt x="438" y="978"/>
                    </a:lnTo>
                    <a:lnTo>
                      <a:pt x="440" y="978"/>
                    </a:lnTo>
                    <a:lnTo>
                      <a:pt x="442" y="976"/>
                    </a:lnTo>
                    <a:lnTo>
                      <a:pt x="444" y="976"/>
                    </a:lnTo>
                    <a:lnTo>
                      <a:pt x="444" y="976"/>
                    </a:lnTo>
                    <a:lnTo>
                      <a:pt x="444" y="976"/>
                    </a:lnTo>
                    <a:lnTo>
                      <a:pt x="446" y="974"/>
                    </a:lnTo>
                    <a:lnTo>
                      <a:pt x="446" y="974"/>
                    </a:lnTo>
                    <a:lnTo>
                      <a:pt x="446" y="974"/>
                    </a:lnTo>
                    <a:lnTo>
                      <a:pt x="448" y="972"/>
                    </a:lnTo>
                    <a:lnTo>
                      <a:pt x="448" y="972"/>
                    </a:lnTo>
                    <a:lnTo>
                      <a:pt x="448" y="972"/>
                    </a:lnTo>
                    <a:lnTo>
                      <a:pt x="448" y="970"/>
                    </a:lnTo>
                    <a:lnTo>
                      <a:pt x="448" y="970"/>
                    </a:lnTo>
                    <a:lnTo>
                      <a:pt x="448" y="970"/>
                    </a:lnTo>
                    <a:lnTo>
                      <a:pt x="448" y="968"/>
                    </a:lnTo>
                    <a:lnTo>
                      <a:pt x="450" y="968"/>
                    </a:lnTo>
                    <a:lnTo>
                      <a:pt x="454" y="966"/>
                    </a:lnTo>
                    <a:lnTo>
                      <a:pt x="458" y="964"/>
                    </a:lnTo>
                    <a:lnTo>
                      <a:pt x="462" y="960"/>
                    </a:lnTo>
                    <a:lnTo>
                      <a:pt x="464" y="960"/>
                    </a:lnTo>
                    <a:lnTo>
                      <a:pt x="466" y="958"/>
                    </a:lnTo>
                    <a:lnTo>
                      <a:pt x="470" y="956"/>
                    </a:lnTo>
                    <a:lnTo>
                      <a:pt x="476" y="956"/>
                    </a:lnTo>
                    <a:lnTo>
                      <a:pt x="482" y="954"/>
                    </a:lnTo>
                    <a:lnTo>
                      <a:pt x="486" y="954"/>
                    </a:lnTo>
                    <a:lnTo>
                      <a:pt x="490" y="954"/>
                    </a:lnTo>
                    <a:lnTo>
                      <a:pt x="492" y="954"/>
                    </a:lnTo>
                    <a:lnTo>
                      <a:pt x="496" y="956"/>
                    </a:lnTo>
                    <a:lnTo>
                      <a:pt x="502" y="958"/>
                    </a:lnTo>
                    <a:lnTo>
                      <a:pt x="506" y="960"/>
                    </a:lnTo>
                    <a:lnTo>
                      <a:pt x="506" y="960"/>
                    </a:lnTo>
                    <a:lnTo>
                      <a:pt x="506" y="960"/>
                    </a:lnTo>
                    <a:lnTo>
                      <a:pt x="508" y="960"/>
                    </a:lnTo>
                    <a:lnTo>
                      <a:pt x="510" y="962"/>
                    </a:lnTo>
                    <a:lnTo>
                      <a:pt x="510" y="962"/>
                    </a:lnTo>
                    <a:lnTo>
                      <a:pt x="512" y="962"/>
                    </a:lnTo>
                    <a:lnTo>
                      <a:pt x="514" y="966"/>
                    </a:lnTo>
                    <a:lnTo>
                      <a:pt x="516" y="966"/>
                    </a:lnTo>
                    <a:lnTo>
                      <a:pt x="518" y="968"/>
                    </a:lnTo>
                    <a:lnTo>
                      <a:pt x="518" y="968"/>
                    </a:lnTo>
                    <a:lnTo>
                      <a:pt x="518" y="970"/>
                    </a:lnTo>
                    <a:lnTo>
                      <a:pt x="522" y="970"/>
                    </a:lnTo>
                    <a:lnTo>
                      <a:pt x="524" y="972"/>
                    </a:lnTo>
                    <a:lnTo>
                      <a:pt x="530" y="974"/>
                    </a:lnTo>
                    <a:lnTo>
                      <a:pt x="536" y="976"/>
                    </a:lnTo>
                    <a:lnTo>
                      <a:pt x="540" y="978"/>
                    </a:lnTo>
                    <a:lnTo>
                      <a:pt x="544" y="980"/>
                    </a:lnTo>
                    <a:lnTo>
                      <a:pt x="544" y="980"/>
                    </a:lnTo>
                    <a:lnTo>
                      <a:pt x="546" y="978"/>
                    </a:lnTo>
                    <a:lnTo>
                      <a:pt x="548" y="976"/>
                    </a:lnTo>
                    <a:lnTo>
                      <a:pt x="552" y="976"/>
                    </a:lnTo>
                    <a:lnTo>
                      <a:pt x="558" y="974"/>
                    </a:lnTo>
                    <a:lnTo>
                      <a:pt x="560" y="972"/>
                    </a:lnTo>
                    <a:lnTo>
                      <a:pt x="562" y="972"/>
                    </a:lnTo>
                    <a:lnTo>
                      <a:pt x="566" y="970"/>
                    </a:lnTo>
                    <a:lnTo>
                      <a:pt x="570" y="970"/>
                    </a:lnTo>
                    <a:lnTo>
                      <a:pt x="572" y="972"/>
                    </a:lnTo>
                    <a:lnTo>
                      <a:pt x="576" y="972"/>
                    </a:lnTo>
                    <a:lnTo>
                      <a:pt x="580" y="974"/>
                    </a:lnTo>
                    <a:lnTo>
                      <a:pt x="582" y="976"/>
                    </a:lnTo>
                    <a:lnTo>
                      <a:pt x="586" y="976"/>
                    </a:lnTo>
                    <a:lnTo>
                      <a:pt x="590" y="978"/>
                    </a:lnTo>
                    <a:lnTo>
                      <a:pt x="596" y="980"/>
                    </a:lnTo>
                    <a:lnTo>
                      <a:pt x="600" y="982"/>
                    </a:lnTo>
                    <a:lnTo>
                      <a:pt x="600" y="982"/>
                    </a:lnTo>
                    <a:lnTo>
                      <a:pt x="600" y="982"/>
                    </a:lnTo>
                    <a:lnTo>
                      <a:pt x="604" y="982"/>
                    </a:lnTo>
                    <a:lnTo>
                      <a:pt x="606" y="982"/>
                    </a:lnTo>
                    <a:lnTo>
                      <a:pt x="612" y="980"/>
                    </a:lnTo>
                    <a:lnTo>
                      <a:pt x="616" y="980"/>
                    </a:lnTo>
                    <a:lnTo>
                      <a:pt x="618" y="980"/>
                    </a:lnTo>
                    <a:lnTo>
                      <a:pt x="622" y="978"/>
                    </a:lnTo>
                    <a:lnTo>
                      <a:pt x="624" y="978"/>
                    </a:lnTo>
                    <a:lnTo>
                      <a:pt x="624" y="978"/>
                    </a:lnTo>
                    <a:lnTo>
                      <a:pt x="624" y="978"/>
                    </a:lnTo>
                    <a:lnTo>
                      <a:pt x="626" y="976"/>
                    </a:lnTo>
                    <a:lnTo>
                      <a:pt x="626" y="976"/>
                    </a:lnTo>
                    <a:lnTo>
                      <a:pt x="628" y="974"/>
                    </a:lnTo>
                    <a:lnTo>
                      <a:pt x="628" y="972"/>
                    </a:lnTo>
                    <a:lnTo>
                      <a:pt x="628" y="972"/>
                    </a:lnTo>
                    <a:lnTo>
                      <a:pt x="630" y="972"/>
                    </a:lnTo>
                    <a:lnTo>
                      <a:pt x="630" y="968"/>
                    </a:lnTo>
                    <a:lnTo>
                      <a:pt x="630" y="968"/>
                    </a:lnTo>
                    <a:lnTo>
                      <a:pt x="630" y="968"/>
                    </a:lnTo>
                    <a:lnTo>
                      <a:pt x="630" y="966"/>
                    </a:lnTo>
                    <a:lnTo>
                      <a:pt x="630" y="966"/>
                    </a:lnTo>
                    <a:lnTo>
                      <a:pt x="630" y="964"/>
                    </a:lnTo>
                    <a:lnTo>
                      <a:pt x="628" y="964"/>
                    </a:lnTo>
                    <a:lnTo>
                      <a:pt x="628" y="964"/>
                    </a:lnTo>
                    <a:lnTo>
                      <a:pt x="628" y="962"/>
                    </a:lnTo>
                    <a:lnTo>
                      <a:pt x="626" y="960"/>
                    </a:lnTo>
                    <a:lnTo>
                      <a:pt x="624" y="958"/>
                    </a:lnTo>
                    <a:lnTo>
                      <a:pt x="618" y="954"/>
                    </a:lnTo>
                    <a:lnTo>
                      <a:pt x="614" y="950"/>
                    </a:lnTo>
                    <a:lnTo>
                      <a:pt x="612" y="948"/>
                    </a:lnTo>
                    <a:lnTo>
                      <a:pt x="614" y="948"/>
                    </a:lnTo>
                    <a:lnTo>
                      <a:pt x="614" y="948"/>
                    </a:lnTo>
                    <a:lnTo>
                      <a:pt x="614" y="946"/>
                    </a:lnTo>
                    <a:lnTo>
                      <a:pt x="618" y="942"/>
                    </a:lnTo>
                    <a:lnTo>
                      <a:pt x="618" y="942"/>
                    </a:lnTo>
                    <a:lnTo>
                      <a:pt x="618" y="942"/>
                    </a:lnTo>
                    <a:lnTo>
                      <a:pt x="620" y="938"/>
                    </a:lnTo>
                    <a:lnTo>
                      <a:pt x="620" y="938"/>
                    </a:lnTo>
                    <a:lnTo>
                      <a:pt x="622" y="936"/>
                    </a:lnTo>
                    <a:lnTo>
                      <a:pt x="622" y="934"/>
                    </a:lnTo>
                    <a:lnTo>
                      <a:pt x="622" y="934"/>
                    </a:lnTo>
                    <a:lnTo>
                      <a:pt x="622" y="934"/>
                    </a:lnTo>
                    <a:lnTo>
                      <a:pt x="622" y="932"/>
                    </a:lnTo>
                    <a:lnTo>
                      <a:pt x="624" y="928"/>
                    </a:lnTo>
                    <a:lnTo>
                      <a:pt x="626" y="924"/>
                    </a:lnTo>
                    <a:lnTo>
                      <a:pt x="628" y="920"/>
                    </a:lnTo>
                    <a:lnTo>
                      <a:pt x="628" y="918"/>
                    </a:lnTo>
                    <a:lnTo>
                      <a:pt x="628" y="914"/>
                    </a:lnTo>
                    <a:lnTo>
                      <a:pt x="628" y="910"/>
                    </a:lnTo>
                    <a:lnTo>
                      <a:pt x="628" y="906"/>
                    </a:lnTo>
                    <a:lnTo>
                      <a:pt x="628" y="902"/>
                    </a:lnTo>
                    <a:lnTo>
                      <a:pt x="630" y="902"/>
                    </a:lnTo>
                    <a:lnTo>
                      <a:pt x="630" y="900"/>
                    </a:lnTo>
                    <a:lnTo>
                      <a:pt x="632" y="900"/>
                    </a:lnTo>
                    <a:lnTo>
                      <a:pt x="634" y="898"/>
                    </a:lnTo>
                    <a:lnTo>
                      <a:pt x="638" y="898"/>
                    </a:lnTo>
                    <a:lnTo>
                      <a:pt x="642" y="898"/>
                    </a:lnTo>
                    <a:lnTo>
                      <a:pt x="646" y="898"/>
                    </a:lnTo>
                    <a:lnTo>
                      <a:pt x="652" y="898"/>
                    </a:lnTo>
                    <a:lnTo>
                      <a:pt x="658" y="896"/>
                    </a:lnTo>
                    <a:lnTo>
                      <a:pt x="660" y="896"/>
                    </a:lnTo>
                    <a:lnTo>
                      <a:pt x="664" y="896"/>
                    </a:lnTo>
                    <a:lnTo>
                      <a:pt x="668" y="894"/>
                    </a:lnTo>
                    <a:lnTo>
                      <a:pt x="672" y="894"/>
                    </a:lnTo>
                    <a:lnTo>
                      <a:pt x="678" y="894"/>
                    </a:lnTo>
                    <a:lnTo>
                      <a:pt x="678" y="894"/>
                    </a:lnTo>
                    <a:lnTo>
                      <a:pt x="678" y="894"/>
                    </a:lnTo>
                    <a:lnTo>
                      <a:pt x="680" y="892"/>
                    </a:lnTo>
                    <a:lnTo>
                      <a:pt x="680" y="892"/>
                    </a:lnTo>
                    <a:lnTo>
                      <a:pt x="682" y="892"/>
                    </a:lnTo>
                    <a:lnTo>
                      <a:pt x="682" y="892"/>
                    </a:lnTo>
                    <a:lnTo>
                      <a:pt x="682" y="892"/>
                    </a:lnTo>
                    <a:lnTo>
                      <a:pt x="684" y="890"/>
                    </a:lnTo>
                    <a:lnTo>
                      <a:pt x="684" y="890"/>
                    </a:lnTo>
                    <a:lnTo>
                      <a:pt x="686" y="888"/>
                    </a:lnTo>
                    <a:lnTo>
                      <a:pt x="688" y="886"/>
                    </a:lnTo>
                    <a:lnTo>
                      <a:pt x="688" y="886"/>
                    </a:lnTo>
                    <a:lnTo>
                      <a:pt x="690" y="886"/>
                    </a:lnTo>
                    <a:lnTo>
                      <a:pt x="690" y="886"/>
                    </a:lnTo>
                    <a:lnTo>
                      <a:pt x="692" y="884"/>
                    </a:lnTo>
                    <a:lnTo>
                      <a:pt x="696" y="884"/>
                    </a:lnTo>
                    <a:lnTo>
                      <a:pt x="698" y="884"/>
                    </a:lnTo>
                    <a:lnTo>
                      <a:pt x="702" y="882"/>
                    </a:lnTo>
                    <a:lnTo>
                      <a:pt x="706" y="882"/>
                    </a:lnTo>
                    <a:lnTo>
                      <a:pt x="712" y="880"/>
                    </a:lnTo>
                    <a:lnTo>
                      <a:pt x="718" y="878"/>
                    </a:lnTo>
                    <a:lnTo>
                      <a:pt x="720" y="880"/>
                    </a:lnTo>
                    <a:lnTo>
                      <a:pt x="722" y="878"/>
                    </a:lnTo>
                    <a:lnTo>
                      <a:pt x="724" y="876"/>
                    </a:lnTo>
                    <a:lnTo>
                      <a:pt x="730" y="874"/>
                    </a:lnTo>
                    <a:lnTo>
                      <a:pt x="734" y="874"/>
                    </a:lnTo>
                    <a:lnTo>
                      <a:pt x="738" y="872"/>
                    </a:lnTo>
                    <a:lnTo>
                      <a:pt x="742" y="870"/>
                    </a:lnTo>
                    <a:lnTo>
                      <a:pt x="744" y="870"/>
                    </a:lnTo>
                    <a:lnTo>
                      <a:pt x="748" y="868"/>
                    </a:lnTo>
                    <a:lnTo>
                      <a:pt x="748" y="868"/>
                    </a:lnTo>
                    <a:lnTo>
                      <a:pt x="750" y="872"/>
                    </a:lnTo>
                    <a:lnTo>
                      <a:pt x="754" y="876"/>
                    </a:lnTo>
                    <a:lnTo>
                      <a:pt x="758" y="880"/>
                    </a:lnTo>
                    <a:lnTo>
                      <a:pt x="762" y="884"/>
                    </a:lnTo>
                    <a:lnTo>
                      <a:pt x="764" y="888"/>
                    </a:lnTo>
                    <a:lnTo>
                      <a:pt x="766" y="890"/>
                    </a:lnTo>
                    <a:lnTo>
                      <a:pt x="766" y="890"/>
                    </a:lnTo>
                    <a:lnTo>
                      <a:pt x="766" y="890"/>
                    </a:lnTo>
                    <a:lnTo>
                      <a:pt x="768" y="890"/>
                    </a:lnTo>
                    <a:lnTo>
                      <a:pt x="768" y="890"/>
                    </a:lnTo>
                    <a:lnTo>
                      <a:pt x="768" y="890"/>
                    </a:lnTo>
                    <a:lnTo>
                      <a:pt x="770" y="890"/>
                    </a:lnTo>
                    <a:lnTo>
                      <a:pt x="770" y="890"/>
                    </a:lnTo>
                    <a:lnTo>
                      <a:pt x="772" y="892"/>
                    </a:lnTo>
                    <a:lnTo>
                      <a:pt x="772" y="892"/>
                    </a:lnTo>
                    <a:lnTo>
                      <a:pt x="772" y="890"/>
                    </a:lnTo>
                    <a:lnTo>
                      <a:pt x="774" y="890"/>
                    </a:lnTo>
                    <a:lnTo>
                      <a:pt x="774" y="890"/>
                    </a:lnTo>
                    <a:lnTo>
                      <a:pt x="776" y="890"/>
                    </a:lnTo>
                    <a:lnTo>
                      <a:pt x="778" y="888"/>
                    </a:lnTo>
                    <a:lnTo>
                      <a:pt x="780" y="886"/>
                    </a:lnTo>
                    <a:lnTo>
                      <a:pt x="782" y="884"/>
                    </a:lnTo>
                    <a:lnTo>
                      <a:pt x="782" y="884"/>
                    </a:lnTo>
                    <a:lnTo>
                      <a:pt x="784" y="884"/>
                    </a:lnTo>
                    <a:lnTo>
                      <a:pt x="784" y="882"/>
                    </a:lnTo>
                    <a:lnTo>
                      <a:pt x="788" y="882"/>
                    </a:lnTo>
                    <a:lnTo>
                      <a:pt x="790" y="884"/>
                    </a:lnTo>
                    <a:lnTo>
                      <a:pt x="794" y="886"/>
                    </a:lnTo>
                    <a:lnTo>
                      <a:pt x="800" y="888"/>
                    </a:lnTo>
                    <a:lnTo>
                      <a:pt x="806" y="890"/>
                    </a:lnTo>
                    <a:lnTo>
                      <a:pt x="810" y="892"/>
                    </a:lnTo>
                    <a:lnTo>
                      <a:pt x="816" y="896"/>
                    </a:lnTo>
                    <a:lnTo>
                      <a:pt x="818" y="898"/>
                    </a:lnTo>
                    <a:lnTo>
                      <a:pt x="822" y="900"/>
                    </a:lnTo>
                    <a:lnTo>
                      <a:pt x="822" y="902"/>
                    </a:lnTo>
                    <a:lnTo>
                      <a:pt x="824" y="902"/>
                    </a:lnTo>
                    <a:lnTo>
                      <a:pt x="824" y="904"/>
                    </a:lnTo>
                    <a:lnTo>
                      <a:pt x="822" y="904"/>
                    </a:lnTo>
                    <a:lnTo>
                      <a:pt x="822" y="906"/>
                    </a:lnTo>
                    <a:lnTo>
                      <a:pt x="822" y="908"/>
                    </a:lnTo>
                    <a:lnTo>
                      <a:pt x="822" y="908"/>
                    </a:lnTo>
                    <a:lnTo>
                      <a:pt x="822" y="908"/>
                    </a:lnTo>
                    <a:lnTo>
                      <a:pt x="822" y="910"/>
                    </a:lnTo>
                    <a:lnTo>
                      <a:pt x="822" y="910"/>
                    </a:lnTo>
                    <a:lnTo>
                      <a:pt x="824" y="912"/>
                    </a:lnTo>
                    <a:lnTo>
                      <a:pt x="824" y="912"/>
                    </a:lnTo>
                    <a:lnTo>
                      <a:pt x="824" y="912"/>
                    </a:lnTo>
                    <a:lnTo>
                      <a:pt x="826" y="912"/>
                    </a:lnTo>
                    <a:lnTo>
                      <a:pt x="828" y="912"/>
                    </a:lnTo>
                    <a:lnTo>
                      <a:pt x="828" y="912"/>
                    </a:lnTo>
                    <a:lnTo>
                      <a:pt x="828" y="912"/>
                    </a:lnTo>
                    <a:lnTo>
                      <a:pt x="830" y="912"/>
                    </a:lnTo>
                    <a:lnTo>
                      <a:pt x="832" y="910"/>
                    </a:lnTo>
                    <a:lnTo>
                      <a:pt x="834" y="908"/>
                    </a:lnTo>
                    <a:lnTo>
                      <a:pt x="838" y="906"/>
                    </a:lnTo>
                    <a:lnTo>
                      <a:pt x="844" y="902"/>
                    </a:lnTo>
                    <a:lnTo>
                      <a:pt x="846" y="900"/>
                    </a:lnTo>
                    <a:lnTo>
                      <a:pt x="850" y="898"/>
                    </a:lnTo>
                    <a:lnTo>
                      <a:pt x="856" y="894"/>
                    </a:lnTo>
                    <a:lnTo>
                      <a:pt x="858" y="894"/>
                    </a:lnTo>
                    <a:lnTo>
                      <a:pt x="862" y="892"/>
                    </a:lnTo>
                    <a:lnTo>
                      <a:pt x="864" y="892"/>
                    </a:lnTo>
                    <a:lnTo>
                      <a:pt x="864" y="892"/>
                    </a:lnTo>
                    <a:lnTo>
                      <a:pt x="866" y="892"/>
                    </a:lnTo>
                    <a:lnTo>
                      <a:pt x="866" y="892"/>
                    </a:lnTo>
                    <a:lnTo>
                      <a:pt x="866" y="894"/>
                    </a:lnTo>
                    <a:lnTo>
                      <a:pt x="866" y="896"/>
                    </a:lnTo>
                    <a:lnTo>
                      <a:pt x="866" y="902"/>
                    </a:lnTo>
                    <a:lnTo>
                      <a:pt x="866" y="902"/>
                    </a:lnTo>
                    <a:lnTo>
                      <a:pt x="866" y="902"/>
                    </a:lnTo>
                    <a:lnTo>
                      <a:pt x="868" y="906"/>
                    </a:lnTo>
                    <a:lnTo>
                      <a:pt x="868" y="906"/>
                    </a:lnTo>
                    <a:lnTo>
                      <a:pt x="868" y="906"/>
                    </a:lnTo>
                    <a:lnTo>
                      <a:pt x="870" y="908"/>
                    </a:lnTo>
                    <a:lnTo>
                      <a:pt x="870" y="908"/>
                    </a:lnTo>
                    <a:lnTo>
                      <a:pt x="870" y="908"/>
                    </a:lnTo>
                    <a:lnTo>
                      <a:pt x="872" y="910"/>
                    </a:lnTo>
                    <a:lnTo>
                      <a:pt x="872" y="910"/>
                    </a:lnTo>
                    <a:lnTo>
                      <a:pt x="872" y="910"/>
                    </a:lnTo>
                    <a:lnTo>
                      <a:pt x="874" y="912"/>
                    </a:lnTo>
                    <a:lnTo>
                      <a:pt x="880" y="916"/>
                    </a:lnTo>
                    <a:lnTo>
                      <a:pt x="886" y="918"/>
                    </a:lnTo>
                    <a:lnTo>
                      <a:pt x="888" y="920"/>
                    </a:lnTo>
                    <a:lnTo>
                      <a:pt x="890" y="922"/>
                    </a:lnTo>
                    <a:lnTo>
                      <a:pt x="890" y="922"/>
                    </a:lnTo>
                    <a:lnTo>
                      <a:pt x="894" y="928"/>
                    </a:lnTo>
                    <a:lnTo>
                      <a:pt x="898" y="932"/>
                    </a:lnTo>
                    <a:lnTo>
                      <a:pt x="900" y="938"/>
                    </a:lnTo>
                    <a:lnTo>
                      <a:pt x="902" y="942"/>
                    </a:lnTo>
                    <a:lnTo>
                      <a:pt x="904" y="944"/>
                    </a:lnTo>
                    <a:lnTo>
                      <a:pt x="904" y="948"/>
                    </a:lnTo>
                    <a:lnTo>
                      <a:pt x="904" y="954"/>
                    </a:lnTo>
                    <a:lnTo>
                      <a:pt x="906" y="958"/>
                    </a:lnTo>
                    <a:lnTo>
                      <a:pt x="906" y="960"/>
                    </a:lnTo>
                    <a:lnTo>
                      <a:pt x="906" y="964"/>
                    </a:lnTo>
                    <a:lnTo>
                      <a:pt x="906" y="968"/>
                    </a:lnTo>
                    <a:lnTo>
                      <a:pt x="908" y="970"/>
                    </a:lnTo>
                    <a:lnTo>
                      <a:pt x="908" y="970"/>
                    </a:lnTo>
                    <a:lnTo>
                      <a:pt x="908" y="970"/>
                    </a:lnTo>
                    <a:lnTo>
                      <a:pt x="910" y="972"/>
                    </a:lnTo>
                    <a:lnTo>
                      <a:pt x="910" y="972"/>
                    </a:lnTo>
                    <a:lnTo>
                      <a:pt x="910" y="974"/>
                    </a:lnTo>
                    <a:lnTo>
                      <a:pt x="912" y="976"/>
                    </a:lnTo>
                    <a:lnTo>
                      <a:pt x="912" y="976"/>
                    </a:lnTo>
                    <a:lnTo>
                      <a:pt x="914" y="976"/>
                    </a:lnTo>
                    <a:lnTo>
                      <a:pt x="914" y="976"/>
                    </a:lnTo>
                    <a:lnTo>
                      <a:pt x="914" y="976"/>
                    </a:lnTo>
                    <a:lnTo>
                      <a:pt x="916" y="976"/>
                    </a:lnTo>
                    <a:lnTo>
                      <a:pt x="918" y="974"/>
                    </a:lnTo>
                    <a:lnTo>
                      <a:pt x="920" y="974"/>
                    </a:lnTo>
                    <a:lnTo>
                      <a:pt x="922" y="972"/>
                    </a:lnTo>
                    <a:lnTo>
                      <a:pt x="924" y="970"/>
                    </a:lnTo>
                    <a:lnTo>
                      <a:pt x="926" y="970"/>
                    </a:lnTo>
                    <a:lnTo>
                      <a:pt x="926" y="970"/>
                    </a:lnTo>
                    <a:lnTo>
                      <a:pt x="928" y="970"/>
                    </a:lnTo>
                    <a:lnTo>
                      <a:pt x="930" y="970"/>
                    </a:lnTo>
                    <a:lnTo>
                      <a:pt x="932" y="970"/>
                    </a:lnTo>
                    <a:lnTo>
                      <a:pt x="934" y="970"/>
                    </a:lnTo>
                    <a:lnTo>
                      <a:pt x="938" y="974"/>
                    </a:lnTo>
                    <a:lnTo>
                      <a:pt x="942" y="976"/>
                    </a:lnTo>
                    <a:lnTo>
                      <a:pt x="942" y="976"/>
                    </a:lnTo>
                    <a:lnTo>
                      <a:pt x="942" y="976"/>
                    </a:lnTo>
                    <a:lnTo>
                      <a:pt x="944" y="978"/>
                    </a:lnTo>
                    <a:lnTo>
                      <a:pt x="944" y="978"/>
                    </a:lnTo>
                    <a:lnTo>
                      <a:pt x="946" y="978"/>
                    </a:lnTo>
                    <a:lnTo>
                      <a:pt x="948" y="978"/>
                    </a:lnTo>
                    <a:lnTo>
                      <a:pt x="948" y="978"/>
                    </a:lnTo>
                    <a:lnTo>
                      <a:pt x="948" y="978"/>
                    </a:lnTo>
                    <a:lnTo>
                      <a:pt x="952" y="978"/>
                    </a:lnTo>
                    <a:lnTo>
                      <a:pt x="952" y="978"/>
                    </a:lnTo>
                    <a:lnTo>
                      <a:pt x="956" y="978"/>
                    </a:lnTo>
                    <a:lnTo>
                      <a:pt x="958" y="976"/>
                    </a:lnTo>
                    <a:lnTo>
                      <a:pt x="962" y="976"/>
                    </a:lnTo>
                    <a:lnTo>
                      <a:pt x="964" y="974"/>
                    </a:lnTo>
                    <a:lnTo>
                      <a:pt x="966" y="974"/>
                    </a:lnTo>
                    <a:lnTo>
                      <a:pt x="970" y="974"/>
                    </a:lnTo>
                    <a:lnTo>
                      <a:pt x="972" y="974"/>
                    </a:lnTo>
                    <a:lnTo>
                      <a:pt x="974" y="976"/>
                    </a:lnTo>
                    <a:lnTo>
                      <a:pt x="976" y="978"/>
                    </a:lnTo>
                    <a:lnTo>
                      <a:pt x="980" y="982"/>
                    </a:lnTo>
                    <a:lnTo>
                      <a:pt x="982" y="986"/>
                    </a:lnTo>
                    <a:lnTo>
                      <a:pt x="986" y="990"/>
                    </a:lnTo>
                    <a:lnTo>
                      <a:pt x="990" y="994"/>
                    </a:lnTo>
                    <a:lnTo>
                      <a:pt x="992" y="996"/>
                    </a:lnTo>
                    <a:lnTo>
                      <a:pt x="996" y="998"/>
                    </a:lnTo>
                    <a:lnTo>
                      <a:pt x="998" y="1000"/>
                    </a:lnTo>
                    <a:lnTo>
                      <a:pt x="1000" y="1002"/>
                    </a:lnTo>
                    <a:lnTo>
                      <a:pt x="1002" y="1002"/>
                    </a:lnTo>
                    <a:lnTo>
                      <a:pt x="1002" y="1002"/>
                    </a:lnTo>
                    <a:lnTo>
                      <a:pt x="1002" y="1002"/>
                    </a:lnTo>
                    <a:lnTo>
                      <a:pt x="1004" y="1004"/>
                    </a:lnTo>
                    <a:lnTo>
                      <a:pt x="1006" y="1004"/>
                    </a:lnTo>
                    <a:lnTo>
                      <a:pt x="1008" y="1004"/>
                    </a:lnTo>
                    <a:lnTo>
                      <a:pt x="1012" y="1004"/>
                    </a:lnTo>
                    <a:lnTo>
                      <a:pt x="1014" y="1004"/>
                    </a:lnTo>
                    <a:lnTo>
                      <a:pt x="1018" y="1004"/>
                    </a:lnTo>
                    <a:lnTo>
                      <a:pt x="1024" y="1006"/>
                    </a:lnTo>
                    <a:lnTo>
                      <a:pt x="1028" y="1006"/>
                    </a:lnTo>
                    <a:lnTo>
                      <a:pt x="1034" y="1008"/>
                    </a:lnTo>
                    <a:lnTo>
                      <a:pt x="1040" y="1008"/>
                    </a:lnTo>
                    <a:lnTo>
                      <a:pt x="1044" y="1008"/>
                    </a:lnTo>
                    <a:lnTo>
                      <a:pt x="1050" y="1008"/>
                    </a:lnTo>
                    <a:lnTo>
                      <a:pt x="1050" y="1008"/>
                    </a:lnTo>
                    <a:lnTo>
                      <a:pt x="1052" y="1008"/>
                    </a:lnTo>
                    <a:lnTo>
                      <a:pt x="1052" y="1008"/>
                    </a:lnTo>
                    <a:lnTo>
                      <a:pt x="1052" y="1008"/>
                    </a:lnTo>
                    <a:lnTo>
                      <a:pt x="1054" y="1008"/>
                    </a:lnTo>
                    <a:lnTo>
                      <a:pt x="1054" y="1008"/>
                    </a:lnTo>
                    <a:lnTo>
                      <a:pt x="1054" y="1008"/>
                    </a:lnTo>
                    <a:lnTo>
                      <a:pt x="1054" y="1006"/>
                    </a:lnTo>
                    <a:lnTo>
                      <a:pt x="1054" y="1006"/>
                    </a:lnTo>
                    <a:lnTo>
                      <a:pt x="1056" y="1004"/>
                    </a:lnTo>
                    <a:lnTo>
                      <a:pt x="1056" y="1004"/>
                    </a:lnTo>
                    <a:lnTo>
                      <a:pt x="1056" y="1004"/>
                    </a:lnTo>
                    <a:lnTo>
                      <a:pt x="1054" y="1002"/>
                    </a:lnTo>
                    <a:lnTo>
                      <a:pt x="1054" y="1000"/>
                    </a:lnTo>
                    <a:lnTo>
                      <a:pt x="1052" y="998"/>
                    </a:lnTo>
                    <a:lnTo>
                      <a:pt x="1052" y="998"/>
                    </a:lnTo>
                    <a:lnTo>
                      <a:pt x="1052" y="998"/>
                    </a:lnTo>
                    <a:lnTo>
                      <a:pt x="1054" y="998"/>
                    </a:lnTo>
                    <a:lnTo>
                      <a:pt x="1058" y="998"/>
                    </a:lnTo>
                    <a:lnTo>
                      <a:pt x="1058" y="998"/>
                    </a:lnTo>
                    <a:lnTo>
                      <a:pt x="1060" y="998"/>
                    </a:lnTo>
                    <a:lnTo>
                      <a:pt x="1062" y="998"/>
                    </a:lnTo>
                    <a:lnTo>
                      <a:pt x="1064" y="998"/>
                    </a:lnTo>
                    <a:lnTo>
                      <a:pt x="1064" y="998"/>
                    </a:lnTo>
                    <a:lnTo>
                      <a:pt x="1064" y="998"/>
                    </a:lnTo>
                    <a:lnTo>
                      <a:pt x="1068" y="998"/>
                    </a:lnTo>
                    <a:lnTo>
                      <a:pt x="1068" y="998"/>
                    </a:lnTo>
                    <a:lnTo>
                      <a:pt x="1068" y="996"/>
                    </a:lnTo>
                    <a:lnTo>
                      <a:pt x="1070" y="996"/>
                    </a:lnTo>
                    <a:lnTo>
                      <a:pt x="1074" y="992"/>
                    </a:lnTo>
                    <a:lnTo>
                      <a:pt x="1076" y="990"/>
                    </a:lnTo>
                    <a:lnTo>
                      <a:pt x="1082" y="986"/>
                    </a:lnTo>
                    <a:lnTo>
                      <a:pt x="1084" y="984"/>
                    </a:lnTo>
                    <a:lnTo>
                      <a:pt x="1086" y="984"/>
                    </a:lnTo>
                    <a:lnTo>
                      <a:pt x="1092" y="982"/>
                    </a:lnTo>
                    <a:lnTo>
                      <a:pt x="1096" y="980"/>
                    </a:lnTo>
                    <a:lnTo>
                      <a:pt x="1102" y="978"/>
                    </a:lnTo>
                    <a:lnTo>
                      <a:pt x="1100" y="978"/>
                    </a:lnTo>
                    <a:lnTo>
                      <a:pt x="1102" y="978"/>
                    </a:lnTo>
                    <a:lnTo>
                      <a:pt x="1106" y="978"/>
                    </a:lnTo>
                    <a:lnTo>
                      <a:pt x="1108" y="978"/>
                    </a:lnTo>
                    <a:lnTo>
                      <a:pt x="1110" y="980"/>
                    </a:lnTo>
                    <a:lnTo>
                      <a:pt x="1118" y="982"/>
                    </a:lnTo>
                    <a:lnTo>
                      <a:pt x="1124" y="984"/>
                    </a:lnTo>
                    <a:lnTo>
                      <a:pt x="1128" y="986"/>
                    </a:lnTo>
                    <a:lnTo>
                      <a:pt x="1130" y="986"/>
                    </a:lnTo>
                    <a:lnTo>
                      <a:pt x="1132" y="988"/>
                    </a:lnTo>
                    <a:lnTo>
                      <a:pt x="1134" y="990"/>
                    </a:lnTo>
                    <a:lnTo>
                      <a:pt x="1138" y="994"/>
                    </a:lnTo>
                    <a:lnTo>
                      <a:pt x="1140" y="996"/>
                    </a:lnTo>
                    <a:lnTo>
                      <a:pt x="1142" y="998"/>
                    </a:lnTo>
                    <a:lnTo>
                      <a:pt x="1142" y="998"/>
                    </a:lnTo>
                    <a:lnTo>
                      <a:pt x="1142" y="998"/>
                    </a:lnTo>
                    <a:lnTo>
                      <a:pt x="1146" y="1000"/>
                    </a:lnTo>
                    <a:lnTo>
                      <a:pt x="1146" y="1000"/>
                    </a:lnTo>
                    <a:lnTo>
                      <a:pt x="1146" y="1000"/>
                    </a:lnTo>
                    <a:lnTo>
                      <a:pt x="1150" y="1002"/>
                    </a:lnTo>
                    <a:lnTo>
                      <a:pt x="1152" y="1002"/>
                    </a:lnTo>
                    <a:lnTo>
                      <a:pt x="1158" y="1002"/>
                    </a:lnTo>
                    <a:lnTo>
                      <a:pt x="1162" y="1004"/>
                    </a:lnTo>
                    <a:lnTo>
                      <a:pt x="1168" y="1004"/>
                    </a:lnTo>
                    <a:lnTo>
                      <a:pt x="1174" y="1002"/>
                    </a:lnTo>
                    <a:lnTo>
                      <a:pt x="1178" y="1002"/>
                    </a:lnTo>
                    <a:lnTo>
                      <a:pt x="1178" y="1002"/>
                    </a:lnTo>
                    <a:lnTo>
                      <a:pt x="1178" y="1002"/>
                    </a:lnTo>
                    <a:lnTo>
                      <a:pt x="1184" y="1000"/>
                    </a:lnTo>
                    <a:lnTo>
                      <a:pt x="1184" y="1000"/>
                    </a:lnTo>
                    <a:lnTo>
                      <a:pt x="1184" y="1000"/>
                    </a:lnTo>
                    <a:lnTo>
                      <a:pt x="1188" y="998"/>
                    </a:lnTo>
                    <a:lnTo>
                      <a:pt x="1188" y="998"/>
                    </a:lnTo>
                    <a:lnTo>
                      <a:pt x="1188" y="998"/>
                    </a:lnTo>
                    <a:lnTo>
                      <a:pt x="1190" y="996"/>
                    </a:lnTo>
                    <a:lnTo>
                      <a:pt x="1190" y="996"/>
                    </a:lnTo>
                    <a:lnTo>
                      <a:pt x="1190" y="996"/>
                    </a:lnTo>
                    <a:lnTo>
                      <a:pt x="1190" y="994"/>
                    </a:lnTo>
                    <a:lnTo>
                      <a:pt x="1190" y="994"/>
                    </a:lnTo>
                    <a:lnTo>
                      <a:pt x="1190" y="992"/>
                    </a:lnTo>
                    <a:lnTo>
                      <a:pt x="1192" y="990"/>
                    </a:lnTo>
                    <a:lnTo>
                      <a:pt x="1192" y="988"/>
                    </a:lnTo>
                    <a:lnTo>
                      <a:pt x="1192" y="982"/>
                    </a:lnTo>
                    <a:lnTo>
                      <a:pt x="1192" y="974"/>
                    </a:lnTo>
                    <a:lnTo>
                      <a:pt x="1194" y="968"/>
                    </a:lnTo>
                    <a:lnTo>
                      <a:pt x="1194" y="962"/>
                    </a:lnTo>
                    <a:lnTo>
                      <a:pt x="1194" y="960"/>
                    </a:lnTo>
                    <a:lnTo>
                      <a:pt x="1194" y="958"/>
                    </a:lnTo>
                    <a:lnTo>
                      <a:pt x="1196" y="956"/>
                    </a:lnTo>
                    <a:lnTo>
                      <a:pt x="1196" y="956"/>
                    </a:lnTo>
                    <a:lnTo>
                      <a:pt x="1200" y="954"/>
                    </a:lnTo>
                    <a:lnTo>
                      <a:pt x="1202" y="954"/>
                    </a:lnTo>
                    <a:lnTo>
                      <a:pt x="1208" y="954"/>
                    </a:lnTo>
                    <a:lnTo>
                      <a:pt x="1212" y="954"/>
                    </a:lnTo>
                    <a:lnTo>
                      <a:pt x="1218" y="954"/>
                    </a:lnTo>
                    <a:lnTo>
                      <a:pt x="1222" y="956"/>
                    </a:lnTo>
                    <a:lnTo>
                      <a:pt x="1228" y="956"/>
                    </a:lnTo>
                    <a:lnTo>
                      <a:pt x="1230" y="958"/>
                    </a:lnTo>
                    <a:lnTo>
                      <a:pt x="1234" y="958"/>
                    </a:lnTo>
                    <a:lnTo>
                      <a:pt x="1236" y="958"/>
                    </a:lnTo>
                    <a:lnTo>
                      <a:pt x="1242" y="960"/>
                    </a:lnTo>
                    <a:lnTo>
                      <a:pt x="1242" y="960"/>
                    </a:lnTo>
                    <a:lnTo>
                      <a:pt x="1246" y="962"/>
                    </a:lnTo>
                    <a:lnTo>
                      <a:pt x="1248" y="966"/>
                    </a:lnTo>
                    <a:lnTo>
                      <a:pt x="1250" y="968"/>
                    </a:lnTo>
                    <a:lnTo>
                      <a:pt x="1250" y="970"/>
                    </a:lnTo>
                    <a:lnTo>
                      <a:pt x="1252" y="972"/>
                    </a:lnTo>
                    <a:lnTo>
                      <a:pt x="1254" y="976"/>
                    </a:lnTo>
                    <a:lnTo>
                      <a:pt x="1254" y="980"/>
                    </a:lnTo>
                    <a:lnTo>
                      <a:pt x="1254" y="980"/>
                    </a:lnTo>
                    <a:lnTo>
                      <a:pt x="1256" y="980"/>
                    </a:lnTo>
                    <a:lnTo>
                      <a:pt x="1258" y="984"/>
                    </a:lnTo>
                    <a:lnTo>
                      <a:pt x="1258" y="984"/>
                    </a:lnTo>
                    <a:lnTo>
                      <a:pt x="1258" y="984"/>
                    </a:lnTo>
                    <a:lnTo>
                      <a:pt x="1260" y="986"/>
                    </a:lnTo>
                    <a:lnTo>
                      <a:pt x="1260" y="986"/>
                    </a:lnTo>
                    <a:lnTo>
                      <a:pt x="1260" y="988"/>
                    </a:lnTo>
                    <a:lnTo>
                      <a:pt x="1264" y="990"/>
                    </a:lnTo>
                    <a:lnTo>
                      <a:pt x="1264" y="990"/>
                    </a:lnTo>
                    <a:lnTo>
                      <a:pt x="1266" y="990"/>
                    </a:lnTo>
                    <a:lnTo>
                      <a:pt x="1270" y="990"/>
                    </a:lnTo>
                    <a:lnTo>
                      <a:pt x="1270" y="990"/>
                    </a:lnTo>
                    <a:lnTo>
                      <a:pt x="1270" y="990"/>
                    </a:lnTo>
                    <a:lnTo>
                      <a:pt x="1276" y="990"/>
                    </a:lnTo>
                    <a:lnTo>
                      <a:pt x="1284" y="990"/>
                    </a:lnTo>
                    <a:lnTo>
                      <a:pt x="1290" y="990"/>
                    </a:lnTo>
                    <a:lnTo>
                      <a:pt x="1298" y="988"/>
                    </a:lnTo>
                    <a:lnTo>
                      <a:pt x="1304" y="988"/>
                    </a:lnTo>
                    <a:lnTo>
                      <a:pt x="1310" y="988"/>
                    </a:lnTo>
                    <a:lnTo>
                      <a:pt x="1310" y="988"/>
                    </a:lnTo>
                    <a:lnTo>
                      <a:pt x="1316" y="990"/>
                    </a:lnTo>
                    <a:lnTo>
                      <a:pt x="1320" y="992"/>
                    </a:lnTo>
                    <a:lnTo>
                      <a:pt x="1322" y="994"/>
                    </a:lnTo>
                    <a:lnTo>
                      <a:pt x="1324" y="996"/>
                    </a:lnTo>
                    <a:lnTo>
                      <a:pt x="1328" y="1000"/>
                    </a:lnTo>
                    <a:lnTo>
                      <a:pt x="1330" y="1004"/>
                    </a:lnTo>
                    <a:lnTo>
                      <a:pt x="1332" y="1008"/>
                    </a:lnTo>
                    <a:lnTo>
                      <a:pt x="1332" y="1008"/>
                    </a:lnTo>
                    <a:lnTo>
                      <a:pt x="1332" y="1008"/>
                    </a:lnTo>
                    <a:lnTo>
                      <a:pt x="1336" y="1010"/>
                    </a:lnTo>
                    <a:lnTo>
                      <a:pt x="1336" y="1010"/>
                    </a:lnTo>
                    <a:lnTo>
                      <a:pt x="1336" y="1012"/>
                    </a:lnTo>
                    <a:lnTo>
                      <a:pt x="1340" y="1014"/>
                    </a:lnTo>
                    <a:lnTo>
                      <a:pt x="1340" y="1014"/>
                    </a:lnTo>
                    <a:lnTo>
                      <a:pt x="1340" y="1014"/>
                    </a:lnTo>
                    <a:lnTo>
                      <a:pt x="1346" y="1014"/>
                    </a:lnTo>
                    <a:lnTo>
                      <a:pt x="1352" y="1016"/>
                    </a:lnTo>
                    <a:lnTo>
                      <a:pt x="1358" y="1016"/>
                    </a:lnTo>
                    <a:lnTo>
                      <a:pt x="1364" y="1016"/>
                    </a:lnTo>
                    <a:lnTo>
                      <a:pt x="1378" y="1016"/>
                    </a:lnTo>
                    <a:lnTo>
                      <a:pt x="1384" y="1014"/>
                    </a:lnTo>
                    <a:lnTo>
                      <a:pt x="1390" y="1014"/>
                    </a:lnTo>
                    <a:lnTo>
                      <a:pt x="1398" y="1012"/>
                    </a:lnTo>
                    <a:lnTo>
                      <a:pt x="1404" y="1008"/>
                    </a:lnTo>
                    <a:lnTo>
                      <a:pt x="1412" y="1006"/>
                    </a:lnTo>
                    <a:lnTo>
                      <a:pt x="1418" y="1002"/>
                    </a:lnTo>
                    <a:lnTo>
                      <a:pt x="1426" y="998"/>
                    </a:lnTo>
                    <a:lnTo>
                      <a:pt x="1432" y="996"/>
                    </a:lnTo>
                    <a:lnTo>
                      <a:pt x="1438" y="994"/>
                    </a:lnTo>
                    <a:lnTo>
                      <a:pt x="1442" y="992"/>
                    </a:lnTo>
                    <a:lnTo>
                      <a:pt x="1442" y="992"/>
                    </a:lnTo>
                    <a:lnTo>
                      <a:pt x="1446" y="992"/>
                    </a:lnTo>
                    <a:lnTo>
                      <a:pt x="1448" y="992"/>
                    </a:lnTo>
                    <a:lnTo>
                      <a:pt x="1450" y="992"/>
                    </a:lnTo>
                    <a:lnTo>
                      <a:pt x="1450" y="994"/>
                    </a:lnTo>
                    <a:lnTo>
                      <a:pt x="1452" y="996"/>
                    </a:lnTo>
                    <a:lnTo>
                      <a:pt x="1454" y="996"/>
                    </a:lnTo>
                    <a:lnTo>
                      <a:pt x="1454" y="996"/>
                    </a:lnTo>
                    <a:lnTo>
                      <a:pt x="1454" y="996"/>
                    </a:lnTo>
                    <a:lnTo>
                      <a:pt x="1456" y="998"/>
                    </a:lnTo>
                    <a:lnTo>
                      <a:pt x="1456" y="998"/>
                    </a:lnTo>
                    <a:lnTo>
                      <a:pt x="1458" y="998"/>
                    </a:lnTo>
                    <a:lnTo>
                      <a:pt x="1460" y="998"/>
                    </a:lnTo>
                    <a:lnTo>
                      <a:pt x="1464" y="998"/>
                    </a:lnTo>
                    <a:lnTo>
                      <a:pt x="1468" y="1000"/>
                    </a:lnTo>
                    <a:lnTo>
                      <a:pt x="1478" y="1000"/>
                    </a:lnTo>
                    <a:lnTo>
                      <a:pt x="1488" y="1000"/>
                    </a:lnTo>
                    <a:lnTo>
                      <a:pt x="1492" y="998"/>
                    </a:lnTo>
                    <a:lnTo>
                      <a:pt x="1496" y="998"/>
                    </a:lnTo>
                    <a:lnTo>
                      <a:pt x="1498" y="998"/>
                    </a:lnTo>
                    <a:lnTo>
                      <a:pt x="1500" y="998"/>
                    </a:lnTo>
                    <a:lnTo>
                      <a:pt x="1502" y="996"/>
                    </a:lnTo>
                    <a:lnTo>
                      <a:pt x="1504" y="996"/>
                    </a:lnTo>
                    <a:lnTo>
                      <a:pt x="1504" y="996"/>
                    </a:lnTo>
                    <a:lnTo>
                      <a:pt x="1504" y="996"/>
                    </a:lnTo>
                    <a:lnTo>
                      <a:pt x="1506" y="994"/>
                    </a:lnTo>
                    <a:lnTo>
                      <a:pt x="1506" y="994"/>
                    </a:lnTo>
                    <a:lnTo>
                      <a:pt x="1506" y="994"/>
                    </a:lnTo>
                    <a:lnTo>
                      <a:pt x="1508" y="992"/>
                    </a:lnTo>
                    <a:lnTo>
                      <a:pt x="1510" y="990"/>
                    </a:lnTo>
                    <a:lnTo>
                      <a:pt x="1512" y="988"/>
                    </a:lnTo>
                    <a:lnTo>
                      <a:pt x="1514" y="984"/>
                    </a:lnTo>
                    <a:lnTo>
                      <a:pt x="1516" y="980"/>
                    </a:lnTo>
                    <a:lnTo>
                      <a:pt x="1518" y="974"/>
                    </a:lnTo>
                    <a:lnTo>
                      <a:pt x="1522" y="970"/>
                    </a:lnTo>
                    <a:lnTo>
                      <a:pt x="1524" y="964"/>
                    </a:lnTo>
                    <a:lnTo>
                      <a:pt x="1526" y="958"/>
                    </a:lnTo>
                    <a:lnTo>
                      <a:pt x="1528" y="952"/>
                    </a:lnTo>
                    <a:lnTo>
                      <a:pt x="1530" y="946"/>
                    </a:lnTo>
                    <a:lnTo>
                      <a:pt x="1530" y="946"/>
                    </a:lnTo>
                    <a:lnTo>
                      <a:pt x="1530" y="946"/>
                    </a:lnTo>
                    <a:lnTo>
                      <a:pt x="1530" y="940"/>
                    </a:lnTo>
                    <a:lnTo>
                      <a:pt x="1530" y="940"/>
                    </a:lnTo>
                    <a:lnTo>
                      <a:pt x="1528" y="934"/>
                    </a:lnTo>
                    <a:lnTo>
                      <a:pt x="1528" y="930"/>
                    </a:lnTo>
                    <a:lnTo>
                      <a:pt x="1526" y="924"/>
                    </a:lnTo>
                    <a:lnTo>
                      <a:pt x="1524" y="920"/>
                    </a:lnTo>
                    <a:lnTo>
                      <a:pt x="1522" y="916"/>
                    </a:lnTo>
                    <a:lnTo>
                      <a:pt x="1522" y="916"/>
                    </a:lnTo>
                    <a:lnTo>
                      <a:pt x="1522" y="912"/>
                    </a:lnTo>
                    <a:lnTo>
                      <a:pt x="1522" y="912"/>
                    </a:lnTo>
                    <a:lnTo>
                      <a:pt x="1522" y="912"/>
                    </a:lnTo>
                    <a:lnTo>
                      <a:pt x="1524" y="912"/>
                    </a:lnTo>
                    <a:lnTo>
                      <a:pt x="1526" y="910"/>
                    </a:lnTo>
                    <a:lnTo>
                      <a:pt x="1528" y="908"/>
                    </a:lnTo>
                    <a:lnTo>
                      <a:pt x="1528" y="908"/>
                    </a:lnTo>
                    <a:lnTo>
                      <a:pt x="1532" y="906"/>
                    </a:lnTo>
                    <a:lnTo>
                      <a:pt x="1536" y="904"/>
                    </a:lnTo>
                    <a:lnTo>
                      <a:pt x="1542" y="904"/>
                    </a:lnTo>
                    <a:lnTo>
                      <a:pt x="1548" y="904"/>
                    </a:lnTo>
                    <a:lnTo>
                      <a:pt x="1558" y="902"/>
                    </a:lnTo>
                    <a:lnTo>
                      <a:pt x="1564" y="902"/>
                    </a:lnTo>
                    <a:lnTo>
                      <a:pt x="1570" y="902"/>
                    </a:lnTo>
                    <a:lnTo>
                      <a:pt x="1576" y="902"/>
                    </a:lnTo>
                    <a:lnTo>
                      <a:pt x="1582" y="902"/>
                    </a:lnTo>
                    <a:lnTo>
                      <a:pt x="1588" y="904"/>
                    </a:lnTo>
                    <a:lnTo>
                      <a:pt x="1594" y="904"/>
                    </a:lnTo>
                    <a:lnTo>
                      <a:pt x="1598" y="906"/>
                    </a:lnTo>
                    <a:lnTo>
                      <a:pt x="1602" y="908"/>
                    </a:lnTo>
                    <a:lnTo>
                      <a:pt x="1606" y="910"/>
                    </a:lnTo>
                    <a:lnTo>
                      <a:pt x="1604" y="910"/>
                    </a:lnTo>
                    <a:lnTo>
                      <a:pt x="1608" y="914"/>
                    </a:lnTo>
                    <a:lnTo>
                      <a:pt x="1608" y="918"/>
                    </a:lnTo>
                    <a:lnTo>
                      <a:pt x="1610" y="922"/>
                    </a:lnTo>
                    <a:lnTo>
                      <a:pt x="1610" y="928"/>
                    </a:lnTo>
                    <a:lnTo>
                      <a:pt x="1612" y="932"/>
                    </a:lnTo>
                    <a:lnTo>
                      <a:pt x="1612" y="936"/>
                    </a:lnTo>
                    <a:lnTo>
                      <a:pt x="1614" y="940"/>
                    </a:lnTo>
                    <a:lnTo>
                      <a:pt x="1614" y="940"/>
                    </a:lnTo>
                    <a:lnTo>
                      <a:pt x="1614" y="940"/>
                    </a:lnTo>
                    <a:lnTo>
                      <a:pt x="1616" y="944"/>
                    </a:lnTo>
                    <a:lnTo>
                      <a:pt x="1618" y="946"/>
                    </a:lnTo>
                    <a:lnTo>
                      <a:pt x="1618" y="946"/>
                    </a:lnTo>
                    <a:lnTo>
                      <a:pt x="1618" y="946"/>
                    </a:lnTo>
                    <a:lnTo>
                      <a:pt x="1620" y="950"/>
                    </a:lnTo>
                    <a:lnTo>
                      <a:pt x="1622" y="950"/>
                    </a:lnTo>
                    <a:lnTo>
                      <a:pt x="1624" y="952"/>
                    </a:lnTo>
                    <a:lnTo>
                      <a:pt x="1626" y="954"/>
                    </a:lnTo>
                    <a:lnTo>
                      <a:pt x="1626" y="954"/>
                    </a:lnTo>
                    <a:lnTo>
                      <a:pt x="1626" y="956"/>
                    </a:lnTo>
                    <a:lnTo>
                      <a:pt x="1628" y="958"/>
                    </a:lnTo>
                    <a:lnTo>
                      <a:pt x="1628" y="958"/>
                    </a:lnTo>
                    <a:lnTo>
                      <a:pt x="1630" y="962"/>
                    </a:lnTo>
                    <a:lnTo>
                      <a:pt x="1630" y="966"/>
                    </a:lnTo>
                    <a:lnTo>
                      <a:pt x="1632" y="972"/>
                    </a:lnTo>
                    <a:lnTo>
                      <a:pt x="1632" y="978"/>
                    </a:lnTo>
                    <a:lnTo>
                      <a:pt x="1634" y="984"/>
                    </a:lnTo>
                    <a:lnTo>
                      <a:pt x="1634" y="988"/>
                    </a:lnTo>
                    <a:lnTo>
                      <a:pt x="1636" y="994"/>
                    </a:lnTo>
                    <a:lnTo>
                      <a:pt x="1638" y="996"/>
                    </a:lnTo>
                    <a:lnTo>
                      <a:pt x="1638" y="996"/>
                    </a:lnTo>
                    <a:lnTo>
                      <a:pt x="1638" y="998"/>
                    </a:lnTo>
                    <a:lnTo>
                      <a:pt x="1640" y="1000"/>
                    </a:lnTo>
                    <a:lnTo>
                      <a:pt x="1640" y="1000"/>
                    </a:lnTo>
                    <a:lnTo>
                      <a:pt x="1640" y="1000"/>
                    </a:lnTo>
                    <a:lnTo>
                      <a:pt x="1642" y="1002"/>
                    </a:lnTo>
                    <a:lnTo>
                      <a:pt x="1642" y="1002"/>
                    </a:lnTo>
                    <a:lnTo>
                      <a:pt x="1642" y="1004"/>
                    </a:lnTo>
                    <a:lnTo>
                      <a:pt x="1646" y="1006"/>
                    </a:lnTo>
                    <a:lnTo>
                      <a:pt x="1648" y="1006"/>
                    </a:lnTo>
                    <a:lnTo>
                      <a:pt x="1650" y="1008"/>
                    </a:lnTo>
                    <a:lnTo>
                      <a:pt x="1654" y="1010"/>
                    </a:lnTo>
                    <a:lnTo>
                      <a:pt x="1656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60" y="1010"/>
                    </a:lnTo>
                    <a:lnTo>
                      <a:pt x="1660" y="1010"/>
                    </a:lnTo>
                    <a:lnTo>
                      <a:pt x="1660" y="1010"/>
                    </a:lnTo>
                    <a:lnTo>
                      <a:pt x="1662" y="1008"/>
                    </a:lnTo>
                    <a:lnTo>
                      <a:pt x="1662" y="1010"/>
                    </a:lnTo>
                    <a:lnTo>
                      <a:pt x="1666" y="1012"/>
                    </a:lnTo>
                    <a:lnTo>
                      <a:pt x="1668" y="1014"/>
                    </a:lnTo>
                    <a:lnTo>
                      <a:pt x="1674" y="1018"/>
                    </a:lnTo>
                    <a:lnTo>
                      <a:pt x="1676" y="1022"/>
                    </a:lnTo>
                    <a:lnTo>
                      <a:pt x="1678" y="1024"/>
                    </a:lnTo>
                    <a:lnTo>
                      <a:pt x="1678" y="1024"/>
                    </a:lnTo>
                    <a:lnTo>
                      <a:pt x="1678" y="1026"/>
                    </a:lnTo>
                    <a:lnTo>
                      <a:pt x="1680" y="1030"/>
                    </a:lnTo>
                    <a:lnTo>
                      <a:pt x="1682" y="1036"/>
                    </a:lnTo>
                    <a:lnTo>
                      <a:pt x="1682" y="1040"/>
                    </a:lnTo>
                    <a:lnTo>
                      <a:pt x="1684" y="1044"/>
                    </a:lnTo>
                    <a:lnTo>
                      <a:pt x="1684" y="1046"/>
                    </a:lnTo>
                    <a:lnTo>
                      <a:pt x="1684" y="1046"/>
                    </a:lnTo>
                    <a:lnTo>
                      <a:pt x="1686" y="1046"/>
                    </a:lnTo>
                    <a:lnTo>
                      <a:pt x="1686" y="1048"/>
                    </a:lnTo>
                    <a:lnTo>
                      <a:pt x="1686" y="1048"/>
                    </a:lnTo>
                    <a:lnTo>
                      <a:pt x="1688" y="1048"/>
                    </a:lnTo>
                    <a:lnTo>
                      <a:pt x="1690" y="1050"/>
                    </a:lnTo>
                    <a:lnTo>
                      <a:pt x="1690" y="1050"/>
                    </a:lnTo>
                    <a:lnTo>
                      <a:pt x="1690" y="1050"/>
                    </a:lnTo>
                    <a:lnTo>
                      <a:pt x="1692" y="1050"/>
                    </a:lnTo>
                    <a:lnTo>
                      <a:pt x="1692" y="1050"/>
                    </a:lnTo>
                    <a:lnTo>
                      <a:pt x="1692" y="1050"/>
                    </a:lnTo>
                    <a:lnTo>
                      <a:pt x="1694" y="1050"/>
                    </a:lnTo>
                    <a:lnTo>
                      <a:pt x="1696" y="1050"/>
                    </a:lnTo>
                    <a:lnTo>
                      <a:pt x="1696" y="1050"/>
                    </a:lnTo>
                    <a:lnTo>
                      <a:pt x="1698" y="1050"/>
                    </a:lnTo>
                    <a:lnTo>
                      <a:pt x="1702" y="1048"/>
                    </a:lnTo>
                    <a:lnTo>
                      <a:pt x="1708" y="1046"/>
                    </a:lnTo>
                    <a:lnTo>
                      <a:pt x="1710" y="1044"/>
                    </a:lnTo>
                    <a:lnTo>
                      <a:pt x="1712" y="1044"/>
                    </a:lnTo>
                    <a:lnTo>
                      <a:pt x="1718" y="1040"/>
                    </a:lnTo>
                    <a:lnTo>
                      <a:pt x="1722" y="1036"/>
                    </a:lnTo>
                    <a:lnTo>
                      <a:pt x="1728" y="1032"/>
                    </a:lnTo>
                    <a:lnTo>
                      <a:pt x="1734" y="1028"/>
                    </a:lnTo>
                    <a:lnTo>
                      <a:pt x="1736" y="1026"/>
                    </a:lnTo>
                    <a:lnTo>
                      <a:pt x="1738" y="1026"/>
                    </a:lnTo>
                    <a:lnTo>
                      <a:pt x="1740" y="1024"/>
                    </a:lnTo>
                    <a:lnTo>
                      <a:pt x="1740" y="1026"/>
                    </a:lnTo>
                    <a:lnTo>
                      <a:pt x="1740" y="1028"/>
                    </a:lnTo>
                    <a:lnTo>
                      <a:pt x="1738" y="1032"/>
                    </a:lnTo>
                    <a:lnTo>
                      <a:pt x="1738" y="1036"/>
                    </a:lnTo>
                    <a:lnTo>
                      <a:pt x="1736" y="1040"/>
                    </a:lnTo>
                    <a:lnTo>
                      <a:pt x="1736" y="1044"/>
                    </a:lnTo>
                    <a:lnTo>
                      <a:pt x="1732" y="1056"/>
                    </a:lnTo>
                    <a:lnTo>
                      <a:pt x="1728" y="1066"/>
                    </a:lnTo>
                    <a:lnTo>
                      <a:pt x="1726" y="1070"/>
                    </a:lnTo>
                    <a:lnTo>
                      <a:pt x="1724" y="1076"/>
                    </a:lnTo>
                    <a:lnTo>
                      <a:pt x="1722" y="1080"/>
                    </a:lnTo>
                    <a:lnTo>
                      <a:pt x="1720" y="1084"/>
                    </a:lnTo>
                    <a:lnTo>
                      <a:pt x="1720" y="1088"/>
                    </a:lnTo>
                    <a:lnTo>
                      <a:pt x="1718" y="1090"/>
                    </a:lnTo>
                    <a:lnTo>
                      <a:pt x="1716" y="1092"/>
                    </a:lnTo>
                    <a:lnTo>
                      <a:pt x="1716" y="1092"/>
                    </a:lnTo>
                    <a:lnTo>
                      <a:pt x="1716" y="1092"/>
                    </a:lnTo>
                    <a:lnTo>
                      <a:pt x="1714" y="1092"/>
                    </a:lnTo>
                    <a:lnTo>
                      <a:pt x="1712" y="1094"/>
                    </a:lnTo>
                    <a:lnTo>
                      <a:pt x="1708" y="1092"/>
                    </a:lnTo>
                    <a:lnTo>
                      <a:pt x="1708" y="1092"/>
                    </a:lnTo>
                    <a:lnTo>
                      <a:pt x="1704" y="1092"/>
                    </a:lnTo>
                    <a:lnTo>
                      <a:pt x="1700" y="1090"/>
                    </a:lnTo>
                    <a:lnTo>
                      <a:pt x="1696" y="1090"/>
                    </a:lnTo>
                    <a:lnTo>
                      <a:pt x="1694" y="1090"/>
                    </a:lnTo>
                    <a:lnTo>
                      <a:pt x="1694" y="1090"/>
                    </a:lnTo>
                    <a:lnTo>
                      <a:pt x="1694" y="1090"/>
                    </a:lnTo>
                    <a:lnTo>
                      <a:pt x="1692" y="1090"/>
                    </a:lnTo>
                    <a:lnTo>
                      <a:pt x="1692" y="1090"/>
                    </a:lnTo>
                    <a:lnTo>
                      <a:pt x="1690" y="1090"/>
                    </a:lnTo>
                    <a:lnTo>
                      <a:pt x="1690" y="1092"/>
                    </a:lnTo>
                    <a:lnTo>
                      <a:pt x="1690" y="1092"/>
                    </a:lnTo>
                    <a:lnTo>
                      <a:pt x="1688" y="1092"/>
                    </a:lnTo>
                    <a:lnTo>
                      <a:pt x="1688" y="1094"/>
                    </a:lnTo>
                    <a:lnTo>
                      <a:pt x="1688" y="1094"/>
                    </a:lnTo>
                    <a:lnTo>
                      <a:pt x="1688" y="1094"/>
                    </a:lnTo>
                    <a:lnTo>
                      <a:pt x="1686" y="1096"/>
                    </a:lnTo>
                    <a:lnTo>
                      <a:pt x="1686" y="1100"/>
                    </a:lnTo>
                    <a:lnTo>
                      <a:pt x="1684" y="1102"/>
                    </a:lnTo>
                    <a:lnTo>
                      <a:pt x="1684" y="1106"/>
                    </a:lnTo>
                    <a:lnTo>
                      <a:pt x="1684" y="1112"/>
                    </a:lnTo>
                    <a:lnTo>
                      <a:pt x="1682" y="1120"/>
                    </a:lnTo>
                    <a:lnTo>
                      <a:pt x="1682" y="1128"/>
                    </a:lnTo>
                    <a:lnTo>
                      <a:pt x="1684" y="1134"/>
                    </a:lnTo>
                    <a:lnTo>
                      <a:pt x="1684" y="1138"/>
                    </a:lnTo>
                    <a:lnTo>
                      <a:pt x="1684" y="1140"/>
                    </a:lnTo>
                    <a:lnTo>
                      <a:pt x="1686" y="1142"/>
                    </a:lnTo>
                    <a:lnTo>
                      <a:pt x="1686" y="1142"/>
                    </a:lnTo>
                    <a:lnTo>
                      <a:pt x="1686" y="1144"/>
                    </a:lnTo>
                    <a:lnTo>
                      <a:pt x="1686" y="1144"/>
                    </a:lnTo>
                    <a:lnTo>
                      <a:pt x="1686" y="1144"/>
                    </a:lnTo>
                    <a:lnTo>
                      <a:pt x="1686" y="1146"/>
                    </a:lnTo>
                    <a:lnTo>
                      <a:pt x="1690" y="1148"/>
                    </a:lnTo>
                    <a:lnTo>
                      <a:pt x="1690" y="1148"/>
                    </a:lnTo>
                    <a:lnTo>
                      <a:pt x="1690" y="1148"/>
                    </a:lnTo>
                    <a:lnTo>
                      <a:pt x="1694" y="1150"/>
                    </a:lnTo>
                    <a:lnTo>
                      <a:pt x="1694" y="1150"/>
                    </a:lnTo>
                    <a:lnTo>
                      <a:pt x="1696" y="1150"/>
                    </a:lnTo>
                    <a:lnTo>
                      <a:pt x="1700" y="1152"/>
                    </a:lnTo>
                    <a:lnTo>
                      <a:pt x="1700" y="1152"/>
                    </a:lnTo>
                    <a:lnTo>
                      <a:pt x="1706" y="1152"/>
                    </a:lnTo>
                    <a:lnTo>
                      <a:pt x="1712" y="1152"/>
                    </a:lnTo>
                    <a:lnTo>
                      <a:pt x="1718" y="1152"/>
                    </a:lnTo>
                    <a:lnTo>
                      <a:pt x="1724" y="1150"/>
                    </a:lnTo>
                    <a:lnTo>
                      <a:pt x="1730" y="1148"/>
                    </a:lnTo>
                    <a:lnTo>
                      <a:pt x="1736" y="1146"/>
                    </a:lnTo>
                    <a:lnTo>
                      <a:pt x="1740" y="1142"/>
                    </a:lnTo>
                    <a:lnTo>
                      <a:pt x="1746" y="1138"/>
                    </a:lnTo>
                    <a:lnTo>
                      <a:pt x="1750" y="1134"/>
                    </a:lnTo>
                    <a:lnTo>
                      <a:pt x="1756" y="1130"/>
                    </a:lnTo>
                    <a:lnTo>
                      <a:pt x="1760" y="1124"/>
                    </a:lnTo>
                    <a:lnTo>
                      <a:pt x="1766" y="1116"/>
                    </a:lnTo>
                    <a:lnTo>
                      <a:pt x="1772" y="1110"/>
                    </a:lnTo>
                    <a:lnTo>
                      <a:pt x="1774" y="1104"/>
                    </a:lnTo>
                    <a:lnTo>
                      <a:pt x="1778" y="1100"/>
                    </a:lnTo>
                    <a:lnTo>
                      <a:pt x="1782" y="1094"/>
                    </a:lnTo>
                    <a:lnTo>
                      <a:pt x="1786" y="1088"/>
                    </a:lnTo>
                    <a:lnTo>
                      <a:pt x="1794" y="1074"/>
                    </a:lnTo>
                    <a:lnTo>
                      <a:pt x="1804" y="1060"/>
                    </a:lnTo>
                    <a:lnTo>
                      <a:pt x="1812" y="1048"/>
                    </a:lnTo>
                    <a:lnTo>
                      <a:pt x="1820" y="1034"/>
                    </a:lnTo>
                    <a:lnTo>
                      <a:pt x="1824" y="1028"/>
                    </a:lnTo>
                    <a:lnTo>
                      <a:pt x="1826" y="1022"/>
                    </a:lnTo>
                    <a:lnTo>
                      <a:pt x="1830" y="1016"/>
                    </a:lnTo>
                    <a:lnTo>
                      <a:pt x="1832" y="1012"/>
                    </a:lnTo>
                    <a:lnTo>
                      <a:pt x="1834" y="1008"/>
                    </a:lnTo>
                    <a:lnTo>
                      <a:pt x="1834" y="1004"/>
                    </a:lnTo>
                    <a:lnTo>
                      <a:pt x="1836" y="1000"/>
                    </a:lnTo>
                    <a:lnTo>
                      <a:pt x="1836" y="996"/>
                    </a:lnTo>
                    <a:lnTo>
                      <a:pt x="1836" y="992"/>
                    </a:lnTo>
                    <a:lnTo>
                      <a:pt x="1836" y="986"/>
                    </a:lnTo>
                    <a:lnTo>
                      <a:pt x="1834" y="984"/>
                    </a:lnTo>
                    <a:lnTo>
                      <a:pt x="1832" y="980"/>
                    </a:lnTo>
                    <a:lnTo>
                      <a:pt x="1832" y="976"/>
                    </a:lnTo>
                    <a:lnTo>
                      <a:pt x="1832" y="976"/>
                    </a:lnTo>
                    <a:lnTo>
                      <a:pt x="1832" y="972"/>
                    </a:lnTo>
                    <a:lnTo>
                      <a:pt x="1832" y="968"/>
                    </a:lnTo>
                    <a:lnTo>
                      <a:pt x="1834" y="962"/>
                    </a:lnTo>
                    <a:lnTo>
                      <a:pt x="1836" y="952"/>
                    </a:lnTo>
                    <a:lnTo>
                      <a:pt x="1838" y="946"/>
                    </a:lnTo>
                    <a:lnTo>
                      <a:pt x="1840" y="940"/>
                    </a:lnTo>
                    <a:lnTo>
                      <a:pt x="1840" y="936"/>
                    </a:lnTo>
                    <a:lnTo>
                      <a:pt x="1840" y="930"/>
                    </a:lnTo>
                    <a:lnTo>
                      <a:pt x="1842" y="926"/>
                    </a:lnTo>
                    <a:lnTo>
                      <a:pt x="1842" y="924"/>
                    </a:lnTo>
                    <a:lnTo>
                      <a:pt x="1840" y="920"/>
                    </a:lnTo>
                    <a:lnTo>
                      <a:pt x="1840" y="918"/>
                    </a:lnTo>
                    <a:lnTo>
                      <a:pt x="1840" y="918"/>
                    </a:lnTo>
                    <a:lnTo>
                      <a:pt x="1840" y="918"/>
                    </a:lnTo>
                    <a:lnTo>
                      <a:pt x="1838" y="912"/>
                    </a:lnTo>
                    <a:lnTo>
                      <a:pt x="1836" y="908"/>
                    </a:lnTo>
                    <a:lnTo>
                      <a:pt x="1834" y="904"/>
                    </a:lnTo>
                    <a:lnTo>
                      <a:pt x="1832" y="902"/>
                    </a:lnTo>
                    <a:lnTo>
                      <a:pt x="1826" y="896"/>
                    </a:lnTo>
                    <a:lnTo>
                      <a:pt x="1822" y="892"/>
                    </a:lnTo>
                    <a:lnTo>
                      <a:pt x="1818" y="890"/>
                    </a:lnTo>
                    <a:lnTo>
                      <a:pt x="1816" y="888"/>
                    </a:lnTo>
                    <a:lnTo>
                      <a:pt x="1814" y="888"/>
                    </a:lnTo>
                    <a:lnTo>
                      <a:pt x="1814" y="888"/>
                    </a:lnTo>
                    <a:lnTo>
                      <a:pt x="1814" y="886"/>
                    </a:lnTo>
                    <a:lnTo>
                      <a:pt x="1812" y="886"/>
                    </a:lnTo>
                    <a:lnTo>
                      <a:pt x="1812" y="886"/>
                    </a:lnTo>
                    <a:lnTo>
                      <a:pt x="1812" y="886"/>
                    </a:lnTo>
                    <a:lnTo>
                      <a:pt x="1808" y="886"/>
                    </a:lnTo>
                    <a:lnTo>
                      <a:pt x="1808" y="886"/>
                    </a:lnTo>
                    <a:lnTo>
                      <a:pt x="1806" y="886"/>
                    </a:lnTo>
                    <a:lnTo>
                      <a:pt x="1804" y="888"/>
                    </a:lnTo>
                    <a:lnTo>
                      <a:pt x="1804" y="888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0" y="888"/>
                    </a:lnTo>
                    <a:lnTo>
                      <a:pt x="1800" y="890"/>
                    </a:lnTo>
                    <a:lnTo>
                      <a:pt x="1800" y="890"/>
                    </a:lnTo>
                    <a:lnTo>
                      <a:pt x="1800" y="890"/>
                    </a:lnTo>
                    <a:lnTo>
                      <a:pt x="1798" y="892"/>
                    </a:lnTo>
                    <a:lnTo>
                      <a:pt x="1798" y="892"/>
                    </a:lnTo>
                    <a:lnTo>
                      <a:pt x="1798" y="894"/>
                    </a:lnTo>
                    <a:lnTo>
                      <a:pt x="1798" y="896"/>
                    </a:lnTo>
                    <a:lnTo>
                      <a:pt x="1798" y="898"/>
                    </a:lnTo>
                    <a:lnTo>
                      <a:pt x="1800" y="902"/>
                    </a:lnTo>
                    <a:lnTo>
                      <a:pt x="1800" y="904"/>
                    </a:lnTo>
                    <a:lnTo>
                      <a:pt x="1800" y="906"/>
                    </a:lnTo>
                    <a:lnTo>
                      <a:pt x="1800" y="908"/>
                    </a:lnTo>
                    <a:lnTo>
                      <a:pt x="1798" y="908"/>
                    </a:lnTo>
                    <a:lnTo>
                      <a:pt x="1798" y="908"/>
                    </a:lnTo>
                    <a:lnTo>
                      <a:pt x="1796" y="908"/>
                    </a:lnTo>
                    <a:lnTo>
                      <a:pt x="1794" y="908"/>
                    </a:lnTo>
                    <a:lnTo>
                      <a:pt x="1792" y="906"/>
                    </a:lnTo>
                    <a:lnTo>
                      <a:pt x="1792" y="906"/>
                    </a:lnTo>
                    <a:lnTo>
                      <a:pt x="1792" y="904"/>
                    </a:lnTo>
                    <a:lnTo>
                      <a:pt x="1792" y="904"/>
                    </a:lnTo>
                    <a:lnTo>
                      <a:pt x="1792" y="904"/>
                    </a:lnTo>
                    <a:lnTo>
                      <a:pt x="1792" y="900"/>
                    </a:lnTo>
                    <a:lnTo>
                      <a:pt x="1794" y="894"/>
                    </a:lnTo>
                    <a:lnTo>
                      <a:pt x="1796" y="890"/>
                    </a:lnTo>
                    <a:lnTo>
                      <a:pt x="1798" y="884"/>
                    </a:lnTo>
                    <a:lnTo>
                      <a:pt x="1798" y="880"/>
                    </a:lnTo>
                    <a:lnTo>
                      <a:pt x="1800" y="876"/>
                    </a:lnTo>
                    <a:lnTo>
                      <a:pt x="1800" y="874"/>
                    </a:lnTo>
                    <a:lnTo>
                      <a:pt x="1800" y="874"/>
                    </a:lnTo>
                    <a:lnTo>
                      <a:pt x="1800" y="872"/>
                    </a:lnTo>
                    <a:lnTo>
                      <a:pt x="1800" y="872"/>
                    </a:lnTo>
                    <a:lnTo>
                      <a:pt x="1798" y="870"/>
                    </a:lnTo>
                    <a:lnTo>
                      <a:pt x="1798" y="870"/>
                    </a:lnTo>
                    <a:lnTo>
                      <a:pt x="1798" y="870"/>
                    </a:lnTo>
                    <a:lnTo>
                      <a:pt x="1796" y="870"/>
                    </a:lnTo>
                    <a:lnTo>
                      <a:pt x="1794" y="870"/>
                    </a:lnTo>
                    <a:lnTo>
                      <a:pt x="1794" y="870"/>
                    </a:lnTo>
                    <a:lnTo>
                      <a:pt x="1794" y="870"/>
                    </a:lnTo>
                    <a:lnTo>
                      <a:pt x="1792" y="872"/>
                    </a:lnTo>
                    <a:lnTo>
                      <a:pt x="1790" y="872"/>
                    </a:lnTo>
                    <a:lnTo>
                      <a:pt x="1786" y="876"/>
                    </a:lnTo>
                    <a:lnTo>
                      <a:pt x="1782" y="878"/>
                    </a:lnTo>
                    <a:lnTo>
                      <a:pt x="1780" y="878"/>
                    </a:lnTo>
                    <a:lnTo>
                      <a:pt x="1778" y="880"/>
                    </a:lnTo>
                    <a:lnTo>
                      <a:pt x="1772" y="880"/>
                    </a:lnTo>
                    <a:lnTo>
                      <a:pt x="1768" y="880"/>
                    </a:lnTo>
                    <a:lnTo>
                      <a:pt x="1764" y="880"/>
                    </a:lnTo>
                    <a:lnTo>
                      <a:pt x="1758" y="880"/>
                    </a:lnTo>
                    <a:lnTo>
                      <a:pt x="1754" y="880"/>
                    </a:lnTo>
                    <a:lnTo>
                      <a:pt x="1752" y="880"/>
                    </a:lnTo>
                    <a:lnTo>
                      <a:pt x="1750" y="880"/>
                    </a:lnTo>
                    <a:lnTo>
                      <a:pt x="1748" y="880"/>
                    </a:lnTo>
                    <a:lnTo>
                      <a:pt x="1748" y="878"/>
                    </a:lnTo>
                    <a:lnTo>
                      <a:pt x="1750" y="878"/>
                    </a:lnTo>
                    <a:lnTo>
                      <a:pt x="1750" y="876"/>
                    </a:lnTo>
                    <a:lnTo>
                      <a:pt x="1754" y="872"/>
                    </a:lnTo>
                    <a:lnTo>
                      <a:pt x="1754" y="872"/>
                    </a:lnTo>
                    <a:lnTo>
                      <a:pt x="1758" y="868"/>
                    </a:lnTo>
                    <a:lnTo>
                      <a:pt x="1760" y="866"/>
                    </a:lnTo>
                    <a:lnTo>
                      <a:pt x="1762" y="864"/>
                    </a:lnTo>
                    <a:lnTo>
                      <a:pt x="1770" y="860"/>
                    </a:lnTo>
                    <a:lnTo>
                      <a:pt x="1772" y="858"/>
                    </a:lnTo>
                    <a:lnTo>
                      <a:pt x="1776" y="854"/>
                    </a:lnTo>
                    <a:lnTo>
                      <a:pt x="1780" y="850"/>
                    </a:lnTo>
                    <a:lnTo>
                      <a:pt x="1786" y="846"/>
                    </a:lnTo>
                    <a:lnTo>
                      <a:pt x="1790" y="842"/>
                    </a:lnTo>
                    <a:lnTo>
                      <a:pt x="1794" y="838"/>
                    </a:lnTo>
                    <a:lnTo>
                      <a:pt x="1796" y="836"/>
                    </a:lnTo>
                    <a:lnTo>
                      <a:pt x="1796" y="836"/>
                    </a:lnTo>
                    <a:lnTo>
                      <a:pt x="1796" y="836"/>
                    </a:lnTo>
                    <a:lnTo>
                      <a:pt x="1798" y="834"/>
                    </a:lnTo>
                    <a:lnTo>
                      <a:pt x="1798" y="834"/>
                    </a:lnTo>
                    <a:lnTo>
                      <a:pt x="1798" y="834"/>
                    </a:lnTo>
                    <a:lnTo>
                      <a:pt x="1798" y="830"/>
                    </a:lnTo>
                    <a:lnTo>
                      <a:pt x="1800" y="826"/>
                    </a:lnTo>
                    <a:lnTo>
                      <a:pt x="1800" y="828"/>
                    </a:lnTo>
                    <a:lnTo>
                      <a:pt x="1800" y="826"/>
                    </a:lnTo>
                    <a:lnTo>
                      <a:pt x="1802" y="824"/>
                    </a:lnTo>
                    <a:lnTo>
                      <a:pt x="1802" y="824"/>
                    </a:lnTo>
                    <a:lnTo>
                      <a:pt x="1804" y="822"/>
                    </a:lnTo>
                    <a:lnTo>
                      <a:pt x="1808" y="820"/>
                    </a:lnTo>
                    <a:lnTo>
                      <a:pt x="1812" y="818"/>
                    </a:lnTo>
                    <a:lnTo>
                      <a:pt x="1814" y="816"/>
                    </a:lnTo>
                    <a:lnTo>
                      <a:pt x="1816" y="816"/>
                    </a:lnTo>
                    <a:lnTo>
                      <a:pt x="1818" y="814"/>
                    </a:lnTo>
                    <a:lnTo>
                      <a:pt x="1818" y="812"/>
                    </a:lnTo>
                    <a:lnTo>
                      <a:pt x="1818" y="812"/>
                    </a:lnTo>
                    <a:lnTo>
                      <a:pt x="1818" y="812"/>
                    </a:lnTo>
                    <a:lnTo>
                      <a:pt x="1820" y="810"/>
                    </a:lnTo>
                    <a:lnTo>
                      <a:pt x="1822" y="808"/>
                    </a:lnTo>
                    <a:lnTo>
                      <a:pt x="1822" y="806"/>
                    </a:lnTo>
                    <a:lnTo>
                      <a:pt x="1824" y="804"/>
                    </a:lnTo>
                    <a:lnTo>
                      <a:pt x="1828" y="800"/>
                    </a:lnTo>
                    <a:lnTo>
                      <a:pt x="1828" y="800"/>
                    </a:lnTo>
                    <a:lnTo>
                      <a:pt x="1830" y="800"/>
                    </a:lnTo>
                    <a:lnTo>
                      <a:pt x="1832" y="796"/>
                    </a:lnTo>
                    <a:lnTo>
                      <a:pt x="1832" y="796"/>
                    </a:lnTo>
                    <a:lnTo>
                      <a:pt x="1832" y="796"/>
                    </a:lnTo>
                    <a:lnTo>
                      <a:pt x="1832" y="794"/>
                    </a:lnTo>
                    <a:lnTo>
                      <a:pt x="1832" y="792"/>
                    </a:lnTo>
                    <a:lnTo>
                      <a:pt x="1834" y="788"/>
                    </a:lnTo>
                    <a:lnTo>
                      <a:pt x="1834" y="786"/>
                    </a:lnTo>
                    <a:lnTo>
                      <a:pt x="1834" y="784"/>
                    </a:lnTo>
                    <a:lnTo>
                      <a:pt x="1834" y="782"/>
                    </a:lnTo>
                    <a:lnTo>
                      <a:pt x="1836" y="782"/>
                    </a:lnTo>
                    <a:lnTo>
                      <a:pt x="1836" y="782"/>
                    </a:lnTo>
                    <a:lnTo>
                      <a:pt x="1838" y="782"/>
                    </a:lnTo>
                    <a:lnTo>
                      <a:pt x="1842" y="784"/>
                    </a:lnTo>
                    <a:lnTo>
                      <a:pt x="1842" y="784"/>
                    </a:lnTo>
                    <a:lnTo>
                      <a:pt x="1842" y="784"/>
                    </a:lnTo>
                    <a:lnTo>
                      <a:pt x="1844" y="784"/>
                    </a:lnTo>
                    <a:lnTo>
                      <a:pt x="1844" y="784"/>
                    </a:lnTo>
                    <a:lnTo>
                      <a:pt x="1844" y="784"/>
                    </a:lnTo>
                    <a:lnTo>
                      <a:pt x="1846" y="782"/>
                    </a:lnTo>
                    <a:lnTo>
                      <a:pt x="1846" y="782"/>
                    </a:lnTo>
                    <a:lnTo>
                      <a:pt x="1848" y="782"/>
                    </a:lnTo>
                    <a:lnTo>
                      <a:pt x="1848" y="782"/>
                    </a:lnTo>
                    <a:lnTo>
                      <a:pt x="1848" y="782"/>
                    </a:lnTo>
                    <a:lnTo>
                      <a:pt x="1848" y="780"/>
                    </a:lnTo>
                    <a:lnTo>
                      <a:pt x="1850" y="778"/>
                    </a:lnTo>
                    <a:lnTo>
                      <a:pt x="1850" y="778"/>
                    </a:lnTo>
                    <a:lnTo>
                      <a:pt x="1850" y="778"/>
                    </a:lnTo>
                    <a:lnTo>
                      <a:pt x="1850" y="774"/>
                    </a:lnTo>
                    <a:lnTo>
                      <a:pt x="1850" y="772"/>
                    </a:lnTo>
                    <a:lnTo>
                      <a:pt x="1850" y="770"/>
                    </a:lnTo>
                    <a:lnTo>
                      <a:pt x="1850" y="770"/>
                    </a:lnTo>
                    <a:lnTo>
                      <a:pt x="1854" y="764"/>
                    </a:lnTo>
                    <a:lnTo>
                      <a:pt x="1854" y="760"/>
                    </a:lnTo>
                    <a:lnTo>
                      <a:pt x="1856" y="758"/>
                    </a:lnTo>
                    <a:lnTo>
                      <a:pt x="1856" y="760"/>
                    </a:lnTo>
                    <a:lnTo>
                      <a:pt x="1856" y="758"/>
                    </a:lnTo>
                    <a:lnTo>
                      <a:pt x="1858" y="758"/>
                    </a:lnTo>
                    <a:lnTo>
                      <a:pt x="1862" y="756"/>
                    </a:lnTo>
                    <a:lnTo>
                      <a:pt x="1866" y="754"/>
                    </a:lnTo>
                    <a:lnTo>
                      <a:pt x="1870" y="754"/>
                    </a:lnTo>
                    <a:lnTo>
                      <a:pt x="1874" y="754"/>
                    </a:lnTo>
                    <a:lnTo>
                      <a:pt x="1878" y="754"/>
                    </a:lnTo>
                    <a:lnTo>
                      <a:pt x="1884" y="754"/>
                    </a:lnTo>
                    <a:lnTo>
                      <a:pt x="1888" y="754"/>
                    </a:lnTo>
                    <a:lnTo>
                      <a:pt x="1892" y="754"/>
                    </a:lnTo>
                    <a:lnTo>
                      <a:pt x="1896" y="754"/>
                    </a:lnTo>
                    <a:lnTo>
                      <a:pt x="1900" y="754"/>
                    </a:lnTo>
                    <a:lnTo>
                      <a:pt x="1902" y="754"/>
                    </a:lnTo>
                    <a:lnTo>
                      <a:pt x="1902" y="754"/>
                    </a:lnTo>
                    <a:lnTo>
                      <a:pt x="1904" y="756"/>
                    </a:lnTo>
                    <a:lnTo>
                      <a:pt x="1904" y="754"/>
                    </a:lnTo>
                    <a:lnTo>
                      <a:pt x="1906" y="758"/>
                    </a:lnTo>
                    <a:lnTo>
                      <a:pt x="1908" y="760"/>
                    </a:lnTo>
                    <a:lnTo>
                      <a:pt x="1908" y="760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2" y="762"/>
                    </a:lnTo>
                    <a:lnTo>
                      <a:pt x="1912" y="762"/>
                    </a:lnTo>
                    <a:lnTo>
                      <a:pt x="1914" y="762"/>
                    </a:lnTo>
                    <a:lnTo>
                      <a:pt x="1914" y="760"/>
                    </a:lnTo>
                    <a:lnTo>
                      <a:pt x="1914" y="760"/>
                    </a:lnTo>
                    <a:lnTo>
                      <a:pt x="1916" y="760"/>
                    </a:lnTo>
                    <a:lnTo>
                      <a:pt x="1916" y="758"/>
                    </a:lnTo>
                    <a:lnTo>
                      <a:pt x="1914" y="756"/>
                    </a:lnTo>
                    <a:lnTo>
                      <a:pt x="1916" y="758"/>
                    </a:lnTo>
                    <a:lnTo>
                      <a:pt x="1918" y="760"/>
                    </a:lnTo>
                    <a:lnTo>
                      <a:pt x="1918" y="760"/>
                    </a:lnTo>
                    <a:lnTo>
                      <a:pt x="1918" y="760"/>
                    </a:lnTo>
                    <a:lnTo>
                      <a:pt x="1920" y="762"/>
                    </a:lnTo>
                    <a:lnTo>
                      <a:pt x="1920" y="762"/>
                    </a:lnTo>
                    <a:lnTo>
                      <a:pt x="1922" y="762"/>
                    </a:lnTo>
                    <a:lnTo>
                      <a:pt x="1924" y="762"/>
                    </a:lnTo>
                    <a:lnTo>
                      <a:pt x="1924" y="762"/>
                    </a:lnTo>
                    <a:lnTo>
                      <a:pt x="1924" y="762"/>
                    </a:lnTo>
                    <a:lnTo>
                      <a:pt x="1926" y="762"/>
                    </a:lnTo>
                    <a:lnTo>
                      <a:pt x="1930" y="760"/>
                    </a:lnTo>
                    <a:lnTo>
                      <a:pt x="1934" y="758"/>
                    </a:lnTo>
                    <a:lnTo>
                      <a:pt x="1938" y="756"/>
                    </a:lnTo>
                    <a:lnTo>
                      <a:pt x="1940" y="756"/>
                    </a:lnTo>
                    <a:lnTo>
                      <a:pt x="1942" y="756"/>
                    </a:lnTo>
                    <a:lnTo>
                      <a:pt x="1942" y="756"/>
                    </a:lnTo>
                    <a:lnTo>
                      <a:pt x="1944" y="756"/>
                    </a:lnTo>
                    <a:lnTo>
                      <a:pt x="1946" y="756"/>
                    </a:lnTo>
                    <a:lnTo>
                      <a:pt x="1950" y="756"/>
                    </a:lnTo>
                    <a:lnTo>
                      <a:pt x="1954" y="758"/>
                    </a:lnTo>
                    <a:lnTo>
                      <a:pt x="1954" y="758"/>
                    </a:lnTo>
                    <a:lnTo>
                      <a:pt x="1954" y="758"/>
                    </a:lnTo>
                    <a:lnTo>
                      <a:pt x="1956" y="758"/>
                    </a:lnTo>
                    <a:lnTo>
                      <a:pt x="1956" y="758"/>
                    </a:lnTo>
                    <a:lnTo>
                      <a:pt x="1956" y="758"/>
                    </a:lnTo>
                    <a:lnTo>
                      <a:pt x="1958" y="756"/>
                    </a:lnTo>
                    <a:lnTo>
                      <a:pt x="1958" y="756"/>
                    </a:lnTo>
                    <a:lnTo>
                      <a:pt x="1960" y="756"/>
                    </a:lnTo>
                    <a:lnTo>
                      <a:pt x="1960" y="754"/>
                    </a:lnTo>
                    <a:lnTo>
                      <a:pt x="1960" y="754"/>
                    </a:lnTo>
                    <a:lnTo>
                      <a:pt x="1960" y="754"/>
                    </a:lnTo>
                    <a:lnTo>
                      <a:pt x="1960" y="752"/>
                    </a:lnTo>
                    <a:lnTo>
                      <a:pt x="1960" y="752"/>
                    </a:lnTo>
                    <a:lnTo>
                      <a:pt x="1960" y="750"/>
                    </a:lnTo>
                    <a:lnTo>
                      <a:pt x="1960" y="748"/>
                    </a:lnTo>
                    <a:lnTo>
                      <a:pt x="1960" y="746"/>
                    </a:lnTo>
                    <a:lnTo>
                      <a:pt x="1960" y="744"/>
                    </a:lnTo>
                    <a:lnTo>
                      <a:pt x="1960" y="742"/>
                    </a:lnTo>
                    <a:lnTo>
                      <a:pt x="1960" y="740"/>
                    </a:lnTo>
                    <a:lnTo>
                      <a:pt x="1960" y="740"/>
                    </a:lnTo>
                    <a:lnTo>
                      <a:pt x="1962" y="740"/>
                    </a:lnTo>
                    <a:lnTo>
                      <a:pt x="1964" y="740"/>
                    </a:lnTo>
                    <a:lnTo>
                      <a:pt x="1964" y="740"/>
                    </a:lnTo>
                    <a:lnTo>
                      <a:pt x="1966" y="742"/>
                    </a:lnTo>
                    <a:lnTo>
                      <a:pt x="1968" y="742"/>
                    </a:lnTo>
                    <a:lnTo>
                      <a:pt x="1970" y="744"/>
                    </a:lnTo>
                    <a:lnTo>
                      <a:pt x="1976" y="748"/>
                    </a:lnTo>
                    <a:lnTo>
                      <a:pt x="1982" y="752"/>
                    </a:lnTo>
                    <a:lnTo>
                      <a:pt x="1984" y="754"/>
                    </a:lnTo>
                    <a:lnTo>
                      <a:pt x="1986" y="756"/>
                    </a:lnTo>
                    <a:lnTo>
                      <a:pt x="1988" y="758"/>
                    </a:lnTo>
                    <a:lnTo>
                      <a:pt x="1988" y="758"/>
                    </a:lnTo>
                    <a:lnTo>
                      <a:pt x="1990" y="762"/>
                    </a:lnTo>
                    <a:lnTo>
                      <a:pt x="1992" y="764"/>
                    </a:lnTo>
                    <a:lnTo>
                      <a:pt x="1992" y="764"/>
                    </a:lnTo>
                    <a:lnTo>
                      <a:pt x="1994" y="764"/>
                    </a:lnTo>
                    <a:lnTo>
                      <a:pt x="1996" y="764"/>
                    </a:lnTo>
                    <a:lnTo>
                      <a:pt x="1996" y="764"/>
                    </a:lnTo>
                    <a:lnTo>
                      <a:pt x="1996" y="766"/>
                    </a:lnTo>
                    <a:lnTo>
                      <a:pt x="1998" y="766"/>
                    </a:lnTo>
                    <a:lnTo>
                      <a:pt x="1998" y="766"/>
                    </a:lnTo>
                    <a:lnTo>
                      <a:pt x="1998" y="766"/>
                    </a:lnTo>
                    <a:lnTo>
                      <a:pt x="2000" y="766"/>
                    </a:lnTo>
                    <a:lnTo>
                      <a:pt x="2000" y="766"/>
                    </a:lnTo>
                    <a:lnTo>
                      <a:pt x="2002" y="766"/>
                    </a:lnTo>
                    <a:lnTo>
                      <a:pt x="2002" y="766"/>
                    </a:lnTo>
                    <a:lnTo>
                      <a:pt x="2004" y="766"/>
                    </a:lnTo>
                    <a:lnTo>
                      <a:pt x="2008" y="764"/>
                    </a:lnTo>
                    <a:lnTo>
                      <a:pt x="2012" y="762"/>
                    </a:lnTo>
                    <a:lnTo>
                      <a:pt x="2018" y="760"/>
                    </a:lnTo>
                    <a:lnTo>
                      <a:pt x="2018" y="760"/>
                    </a:lnTo>
                    <a:lnTo>
                      <a:pt x="2022" y="758"/>
                    </a:lnTo>
                    <a:lnTo>
                      <a:pt x="2028" y="758"/>
                    </a:lnTo>
                    <a:lnTo>
                      <a:pt x="2030" y="758"/>
                    </a:lnTo>
                    <a:lnTo>
                      <a:pt x="2032" y="758"/>
                    </a:lnTo>
                    <a:lnTo>
                      <a:pt x="2032" y="758"/>
                    </a:lnTo>
                    <a:lnTo>
                      <a:pt x="2034" y="758"/>
                    </a:lnTo>
                    <a:lnTo>
                      <a:pt x="2036" y="758"/>
                    </a:lnTo>
                    <a:lnTo>
                      <a:pt x="2036" y="758"/>
                    </a:lnTo>
                    <a:lnTo>
                      <a:pt x="2036" y="756"/>
                    </a:lnTo>
                    <a:lnTo>
                      <a:pt x="2038" y="756"/>
                    </a:lnTo>
                    <a:lnTo>
                      <a:pt x="2038" y="756"/>
                    </a:lnTo>
                    <a:lnTo>
                      <a:pt x="2038" y="754"/>
                    </a:lnTo>
                    <a:lnTo>
                      <a:pt x="2040" y="752"/>
                    </a:lnTo>
                    <a:lnTo>
                      <a:pt x="2040" y="752"/>
                    </a:lnTo>
                    <a:lnTo>
                      <a:pt x="2040" y="752"/>
                    </a:lnTo>
                    <a:lnTo>
                      <a:pt x="2042" y="748"/>
                    </a:lnTo>
                    <a:lnTo>
                      <a:pt x="2042" y="744"/>
                    </a:lnTo>
                    <a:lnTo>
                      <a:pt x="2042" y="742"/>
                    </a:lnTo>
                    <a:lnTo>
                      <a:pt x="2042" y="734"/>
                    </a:lnTo>
                    <a:lnTo>
                      <a:pt x="2044" y="730"/>
                    </a:lnTo>
                    <a:lnTo>
                      <a:pt x="2044" y="732"/>
                    </a:lnTo>
                    <a:lnTo>
                      <a:pt x="2044" y="728"/>
                    </a:lnTo>
                    <a:lnTo>
                      <a:pt x="2046" y="726"/>
                    </a:lnTo>
                    <a:lnTo>
                      <a:pt x="2046" y="726"/>
                    </a:lnTo>
                    <a:lnTo>
                      <a:pt x="2048" y="724"/>
                    </a:lnTo>
                    <a:lnTo>
                      <a:pt x="2048" y="726"/>
                    </a:lnTo>
                    <a:lnTo>
                      <a:pt x="2054" y="722"/>
                    </a:lnTo>
                    <a:lnTo>
                      <a:pt x="2058" y="720"/>
                    </a:lnTo>
                    <a:lnTo>
                      <a:pt x="2060" y="718"/>
                    </a:lnTo>
                    <a:lnTo>
                      <a:pt x="2060" y="718"/>
                    </a:lnTo>
                    <a:lnTo>
                      <a:pt x="2062" y="718"/>
                    </a:lnTo>
                    <a:lnTo>
                      <a:pt x="2062" y="716"/>
                    </a:lnTo>
                    <a:lnTo>
                      <a:pt x="2062" y="716"/>
                    </a:lnTo>
                    <a:lnTo>
                      <a:pt x="2064" y="716"/>
                    </a:lnTo>
                    <a:lnTo>
                      <a:pt x="2064" y="714"/>
                    </a:lnTo>
                    <a:lnTo>
                      <a:pt x="2066" y="712"/>
                    </a:lnTo>
                    <a:lnTo>
                      <a:pt x="2066" y="712"/>
                    </a:lnTo>
                    <a:lnTo>
                      <a:pt x="2066" y="712"/>
                    </a:lnTo>
                    <a:lnTo>
                      <a:pt x="2068" y="708"/>
                    </a:lnTo>
                    <a:lnTo>
                      <a:pt x="2068" y="706"/>
                    </a:lnTo>
                    <a:lnTo>
                      <a:pt x="2070" y="704"/>
                    </a:lnTo>
                    <a:lnTo>
                      <a:pt x="2072" y="700"/>
                    </a:lnTo>
                    <a:lnTo>
                      <a:pt x="2072" y="696"/>
                    </a:lnTo>
                    <a:lnTo>
                      <a:pt x="2074" y="694"/>
                    </a:lnTo>
                    <a:lnTo>
                      <a:pt x="2076" y="692"/>
                    </a:lnTo>
                    <a:lnTo>
                      <a:pt x="2076" y="690"/>
                    </a:lnTo>
                    <a:lnTo>
                      <a:pt x="2078" y="688"/>
                    </a:lnTo>
                    <a:lnTo>
                      <a:pt x="2080" y="686"/>
                    </a:lnTo>
                    <a:lnTo>
                      <a:pt x="2084" y="684"/>
                    </a:lnTo>
                    <a:lnTo>
                      <a:pt x="2086" y="684"/>
                    </a:lnTo>
                    <a:lnTo>
                      <a:pt x="2088" y="682"/>
                    </a:lnTo>
                    <a:lnTo>
                      <a:pt x="2092" y="682"/>
                    </a:lnTo>
                    <a:lnTo>
                      <a:pt x="2098" y="680"/>
                    </a:lnTo>
                    <a:lnTo>
                      <a:pt x="2100" y="680"/>
                    </a:lnTo>
                    <a:lnTo>
                      <a:pt x="2104" y="678"/>
                    </a:lnTo>
                    <a:lnTo>
                      <a:pt x="2106" y="680"/>
                    </a:lnTo>
                    <a:lnTo>
                      <a:pt x="2106" y="680"/>
                    </a:lnTo>
                    <a:lnTo>
                      <a:pt x="2108" y="680"/>
                    </a:lnTo>
                    <a:lnTo>
                      <a:pt x="2110" y="682"/>
                    </a:lnTo>
                    <a:lnTo>
                      <a:pt x="2112" y="684"/>
                    </a:lnTo>
                    <a:lnTo>
                      <a:pt x="2114" y="686"/>
                    </a:lnTo>
                    <a:lnTo>
                      <a:pt x="2114" y="686"/>
                    </a:lnTo>
                    <a:lnTo>
                      <a:pt x="2114" y="686"/>
                    </a:lnTo>
                    <a:lnTo>
                      <a:pt x="2114" y="690"/>
                    </a:lnTo>
                    <a:lnTo>
                      <a:pt x="2114" y="694"/>
                    </a:lnTo>
                    <a:lnTo>
                      <a:pt x="2114" y="696"/>
                    </a:lnTo>
                    <a:lnTo>
                      <a:pt x="2114" y="698"/>
                    </a:lnTo>
                    <a:lnTo>
                      <a:pt x="2114" y="700"/>
                    </a:lnTo>
                    <a:lnTo>
                      <a:pt x="2116" y="702"/>
                    </a:lnTo>
                    <a:lnTo>
                      <a:pt x="2116" y="708"/>
                    </a:lnTo>
                    <a:lnTo>
                      <a:pt x="2118" y="710"/>
                    </a:lnTo>
                    <a:lnTo>
                      <a:pt x="2118" y="712"/>
                    </a:lnTo>
                    <a:lnTo>
                      <a:pt x="2118" y="712"/>
                    </a:lnTo>
                    <a:lnTo>
                      <a:pt x="2118" y="712"/>
                    </a:lnTo>
                    <a:lnTo>
                      <a:pt x="2120" y="714"/>
                    </a:lnTo>
                    <a:lnTo>
                      <a:pt x="2120" y="714"/>
                    </a:lnTo>
                    <a:lnTo>
                      <a:pt x="2120" y="716"/>
                    </a:lnTo>
                    <a:lnTo>
                      <a:pt x="2122" y="716"/>
                    </a:lnTo>
                    <a:lnTo>
                      <a:pt x="2122" y="716"/>
                    </a:lnTo>
                    <a:lnTo>
                      <a:pt x="2122" y="716"/>
                    </a:lnTo>
                    <a:lnTo>
                      <a:pt x="2124" y="718"/>
                    </a:lnTo>
                    <a:lnTo>
                      <a:pt x="2124" y="718"/>
                    </a:lnTo>
                    <a:lnTo>
                      <a:pt x="2124" y="718"/>
                    </a:lnTo>
                    <a:lnTo>
                      <a:pt x="2126" y="718"/>
                    </a:lnTo>
                    <a:lnTo>
                      <a:pt x="2126" y="718"/>
                    </a:lnTo>
                    <a:lnTo>
                      <a:pt x="2128" y="718"/>
                    </a:lnTo>
                    <a:lnTo>
                      <a:pt x="2130" y="716"/>
                    </a:lnTo>
                    <a:lnTo>
                      <a:pt x="2130" y="716"/>
                    </a:lnTo>
                    <a:lnTo>
                      <a:pt x="2130" y="716"/>
                    </a:lnTo>
                    <a:lnTo>
                      <a:pt x="2132" y="714"/>
                    </a:lnTo>
                    <a:lnTo>
                      <a:pt x="2138" y="712"/>
                    </a:lnTo>
                    <a:lnTo>
                      <a:pt x="2142" y="708"/>
                    </a:lnTo>
                    <a:lnTo>
                      <a:pt x="2144" y="706"/>
                    </a:lnTo>
                    <a:lnTo>
                      <a:pt x="2148" y="704"/>
                    </a:lnTo>
                    <a:lnTo>
                      <a:pt x="2152" y="696"/>
                    </a:lnTo>
                    <a:lnTo>
                      <a:pt x="2156" y="690"/>
                    </a:lnTo>
                    <a:lnTo>
                      <a:pt x="2158" y="688"/>
                    </a:lnTo>
                    <a:lnTo>
                      <a:pt x="2160" y="686"/>
                    </a:lnTo>
                    <a:lnTo>
                      <a:pt x="2162" y="684"/>
                    </a:lnTo>
                    <a:lnTo>
                      <a:pt x="2162" y="684"/>
                    </a:lnTo>
                    <a:lnTo>
                      <a:pt x="2166" y="682"/>
                    </a:lnTo>
                    <a:lnTo>
                      <a:pt x="2168" y="680"/>
                    </a:lnTo>
                    <a:lnTo>
                      <a:pt x="2168" y="680"/>
                    </a:lnTo>
                    <a:lnTo>
                      <a:pt x="2168" y="680"/>
                    </a:lnTo>
                    <a:lnTo>
                      <a:pt x="2170" y="678"/>
                    </a:lnTo>
                    <a:lnTo>
                      <a:pt x="2170" y="678"/>
                    </a:lnTo>
                    <a:lnTo>
                      <a:pt x="2170" y="678"/>
                    </a:lnTo>
                    <a:lnTo>
                      <a:pt x="2170" y="676"/>
                    </a:lnTo>
                    <a:lnTo>
                      <a:pt x="2170" y="676"/>
                    </a:lnTo>
                    <a:lnTo>
                      <a:pt x="2172" y="676"/>
                    </a:lnTo>
                    <a:lnTo>
                      <a:pt x="2172" y="674"/>
                    </a:lnTo>
                    <a:lnTo>
                      <a:pt x="2172" y="674"/>
                    </a:lnTo>
                    <a:lnTo>
                      <a:pt x="2172" y="672"/>
                    </a:lnTo>
                    <a:lnTo>
                      <a:pt x="2170" y="672"/>
                    </a:lnTo>
                    <a:lnTo>
                      <a:pt x="2170" y="672"/>
                    </a:lnTo>
                    <a:lnTo>
                      <a:pt x="2170" y="670"/>
                    </a:lnTo>
                    <a:lnTo>
                      <a:pt x="2168" y="666"/>
                    </a:lnTo>
                    <a:lnTo>
                      <a:pt x="2168" y="664"/>
                    </a:lnTo>
                    <a:lnTo>
                      <a:pt x="2168" y="664"/>
                    </a:lnTo>
                    <a:lnTo>
                      <a:pt x="2166" y="662"/>
                    </a:lnTo>
                    <a:lnTo>
                      <a:pt x="2166" y="662"/>
                    </a:lnTo>
                    <a:lnTo>
                      <a:pt x="2168" y="658"/>
                    </a:lnTo>
                    <a:lnTo>
                      <a:pt x="2168" y="656"/>
                    </a:lnTo>
                    <a:lnTo>
                      <a:pt x="2168" y="656"/>
                    </a:lnTo>
                    <a:lnTo>
                      <a:pt x="2168" y="656"/>
                    </a:lnTo>
                    <a:lnTo>
                      <a:pt x="2170" y="654"/>
                    </a:lnTo>
                    <a:lnTo>
                      <a:pt x="2170" y="654"/>
                    </a:lnTo>
                    <a:lnTo>
                      <a:pt x="2172" y="654"/>
                    </a:lnTo>
                    <a:lnTo>
                      <a:pt x="2172" y="654"/>
                    </a:lnTo>
                    <a:lnTo>
                      <a:pt x="2174" y="654"/>
                    </a:lnTo>
                    <a:lnTo>
                      <a:pt x="2176" y="654"/>
                    </a:lnTo>
                    <a:lnTo>
                      <a:pt x="2180" y="654"/>
                    </a:lnTo>
                    <a:lnTo>
                      <a:pt x="2184" y="654"/>
                    </a:lnTo>
                    <a:lnTo>
                      <a:pt x="2188" y="654"/>
                    </a:lnTo>
                    <a:lnTo>
                      <a:pt x="2192" y="654"/>
                    </a:lnTo>
                    <a:lnTo>
                      <a:pt x="2190" y="654"/>
                    </a:lnTo>
                    <a:lnTo>
                      <a:pt x="2186" y="658"/>
                    </a:lnTo>
                    <a:lnTo>
                      <a:pt x="2186" y="658"/>
                    </a:lnTo>
                    <a:lnTo>
                      <a:pt x="2186" y="658"/>
                    </a:lnTo>
                    <a:lnTo>
                      <a:pt x="2184" y="662"/>
                    </a:lnTo>
                    <a:lnTo>
                      <a:pt x="2184" y="662"/>
                    </a:lnTo>
                    <a:lnTo>
                      <a:pt x="2184" y="662"/>
                    </a:lnTo>
                    <a:lnTo>
                      <a:pt x="2182" y="664"/>
                    </a:lnTo>
                    <a:lnTo>
                      <a:pt x="2182" y="664"/>
                    </a:lnTo>
                    <a:lnTo>
                      <a:pt x="2182" y="666"/>
                    </a:lnTo>
                    <a:lnTo>
                      <a:pt x="2180" y="668"/>
                    </a:lnTo>
                    <a:lnTo>
                      <a:pt x="2180" y="670"/>
                    </a:lnTo>
                    <a:lnTo>
                      <a:pt x="2180" y="674"/>
                    </a:lnTo>
                    <a:lnTo>
                      <a:pt x="2180" y="684"/>
                    </a:lnTo>
                    <a:lnTo>
                      <a:pt x="2180" y="688"/>
                    </a:lnTo>
                    <a:lnTo>
                      <a:pt x="2180" y="694"/>
                    </a:lnTo>
                    <a:lnTo>
                      <a:pt x="2178" y="698"/>
                    </a:lnTo>
                    <a:lnTo>
                      <a:pt x="2178" y="700"/>
                    </a:lnTo>
                    <a:lnTo>
                      <a:pt x="2176" y="704"/>
                    </a:lnTo>
                    <a:lnTo>
                      <a:pt x="2172" y="706"/>
                    </a:lnTo>
                    <a:lnTo>
                      <a:pt x="2174" y="706"/>
                    </a:lnTo>
                    <a:lnTo>
                      <a:pt x="2170" y="708"/>
                    </a:lnTo>
                    <a:lnTo>
                      <a:pt x="2166" y="710"/>
                    </a:lnTo>
                    <a:lnTo>
                      <a:pt x="2158" y="714"/>
                    </a:lnTo>
                    <a:lnTo>
                      <a:pt x="2154" y="716"/>
                    </a:lnTo>
                    <a:lnTo>
                      <a:pt x="2152" y="718"/>
                    </a:lnTo>
                    <a:lnTo>
                      <a:pt x="2148" y="720"/>
                    </a:lnTo>
                    <a:lnTo>
                      <a:pt x="2146" y="722"/>
                    </a:lnTo>
                    <a:lnTo>
                      <a:pt x="2142" y="724"/>
                    </a:lnTo>
                    <a:lnTo>
                      <a:pt x="2140" y="726"/>
                    </a:lnTo>
                    <a:lnTo>
                      <a:pt x="2136" y="728"/>
                    </a:lnTo>
                    <a:lnTo>
                      <a:pt x="2134" y="732"/>
                    </a:lnTo>
                    <a:lnTo>
                      <a:pt x="2132" y="734"/>
                    </a:lnTo>
                    <a:lnTo>
                      <a:pt x="2130" y="738"/>
                    </a:lnTo>
                    <a:lnTo>
                      <a:pt x="2126" y="742"/>
                    </a:lnTo>
                    <a:lnTo>
                      <a:pt x="2122" y="746"/>
                    </a:lnTo>
                    <a:lnTo>
                      <a:pt x="2120" y="752"/>
                    </a:lnTo>
                    <a:lnTo>
                      <a:pt x="2112" y="762"/>
                    </a:lnTo>
                    <a:lnTo>
                      <a:pt x="2110" y="766"/>
                    </a:lnTo>
                    <a:lnTo>
                      <a:pt x="2106" y="770"/>
                    </a:lnTo>
                    <a:lnTo>
                      <a:pt x="2098" y="776"/>
                    </a:lnTo>
                    <a:lnTo>
                      <a:pt x="2092" y="784"/>
                    </a:lnTo>
                    <a:lnTo>
                      <a:pt x="2084" y="790"/>
                    </a:lnTo>
                    <a:lnTo>
                      <a:pt x="2078" y="796"/>
                    </a:lnTo>
                    <a:lnTo>
                      <a:pt x="2074" y="800"/>
                    </a:lnTo>
                    <a:lnTo>
                      <a:pt x="2070" y="802"/>
                    </a:lnTo>
                    <a:lnTo>
                      <a:pt x="2064" y="808"/>
                    </a:lnTo>
                    <a:lnTo>
                      <a:pt x="2062" y="812"/>
                    </a:lnTo>
                    <a:lnTo>
                      <a:pt x="2058" y="816"/>
                    </a:lnTo>
                    <a:lnTo>
                      <a:pt x="2056" y="820"/>
                    </a:lnTo>
                    <a:lnTo>
                      <a:pt x="2054" y="824"/>
                    </a:lnTo>
                    <a:lnTo>
                      <a:pt x="2052" y="830"/>
                    </a:lnTo>
                    <a:lnTo>
                      <a:pt x="2050" y="836"/>
                    </a:lnTo>
                    <a:lnTo>
                      <a:pt x="2048" y="844"/>
                    </a:lnTo>
                    <a:lnTo>
                      <a:pt x="2048" y="850"/>
                    </a:lnTo>
                    <a:lnTo>
                      <a:pt x="2048" y="858"/>
                    </a:lnTo>
                    <a:lnTo>
                      <a:pt x="2048" y="866"/>
                    </a:lnTo>
                    <a:lnTo>
                      <a:pt x="2046" y="872"/>
                    </a:lnTo>
                    <a:lnTo>
                      <a:pt x="2048" y="878"/>
                    </a:lnTo>
                    <a:lnTo>
                      <a:pt x="2048" y="882"/>
                    </a:lnTo>
                    <a:lnTo>
                      <a:pt x="2048" y="882"/>
                    </a:lnTo>
                    <a:lnTo>
                      <a:pt x="2048" y="882"/>
                    </a:lnTo>
                    <a:lnTo>
                      <a:pt x="2050" y="884"/>
                    </a:lnTo>
                    <a:lnTo>
                      <a:pt x="2050" y="884"/>
                    </a:lnTo>
                    <a:lnTo>
                      <a:pt x="2050" y="886"/>
                    </a:lnTo>
                    <a:lnTo>
                      <a:pt x="2052" y="888"/>
                    </a:lnTo>
                    <a:lnTo>
                      <a:pt x="2052" y="888"/>
                    </a:lnTo>
                    <a:lnTo>
                      <a:pt x="2052" y="888"/>
                    </a:lnTo>
                    <a:lnTo>
                      <a:pt x="2054" y="890"/>
                    </a:lnTo>
                    <a:lnTo>
                      <a:pt x="2058" y="894"/>
                    </a:lnTo>
                    <a:lnTo>
                      <a:pt x="2058" y="894"/>
                    </a:lnTo>
                    <a:lnTo>
                      <a:pt x="2058" y="896"/>
                    </a:lnTo>
                    <a:lnTo>
                      <a:pt x="2060" y="898"/>
                    </a:lnTo>
                    <a:lnTo>
                      <a:pt x="2060" y="900"/>
                    </a:lnTo>
                    <a:lnTo>
                      <a:pt x="2060" y="904"/>
                    </a:lnTo>
                    <a:lnTo>
                      <a:pt x="2060" y="910"/>
                    </a:lnTo>
                    <a:lnTo>
                      <a:pt x="2058" y="918"/>
                    </a:lnTo>
                    <a:lnTo>
                      <a:pt x="2058" y="922"/>
                    </a:lnTo>
                    <a:lnTo>
                      <a:pt x="2058" y="924"/>
                    </a:lnTo>
                    <a:lnTo>
                      <a:pt x="2058" y="926"/>
                    </a:lnTo>
                    <a:lnTo>
                      <a:pt x="2058" y="928"/>
                    </a:lnTo>
                    <a:lnTo>
                      <a:pt x="2058" y="928"/>
                    </a:lnTo>
                    <a:lnTo>
                      <a:pt x="2060" y="928"/>
                    </a:lnTo>
                    <a:lnTo>
                      <a:pt x="2060" y="930"/>
                    </a:lnTo>
                    <a:lnTo>
                      <a:pt x="2062" y="934"/>
                    </a:lnTo>
                    <a:lnTo>
                      <a:pt x="2064" y="938"/>
                    </a:lnTo>
                    <a:lnTo>
                      <a:pt x="2064" y="940"/>
                    </a:lnTo>
                    <a:lnTo>
                      <a:pt x="2066" y="942"/>
                    </a:lnTo>
                    <a:lnTo>
                      <a:pt x="2066" y="944"/>
                    </a:lnTo>
                    <a:lnTo>
                      <a:pt x="2066" y="948"/>
                    </a:lnTo>
                    <a:lnTo>
                      <a:pt x="2066" y="952"/>
                    </a:lnTo>
                    <a:lnTo>
                      <a:pt x="2066" y="956"/>
                    </a:lnTo>
                    <a:lnTo>
                      <a:pt x="2066" y="960"/>
                    </a:lnTo>
                    <a:lnTo>
                      <a:pt x="2064" y="964"/>
                    </a:lnTo>
                    <a:lnTo>
                      <a:pt x="2066" y="968"/>
                    </a:lnTo>
                    <a:lnTo>
                      <a:pt x="2066" y="970"/>
                    </a:lnTo>
                    <a:lnTo>
                      <a:pt x="2066" y="970"/>
                    </a:lnTo>
                    <a:lnTo>
                      <a:pt x="2066" y="970"/>
                    </a:lnTo>
                    <a:lnTo>
                      <a:pt x="2066" y="972"/>
                    </a:lnTo>
                    <a:lnTo>
                      <a:pt x="2066" y="972"/>
                    </a:lnTo>
                    <a:lnTo>
                      <a:pt x="2070" y="972"/>
                    </a:lnTo>
                    <a:lnTo>
                      <a:pt x="2070" y="972"/>
                    </a:lnTo>
                    <a:lnTo>
                      <a:pt x="2070" y="972"/>
                    </a:lnTo>
                    <a:lnTo>
                      <a:pt x="2072" y="972"/>
                    </a:lnTo>
                    <a:lnTo>
                      <a:pt x="2072" y="970"/>
                    </a:lnTo>
                    <a:lnTo>
                      <a:pt x="2074" y="970"/>
                    </a:lnTo>
                    <a:lnTo>
                      <a:pt x="2076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82" y="966"/>
                    </a:lnTo>
                    <a:lnTo>
                      <a:pt x="2084" y="966"/>
                    </a:lnTo>
                    <a:lnTo>
                      <a:pt x="2084" y="966"/>
                    </a:lnTo>
                    <a:lnTo>
                      <a:pt x="2084" y="966"/>
                    </a:lnTo>
                    <a:lnTo>
                      <a:pt x="2086" y="966"/>
                    </a:lnTo>
                    <a:lnTo>
                      <a:pt x="2086" y="966"/>
                    </a:lnTo>
                    <a:lnTo>
                      <a:pt x="2086" y="966"/>
                    </a:lnTo>
                    <a:lnTo>
                      <a:pt x="2088" y="964"/>
                    </a:lnTo>
                    <a:lnTo>
                      <a:pt x="2088" y="964"/>
                    </a:lnTo>
                    <a:lnTo>
                      <a:pt x="2088" y="964"/>
                    </a:lnTo>
                    <a:lnTo>
                      <a:pt x="2090" y="962"/>
                    </a:lnTo>
                    <a:lnTo>
                      <a:pt x="2090" y="962"/>
                    </a:lnTo>
                    <a:lnTo>
                      <a:pt x="2090" y="962"/>
                    </a:lnTo>
                    <a:lnTo>
                      <a:pt x="2092" y="960"/>
                    </a:lnTo>
                    <a:lnTo>
                      <a:pt x="2094" y="956"/>
                    </a:lnTo>
                    <a:lnTo>
                      <a:pt x="2096" y="954"/>
                    </a:lnTo>
                    <a:lnTo>
                      <a:pt x="2098" y="950"/>
                    </a:lnTo>
                    <a:lnTo>
                      <a:pt x="2100" y="942"/>
                    </a:lnTo>
                    <a:lnTo>
                      <a:pt x="2102" y="940"/>
                    </a:lnTo>
                    <a:lnTo>
                      <a:pt x="2102" y="936"/>
                    </a:lnTo>
                    <a:lnTo>
                      <a:pt x="2104" y="932"/>
                    </a:lnTo>
                    <a:lnTo>
                      <a:pt x="2106" y="926"/>
                    </a:lnTo>
                    <a:lnTo>
                      <a:pt x="2108" y="924"/>
                    </a:lnTo>
                    <a:lnTo>
                      <a:pt x="2108" y="922"/>
                    </a:lnTo>
                    <a:lnTo>
                      <a:pt x="2110" y="922"/>
                    </a:lnTo>
                    <a:lnTo>
                      <a:pt x="2110" y="922"/>
                    </a:lnTo>
                    <a:lnTo>
                      <a:pt x="2110" y="922"/>
                    </a:lnTo>
                    <a:lnTo>
                      <a:pt x="2112" y="922"/>
                    </a:lnTo>
                    <a:lnTo>
                      <a:pt x="2112" y="924"/>
                    </a:lnTo>
                    <a:lnTo>
                      <a:pt x="2114" y="926"/>
                    </a:lnTo>
                    <a:lnTo>
                      <a:pt x="2116" y="928"/>
                    </a:lnTo>
                    <a:lnTo>
                      <a:pt x="2116" y="928"/>
                    </a:lnTo>
                    <a:lnTo>
                      <a:pt x="2118" y="928"/>
                    </a:lnTo>
                    <a:lnTo>
                      <a:pt x="2118" y="928"/>
                    </a:lnTo>
                    <a:lnTo>
                      <a:pt x="2118" y="928"/>
                    </a:lnTo>
                    <a:lnTo>
                      <a:pt x="2122" y="928"/>
                    </a:lnTo>
                    <a:lnTo>
                      <a:pt x="2122" y="926"/>
                    </a:lnTo>
                    <a:lnTo>
                      <a:pt x="2122" y="926"/>
                    </a:lnTo>
                    <a:lnTo>
                      <a:pt x="2124" y="924"/>
                    </a:lnTo>
                    <a:lnTo>
                      <a:pt x="2124" y="924"/>
                    </a:lnTo>
                    <a:lnTo>
                      <a:pt x="2124" y="922"/>
                    </a:lnTo>
                    <a:lnTo>
                      <a:pt x="2122" y="920"/>
                    </a:lnTo>
                    <a:lnTo>
                      <a:pt x="2122" y="918"/>
                    </a:lnTo>
                    <a:lnTo>
                      <a:pt x="2122" y="914"/>
                    </a:lnTo>
                    <a:lnTo>
                      <a:pt x="2120" y="910"/>
                    </a:lnTo>
                    <a:lnTo>
                      <a:pt x="2120" y="908"/>
                    </a:lnTo>
                    <a:lnTo>
                      <a:pt x="2120" y="904"/>
                    </a:lnTo>
                    <a:lnTo>
                      <a:pt x="2118" y="902"/>
                    </a:lnTo>
                    <a:lnTo>
                      <a:pt x="2120" y="902"/>
                    </a:lnTo>
                    <a:lnTo>
                      <a:pt x="2120" y="900"/>
                    </a:lnTo>
                    <a:lnTo>
                      <a:pt x="2120" y="900"/>
                    </a:lnTo>
                    <a:lnTo>
                      <a:pt x="2122" y="898"/>
                    </a:lnTo>
                    <a:lnTo>
                      <a:pt x="2124" y="896"/>
                    </a:lnTo>
                    <a:lnTo>
                      <a:pt x="2126" y="894"/>
                    </a:lnTo>
                    <a:lnTo>
                      <a:pt x="2128" y="892"/>
                    </a:lnTo>
                    <a:lnTo>
                      <a:pt x="2132" y="890"/>
                    </a:lnTo>
                    <a:lnTo>
                      <a:pt x="2130" y="890"/>
                    </a:lnTo>
                    <a:lnTo>
                      <a:pt x="2134" y="888"/>
                    </a:lnTo>
                    <a:lnTo>
                      <a:pt x="2134" y="888"/>
                    </a:lnTo>
                    <a:lnTo>
                      <a:pt x="2134" y="888"/>
                    </a:lnTo>
                    <a:lnTo>
                      <a:pt x="2138" y="888"/>
                    </a:lnTo>
                    <a:lnTo>
                      <a:pt x="2142" y="890"/>
                    </a:lnTo>
                    <a:lnTo>
                      <a:pt x="2142" y="890"/>
                    </a:lnTo>
                    <a:lnTo>
                      <a:pt x="2142" y="890"/>
                    </a:lnTo>
                    <a:lnTo>
                      <a:pt x="2144" y="890"/>
                    </a:lnTo>
                    <a:lnTo>
                      <a:pt x="2144" y="890"/>
                    </a:lnTo>
                    <a:lnTo>
                      <a:pt x="2144" y="888"/>
                    </a:lnTo>
                    <a:lnTo>
                      <a:pt x="2146" y="888"/>
                    </a:lnTo>
                    <a:lnTo>
                      <a:pt x="2146" y="888"/>
                    </a:lnTo>
                    <a:lnTo>
                      <a:pt x="2146" y="888"/>
                    </a:lnTo>
                    <a:lnTo>
                      <a:pt x="2148" y="886"/>
                    </a:lnTo>
                    <a:lnTo>
                      <a:pt x="2148" y="886"/>
                    </a:lnTo>
                    <a:lnTo>
                      <a:pt x="2148" y="886"/>
                    </a:lnTo>
                    <a:lnTo>
                      <a:pt x="2152" y="884"/>
                    </a:lnTo>
                    <a:lnTo>
                      <a:pt x="2154" y="880"/>
                    </a:lnTo>
                    <a:lnTo>
                      <a:pt x="2154" y="880"/>
                    </a:lnTo>
                    <a:lnTo>
                      <a:pt x="2154" y="880"/>
                    </a:lnTo>
                    <a:lnTo>
                      <a:pt x="2154" y="878"/>
                    </a:lnTo>
                    <a:lnTo>
                      <a:pt x="2154" y="878"/>
                    </a:lnTo>
                    <a:lnTo>
                      <a:pt x="2154" y="878"/>
                    </a:lnTo>
                    <a:lnTo>
                      <a:pt x="2156" y="874"/>
                    </a:lnTo>
                    <a:lnTo>
                      <a:pt x="2156" y="874"/>
                    </a:lnTo>
                    <a:lnTo>
                      <a:pt x="2156" y="872"/>
                    </a:lnTo>
                    <a:lnTo>
                      <a:pt x="2156" y="868"/>
                    </a:lnTo>
                    <a:lnTo>
                      <a:pt x="2154" y="864"/>
                    </a:lnTo>
                    <a:lnTo>
                      <a:pt x="2154" y="860"/>
                    </a:lnTo>
                    <a:lnTo>
                      <a:pt x="2154" y="856"/>
                    </a:lnTo>
                    <a:lnTo>
                      <a:pt x="2154" y="852"/>
                    </a:lnTo>
                    <a:lnTo>
                      <a:pt x="2154" y="852"/>
                    </a:lnTo>
                    <a:lnTo>
                      <a:pt x="2154" y="850"/>
                    </a:lnTo>
                    <a:lnTo>
                      <a:pt x="2154" y="850"/>
                    </a:lnTo>
                    <a:lnTo>
                      <a:pt x="2156" y="850"/>
                    </a:lnTo>
                    <a:lnTo>
                      <a:pt x="2158" y="852"/>
                    </a:lnTo>
                    <a:lnTo>
                      <a:pt x="2162" y="852"/>
                    </a:lnTo>
                    <a:lnTo>
                      <a:pt x="2166" y="852"/>
                    </a:lnTo>
                    <a:lnTo>
                      <a:pt x="2168" y="852"/>
                    </a:lnTo>
                    <a:lnTo>
                      <a:pt x="2168" y="852"/>
                    </a:lnTo>
                    <a:lnTo>
                      <a:pt x="2170" y="852"/>
                    </a:lnTo>
                    <a:lnTo>
                      <a:pt x="2170" y="852"/>
                    </a:lnTo>
                    <a:lnTo>
                      <a:pt x="2172" y="852"/>
                    </a:lnTo>
                    <a:lnTo>
                      <a:pt x="2174" y="852"/>
                    </a:lnTo>
                    <a:lnTo>
                      <a:pt x="2174" y="852"/>
                    </a:lnTo>
                    <a:lnTo>
                      <a:pt x="2174" y="850"/>
                    </a:lnTo>
                    <a:lnTo>
                      <a:pt x="2176" y="848"/>
                    </a:lnTo>
                    <a:lnTo>
                      <a:pt x="2176" y="848"/>
                    </a:lnTo>
                    <a:lnTo>
                      <a:pt x="2176" y="848"/>
                    </a:lnTo>
                    <a:lnTo>
                      <a:pt x="2176" y="846"/>
                    </a:lnTo>
                    <a:lnTo>
                      <a:pt x="2176" y="846"/>
                    </a:lnTo>
                    <a:lnTo>
                      <a:pt x="2176" y="846"/>
                    </a:lnTo>
                    <a:lnTo>
                      <a:pt x="2176" y="844"/>
                    </a:lnTo>
                    <a:lnTo>
                      <a:pt x="2176" y="840"/>
                    </a:lnTo>
                    <a:lnTo>
                      <a:pt x="2174" y="836"/>
                    </a:lnTo>
                    <a:lnTo>
                      <a:pt x="2174" y="830"/>
                    </a:lnTo>
                    <a:lnTo>
                      <a:pt x="2174" y="828"/>
                    </a:lnTo>
                    <a:lnTo>
                      <a:pt x="2174" y="828"/>
                    </a:lnTo>
                    <a:lnTo>
                      <a:pt x="2174" y="828"/>
                    </a:lnTo>
                    <a:lnTo>
                      <a:pt x="2172" y="824"/>
                    </a:lnTo>
                    <a:lnTo>
                      <a:pt x="2168" y="820"/>
                    </a:lnTo>
                    <a:lnTo>
                      <a:pt x="2168" y="818"/>
                    </a:lnTo>
                    <a:lnTo>
                      <a:pt x="2166" y="816"/>
                    </a:lnTo>
                    <a:lnTo>
                      <a:pt x="2166" y="814"/>
                    </a:lnTo>
                    <a:lnTo>
                      <a:pt x="2166" y="812"/>
                    </a:lnTo>
                    <a:lnTo>
                      <a:pt x="2166" y="812"/>
                    </a:lnTo>
                    <a:lnTo>
                      <a:pt x="2166" y="810"/>
                    </a:lnTo>
                    <a:lnTo>
                      <a:pt x="2168" y="808"/>
                    </a:lnTo>
                    <a:lnTo>
                      <a:pt x="2170" y="806"/>
                    </a:lnTo>
                    <a:lnTo>
                      <a:pt x="2172" y="804"/>
                    </a:lnTo>
                    <a:lnTo>
                      <a:pt x="2174" y="804"/>
                    </a:lnTo>
                    <a:lnTo>
                      <a:pt x="2174" y="804"/>
                    </a:lnTo>
                    <a:lnTo>
                      <a:pt x="2174" y="802"/>
                    </a:lnTo>
                    <a:lnTo>
                      <a:pt x="2174" y="802"/>
                    </a:lnTo>
                    <a:lnTo>
                      <a:pt x="2174" y="802"/>
                    </a:lnTo>
                    <a:lnTo>
                      <a:pt x="2174" y="800"/>
                    </a:lnTo>
                    <a:lnTo>
                      <a:pt x="2174" y="800"/>
                    </a:lnTo>
                    <a:lnTo>
                      <a:pt x="2174" y="800"/>
                    </a:lnTo>
                    <a:lnTo>
                      <a:pt x="2174" y="798"/>
                    </a:lnTo>
                    <a:lnTo>
                      <a:pt x="2174" y="796"/>
                    </a:lnTo>
                    <a:lnTo>
                      <a:pt x="2172" y="796"/>
                    </a:lnTo>
                    <a:lnTo>
                      <a:pt x="2172" y="796"/>
                    </a:lnTo>
                    <a:lnTo>
                      <a:pt x="2172" y="796"/>
                    </a:lnTo>
                    <a:lnTo>
                      <a:pt x="2168" y="796"/>
                    </a:lnTo>
                    <a:lnTo>
                      <a:pt x="2166" y="796"/>
                    </a:lnTo>
                    <a:lnTo>
                      <a:pt x="2164" y="798"/>
                    </a:lnTo>
                    <a:lnTo>
                      <a:pt x="2160" y="798"/>
                    </a:lnTo>
                    <a:lnTo>
                      <a:pt x="2158" y="798"/>
                    </a:lnTo>
                    <a:lnTo>
                      <a:pt x="2158" y="798"/>
                    </a:lnTo>
                    <a:lnTo>
                      <a:pt x="2156" y="798"/>
                    </a:lnTo>
                    <a:lnTo>
                      <a:pt x="2156" y="798"/>
                    </a:lnTo>
                    <a:lnTo>
                      <a:pt x="2156" y="798"/>
                    </a:lnTo>
                    <a:lnTo>
                      <a:pt x="2156" y="794"/>
                    </a:lnTo>
                    <a:lnTo>
                      <a:pt x="2156" y="790"/>
                    </a:lnTo>
                    <a:lnTo>
                      <a:pt x="2156" y="786"/>
                    </a:lnTo>
                    <a:lnTo>
                      <a:pt x="2156" y="782"/>
                    </a:lnTo>
                    <a:lnTo>
                      <a:pt x="2156" y="780"/>
                    </a:lnTo>
                    <a:lnTo>
                      <a:pt x="2156" y="776"/>
                    </a:lnTo>
                    <a:lnTo>
                      <a:pt x="2158" y="774"/>
                    </a:lnTo>
                    <a:lnTo>
                      <a:pt x="2158" y="772"/>
                    </a:lnTo>
                    <a:lnTo>
                      <a:pt x="2160" y="770"/>
                    </a:lnTo>
                    <a:lnTo>
                      <a:pt x="2162" y="768"/>
                    </a:lnTo>
                    <a:lnTo>
                      <a:pt x="2164" y="766"/>
                    </a:lnTo>
                    <a:lnTo>
                      <a:pt x="2166" y="766"/>
                    </a:lnTo>
                    <a:lnTo>
                      <a:pt x="2168" y="766"/>
                    </a:lnTo>
                    <a:lnTo>
                      <a:pt x="2168" y="766"/>
                    </a:lnTo>
                    <a:lnTo>
                      <a:pt x="2168" y="770"/>
                    </a:lnTo>
                    <a:lnTo>
                      <a:pt x="2168" y="772"/>
                    </a:lnTo>
                    <a:lnTo>
                      <a:pt x="2168" y="772"/>
                    </a:lnTo>
                    <a:lnTo>
                      <a:pt x="2168" y="774"/>
                    </a:lnTo>
                    <a:lnTo>
                      <a:pt x="2168" y="774"/>
                    </a:lnTo>
                    <a:lnTo>
                      <a:pt x="2168" y="776"/>
                    </a:lnTo>
                    <a:lnTo>
                      <a:pt x="2170" y="776"/>
                    </a:lnTo>
                    <a:lnTo>
                      <a:pt x="2170" y="776"/>
                    </a:lnTo>
                    <a:lnTo>
                      <a:pt x="2172" y="778"/>
                    </a:lnTo>
                    <a:lnTo>
                      <a:pt x="2172" y="778"/>
                    </a:lnTo>
                    <a:lnTo>
                      <a:pt x="2172" y="778"/>
                    </a:lnTo>
                    <a:lnTo>
                      <a:pt x="2174" y="778"/>
                    </a:lnTo>
                    <a:lnTo>
                      <a:pt x="2176" y="778"/>
                    </a:lnTo>
                    <a:lnTo>
                      <a:pt x="2178" y="778"/>
                    </a:lnTo>
                    <a:lnTo>
                      <a:pt x="2182" y="778"/>
                    </a:lnTo>
                    <a:lnTo>
                      <a:pt x="2184" y="776"/>
                    </a:lnTo>
                    <a:lnTo>
                      <a:pt x="2188" y="776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2" y="772"/>
                    </a:lnTo>
                    <a:lnTo>
                      <a:pt x="2194" y="770"/>
                    </a:lnTo>
                    <a:lnTo>
                      <a:pt x="2194" y="770"/>
                    </a:lnTo>
                    <a:lnTo>
                      <a:pt x="2194" y="768"/>
                    </a:lnTo>
                    <a:lnTo>
                      <a:pt x="2194" y="766"/>
                    </a:lnTo>
                    <a:lnTo>
                      <a:pt x="2194" y="766"/>
                    </a:lnTo>
                    <a:lnTo>
                      <a:pt x="2194" y="764"/>
                    </a:lnTo>
                    <a:lnTo>
                      <a:pt x="2194" y="762"/>
                    </a:lnTo>
                    <a:lnTo>
                      <a:pt x="2194" y="762"/>
                    </a:lnTo>
                    <a:lnTo>
                      <a:pt x="2194" y="762"/>
                    </a:lnTo>
                    <a:lnTo>
                      <a:pt x="2194" y="760"/>
                    </a:lnTo>
                    <a:lnTo>
                      <a:pt x="2194" y="760"/>
                    </a:lnTo>
                    <a:lnTo>
                      <a:pt x="2194" y="760"/>
                    </a:lnTo>
                    <a:lnTo>
                      <a:pt x="2192" y="758"/>
                    </a:lnTo>
                    <a:lnTo>
                      <a:pt x="2192" y="758"/>
                    </a:lnTo>
                    <a:lnTo>
                      <a:pt x="2192" y="758"/>
                    </a:lnTo>
                    <a:lnTo>
                      <a:pt x="2190" y="756"/>
                    </a:lnTo>
                    <a:lnTo>
                      <a:pt x="2190" y="756"/>
                    </a:lnTo>
                    <a:lnTo>
                      <a:pt x="2190" y="756"/>
                    </a:lnTo>
                    <a:lnTo>
                      <a:pt x="2188" y="756"/>
                    </a:lnTo>
                    <a:lnTo>
                      <a:pt x="2188" y="756"/>
                    </a:lnTo>
                    <a:lnTo>
                      <a:pt x="2184" y="756"/>
                    </a:lnTo>
                    <a:lnTo>
                      <a:pt x="2180" y="758"/>
                    </a:lnTo>
                    <a:lnTo>
                      <a:pt x="2178" y="758"/>
                    </a:lnTo>
                    <a:lnTo>
                      <a:pt x="2178" y="758"/>
                    </a:lnTo>
                    <a:lnTo>
                      <a:pt x="2176" y="756"/>
                    </a:lnTo>
                    <a:lnTo>
                      <a:pt x="2174" y="756"/>
                    </a:lnTo>
                    <a:lnTo>
                      <a:pt x="2168" y="754"/>
                    </a:lnTo>
                    <a:lnTo>
                      <a:pt x="2166" y="754"/>
                    </a:lnTo>
                    <a:lnTo>
                      <a:pt x="2166" y="754"/>
                    </a:lnTo>
                    <a:lnTo>
                      <a:pt x="2166" y="752"/>
                    </a:lnTo>
                    <a:lnTo>
                      <a:pt x="2168" y="752"/>
                    </a:lnTo>
                    <a:lnTo>
                      <a:pt x="2172" y="750"/>
                    </a:lnTo>
                    <a:lnTo>
                      <a:pt x="2178" y="746"/>
                    </a:lnTo>
                    <a:lnTo>
                      <a:pt x="2182" y="744"/>
                    </a:lnTo>
                    <a:lnTo>
                      <a:pt x="2184" y="744"/>
                    </a:lnTo>
                    <a:lnTo>
                      <a:pt x="2190" y="742"/>
                    </a:lnTo>
                    <a:lnTo>
                      <a:pt x="2196" y="740"/>
                    </a:lnTo>
                    <a:lnTo>
                      <a:pt x="2202" y="738"/>
                    </a:lnTo>
                    <a:lnTo>
                      <a:pt x="2204" y="736"/>
                    </a:lnTo>
                    <a:lnTo>
                      <a:pt x="2204" y="736"/>
                    </a:lnTo>
                    <a:lnTo>
                      <a:pt x="2204" y="736"/>
                    </a:lnTo>
                    <a:lnTo>
                      <a:pt x="2206" y="736"/>
                    </a:lnTo>
                    <a:lnTo>
                      <a:pt x="2206" y="736"/>
                    </a:lnTo>
                    <a:lnTo>
                      <a:pt x="2208" y="734"/>
                    </a:lnTo>
                    <a:lnTo>
                      <a:pt x="2208" y="734"/>
                    </a:lnTo>
                    <a:lnTo>
                      <a:pt x="2208" y="734"/>
                    </a:lnTo>
                    <a:lnTo>
                      <a:pt x="2210" y="732"/>
                    </a:lnTo>
                    <a:lnTo>
                      <a:pt x="2210" y="730"/>
                    </a:lnTo>
                    <a:lnTo>
                      <a:pt x="2210" y="730"/>
                    </a:lnTo>
                    <a:lnTo>
                      <a:pt x="2212" y="730"/>
                    </a:lnTo>
                    <a:lnTo>
                      <a:pt x="2214" y="726"/>
                    </a:lnTo>
                    <a:lnTo>
                      <a:pt x="2214" y="724"/>
                    </a:lnTo>
                    <a:lnTo>
                      <a:pt x="2214" y="726"/>
                    </a:lnTo>
                    <a:lnTo>
                      <a:pt x="2214" y="728"/>
                    </a:lnTo>
                    <a:lnTo>
                      <a:pt x="2216" y="730"/>
                    </a:lnTo>
                    <a:lnTo>
                      <a:pt x="2216" y="730"/>
                    </a:lnTo>
                    <a:lnTo>
                      <a:pt x="2216" y="730"/>
                    </a:lnTo>
                    <a:lnTo>
                      <a:pt x="2216" y="732"/>
                    </a:lnTo>
                    <a:lnTo>
                      <a:pt x="2216" y="732"/>
                    </a:lnTo>
                    <a:lnTo>
                      <a:pt x="2218" y="734"/>
                    </a:lnTo>
                    <a:lnTo>
                      <a:pt x="2218" y="734"/>
                    </a:lnTo>
                    <a:lnTo>
                      <a:pt x="2218" y="734"/>
                    </a:lnTo>
                    <a:lnTo>
                      <a:pt x="2220" y="734"/>
                    </a:lnTo>
                    <a:lnTo>
                      <a:pt x="2222" y="734"/>
                    </a:lnTo>
                    <a:lnTo>
                      <a:pt x="2222" y="734"/>
                    </a:lnTo>
                    <a:lnTo>
                      <a:pt x="2222" y="734"/>
                    </a:lnTo>
                    <a:lnTo>
                      <a:pt x="2224" y="734"/>
                    </a:lnTo>
                    <a:lnTo>
                      <a:pt x="2224" y="734"/>
                    </a:lnTo>
                    <a:lnTo>
                      <a:pt x="2226" y="734"/>
                    </a:lnTo>
                    <a:lnTo>
                      <a:pt x="2228" y="732"/>
                    </a:lnTo>
                    <a:lnTo>
                      <a:pt x="2230" y="732"/>
                    </a:lnTo>
                    <a:lnTo>
                      <a:pt x="2236" y="728"/>
                    </a:lnTo>
                    <a:lnTo>
                      <a:pt x="2238" y="726"/>
                    </a:lnTo>
                    <a:lnTo>
                      <a:pt x="2240" y="726"/>
                    </a:lnTo>
                    <a:lnTo>
                      <a:pt x="2238" y="726"/>
                    </a:lnTo>
                    <a:lnTo>
                      <a:pt x="2242" y="724"/>
                    </a:lnTo>
                    <a:lnTo>
                      <a:pt x="2246" y="724"/>
                    </a:lnTo>
                    <a:lnTo>
                      <a:pt x="2250" y="724"/>
                    </a:lnTo>
                    <a:lnTo>
                      <a:pt x="2254" y="724"/>
                    </a:lnTo>
                    <a:lnTo>
                      <a:pt x="2258" y="724"/>
                    </a:lnTo>
                    <a:lnTo>
                      <a:pt x="2260" y="724"/>
                    </a:lnTo>
                    <a:lnTo>
                      <a:pt x="2262" y="724"/>
                    </a:lnTo>
                    <a:lnTo>
                      <a:pt x="2264" y="724"/>
                    </a:lnTo>
                    <a:lnTo>
                      <a:pt x="2264" y="724"/>
                    </a:lnTo>
                    <a:lnTo>
                      <a:pt x="2264" y="726"/>
                    </a:lnTo>
                    <a:lnTo>
                      <a:pt x="2266" y="726"/>
                    </a:lnTo>
                    <a:lnTo>
                      <a:pt x="2266" y="730"/>
                    </a:lnTo>
                    <a:lnTo>
                      <a:pt x="2266" y="732"/>
                    </a:lnTo>
                    <a:lnTo>
                      <a:pt x="2268" y="734"/>
                    </a:lnTo>
                    <a:lnTo>
                      <a:pt x="2268" y="736"/>
                    </a:lnTo>
                    <a:lnTo>
                      <a:pt x="2268" y="736"/>
                    </a:lnTo>
                    <a:lnTo>
                      <a:pt x="2268" y="738"/>
                    </a:lnTo>
                    <a:lnTo>
                      <a:pt x="2270" y="738"/>
                    </a:lnTo>
                    <a:lnTo>
                      <a:pt x="2270" y="738"/>
                    </a:lnTo>
                    <a:lnTo>
                      <a:pt x="2272" y="738"/>
                    </a:lnTo>
                    <a:lnTo>
                      <a:pt x="2272" y="738"/>
                    </a:lnTo>
                    <a:lnTo>
                      <a:pt x="2272" y="738"/>
                    </a:lnTo>
                    <a:lnTo>
                      <a:pt x="2274" y="738"/>
                    </a:lnTo>
                    <a:lnTo>
                      <a:pt x="2274" y="738"/>
                    </a:lnTo>
                    <a:lnTo>
                      <a:pt x="2274" y="738"/>
                    </a:lnTo>
                    <a:lnTo>
                      <a:pt x="2276" y="736"/>
                    </a:lnTo>
                    <a:lnTo>
                      <a:pt x="2276" y="736"/>
                    </a:lnTo>
                    <a:lnTo>
                      <a:pt x="2276" y="734"/>
                    </a:lnTo>
                    <a:lnTo>
                      <a:pt x="2278" y="730"/>
                    </a:lnTo>
                    <a:lnTo>
                      <a:pt x="2278" y="730"/>
                    </a:lnTo>
                    <a:lnTo>
                      <a:pt x="2280" y="728"/>
                    </a:lnTo>
                    <a:lnTo>
                      <a:pt x="2280" y="728"/>
                    </a:lnTo>
                    <a:lnTo>
                      <a:pt x="2282" y="728"/>
                    </a:lnTo>
                    <a:lnTo>
                      <a:pt x="2284" y="726"/>
                    </a:lnTo>
                    <a:lnTo>
                      <a:pt x="2286" y="726"/>
                    </a:lnTo>
                    <a:lnTo>
                      <a:pt x="2286" y="726"/>
                    </a:lnTo>
                    <a:lnTo>
                      <a:pt x="2286" y="726"/>
                    </a:lnTo>
                    <a:lnTo>
                      <a:pt x="2288" y="724"/>
                    </a:lnTo>
                    <a:lnTo>
                      <a:pt x="2288" y="724"/>
                    </a:lnTo>
                    <a:lnTo>
                      <a:pt x="2292" y="722"/>
                    </a:lnTo>
                    <a:lnTo>
                      <a:pt x="2294" y="720"/>
                    </a:lnTo>
                    <a:lnTo>
                      <a:pt x="2298" y="714"/>
                    </a:lnTo>
                    <a:lnTo>
                      <a:pt x="2304" y="708"/>
                    </a:lnTo>
                    <a:lnTo>
                      <a:pt x="2308" y="704"/>
                    </a:lnTo>
                    <a:lnTo>
                      <a:pt x="2312" y="700"/>
                    </a:lnTo>
                    <a:lnTo>
                      <a:pt x="2316" y="694"/>
                    </a:lnTo>
                    <a:lnTo>
                      <a:pt x="2318" y="692"/>
                    </a:lnTo>
                    <a:lnTo>
                      <a:pt x="2322" y="690"/>
                    </a:lnTo>
                    <a:lnTo>
                      <a:pt x="2324" y="688"/>
                    </a:lnTo>
                    <a:lnTo>
                      <a:pt x="2328" y="684"/>
                    </a:lnTo>
                    <a:lnTo>
                      <a:pt x="2332" y="682"/>
                    </a:lnTo>
                    <a:lnTo>
                      <a:pt x="2334" y="682"/>
                    </a:lnTo>
                    <a:lnTo>
                      <a:pt x="2340" y="678"/>
                    </a:lnTo>
                    <a:lnTo>
                      <a:pt x="2348" y="674"/>
                    </a:lnTo>
                    <a:lnTo>
                      <a:pt x="2356" y="672"/>
                    </a:lnTo>
                    <a:lnTo>
                      <a:pt x="2362" y="668"/>
                    </a:lnTo>
                    <a:lnTo>
                      <a:pt x="2370" y="664"/>
                    </a:lnTo>
                    <a:lnTo>
                      <a:pt x="2376" y="662"/>
                    </a:lnTo>
                    <a:lnTo>
                      <a:pt x="2378" y="660"/>
                    </a:lnTo>
                    <a:lnTo>
                      <a:pt x="2386" y="658"/>
                    </a:lnTo>
                    <a:lnTo>
                      <a:pt x="2386" y="656"/>
                    </a:lnTo>
                    <a:lnTo>
                      <a:pt x="2388" y="656"/>
                    </a:lnTo>
                    <a:lnTo>
                      <a:pt x="2388" y="656"/>
                    </a:lnTo>
                    <a:lnTo>
                      <a:pt x="2388" y="656"/>
                    </a:lnTo>
                    <a:lnTo>
                      <a:pt x="2390" y="656"/>
                    </a:lnTo>
                    <a:lnTo>
                      <a:pt x="2392" y="658"/>
                    </a:lnTo>
                    <a:lnTo>
                      <a:pt x="2394" y="658"/>
                    </a:lnTo>
                    <a:lnTo>
                      <a:pt x="2400" y="660"/>
                    </a:lnTo>
                    <a:lnTo>
                      <a:pt x="2402" y="662"/>
                    </a:lnTo>
                    <a:lnTo>
                      <a:pt x="2404" y="662"/>
                    </a:lnTo>
                    <a:lnTo>
                      <a:pt x="2404" y="662"/>
                    </a:lnTo>
                    <a:lnTo>
                      <a:pt x="2404" y="662"/>
                    </a:lnTo>
                    <a:lnTo>
                      <a:pt x="2408" y="664"/>
                    </a:lnTo>
                    <a:lnTo>
                      <a:pt x="2408" y="664"/>
                    </a:lnTo>
                    <a:lnTo>
                      <a:pt x="2410" y="662"/>
                    </a:lnTo>
                    <a:lnTo>
                      <a:pt x="2410" y="662"/>
                    </a:lnTo>
                    <a:lnTo>
                      <a:pt x="2410" y="662"/>
                    </a:lnTo>
                    <a:lnTo>
                      <a:pt x="2412" y="662"/>
                    </a:lnTo>
                    <a:lnTo>
                      <a:pt x="2412" y="662"/>
                    </a:lnTo>
                    <a:lnTo>
                      <a:pt x="2414" y="660"/>
                    </a:lnTo>
                    <a:lnTo>
                      <a:pt x="2414" y="660"/>
                    </a:lnTo>
                    <a:lnTo>
                      <a:pt x="2414" y="660"/>
                    </a:lnTo>
                    <a:lnTo>
                      <a:pt x="2416" y="658"/>
                    </a:lnTo>
                    <a:lnTo>
                      <a:pt x="2416" y="656"/>
                    </a:lnTo>
                    <a:lnTo>
                      <a:pt x="2418" y="654"/>
                    </a:lnTo>
                    <a:lnTo>
                      <a:pt x="2420" y="648"/>
                    </a:lnTo>
                    <a:lnTo>
                      <a:pt x="2420" y="644"/>
                    </a:lnTo>
                    <a:lnTo>
                      <a:pt x="2422" y="642"/>
                    </a:lnTo>
                    <a:lnTo>
                      <a:pt x="2422" y="642"/>
                    </a:lnTo>
                    <a:lnTo>
                      <a:pt x="2422" y="642"/>
                    </a:lnTo>
                    <a:lnTo>
                      <a:pt x="2420" y="640"/>
                    </a:lnTo>
                    <a:lnTo>
                      <a:pt x="2420" y="640"/>
                    </a:lnTo>
                    <a:lnTo>
                      <a:pt x="2420" y="638"/>
                    </a:lnTo>
                    <a:lnTo>
                      <a:pt x="2420" y="638"/>
                    </a:lnTo>
                    <a:lnTo>
                      <a:pt x="2420" y="638"/>
                    </a:lnTo>
                    <a:lnTo>
                      <a:pt x="2420" y="636"/>
                    </a:lnTo>
                    <a:lnTo>
                      <a:pt x="2418" y="636"/>
                    </a:lnTo>
                    <a:lnTo>
                      <a:pt x="2416" y="634"/>
                    </a:lnTo>
                    <a:lnTo>
                      <a:pt x="2414" y="630"/>
                    </a:lnTo>
                    <a:lnTo>
                      <a:pt x="2412" y="628"/>
                    </a:lnTo>
                    <a:lnTo>
                      <a:pt x="2410" y="626"/>
                    </a:lnTo>
                    <a:lnTo>
                      <a:pt x="2410" y="624"/>
                    </a:lnTo>
                    <a:lnTo>
                      <a:pt x="2408" y="622"/>
                    </a:lnTo>
                    <a:lnTo>
                      <a:pt x="2404" y="614"/>
                    </a:lnTo>
                    <a:lnTo>
                      <a:pt x="2404" y="612"/>
                    </a:lnTo>
                    <a:lnTo>
                      <a:pt x="2402" y="608"/>
                    </a:lnTo>
                    <a:lnTo>
                      <a:pt x="2400" y="604"/>
                    </a:lnTo>
                    <a:lnTo>
                      <a:pt x="2398" y="602"/>
                    </a:lnTo>
                    <a:lnTo>
                      <a:pt x="2398" y="600"/>
                    </a:lnTo>
                    <a:lnTo>
                      <a:pt x="2396" y="600"/>
                    </a:lnTo>
                    <a:lnTo>
                      <a:pt x="2396" y="600"/>
                    </a:lnTo>
                    <a:lnTo>
                      <a:pt x="2396" y="598"/>
                    </a:lnTo>
                    <a:lnTo>
                      <a:pt x="2394" y="596"/>
                    </a:lnTo>
                    <a:lnTo>
                      <a:pt x="2392" y="594"/>
                    </a:lnTo>
                    <a:lnTo>
                      <a:pt x="2390" y="592"/>
                    </a:lnTo>
                    <a:lnTo>
                      <a:pt x="2386" y="592"/>
                    </a:lnTo>
                    <a:lnTo>
                      <a:pt x="2386" y="592"/>
                    </a:lnTo>
                    <a:lnTo>
                      <a:pt x="2386" y="590"/>
                    </a:lnTo>
                    <a:lnTo>
                      <a:pt x="2384" y="590"/>
                    </a:lnTo>
                    <a:lnTo>
                      <a:pt x="2382" y="588"/>
                    </a:lnTo>
                    <a:lnTo>
                      <a:pt x="2382" y="588"/>
                    </a:lnTo>
                    <a:lnTo>
                      <a:pt x="2380" y="584"/>
                    </a:lnTo>
                    <a:lnTo>
                      <a:pt x="2378" y="582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8" y="578"/>
                    </a:lnTo>
                    <a:lnTo>
                      <a:pt x="2382" y="576"/>
                    </a:lnTo>
                    <a:lnTo>
                      <a:pt x="2382" y="576"/>
                    </a:lnTo>
                    <a:lnTo>
                      <a:pt x="2384" y="576"/>
                    </a:lnTo>
                    <a:lnTo>
                      <a:pt x="2384" y="578"/>
                    </a:lnTo>
                    <a:lnTo>
                      <a:pt x="2384" y="578"/>
                    </a:lnTo>
                    <a:lnTo>
                      <a:pt x="2386" y="580"/>
                    </a:lnTo>
                    <a:lnTo>
                      <a:pt x="2388" y="584"/>
                    </a:lnTo>
                    <a:lnTo>
                      <a:pt x="2388" y="584"/>
                    </a:lnTo>
                    <a:lnTo>
                      <a:pt x="2390" y="584"/>
                    </a:lnTo>
                    <a:lnTo>
                      <a:pt x="2390" y="584"/>
                    </a:lnTo>
                    <a:lnTo>
                      <a:pt x="2390" y="584"/>
                    </a:lnTo>
                    <a:lnTo>
                      <a:pt x="2392" y="586"/>
                    </a:lnTo>
                    <a:lnTo>
                      <a:pt x="2394" y="586"/>
                    </a:lnTo>
                    <a:lnTo>
                      <a:pt x="2394" y="586"/>
                    </a:lnTo>
                    <a:lnTo>
                      <a:pt x="2394" y="586"/>
                    </a:lnTo>
                    <a:lnTo>
                      <a:pt x="2396" y="586"/>
                    </a:lnTo>
                    <a:lnTo>
                      <a:pt x="2400" y="586"/>
                    </a:lnTo>
                    <a:lnTo>
                      <a:pt x="2406" y="586"/>
                    </a:lnTo>
                    <a:lnTo>
                      <a:pt x="2412" y="584"/>
                    </a:lnTo>
                    <a:lnTo>
                      <a:pt x="2414" y="584"/>
                    </a:lnTo>
                    <a:lnTo>
                      <a:pt x="2416" y="582"/>
                    </a:lnTo>
                    <a:lnTo>
                      <a:pt x="2416" y="582"/>
                    </a:lnTo>
                    <a:lnTo>
                      <a:pt x="2418" y="582"/>
                    </a:lnTo>
                    <a:lnTo>
                      <a:pt x="2420" y="580"/>
                    </a:lnTo>
                    <a:lnTo>
                      <a:pt x="2420" y="580"/>
                    </a:lnTo>
                    <a:lnTo>
                      <a:pt x="2420" y="580"/>
                    </a:lnTo>
                    <a:lnTo>
                      <a:pt x="2422" y="578"/>
                    </a:lnTo>
                    <a:lnTo>
                      <a:pt x="2424" y="576"/>
                    </a:lnTo>
                    <a:lnTo>
                      <a:pt x="2424" y="572"/>
                    </a:lnTo>
                    <a:lnTo>
                      <a:pt x="2426" y="570"/>
                    </a:lnTo>
                    <a:lnTo>
                      <a:pt x="2426" y="570"/>
                    </a:lnTo>
                    <a:lnTo>
                      <a:pt x="2426" y="570"/>
                    </a:lnTo>
                    <a:lnTo>
                      <a:pt x="2426" y="566"/>
                    </a:lnTo>
                    <a:lnTo>
                      <a:pt x="2428" y="564"/>
                    </a:lnTo>
                    <a:lnTo>
                      <a:pt x="2428" y="562"/>
                    </a:lnTo>
                    <a:lnTo>
                      <a:pt x="2428" y="560"/>
                    </a:lnTo>
                    <a:lnTo>
                      <a:pt x="2430" y="560"/>
                    </a:lnTo>
                    <a:lnTo>
                      <a:pt x="2432" y="558"/>
                    </a:lnTo>
                    <a:lnTo>
                      <a:pt x="2432" y="558"/>
                    </a:lnTo>
                    <a:lnTo>
                      <a:pt x="2432" y="558"/>
                    </a:lnTo>
                    <a:lnTo>
                      <a:pt x="2432" y="556"/>
                    </a:lnTo>
                    <a:lnTo>
                      <a:pt x="2432" y="556"/>
                    </a:lnTo>
                    <a:lnTo>
                      <a:pt x="2432" y="556"/>
                    </a:lnTo>
                    <a:lnTo>
                      <a:pt x="2432" y="558"/>
                    </a:lnTo>
                    <a:lnTo>
                      <a:pt x="2434" y="560"/>
                    </a:lnTo>
                    <a:lnTo>
                      <a:pt x="2434" y="560"/>
                    </a:lnTo>
                    <a:lnTo>
                      <a:pt x="2434" y="560"/>
                    </a:lnTo>
                    <a:lnTo>
                      <a:pt x="2436" y="562"/>
                    </a:lnTo>
                    <a:lnTo>
                      <a:pt x="2436" y="562"/>
                    </a:lnTo>
                    <a:lnTo>
                      <a:pt x="2436" y="562"/>
                    </a:lnTo>
                    <a:lnTo>
                      <a:pt x="2438" y="562"/>
                    </a:lnTo>
                    <a:lnTo>
                      <a:pt x="2438" y="562"/>
                    </a:lnTo>
                    <a:lnTo>
                      <a:pt x="2440" y="564"/>
                    </a:lnTo>
                    <a:lnTo>
                      <a:pt x="2442" y="564"/>
                    </a:lnTo>
                    <a:lnTo>
                      <a:pt x="2444" y="564"/>
                    </a:lnTo>
                    <a:lnTo>
                      <a:pt x="2450" y="562"/>
                    </a:lnTo>
                    <a:lnTo>
                      <a:pt x="2452" y="562"/>
                    </a:lnTo>
                    <a:lnTo>
                      <a:pt x="2456" y="562"/>
                    </a:lnTo>
                    <a:lnTo>
                      <a:pt x="2458" y="562"/>
                    </a:lnTo>
                    <a:lnTo>
                      <a:pt x="2458" y="562"/>
                    </a:lnTo>
                    <a:lnTo>
                      <a:pt x="2458" y="562"/>
                    </a:lnTo>
                    <a:lnTo>
                      <a:pt x="2460" y="560"/>
                    </a:lnTo>
                    <a:lnTo>
                      <a:pt x="2460" y="560"/>
                    </a:lnTo>
                    <a:lnTo>
                      <a:pt x="2460" y="560"/>
                    </a:lnTo>
                    <a:lnTo>
                      <a:pt x="2462" y="558"/>
                    </a:lnTo>
                    <a:lnTo>
                      <a:pt x="2466" y="556"/>
                    </a:lnTo>
                    <a:lnTo>
                      <a:pt x="2466" y="556"/>
                    </a:lnTo>
                    <a:lnTo>
                      <a:pt x="2466" y="556"/>
                    </a:lnTo>
                    <a:lnTo>
                      <a:pt x="2468" y="556"/>
                    </a:lnTo>
                    <a:lnTo>
                      <a:pt x="2472" y="556"/>
                    </a:lnTo>
                    <a:lnTo>
                      <a:pt x="2472" y="556"/>
                    </a:lnTo>
                    <a:lnTo>
                      <a:pt x="2474" y="556"/>
                    </a:lnTo>
                    <a:lnTo>
                      <a:pt x="2474" y="556"/>
                    </a:lnTo>
                    <a:lnTo>
                      <a:pt x="2474" y="558"/>
                    </a:lnTo>
                    <a:lnTo>
                      <a:pt x="2474" y="560"/>
                    </a:lnTo>
                    <a:lnTo>
                      <a:pt x="2472" y="564"/>
                    </a:lnTo>
                    <a:lnTo>
                      <a:pt x="2470" y="566"/>
                    </a:lnTo>
                    <a:lnTo>
                      <a:pt x="2470" y="570"/>
                    </a:lnTo>
                    <a:lnTo>
                      <a:pt x="2470" y="570"/>
                    </a:lnTo>
                    <a:lnTo>
                      <a:pt x="2470" y="572"/>
                    </a:lnTo>
                    <a:lnTo>
                      <a:pt x="2470" y="572"/>
                    </a:lnTo>
                    <a:lnTo>
                      <a:pt x="2470" y="572"/>
                    </a:lnTo>
                    <a:lnTo>
                      <a:pt x="2470" y="574"/>
                    </a:lnTo>
                    <a:lnTo>
                      <a:pt x="2470" y="574"/>
                    </a:lnTo>
                    <a:lnTo>
                      <a:pt x="2470" y="576"/>
                    </a:lnTo>
                    <a:lnTo>
                      <a:pt x="2472" y="578"/>
                    </a:lnTo>
                    <a:lnTo>
                      <a:pt x="2472" y="578"/>
                    </a:lnTo>
                    <a:lnTo>
                      <a:pt x="2472" y="578"/>
                    </a:lnTo>
                    <a:lnTo>
                      <a:pt x="2474" y="578"/>
                    </a:lnTo>
                    <a:lnTo>
                      <a:pt x="2474" y="578"/>
                    </a:lnTo>
                    <a:lnTo>
                      <a:pt x="2476" y="580"/>
                    </a:lnTo>
                    <a:lnTo>
                      <a:pt x="2478" y="580"/>
                    </a:lnTo>
                    <a:lnTo>
                      <a:pt x="2480" y="580"/>
                    </a:lnTo>
                    <a:lnTo>
                      <a:pt x="2486" y="580"/>
                    </a:lnTo>
                    <a:lnTo>
                      <a:pt x="2488" y="580"/>
                    </a:lnTo>
                    <a:lnTo>
                      <a:pt x="2490" y="582"/>
                    </a:lnTo>
                    <a:lnTo>
                      <a:pt x="2492" y="582"/>
                    </a:lnTo>
                    <a:lnTo>
                      <a:pt x="2492" y="584"/>
                    </a:lnTo>
                    <a:lnTo>
                      <a:pt x="2494" y="588"/>
                    </a:lnTo>
                    <a:lnTo>
                      <a:pt x="2496" y="592"/>
                    </a:lnTo>
                    <a:lnTo>
                      <a:pt x="2498" y="594"/>
                    </a:lnTo>
                    <a:lnTo>
                      <a:pt x="2500" y="596"/>
                    </a:lnTo>
                    <a:lnTo>
                      <a:pt x="2500" y="596"/>
                    </a:lnTo>
                    <a:lnTo>
                      <a:pt x="2500" y="596"/>
                    </a:lnTo>
                    <a:lnTo>
                      <a:pt x="2502" y="598"/>
                    </a:lnTo>
                    <a:lnTo>
                      <a:pt x="2504" y="600"/>
                    </a:lnTo>
                    <a:lnTo>
                      <a:pt x="2510" y="602"/>
                    </a:lnTo>
                    <a:lnTo>
                      <a:pt x="2512" y="604"/>
                    </a:lnTo>
                    <a:lnTo>
                      <a:pt x="2514" y="604"/>
                    </a:lnTo>
                    <a:lnTo>
                      <a:pt x="2514" y="604"/>
                    </a:lnTo>
                    <a:lnTo>
                      <a:pt x="2516" y="604"/>
                    </a:lnTo>
                    <a:lnTo>
                      <a:pt x="2516" y="604"/>
                    </a:lnTo>
                    <a:lnTo>
                      <a:pt x="2518" y="604"/>
                    </a:lnTo>
                    <a:lnTo>
                      <a:pt x="2520" y="604"/>
                    </a:lnTo>
                    <a:lnTo>
                      <a:pt x="2520" y="604"/>
                    </a:lnTo>
                    <a:lnTo>
                      <a:pt x="2520" y="602"/>
                    </a:lnTo>
                    <a:lnTo>
                      <a:pt x="2522" y="602"/>
                    </a:lnTo>
                    <a:lnTo>
                      <a:pt x="2522" y="602"/>
                    </a:lnTo>
                    <a:lnTo>
                      <a:pt x="2522" y="600"/>
                    </a:lnTo>
                    <a:lnTo>
                      <a:pt x="2522" y="598"/>
                    </a:lnTo>
                    <a:lnTo>
                      <a:pt x="2522" y="596"/>
                    </a:lnTo>
                    <a:lnTo>
                      <a:pt x="2522" y="594"/>
                    </a:lnTo>
                    <a:lnTo>
                      <a:pt x="2522" y="588"/>
                    </a:lnTo>
                    <a:lnTo>
                      <a:pt x="2522" y="586"/>
                    </a:lnTo>
                    <a:lnTo>
                      <a:pt x="2522" y="586"/>
                    </a:lnTo>
                    <a:lnTo>
                      <a:pt x="2522" y="584"/>
                    </a:lnTo>
                    <a:lnTo>
                      <a:pt x="2522" y="584"/>
                    </a:lnTo>
                    <a:lnTo>
                      <a:pt x="2524" y="580"/>
                    </a:lnTo>
                    <a:lnTo>
                      <a:pt x="2526" y="578"/>
                    </a:lnTo>
                    <a:lnTo>
                      <a:pt x="2528" y="574"/>
                    </a:lnTo>
                    <a:lnTo>
                      <a:pt x="2530" y="570"/>
                    </a:lnTo>
                    <a:lnTo>
                      <a:pt x="2534" y="566"/>
                    </a:lnTo>
                    <a:lnTo>
                      <a:pt x="2536" y="562"/>
                    </a:lnTo>
                    <a:lnTo>
                      <a:pt x="2538" y="560"/>
                    </a:lnTo>
                    <a:lnTo>
                      <a:pt x="2538" y="560"/>
                    </a:lnTo>
                    <a:lnTo>
                      <a:pt x="2538" y="560"/>
                    </a:lnTo>
                    <a:lnTo>
                      <a:pt x="2540" y="558"/>
                    </a:lnTo>
                    <a:lnTo>
                      <a:pt x="2540" y="558"/>
                    </a:lnTo>
                    <a:lnTo>
                      <a:pt x="2540" y="556"/>
                    </a:lnTo>
                    <a:lnTo>
                      <a:pt x="2540" y="556"/>
                    </a:lnTo>
                    <a:lnTo>
                      <a:pt x="2540" y="556"/>
                    </a:lnTo>
                    <a:lnTo>
                      <a:pt x="2540" y="554"/>
                    </a:lnTo>
                    <a:lnTo>
                      <a:pt x="2542" y="554"/>
                    </a:lnTo>
                    <a:lnTo>
                      <a:pt x="2544" y="554"/>
                    </a:lnTo>
                    <a:lnTo>
                      <a:pt x="2548" y="556"/>
                    </a:lnTo>
                    <a:lnTo>
                      <a:pt x="2548" y="556"/>
                    </a:lnTo>
                    <a:lnTo>
                      <a:pt x="2548" y="556"/>
                    </a:lnTo>
                    <a:lnTo>
                      <a:pt x="2552" y="554"/>
                    </a:lnTo>
                    <a:lnTo>
                      <a:pt x="2552" y="554"/>
                    </a:lnTo>
                    <a:lnTo>
                      <a:pt x="2552" y="554"/>
                    </a:lnTo>
                    <a:lnTo>
                      <a:pt x="2554" y="554"/>
                    </a:lnTo>
                    <a:lnTo>
                      <a:pt x="2554" y="554"/>
                    </a:lnTo>
                    <a:lnTo>
                      <a:pt x="2556" y="554"/>
                    </a:lnTo>
                    <a:lnTo>
                      <a:pt x="2558" y="552"/>
                    </a:lnTo>
                    <a:lnTo>
                      <a:pt x="2558" y="552"/>
                    </a:lnTo>
                    <a:lnTo>
                      <a:pt x="2558" y="552"/>
                    </a:lnTo>
                    <a:lnTo>
                      <a:pt x="2560" y="550"/>
                    </a:lnTo>
                    <a:lnTo>
                      <a:pt x="2562" y="548"/>
                    </a:lnTo>
                    <a:lnTo>
                      <a:pt x="2564" y="546"/>
                    </a:lnTo>
                    <a:lnTo>
                      <a:pt x="2566" y="542"/>
                    </a:lnTo>
                    <a:lnTo>
                      <a:pt x="2566" y="542"/>
                    </a:lnTo>
                    <a:lnTo>
                      <a:pt x="2566" y="540"/>
                    </a:lnTo>
                    <a:lnTo>
                      <a:pt x="2566" y="538"/>
                    </a:lnTo>
                    <a:lnTo>
                      <a:pt x="2566" y="538"/>
                    </a:lnTo>
                    <a:lnTo>
                      <a:pt x="2566" y="538"/>
                    </a:lnTo>
                    <a:lnTo>
                      <a:pt x="2568" y="536"/>
                    </a:lnTo>
                    <a:lnTo>
                      <a:pt x="2568" y="536"/>
                    </a:lnTo>
                    <a:lnTo>
                      <a:pt x="2568" y="534"/>
                    </a:lnTo>
                    <a:lnTo>
                      <a:pt x="2568" y="534"/>
                    </a:lnTo>
                    <a:lnTo>
                      <a:pt x="2568" y="532"/>
                    </a:lnTo>
                    <a:lnTo>
                      <a:pt x="2568" y="530"/>
                    </a:lnTo>
                    <a:close/>
                    <a:moveTo>
                      <a:pt x="874" y="436"/>
                    </a:moveTo>
                    <a:lnTo>
                      <a:pt x="872" y="434"/>
                    </a:lnTo>
                    <a:lnTo>
                      <a:pt x="870" y="434"/>
                    </a:lnTo>
                    <a:lnTo>
                      <a:pt x="870" y="432"/>
                    </a:lnTo>
                    <a:lnTo>
                      <a:pt x="868" y="428"/>
                    </a:lnTo>
                    <a:lnTo>
                      <a:pt x="866" y="426"/>
                    </a:lnTo>
                    <a:lnTo>
                      <a:pt x="864" y="422"/>
                    </a:lnTo>
                    <a:lnTo>
                      <a:pt x="862" y="418"/>
                    </a:lnTo>
                    <a:lnTo>
                      <a:pt x="862" y="414"/>
                    </a:lnTo>
                    <a:lnTo>
                      <a:pt x="860" y="414"/>
                    </a:lnTo>
                    <a:lnTo>
                      <a:pt x="862" y="414"/>
                    </a:lnTo>
                    <a:lnTo>
                      <a:pt x="864" y="414"/>
                    </a:lnTo>
                    <a:lnTo>
                      <a:pt x="864" y="414"/>
                    </a:lnTo>
                    <a:lnTo>
                      <a:pt x="866" y="414"/>
                    </a:lnTo>
                    <a:lnTo>
                      <a:pt x="868" y="416"/>
                    </a:lnTo>
                    <a:lnTo>
                      <a:pt x="868" y="414"/>
                    </a:lnTo>
                    <a:lnTo>
                      <a:pt x="870" y="416"/>
                    </a:lnTo>
                    <a:lnTo>
                      <a:pt x="874" y="420"/>
                    </a:lnTo>
                    <a:lnTo>
                      <a:pt x="876" y="422"/>
                    </a:lnTo>
                    <a:lnTo>
                      <a:pt x="880" y="424"/>
                    </a:lnTo>
                    <a:lnTo>
                      <a:pt x="880" y="428"/>
                    </a:lnTo>
                    <a:lnTo>
                      <a:pt x="880" y="428"/>
                    </a:lnTo>
                    <a:lnTo>
                      <a:pt x="882" y="430"/>
                    </a:lnTo>
                    <a:lnTo>
                      <a:pt x="882" y="432"/>
                    </a:lnTo>
                    <a:lnTo>
                      <a:pt x="882" y="438"/>
                    </a:lnTo>
                    <a:lnTo>
                      <a:pt x="882" y="442"/>
                    </a:lnTo>
                    <a:lnTo>
                      <a:pt x="880" y="442"/>
                    </a:lnTo>
                    <a:lnTo>
                      <a:pt x="880" y="442"/>
                    </a:lnTo>
                    <a:lnTo>
                      <a:pt x="880" y="442"/>
                    </a:lnTo>
                    <a:lnTo>
                      <a:pt x="880" y="440"/>
                    </a:lnTo>
                    <a:lnTo>
                      <a:pt x="878" y="440"/>
                    </a:lnTo>
                    <a:lnTo>
                      <a:pt x="876" y="438"/>
                    </a:lnTo>
                    <a:lnTo>
                      <a:pt x="874" y="436"/>
                    </a:lnTo>
                    <a:close/>
                    <a:moveTo>
                      <a:pt x="886" y="474"/>
                    </a:moveTo>
                    <a:lnTo>
                      <a:pt x="882" y="472"/>
                    </a:lnTo>
                    <a:lnTo>
                      <a:pt x="880" y="470"/>
                    </a:lnTo>
                    <a:lnTo>
                      <a:pt x="878" y="466"/>
                    </a:lnTo>
                    <a:lnTo>
                      <a:pt x="880" y="468"/>
                    </a:lnTo>
                    <a:lnTo>
                      <a:pt x="878" y="466"/>
                    </a:lnTo>
                    <a:lnTo>
                      <a:pt x="878" y="464"/>
                    </a:lnTo>
                    <a:lnTo>
                      <a:pt x="878" y="462"/>
                    </a:lnTo>
                    <a:lnTo>
                      <a:pt x="878" y="458"/>
                    </a:lnTo>
                    <a:lnTo>
                      <a:pt x="880" y="456"/>
                    </a:lnTo>
                    <a:lnTo>
                      <a:pt x="880" y="450"/>
                    </a:lnTo>
                    <a:lnTo>
                      <a:pt x="880" y="452"/>
                    </a:lnTo>
                    <a:lnTo>
                      <a:pt x="880" y="454"/>
                    </a:lnTo>
                    <a:lnTo>
                      <a:pt x="882" y="456"/>
                    </a:lnTo>
                    <a:lnTo>
                      <a:pt x="882" y="458"/>
                    </a:lnTo>
                    <a:lnTo>
                      <a:pt x="882" y="460"/>
                    </a:lnTo>
                    <a:lnTo>
                      <a:pt x="882" y="462"/>
                    </a:lnTo>
                    <a:lnTo>
                      <a:pt x="884" y="466"/>
                    </a:lnTo>
                    <a:lnTo>
                      <a:pt x="884" y="468"/>
                    </a:lnTo>
                    <a:lnTo>
                      <a:pt x="886" y="472"/>
                    </a:lnTo>
                    <a:lnTo>
                      <a:pt x="886" y="474"/>
                    </a:lnTo>
                    <a:lnTo>
                      <a:pt x="886" y="474"/>
                    </a:lnTo>
                    <a:close/>
                    <a:moveTo>
                      <a:pt x="888" y="330"/>
                    </a:moveTo>
                    <a:lnTo>
                      <a:pt x="886" y="330"/>
                    </a:lnTo>
                    <a:lnTo>
                      <a:pt x="882" y="330"/>
                    </a:lnTo>
                    <a:lnTo>
                      <a:pt x="878" y="330"/>
                    </a:lnTo>
                    <a:lnTo>
                      <a:pt x="874" y="330"/>
                    </a:lnTo>
                    <a:lnTo>
                      <a:pt x="872" y="328"/>
                    </a:lnTo>
                    <a:lnTo>
                      <a:pt x="868" y="328"/>
                    </a:lnTo>
                    <a:lnTo>
                      <a:pt x="866" y="326"/>
                    </a:lnTo>
                    <a:lnTo>
                      <a:pt x="862" y="324"/>
                    </a:lnTo>
                    <a:lnTo>
                      <a:pt x="858" y="320"/>
                    </a:lnTo>
                    <a:lnTo>
                      <a:pt x="854" y="318"/>
                    </a:lnTo>
                    <a:lnTo>
                      <a:pt x="852" y="316"/>
                    </a:lnTo>
                    <a:lnTo>
                      <a:pt x="848" y="314"/>
                    </a:lnTo>
                    <a:lnTo>
                      <a:pt x="846" y="310"/>
                    </a:lnTo>
                    <a:lnTo>
                      <a:pt x="848" y="312"/>
                    </a:lnTo>
                    <a:lnTo>
                      <a:pt x="846" y="310"/>
                    </a:lnTo>
                    <a:lnTo>
                      <a:pt x="846" y="308"/>
                    </a:lnTo>
                    <a:lnTo>
                      <a:pt x="846" y="308"/>
                    </a:lnTo>
                    <a:lnTo>
                      <a:pt x="846" y="306"/>
                    </a:lnTo>
                    <a:lnTo>
                      <a:pt x="846" y="304"/>
                    </a:lnTo>
                    <a:lnTo>
                      <a:pt x="846" y="300"/>
                    </a:lnTo>
                    <a:lnTo>
                      <a:pt x="848" y="296"/>
                    </a:lnTo>
                    <a:lnTo>
                      <a:pt x="848" y="296"/>
                    </a:lnTo>
                    <a:lnTo>
                      <a:pt x="848" y="296"/>
                    </a:lnTo>
                    <a:lnTo>
                      <a:pt x="850" y="296"/>
                    </a:lnTo>
                    <a:lnTo>
                      <a:pt x="852" y="296"/>
                    </a:lnTo>
                    <a:lnTo>
                      <a:pt x="852" y="296"/>
                    </a:lnTo>
                    <a:lnTo>
                      <a:pt x="852" y="294"/>
                    </a:lnTo>
                    <a:lnTo>
                      <a:pt x="854" y="294"/>
                    </a:lnTo>
                    <a:lnTo>
                      <a:pt x="854" y="294"/>
                    </a:lnTo>
                    <a:lnTo>
                      <a:pt x="854" y="294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4" y="294"/>
                    </a:lnTo>
                    <a:lnTo>
                      <a:pt x="854" y="298"/>
                    </a:lnTo>
                    <a:lnTo>
                      <a:pt x="854" y="298"/>
                    </a:lnTo>
                    <a:lnTo>
                      <a:pt x="856" y="300"/>
                    </a:lnTo>
                    <a:lnTo>
                      <a:pt x="856" y="302"/>
                    </a:lnTo>
                    <a:lnTo>
                      <a:pt x="856" y="302"/>
                    </a:lnTo>
                    <a:lnTo>
                      <a:pt x="856" y="302"/>
                    </a:lnTo>
                    <a:lnTo>
                      <a:pt x="856" y="304"/>
                    </a:lnTo>
                    <a:lnTo>
                      <a:pt x="856" y="304"/>
                    </a:lnTo>
                    <a:lnTo>
                      <a:pt x="856" y="304"/>
                    </a:lnTo>
                    <a:lnTo>
                      <a:pt x="858" y="306"/>
                    </a:lnTo>
                    <a:lnTo>
                      <a:pt x="858" y="306"/>
                    </a:lnTo>
                    <a:lnTo>
                      <a:pt x="858" y="308"/>
                    </a:lnTo>
                    <a:lnTo>
                      <a:pt x="860" y="310"/>
                    </a:lnTo>
                    <a:lnTo>
                      <a:pt x="862" y="312"/>
                    </a:lnTo>
                    <a:lnTo>
                      <a:pt x="864" y="312"/>
                    </a:lnTo>
                    <a:lnTo>
                      <a:pt x="868" y="316"/>
                    </a:lnTo>
                    <a:lnTo>
                      <a:pt x="874" y="318"/>
                    </a:lnTo>
                    <a:lnTo>
                      <a:pt x="878" y="322"/>
                    </a:lnTo>
                    <a:lnTo>
                      <a:pt x="884" y="324"/>
                    </a:lnTo>
                    <a:lnTo>
                      <a:pt x="888" y="326"/>
                    </a:lnTo>
                    <a:lnTo>
                      <a:pt x="888" y="328"/>
                    </a:lnTo>
                    <a:lnTo>
                      <a:pt x="890" y="328"/>
                    </a:lnTo>
                    <a:lnTo>
                      <a:pt x="888" y="330"/>
                    </a:lnTo>
                    <a:close/>
                    <a:moveTo>
                      <a:pt x="966" y="316"/>
                    </a:moveTo>
                    <a:lnTo>
                      <a:pt x="966" y="320"/>
                    </a:lnTo>
                    <a:lnTo>
                      <a:pt x="966" y="322"/>
                    </a:lnTo>
                    <a:lnTo>
                      <a:pt x="966" y="330"/>
                    </a:lnTo>
                    <a:lnTo>
                      <a:pt x="966" y="332"/>
                    </a:lnTo>
                    <a:lnTo>
                      <a:pt x="964" y="334"/>
                    </a:lnTo>
                    <a:lnTo>
                      <a:pt x="964" y="336"/>
                    </a:lnTo>
                    <a:lnTo>
                      <a:pt x="964" y="336"/>
                    </a:lnTo>
                    <a:lnTo>
                      <a:pt x="964" y="338"/>
                    </a:lnTo>
                    <a:lnTo>
                      <a:pt x="964" y="338"/>
                    </a:lnTo>
                    <a:lnTo>
                      <a:pt x="962" y="338"/>
                    </a:lnTo>
                    <a:lnTo>
                      <a:pt x="960" y="338"/>
                    </a:lnTo>
                    <a:lnTo>
                      <a:pt x="958" y="336"/>
                    </a:lnTo>
                    <a:lnTo>
                      <a:pt x="956" y="336"/>
                    </a:lnTo>
                    <a:lnTo>
                      <a:pt x="954" y="334"/>
                    </a:lnTo>
                    <a:lnTo>
                      <a:pt x="954" y="334"/>
                    </a:lnTo>
                    <a:lnTo>
                      <a:pt x="952" y="332"/>
                    </a:lnTo>
                    <a:lnTo>
                      <a:pt x="952" y="332"/>
                    </a:lnTo>
                    <a:lnTo>
                      <a:pt x="952" y="330"/>
                    </a:lnTo>
                    <a:lnTo>
                      <a:pt x="952" y="328"/>
                    </a:lnTo>
                    <a:lnTo>
                      <a:pt x="952" y="324"/>
                    </a:lnTo>
                    <a:lnTo>
                      <a:pt x="952" y="322"/>
                    </a:lnTo>
                    <a:lnTo>
                      <a:pt x="952" y="322"/>
                    </a:lnTo>
                    <a:lnTo>
                      <a:pt x="954" y="320"/>
                    </a:lnTo>
                    <a:lnTo>
                      <a:pt x="956" y="320"/>
                    </a:lnTo>
                    <a:lnTo>
                      <a:pt x="960" y="318"/>
                    </a:lnTo>
                    <a:lnTo>
                      <a:pt x="962" y="316"/>
                    </a:lnTo>
                    <a:lnTo>
                      <a:pt x="964" y="316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6"/>
                    </a:lnTo>
                    <a:close/>
                    <a:moveTo>
                      <a:pt x="1746" y="118"/>
                    </a:moveTo>
                    <a:lnTo>
                      <a:pt x="1746" y="118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50" y="122"/>
                    </a:lnTo>
                    <a:lnTo>
                      <a:pt x="1750" y="122"/>
                    </a:lnTo>
                    <a:lnTo>
                      <a:pt x="1752" y="118"/>
                    </a:lnTo>
                    <a:lnTo>
                      <a:pt x="1752" y="118"/>
                    </a:lnTo>
                    <a:lnTo>
                      <a:pt x="1752" y="118"/>
                    </a:lnTo>
                    <a:lnTo>
                      <a:pt x="1756" y="118"/>
                    </a:lnTo>
                    <a:lnTo>
                      <a:pt x="1756" y="118"/>
                    </a:lnTo>
                    <a:lnTo>
                      <a:pt x="1756" y="118"/>
                    </a:lnTo>
                    <a:lnTo>
                      <a:pt x="1760" y="116"/>
                    </a:lnTo>
                    <a:lnTo>
                      <a:pt x="1760" y="116"/>
                    </a:lnTo>
                    <a:lnTo>
                      <a:pt x="1760" y="116"/>
                    </a:lnTo>
                    <a:lnTo>
                      <a:pt x="1762" y="114"/>
                    </a:lnTo>
                    <a:lnTo>
                      <a:pt x="1762" y="114"/>
                    </a:lnTo>
                    <a:lnTo>
                      <a:pt x="1764" y="112"/>
                    </a:lnTo>
                    <a:lnTo>
                      <a:pt x="1766" y="110"/>
                    </a:lnTo>
                    <a:lnTo>
                      <a:pt x="1766" y="110"/>
                    </a:lnTo>
                    <a:lnTo>
                      <a:pt x="1766" y="110"/>
                    </a:lnTo>
                    <a:lnTo>
                      <a:pt x="1766" y="106"/>
                    </a:lnTo>
                    <a:lnTo>
                      <a:pt x="1766" y="106"/>
                    </a:lnTo>
                    <a:lnTo>
                      <a:pt x="1766" y="106"/>
                    </a:lnTo>
                    <a:lnTo>
                      <a:pt x="1766" y="102"/>
                    </a:lnTo>
                    <a:lnTo>
                      <a:pt x="1766" y="102"/>
                    </a:lnTo>
                    <a:lnTo>
                      <a:pt x="1764" y="102"/>
                    </a:lnTo>
                    <a:lnTo>
                      <a:pt x="1762" y="98"/>
                    </a:lnTo>
                    <a:lnTo>
                      <a:pt x="1762" y="98"/>
                    </a:lnTo>
                    <a:lnTo>
                      <a:pt x="1762" y="96"/>
                    </a:lnTo>
                    <a:lnTo>
                      <a:pt x="1760" y="92"/>
                    </a:lnTo>
                    <a:lnTo>
                      <a:pt x="1760" y="90"/>
                    </a:lnTo>
                    <a:lnTo>
                      <a:pt x="1760" y="88"/>
                    </a:lnTo>
                    <a:lnTo>
                      <a:pt x="1760" y="88"/>
                    </a:lnTo>
                    <a:lnTo>
                      <a:pt x="1760" y="88"/>
                    </a:lnTo>
                    <a:lnTo>
                      <a:pt x="1758" y="86"/>
                    </a:lnTo>
                    <a:lnTo>
                      <a:pt x="1758" y="86"/>
                    </a:lnTo>
                    <a:lnTo>
                      <a:pt x="1758" y="84"/>
                    </a:lnTo>
                    <a:lnTo>
                      <a:pt x="1756" y="84"/>
                    </a:lnTo>
                    <a:lnTo>
                      <a:pt x="1756" y="84"/>
                    </a:lnTo>
                    <a:lnTo>
                      <a:pt x="1754" y="84"/>
                    </a:lnTo>
                    <a:lnTo>
                      <a:pt x="1752" y="86"/>
                    </a:lnTo>
                    <a:lnTo>
                      <a:pt x="1752" y="86"/>
                    </a:lnTo>
                    <a:lnTo>
                      <a:pt x="1752" y="86"/>
                    </a:lnTo>
                    <a:lnTo>
                      <a:pt x="1752" y="88"/>
                    </a:lnTo>
                    <a:lnTo>
                      <a:pt x="1752" y="90"/>
                    </a:lnTo>
                    <a:lnTo>
                      <a:pt x="1750" y="92"/>
                    </a:lnTo>
                    <a:lnTo>
                      <a:pt x="1750" y="98"/>
                    </a:lnTo>
                    <a:lnTo>
                      <a:pt x="1748" y="102"/>
                    </a:lnTo>
                    <a:lnTo>
                      <a:pt x="1746" y="108"/>
                    </a:lnTo>
                    <a:lnTo>
                      <a:pt x="1746" y="110"/>
                    </a:lnTo>
                    <a:lnTo>
                      <a:pt x="1746" y="112"/>
                    </a:lnTo>
                    <a:lnTo>
                      <a:pt x="1746" y="112"/>
                    </a:lnTo>
                    <a:lnTo>
                      <a:pt x="1746" y="114"/>
                    </a:lnTo>
                    <a:lnTo>
                      <a:pt x="1746" y="116"/>
                    </a:lnTo>
                    <a:lnTo>
                      <a:pt x="1746" y="118"/>
                    </a:lnTo>
                    <a:close/>
                    <a:moveTo>
                      <a:pt x="1942" y="36"/>
                    </a:moveTo>
                    <a:lnTo>
                      <a:pt x="1944" y="38"/>
                    </a:lnTo>
                    <a:lnTo>
                      <a:pt x="1944" y="38"/>
                    </a:lnTo>
                    <a:lnTo>
                      <a:pt x="1944" y="40"/>
                    </a:lnTo>
                    <a:lnTo>
                      <a:pt x="1946" y="40"/>
                    </a:lnTo>
                    <a:lnTo>
                      <a:pt x="1950" y="40"/>
                    </a:lnTo>
                    <a:lnTo>
                      <a:pt x="1954" y="40"/>
                    </a:lnTo>
                    <a:lnTo>
                      <a:pt x="1956" y="38"/>
                    </a:lnTo>
                    <a:lnTo>
                      <a:pt x="1960" y="38"/>
                    </a:lnTo>
                    <a:lnTo>
                      <a:pt x="1960" y="38"/>
                    </a:lnTo>
                    <a:lnTo>
                      <a:pt x="1960" y="38"/>
                    </a:lnTo>
                    <a:lnTo>
                      <a:pt x="1962" y="38"/>
                    </a:lnTo>
                    <a:lnTo>
                      <a:pt x="1962" y="38"/>
                    </a:lnTo>
                    <a:lnTo>
                      <a:pt x="1962" y="36"/>
                    </a:lnTo>
                    <a:lnTo>
                      <a:pt x="1964" y="36"/>
                    </a:lnTo>
                    <a:lnTo>
                      <a:pt x="1964" y="36"/>
                    </a:lnTo>
                    <a:lnTo>
                      <a:pt x="1964" y="36"/>
                    </a:lnTo>
                    <a:lnTo>
                      <a:pt x="1966" y="34"/>
                    </a:lnTo>
                    <a:lnTo>
                      <a:pt x="1966" y="34"/>
                    </a:lnTo>
                    <a:lnTo>
                      <a:pt x="1966" y="32"/>
                    </a:lnTo>
                    <a:lnTo>
                      <a:pt x="1968" y="30"/>
                    </a:lnTo>
                    <a:lnTo>
                      <a:pt x="1968" y="30"/>
                    </a:lnTo>
                    <a:lnTo>
                      <a:pt x="1968" y="28"/>
                    </a:lnTo>
                    <a:lnTo>
                      <a:pt x="1968" y="28"/>
                    </a:lnTo>
                    <a:lnTo>
                      <a:pt x="1968" y="26"/>
                    </a:lnTo>
                    <a:lnTo>
                      <a:pt x="1964" y="24"/>
                    </a:lnTo>
                    <a:lnTo>
                      <a:pt x="1964" y="24"/>
                    </a:lnTo>
                    <a:lnTo>
                      <a:pt x="1962" y="24"/>
                    </a:lnTo>
                    <a:lnTo>
                      <a:pt x="1958" y="24"/>
                    </a:lnTo>
                    <a:lnTo>
                      <a:pt x="1958" y="24"/>
                    </a:lnTo>
                    <a:lnTo>
                      <a:pt x="1958" y="24"/>
                    </a:lnTo>
                    <a:lnTo>
                      <a:pt x="1954" y="24"/>
                    </a:lnTo>
                    <a:lnTo>
                      <a:pt x="1954" y="24"/>
                    </a:lnTo>
                    <a:lnTo>
                      <a:pt x="1954" y="24"/>
                    </a:lnTo>
                    <a:lnTo>
                      <a:pt x="1950" y="24"/>
                    </a:lnTo>
                    <a:lnTo>
                      <a:pt x="1950" y="24"/>
                    </a:lnTo>
                    <a:lnTo>
                      <a:pt x="1950" y="24"/>
                    </a:lnTo>
                    <a:lnTo>
                      <a:pt x="1946" y="26"/>
                    </a:lnTo>
                    <a:lnTo>
                      <a:pt x="1946" y="26"/>
                    </a:lnTo>
                    <a:lnTo>
                      <a:pt x="1946" y="26"/>
                    </a:lnTo>
                    <a:lnTo>
                      <a:pt x="1944" y="30"/>
                    </a:lnTo>
                    <a:lnTo>
                      <a:pt x="1944" y="30"/>
                    </a:lnTo>
                    <a:lnTo>
                      <a:pt x="1944" y="30"/>
                    </a:lnTo>
                    <a:lnTo>
                      <a:pt x="1942" y="32"/>
                    </a:lnTo>
                    <a:lnTo>
                      <a:pt x="1942" y="32"/>
                    </a:lnTo>
                    <a:lnTo>
                      <a:pt x="1942" y="32"/>
                    </a:lnTo>
                    <a:lnTo>
                      <a:pt x="1942" y="34"/>
                    </a:lnTo>
                    <a:lnTo>
                      <a:pt x="1942" y="34"/>
                    </a:lnTo>
                    <a:lnTo>
                      <a:pt x="1942" y="34"/>
                    </a:lnTo>
                    <a:lnTo>
                      <a:pt x="1942" y="36"/>
                    </a:lnTo>
                    <a:lnTo>
                      <a:pt x="1942" y="36"/>
                    </a:lnTo>
                    <a:lnTo>
                      <a:pt x="1942" y="36"/>
                    </a:lnTo>
                    <a:lnTo>
                      <a:pt x="1942" y="36"/>
                    </a:lnTo>
                    <a:close/>
                    <a:moveTo>
                      <a:pt x="1764" y="180"/>
                    </a:moveTo>
                    <a:lnTo>
                      <a:pt x="1762" y="180"/>
                    </a:lnTo>
                    <a:lnTo>
                      <a:pt x="1762" y="180"/>
                    </a:lnTo>
                    <a:lnTo>
                      <a:pt x="1762" y="180"/>
                    </a:lnTo>
                    <a:lnTo>
                      <a:pt x="1760" y="178"/>
                    </a:lnTo>
                    <a:lnTo>
                      <a:pt x="1760" y="178"/>
                    </a:lnTo>
                    <a:lnTo>
                      <a:pt x="1760" y="178"/>
                    </a:lnTo>
                    <a:lnTo>
                      <a:pt x="1758" y="176"/>
                    </a:lnTo>
                    <a:lnTo>
                      <a:pt x="1758" y="176"/>
                    </a:lnTo>
                    <a:lnTo>
                      <a:pt x="1756" y="176"/>
                    </a:lnTo>
                    <a:lnTo>
                      <a:pt x="1754" y="176"/>
                    </a:lnTo>
                    <a:lnTo>
                      <a:pt x="1754" y="176"/>
                    </a:lnTo>
                    <a:lnTo>
                      <a:pt x="1752" y="176"/>
                    </a:lnTo>
                    <a:lnTo>
                      <a:pt x="1748" y="178"/>
                    </a:lnTo>
                    <a:lnTo>
                      <a:pt x="1748" y="178"/>
                    </a:lnTo>
                    <a:lnTo>
                      <a:pt x="1748" y="178"/>
                    </a:lnTo>
                    <a:lnTo>
                      <a:pt x="1748" y="180"/>
                    </a:lnTo>
                    <a:lnTo>
                      <a:pt x="1748" y="180"/>
                    </a:lnTo>
                    <a:lnTo>
                      <a:pt x="1746" y="182"/>
                    </a:lnTo>
                    <a:lnTo>
                      <a:pt x="1746" y="182"/>
                    </a:lnTo>
                    <a:lnTo>
                      <a:pt x="1746" y="182"/>
                    </a:lnTo>
                    <a:lnTo>
                      <a:pt x="1746" y="184"/>
                    </a:lnTo>
                    <a:lnTo>
                      <a:pt x="1746" y="184"/>
                    </a:lnTo>
                    <a:lnTo>
                      <a:pt x="1746" y="184"/>
                    </a:lnTo>
                    <a:lnTo>
                      <a:pt x="1746" y="186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8" y="190"/>
                    </a:lnTo>
                    <a:lnTo>
                      <a:pt x="1750" y="192"/>
                    </a:lnTo>
                    <a:lnTo>
                      <a:pt x="1752" y="194"/>
                    </a:lnTo>
                    <a:lnTo>
                      <a:pt x="1752" y="194"/>
                    </a:lnTo>
                    <a:lnTo>
                      <a:pt x="1752" y="194"/>
                    </a:lnTo>
                    <a:lnTo>
                      <a:pt x="1756" y="196"/>
                    </a:lnTo>
                    <a:lnTo>
                      <a:pt x="1760" y="198"/>
                    </a:lnTo>
                    <a:lnTo>
                      <a:pt x="1762" y="198"/>
                    </a:lnTo>
                    <a:lnTo>
                      <a:pt x="1762" y="198"/>
                    </a:lnTo>
                    <a:lnTo>
                      <a:pt x="1762" y="200"/>
                    </a:lnTo>
                    <a:lnTo>
                      <a:pt x="1764" y="200"/>
                    </a:lnTo>
                    <a:lnTo>
                      <a:pt x="1764" y="200"/>
                    </a:lnTo>
                    <a:lnTo>
                      <a:pt x="1766" y="200"/>
                    </a:lnTo>
                    <a:lnTo>
                      <a:pt x="1768" y="198"/>
                    </a:lnTo>
                    <a:lnTo>
                      <a:pt x="1768" y="198"/>
                    </a:lnTo>
                    <a:lnTo>
                      <a:pt x="1768" y="198"/>
                    </a:lnTo>
                    <a:lnTo>
                      <a:pt x="1770" y="196"/>
                    </a:lnTo>
                    <a:lnTo>
                      <a:pt x="1770" y="196"/>
                    </a:lnTo>
                    <a:lnTo>
                      <a:pt x="1770" y="196"/>
                    </a:lnTo>
                    <a:lnTo>
                      <a:pt x="1772" y="194"/>
                    </a:lnTo>
                    <a:lnTo>
                      <a:pt x="1772" y="194"/>
                    </a:lnTo>
                    <a:lnTo>
                      <a:pt x="1772" y="194"/>
                    </a:lnTo>
                    <a:lnTo>
                      <a:pt x="1774" y="190"/>
                    </a:lnTo>
                    <a:lnTo>
                      <a:pt x="1774" y="190"/>
                    </a:lnTo>
                    <a:lnTo>
                      <a:pt x="1774" y="188"/>
                    </a:lnTo>
                    <a:lnTo>
                      <a:pt x="1774" y="188"/>
                    </a:lnTo>
                    <a:lnTo>
                      <a:pt x="1772" y="186"/>
                    </a:lnTo>
                    <a:lnTo>
                      <a:pt x="1768" y="184"/>
                    </a:lnTo>
                    <a:lnTo>
                      <a:pt x="1768" y="184"/>
                    </a:lnTo>
                    <a:lnTo>
                      <a:pt x="1766" y="182"/>
                    </a:lnTo>
                    <a:lnTo>
                      <a:pt x="1764" y="180"/>
                    </a:lnTo>
                    <a:close/>
                    <a:moveTo>
                      <a:pt x="1774" y="106"/>
                    </a:moveTo>
                    <a:lnTo>
                      <a:pt x="1774" y="112"/>
                    </a:lnTo>
                    <a:lnTo>
                      <a:pt x="1774" y="116"/>
                    </a:lnTo>
                    <a:lnTo>
                      <a:pt x="1774" y="118"/>
                    </a:lnTo>
                    <a:lnTo>
                      <a:pt x="1774" y="122"/>
                    </a:lnTo>
                    <a:lnTo>
                      <a:pt x="1774" y="124"/>
                    </a:lnTo>
                    <a:lnTo>
                      <a:pt x="1774" y="128"/>
                    </a:lnTo>
                    <a:lnTo>
                      <a:pt x="1774" y="128"/>
                    </a:lnTo>
                    <a:lnTo>
                      <a:pt x="1774" y="128"/>
                    </a:lnTo>
                    <a:lnTo>
                      <a:pt x="1776" y="132"/>
                    </a:lnTo>
                    <a:lnTo>
                      <a:pt x="1776" y="132"/>
                    </a:lnTo>
                    <a:lnTo>
                      <a:pt x="1776" y="132"/>
                    </a:lnTo>
                    <a:lnTo>
                      <a:pt x="1776" y="134"/>
                    </a:lnTo>
                    <a:lnTo>
                      <a:pt x="1778" y="136"/>
                    </a:lnTo>
                    <a:lnTo>
                      <a:pt x="1778" y="136"/>
                    </a:lnTo>
                    <a:lnTo>
                      <a:pt x="1778" y="136"/>
                    </a:lnTo>
                    <a:lnTo>
                      <a:pt x="1780" y="138"/>
                    </a:lnTo>
                    <a:lnTo>
                      <a:pt x="1780" y="138"/>
                    </a:lnTo>
                    <a:lnTo>
                      <a:pt x="1780" y="138"/>
                    </a:lnTo>
                    <a:lnTo>
                      <a:pt x="1782" y="140"/>
                    </a:lnTo>
                    <a:lnTo>
                      <a:pt x="1784" y="142"/>
                    </a:lnTo>
                    <a:lnTo>
                      <a:pt x="1786" y="144"/>
                    </a:lnTo>
                    <a:lnTo>
                      <a:pt x="1792" y="148"/>
                    </a:lnTo>
                    <a:lnTo>
                      <a:pt x="1796" y="150"/>
                    </a:lnTo>
                    <a:lnTo>
                      <a:pt x="1798" y="152"/>
                    </a:lnTo>
                    <a:lnTo>
                      <a:pt x="1802" y="154"/>
                    </a:lnTo>
                    <a:lnTo>
                      <a:pt x="1804" y="156"/>
                    </a:lnTo>
                    <a:lnTo>
                      <a:pt x="1806" y="156"/>
                    </a:lnTo>
                    <a:lnTo>
                      <a:pt x="1808" y="158"/>
                    </a:lnTo>
                    <a:lnTo>
                      <a:pt x="1808" y="158"/>
                    </a:lnTo>
                    <a:lnTo>
                      <a:pt x="1808" y="158"/>
                    </a:lnTo>
                    <a:lnTo>
                      <a:pt x="1810" y="158"/>
                    </a:lnTo>
                    <a:lnTo>
                      <a:pt x="1810" y="158"/>
                    </a:lnTo>
                    <a:lnTo>
                      <a:pt x="1810" y="158"/>
                    </a:lnTo>
                    <a:lnTo>
                      <a:pt x="1812" y="156"/>
                    </a:lnTo>
                    <a:lnTo>
                      <a:pt x="1812" y="156"/>
                    </a:lnTo>
                    <a:lnTo>
                      <a:pt x="1812" y="156"/>
                    </a:lnTo>
                    <a:lnTo>
                      <a:pt x="1814" y="154"/>
                    </a:lnTo>
                    <a:lnTo>
                      <a:pt x="1814" y="154"/>
                    </a:lnTo>
                    <a:lnTo>
                      <a:pt x="1814" y="154"/>
                    </a:lnTo>
                    <a:lnTo>
                      <a:pt x="1814" y="152"/>
                    </a:lnTo>
                    <a:lnTo>
                      <a:pt x="1814" y="148"/>
                    </a:lnTo>
                    <a:lnTo>
                      <a:pt x="1812" y="146"/>
                    </a:lnTo>
                    <a:lnTo>
                      <a:pt x="1812" y="144"/>
                    </a:lnTo>
                    <a:lnTo>
                      <a:pt x="1812" y="142"/>
                    </a:lnTo>
                    <a:lnTo>
                      <a:pt x="1812" y="142"/>
                    </a:lnTo>
                    <a:lnTo>
                      <a:pt x="1812" y="142"/>
                    </a:lnTo>
                    <a:lnTo>
                      <a:pt x="1814" y="142"/>
                    </a:lnTo>
                    <a:lnTo>
                      <a:pt x="1816" y="142"/>
                    </a:lnTo>
                    <a:lnTo>
                      <a:pt x="1818" y="142"/>
                    </a:lnTo>
                    <a:lnTo>
                      <a:pt x="1824" y="142"/>
                    </a:lnTo>
                    <a:lnTo>
                      <a:pt x="1828" y="144"/>
                    </a:lnTo>
                    <a:lnTo>
                      <a:pt x="1830" y="144"/>
                    </a:lnTo>
                    <a:lnTo>
                      <a:pt x="1830" y="144"/>
                    </a:lnTo>
                    <a:lnTo>
                      <a:pt x="1830" y="144"/>
                    </a:lnTo>
                    <a:lnTo>
                      <a:pt x="1832" y="142"/>
                    </a:lnTo>
                    <a:lnTo>
                      <a:pt x="1832" y="142"/>
                    </a:lnTo>
                    <a:lnTo>
                      <a:pt x="1832" y="142"/>
                    </a:lnTo>
                    <a:lnTo>
                      <a:pt x="1834" y="142"/>
                    </a:lnTo>
                    <a:lnTo>
                      <a:pt x="1838" y="140"/>
                    </a:lnTo>
                    <a:lnTo>
                      <a:pt x="1842" y="140"/>
                    </a:lnTo>
                    <a:lnTo>
                      <a:pt x="1842" y="140"/>
                    </a:lnTo>
                    <a:lnTo>
                      <a:pt x="1844" y="140"/>
                    </a:lnTo>
                    <a:lnTo>
                      <a:pt x="1844" y="140"/>
                    </a:lnTo>
                    <a:lnTo>
                      <a:pt x="1844" y="140"/>
                    </a:lnTo>
                    <a:lnTo>
                      <a:pt x="1846" y="142"/>
                    </a:lnTo>
                    <a:lnTo>
                      <a:pt x="1848" y="144"/>
                    </a:lnTo>
                    <a:lnTo>
                      <a:pt x="1848" y="144"/>
                    </a:lnTo>
                    <a:lnTo>
                      <a:pt x="1848" y="146"/>
                    </a:lnTo>
                    <a:lnTo>
                      <a:pt x="1850" y="146"/>
                    </a:lnTo>
                    <a:lnTo>
                      <a:pt x="1850" y="146"/>
                    </a:lnTo>
                    <a:lnTo>
                      <a:pt x="1850" y="146"/>
                    </a:lnTo>
                    <a:lnTo>
                      <a:pt x="1852" y="148"/>
                    </a:lnTo>
                    <a:lnTo>
                      <a:pt x="1852" y="148"/>
                    </a:lnTo>
                    <a:lnTo>
                      <a:pt x="1852" y="148"/>
                    </a:lnTo>
                    <a:lnTo>
                      <a:pt x="1856" y="150"/>
                    </a:lnTo>
                    <a:lnTo>
                      <a:pt x="1856" y="150"/>
                    </a:lnTo>
                    <a:lnTo>
                      <a:pt x="1856" y="150"/>
                    </a:lnTo>
                    <a:lnTo>
                      <a:pt x="1860" y="150"/>
                    </a:lnTo>
                    <a:lnTo>
                      <a:pt x="1860" y="150"/>
                    </a:lnTo>
                    <a:lnTo>
                      <a:pt x="1860" y="150"/>
                    </a:lnTo>
                    <a:lnTo>
                      <a:pt x="1864" y="150"/>
                    </a:lnTo>
                    <a:lnTo>
                      <a:pt x="1864" y="150"/>
                    </a:lnTo>
                    <a:lnTo>
                      <a:pt x="1864" y="150"/>
                    </a:lnTo>
                    <a:lnTo>
                      <a:pt x="1868" y="148"/>
                    </a:lnTo>
                    <a:lnTo>
                      <a:pt x="1868" y="148"/>
                    </a:lnTo>
                    <a:lnTo>
                      <a:pt x="1868" y="148"/>
                    </a:lnTo>
                    <a:lnTo>
                      <a:pt x="1870" y="146"/>
                    </a:lnTo>
                    <a:lnTo>
                      <a:pt x="1870" y="146"/>
                    </a:lnTo>
                    <a:lnTo>
                      <a:pt x="1870" y="146"/>
                    </a:lnTo>
                    <a:lnTo>
                      <a:pt x="1870" y="144"/>
                    </a:lnTo>
                    <a:lnTo>
                      <a:pt x="1870" y="144"/>
                    </a:lnTo>
                    <a:lnTo>
                      <a:pt x="1870" y="144"/>
                    </a:lnTo>
                    <a:lnTo>
                      <a:pt x="1872" y="140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6" y="136"/>
                    </a:lnTo>
                    <a:lnTo>
                      <a:pt x="1878" y="136"/>
                    </a:lnTo>
                    <a:lnTo>
                      <a:pt x="1882" y="134"/>
                    </a:lnTo>
                    <a:lnTo>
                      <a:pt x="1882" y="134"/>
                    </a:lnTo>
                    <a:lnTo>
                      <a:pt x="1882" y="134"/>
                    </a:lnTo>
                    <a:lnTo>
                      <a:pt x="1884" y="134"/>
                    </a:lnTo>
                    <a:lnTo>
                      <a:pt x="1884" y="134"/>
                    </a:lnTo>
                    <a:lnTo>
                      <a:pt x="1884" y="134"/>
                    </a:lnTo>
                    <a:lnTo>
                      <a:pt x="1886" y="132"/>
                    </a:lnTo>
                    <a:lnTo>
                      <a:pt x="1886" y="132"/>
                    </a:lnTo>
                    <a:lnTo>
                      <a:pt x="1886" y="132"/>
                    </a:lnTo>
                    <a:lnTo>
                      <a:pt x="1888" y="130"/>
                    </a:lnTo>
                    <a:lnTo>
                      <a:pt x="1890" y="128"/>
                    </a:lnTo>
                    <a:lnTo>
                      <a:pt x="1892" y="124"/>
                    </a:lnTo>
                    <a:lnTo>
                      <a:pt x="1894" y="118"/>
                    </a:lnTo>
                    <a:lnTo>
                      <a:pt x="1894" y="116"/>
                    </a:lnTo>
                    <a:lnTo>
                      <a:pt x="1896" y="114"/>
                    </a:lnTo>
                    <a:lnTo>
                      <a:pt x="1898" y="114"/>
                    </a:lnTo>
                    <a:lnTo>
                      <a:pt x="1898" y="112"/>
                    </a:lnTo>
                    <a:lnTo>
                      <a:pt x="1902" y="110"/>
                    </a:lnTo>
                    <a:lnTo>
                      <a:pt x="1902" y="108"/>
                    </a:lnTo>
                    <a:lnTo>
                      <a:pt x="1904" y="106"/>
                    </a:lnTo>
                    <a:lnTo>
                      <a:pt x="1904" y="106"/>
                    </a:lnTo>
                    <a:lnTo>
                      <a:pt x="1904" y="106"/>
                    </a:lnTo>
                    <a:lnTo>
                      <a:pt x="1906" y="104"/>
                    </a:lnTo>
                    <a:lnTo>
                      <a:pt x="1906" y="104"/>
                    </a:lnTo>
                    <a:lnTo>
                      <a:pt x="1906" y="102"/>
                    </a:lnTo>
                    <a:lnTo>
                      <a:pt x="1906" y="102"/>
                    </a:lnTo>
                    <a:lnTo>
                      <a:pt x="1906" y="102"/>
                    </a:lnTo>
                    <a:lnTo>
                      <a:pt x="1906" y="100"/>
                    </a:lnTo>
                    <a:lnTo>
                      <a:pt x="1904" y="98"/>
                    </a:lnTo>
                    <a:lnTo>
                      <a:pt x="1904" y="98"/>
                    </a:lnTo>
                    <a:lnTo>
                      <a:pt x="1904" y="98"/>
                    </a:lnTo>
                    <a:lnTo>
                      <a:pt x="1902" y="96"/>
                    </a:lnTo>
                    <a:lnTo>
                      <a:pt x="1902" y="96"/>
                    </a:lnTo>
                    <a:lnTo>
                      <a:pt x="1902" y="96"/>
                    </a:lnTo>
                    <a:lnTo>
                      <a:pt x="1900" y="96"/>
                    </a:lnTo>
                    <a:lnTo>
                      <a:pt x="1898" y="94"/>
                    </a:lnTo>
                    <a:lnTo>
                      <a:pt x="1892" y="92"/>
                    </a:lnTo>
                    <a:lnTo>
                      <a:pt x="1890" y="90"/>
                    </a:lnTo>
                    <a:lnTo>
                      <a:pt x="1888" y="90"/>
                    </a:lnTo>
                    <a:lnTo>
                      <a:pt x="1886" y="88"/>
                    </a:lnTo>
                    <a:lnTo>
                      <a:pt x="1884" y="84"/>
                    </a:lnTo>
                    <a:lnTo>
                      <a:pt x="1880" y="82"/>
                    </a:lnTo>
                    <a:lnTo>
                      <a:pt x="1876" y="80"/>
                    </a:lnTo>
                    <a:lnTo>
                      <a:pt x="1876" y="80"/>
                    </a:lnTo>
                    <a:lnTo>
                      <a:pt x="1876" y="80"/>
                    </a:lnTo>
                    <a:lnTo>
                      <a:pt x="1874" y="80"/>
                    </a:lnTo>
                    <a:lnTo>
                      <a:pt x="1874" y="80"/>
                    </a:lnTo>
                    <a:lnTo>
                      <a:pt x="1874" y="78"/>
                    </a:lnTo>
                    <a:lnTo>
                      <a:pt x="1872" y="78"/>
                    </a:lnTo>
                    <a:lnTo>
                      <a:pt x="1868" y="78"/>
                    </a:lnTo>
                    <a:lnTo>
                      <a:pt x="1862" y="78"/>
                    </a:lnTo>
                    <a:lnTo>
                      <a:pt x="1862" y="78"/>
                    </a:lnTo>
                    <a:lnTo>
                      <a:pt x="1860" y="76"/>
                    </a:lnTo>
                    <a:lnTo>
                      <a:pt x="1858" y="76"/>
                    </a:lnTo>
                    <a:lnTo>
                      <a:pt x="1856" y="74"/>
                    </a:lnTo>
                    <a:lnTo>
                      <a:pt x="1854" y="70"/>
                    </a:lnTo>
                    <a:lnTo>
                      <a:pt x="1854" y="70"/>
                    </a:lnTo>
                    <a:lnTo>
                      <a:pt x="1854" y="70"/>
                    </a:lnTo>
                    <a:lnTo>
                      <a:pt x="1852" y="68"/>
                    </a:lnTo>
                    <a:lnTo>
                      <a:pt x="1852" y="68"/>
                    </a:lnTo>
                    <a:lnTo>
                      <a:pt x="1852" y="68"/>
                    </a:lnTo>
                    <a:lnTo>
                      <a:pt x="1850" y="68"/>
                    </a:lnTo>
                    <a:lnTo>
                      <a:pt x="1848" y="66"/>
                    </a:lnTo>
                    <a:lnTo>
                      <a:pt x="1842" y="64"/>
                    </a:lnTo>
                    <a:lnTo>
                      <a:pt x="1842" y="64"/>
                    </a:lnTo>
                    <a:lnTo>
                      <a:pt x="1842" y="64"/>
                    </a:lnTo>
                    <a:lnTo>
                      <a:pt x="1838" y="64"/>
                    </a:lnTo>
                    <a:lnTo>
                      <a:pt x="1838" y="64"/>
                    </a:lnTo>
                    <a:lnTo>
                      <a:pt x="1838" y="64"/>
                    </a:lnTo>
                    <a:lnTo>
                      <a:pt x="1836" y="64"/>
                    </a:lnTo>
                    <a:lnTo>
                      <a:pt x="1836" y="64"/>
                    </a:lnTo>
                    <a:lnTo>
                      <a:pt x="1834" y="64"/>
                    </a:lnTo>
                    <a:lnTo>
                      <a:pt x="1834" y="64"/>
                    </a:lnTo>
                    <a:lnTo>
                      <a:pt x="1834" y="64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0" y="68"/>
                    </a:lnTo>
                    <a:lnTo>
                      <a:pt x="1830" y="68"/>
                    </a:lnTo>
                    <a:lnTo>
                      <a:pt x="1830" y="68"/>
                    </a:lnTo>
                    <a:lnTo>
                      <a:pt x="1830" y="72"/>
                    </a:lnTo>
                    <a:lnTo>
                      <a:pt x="1830" y="72"/>
                    </a:lnTo>
                    <a:lnTo>
                      <a:pt x="1830" y="72"/>
                    </a:lnTo>
                    <a:lnTo>
                      <a:pt x="1828" y="76"/>
                    </a:lnTo>
                    <a:lnTo>
                      <a:pt x="1828" y="80"/>
                    </a:lnTo>
                    <a:lnTo>
                      <a:pt x="1828" y="82"/>
                    </a:lnTo>
                    <a:lnTo>
                      <a:pt x="1830" y="84"/>
                    </a:lnTo>
                    <a:lnTo>
                      <a:pt x="1830" y="88"/>
                    </a:lnTo>
                    <a:lnTo>
                      <a:pt x="1830" y="86"/>
                    </a:lnTo>
                    <a:lnTo>
                      <a:pt x="1826" y="82"/>
                    </a:lnTo>
                    <a:lnTo>
                      <a:pt x="1824" y="78"/>
                    </a:lnTo>
                    <a:lnTo>
                      <a:pt x="1820" y="74"/>
                    </a:lnTo>
                    <a:lnTo>
                      <a:pt x="1818" y="72"/>
                    </a:lnTo>
                    <a:lnTo>
                      <a:pt x="1814" y="66"/>
                    </a:lnTo>
                    <a:lnTo>
                      <a:pt x="1810" y="62"/>
                    </a:lnTo>
                    <a:lnTo>
                      <a:pt x="1808" y="60"/>
                    </a:lnTo>
                    <a:lnTo>
                      <a:pt x="1806" y="58"/>
                    </a:lnTo>
                    <a:lnTo>
                      <a:pt x="1804" y="58"/>
                    </a:lnTo>
                    <a:lnTo>
                      <a:pt x="1804" y="58"/>
                    </a:lnTo>
                    <a:lnTo>
                      <a:pt x="1804" y="58"/>
                    </a:lnTo>
                    <a:lnTo>
                      <a:pt x="1802" y="56"/>
                    </a:lnTo>
                    <a:lnTo>
                      <a:pt x="1802" y="56"/>
                    </a:lnTo>
                    <a:lnTo>
                      <a:pt x="1800" y="56"/>
                    </a:lnTo>
                    <a:lnTo>
                      <a:pt x="1800" y="58"/>
                    </a:lnTo>
                    <a:lnTo>
                      <a:pt x="1800" y="58"/>
                    </a:lnTo>
                    <a:lnTo>
                      <a:pt x="1798" y="58"/>
                    </a:lnTo>
                    <a:lnTo>
                      <a:pt x="1796" y="58"/>
                    </a:lnTo>
                    <a:lnTo>
                      <a:pt x="1796" y="58"/>
                    </a:lnTo>
                    <a:lnTo>
                      <a:pt x="1796" y="60"/>
                    </a:lnTo>
                    <a:lnTo>
                      <a:pt x="1796" y="60"/>
                    </a:lnTo>
                    <a:lnTo>
                      <a:pt x="1794" y="62"/>
                    </a:lnTo>
                    <a:lnTo>
                      <a:pt x="1792" y="66"/>
                    </a:lnTo>
                    <a:lnTo>
                      <a:pt x="1792" y="68"/>
                    </a:lnTo>
                    <a:lnTo>
                      <a:pt x="1792" y="68"/>
                    </a:lnTo>
                    <a:lnTo>
                      <a:pt x="1788" y="70"/>
                    </a:lnTo>
                    <a:lnTo>
                      <a:pt x="1786" y="72"/>
                    </a:lnTo>
                    <a:lnTo>
                      <a:pt x="1784" y="74"/>
                    </a:lnTo>
                    <a:lnTo>
                      <a:pt x="1784" y="74"/>
                    </a:lnTo>
                    <a:lnTo>
                      <a:pt x="1784" y="74"/>
                    </a:lnTo>
                    <a:lnTo>
                      <a:pt x="1782" y="76"/>
                    </a:lnTo>
                    <a:lnTo>
                      <a:pt x="1782" y="76"/>
                    </a:lnTo>
                    <a:lnTo>
                      <a:pt x="1780" y="76"/>
                    </a:lnTo>
                    <a:lnTo>
                      <a:pt x="1778" y="78"/>
                    </a:lnTo>
                    <a:lnTo>
                      <a:pt x="1778" y="78"/>
                    </a:lnTo>
                    <a:lnTo>
                      <a:pt x="1778" y="78"/>
                    </a:lnTo>
                    <a:lnTo>
                      <a:pt x="1778" y="80"/>
                    </a:lnTo>
                    <a:lnTo>
                      <a:pt x="1778" y="80"/>
                    </a:lnTo>
                    <a:lnTo>
                      <a:pt x="1778" y="80"/>
                    </a:lnTo>
                    <a:lnTo>
                      <a:pt x="1776" y="80"/>
                    </a:lnTo>
                    <a:lnTo>
                      <a:pt x="1776" y="80"/>
                    </a:lnTo>
                    <a:lnTo>
                      <a:pt x="1776" y="82"/>
                    </a:lnTo>
                    <a:lnTo>
                      <a:pt x="1776" y="84"/>
                    </a:lnTo>
                    <a:lnTo>
                      <a:pt x="1776" y="84"/>
                    </a:lnTo>
                    <a:lnTo>
                      <a:pt x="1776" y="84"/>
                    </a:lnTo>
                    <a:lnTo>
                      <a:pt x="1774" y="86"/>
                    </a:lnTo>
                    <a:lnTo>
                      <a:pt x="1774" y="90"/>
                    </a:lnTo>
                    <a:lnTo>
                      <a:pt x="1774" y="94"/>
                    </a:lnTo>
                    <a:lnTo>
                      <a:pt x="1774" y="98"/>
                    </a:lnTo>
                    <a:lnTo>
                      <a:pt x="1774" y="102"/>
                    </a:lnTo>
                    <a:lnTo>
                      <a:pt x="1774" y="106"/>
                    </a:lnTo>
                    <a:close/>
                    <a:moveTo>
                      <a:pt x="1912" y="124"/>
                    </a:moveTo>
                    <a:lnTo>
                      <a:pt x="1912" y="126"/>
                    </a:lnTo>
                    <a:lnTo>
                      <a:pt x="1912" y="126"/>
                    </a:lnTo>
                    <a:lnTo>
                      <a:pt x="1912" y="126"/>
                    </a:lnTo>
                    <a:lnTo>
                      <a:pt x="1914" y="128"/>
                    </a:lnTo>
                    <a:lnTo>
                      <a:pt x="1916" y="130"/>
                    </a:lnTo>
                    <a:lnTo>
                      <a:pt x="1918" y="132"/>
                    </a:lnTo>
                    <a:lnTo>
                      <a:pt x="1922" y="134"/>
                    </a:lnTo>
                    <a:lnTo>
                      <a:pt x="1924" y="136"/>
                    </a:lnTo>
                    <a:lnTo>
                      <a:pt x="1932" y="140"/>
                    </a:lnTo>
                    <a:lnTo>
                      <a:pt x="1934" y="142"/>
                    </a:lnTo>
                    <a:lnTo>
                      <a:pt x="1936" y="144"/>
                    </a:lnTo>
                    <a:lnTo>
                      <a:pt x="1938" y="144"/>
                    </a:lnTo>
                    <a:lnTo>
                      <a:pt x="1938" y="144"/>
                    </a:lnTo>
                    <a:lnTo>
                      <a:pt x="1938" y="144"/>
                    </a:lnTo>
                    <a:lnTo>
                      <a:pt x="1940" y="146"/>
                    </a:lnTo>
                    <a:lnTo>
                      <a:pt x="1940" y="146"/>
                    </a:lnTo>
                    <a:lnTo>
                      <a:pt x="1940" y="146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4" y="150"/>
                    </a:lnTo>
                    <a:lnTo>
                      <a:pt x="1944" y="150"/>
                    </a:lnTo>
                    <a:lnTo>
                      <a:pt x="1948" y="150"/>
                    </a:lnTo>
                    <a:lnTo>
                      <a:pt x="1950" y="150"/>
                    </a:lnTo>
                    <a:lnTo>
                      <a:pt x="1956" y="150"/>
                    </a:lnTo>
                    <a:lnTo>
                      <a:pt x="1960" y="150"/>
                    </a:lnTo>
                    <a:lnTo>
                      <a:pt x="1964" y="150"/>
                    </a:lnTo>
                    <a:lnTo>
                      <a:pt x="1966" y="150"/>
                    </a:lnTo>
                    <a:lnTo>
                      <a:pt x="1966" y="150"/>
                    </a:lnTo>
                    <a:lnTo>
                      <a:pt x="1966" y="150"/>
                    </a:lnTo>
                    <a:lnTo>
                      <a:pt x="1968" y="150"/>
                    </a:lnTo>
                    <a:lnTo>
                      <a:pt x="1968" y="150"/>
                    </a:lnTo>
                    <a:lnTo>
                      <a:pt x="1970" y="148"/>
                    </a:lnTo>
                    <a:lnTo>
                      <a:pt x="1972" y="148"/>
                    </a:lnTo>
                    <a:lnTo>
                      <a:pt x="1972" y="148"/>
                    </a:lnTo>
                    <a:lnTo>
                      <a:pt x="1972" y="148"/>
                    </a:lnTo>
                    <a:lnTo>
                      <a:pt x="1972" y="146"/>
                    </a:lnTo>
                    <a:lnTo>
                      <a:pt x="1972" y="146"/>
                    </a:lnTo>
                    <a:lnTo>
                      <a:pt x="1972" y="144"/>
                    </a:lnTo>
                    <a:lnTo>
                      <a:pt x="1974" y="142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6" y="136"/>
                    </a:lnTo>
                    <a:lnTo>
                      <a:pt x="1976" y="136"/>
                    </a:lnTo>
                    <a:lnTo>
                      <a:pt x="1982" y="136"/>
                    </a:lnTo>
                    <a:lnTo>
                      <a:pt x="1984" y="138"/>
                    </a:lnTo>
                    <a:lnTo>
                      <a:pt x="1986" y="138"/>
                    </a:lnTo>
                    <a:lnTo>
                      <a:pt x="1988" y="138"/>
                    </a:lnTo>
                    <a:lnTo>
                      <a:pt x="1988" y="138"/>
                    </a:lnTo>
                    <a:lnTo>
                      <a:pt x="1990" y="136"/>
                    </a:lnTo>
                    <a:lnTo>
                      <a:pt x="1990" y="136"/>
                    </a:lnTo>
                    <a:lnTo>
                      <a:pt x="1990" y="136"/>
                    </a:lnTo>
                    <a:lnTo>
                      <a:pt x="1990" y="132"/>
                    </a:lnTo>
                    <a:lnTo>
                      <a:pt x="1990" y="132"/>
                    </a:lnTo>
                    <a:lnTo>
                      <a:pt x="1990" y="132"/>
                    </a:lnTo>
                    <a:lnTo>
                      <a:pt x="1990" y="130"/>
                    </a:lnTo>
                    <a:lnTo>
                      <a:pt x="1988" y="130"/>
                    </a:lnTo>
                    <a:lnTo>
                      <a:pt x="1986" y="128"/>
                    </a:lnTo>
                    <a:lnTo>
                      <a:pt x="1984" y="126"/>
                    </a:lnTo>
                    <a:lnTo>
                      <a:pt x="1978" y="122"/>
                    </a:lnTo>
                    <a:lnTo>
                      <a:pt x="1974" y="120"/>
                    </a:lnTo>
                    <a:lnTo>
                      <a:pt x="1972" y="118"/>
                    </a:lnTo>
                    <a:lnTo>
                      <a:pt x="1972" y="118"/>
                    </a:lnTo>
                    <a:lnTo>
                      <a:pt x="1972" y="118"/>
                    </a:lnTo>
                    <a:lnTo>
                      <a:pt x="1966" y="118"/>
                    </a:lnTo>
                    <a:lnTo>
                      <a:pt x="1962" y="118"/>
                    </a:lnTo>
                    <a:lnTo>
                      <a:pt x="1956" y="116"/>
                    </a:lnTo>
                    <a:lnTo>
                      <a:pt x="1956" y="116"/>
                    </a:lnTo>
                    <a:lnTo>
                      <a:pt x="1954" y="116"/>
                    </a:lnTo>
                    <a:lnTo>
                      <a:pt x="1954" y="116"/>
                    </a:lnTo>
                    <a:lnTo>
                      <a:pt x="1952" y="114"/>
                    </a:lnTo>
                    <a:lnTo>
                      <a:pt x="1952" y="112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48" y="106"/>
                    </a:lnTo>
                    <a:lnTo>
                      <a:pt x="1948" y="106"/>
                    </a:lnTo>
                    <a:lnTo>
                      <a:pt x="1948" y="106"/>
                    </a:lnTo>
                    <a:lnTo>
                      <a:pt x="1946" y="104"/>
                    </a:lnTo>
                    <a:lnTo>
                      <a:pt x="1944" y="104"/>
                    </a:lnTo>
                    <a:lnTo>
                      <a:pt x="1944" y="104"/>
                    </a:lnTo>
                    <a:lnTo>
                      <a:pt x="1944" y="104"/>
                    </a:lnTo>
                    <a:lnTo>
                      <a:pt x="1940" y="104"/>
                    </a:lnTo>
                    <a:lnTo>
                      <a:pt x="1940" y="104"/>
                    </a:lnTo>
                    <a:lnTo>
                      <a:pt x="1936" y="104"/>
                    </a:lnTo>
                    <a:lnTo>
                      <a:pt x="1932" y="104"/>
                    </a:lnTo>
                    <a:lnTo>
                      <a:pt x="1932" y="104"/>
                    </a:lnTo>
                    <a:lnTo>
                      <a:pt x="1932" y="104"/>
                    </a:lnTo>
                    <a:lnTo>
                      <a:pt x="1932" y="106"/>
                    </a:lnTo>
                    <a:lnTo>
                      <a:pt x="1932" y="106"/>
                    </a:lnTo>
                    <a:lnTo>
                      <a:pt x="1930" y="106"/>
                    </a:lnTo>
                    <a:lnTo>
                      <a:pt x="1930" y="106"/>
                    </a:lnTo>
                    <a:lnTo>
                      <a:pt x="1928" y="108"/>
                    </a:lnTo>
                    <a:lnTo>
                      <a:pt x="1926" y="110"/>
                    </a:lnTo>
                    <a:lnTo>
                      <a:pt x="1926" y="110"/>
                    </a:lnTo>
                    <a:lnTo>
                      <a:pt x="1924" y="108"/>
                    </a:lnTo>
                    <a:lnTo>
                      <a:pt x="1924" y="106"/>
                    </a:lnTo>
                    <a:lnTo>
                      <a:pt x="1922" y="104"/>
                    </a:lnTo>
                    <a:lnTo>
                      <a:pt x="1922" y="104"/>
                    </a:lnTo>
                    <a:lnTo>
                      <a:pt x="1922" y="104"/>
                    </a:lnTo>
                    <a:lnTo>
                      <a:pt x="1922" y="102"/>
                    </a:lnTo>
                    <a:lnTo>
                      <a:pt x="1922" y="102"/>
                    </a:lnTo>
                    <a:lnTo>
                      <a:pt x="1920" y="102"/>
                    </a:lnTo>
                    <a:lnTo>
                      <a:pt x="1920" y="100"/>
                    </a:lnTo>
                    <a:lnTo>
                      <a:pt x="1920" y="100"/>
                    </a:lnTo>
                    <a:lnTo>
                      <a:pt x="1918" y="100"/>
                    </a:lnTo>
                    <a:lnTo>
                      <a:pt x="1916" y="102"/>
                    </a:lnTo>
                    <a:lnTo>
                      <a:pt x="1916" y="102"/>
                    </a:lnTo>
                    <a:lnTo>
                      <a:pt x="1916" y="102"/>
                    </a:lnTo>
                    <a:lnTo>
                      <a:pt x="1914" y="104"/>
                    </a:lnTo>
                    <a:lnTo>
                      <a:pt x="1914" y="104"/>
                    </a:lnTo>
                    <a:lnTo>
                      <a:pt x="1914" y="104"/>
                    </a:lnTo>
                    <a:lnTo>
                      <a:pt x="1914" y="106"/>
                    </a:lnTo>
                    <a:lnTo>
                      <a:pt x="1914" y="108"/>
                    </a:lnTo>
                    <a:lnTo>
                      <a:pt x="1912" y="112"/>
                    </a:lnTo>
                    <a:lnTo>
                      <a:pt x="1912" y="114"/>
                    </a:lnTo>
                    <a:lnTo>
                      <a:pt x="1912" y="116"/>
                    </a:lnTo>
                    <a:lnTo>
                      <a:pt x="1912" y="118"/>
                    </a:lnTo>
                    <a:lnTo>
                      <a:pt x="1912" y="120"/>
                    </a:lnTo>
                    <a:lnTo>
                      <a:pt x="1912" y="120"/>
                    </a:lnTo>
                    <a:lnTo>
                      <a:pt x="1912" y="122"/>
                    </a:lnTo>
                    <a:lnTo>
                      <a:pt x="1912" y="122"/>
                    </a:lnTo>
                    <a:lnTo>
                      <a:pt x="1912" y="124"/>
                    </a:lnTo>
                    <a:lnTo>
                      <a:pt x="1912" y="124"/>
                    </a:lnTo>
                    <a:lnTo>
                      <a:pt x="1912" y="124"/>
                    </a:lnTo>
                    <a:lnTo>
                      <a:pt x="1912" y="124"/>
                    </a:lnTo>
                    <a:close/>
                    <a:moveTo>
                      <a:pt x="1880" y="222"/>
                    </a:moveTo>
                    <a:lnTo>
                      <a:pt x="1878" y="218"/>
                    </a:lnTo>
                    <a:lnTo>
                      <a:pt x="1878" y="216"/>
                    </a:lnTo>
                    <a:lnTo>
                      <a:pt x="1874" y="210"/>
                    </a:lnTo>
                    <a:lnTo>
                      <a:pt x="1872" y="206"/>
                    </a:lnTo>
                    <a:lnTo>
                      <a:pt x="1872" y="204"/>
                    </a:lnTo>
                    <a:lnTo>
                      <a:pt x="1870" y="202"/>
                    </a:lnTo>
                    <a:lnTo>
                      <a:pt x="1870" y="202"/>
                    </a:lnTo>
                    <a:lnTo>
                      <a:pt x="1870" y="202"/>
                    </a:lnTo>
                    <a:lnTo>
                      <a:pt x="1868" y="198"/>
                    </a:lnTo>
                    <a:lnTo>
                      <a:pt x="1866" y="196"/>
                    </a:lnTo>
                    <a:lnTo>
                      <a:pt x="1864" y="194"/>
                    </a:lnTo>
                    <a:lnTo>
                      <a:pt x="1862" y="192"/>
                    </a:lnTo>
                    <a:lnTo>
                      <a:pt x="1860" y="190"/>
                    </a:lnTo>
                    <a:lnTo>
                      <a:pt x="1858" y="190"/>
                    </a:lnTo>
                    <a:lnTo>
                      <a:pt x="1858" y="190"/>
                    </a:lnTo>
                    <a:lnTo>
                      <a:pt x="1856" y="188"/>
                    </a:lnTo>
                    <a:lnTo>
                      <a:pt x="1856" y="188"/>
                    </a:lnTo>
                    <a:lnTo>
                      <a:pt x="1856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2" y="188"/>
                    </a:lnTo>
                    <a:lnTo>
                      <a:pt x="1850" y="188"/>
                    </a:lnTo>
                    <a:lnTo>
                      <a:pt x="1846" y="190"/>
                    </a:lnTo>
                    <a:lnTo>
                      <a:pt x="1846" y="190"/>
                    </a:lnTo>
                    <a:lnTo>
                      <a:pt x="1844" y="190"/>
                    </a:lnTo>
                    <a:lnTo>
                      <a:pt x="1840" y="192"/>
                    </a:lnTo>
                    <a:lnTo>
                      <a:pt x="1840" y="192"/>
                    </a:lnTo>
                    <a:lnTo>
                      <a:pt x="1840" y="192"/>
                    </a:lnTo>
                    <a:lnTo>
                      <a:pt x="1838" y="192"/>
                    </a:lnTo>
                    <a:lnTo>
                      <a:pt x="1838" y="192"/>
                    </a:lnTo>
                    <a:lnTo>
                      <a:pt x="1838" y="194"/>
                    </a:lnTo>
                    <a:lnTo>
                      <a:pt x="1836" y="194"/>
                    </a:lnTo>
                    <a:lnTo>
                      <a:pt x="1836" y="194"/>
                    </a:lnTo>
                    <a:lnTo>
                      <a:pt x="1836" y="196"/>
                    </a:lnTo>
                    <a:lnTo>
                      <a:pt x="1834" y="198"/>
                    </a:lnTo>
                    <a:lnTo>
                      <a:pt x="1834" y="198"/>
                    </a:lnTo>
                    <a:lnTo>
                      <a:pt x="1834" y="198"/>
                    </a:lnTo>
                    <a:lnTo>
                      <a:pt x="1834" y="200"/>
                    </a:lnTo>
                    <a:lnTo>
                      <a:pt x="1834" y="200"/>
                    </a:lnTo>
                    <a:lnTo>
                      <a:pt x="1834" y="200"/>
                    </a:lnTo>
                    <a:lnTo>
                      <a:pt x="1834" y="206"/>
                    </a:lnTo>
                    <a:lnTo>
                      <a:pt x="1834" y="210"/>
                    </a:lnTo>
                    <a:lnTo>
                      <a:pt x="1834" y="212"/>
                    </a:lnTo>
                    <a:lnTo>
                      <a:pt x="1834" y="212"/>
                    </a:lnTo>
                    <a:lnTo>
                      <a:pt x="1832" y="212"/>
                    </a:lnTo>
                    <a:lnTo>
                      <a:pt x="1830" y="212"/>
                    </a:lnTo>
                    <a:lnTo>
                      <a:pt x="1826" y="214"/>
                    </a:lnTo>
                    <a:lnTo>
                      <a:pt x="1824" y="214"/>
                    </a:lnTo>
                    <a:lnTo>
                      <a:pt x="1822" y="214"/>
                    </a:lnTo>
                    <a:lnTo>
                      <a:pt x="1820" y="214"/>
                    </a:lnTo>
                    <a:lnTo>
                      <a:pt x="1820" y="214"/>
                    </a:lnTo>
                    <a:lnTo>
                      <a:pt x="1818" y="216"/>
                    </a:lnTo>
                    <a:lnTo>
                      <a:pt x="1818" y="216"/>
                    </a:lnTo>
                    <a:lnTo>
                      <a:pt x="1818" y="216"/>
                    </a:lnTo>
                    <a:lnTo>
                      <a:pt x="1818" y="218"/>
                    </a:lnTo>
                    <a:lnTo>
                      <a:pt x="1818" y="218"/>
                    </a:lnTo>
                    <a:lnTo>
                      <a:pt x="1820" y="220"/>
                    </a:lnTo>
                    <a:lnTo>
                      <a:pt x="1820" y="220"/>
                    </a:lnTo>
                    <a:lnTo>
                      <a:pt x="1820" y="220"/>
                    </a:lnTo>
                    <a:lnTo>
                      <a:pt x="1822" y="220"/>
                    </a:lnTo>
                    <a:lnTo>
                      <a:pt x="1824" y="220"/>
                    </a:lnTo>
                    <a:lnTo>
                      <a:pt x="1826" y="220"/>
                    </a:lnTo>
                    <a:lnTo>
                      <a:pt x="1828" y="220"/>
                    </a:lnTo>
                    <a:lnTo>
                      <a:pt x="1834" y="222"/>
                    </a:lnTo>
                    <a:lnTo>
                      <a:pt x="1836" y="222"/>
                    </a:lnTo>
                    <a:lnTo>
                      <a:pt x="1838" y="222"/>
                    </a:lnTo>
                    <a:lnTo>
                      <a:pt x="1840" y="224"/>
                    </a:lnTo>
                    <a:lnTo>
                      <a:pt x="1842" y="224"/>
                    </a:lnTo>
                    <a:lnTo>
                      <a:pt x="1844" y="228"/>
                    </a:lnTo>
                    <a:lnTo>
                      <a:pt x="1848" y="230"/>
                    </a:lnTo>
                    <a:lnTo>
                      <a:pt x="1848" y="230"/>
                    </a:lnTo>
                    <a:lnTo>
                      <a:pt x="1848" y="230"/>
                    </a:lnTo>
                    <a:lnTo>
                      <a:pt x="1850" y="232"/>
                    </a:lnTo>
                    <a:lnTo>
                      <a:pt x="1850" y="232"/>
                    </a:lnTo>
                    <a:lnTo>
                      <a:pt x="1852" y="232"/>
                    </a:lnTo>
                    <a:lnTo>
                      <a:pt x="1854" y="232"/>
                    </a:lnTo>
                    <a:lnTo>
                      <a:pt x="1854" y="232"/>
                    </a:lnTo>
                    <a:lnTo>
                      <a:pt x="1854" y="232"/>
                    </a:lnTo>
                    <a:lnTo>
                      <a:pt x="1856" y="234"/>
                    </a:lnTo>
                    <a:lnTo>
                      <a:pt x="1860" y="234"/>
                    </a:lnTo>
                    <a:lnTo>
                      <a:pt x="1868" y="234"/>
                    </a:lnTo>
                    <a:lnTo>
                      <a:pt x="1872" y="232"/>
                    </a:lnTo>
                    <a:lnTo>
                      <a:pt x="1874" y="232"/>
                    </a:lnTo>
                    <a:lnTo>
                      <a:pt x="1874" y="232"/>
                    </a:lnTo>
                    <a:lnTo>
                      <a:pt x="1876" y="232"/>
                    </a:lnTo>
                    <a:lnTo>
                      <a:pt x="1878" y="232"/>
                    </a:lnTo>
                    <a:lnTo>
                      <a:pt x="1878" y="232"/>
                    </a:lnTo>
                    <a:lnTo>
                      <a:pt x="1878" y="230"/>
                    </a:lnTo>
                    <a:lnTo>
                      <a:pt x="1880" y="230"/>
                    </a:lnTo>
                    <a:lnTo>
                      <a:pt x="1880" y="230"/>
                    </a:lnTo>
                    <a:lnTo>
                      <a:pt x="1880" y="228"/>
                    </a:lnTo>
                    <a:lnTo>
                      <a:pt x="1880" y="226"/>
                    </a:lnTo>
                    <a:lnTo>
                      <a:pt x="1880" y="226"/>
                    </a:lnTo>
                    <a:lnTo>
                      <a:pt x="1880" y="224"/>
                    </a:lnTo>
                    <a:lnTo>
                      <a:pt x="1880" y="222"/>
                    </a:lnTo>
                    <a:lnTo>
                      <a:pt x="1880" y="222"/>
                    </a:lnTo>
                    <a:lnTo>
                      <a:pt x="1880" y="222"/>
                    </a:lnTo>
                    <a:lnTo>
                      <a:pt x="1880" y="222"/>
                    </a:lnTo>
                    <a:close/>
                    <a:moveTo>
                      <a:pt x="2236" y="868"/>
                    </a:moveTo>
                    <a:lnTo>
                      <a:pt x="2236" y="868"/>
                    </a:lnTo>
                    <a:lnTo>
                      <a:pt x="2236" y="868"/>
                    </a:lnTo>
                    <a:lnTo>
                      <a:pt x="2234" y="866"/>
                    </a:lnTo>
                    <a:lnTo>
                      <a:pt x="2234" y="866"/>
                    </a:lnTo>
                    <a:lnTo>
                      <a:pt x="2232" y="864"/>
                    </a:lnTo>
                    <a:lnTo>
                      <a:pt x="2228" y="862"/>
                    </a:lnTo>
                    <a:lnTo>
                      <a:pt x="2226" y="860"/>
                    </a:lnTo>
                    <a:lnTo>
                      <a:pt x="2222" y="860"/>
                    </a:lnTo>
                    <a:lnTo>
                      <a:pt x="2218" y="858"/>
                    </a:lnTo>
                    <a:lnTo>
                      <a:pt x="2214" y="856"/>
                    </a:lnTo>
                    <a:lnTo>
                      <a:pt x="2208" y="856"/>
                    </a:lnTo>
                    <a:lnTo>
                      <a:pt x="2208" y="856"/>
                    </a:lnTo>
                    <a:lnTo>
                      <a:pt x="2206" y="856"/>
                    </a:lnTo>
                    <a:lnTo>
                      <a:pt x="2206" y="856"/>
                    </a:lnTo>
                    <a:lnTo>
                      <a:pt x="2204" y="858"/>
                    </a:lnTo>
                    <a:lnTo>
                      <a:pt x="2204" y="862"/>
                    </a:lnTo>
                    <a:lnTo>
                      <a:pt x="2204" y="864"/>
                    </a:lnTo>
                    <a:lnTo>
                      <a:pt x="2204" y="868"/>
                    </a:lnTo>
                    <a:lnTo>
                      <a:pt x="2204" y="870"/>
                    </a:lnTo>
                    <a:lnTo>
                      <a:pt x="2204" y="872"/>
                    </a:lnTo>
                    <a:lnTo>
                      <a:pt x="2204" y="874"/>
                    </a:lnTo>
                    <a:lnTo>
                      <a:pt x="2204" y="874"/>
                    </a:lnTo>
                    <a:lnTo>
                      <a:pt x="2204" y="876"/>
                    </a:lnTo>
                    <a:lnTo>
                      <a:pt x="2206" y="878"/>
                    </a:lnTo>
                    <a:lnTo>
                      <a:pt x="2206" y="878"/>
                    </a:lnTo>
                    <a:lnTo>
                      <a:pt x="2206" y="878"/>
                    </a:lnTo>
                    <a:lnTo>
                      <a:pt x="2206" y="880"/>
                    </a:lnTo>
                    <a:lnTo>
                      <a:pt x="2208" y="880"/>
                    </a:lnTo>
                    <a:lnTo>
                      <a:pt x="2210" y="882"/>
                    </a:lnTo>
                    <a:lnTo>
                      <a:pt x="2212" y="884"/>
                    </a:lnTo>
                    <a:lnTo>
                      <a:pt x="2212" y="888"/>
                    </a:lnTo>
                    <a:lnTo>
                      <a:pt x="2216" y="892"/>
                    </a:lnTo>
                    <a:lnTo>
                      <a:pt x="2216" y="892"/>
                    </a:lnTo>
                    <a:lnTo>
                      <a:pt x="2218" y="892"/>
                    </a:lnTo>
                    <a:lnTo>
                      <a:pt x="2218" y="892"/>
                    </a:lnTo>
                    <a:lnTo>
                      <a:pt x="2220" y="892"/>
                    </a:lnTo>
                    <a:lnTo>
                      <a:pt x="2224" y="888"/>
                    </a:lnTo>
                    <a:lnTo>
                      <a:pt x="2228" y="886"/>
                    </a:lnTo>
                    <a:lnTo>
                      <a:pt x="2232" y="882"/>
                    </a:lnTo>
                    <a:lnTo>
                      <a:pt x="2234" y="880"/>
                    </a:lnTo>
                    <a:lnTo>
                      <a:pt x="2234" y="880"/>
                    </a:lnTo>
                    <a:lnTo>
                      <a:pt x="2236" y="878"/>
                    </a:lnTo>
                    <a:lnTo>
                      <a:pt x="2236" y="878"/>
                    </a:lnTo>
                    <a:lnTo>
                      <a:pt x="2236" y="876"/>
                    </a:lnTo>
                    <a:lnTo>
                      <a:pt x="2236" y="874"/>
                    </a:lnTo>
                    <a:lnTo>
                      <a:pt x="2236" y="874"/>
                    </a:lnTo>
                    <a:lnTo>
                      <a:pt x="2236" y="874"/>
                    </a:lnTo>
                    <a:lnTo>
                      <a:pt x="2236" y="872"/>
                    </a:lnTo>
                    <a:lnTo>
                      <a:pt x="2236" y="872"/>
                    </a:lnTo>
                    <a:lnTo>
                      <a:pt x="2236" y="870"/>
                    </a:lnTo>
                    <a:lnTo>
                      <a:pt x="2236" y="86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98" name="Freeform 171">
                <a:extLst>
                  <a:ext uri="{FF2B5EF4-FFF2-40B4-BE49-F238E27FC236}">
                    <a16:creationId xmlns:a16="http://schemas.microsoft.com/office/drawing/2014/main" id="{2863D86D-5998-476D-900F-9FDB72038385}"/>
                  </a:ext>
                </a:extLst>
              </p:cNvPr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gray">
              <a:xfrm>
                <a:off x="4225133" y="2794794"/>
                <a:ext cx="330050" cy="323637"/>
              </a:xfrm>
              <a:custGeom>
                <a:avLst/>
                <a:gdLst/>
                <a:ahLst/>
                <a:cxnLst/>
                <a:rect l="l" t="t" r="r" b="b"/>
                <a:pathLst>
                  <a:path w="330050" h="323637">
                    <a:moveTo>
                      <a:pt x="318742" y="280797"/>
                    </a:moveTo>
                    <a:cubicBezTo>
                      <a:pt x="322512" y="280018"/>
                      <a:pt x="327275" y="280404"/>
                      <a:pt x="328069" y="281954"/>
                    </a:cubicBezTo>
                    <a:cubicBezTo>
                      <a:pt x="331241" y="292853"/>
                      <a:pt x="329653" y="303747"/>
                      <a:pt x="329653" y="314646"/>
                    </a:cubicBezTo>
                    <a:cubicBezTo>
                      <a:pt x="325154" y="323205"/>
                      <a:pt x="310605" y="326083"/>
                      <a:pt x="308223" y="321408"/>
                    </a:cubicBezTo>
                    <a:cubicBezTo>
                      <a:pt x="330450" y="318299"/>
                      <a:pt x="312195" y="305301"/>
                      <a:pt x="315368" y="286629"/>
                    </a:cubicBezTo>
                    <a:cubicBezTo>
                      <a:pt x="312194" y="283520"/>
                      <a:pt x="314972" y="281576"/>
                      <a:pt x="318742" y="280797"/>
                    </a:cubicBezTo>
                    <a:close/>
                    <a:moveTo>
                      <a:pt x="177056" y="323"/>
                    </a:moveTo>
                    <a:cubicBezTo>
                      <a:pt x="181620" y="-260"/>
                      <a:pt x="185986" y="-260"/>
                      <a:pt x="189954" y="2071"/>
                    </a:cubicBezTo>
                    <a:cubicBezTo>
                      <a:pt x="205829" y="12950"/>
                      <a:pt x="232817" y="44031"/>
                      <a:pt x="243929" y="61126"/>
                    </a:cubicBezTo>
                    <a:cubicBezTo>
                      <a:pt x="264567" y="73559"/>
                      <a:pt x="293142" y="61126"/>
                      <a:pt x="296317" y="81329"/>
                    </a:cubicBezTo>
                    <a:cubicBezTo>
                      <a:pt x="302667" y="89100"/>
                      <a:pt x="283617" y="98424"/>
                      <a:pt x="282029" y="104640"/>
                    </a:cubicBezTo>
                    <a:cubicBezTo>
                      <a:pt x="280442" y="110857"/>
                      <a:pt x="291554" y="112411"/>
                      <a:pt x="285204" y="123289"/>
                    </a:cubicBezTo>
                    <a:cubicBezTo>
                      <a:pt x="270917" y="127952"/>
                      <a:pt x="239167" y="143492"/>
                      <a:pt x="253454" y="160587"/>
                    </a:cubicBezTo>
                    <a:cubicBezTo>
                      <a:pt x="283617" y="177682"/>
                      <a:pt x="275679" y="168358"/>
                      <a:pt x="277267" y="219642"/>
                    </a:cubicBezTo>
                    <a:cubicBezTo>
                      <a:pt x="302667" y="267819"/>
                      <a:pt x="261392" y="256940"/>
                      <a:pt x="215354" y="258494"/>
                    </a:cubicBezTo>
                    <a:cubicBezTo>
                      <a:pt x="199479" y="256940"/>
                      <a:pt x="193129" y="252278"/>
                      <a:pt x="189954" y="267819"/>
                    </a:cubicBezTo>
                    <a:cubicBezTo>
                      <a:pt x="186779" y="275589"/>
                      <a:pt x="182017" y="281806"/>
                      <a:pt x="177254" y="289576"/>
                    </a:cubicBezTo>
                    <a:cubicBezTo>
                      <a:pt x="172492" y="292684"/>
                      <a:pt x="162967" y="289576"/>
                      <a:pt x="158204" y="286468"/>
                    </a:cubicBezTo>
                    <a:cubicBezTo>
                      <a:pt x="153442" y="283360"/>
                      <a:pt x="156617" y="275589"/>
                      <a:pt x="143917" y="272481"/>
                    </a:cubicBezTo>
                    <a:cubicBezTo>
                      <a:pt x="112167" y="270927"/>
                      <a:pt x="105817" y="274035"/>
                      <a:pt x="85179" y="258494"/>
                    </a:cubicBezTo>
                    <a:cubicBezTo>
                      <a:pt x="66129" y="255386"/>
                      <a:pt x="77242" y="230521"/>
                      <a:pt x="77242" y="214980"/>
                    </a:cubicBezTo>
                    <a:cubicBezTo>
                      <a:pt x="86767" y="210318"/>
                      <a:pt x="89942" y="208764"/>
                      <a:pt x="91529" y="197885"/>
                    </a:cubicBezTo>
                    <a:cubicBezTo>
                      <a:pt x="85179" y="188561"/>
                      <a:pt x="77242" y="183898"/>
                      <a:pt x="72479" y="173020"/>
                    </a:cubicBezTo>
                    <a:cubicBezTo>
                      <a:pt x="64542" y="155925"/>
                      <a:pt x="72479" y="138830"/>
                      <a:pt x="56604" y="127952"/>
                    </a:cubicBezTo>
                    <a:cubicBezTo>
                      <a:pt x="45492" y="126397"/>
                      <a:pt x="32792" y="123289"/>
                      <a:pt x="23267" y="117073"/>
                    </a:cubicBezTo>
                    <a:cubicBezTo>
                      <a:pt x="1042" y="112411"/>
                      <a:pt x="-2133" y="107748"/>
                      <a:pt x="1042" y="84437"/>
                    </a:cubicBezTo>
                    <a:cubicBezTo>
                      <a:pt x="31204" y="79775"/>
                      <a:pt x="28029" y="76667"/>
                      <a:pt x="48667" y="90654"/>
                    </a:cubicBezTo>
                    <a:cubicBezTo>
                      <a:pt x="61367" y="87545"/>
                      <a:pt x="70892" y="87545"/>
                      <a:pt x="75654" y="75113"/>
                    </a:cubicBezTo>
                    <a:cubicBezTo>
                      <a:pt x="70892" y="67342"/>
                      <a:pt x="66129" y="62680"/>
                      <a:pt x="56604" y="58018"/>
                    </a:cubicBezTo>
                    <a:cubicBezTo>
                      <a:pt x="45492" y="56464"/>
                      <a:pt x="43507" y="54133"/>
                      <a:pt x="45492" y="51413"/>
                    </a:cubicBezTo>
                    <a:lnTo>
                      <a:pt x="58192" y="42477"/>
                    </a:lnTo>
                    <a:cubicBezTo>
                      <a:pt x="69304" y="48693"/>
                      <a:pt x="75654" y="56464"/>
                      <a:pt x="85179" y="62680"/>
                    </a:cubicBezTo>
                    <a:cubicBezTo>
                      <a:pt x="148679" y="67342"/>
                      <a:pt x="110579" y="72005"/>
                      <a:pt x="129629" y="47139"/>
                    </a:cubicBezTo>
                    <a:cubicBezTo>
                      <a:pt x="155029" y="33153"/>
                      <a:pt x="132804" y="8287"/>
                      <a:pt x="162967" y="2071"/>
                    </a:cubicBezTo>
                    <a:cubicBezTo>
                      <a:pt x="167729" y="2071"/>
                      <a:pt x="172492" y="906"/>
                      <a:pt x="177056" y="32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799" name="Freeform 172">
                <a:extLst>
                  <a:ext uri="{FF2B5EF4-FFF2-40B4-BE49-F238E27FC236}">
                    <a16:creationId xmlns:a16="http://schemas.microsoft.com/office/drawing/2014/main" id="{A5F546AF-0661-4A41-A2CD-A9FB05F249B9}"/>
                  </a:ext>
                </a:extLst>
              </p:cNvPr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gray">
              <a:xfrm>
                <a:off x="4501784" y="2948030"/>
                <a:ext cx="278077" cy="311019"/>
              </a:xfrm>
              <a:custGeom>
                <a:avLst/>
                <a:gdLst/>
                <a:ahLst/>
                <a:cxnLst/>
                <a:rect l="l" t="t" r="r" b="b"/>
                <a:pathLst>
                  <a:path w="278077" h="311019">
                    <a:moveTo>
                      <a:pt x="42763" y="185722"/>
                    </a:moveTo>
                    <a:cubicBezTo>
                      <a:pt x="50272" y="185101"/>
                      <a:pt x="58295" y="185679"/>
                      <a:pt x="61734" y="188662"/>
                    </a:cubicBezTo>
                    <a:cubicBezTo>
                      <a:pt x="68612" y="194629"/>
                      <a:pt x="66025" y="217687"/>
                      <a:pt x="68150" y="225777"/>
                    </a:cubicBezTo>
                    <a:cubicBezTo>
                      <a:pt x="61802" y="233553"/>
                      <a:pt x="58626" y="239786"/>
                      <a:pt x="55450" y="249118"/>
                    </a:cubicBezTo>
                    <a:cubicBezTo>
                      <a:pt x="48441" y="248550"/>
                      <a:pt x="30843" y="232229"/>
                      <a:pt x="26081" y="222364"/>
                    </a:cubicBezTo>
                    <a:cubicBezTo>
                      <a:pt x="21323" y="212524"/>
                      <a:pt x="21980" y="198485"/>
                      <a:pt x="26874" y="189981"/>
                    </a:cubicBezTo>
                    <a:cubicBezTo>
                      <a:pt x="28258" y="188165"/>
                      <a:pt x="35254" y="186344"/>
                      <a:pt x="42763" y="185722"/>
                    </a:cubicBezTo>
                    <a:close/>
                    <a:moveTo>
                      <a:pt x="34737" y="93844"/>
                    </a:moveTo>
                    <a:lnTo>
                      <a:pt x="12511" y="103195"/>
                    </a:lnTo>
                    <a:lnTo>
                      <a:pt x="22869" y="96731"/>
                    </a:lnTo>
                    <a:cubicBezTo>
                      <a:pt x="27546" y="96686"/>
                      <a:pt x="32592" y="93844"/>
                      <a:pt x="34737" y="93844"/>
                    </a:cubicBezTo>
                    <a:close/>
                    <a:moveTo>
                      <a:pt x="104795" y="94"/>
                    </a:moveTo>
                    <a:cubicBezTo>
                      <a:pt x="113330" y="-297"/>
                      <a:pt x="121268" y="477"/>
                      <a:pt x="126817" y="3589"/>
                    </a:cubicBezTo>
                    <a:cubicBezTo>
                      <a:pt x="145868" y="6716"/>
                      <a:pt x="149043" y="26934"/>
                      <a:pt x="141120" y="42509"/>
                    </a:cubicBezTo>
                    <a:cubicBezTo>
                      <a:pt x="118893" y="50280"/>
                      <a:pt x="125244" y="51828"/>
                      <a:pt x="122069" y="79850"/>
                    </a:cubicBezTo>
                    <a:lnTo>
                      <a:pt x="141120" y="107871"/>
                    </a:lnTo>
                    <a:cubicBezTo>
                      <a:pt x="153820" y="115642"/>
                      <a:pt x="161744" y="128089"/>
                      <a:pt x="168094" y="140536"/>
                    </a:cubicBezTo>
                    <a:cubicBezTo>
                      <a:pt x="176046" y="145212"/>
                      <a:pt x="179222" y="151435"/>
                      <a:pt x="183970" y="159207"/>
                    </a:cubicBezTo>
                    <a:cubicBezTo>
                      <a:pt x="183970" y="159207"/>
                      <a:pt x="203021" y="160755"/>
                      <a:pt x="212547" y="163882"/>
                    </a:cubicBezTo>
                    <a:cubicBezTo>
                      <a:pt x="217324" y="165430"/>
                      <a:pt x="217324" y="173233"/>
                      <a:pt x="222072" y="176329"/>
                    </a:cubicBezTo>
                    <a:cubicBezTo>
                      <a:pt x="234773" y="179457"/>
                      <a:pt x="249075" y="188776"/>
                      <a:pt x="255426" y="199675"/>
                    </a:cubicBezTo>
                    <a:cubicBezTo>
                      <a:pt x="255426" y="199675"/>
                      <a:pt x="274477" y="207446"/>
                      <a:pt x="277652" y="215249"/>
                    </a:cubicBezTo>
                    <a:cubicBezTo>
                      <a:pt x="279225" y="218345"/>
                      <a:pt x="276050" y="219893"/>
                      <a:pt x="274477" y="223021"/>
                    </a:cubicBezTo>
                    <a:cubicBezTo>
                      <a:pt x="256999" y="226117"/>
                      <a:pt x="255426" y="227696"/>
                      <a:pt x="250649" y="209026"/>
                    </a:cubicBezTo>
                    <a:cubicBezTo>
                      <a:pt x="241123" y="204350"/>
                      <a:pt x="236375" y="207446"/>
                      <a:pt x="234773" y="218345"/>
                    </a:cubicBezTo>
                    <a:cubicBezTo>
                      <a:pt x="230024" y="229244"/>
                      <a:pt x="237948" y="230792"/>
                      <a:pt x="244298" y="238564"/>
                    </a:cubicBezTo>
                    <a:cubicBezTo>
                      <a:pt x="239550" y="246367"/>
                      <a:pt x="234773" y="252590"/>
                      <a:pt x="230024" y="260362"/>
                    </a:cubicBezTo>
                    <a:cubicBezTo>
                      <a:pt x="206196" y="274356"/>
                      <a:pt x="214148" y="286835"/>
                      <a:pt x="203021" y="308601"/>
                    </a:cubicBezTo>
                    <a:cubicBezTo>
                      <a:pt x="183970" y="311729"/>
                      <a:pt x="182397" y="313277"/>
                      <a:pt x="168094" y="303926"/>
                    </a:cubicBezTo>
                    <a:cubicBezTo>
                      <a:pt x="158569" y="302378"/>
                      <a:pt x="152219" y="299282"/>
                      <a:pt x="144295" y="294606"/>
                    </a:cubicBezTo>
                    <a:cubicBezTo>
                      <a:pt x="129992" y="291479"/>
                      <a:pt x="129992" y="291479"/>
                      <a:pt x="126817" y="275936"/>
                    </a:cubicBezTo>
                    <a:cubicBezTo>
                      <a:pt x="180795" y="271260"/>
                      <a:pt x="209372" y="289931"/>
                      <a:pt x="212547" y="237016"/>
                    </a:cubicBezTo>
                    <a:cubicBezTo>
                      <a:pt x="210973" y="227696"/>
                      <a:pt x="206196" y="223021"/>
                      <a:pt x="201448" y="215249"/>
                    </a:cubicBezTo>
                    <a:cubicBezTo>
                      <a:pt x="190321" y="213670"/>
                      <a:pt x="193496" y="209026"/>
                      <a:pt x="187145" y="199675"/>
                    </a:cubicBezTo>
                    <a:cubicBezTo>
                      <a:pt x="176046" y="193451"/>
                      <a:pt x="174445" y="182552"/>
                      <a:pt x="163346" y="177877"/>
                    </a:cubicBezTo>
                    <a:cubicBezTo>
                      <a:pt x="147470" y="174781"/>
                      <a:pt x="123642" y="159207"/>
                      <a:pt x="117292" y="145212"/>
                    </a:cubicBezTo>
                    <a:cubicBezTo>
                      <a:pt x="107766" y="137409"/>
                      <a:pt x="106193" y="128089"/>
                      <a:pt x="96667" y="121866"/>
                    </a:cubicBezTo>
                    <a:cubicBezTo>
                      <a:pt x="82365" y="118738"/>
                      <a:pt x="83967" y="112515"/>
                      <a:pt x="82365" y="98520"/>
                    </a:cubicBezTo>
                    <a:cubicBezTo>
                      <a:pt x="76015" y="84525"/>
                      <a:pt x="56964" y="89169"/>
                      <a:pt x="44263" y="87621"/>
                    </a:cubicBezTo>
                    <a:cubicBezTo>
                      <a:pt x="35798" y="88653"/>
                      <a:pt x="29454" y="92463"/>
                      <a:pt x="22869" y="96731"/>
                    </a:cubicBezTo>
                    <a:lnTo>
                      <a:pt x="17288" y="96972"/>
                    </a:lnTo>
                    <a:cubicBezTo>
                      <a:pt x="12511" y="93844"/>
                      <a:pt x="4587" y="82946"/>
                      <a:pt x="1412" y="75174"/>
                    </a:cubicBezTo>
                    <a:cubicBezTo>
                      <a:pt x="-1763" y="67403"/>
                      <a:pt x="1412" y="58052"/>
                      <a:pt x="1412" y="50280"/>
                    </a:cubicBezTo>
                    <a:cubicBezTo>
                      <a:pt x="2986" y="42509"/>
                      <a:pt x="6161" y="36285"/>
                      <a:pt x="7763" y="28482"/>
                    </a:cubicBezTo>
                    <a:cubicBezTo>
                      <a:pt x="17288" y="26934"/>
                      <a:pt x="26814" y="28482"/>
                      <a:pt x="34737" y="22259"/>
                    </a:cubicBezTo>
                    <a:cubicBezTo>
                      <a:pt x="45865" y="17583"/>
                      <a:pt x="63314" y="6716"/>
                      <a:pt x="79190" y="3589"/>
                    </a:cubicBezTo>
                    <a:cubicBezTo>
                      <a:pt x="87128" y="2041"/>
                      <a:pt x="96260" y="485"/>
                      <a:pt x="104795" y="9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800" name="Freeform 56">
                <a:extLst>
                  <a:ext uri="{FF2B5EF4-FFF2-40B4-BE49-F238E27FC236}">
                    <a16:creationId xmlns:a16="http://schemas.microsoft.com/office/drawing/2014/main" id="{F28D6BDC-EB5E-4992-A39B-BDC6CA8EEB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2575" y="4060826"/>
                <a:ext cx="1114425" cy="400050"/>
              </a:xfrm>
              <a:custGeom>
                <a:avLst/>
                <a:gdLst>
                  <a:gd name="T0" fmla="*/ 628 w 702"/>
                  <a:gd name="T1" fmla="*/ 114 h 252"/>
                  <a:gd name="T2" fmla="*/ 576 w 702"/>
                  <a:gd name="T3" fmla="*/ 84 h 252"/>
                  <a:gd name="T4" fmla="*/ 542 w 702"/>
                  <a:gd name="T5" fmla="*/ 106 h 252"/>
                  <a:gd name="T6" fmla="*/ 564 w 702"/>
                  <a:gd name="T7" fmla="*/ 122 h 252"/>
                  <a:gd name="T8" fmla="*/ 574 w 702"/>
                  <a:gd name="T9" fmla="*/ 146 h 252"/>
                  <a:gd name="T10" fmla="*/ 646 w 702"/>
                  <a:gd name="T11" fmla="*/ 212 h 252"/>
                  <a:gd name="T12" fmla="*/ 702 w 702"/>
                  <a:gd name="T13" fmla="*/ 218 h 252"/>
                  <a:gd name="T14" fmla="*/ 32 w 702"/>
                  <a:gd name="T15" fmla="*/ 56 h 252"/>
                  <a:gd name="T16" fmla="*/ 50 w 702"/>
                  <a:gd name="T17" fmla="*/ 80 h 252"/>
                  <a:gd name="T18" fmla="*/ 50 w 702"/>
                  <a:gd name="T19" fmla="*/ 100 h 252"/>
                  <a:gd name="T20" fmla="*/ 74 w 702"/>
                  <a:gd name="T21" fmla="*/ 96 h 252"/>
                  <a:gd name="T22" fmla="*/ 530 w 702"/>
                  <a:gd name="T23" fmla="*/ 222 h 252"/>
                  <a:gd name="T24" fmla="*/ 556 w 702"/>
                  <a:gd name="T25" fmla="*/ 200 h 252"/>
                  <a:gd name="T26" fmla="*/ 274 w 702"/>
                  <a:gd name="T27" fmla="*/ 198 h 252"/>
                  <a:gd name="T28" fmla="*/ 232 w 702"/>
                  <a:gd name="T29" fmla="*/ 182 h 252"/>
                  <a:gd name="T30" fmla="*/ 170 w 702"/>
                  <a:gd name="T31" fmla="*/ 168 h 252"/>
                  <a:gd name="T32" fmla="*/ 196 w 702"/>
                  <a:gd name="T33" fmla="*/ 204 h 252"/>
                  <a:gd name="T34" fmla="*/ 296 w 702"/>
                  <a:gd name="T35" fmla="*/ 208 h 252"/>
                  <a:gd name="T36" fmla="*/ 612 w 702"/>
                  <a:gd name="T37" fmla="*/ 172 h 252"/>
                  <a:gd name="T38" fmla="*/ 206 w 702"/>
                  <a:gd name="T39" fmla="*/ 144 h 252"/>
                  <a:gd name="T40" fmla="*/ 188 w 702"/>
                  <a:gd name="T41" fmla="*/ 122 h 252"/>
                  <a:gd name="T42" fmla="*/ 382 w 702"/>
                  <a:gd name="T43" fmla="*/ 228 h 252"/>
                  <a:gd name="T44" fmla="*/ 388 w 702"/>
                  <a:gd name="T45" fmla="*/ 252 h 252"/>
                  <a:gd name="T46" fmla="*/ 458 w 702"/>
                  <a:gd name="T47" fmla="*/ 208 h 252"/>
                  <a:gd name="T48" fmla="*/ 450 w 702"/>
                  <a:gd name="T49" fmla="*/ 244 h 252"/>
                  <a:gd name="T50" fmla="*/ 224 w 702"/>
                  <a:gd name="T51" fmla="*/ 106 h 252"/>
                  <a:gd name="T52" fmla="*/ 254 w 702"/>
                  <a:gd name="T53" fmla="*/ 138 h 252"/>
                  <a:gd name="T54" fmla="*/ 326 w 702"/>
                  <a:gd name="T55" fmla="*/ 136 h 252"/>
                  <a:gd name="T56" fmla="*/ 352 w 702"/>
                  <a:gd name="T57" fmla="*/ 80 h 252"/>
                  <a:gd name="T58" fmla="*/ 352 w 702"/>
                  <a:gd name="T59" fmla="*/ 54 h 252"/>
                  <a:gd name="T60" fmla="*/ 350 w 702"/>
                  <a:gd name="T61" fmla="*/ 20 h 252"/>
                  <a:gd name="T62" fmla="*/ 262 w 702"/>
                  <a:gd name="T63" fmla="*/ 56 h 252"/>
                  <a:gd name="T64" fmla="*/ 204 w 702"/>
                  <a:gd name="T65" fmla="*/ 66 h 252"/>
                  <a:gd name="T66" fmla="*/ 172 w 702"/>
                  <a:gd name="T67" fmla="*/ 134 h 252"/>
                  <a:gd name="T68" fmla="*/ 182 w 702"/>
                  <a:gd name="T69" fmla="*/ 124 h 252"/>
                  <a:gd name="T70" fmla="*/ 152 w 702"/>
                  <a:gd name="T71" fmla="*/ 114 h 252"/>
                  <a:gd name="T72" fmla="*/ 124 w 702"/>
                  <a:gd name="T73" fmla="*/ 76 h 252"/>
                  <a:gd name="T74" fmla="*/ 34 w 702"/>
                  <a:gd name="T75" fmla="*/ 8 h 252"/>
                  <a:gd name="T76" fmla="*/ 2 w 702"/>
                  <a:gd name="T77" fmla="*/ 14 h 252"/>
                  <a:gd name="T78" fmla="*/ 60 w 702"/>
                  <a:gd name="T79" fmla="*/ 80 h 252"/>
                  <a:gd name="T80" fmla="*/ 158 w 702"/>
                  <a:gd name="T81" fmla="*/ 174 h 252"/>
                  <a:gd name="T82" fmla="*/ 324 w 702"/>
                  <a:gd name="T83" fmla="*/ 208 h 252"/>
                  <a:gd name="T84" fmla="*/ 334 w 702"/>
                  <a:gd name="T85" fmla="*/ 232 h 252"/>
                  <a:gd name="T86" fmla="*/ 442 w 702"/>
                  <a:gd name="T87" fmla="*/ 210 h 252"/>
                  <a:gd name="T88" fmla="*/ 368 w 702"/>
                  <a:gd name="T89" fmla="*/ 138 h 252"/>
                  <a:gd name="T90" fmla="*/ 382 w 702"/>
                  <a:gd name="T91" fmla="*/ 164 h 252"/>
                  <a:gd name="T92" fmla="*/ 388 w 702"/>
                  <a:gd name="T93" fmla="*/ 138 h 252"/>
                  <a:gd name="T94" fmla="*/ 416 w 702"/>
                  <a:gd name="T95" fmla="*/ 172 h 252"/>
                  <a:gd name="T96" fmla="*/ 430 w 702"/>
                  <a:gd name="T97" fmla="*/ 154 h 252"/>
                  <a:gd name="T98" fmla="*/ 404 w 702"/>
                  <a:gd name="T99" fmla="*/ 116 h 252"/>
                  <a:gd name="T100" fmla="*/ 426 w 702"/>
                  <a:gd name="T101" fmla="*/ 96 h 252"/>
                  <a:gd name="T102" fmla="*/ 390 w 702"/>
                  <a:gd name="T103" fmla="*/ 82 h 252"/>
                  <a:gd name="T104" fmla="*/ 454 w 702"/>
                  <a:gd name="T105" fmla="*/ 56 h 252"/>
                  <a:gd name="T106" fmla="*/ 386 w 702"/>
                  <a:gd name="T107" fmla="*/ 76 h 252"/>
                  <a:gd name="T108" fmla="*/ 494 w 702"/>
                  <a:gd name="T109" fmla="*/ 90 h 252"/>
                  <a:gd name="T110" fmla="*/ 508 w 702"/>
                  <a:gd name="T111" fmla="*/ 98 h 252"/>
                  <a:gd name="T112" fmla="*/ 508 w 702"/>
                  <a:gd name="T113" fmla="*/ 58 h 252"/>
                  <a:gd name="T114" fmla="*/ 496 w 702"/>
                  <a:gd name="T115" fmla="*/ 48 h 252"/>
                  <a:gd name="T116" fmla="*/ 494 w 702"/>
                  <a:gd name="T117" fmla="*/ 90 h 252"/>
                  <a:gd name="T118" fmla="*/ 488 w 702"/>
                  <a:gd name="T119" fmla="*/ 156 h 252"/>
                  <a:gd name="T120" fmla="*/ 544 w 702"/>
                  <a:gd name="T121" fmla="*/ 146 h 252"/>
                  <a:gd name="T122" fmla="*/ 528 w 702"/>
                  <a:gd name="T123" fmla="*/ 122 h 252"/>
                  <a:gd name="T124" fmla="*/ 544 w 702"/>
                  <a:gd name="T125" fmla="*/ 146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" h="252">
                    <a:moveTo>
                      <a:pt x="700" y="124"/>
                    </a:moveTo>
                    <a:lnTo>
                      <a:pt x="698" y="124"/>
                    </a:lnTo>
                    <a:lnTo>
                      <a:pt x="700" y="122"/>
                    </a:lnTo>
                    <a:lnTo>
                      <a:pt x="650" y="104"/>
                    </a:lnTo>
                    <a:lnTo>
                      <a:pt x="650" y="104"/>
                    </a:lnTo>
                    <a:lnTo>
                      <a:pt x="648" y="104"/>
                    </a:lnTo>
                    <a:lnTo>
                      <a:pt x="628" y="114"/>
                    </a:lnTo>
                    <a:lnTo>
                      <a:pt x="628" y="114"/>
                    </a:lnTo>
                    <a:lnTo>
                      <a:pt x="628" y="114"/>
                    </a:lnTo>
                    <a:lnTo>
                      <a:pt x="612" y="130"/>
                    </a:lnTo>
                    <a:lnTo>
                      <a:pt x="594" y="114"/>
                    </a:lnTo>
                    <a:lnTo>
                      <a:pt x="594" y="98"/>
                    </a:lnTo>
                    <a:lnTo>
                      <a:pt x="594" y="98"/>
                    </a:lnTo>
                    <a:lnTo>
                      <a:pt x="594" y="96"/>
                    </a:lnTo>
                    <a:lnTo>
                      <a:pt x="576" y="84"/>
                    </a:lnTo>
                    <a:lnTo>
                      <a:pt x="576" y="84"/>
                    </a:lnTo>
                    <a:lnTo>
                      <a:pt x="574" y="84"/>
                    </a:lnTo>
                    <a:lnTo>
                      <a:pt x="564" y="84"/>
                    </a:lnTo>
                    <a:lnTo>
                      <a:pt x="564" y="84"/>
                    </a:lnTo>
                    <a:lnTo>
                      <a:pt x="562" y="86"/>
                    </a:lnTo>
                    <a:lnTo>
                      <a:pt x="542" y="104"/>
                    </a:lnTo>
                    <a:lnTo>
                      <a:pt x="542" y="104"/>
                    </a:lnTo>
                    <a:lnTo>
                      <a:pt x="542" y="106"/>
                    </a:lnTo>
                    <a:lnTo>
                      <a:pt x="542" y="106"/>
                    </a:lnTo>
                    <a:lnTo>
                      <a:pt x="544" y="108"/>
                    </a:lnTo>
                    <a:lnTo>
                      <a:pt x="550" y="108"/>
                    </a:lnTo>
                    <a:lnTo>
                      <a:pt x="562" y="118"/>
                    </a:lnTo>
                    <a:lnTo>
                      <a:pt x="562" y="118"/>
                    </a:lnTo>
                    <a:lnTo>
                      <a:pt x="564" y="120"/>
                    </a:lnTo>
                    <a:lnTo>
                      <a:pt x="584" y="120"/>
                    </a:lnTo>
                    <a:lnTo>
                      <a:pt x="580" y="122"/>
                    </a:lnTo>
                    <a:lnTo>
                      <a:pt x="564" y="122"/>
                    </a:lnTo>
                    <a:lnTo>
                      <a:pt x="564" y="122"/>
                    </a:lnTo>
                    <a:lnTo>
                      <a:pt x="560" y="124"/>
                    </a:lnTo>
                    <a:lnTo>
                      <a:pt x="560" y="124"/>
                    </a:lnTo>
                    <a:lnTo>
                      <a:pt x="562" y="126"/>
                    </a:lnTo>
                    <a:lnTo>
                      <a:pt x="572" y="136"/>
                    </a:lnTo>
                    <a:lnTo>
                      <a:pt x="572" y="144"/>
                    </a:lnTo>
                    <a:lnTo>
                      <a:pt x="572" y="144"/>
                    </a:lnTo>
                    <a:lnTo>
                      <a:pt x="574" y="146"/>
                    </a:lnTo>
                    <a:lnTo>
                      <a:pt x="574" y="146"/>
                    </a:lnTo>
                    <a:lnTo>
                      <a:pt x="576" y="146"/>
                    </a:lnTo>
                    <a:lnTo>
                      <a:pt x="582" y="138"/>
                    </a:lnTo>
                    <a:lnTo>
                      <a:pt x="646" y="172"/>
                    </a:lnTo>
                    <a:lnTo>
                      <a:pt x="656" y="19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6" y="212"/>
                    </a:lnTo>
                    <a:lnTo>
                      <a:pt x="646" y="212"/>
                    </a:lnTo>
                    <a:lnTo>
                      <a:pt x="650" y="214"/>
                    </a:lnTo>
                    <a:lnTo>
                      <a:pt x="678" y="204"/>
                    </a:lnTo>
                    <a:lnTo>
                      <a:pt x="698" y="220"/>
                    </a:lnTo>
                    <a:lnTo>
                      <a:pt x="698" y="220"/>
                    </a:lnTo>
                    <a:lnTo>
                      <a:pt x="700" y="220"/>
                    </a:lnTo>
                    <a:lnTo>
                      <a:pt x="700" y="220"/>
                    </a:lnTo>
                    <a:lnTo>
                      <a:pt x="702" y="218"/>
                    </a:lnTo>
                    <a:lnTo>
                      <a:pt x="702" y="124"/>
                    </a:lnTo>
                    <a:lnTo>
                      <a:pt x="700" y="124"/>
                    </a:lnTo>
                    <a:close/>
                    <a:moveTo>
                      <a:pt x="54" y="80"/>
                    </a:moveTo>
                    <a:lnTo>
                      <a:pt x="54" y="80"/>
                    </a:lnTo>
                    <a:lnTo>
                      <a:pt x="54" y="78"/>
                    </a:lnTo>
                    <a:lnTo>
                      <a:pt x="52" y="7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8"/>
                    </a:lnTo>
                    <a:lnTo>
                      <a:pt x="28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2" y="80"/>
                    </a:lnTo>
                    <a:lnTo>
                      <a:pt x="54" y="80"/>
                    </a:lnTo>
                    <a:lnTo>
                      <a:pt x="54" y="80"/>
                    </a:lnTo>
                    <a:close/>
                    <a:moveTo>
                      <a:pt x="72" y="96"/>
                    </a:moveTo>
                    <a:lnTo>
                      <a:pt x="52" y="96"/>
                    </a:lnTo>
                    <a:lnTo>
                      <a:pt x="52" y="98"/>
                    </a:lnTo>
                    <a:lnTo>
                      <a:pt x="50" y="100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4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4" y="96"/>
                    </a:lnTo>
                    <a:lnTo>
                      <a:pt x="72" y="96"/>
                    </a:lnTo>
                    <a:lnTo>
                      <a:pt x="72" y="96"/>
                    </a:lnTo>
                    <a:close/>
                    <a:moveTo>
                      <a:pt x="552" y="200"/>
                    </a:moveTo>
                    <a:lnTo>
                      <a:pt x="534" y="200"/>
                    </a:lnTo>
                    <a:lnTo>
                      <a:pt x="534" y="200"/>
                    </a:lnTo>
                    <a:lnTo>
                      <a:pt x="532" y="200"/>
                    </a:lnTo>
                    <a:lnTo>
                      <a:pt x="530" y="202"/>
                    </a:lnTo>
                    <a:lnTo>
                      <a:pt x="530" y="222"/>
                    </a:lnTo>
                    <a:lnTo>
                      <a:pt x="534" y="222"/>
                    </a:lnTo>
                    <a:lnTo>
                      <a:pt x="534" y="224"/>
                    </a:lnTo>
                    <a:lnTo>
                      <a:pt x="544" y="224"/>
                    </a:lnTo>
                    <a:lnTo>
                      <a:pt x="544" y="224"/>
                    </a:lnTo>
                    <a:lnTo>
                      <a:pt x="546" y="222"/>
                    </a:lnTo>
                    <a:lnTo>
                      <a:pt x="556" y="204"/>
                    </a:lnTo>
                    <a:lnTo>
                      <a:pt x="556" y="204"/>
                    </a:lnTo>
                    <a:lnTo>
                      <a:pt x="556" y="200"/>
                    </a:lnTo>
                    <a:lnTo>
                      <a:pt x="556" y="200"/>
                    </a:lnTo>
                    <a:lnTo>
                      <a:pt x="552" y="200"/>
                    </a:lnTo>
                    <a:lnTo>
                      <a:pt x="552" y="200"/>
                    </a:lnTo>
                    <a:close/>
                    <a:moveTo>
                      <a:pt x="296" y="200"/>
                    </a:moveTo>
                    <a:lnTo>
                      <a:pt x="296" y="200"/>
                    </a:lnTo>
                    <a:lnTo>
                      <a:pt x="296" y="198"/>
                    </a:lnTo>
                    <a:lnTo>
                      <a:pt x="294" y="198"/>
                    </a:lnTo>
                    <a:lnTo>
                      <a:pt x="274" y="198"/>
                    </a:lnTo>
                    <a:lnTo>
                      <a:pt x="266" y="190"/>
                    </a:lnTo>
                    <a:lnTo>
                      <a:pt x="266" y="190"/>
                    </a:lnTo>
                    <a:lnTo>
                      <a:pt x="266" y="188"/>
                    </a:lnTo>
                    <a:lnTo>
                      <a:pt x="236" y="180"/>
                    </a:lnTo>
                    <a:lnTo>
                      <a:pt x="236" y="180"/>
                    </a:lnTo>
                    <a:lnTo>
                      <a:pt x="234" y="180"/>
                    </a:lnTo>
                    <a:lnTo>
                      <a:pt x="234" y="180"/>
                    </a:lnTo>
                    <a:lnTo>
                      <a:pt x="232" y="182"/>
                    </a:lnTo>
                    <a:lnTo>
                      <a:pt x="232" y="186"/>
                    </a:lnTo>
                    <a:lnTo>
                      <a:pt x="218" y="180"/>
                    </a:lnTo>
                    <a:lnTo>
                      <a:pt x="218" y="180"/>
                    </a:lnTo>
                    <a:lnTo>
                      <a:pt x="218" y="180"/>
                    </a:lnTo>
                    <a:lnTo>
                      <a:pt x="188" y="168"/>
                    </a:lnTo>
                    <a:lnTo>
                      <a:pt x="188" y="168"/>
                    </a:lnTo>
                    <a:lnTo>
                      <a:pt x="188" y="168"/>
                    </a:lnTo>
                    <a:lnTo>
                      <a:pt x="170" y="168"/>
                    </a:lnTo>
                    <a:lnTo>
                      <a:pt x="170" y="168"/>
                    </a:lnTo>
                    <a:lnTo>
                      <a:pt x="168" y="170"/>
                    </a:lnTo>
                    <a:lnTo>
                      <a:pt x="156" y="180"/>
                    </a:lnTo>
                    <a:lnTo>
                      <a:pt x="158" y="182"/>
                    </a:lnTo>
                    <a:lnTo>
                      <a:pt x="158" y="184"/>
                    </a:lnTo>
                    <a:lnTo>
                      <a:pt x="196" y="204"/>
                    </a:lnTo>
                    <a:lnTo>
                      <a:pt x="196" y="204"/>
                    </a:lnTo>
                    <a:lnTo>
                      <a:pt x="196" y="204"/>
                    </a:lnTo>
                    <a:lnTo>
                      <a:pt x="294" y="214"/>
                    </a:lnTo>
                    <a:lnTo>
                      <a:pt x="294" y="214"/>
                    </a:lnTo>
                    <a:lnTo>
                      <a:pt x="296" y="214"/>
                    </a:lnTo>
                    <a:lnTo>
                      <a:pt x="296" y="214"/>
                    </a:lnTo>
                    <a:lnTo>
                      <a:pt x="296" y="214"/>
                    </a:lnTo>
                    <a:lnTo>
                      <a:pt x="318" y="214"/>
                    </a:lnTo>
                    <a:lnTo>
                      <a:pt x="318" y="208"/>
                    </a:lnTo>
                    <a:lnTo>
                      <a:pt x="296" y="208"/>
                    </a:lnTo>
                    <a:lnTo>
                      <a:pt x="296" y="200"/>
                    </a:lnTo>
                    <a:close/>
                    <a:moveTo>
                      <a:pt x="612" y="160"/>
                    </a:moveTo>
                    <a:lnTo>
                      <a:pt x="612" y="160"/>
                    </a:lnTo>
                    <a:lnTo>
                      <a:pt x="608" y="162"/>
                    </a:lnTo>
                    <a:lnTo>
                      <a:pt x="590" y="188"/>
                    </a:lnTo>
                    <a:lnTo>
                      <a:pt x="592" y="190"/>
                    </a:lnTo>
                    <a:lnTo>
                      <a:pt x="594" y="192"/>
                    </a:lnTo>
                    <a:lnTo>
                      <a:pt x="612" y="172"/>
                    </a:lnTo>
                    <a:lnTo>
                      <a:pt x="612" y="172"/>
                    </a:lnTo>
                    <a:lnTo>
                      <a:pt x="614" y="170"/>
                    </a:lnTo>
                    <a:lnTo>
                      <a:pt x="614" y="162"/>
                    </a:lnTo>
                    <a:lnTo>
                      <a:pt x="614" y="162"/>
                    </a:lnTo>
                    <a:lnTo>
                      <a:pt x="612" y="160"/>
                    </a:lnTo>
                    <a:lnTo>
                      <a:pt x="612" y="160"/>
                    </a:lnTo>
                    <a:close/>
                    <a:moveTo>
                      <a:pt x="188" y="144"/>
                    </a:moveTo>
                    <a:lnTo>
                      <a:pt x="206" y="144"/>
                    </a:lnTo>
                    <a:lnTo>
                      <a:pt x="206" y="144"/>
                    </a:lnTo>
                    <a:lnTo>
                      <a:pt x="208" y="144"/>
                    </a:lnTo>
                    <a:lnTo>
                      <a:pt x="210" y="142"/>
                    </a:lnTo>
                    <a:lnTo>
                      <a:pt x="210" y="124"/>
                    </a:lnTo>
                    <a:lnTo>
                      <a:pt x="210" y="124"/>
                    </a:lnTo>
                    <a:lnTo>
                      <a:pt x="208" y="122"/>
                    </a:lnTo>
                    <a:lnTo>
                      <a:pt x="206" y="122"/>
                    </a:lnTo>
                    <a:lnTo>
                      <a:pt x="188" y="122"/>
                    </a:lnTo>
                    <a:lnTo>
                      <a:pt x="188" y="122"/>
                    </a:lnTo>
                    <a:lnTo>
                      <a:pt x="186" y="122"/>
                    </a:lnTo>
                    <a:lnTo>
                      <a:pt x="184" y="124"/>
                    </a:lnTo>
                    <a:lnTo>
                      <a:pt x="184" y="142"/>
                    </a:lnTo>
                    <a:lnTo>
                      <a:pt x="188" y="142"/>
                    </a:lnTo>
                    <a:lnTo>
                      <a:pt x="188" y="144"/>
                    </a:lnTo>
                    <a:close/>
                    <a:moveTo>
                      <a:pt x="382" y="228"/>
                    </a:moveTo>
                    <a:lnTo>
                      <a:pt x="382" y="228"/>
                    </a:lnTo>
                    <a:lnTo>
                      <a:pt x="380" y="228"/>
                    </a:lnTo>
                    <a:lnTo>
                      <a:pt x="360" y="228"/>
                    </a:lnTo>
                    <a:lnTo>
                      <a:pt x="360" y="230"/>
                    </a:lnTo>
                    <a:lnTo>
                      <a:pt x="358" y="232"/>
                    </a:lnTo>
                    <a:lnTo>
                      <a:pt x="378" y="252"/>
                    </a:lnTo>
                    <a:lnTo>
                      <a:pt x="378" y="252"/>
                    </a:lnTo>
                    <a:lnTo>
                      <a:pt x="380" y="252"/>
                    </a:lnTo>
                    <a:lnTo>
                      <a:pt x="388" y="252"/>
                    </a:lnTo>
                    <a:lnTo>
                      <a:pt x="388" y="252"/>
                    </a:lnTo>
                    <a:lnTo>
                      <a:pt x="392" y="250"/>
                    </a:lnTo>
                    <a:lnTo>
                      <a:pt x="392" y="250"/>
                    </a:lnTo>
                    <a:lnTo>
                      <a:pt x="392" y="248"/>
                    </a:lnTo>
                    <a:lnTo>
                      <a:pt x="382" y="228"/>
                    </a:lnTo>
                    <a:close/>
                    <a:moveTo>
                      <a:pt x="486" y="208"/>
                    </a:moveTo>
                    <a:lnTo>
                      <a:pt x="458" y="208"/>
                    </a:lnTo>
                    <a:lnTo>
                      <a:pt x="458" y="208"/>
                    </a:lnTo>
                    <a:lnTo>
                      <a:pt x="454" y="208"/>
                    </a:lnTo>
                    <a:lnTo>
                      <a:pt x="436" y="228"/>
                    </a:lnTo>
                    <a:lnTo>
                      <a:pt x="426" y="240"/>
                    </a:lnTo>
                    <a:lnTo>
                      <a:pt x="428" y="242"/>
                    </a:lnTo>
                    <a:lnTo>
                      <a:pt x="428" y="244"/>
                    </a:lnTo>
                    <a:lnTo>
                      <a:pt x="448" y="244"/>
                    </a:lnTo>
                    <a:lnTo>
                      <a:pt x="448" y="244"/>
                    </a:lnTo>
                    <a:lnTo>
                      <a:pt x="450" y="244"/>
                    </a:lnTo>
                    <a:lnTo>
                      <a:pt x="488" y="214"/>
                    </a:lnTo>
                    <a:lnTo>
                      <a:pt x="488" y="214"/>
                    </a:lnTo>
                    <a:lnTo>
                      <a:pt x="490" y="210"/>
                    </a:lnTo>
                    <a:lnTo>
                      <a:pt x="490" y="210"/>
                    </a:lnTo>
                    <a:lnTo>
                      <a:pt x="486" y="208"/>
                    </a:lnTo>
                    <a:lnTo>
                      <a:pt x="486" y="208"/>
                    </a:lnTo>
                    <a:close/>
                    <a:moveTo>
                      <a:pt x="214" y="88"/>
                    </a:moveTo>
                    <a:lnTo>
                      <a:pt x="224" y="106"/>
                    </a:lnTo>
                    <a:lnTo>
                      <a:pt x="232" y="126"/>
                    </a:lnTo>
                    <a:lnTo>
                      <a:pt x="232" y="126"/>
                    </a:lnTo>
                    <a:lnTo>
                      <a:pt x="236" y="126"/>
                    </a:lnTo>
                    <a:lnTo>
                      <a:pt x="252" y="126"/>
                    </a:lnTo>
                    <a:lnTo>
                      <a:pt x="252" y="134"/>
                    </a:lnTo>
                    <a:lnTo>
                      <a:pt x="252" y="134"/>
                    </a:lnTo>
                    <a:lnTo>
                      <a:pt x="252" y="136"/>
                    </a:lnTo>
                    <a:lnTo>
                      <a:pt x="254" y="138"/>
                    </a:lnTo>
                    <a:lnTo>
                      <a:pt x="294" y="138"/>
                    </a:lnTo>
                    <a:lnTo>
                      <a:pt x="300" y="146"/>
                    </a:lnTo>
                    <a:lnTo>
                      <a:pt x="300" y="146"/>
                    </a:lnTo>
                    <a:lnTo>
                      <a:pt x="300" y="146"/>
                    </a:lnTo>
                    <a:lnTo>
                      <a:pt x="302" y="146"/>
                    </a:lnTo>
                    <a:lnTo>
                      <a:pt x="324" y="136"/>
                    </a:lnTo>
                    <a:lnTo>
                      <a:pt x="324" y="136"/>
                    </a:lnTo>
                    <a:lnTo>
                      <a:pt x="326" y="136"/>
                    </a:lnTo>
                    <a:lnTo>
                      <a:pt x="334" y="116"/>
                    </a:lnTo>
                    <a:lnTo>
                      <a:pt x="334" y="116"/>
                    </a:lnTo>
                    <a:lnTo>
                      <a:pt x="334" y="114"/>
                    </a:lnTo>
                    <a:lnTo>
                      <a:pt x="334" y="114"/>
                    </a:lnTo>
                    <a:lnTo>
                      <a:pt x="332" y="112"/>
                    </a:lnTo>
                    <a:lnTo>
                      <a:pt x="328" y="112"/>
                    </a:lnTo>
                    <a:lnTo>
                      <a:pt x="334" y="98"/>
                    </a:lnTo>
                    <a:lnTo>
                      <a:pt x="352" y="80"/>
                    </a:lnTo>
                    <a:lnTo>
                      <a:pt x="362" y="70"/>
                    </a:lnTo>
                    <a:lnTo>
                      <a:pt x="362" y="70"/>
                    </a:lnTo>
                    <a:lnTo>
                      <a:pt x="362" y="68"/>
                    </a:lnTo>
                    <a:lnTo>
                      <a:pt x="362" y="68"/>
                    </a:lnTo>
                    <a:lnTo>
                      <a:pt x="362" y="66"/>
                    </a:lnTo>
                    <a:lnTo>
                      <a:pt x="348" y="58"/>
                    </a:lnTo>
                    <a:lnTo>
                      <a:pt x="352" y="54"/>
                    </a:lnTo>
                    <a:lnTo>
                      <a:pt x="352" y="54"/>
                    </a:lnTo>
                    <a:lnTo>
                      <a:pt x="354" y="52"/>
                    </a:lnTo>
                    <a:lnTo>
                      <a:pt x="352" y="50"/>
                    </a:lnTo>
                    <a:lnTo>
                      <a:pt x="346" y="40"/>
                    </a:lnTo>
                    <a:lnTo>
                      <a:pt x="354" y="24"/>
                    </a:lnTo>
                    <a:lnTo>
                      <a:pt x="354" y="24"/>
                    </a:lnTo>
                    <a:lnTo>
                      <a:pt x="352" y="20"/>
                    </a:lnTo>
                    <a:lnTo>
                      <a:pt x="352" y="20"/>
                    </a:lnTo>
                    <a:lnTo>
                      <a:pt x="350" y="20"/>
                    </a:lnTo>
                    <a:lnTo>
                      <a:pt x="324" y="20"/>
                    </a:lnTo>
                    <a:lnTo>
                      <a:pt x="324" y="20"/>
                    </a:lnTo>
                    <a:lnTo>
                      <a:pt x="320" y="20"/>
                    </a:lnTo>
                    <a:lnTo>
                      <a:pt x="292" y="56"/>
                    </a:lnTo>
                    <a:lnTo>
                      <a:pt x="284" y="64"/>
                    </a:lnTo>
                    <a:lnTo>
                      <a:pt x="266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2" y="66"/>
                    </a:lnTo>
                    <a:lnTo>
                      <a:pt x="236" y="66"/>
                    </a:lnTo>
                    <a:lnTo>
                      <a:pt x="218" y="56"/>
                    </a:lnTo>
                    <a:lnTo>
                      <a:pt x="218" y="58"/>
                    </a:lnTo>
                    <a:lnTo>
                      <a:pt x="218" y="58"/>
                    </a:lnTo>
                    <a:lnTo>
                      <a:pt x="218" y="58"/>
                    </a:lnTo>
                    <a:lnTo>
                      <a:pt x="216" y="56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8"/>
                    </a:lnTo>
                    <a:lnTo>
                      <a:pt x="204" y="70"/>
                    </a:lnTo>
                    <a:lnTo>
                      <a:pt x="214" y="88"/>
                    </a:lnTo>
                    <a:close/>
                    <a:moveTo>
                      <a:pt x="160" y="172"/>
                    </a:moveTo>
                    <a:lnTo>
                      <a:pt x="172" y="136"/>
                    </a:lnTo>
                    <a:lnTo>
                      <a:pt x="172" y="136"/>
                    </a:lnTo>
                    <a:lnTo>
                      <a:pt x="172" y="134"/>
                    </a:lnTo>
                    <a:lnTo>
                      <a:pt x="168" y="128"/>
                    </a:lnTo>
                    <a:lnTo>
                      <a:pt x="176" y="136"/>
                    </a:lnTo>
                    <a:lnTo>
                      <a:pt x="176" y="136"/>
                    </a:lnTo>
                    <a:lnTo>
                      <a:pt x="180" y="138"/>
                    </a:lnTo>
                    <a:lnTo>
                      <a:pt x="180" y="138"/>
                    </a:lnTo>
                    <a:lnTo>
                      <a:pt x="182" y="134"/>
                    </a:lnTo>
                    <a:lnTo>
                      <a:pt x="182" y="124"/>
                    </a:lnTo>
                    <a:lnTo>
                      <a:pt x="182" y="124"/>
                    </a:lnTo>
                    <a:lnTo>
                      <a:pt x="182" y="122"/>
                    </a:lnTo>
                    <a:lnTo>
                      <a:pt x="172" y="104"/>
                    </a:lnTo>
                    <a:lnTo>
                      <a:pt x="172" y="104"/>
                    </a:lnTo>
                    <a:lnTo>
                      <a:pt x="168" y="102"/>
                    </a:lnTo>
                    <a:lnTo>
                      <a:pt x="168" y="102"/>
                    </a:lnTo>
                    <a:lnTo>
                      <a:pt x="166" y="104"/>
                    </a:lnTo>
                    <a:lnTo>
                      <a:pt x="156" y="114"/>
                    </a:lnTo>
                    <a:lnTo>
                      <a:pt x="152" y="114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40" y="94"/>
                    </a:lnTo>
                    <a:lnTo>
                      <a:pt x="134" y="94"/>
                    </a:lnTo>
                    <a:lnTo>
                      <a:pt x="134" y="88"/>
                    </a:lnTo>
                    <a:lnTo>
                      <a:pt x="134" y="88"/>
                    </a:lnTo>
                    <a:lnTo>
                      <a:pt x="134" y="84"/>
                    </a:lnTo>
                    <a:lnTo>
                      <a:pt x="124" y="76"/>
                    </a:lnTo>
                    <a:lnTo>
                      <a:pt x="124" y="68"/>
                    </a:lnTo>
                    <a:lnTo>
                      <a:pt x="124" y="68"/>
                    </a:lnTo>
                    <a:lnTo>
                      <a:pt x="122" y="66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2" y="48"/>
                    </a:lnTo>
                    <a:lnTo>
                      <a:pt x="82" y="4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4" y="3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2" y="54"/>
                    </a:lnTo>
                    <a:lnTo>
                      <a:pt x="52" y="60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0"/>
                    </a:lnTo>
                    <a:lnTo>
                      <a:pt x="78" y="100"/>
                    </a:lnTo>
                    <a:lnTo>
                      <a:pt x="100" y="136"/>
                    </a:lnTo>
                    <a:lnTo>
                      <a:pt x="100" y="136"/>
                    </a:lnTo>
                    <a:lnTo>
                      <a:pt x="100" y="138"/>
                    </a:lnTo>
                    <a:lnTo>
                      <a:pt x="138" y="174"/>
                    </a:lnTo>
                    <a:lnTo>
                      <a:pt x="138" y="174"/>
                    </a:lnTo>
                    <a:lnTo>
                      <a:pt x="140" y="174"/>
                    </a:lnTo>
                    <a:lnTo>
                      <a:pt x="158" y="174"/>
                    </a:lnTo>
                    <a:lnTo>
                      <a:pt x="158" y="174"/>
                    </a:lnTo>
                    <a:lnTo>
                      <a:pt x="160" y="172"/>
                    </a:lnTo>
                    <a:lnTo>
                      <a:pt x="160" y="172"/>
                    </a:lnTo>
                    <a:close/>
                    <a:moveTo>
                      <a:pt x="442" y="210"/>
                    </a:moveTo>
                    <a:lnTo>
                      <a:pt x="442" y="210"/>
                    </a:lnTo>
                    <a:lnTo>
                      <a:pt x="440" y="208"/>
                    </a:lnTo>
                    <a:lnTo>
                      <a:pt x="324" y="208"/>
                    </a:lnTo>
                    <a:lnTo>
                      <a:pt x="324" y="208"/>
                    </a:lnTo>
                    <a:lnTo>
                      <a:pt x="322" y="208"/>
                    </a:lnTo>
                    <a:lnTo>
                      <a:pt x="320" y="210"/>
                    </a:lnTo>
                    <a:lnTo>
                      <a:pt x="320" y="230"/>
                    </a:lnTo>
                    <a:lnTo>
                      <a:pt x="324" y="230"/>
                    </a:lnTo>
                    <a:lnTo>
                      <a:pt x="324" y="232"/>
                    </a:lnTo>
                    <a:lnTo>
                      <a:pt x="332" y="232"/>
                    </a:lnTo>
                    <a:lnTo>
                      <a:pt x="332" y="232"/>
                    </a:lnTo>
                    <a:lnTo>
                      <a:pt x="334" y="232"/>
                    </a:lnTo>
                    <a:lnTo>
                      <a:pt x="372" y="214"/>
                    </a:lnTo>
                    <a:lnTo>
                      <a:pt x="410" y="232"/>
                    </a:lnTo>
                    <a:lnTo>
                      <a:pt x="410" y="232"/>
                    </a:lnTo>
                    <a:lnTo>
                      <a:pt x="412" y="232"/>
                    </a:lnTo>
                    <a:lnTo>
                      <a:pt x="442" y="214"/>
                    </a:lnTo>
                    <a:lnTo>
                      <a:pt x="442" y="214"/>
                    </a:lnTo>
                    <a:lnTo>
                      <a:pt x="442" y="210"/>
                    </a:lnTo>
                    <a:lnTo>
                      <a:pt x="442" y="210"/>
                    </a:lnTo>
                    <a:close/>
                    <a:moveTo>
                      <a:pt x="360" y="124"/>
                    </a:moveTo>
                    <a:lnTo>
                      <a:pt x="360" y="124"/>
                    </a:lnTo>
                    <a:lnTo>
                      <a:pt x="358" y="124"/>
                    </a:lnTo>
                    <a:lnTo>
                      <a:pt x="358" y="136"/>
                    </a:lnTo>
                    <a:lnTo>
                      <a:pt x="358" y="136"/>
                    </a:lnTo>
                    <a:lnTo>
                      <a:pt x="358" y="138"/>
                    </a:lnTo>
                    <a:lnTo>
                      <a:pt x="360" y="138"/>
                    </a:lnTo>
                    <a:lnTo>
                      <a:pt x="368" y="138"/>
                    </a:lnTo>
                    <a:lnTo>
                      <a:pt x="368" y="172"/>
                    </a:lnTo>
                    <a:lnTo>
                      <a:pt x="368" y="172"/>
                    </a:lnTo>
                    <a:lnTo>
                      <a:pt x="370" y="174"/>
                    </a:lnTo>
                    <a:lnTo>
                      <a:pt x="370" y="174"/>
                    </a:lnTo>
                    <a:lnTo>
                      <a:pt x="374" y="174"/>
                    </a:lnTo>
                    <a:lnTo>
                      <a:pt x="382" y="166"/>
                    </a:lnTo>
                    <a:lnTo>
                      <a:pt x="382" y="166"/>
                    </a:lnTo>
                    <a:lnTo>
                      <a:pt x="382" y="164"/>
                    </a:lnTo>
                    <a:lnTo>
                      <a:pt x="382" y="136"/>
                    </a:lnTo>
                    <a:lnTo>
                      <a:pt x="390" y="128"/>
                    </a:lnTo>
                    <a:lnTo>
                      <a:pt x="392" y="128"/>
                    </a:lnTo>
                    <a:lnTo>
                      <a:pt x="388" y="134"/>
                    </a:lnTo>
                    <a:lnTo>
                      <a:pt x="388" y="134"/>
                    </a:lnTo>
                    <a:lnTo>
                      <a:pt x="386" y="136"/>
                    </a:lnTo>
                    <a:lnTo>
                      <a:pt x="386" y="136"/>
                    </a:lnTo>
                    <a:lnTo>
                      <a:pt x="388" y="138"/>
                    </a:lnTo>
                    <a:lnTo>
                      <a:pt x="398" y="146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6"/>
                    </a:lnTo>
                    <a:lnTo>
                      <a:pt x="400" y="156"/>
                    </a:lnTo>
                    <a:lnTo>
                      <a:pt x="416" y="156"/>
                    </a:lnTo>
                    <a:lnTo>
                      <a:pt x="416" y="172"/>
                    </a:lnTo>
                    <a:lnTo>
                      <a:pt x="416" y="172"/>
                    </a:lnTo>
                    <a:lnTo>
                      <a:pt x="418" y="174"/>
                    </a:lnTo>
                    <a:lnTo>
                      <a:pt x="418" y="174"/>
                    </a:lnTo>
                    <a:lnTo>
                      <a:pt x="420" y="174"/>
                    </a:lnTo>
                    <a:lnTo>
                      <a:pt x="428" y="166"/>
                    </a:lnTo>
                    <a:lnTo>
                      <a:pt x="428" y="166"/>
                    </a:lnTo>
                    <a:lnTo>
                      <a:pt x="430" y="164"/>
                    </a:lnTo>
                    <a:lnTo>
                      <a:pt x="430" y="154"/>
                    </a:lnTo>
                    <a:lnTo>
                      <a:pt x="430" y="154"/>
                    </a:lnTo>
                    <a:lnTo>
                      <a:pt x="428" y="152"/>
                    </a:lnTo>
                    <a:lnTo>
                      <a:pt x="416" y="138"/>
                    </a:lnTo>
                    <a:lnTo>
                      <a:pt x="418" y="138"/>
                    </a:lnTo>
                    <a:lnTo>
                      <a:pt x="418" y="138"/>
                    </a:lnTo>
                    <a:lnTo>
                      <a:pt x="422" y="136"/>
                    </a:lnTo>
                    <a:lnTo>
                      <a:pt x="422" y="136"/>
                    </a:lnTo>
                    <a:lnTo>
                      <a:pt x="420" y="134"/>
                    </a:lnTo>
                    <a:lnTo>
                      <a:pt x="404" y="116"/>
                    </a:lnTo>
                    <a:lnTo>
                      <a:pt x="418" y="102"/>
                    </a:lnTo>
                    <a:lnTo>
                      <a:pt x="428" y="100"/>
                    </a:lnTo>
                    <a:lnTo>
                      <a:pt x="428" y="100"/>
                    </a:lnTo>
                    <a:lnTo>
                      <a:pt x="430" y="100"/>
                    </a:lnTo>
                    <a:lnTo>
                      <a:pt x="430" y="98"/>
                    </a:lnTo>
                    <a:lnTo>
                      <a:pt x="430" y="98"/>
                    </a:lnTo>
                    <a:lnTo>
                      <a:pt x="428" y="96"/>
                    </a:lnTo>
                    <a:lnTo>
                      <a:pt x="426" y="96"/>
                    </a:lnTo>
                    <a:lnTo>
                      <a:pt x="418" y="96"/>
                    </a:lnTo>
                    <a:lnTo>
                      <a:pt x="418" y="96"/>
                    </a:lnTo>
                    <a:lnTo>
                      <a:pt x="416" y="96"/>
                    </a:lnTo>
                    <a:lnTo>
                      <a:pt x="414" y="98"/>
                    </a:lnTo>
                    <a:lnTo>
                      <a:pt x="390" y="104"/>
                    </a:lnTo>
                    <a:lnTo>
                      <a:pt x="382" y="96"/>
                    </a:lnTo>
                    <a:lnTo>
                      <a:pt x="382" y="88"/>
                    </a:lnTo>
                    <a:lnTo>
                      <a:pt x="390" y="82"/>
                    </a:lnTo>
                    <a:lnTo>
                      <a:pt x="448" y="82"/>
                    </a:lnTo>
                    <a:lnTo>
                      <a:pt x="448" y="82"/>
                    </a:lnTo>
                    <a:lnTo>
                      <a:pt x="450" y="80"/>
                    </a:lnTo>
                    <a:lnTo>
                      <a:pt x="458" y="60"/>
                    </a:lnTo>
                    <a:lnTo>
                      <a:pt x="458" y="60"/>
                    </a:lnTo>
                    <a:lnTo>
                      <a:pt x="458" y="56"/>
                    </a:lnTo>
                    <a:lnTo>
                      <a:pt x="458" y="56"/>
                    </a:lnTo>
                    <a:lnTo>
                      <a:pt x="454" y="56"/>
                    </a:lnTo>
                    <a:lnTo>
                      <a:pt x="436" y="66"/>
                    </a:lnTo>
                    <a:lnTo>
                      <a:pt x="418" y="76"/>
                    </a:lnTo>
                    <a:lnTo>
                      <a:pt x="390" y="66"/>
                    </a:lnTo>
                    <a:lnTo>
                      <a:pt x="390" y="66"/>
                    </a:lnTo>
                    <a:lnTo>
                      <a:pt x="388" y="66"/>
                    </a:lnTo>
                    <a:lnTo>
                      <a:pt x="388" y="66"/>
                    </a:lnTo>
                    <a:lnTo>
                      <a:pt x="386" y="68"/>
                    </a:lnTo>
                    <a:lnTo>
                      <a:pt x="386" y="76"/>
                    </a:lnTo>
                    <a:lnTo>
                      <a:pt x="380" y="76"/>
                    </a:lnTo>
                    <a:lnTo>
                      <a:pt x="380" y="76"/>
                    </a:lnTo>
                    <a:lnTo>
                      <a:pt x="378" y="76"/>
                    </a:lnTo>
                    <a:lnTo>
                      <a:pt x="378" y="78"/>
                    </a:lnTo>
                    <a:lnTo>
                      <a:pt x="378" y="98"/>
                    </a:lnTo>
                    <a:lnTo>
                      <a:pt x="358" y="124"/>
                    </a:lnTo>
                    <a:lnTo>
                      <a:pt x="360" y="124"/>
                    </a:lnTo>
                    <a:close/>
                    <a:moveTo>
                      <a:pt x="494" y="90"/>
                    </a:moveTo>
                    <a:lnTo>
                      <a:pt x="494" y="90"/>
                    </a:lnTo>
                    <a:lnTo>
                      <a:pt x="494" y="90"/>
                    </a:lnTo>
                    <a:lnTo>
                      <a:pt x="504" y="100"/>
                    </a:lnTo>
                    <a:lnTo>
                      <a:pt x="504" y="100"/>
                    </a:lnTo>
                    <a:lnTo>
                      <a:pt x="506" y="102"/>
                    </a:lnTo>
                    <a:lnTo>
                      <a:pt x="508" y="100"/>
                    </a:lnTo>
                    <a:lnTo>
                      <a:pt x="508" y="100"/>
                    </a:lnTo>
                    <a:lnTo>
                      <a:pt x="508" y="98"/>
                    </a:lnTo>
                    <a:lnTo>
                      <a:pt x="508" y="96"/>
                    </a:lnTo>
                    <a:lnTo>
                      <a:pt x="500" y="86"/>
                    </a:lnTo>
                    <a:lnTo>
                      <a:pt x="500" y="82"/>
                    </a:lnTo>
                    <a:lnTo>
                      <a:pt x="506" y="82"/>
                    </a:lnTo>
                    <a:lnTo>
                      <a:pt x="506" y="82"/>
                    </a:lnTo>
                    <a:lnTo>
                      <a:pt x="508" y="80"/>
                    </a:lnTo>
                    <a:lnTo>
                      <a:pt x="508" y="78"/>
                    </a:lnTo>
                    <a:lnTo>
                      <a:pt x="508" y="58"/>
                    </a:lnTo>
                    <a:lnTo>
                      <a:pt x="508" y="58"/>
                    </a:lnTo>
                    <a:lnTo>
                      <a:pt x="508" y="56"/>
                    </a:lnTo>
                    <a:lnTo>
                      <a:pt x="506" y="56"/>
                    </a:lnTo>
                    <a:lnTo>
                      <a:pt x="504" y="56"/>
                    </a:lnTo>
                    <a:lnTo>
                      <a:pt x="504" y="58"/>
                    </a:lnTo>
                    <a:lnTo>
                      <a:pt x="498" y="50"/>
                    </a:lnTo>
                    <a:lnTo>
                      <a:pt x="498" y="50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4" y="50"/>
                    </a:lnTo>
                    <a:lnTo>
                      <a:pt x="484" y="68"/>
                    </a:lnTo>
                    <a:lnTo>
                      <a:pt x="486" y="70"/>
                    </a:lnTo>
                    <a:lnTo>
                      <a:pt x="486" y="70"/>
                    </a:lnTo>
                    <a:lnTo>
                      <a:pt x="486" y="70"/>
                    </a:lnTo>
                    <a:lnTo>
                      <a:pt x="484" y="70"/>
                    </a:lnTo>
                    <a:lnTo>
                      <a:pt x="494" y="90"/>
                    </a:lnTo>
                    <a:close/>
                    <a:moveTo>
                      <a:pt x="486" y="132"/>
                    </a:moveTo>
                    <a:lnTo>
                      <a:pt x="468" y="132"/>
                    </a:lnTo>
                    <a:lnTo>
                      <a:pt x="468" y="136"/>
                    </a:lnTo>
                    <a:lnTo>
                      <a:pt x="466" y="138"/>
                    </a:lnTo>
                    <a:lnTo>
                      <a:pt x="484" y="156"/>
                    </a:lnTo>
                    <a:lnTo>
                      <a:pt x="484" y="156"/>
                    </a:lnTo>
                    <a:lnTo>
                      <a:pt x="488" y="156"/>
                    </a:lnTo>
                    <a:lnTo>
                      <a:pt x="488" y="156"/>
                    </a:lnTo>
                    <a:lnTo>
                      <a:pt x="490" y="154"/>
                    </a:lnTo>
                    <a:lnTo>
                      <a:pt x="490" y="136"/>
                    </a:lnTo>
                    <a:lnTo>
                      <a:pt x="490" y="136"/>
                    </a:lnTo>
                    <a:lnTo>
                      <a:pt x="488" y="134"/>
                    </a:lnTo>
                    <a:lnTo>
                      <a:pt x="486" y="132"/>
                    </a:lnTo>
                    <a:lnTo>
                      <a:pt x="486" y="132"/>
                    </a:lnTo>
                    <a:close/>
                    <a:moveTo>
                      <a:pt x="544" y="146"/>
                    </a:move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44"/>
                    </a:lnTo>
                    <a:lnTo>
                      <a:pt x="546" y="144"/>
                    </a:lnTo>
                    <a:lnTo>
                      <a:pt x="548" y="142"/>
                    </a:lnTo>
                    <a:lnTo>
                      <a:pt x="546" y="142"/>
                    </a:lnTo>
                    <a:lnTo>
                      <a:pt x="536" y="132"/>
                    </a:lnTo>
                    <a:lnTo>
                      <a:pt x="528" y="122"/>
                    </a:lnTo>
                    <a:lnTo>
                      <a:pt x="528" y="122"/>
                    </a:lnTo>
                    <a:lnTo>
                      <a:pt x="524" y="122"/>
                    </a:lnTo>
                    <a:lnTo>
                      <a:pt x="504" y="122"/>
                    </a:lnTo>
                    <a:lnTo>
                      <a:pt x="504" y="122"/>
                    </a:lnTo>
                    <a:lnTo>
                      <a:pt x="500" y="122"/>
                    </a:lnTo>
                    <a:lnTo>
                      <a:pt x="492" y="132"/>
                    </a:lnTo>
                    <a:lnTo>
                      <a:pt x="494" y="134"/>
                    </a:lnTo>
                    <a:lnTo>
                      <a:pt x="494" y="138"/>
                    </a:lnTo>
                    <a:lnTo>
                      <a:pt x="544" y="14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626" name="Freeform 280">
              <a:extLst>
                <a:ext uri="{FF2B5EF4-FFF2-40B4-BE49-F238E27FC236}">
                  <a16:creationId xmlns:a16="http://schemas.microsoft.com/office/drawing/2014/main" id="{E529DCF8-DA1D-486D-9EA1-7B9EADA5E552}"/>
                </a:ext>
              </a:extLst>
            </p:cNvPr>
            <p:cNvSpPr/>
            <p:nvPr/>
          </p:nvSpPr>
          <p:spPr>
            <a:xfrm>
              <a:off x="4161615" y="2301874"/>
              <a:ext cx="30973" cy="49473"/>
            </a:xfrm>
            <a:custGeom>
              <a:avLst/>
              <a:gdLst>
                <a:gd name="connsiteX0" fmla="*/ 0 w 45244"/>
                <a:gd name="connsiteY0" fmla="*/ 23812 h 23812"/>
                <a:gd name="connsiteX1" fmla="*/ 45244 w 45244"/>
                <a:gd name="connsiteY1" fmla="*/ 0 h 23812"/>
                <a:gd name="connsiteX2" fmla="*/ 0 w 45244"/>
                <a:gd name="connsiteY2" fmla="*/ 23812 h 23812"/>
                <a:gd name="connsiteX0" fmla="*/ 0 w 23813"/>
                <a:gd name="connsiteY0" fmla="*/ 0 h 33338"/>
                <a:gd name="connsiteX1" fmla="*/ 23813 w 23813"/>
                <a:gd name="connsiteY1" fmla="*/ 33338 h 33338"/>
                <a:gd name="connsiteX2" fmla="*/ 0 w 23813"/>
                <a:gd name="connsiteY2" fmla="*/ 0 h 33338"/>
                <a:gd name="connsiteX0" fmla="*/ 0 w 35942"/>
                <a:gd name="connsiteY0" fmla="*/ 1209 h 55714"/>
                <a:gd name="connsiteX1" fmla="*/ 23813 w 35942"/>
                <a:gd name="connsiteY1" fmla="*/ 34547 h 55714"/>
                <a:gd name="connsiteX2" fmla="*/ 0 w 35942"/>
                <a:gd name="connsiteY2" fmla="*/ 1209 h 55714"/>
                <a:gd name="connsiteX0" fmla="*/ 262 w 24331"/>
                <a:gd name="connsiteY0" fmla="*/ 11 h 35874"/>
                <a:gd name="connsiteX1" fmla="*/ 24075 w 24331"/>
                <a:gd name="connsiteY1" fmla="*/ 33349 h 35874"/>
                <a:gd name="connsiteX2" fmla="*/ 12116 w 24331"/>
                <a:gd name="connsiteY2" fmla="*/ 29784 h 35874"/>
                <a:gd name="connsiteX3" fmla="*/ 262 w 24331"/>
                <a:gd name="connsiteY3" fmla="*/ 11 h 35874"/>
                <a:gd name="connsiteX0" fmla="*/ 639 w 34065"/>
                <a:gd name="connsiteY0" fmla="*/ 1389 h 36767"/>
                <a:gd name="connsiteX1" fmla="*/ 33087 w 34065"/>
                <a:gd name="connsiteY1" fmla="*/ 7946 h 36767"/>
                <a:gd name="connsiteX2" fmla="*/ 24452 w 34065"/>
                <a:gd name="connsiteY2" fmla="*/ 34727 h 36767"/>
                <a:gd name="connsiteX3" fmla="*/ 12493 w 34065"/>
                <a:gd name="connsiteY3" fmla="*/ 31162 h 36767"/>
                <a:gd name="connsiteX4" fmla="*/ 639 w 34065"/>
                <a:gd name="connsiteY4" fmla="*/ 1389 h 36767"/>
                <a:gd name="connsiteX0" fmla="*/ 639 w 35387"/>
                <a:gd name="connsiteY0" fmla="*/ 1389 h 44263"/>
                <a:gd name="connsiteX1" fmla="*/ 33087 w 35387"/>
                <a:gd name="connsiteY1" fmla="*/ 7946 h 44263"/>
                <a:gd name="connsiteX2" fmla="*/ 31940 w 35387"/>
                <a:gd name="connsiteY2" fmla="*/ 43432 h 44263"/>
                <a:gd name="connsiteX3" fmla="*/ 12493 w 35387"/>
                <a:gd name="connsiteY3" fmla="*/ 31162 h 44263"/>
                <a:gd name="connsiteX4" fmla="*/ 639 w 35387"/>
                <a:gd name="connsiteY4" fmla="*/ 1389 h 44263"/>
                <a:gd name="connsiteX0" fmla="*/ 639 w 35118"/>
                <a:gd name="connsiteY0" fmla="*/ 1389 h 60290"/>
                <a:gd name="connsiteX1" fmla="*/ 33087 w 35118"/>
                <a:gd name="connsiteY1" fmla="*/ 7946 h 60290"/>
                <a:gd name="connsiteX2" fmla="*/ 31940 w 35118"/>
                <a:gd name="connsiteY2" fmla="*/ 43432 h 60290"/>
                <a:gd name="connsiteX3" fmla="*/ 18293 w 35118"/>
                <a:gd name="connsiteY3" fmla="*/ 60021 h 60290"/>
                <a:gd name="connsiteX4" fmla="*/ 12493 w 35118"/>
                <a:gd name="connsiteY4" fmla="*/ 31162 h 60290"/>
                <a:gd name="connsiteX5" fmla="*/ 639 w 35118"/>
                <a:gd name="connsiteY5" fmla="*/ 1389 h 60290"/>
                <a:gd name="connsiteX0" fmla="*/ 6372 w 24002"/>
                <a:gd name="connsiteY0" fmla="*/ 12252 h 53744"/>
                <a:gd name="connsiteX1" fmla="*/ 21971 w 24002"/>
                <a:gd name="connsiteY1" fmla="*/ 1398 h 53744"/>
                <a:gd name="connsiteX2" fmla="*/ 20824 w 24002"/>
                <a:gd name="connsiteY2" fmla="*/ 36884 h 53744"/>
                <a:gd name="connsiteX3" fmla="*/ 7177 w 24002"/>
                <a:gd name="connsiteY3" fmla="*/ 53473 h 53744"/>
                <a:gd name="connsiteX4" fmla="*/ 1377 w 24002"/>
                <a:gd name="connsiteY4" fmla="*/ 24614 h 53744"/>
                <a:gd name="connsiteX5" fmla="*/ 6372 w 24002"/>
                <a:gd name="connsiteY5" fmla="*/ 12252 h 53744"/>
                <a:gd name="connsiteX0" fmla="*/ 4848 w 24350"/>
                <a:gd name="connsiteY0" fmla="*/ 1388 h 60289"/>
                <a:gd name="connsiteX1" fmla="*/ 22319 w 24350"/>
                <a:gd name="connsiteY1" fmla="*/ 7944 h 60289"/>
                <a:gd name="connsiteX2" fmla="*/ 21172 w 24350"/>
                <a:gd name="connsiteY2" fmla="*/ 43430 h 60289"/>
                <a:gd name="connsiteX3" fmla="*/ 7525 w 24350"/>
                <a:gd name="connsiteY3" fmla="*/ 60019 h 60289"/>
                <a:gd name="connsiteX4" fmla="*/ 1725 w 24350"/>
                <a:gd name="connsiteY4" fmla="*/ 31160 h 60289"/>
                <a:gd name="connsiteX5" fmla="*/ 4848 w 24350"/>
                <a:gd name="connsiteY5" fmla="*/ 1388 h 60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50" h="60289">
                  <a:moveTo>
                    <a:pt x="4848" y="1388"/>
                  </a:moveTo>
                  <a:cubicBezTo>
                    <a:pt x="8280" y="-2481"/>
                    <a:pt x="18350" y="2388"/>
                    <a:pt x="22319" y="7944"/>
                  </a:cubicBezTo>
                  <a:cubicBezTo>
                    <a:pt x="26288" y="13500"/>
                    <a:pt x="23638" y="34751"/>
                    <a:pt x="21172" y="43430"/>
                  </a:cubicBezTo>
                  <a:cubicBezTo>
                    <a:pt x="18706" y="52109"/>
                    <a:pt x="10766" y="62064"/>
                    <a:pt x="7525" y="60019"/>
                  </a:cubicBezTo>
                  <a:cubicBezTo>
                    <a:pt x="4284" y="57974"/>
                    <a:pt x="4667" y="38030"/>
                    <a:pt x="1725" y="31160"/>
                  </a:cubicBezTo>
                  <a:cubicBezTo>
                    <a:pt x="-2244" y="25604"/>
                    <a:pt x="1416" y="5257"/>
                    <a:pt x="4848" y="1388"/>
                  </a:cubicBezTo>
                  <a:close/>
                </a:path>
              </a:pathLst>
            </a:custGeom>
            <a:grpFill/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627" name="Freeform 244">
              <a:extLst>
                <a:ext uri="{FF2B5EF4-FFF2-40B4-BE49-F238E27FC236}">
                  <a16:creationId xmlns:a16="http://schemas.microsoft.com/office/drawing/2014/main" id="{1F6A88D4-0F16-4080-9D5C-9C02C8DAFD0F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4121151" y="2377009"/>
              <a:ext cx="247650" cy="456256"/>
            </a:xfrm>
            <a:custGeom>
              <a:avLst/>
              <a:gdLst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52388 w 247650"/>
                <a:gd name="connsiteY61" fmla="*/ 37322 h 526236"/>
                <a:gd name="connsiteX62" fmla="*/ 36513 w 247650"/>
                <a:gd name="connsiteY62" fmla="*/ 23326 h 526236"/>
                <a:gd name="connsiteX63" fmla="*/ 46038 w 247650"/>
                <a:gd name="connsiteY63" fmla="*/ 0 h 526236"/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36513 w 247650"/>
                <a:gd name="connsiteY61" fmla="*/ 23326 h 526236"/>
                <a:gd name="connsiteX62" fmla="*/ 46038 w 247650"/>
                <a:gd name="connsiteY62" fmla="*/ 0 h 526236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44798 w 247650"/>
                <a:gd name="connsiteY60" fmla="*/ 26024 h 502910"/>
                <a:gd name="connsiteX61" fmla="*/ 36513 w 247650"/>
                <a:gd name="connsiteY61" fmla="*/ 0 h 502910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36513 w 247650"/>
                <a:gd name="connsiteY60" fmla="*/ 0 h 502910"/>
                <a:gd name="connsiteX0" fmla="*/ 23812 w 247650"/>
                <a:gd name="connsiteY0" fmla="*/ 247492 h 456256"/>
                <a:gd name="connsiteX1" fmla="*/ 60325 w 247650"/>
                <a:gd name="connsiteY1" fmla="*/ 266176 h 456256"/>
                <a:gd name="connsiteX2" fmla="*/ 66675 w 247650"/>
                <a:gd name="connsiteY2" fmla="*/ 280189 h 456256"/>
                <a:gd name="connsiteX3" fmla="*/ 77787 w 247650"/>
                <a:gd name="connsiteY3" fmla="*/ 314442 h 456256"/>
                <a:gd name="connsiteX4" fmla="*/ 52387 w 247650"/>
                <a:gd name="connsiteY4" fmla="*/ 325341 h 456256"/>
                <a:gd name="connsiteX5" fmla="*/ 20637 w 247650"/>
                <a:gd name="connsiteY5" fmla="*/ 319113 h 456256"/>
                <a:gd name="connsiteX6" fmla="*/ 0 w 247650"/>
                <a:gd name="connsiteY6" fmla="*/ 300429 h 456256"/>
                <a:gd name="connsiteX7" fmla="*/ 4762 w 247650"/>
                <a:gd name="connsiteY7" fmla="*/ 281746 h 456256"/>
                <a:gd name="connsiteX8" fmla="*/ 23812 w 247650"/>
                <a:gd name="connsiteY8" fmla="*/ 247492 h 456256"/>
                <a:gd name="connsiteX9" fmla="*/ 147637 w 247650"/>
                <a:gd name="connsiteY9" fmla="*/ 73089 h 456256"/>
                <a:gd name="connsiteX10" fmla="*/ 150812 w 247650"/>
                <a:gd name="connsiteY10" fmla="*/ 111967 h 456256"/>
                <a:gd name="connsiteX11" fmla="*/ 122237 w 247650"/>
                <a:gd name="connsiteY11" fmla="*/ 149289 h 456256"/>
                <a:gd name="connsiteX12" fmla="*/ 174625 w 247650"/>
                <a:gd name="connsiteY12" fmla="*/ 158620 h 456256"/>
                <a:gd name="connsiteX13" fmla="*/ 152400 w 247650"/>
                <a:gd name="connsiteY13" fmla="*/ 205273 h 456256"/>
                <a:gd name="connsiteX14" fmla="*/ 161925 w 247650"/>
                <a:gd name="connsiteY14" fmla="*/ 228600 h 456256"/>
                <a:gd name="connsiteX15" fmla="*/ 174625 w 247650"/>
                <a:gd name="connsiteY15" fmla="*/ 250371 h 456256"/>
                <a:gd name="connsiteX16" fmla="*/ 185738 w 247650"/>
                <a:gd name="connsiteY16" fmla="*/ 275253 h 456256"/>
                <a:gd name="connsiteX17" fmla="*/ 214313 w 247650"/>
                <a:gd name="connsiteY17" fmla="*/ 307910 h 456256"/>
                <a:gd name="connsiteX18" fmla="*/ 223838 w 247650"/>
                <a:gd name="connsiteY18" fmla="*/ 335902 h 456256"/>
                <a:gd name="connsiteX19" fmla="*/ 247650 w 247650"/>
                <a:gd name="connsiteY19" fmla="*/ 381000 h 456256"/>
                <a:gd name="connsiteX20" fmla="*/ 219075 w 247650"/>
                <a:gd name="connsiteY20" fmla="*/ 399661 h 456256"/>
                <a:gd name="connsiteX21" fmla="*/ 236538 w 247650"/>
                <a:gd name="connsiteY21" fmla="*/ 422988 h 456256"/>
                <a:gd name="connsiteX22" fmla="*/ 204788 w 247650"/>
                <a:gd name="connsiteY22" fmla="*/ 429208 h 456256"/>
                <a:gd name="connsiteX23" fmla="*/ 150812 w 247650"/>
                <a:gd name="connsiteY23" fmla="*/ 432318 h 456256"/>
                <a:gd name="connsiteX24" fmla="*/ 127000 w 247650"/>
                <a:gd name="connsiteY24" fmla="*/ 443204 h 456256"/>
                <a:gd name="connsiteX25" fmla="*/ 98425 w 247650"/>
                <a:gd name="connsiteY25" fmla="*/ 450979 h 456256"/>
                <a:gd name="connsiteX26" fmla="*/ 76200 w 247650"/>
                <a:gd name="connsiteY26" fmla="*/ 452535 h 456256"/>
                <a:gd name="connsiteX27" fmla="*/ 61912 w 247650"/>
                <a:gd name="connsiteY27" fmla="*/ 450979 h 456256"/>
                <a:gd name="connsiteX28" fmla="*/ 69850 w 247650"/>
                <a:gd name="connsiteY28" fmla="*/ 447869 h 456256"/>
                <a:gd name="connsiteX29" fmla="*/ 98425 w 247650"/>
                <a:gd name="connsiteY29" fmla="*/ 424543 h 456256"/>
                <a:gd name="connsiteX30" fmla="*/ 112712 w 247650"/>
                <a:gd name="connsiteY30" fmla="*/ 396551 h 456256"/>
                <a:gd name="connsiteX31" fmla="*/ 93662 w 247650"/>
                <a:gd name="connsiteY31" fmla="*/ 376334 h 456256"/>
                <a:gd name="connsiteX32" fmla="*/ 107950 w 247650"/>
                <a:gd name="connsiteY32" fmla="*/ 343677 h 456256"/>
                <a:gd name="connsiteX33" fmla="*/ 104824 w 247650"/>
                <a:gd name="connsiteY33" fmla="*/ 335877 h 456256"/>
                <a:gd name="connsiteX34" fmla="*/ 136525 w 247650"/>
                <a:gd name="connsiteY34" fmla="*/ 334347 h 456256"/>
                <a:gd name="connsiteX35" fmla="*/ 138112 w 247650"/>
                <a:gd name="connsiteY35" fmla="*/ 301689 h 456256"/>
                <a:gd name="connsiteX36" fmla="*/ 127000 w 247650"/>
                <a:gd name="connsiteY36" fmla="*/ 278363 h 456256"/>
                <a:gd name="connsiteX37" fmla="*/ 128587 w 247650"/>
                <a:gd name="connsiteY37" fmla="*/ 265922 h 456256"/>
                <a:gd name="connsiteX38" fmla="*/ 90487 w 247650"/>
                <a:gd name="connsiteY38" fmla="*/ 259702 h 456256"/>
                <a:gd name="connsiteX39" fmla="*/ 60325 w 247650"/>
                <a:gd name="connsiteY39" fmla="*/ 214604 h 456256"/>
                <a:gd name="connsiteX40" fmla="*/ 61912 w 247650"/>
                <a:gd name="connsiteY40" fmla="*/ 189722 h 456256"/>
                <a:gd name="connsiteX41" fmla="*/ 36512 w 247650"/>
                <a:gd name="connsiteY41" fmla="*/ 171061 h 456256"/>
                <a:gd name="connsiteX42" fmla="*/ 38100 w 247650"/>
                <a:gd name="connsiteY42" fmla="*/ 130628 h 456256"/>
                <a:gd name="connsiteX43" fmla="*/ 61912 w 247650"/>
                <a:gd name="connsiteY43" fmla="*/ 116632 h 456256"/>
                <a:gd name="connsiteX44" fmla="*/ 74191 w 247650"/>
                <a:gd name="connsiteY44" fmla="*/ 140250 h 456256"/>
                <a:gd name="connsiteX45" fmla="*/ 76200 w 247650"/>
                <a:gd name="connsiteY45" fmla="*/ 133738 h 456256"/>
                <a:gd name="connsiteX46" fmla="*/ 104775 w 247650"/>
                <a:gd name="connsiteY46" fmla="*/ 110412 h 456256"/>
                <a:gd name="connsiteX47" fmla="*/ 128587 w 247650"/>
                <a:gd name="connsiteY47" fmla="*/ 91750 h 456256"/>
                <a:gd name="connsiteX48" fmla="*/ 147637 w 247650"/>
                <a:gd name="connsiteY48" fmla="*/ 73089 h 456256"/>
                <a:gd name="connsiteX49" fmla="*/ 195263 w 247650"/>
                <a:gd name="connsiteY49" fmla="*/ 0 h 456256"/>
                <a:gd name="connsiteX50" fmla="*/ 204788 w 247650"/>
                <a:gd name="connsiteY50" fmla="*/ 18661 h 456256"/>
                <a:gd name="connsiteX51" fmla="*/ 193676 w 247650"/>
                <a:gd name="connsiteY51" fmla="*/ 49763 h 456256"/>
                <a:gd name="connsiteX52" fmla="*/ 179388 w 247650"/>
                <a:gd name="connsiteY52" fmla="*/ 69980 h 456256"/>
                <a:gd name="connsiteX53" fmla="*/ 174625 w 247650"/>
                <a:gd name="connsiteY53" fmla="*/ 77755 h 456256"/>
                <a:gd name="connsiteX54" fmla="*/ 176213 w 247650"/>
                <a:gd name="connsiteY54" fmla="*/ 68424 h 456256"/>
                <a:gd name="connsiteX55" fmla="*/ 179388 w 247650"/>
                <a:gd name="connsiteY55" fmla="*/ 41988 h 456256"/>
                <a:gd name="connsiteX56" fmla="*/ 176213 w 247650"/>
                <a:gd name="connsiteY56" fmla="*/ 13996 h 456256"/>
                <a:gd name="connsiteX57" fmla="*/ 195263 w 247650"/>
                <a:gd name="connsiteY57" fmla="*/ 0 h 45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47650" h="456256">
                  <a:moveTo>
                    <a:pt x="23812" y="247492"/>
                  </a:moveTo>
                  <a:cubicBezTo>
                    <a:pt x="33337" y="244378"/>
                    <a:pt x="53975" y="261505"/>
                    <a:pt x="60325" y="266176"/>
                  </a:cubicBezTo>
                  <a:cubicBezTo>
                    <a:pt x="66675" y="270847"/>
                    <a:pt x="61912" y="272404"/>
                    <a:pt x="66675" y="280189"/>
                  </a:cubicBezTo>
                  <a:cubicBezTo>
                    <a:pt x="69850" y="287974"/>
                    <a:pt x="79375" y="306657"/>
                    <a:pt x="77787" y="314442"/>
                  </a:cubicBezTo>
                  <a:lnTo>
                    <a:pt x="52387" y="325341"/>
                  </a:lnTo>
                  <a:lnTo>
                    <a:pt x="20637" y="319113"/>
                  </a:lnTo>
                  <a:lnTo>
                    <a:pt x="0" y="300429"/>
                  </a:lnTo>
                  <a:lnTo>
                    <a:pt x="4762" y="281746"/>
                  </a:lnTo>
                  <a:lnTo>
                    <a:pt x="23812" y="247492"/>
                  </a:lnTo>
                  <a:close/>
                  <a:moveTo>
                    <a:pt x="147637" y="73089"/>
                  </a:moveTo>
                  <a:cubicBezTo>
                    <a:pt x="161925" y="90195"/>
                    <a:pt x="155575" y="77754"/>
                    <a:pt x="150812" y="111967"/>
                  </a:cubicBezTo>
                  <a:cubicBezTo>
                    <a:pt x="133350" y="122852"/>
                    <a:pt x="133350" y="135293"/>
                    <a:pt x="122237" y="149289"/>
                  </a:cubicBezTo>
                  <a:cubicBezTo>
                    <a:pt x="139700" y="153955"/>
                    <a:pt x="158750" y="149289"/>
                    <a:pt x="174625" y="158620"/>
                  </a:cubicBezTo>
                  <a:cubicBezTo>
                    <a:pt x="169862" y="172616"/>
                    <a:pt x="160337" y="194387"/>
                    <a:pt x="152400" y="205273"/>
                  </a:cubicBezTo>
                  <a:cubicBezTo>
                    <a:pt x="157162" y="214604"/>
                    <a:pt x="160337" y="219269"/>
                    <a:pt x="161925" y="228600"/>
                  </a:cubicBezTo>
                  <a:cubicBezTo>
                    <a:pt x="165100" y="236375"/>
                    <a:pt x="169862" y="242595"/>
                    <a:pt x="174625" y="250371"/>
                  </a:cubicBezTo>
                  <a:cubicBezTo>
                    <a:pt x="187325" y="259702"/>
                    <a:pt x="177800" y="264367"/>
                    <a:pt x="185738" y="275253"/>
                  </a:cubicBezTo>
                  <a:cubicBezTo>
                    <a:pt x="203200" y="284583"/>
                    <a:pt x="211138" y="287693"/>
                    <a:pt x="214313" y="307910"/>
                  </a:cubicBezTo>
                  <a:cubicBezTo>
                    <a:pt x="219075" y="320351"/>
                    <a:pt x="222250" y="321906"/>
                    <a:pt x="223838" y="335902"/>
                  </a:cubicBezTo>
                  <a:cubicBezTo>
                    <a:pt x="228600" y="348343"/>
                    <a:pt x="247650" y="370114"/>
                    <a:pt x="247650" y="381000"/>
                  </a:cubicBezTo>
                  <a:cubicBezTo>
                    <a:pt x="247650" y="391885"/>
                    <a:pt x="219075" y="390330"/>
                    <a:pt x="219075" y="399661"/>
                  </a:cubicBezTo>
                  <a:cubicBezTo>
                    <a:pt x="207963" y="405881"/>
                    <a:pt x="242888" y="413657"/>
                    <a:pt x="236538" y="422988"/>
                  </a:cubicBezTo>
                  <a:cubicBezTo>
                    <a:pt x="222250" y="424543"/>
                    <a:pt x="217488" y="426098"/>
                    <a:pt x="204788" y="429208"/>
                  </a:cubicBezTo>
                  <a:cubicBezTo>
                    <a:pt x="187325" y="427653"/>
                    <a:pt x="168275" y="424543"/>
                    <a:pt x="150812" y="432318"/>
                  </a:cubicBezTo>
                  <a:cubicBezTo>
                    <a:pt x="138112" y="433873"/>
                    <a:pt x="134937" y="433873"/>
                    <a:pt x="127000" y="443204"/>
                  </a:cubicBezTo>
                  <a:cubicBezTo>
                    <a:pt x="117475" y="446314"/>
                    <a:pt x="107950" y="447869"/>
                    <a:pt x="98425" y="450979"/>
                  </a:cubicBezTo>
                  <a:cubicBezTo>
                    <a:pt x="90487" y="450979"/>
                    <a:pt x="84137" y="450979"/>
                    <a:pt x="76200" y="452535"/>
                  </a:cubicBezTo>
                  <a:cubicBezTo>
                    <a:pt x="74612" y="452535"/>
                    <a:pt x="61912" y="461865"/>
                    <a:pt x="61912" y="450979"/>
                  </a:cubicBezTo>
                  <a:cubicBezTo>
                    <a:pt x="61912" y="447869"/>
                    <a:pt x="66675" y="449424"/>
                    <a:pt x="69850" y="447869"/>
                  </a:cubicBezTo>
                  <a:cubicBezTo>
                    <a:pt x="90487" y="446314"/>
                    <a:pt x="93662" y="443204"/>
                    <a:pt x="98425" y="424543"/>
                  </a:cubicBezTo>
                  <a:cubicBezTo>
                    <a:pt x="107950" y="412102"/>
                    <a:pt x="109537" y="416767"/>
                    <a:pt x="112712" y="396551"/>
                  </a:cubicBezTo>
                  <a:cubicBezTo>
                    <a:pt x="96837" y="394996"/>
                    <a:pt x="84137" y="394996"/>
                    <a:pt x="93662" y="376334"/>
                  </a:cubicBezTo>
                  <a:cubicBezTo>
                    <a:pt x="115887" y="368559"/>
                    <a:pt x="111125" y="362338"/>
                    <a:pt x="107950" y="343677"/>
                  </a:cubicBezTo>
                  <a:lnTo>
                    <a:pt x="104824" y="335877"/>
                  </a:lnTo>
                  <a:cubicBezTo>
                    <a:pt x="105569" y="335804"/>
                    <a:pt x="117475" y="353008"/>
                    <a:pt x="136525" y="334347"/>
                  </a:cubicBezTo>
                  <a:cubicBezTo>
                    <a:pt x="144462" y="326571"/>
                    <a:pt x="138112" y="312575"/>
                    <a:pt x="138112" y="301689"/>
                  </a:cubicBezTo>
                  <a:cubicBezTo>
                    <a:pt x="136525" y="289249"/>
                    <a:pt x="128587" y="290804"/>
                    <a:pt x="127000" y="278363"/>
                  </a:cubicBezTo>
                  <a:cubicBezTo>
                    <a:pt x="125412" y="272142"/>
                    <a:pt x="134937" y="269032"/>
                    <a:pt x="128587" y="265922"/>
                  </a:cubicBezTo>
                  <a:cubicBezTo>
                    <a:pt x="122717" y="260789"/>
                    <a:pt x="81223" y="253219"/>
                    <a:pt x="90487" y="259702"/>
                  </a:cubicBezTo>
                  <a:cubicBezTo>
                    <a:pt x="109537" y="256591"/>
                    <a:pt x="58737" y="228600"/>
                    <a:pt x="60325" y="214604"/>
                  </a:cubicBezTo>
                  <a:cubicBezTo>
                    <a:pt x="46037" y="211493"/>
                    <a:pt x="57150" y="202163"/>
                    <a:pt x="61912" y="189722"/>
                  </a:cubicBezTo>
                  <a:cubicBezTo>
                    <a:pt x="53975" y="178836"/>
                    <a:pt x="38100" y="186612"/>
                    <a:pt x="36512" y="171061"/>
                  </a:cubicBezTo>
                  <a:cubicBezTo>
                    <a:pt x="38100" y="158620"/>
                    <a:pt x="34925" y="143069"/>
                    <a:pt x="38100" y="130628"/>
                  </a:cubicBezTo>
                  <a:cubicBezTo>
                    <a:pt x="49212" y="124408"/>
                    <a:pt x="49212" y="119742"/>
                    <a:pt x="61912" y="116632"/>
                  </a:cubicBezTo>
                  <a:cubicBezTo>
                    <a:pt x="70247" y="120131"/>
                    <a:pt x="72330" y="139376"/>
                    <a:pt x="74191" y="140250"/>
                  </a:cubicBezTo>
                  <a:lnTo>
                    <a:pt x="76200" y="133738"/>
                  </a:lnTo>
                  <a:cubicBezTo>
                    <a:pt x="90487" y="125963"/>
                    <a:pt x="84137" y="113522"/>
                    <a:pt x="104775" y="110412"/>
                  </a:cubicBezTo>
                  <a:cubicBezTo>
                    <a:pt x="125412" y="111967"/>
                    <a:pt x="127000" y="111967"/>
                    <a:pt x="128587" y="91750"/>
                  </a:cubicBezTo>
                  <a:cubicBezTo>
                    <a:pt x="133350" y="82420"/>
                    <a:pt x="139700" y="80865"/>
                    <a:pt x="147637" y="73089"/>
                  </a:cubicBezTo>
                  <a:close/>
                  <a:moveTo>
                    <a:pt x="195263" y="0"/>
                  </a:moveTo>
                  <a:cubicBezTo>
                    <a:pt x="195263" y="13996"/>
                    <a:pt x="201613" y="3110"/>
                    <a:pt x="204788" y="18661"/>
                  </a:cubicBezTo>
                  <a:cubicBezTo>
                    <a:pt x="201613" y="34212"/>
                    <a:pt x="195263" y="29547"/>
                    <a:pt x="193676" y="49763"/>
                  </a:cubicBezTo>
                  <a:cubicBezTo>
                    <a:pt x="182563" y="55984"/>
                    <a:pt x="180975" y="57539"/>
                    <a:pt x="179388" y="69980"/>
                  </a:cubicBezTo>
                  <a:cubicBezTo>
                    <a:pt x="177800" y="73090"/>
                    <a:pt x="177800" y="79310"/>
                    <a:pt x="174625" y="77755"/>
                  </a:cubicBezTo>
                  <a:cubicBezTo>
                    <a:pt x="171450" y="76200"/>
                    <a:pt x="176213" y="71535"/>
                    <a:pt x="176213" y="68424"/>
                  </a:cubicBezTo>
                  <a:cubicBezTo>
                    <a:pt x="177800" y="59094"/>
                    <a:pt x="177800" y="51318"/>
                    <a:pt x="179388" y="41988"/>
                  </a:cubicBezTo>
                  <a:cubicBezTo>
                    <a:pt x="174625" y="32657"/>
                    <a:pt x="174625" y="24882"/>
                    <a:pt x="176213" y="13996"/>
                  </a:cubicBezTo>
                  <a:cubicBezTo>
                    <a:pt x="188913" y="12441"/>
                    <a:pt x="185738" y="7776"/>
                    <a:pt x="195263" y="0"/>
                  </a:cubicBezTo>
                  <a:close/>
                </a:path>
              </a:pathLst>
            </a:custGeom>
            <a:grpFill/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226" name="Rectangle 225">
            <a:extLst>
              <a:ext uri="{FF2B5EF4-FFF2-40B4-BE49-F238E27FC236}">
                <a16:creationId xmlns:a16="http://schemas.microsoft.com/office/drawing/2014/main" id="{505F2E35-CD1A-49CB-B703-BF7A76552650}"/>
              </a:ext>
            </a:extLst>
          </p:cNvPr>
          <p:cNvSpPr/>
          <p:nvPr/>
        </p:nvSpPr>
        <p:spPr>
          <a:xfrm>
            <a:off x="147976" y="1954323"/>
            <a:ext cx="2132267" cy="4418311"/>
          </a:xfrm>
          <a:prstGeom prst="rect">
            <a:avLst/>
          </a:prstGeom>
          <a:ln>
            <a:solidFill>
              <a:srgbClr val="4C6C9C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aphicFrame>
        <p:nvGraphicFramePr>
          <p:cNvPr id="443" name="Chart 442">
            <a:extLst>
              <a:ext uri="{FF2B5EF4-FFF2-40B4-BE49-F238E27FC236}">
                <a16:creationId xmlns:a16="http://schemas.microsoft.com/office/drawing/2014/main" id="{62A0FD4E-7B2E-4F15-A42A-3DF16090BD8D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10914063" y="987425"/>
          <a:ext cx="1133475" cy="544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1"/>
          </a:graphicData>
        </a:graphic>
      </p:graphicFrame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8B1E862E-2876-4EFC-A4A6-55509167A63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560175" y="1495425"/>
            <a:ext cx="3238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fld id="{2B5C40A0-7E90-49EE-8572-2FF57CEC4FA4}" type="datetime'''''20''''5''0''''''''''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ctr" defTabSz="89525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335F"/>
                </a:buClr>
                <a:buSzPct val="100000"/>
                <a:buFontTx/>
                <a:buNone/>
                <a:tabLst/>
                <a:defRPr/>
              </a:pPr>
              <a:t>2050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3F1CB818-95B9-44F2-A60E-9650287E17A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075988" y="1495425"/>
            <a:ext cx="3238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  <a:sym typeface="+mn-lt"/>
              </a:rPr>
              <a:t>2015</a:t>
            </a:r>
          </a:p>
        </p:txBody>
      </p:sp>
      <p:graphicFrame>
        <p:nvGraphicFramePr>
          <p:cNvPr id="222" name="Chart 221">
            <a:extLst>
              <a:ext uri="{FF2B5EF4-FFF2-40B4-BE49-F238E27FC236}">
                <a16:creationId xmlns:a16="http://schemas.microsoft.com/office/drawing/2014/main" id="{39B011F1-6C01-4095-8584-6E95C67E71E8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3836988" y="1552575"/>
          <a:ext cx="1436687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2"/>
          </a:graphicData>
        </a:graphic>
      </p:graphicFrame>
      <p:sp>
        <p:nvSpPr>
          <p:cNvPr id="804" name="TextBox 803"/>
          <p:cNvSpPr txBox="1"/>
          <p:nvPr/>
        </p:nvSpPr>
        <p:spPr>
          <a:xfrm>
            <a:off x="4218065" y="3634190"/>
            <a:ext cx="66516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ctr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AFTA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ECCC725F-7F9A-42C8-93A3-DD5FDD00C5D4}"/>
              </a:ext>
            </a:extLst>
          </p:cNvPr>
          <p:cNvSpPr txBox="1"/>
          <p:nvPr/>
        </p:nvSpPr>
        <p:spPr>
          <a:xfrm>
            <a:off x="6825808" y="3439883"/>
            <a:ext cx="66516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ctr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urope</a:t>
            </a:r>
          </a:p>
        </p:txBody>
      </p:sp>
      <p:graphicFrame>
        <p:nvGraphicFramePr>
          <p:cNvPr id="229" name="Chart 228">
            <a:extLst>
              <a:ext uri="{FF2B5EF4-FFF2-40B4-BE49-F238E27FC236}">
                <a16:creationId xmlns:a16="http://schemas.microsoft.com/office/drawing/2014/main" id="{EFA31E3A-0AC1-459E-842F-3F21E79BA8CC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6397625" y="1366838"/>
          <a:ext cx="1516063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3"/>
          </a:graphicData>
        </a:graphic>
      </p:graphicFrame>
      <p:graphicFrame>
        <p:nvGraphicFramePr>
          <p:cNvPr id="230" name="Chart 229">
            <a:extLst>
              <a:ext uri="{FF2B5EF4-FFF2-40B4-BE49-F238E27FC236}">
                <a16:creationId xmlns:a16="http://schemas.microsoft.com/office/drawing/2014/main" id="{4832A142-E637-43AC-BCB9-60A149140EF7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8264525" y="1555750"/>
          <a:ext cx="1905000" cy="2292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4"/>
          </a:graphicData>
        </a:graphic>
      </p:graphicFrame>
      <p:sp>
        <p:nvSpPr>
          <p:cNvPr id="240" name="TextBox 783">
            <a:extLst>
              <a:ext uri="{FF2B5EF4-FFF2-40B4-BE49-F238E27FC236}">
                <a16:creationId xmlns:a16="http://schemas.microsoft.com/office/drawing/2014/main" id="{C862BA08-4228-4ED4-B2EC-92BE0275E5C2}"/>
              </a:ext>
            </a:extLst>
          </p:cNvPr>
          <p:cNvSpPr txBox="1"/>
          <p:nvPr/>
        </p:nvSpPr>
        <p:spPr>
          <a:xfrm>
            <a:off x="8666649" y="3780864"/>
            <a:ext cx="1118896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veloping Asia</a:t>
            </a:r>
          </a:p>
        </p:txBody>
      </p:sp>
      <p:graphicFrame>
        <p:nvGraphicFramePr>
          <p:cNvPr id="227" name="Chart 226">
            <a:extLst>
              <a:ext uri="{FF2B5EF4-FFF2-40B4-BE49-F238E27FC236}">
                <a16:creationId xmlns:a16="http://schemas.microsoft.com/office/drawing/2014/main" id="{2546648A-DE6E-483B-BAFC-37A13202BBD9}"/>
              </a:ext>
            </a:extLst>
          </p:cNvPr>
          <p:cNvGraphicFramePr/>
          <p:nvPr>
            <p:custDataLst>
              <p:tags r:id="rId11"/>
            </p:custDataLst>
            <p:extLst/>
          </p:nvPr>
        </p:nvGraphicFramePr>
        <p:xfrm>
          <a:off x="6988175" y="2652713"/>
          <a:ext cx="1905000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5"/>
          </a:graphicData>
        </a:graphic>
      </p:graphicFrame>
      <p:sp>
        <p:nvSpPr>
          <p:cNvPr id="269" name="TextBox 268">
            <a:extLst>
              <a:ext uri="{FF2B5EF4-FFF2-40B4-BE49-F238E27FC236}">
                <a16:creationId xmlns:a16="http://schemas.microsoft.com/office/drawing/2014/main" id="{00C8C3A2-B475-40B4-84E2-5F6AC0194F4C}"/>
              </a:ext>
            </a:extLst>
          </p:cNvPr>
          <p:cNvSpPr txBox="1"/>
          <p:nvPr/>
        </p:nvSpPr>
        <p:spPr>
          <a:xfrm>
            <a:off x="7267759" y="4726318"/>
            <a:ext cx="1362552" cy="1698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iddle East &amp; Africa</a:t>
            </a:r>
          </a:p>
        </p:txBody>
      </p:sp>
      <p:graphicFrame>
        <p:nvGraphicFramePr>
          <p:cNvPr id="243" name="Chart 242">
            <a:extLst>
              <a:ext uri="{FF2B5EF4-FFF2-40B4-BE49-F238E27FC236}">
                <a16:creationId xmlns:a16="http://schemas.microsoft.com/office/drawing/2014/main" id="{44066B21-6EEA-4D39-8F4B-26A6F36EB004}"/>
              </a:ext>
            </a:extLst>
          </p:cNvPr>
          <p:cNvGraphicFramePr/>
          <p:nvPr>
            <p:custDataLst>
              <p:tags r:id="rId12"/>
            </p:custDataLst>
            <p:extLst/>
          </p:nvPr>
        </p:nvGraphicFramePr>
        <p:xfrm>
          <a:off x="9302750" y="2789238"/>
          <a:ext cx="1516063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6"/>
          </a:graphicData>
        </a:graphic>
      </p:graphicFrame>
      <p:sp>
        <p:nvSpPr>
          <p:cNvPr id="286" name="TextBox 285">
            <a:extLst>
              <a:ext uri="{FF2B5EF4-FFF2-40B4-BE49-F238E27FC236}">
                <a16:creationId xmlns:a16="http://schemas.microsoft.com/office/drawing/2014/main" id="{3AC11D7B-117C-474B-9E25-BF741A0FC132}"/>
              </a:ext>
            </a:extLst>
          </p:cNvPr>
          <p:cNvSpPr txBox="1"/>
          <p:nvPr/>
        </p:nvSpPr>
        <p:spPr>
          <a:xfrm>
            <a:off x="9522351" y="4866502"/>
            <a:ext cx="1090042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veloped Asia</a:t>
            </a:r>
          </a:p>
        </p:txBody>
      </p:sp>
      <p:graphicFrame>
        <p:nvGraphicFramePr>
          <p:cNvPr id="236" name="Chart 235">
            <a:extLst>
              <a:ext uri="{FF2B5EF4-FFF2-40B4-BE49-F238E27FC236}">
                <a16:creationId xmlns:a16="http://schemas.microsoft.com/office/drawing/2014/main" id="{EF3CF25A-4848-42EE-8AC3-DEE56E61A1A5}"/>
              </a:ext>
            </a:extLst>
          </p:cNvPr>
          <p:cNvGraphicFramePr/>
          <p:nvPr>
            <p:custDataLst>
              <p:tags r:id="rId13"/>
            </p:custDataLst>
            <p:extLst/>
          </p:nvPr>
        </p:nvGraphicFramePr>
        <p:xfrm>
          <a:off x="9718675" y="1689100"/>
          <a:ext cx="1905000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7"/>
          </a:graphicData>
        </a:graphic>
      </p:graphicFrame>
      <p:sp>
        <p:nvSpPr>
          <p:cNvPr id="299" name="TextBox 298">
            <a:extLst>
              <a:ext uri="{FF2B5EF4-FFF2-40B4-BE49-F238E27FC236}">
                <a16:creationId xmlns:a16="http://schemas.microsoft.com/office/drawing/2014/main" id="{37917E37-1FB4-4A4A-9CA9-BEECC4243B7F}"/>
              </a:ext>
            </a:extLst>
          </p:cNvPr>
          <p:cNvSpPr txBox="1"/>
          <p:nvPr/>
        </p:nvSpPr>
        <p:spPr>
          <a:xfrm>
            <a:off x="10465015" y="3768588"/>
            <a:ext cx="406400" cy="1698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ina</a:t>
            </a:r>
            <a:endParaRPr kumimoji="0" lang="en-US" sz="1100" b="1" i="0" u="none" strike="noStrike" kern="1200" cap="none" spc="0" normalizeH="0" baseline="3000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aphicFrame>
        <p:nvGraphicFramePr>
          <p:cNvPr id="221" name="Chart 220">
            <a:extLst>
              <a:ext uri="{FF2B5EF4-FFF2-40B4-BE49-F238E27FC236}">
                <a16:creationId xmlns:a16="http://schemas.microsoft.com/office/drawing/2014/main" id="{A009C98B-8048-4DB9-B11E-05D2A31DA30B}"/>
              </a:ext>
            </a:extLst>
          </p:cNvPr>
          <p:cNvGraphicFramePr/>
          <p:nvPr>
            <p:custDataLst>
              <p:tags r:id="rId14"/>
            </p:custDataLst>
            <p:extLst/>
          </p:nvPr>
        </p:nvGraphicFramePr>
        <p:xfrm>
          <a:off x="4405313" y="3570288"/>
          <a:ext cx="1516062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8"/>
          </a:graphicData>
        </a:graphic>
      </p:graphicFrame>
      <p:sp>
        <p:nvSpPr>
          <p:cNvPr id="239" name="TextBox 238">
            <a:extLst>
              <a:ext uri="{FF2B5EF4-FFF2-40B4-BE49-F238E27FC236}">
                <a16:creationId xmlns:a16="http://schemas.microsoft.com/office/drawing/2014/main" id="{E6E8B477-BE66-45A8-BA95-0EC4FB0D05C9}"/>
              </a:ext>
            </a:extLst>
          </p:cNvPr>
          <p:cNvSpPr txBox="1"/>
          <p:nvPr/>
        </p:nvSpPr>
        <p:spPr>
          <a:xfrm>
            <a:off x="4701448" y="5668894"/>
            <a:ext cx="944169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atin America</a:t>
            </a:r>
          </a:p>
        </p:txBody>
      </p:sp>
      <p:graphicFrame>
        <p:nvGraphicFramePr>
          <p:cNvPr id="241" name="Chart 240">
            <a:extLst>
              <a:ext uri="{FF2B5EF4-FFF2-40B4-BE49-F238E27FC236}">
                <a16:creationId xmlns:a16="http://schemas.microsoft.com/office/drawing/2014/main" id="{C80B6FC1-C045-4B92-B023-1B8A519A4CD1}"/>
              </a:ext>
            </a:extLst>
          </p:cNvPr>
          <p:cNvGraphicFramePr/>
          <p:nvPr>
            <p:custDataLst>
              <p:tags r:id="rId15"/>
            </p:custDataLst>
            <p:extLst/>
          </p:nvPr>
        </p:nvGraphicFramePr>
        <p:xfrm>
          <a:off x="268288" y="2574925"/>
          <a:ext cx="1911350" cy="36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9"/>
          </a:graphicData>
        </a:graphic>
      </p:graphicFrame>
      <p:sp>
        <p:nvSpPr>
          <p:cNvPr id="253" name="Rectangle 252">
            <a:extLst>
              <a:ext uri="{FF2B5EF4-FFF2-40B4-BE49-F238E27FC236}">
                <a16:creationId xmlns:a16="http://schemas.microsoft.com/office/drawing/2014/main" id="{323787DB-C0EE-466C-9B5C-125123856CED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1485900" y="6149975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6D1D342-C6C9-4144-87BD-879FF2C9AA3E}" type="datetime'''''''2''''''''''''''''''''''''''05''''''0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5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E054E39B-DE7A-472C-A5EC-A690B8A66C44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1512888" y="2449513"/>
            <a:ext cx="296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72C2DDC-0F13-4889-A1AE-ED2F3D146240}" type="datetime'''''''''''8''1''''''''''''''''''8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81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7BAC6543-0FC2-4726-B562-55812B3A4E61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612775" y="6149975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96791F9-7010-4D88-B113-C7676819B43B}" type="datetime'''20''''''''''''''''''''1''''''5''''''''''''''''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B0F013D3-F0F5-4B13-9CBE-194C650DAE4A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639763" y="4537075"/>
            <a:ext cx="296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335B1A4-79FD-46AF-8585-62C253F8F189}" type="datetime'''''''3''''''''''''''''''''''''''22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2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9BD2843B-D2AB-4108-A734-DCD338E55CD7}"/>
              </a:ext>
            </a:extLst>
          </p:cNvPr>
          <p:cNvSpPr/>
          <p:nvPr/>
        </p:nvSpPr>
        <p:spPr>
          <a:xfrm>
            <a:off x="10419556" y="-333671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2.3</a:t>
            </a:r>
          </a:p>
        </p:txBody>
      </p:sp>
      <p:grpSp>
        <p:nvGrpSpPr>
          <p:cNvPr id="439" name="Group 438">
            <a:extLst>
              <a:ext uri="{FF2B5EF4-FFF2-40B4-BE49-F238E27FC236}">
                <a16:creationId xmlns:a16="http://schemas.microsoft.com/office/drawing/2014/main" id="{29F27DCF-FBD0-4896-BA53-977656ADDA1D}"/>
              </a:ext>
            </a:extLst>
          </p:cNvPr>
          <p:cNvGrpSpPr/>
          <p:nvPr/>
        </p:nvGrpSpPr>
        <p:grpSpPr>
          <a:xfrm>
            <a:off x="45694" y="1656588"/>
            <a:ext cx="5765056" cy="292389"/>
            <a:chOff x="77593" y="1497093"/>
            <a:chExt cx="5765056" cy="292389"/>
          </a:xfrm>
        </p:grpSpPr>
        <p:sp>
          <p:nvSpPr>
            <p:cNvPr id="440" name="TextBox 439">
              <a:extLst>
                <a:ext uri="{FF2B5EF4-FFF2-40B4-BE49-F238E27FC236}">
                  <a16:creationId xmlns:a16="http://schemas.microsoft.com/office/drawing/2014/main" id="{A0413EAC-79D3-4941-9BDD-58D3FB2F87E9}"/>
                </a:ext>
              </a:extLst>
            </p:cNvPr>
            <p:cNvSpPr txBox="1"/>
            <p:nvPr/>
          </p:nvSpPr>
          <p:spPr>
            <a:xfrm>
              <a:off x="77593" y="1497094"/>
              <a:ext cx="3211792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lobal production</a:t>
              </a:r>
            </a:p>
          </p:txBody>
        </p:sp>
        <p:sp>
          <p:nvSpPr>
            <p:cNvPr id="441" name="TextBox 440">
              <a:extLst>
                <a:ext uri="{FF2B5EF4-FFF2-40B4-BE49-F238E27FC236}">
                  <a16:creationId xmlns:a16="http://schemas.microsoft.com/office/drawing/2014/main" id="{43880E23-E00C-4188-8359-126EDF5B97AB}"/>
                </a:ext>
              </a:extLst>
            </p:cNvPr>
            <p:cNvSpPr txBox="1"/>
            <p:nvPr/>
          </p:nvSpPr>
          <p:spPr>
            <a:xfrm>
              <a:off x="2630857" y="1497093"/>
              <a:ext cx="3211792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Regional production</a:t>
              </a:r>
            </a:p>
          </p:txBody>
        </p:sp>
      </p:grpSp>
      <p:cxnSp>
        <p:nvCxnSpPr>
          <p:cNvPr id="442" name="AutoShape 249">
            <a:extLst>
              <a:ext uri="{FF2B5EF4-FFF2-40B4-BE49-F238E27FC236}">
                <a16:creationId xmlns:a16="http://schemas.microsoft.com/office/drawing/2014/main" id="{EEEE2304-4942-4687-B774-726B2FE3E1F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76746" y="1449110"/>
            <a:ext cx="10544318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4" name="AutoShape 250">
            <a:extLst>
              <a:ext uri="{FF2B5EF4-FFF2-40B4-BE49-F238E27FC236}">
                <a16:creationId xmlns:a16="http://schemas.microsoft.com/office/drawing/2014/main" id="{BE490289-DDD7-42FC-9077-455102E22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746" y="999756"/>
            <a:ext cx="10544318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B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lobal plastics produ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t per year</a:t>
            </a:r>
          </a:p>
        </p:txBody>
      </p:sp>
      <p:sp>
        <p:nvSpPr>
          <p:cNvPr id="447" name="5. Source">
            <a:extLst>
              <a:ext uri="{FF2B5EF4-FFF2-40B4-BE49-F238E27FC236}">
                <a16:creationId xmlns:a16="http://schemas.microsoft.com/office/drawing/2014/main" id="{DF5580C6-97A9-41B9-9F9A-6DA75AF22E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 Economics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he circular economy – a powerful force for climate action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1" name="Title 1">
            <a:extLst>
              <a:ext uri="{FF2B5EF4-FFF2-40B4-BE49-F238E27FC236}">
                <a16:creationId xmlns:a16="http://schemas.microsoft.com/office/drawing/2014/main" id="{94729C99-F245-49D7-8554-EF8D5AC4F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02" y="277727"/>
            <a:ext cx="11172835" cy="3140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Plastics annual global production could increase by up to 150% by mid-centur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541357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59364690"/>
              </p:ext>
            </p:extLst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Slide" r:id="rId31" imgW="526" imgH="526" progId="TCLayout.ActiveDocument.1">
                  <p:embed/>
                </p:oleObj>
              </mc:Choice>
              <mc:Fallback>
                <p:oleObj name="think-cell Slide" r:id="rId31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03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4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6C457318-48D4-413C-82F3-12E3B0924DE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448050" y="2074863"/>
            <a:ext cx="7937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125D21B1-88F1-435F-9FD2-E9A3BB321F3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233988" y="2801938"/>
            <a:ext cx="7937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90FA8D12-3D93-4382-8559-F7EF3958FFF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021513" y="3649663"/>
            <a:ext cx="7937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581643AC-EED5-401D-B1BA-6E7F85B1245A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93021758"/>
              </p:ext>
            </p:extLst>
          </p:nvPr>
        </p:nvGraphicFramePr>
        <p:xfrm>
          <a:off x="1974850" y="1828800"/>
          <a:ext cx="7312025" cy="4276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ADE1C366-041C-443C-BB00-A58346230315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951163" y="1736725"/>
            <a:ext cx="53594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9E5AAF38-BB1D-4A3F-8BE3-EA3D4CEF97A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310563" y="1736725"/>
            <a:ext cx="0" cy="1651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406852F2-8924-46ED-8BDA-A78B7654627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2951163" y="173672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tangle 314">
            <a:extLst>
              <a:ext uri="{FF2B5EF4-FFF2-40B4-BE49-F238E27FC236}">
                <a16:creationId xmlns:a16="http://schemas.microsoft.com/office/drawing/2014/main" id="{9C76D4EC-5201-40FA-9E02-4C254BD57780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230438" y="6081713"/>
            <a:ext cx="144303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ACC6F35-3674-446C-AE2B-2C0A873B3D4C}" type="datetime'C''''urren''''t ''''''''pra''c''''t''''ice'' sce''na''''rio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urrent practice scenario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7D6EFEF0-A557-4038-868F-D81B34D71A55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5703888" y="6081713"/>
            <a:ext cx="16430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E75A7ED-E8B7-43B7-A6EE-7722DFE44E18}" type="datetime'''P''rodu''ct ''''cir''''cu''l''''a''''t''''''''''ion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roduct circula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ABB7CBFC-BAA6-4A84-AF43-615FF99E4BCA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3867150" y="6081713"/>
            <a:ext cx="1739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D303B46-BE6C-41D9-BF61-175439602B52}" type="datetime'Ma''teria''''ls ''''''c''''ir''c''''ul''''a''''t''i''''''on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Materials circula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5727AB61-5160-453D-B830-03BC766364BD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716838" y="6081713"/>
            <a:ext cx="118903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0E3EDB0-AE09-4FB1-A37F-B4464F8F09B6}" type="datetime'Ci''r''cu''''''l''ar scenario'' ''''''''''''''''''205''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ircular scenario 20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AA3D187-61F3-4871-B763-AFB88E4D49D4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8172450" y="3425825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D8118B7-E8B3-4D7C-BBCE-8C3099C2B603}" type="datetime'''''5''''''''''''''''''''''''''''''''''.''''''''''''6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.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F1F8E1F-A42B-432B-8C7E-A439E261F398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4598988" y="1851025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B7C52C8-57DA-4EB4-BB6A-36341D412E06}" type="datetime'''''''''''''''''''''1''''''''''''''.''''''''''''''''''7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01F39D6-6C6A-4CC7-B454-376723E4EADA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386513" y="2578100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AB8737B-2617-4E7F-AC4D-0B781317DF14}" type="datetime'''''''''2''''''''''''.''''''''''''0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.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A18A3C92-52C9-45BE-BA8D-8EC0D5FAAD72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5329238" y="1585913"/>
            <a:ext cx="6048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140F5DB-1318-4F00-9A6E-92F45839C91A}" type="datetime'''''''-''''''''4''''''''''0''''''''''''''''''''''''''%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40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93B09CB-09ED-4CF6-A73F-FFA7F843D2A8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9545638" y="2635250"/>
            <a:ext cx="231775" cy="17303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A521CE-E456-42EE-BD52-1A645CECD0CD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545638" y="2136775"/>
            <a:ext cx="231775" cy="17303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7AB0A1-96AB-4A8C-83FA-59945AFAB462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545638" y="1887538"/>
            <a:ext cx="231775" cy="173038"/>
          </a:xfrm>
          <a:prstGeom prst="rect">
            <a:avLst/>
          </a:prstGeom>
          <a:solidFill>
            <a:srgbClr val="C3CFE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91ED2DC-1FCD-4D19-9231-26420044A600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545638" y="2386013"/>
            <a:ext cx="231775" cy="173037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559D210-E90B-40B8-A0FE-AE2F91C8B29B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9828213" y="2379663"/>
            <a:ext cx="3873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9DBAA80-400A-4753-AAC6-F54E5BC8AF3E}" type="datetime'S''''''''''''te''''''''''''e''''''l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tee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5063E0D1-EDE1-40A1-91AA-2E4A22A28158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9828213" y="1881188"/>
            <a:ext cx="800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EB81BD5-590B-430A-8A3C-A432464E7819}" type="datetime'A''''l''''u''''''''''''''''m''''''''''i''nu''m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luminum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73421DD9-93D3-4BEF-94B7-380F4A5CD068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9828213" y="2130425"/>
            <a:ext cx="5667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24DFF7A-D444-4995-8080-751AC211C478}" type="datetime'''''Pl''''''''''''''''a''s''''t''''i''c''s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lastic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6FF25EF6-799D-432A-A384-264A1F8B3DAA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9828213" y="2628900"/>
            <a:ext cx="6619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8A4F5D8-92DE-438D-97C3-0DE2F1A13EBA}" type="datetime'C''''e''''''''''''''''''''''''m''''e''''''nt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2DA9DD8E-6B0E-48B3-AF74-D2BA5E021877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602604"/>
              </p:ext>
            </p:extLst>
          </p:nvPr>
        </p:nvGraphicFramePr>
        <p:xfrm>
          <a:off x="1974850" y="1992313"/>
          <a:ext cx="1952625" cy="4113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69" name="AutoShape 249">
            <a:extLst>
              <a:ext uri="{FF2B5EF4-FFF2-40B4-BE49-F238E27FC236}">
                <a16:creationId xmlns:a16="http://schemas.microsoft.com/office/drawing/2014/main" id="{DACA8394-1AE5-494F-98ED-B97376B22C3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974850" y="1471335"/>
            <a:ext cx="8753401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AutoShape 250">
            <a:extLst>
              <a:ext uri="{FF2B5EF4-FFF2-40B4-BE49-F238E27FC236}">
                <a16:creationId xmlns:a16="http://schemas.microsoft.com/office/drawing/2014/main" id="{000C5C36-A105-468A-B047-AE8413408E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0186" y="996674"/>
            <a:ext cx="10502246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B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lobal emissions reductions potential from a more circular econom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t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er year</a:t>
            </a:r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id="{055797C8-9F74-4BD2-A62B-DE9FAF0A68DE}"/>
              </a:ext>
            </a:extLst>
          </p:cNvPr>
          <p:cNvSpPr txBox="1">
            <a:spLocks/>
          </p:cNvSpPr>
          <p:nvPr/>
        </p:nvSpPr>
        <p:spPr bwMode="auto">
          <a:xfrm>
            <a:off x="227002" y="118005"/>
            <a:ext cx="9988561" cy="628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GB" sz="2041" b="1" i="0" u="none" strike="noStrike" kern="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A more circular economy can cut emissions from the harder-to-abate sectors in industry by 40% by 2050</a:t>
            </a:r>
          </a:p>
        </p:txBody>
      </p:sp>
      <p:sp>
        <p:nvSpPr>
          <p:cNvPr id="74" name="5. Source">
            <a:extLst>
              <a:ext uri="{FF2B5EF4-FFF2-40B4-BE49-F238E27FC236}">
                <a16:creationId xmlns:a16="http://schemas.microsoft.com/office/drawing/2014/main" id="{C6578410-F4C3-492D-970E-3C9157595A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 Economics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CAD877D-340D-43A7-90B6-6A34E360764D}"/>
              </a:ext>
            </a:extLst>
          </p:cNvPr>
          <p:cNvSpPr/>
          <p:nvPr/>
        </p:nvSpPr>
        <p:spPr>
          <a:xfrm>
            <a:off x="10367218" y="-306102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2.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026293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think-cell Slide" r:id="rId99" imgW="449" imgH="450" progId="TCLayout.ActiveDocument.1">
                  <p:embed/>
                </p:oleObj>
              </mc:Choice>
              <mc:Fallback>
                <p:oleObj name="think-cell Slide" r:id="rId99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cs typeface="+mn-cs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30F5A4-7B87-4EE6-B387-A65337FC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32" y="265139"/>
            <a:ext cx="11870324" cy="307777"/>
          </a:xfrm>
        </p:spPr>
        <p:txBody>
          <a:bodyPr/>
          <a:lstStyle/>
          <a:p>
            <a:r>
              <a:rPr lang="en-US" sz="2000" dirty="0"/>
              <a:t>Demand-side decarbonization is feasible at a lower cost than supply-side decarbonization</a:t>
            </a:r>
            <a:endParaRPr lang="en-GB" sz="2000" b="0" baseline="-25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9EA2236-2690-438D-94DA-688427C793A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061575" y="1746250"/>
            <a:ext cx="123825" cy="1620838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7043CA0-269C-41CC-9B5A-34FA6522E5F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451975" y="1989138"/>
            <a:ext cx="609600" cy="1377950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E475B615-82C2-4805-9A7E-1F01D6C63C5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709025" y="2070100"/>
            <a:ext cx="742950" cy="1296988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619A16A8-1CEF-40FE-85AE-00FA16EC0DE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497888" y="2393950"/>
            <a:ext cx="211138" cy="97313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1E9F8A54-E704-4462-A979-B4DE20BCF1E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301038" y="2474913"/>
            <a:ext cx="196850" cy="89217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5C962A9-EEAF-4172-9797-F96102EFFD41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807325" y="2557463"/>
            <a:ext cx="493713" cy="809625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492D35-58E0-4642-80D3-9DB16DFA41FD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610475" y="2719388"/>
            <a:ext cx="196850" cy="647700"/>
          </a:xfrm>
          <a:prstGeom prst="rect">
            <a:avLst/>
          </a:prstGeom>
          <a:solidFill>
            <a:srgbClr val="9DB1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46E3DCB5-B8E2-4B9D-BC82-2AA3A779263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062663" y="2800350"/>
            <a:ext cx="1547813" cy="5667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61E5684-CB3A-472A-8212-C536CE72C172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862638" y="2881313"/>
            <a:ext cx="200025" cy="485775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DAA5334B-5DA7-4A79-B497-81E17B885F6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408613" y="3286125"/>
            <a:ext cx="454025" cy="8096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CF5AD769-D2EA-479D-AFC3-EAFA35D183F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830763" y="3367088"/>
            <a:ext cx="577850" cy="161925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CB514F77-C552-450E-8CF4-2CF0D46B021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995738" y="3367088"/>
            <a:ext cx="835025" cy="24288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4B4AEE88-CED4-4A24-A30D-1DBE420C97A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435350" y="3367088"/>
            <a:ext cx="560388" cy="242887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4F94CFB-17CC-475D-ABF4-3E5717D99BA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195638" y="3367088"/>
            <a:ext cx="239713" cy="647700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59A59D59-27DC-40AA-BECB-9722FB7805C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239963" y="3367088"/>
            <a:ext cx="955675" cy="97313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7631CACF-83FA-458F-BF86-DBC707B92B1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041525" y="3367088"/>
            <a:ext cx="198438" cy="1620837"/>
          </a:xfrm>
          <a:prstGeom prst="rect">
            <a:avLst/>
          </a:prstGeom>
          <a:solidFill>
            <a:srgbClr val="9DB1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77B369D-C450-4E62-92C0-23837771EECD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719263" y="3367088"/>
            <a:ext cx="322263" cy="1620837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659FC3C-56F3-431D-828A-E7BD482C3EA1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655763" y="3367088"/>
            <a:ext cx="63500" cy="1620837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F186CA2-2545-41E0-85C6-160981A4776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392238" y="3367088"/>
            <a:ext cx="263525" cy="1620837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0A335C8-DF83-4D21-9D8D-481916CA7D4A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281113" y="3367088"/>
            <a:ext cx="111125" cy="1620837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72B39605-E37E-4438-BCAD-BACE63EEBF4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1281113" y="3697288"/>
            <a:ext cx="0" cy="12954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ACB3E5B-EFC5-40C2-A2BA-510B6AF6B09C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276350" y="3367088"/>
            <a:ext cx="90392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6294323F-F2FF-4AAC-A351-250588AC01C5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222375" y="17462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59364BA6-83FF-4CB4-8BBB-3FA977D52F35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1281113" y="1741488"/>
            <a:ext cx="0" cy="17430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4B9B53C2-7468-40B1-8D6C-4FB16ACE129A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128111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28CB2CB-E178-4043-BF6B-55E52BD2CE8E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1222375" y="25574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BA99CCD-6B0F-42C3-B0FE-8C6C0B9E9CDE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222375" y="33670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3" name="Straight Connector 442">
            <a:extLst>
              <a:ext uri="{FF2B5EF4-FFF2-40B4-BE49-F238E27FC236}">
                <a16:creationId xmlns:a16="http://schemas.microsoft.com/office/drawing/2014/main" id="{7270E104-65B4-421F-BAF6-2F8475FE7400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579596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4" name="Straight Connector 443">
            <a:extLst>
              <a:ext uri="{FF2B5EF4-FFF2-40B4-BE49-F238E27FC236}">
                <a16:creationId xmlns:a16="http://schemas.microsoft.com/office/drawing/2014/main" id="{79607067-62A6-48F5-978A-1FD1716B3AB4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V="1">
            <a:off x="730091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5" name="Straight Connector 444">
            <a:extLst>
              <a:ext uri="{FF2B5EF4-FFF2-40B4-BE49-F238E27FC236}">
                <a16:creationId xmlns:a16="http://schemas.microsoft.com/office/drawing/2014/main" id="{A18510BB-0EA9-4BB1-BC27-99D298301F78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880586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Straight Connector 441">
            <a:extLst>
              <a:ext uri="{FF2B5EF4-FFF2-40B4-BE49-F238E27FC236}">
                <a16:creationId xmlns:a16="http://schemas.microsoft.com/office/drawing/2014/main" id="{6D3B7C76-A29E-4AA3-A6DE-A2013F35EEEB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V="1">
            <a:off x="429101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7414FAA7-BE39-40F7-AFAD-D52F62139C75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1222375" y="41783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1" name="Straight Connector 440">
            <a:extLst>
              <a:ext uri="{FF2B5EF4-FFF2-40B4-BE49-F238E27FC236}">
                <a16:creationId xmlns:a16="http://schemas.microsoft.com/office/drawing/2014/main" id="{9E8E89F3-41BF-47A3-9244-3E8F9CB6739C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278606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60D6E98A-54FD-40E4-A6F5-BAC122B7932F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222375" y="49879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6" name="Straight Connector 445">
            <a:extLst>
              <a:ext uri="{FF2B5EF4-FFF2-40B4-BE49-F238E27FC236}">
                <a16:creationId xmlns:a16="http://schemas.microsoft.com/office/drawing/2014/main" id="{881C230D-48B6-4F00-9798-99D2C9E78265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V="1">
            <a:off x="1031081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5" name="Rectangle 434">
            <a:extLst>
              <a:ext uri="{FF2B5EF4-FFF2-40B4-BE49-F238E27FC236}">
                <a16:creationId xmlns:a16="http://schemas.microsoft.com/office/drawing/2014/main" id="{C6476AC9-5B72-43F3-8010-553198B8A7F5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2687638" y="3484563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64FF167-5847-4211-873F-D3A7A728B683}" type="datetime'''''5''''''''''0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EDB41A7F-4D66-4195-8BE6-598D66BF5186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715327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53F77BF-AB84-4231-8A49-745B4796D179}" type="datetime'2''''''''''''''''''''0''''0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5798B984-1E8B-486D-A554-5EDCAE5BB4A9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750888" y="4881563"/>
            <a:ext cx="3540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E0004A0-0B94-443F-BE59-38E157ED9FC0}" type="datetime'''''-''''''''1''''0''''''''''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E3C44FAC-1E6F-4672-B2B0-D52829995488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1006475" y="3260725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A1F7207-0B99-43B2-AA61-6CB408D8F320}" type="datetime'''''''''0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D73572F2-D795-41AA-A3EC-E25B2EBC596C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908050" y="245110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EFC7EFB-0541-4347-859D-953C0EEC2956}" type="datetime'''''''''''''''5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1FFDA935-74C5-443D-B222-E0122334C58A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849313" y="4071938"/>
            <a:ext cx="2555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5384E3A-8D06-48D1-847F-C4675CEE6C30}" type="datetime'''''-''''''''''''''''''''''5''''''''''''''''''''''''0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0D519791-4822-4CE7-8842-7EC8D8CE2826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1231900" y="3484563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4851B02-2644-48D8-A493-997B286DB7BD}" type="datetime'''''''''''''''''''''''''''0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40" name="Rectangle 439">
            <a:extLst>
              <a:ext uri="{FF2B5EF4-FFF2-40B4-BE49-F238E27FC236}">
                <a16:creationId xmlns:a16="http://schemas.microsoft.com/office/drawing/2014/main" id="{FFAF3295-12BD-4605-BE25-5C64A23121BD}"/>
              </a:ext>
            </a:extLst>
          </p:cNvPr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1016317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6666280-4130-48C5-A7E3-2E714391A1A2}" type="datetime'3''''''0''''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D8B578EF-AFF6-46B6-8A4F-B8A61089E245}"/>
              </a:ext>
            </a:extLst>
          </p:cNvPr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865822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63C1413-A18A-4085-A653-31A1F9DD77C3}" type="datetime'''''''2''''5''''''''''''''''''''''''''0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66070A31-A766-49A9-A448-3266890ECE68}"/>
              </a:ext>
            </a:extLst>
          </p:cNvPr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414337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9037CF8-2840-4D33-B5A4-7D03D90BB578}" type="datetime'''''''''1''''''''0''''''''''''''''''0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E5F8385D-EDA3-4755-8458-30138AB028B8}"/>
              </a:ext>
            </a:extLst>
          </p:cNvPr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809625" y="1639888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911617F-0FDE-432A-8EA8-917B78C6E30B}" type="datetime'''''''''''''1''''''''''''''''''''''''''''''0''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77404B0F-CBD1-47F3-8ADF-A47D845833F0}"/>
              </a:ext>
            </a:extLst>
          </p:cNvPr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564832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D1680CC-3BBB-4D84-B65B-3C253FE0DF92}" type="datetime'''''''''''''1''''''''''''''''''''''''''''''''''50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72D169B-70D8-44CD-8E33-315043EC0DF3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9080500" y="4987925"/>
            <a:ext cx="0" cy="469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06B334B-38C8-45D6-A770-C2DFC5B10C6E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 flipV="1">
            <a:off x="8602663" y="4987925"/>
            <a:ext cx="0" cy="646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E45D386-B396-4832-A708-0B971236E416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 flipV="1">
            <a:off x="8399463" y="4987925"/>
            <a:ext cx="0" cy="822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CF0449B-13BD-4846-9A9D-B62939FE4232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V="1">
            <a:off x="1687513" y="4987925"/>
            <a:ext cx="0" cy="469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164CD85-3A21-4DD9-8091-85B8C8828673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V="1">
            <a:off x="1879600" y="4987925"/>
            <a:ext cx="0" cy="646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31A4FE6-F339-4D30-B265-B28517575175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 flipV="1">
            <a:off x="2139950" y="4987925"/>
            <a:ext cx="0" cy="822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EAE4FB6-CCC6-41F3-A9BA-360F40706DD1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 flipV="1">
            <a:off x="2717800" y="4987925"/>
            <a:ext cx="0" cy="9985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401F50D-CA17-4950-9528-C47F4E03B9CD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 flipV="1">
            <a:off x="3314700" y="4987925"/>
            <a:ext cx="0" cy="822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7B8FAF0-1718-48B1-8395-60447A0574FA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 flipV="1">
            <a:off x="5119688" y="4987925"/>
            <a:ext cx="0" cy="469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473DD89-D75D-4FF0-AD48-6DDFD3C789ED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 flipV="1">
            <a:off x="5635625" y="4987925"/>
            <a:ext cx="0" cy="646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B94FA1-1788-420C-9A8C-953A7430548A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 flipV="1">
            <a:off x="5962650" y="4987925"/>
            <a:ext cx="0" cy="9985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F96D67-5A44-413D-8888-F2BF68B9D9F7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 flipV="1">
            <a:off x="6835775" y="4987925"/>
            <a:ext cx="0" cy="1174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50D4868-AAFC-4659-A7EB-C513A28DBDF4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 flipV="1">
            <a:off x="7708900" y="4987925"/>
            <a:ext cx="0" cy="9985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tangle 237">
            <a:extLst>
              <a:ext uri="{FF2B5EF4-FFF2-40B4-BE49-F238E27FC236}">
                <a16:creationId xmlns:a16="http://schemas.microsoft.com/office/drawing/2014/main" id="{9B5FE283-5973-4147-A0C0-D3D91B3B9BF8}"/>
              </a:ext>
            </a:extLst>
          </p:cNvPr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auto">
          <a:xfrm>
            <a:off x="7832725" y="5105400"/>
            <a:ext cx="5254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F244366-B256-4A23-82F0-2C2BCE333C7D}" type="datetime'''''R''e''''''''u''''''''''s''e'''''''''''''''''''''''''' 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use 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53F5F6A4-C03F-4C23-99A3-D9621139443D}"/>
              </a:ext>
            </a:extLst>
          </p:cNvPr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auto">
          <a:xfrm>
            <a:off x="8734425" y="5457825"/>
            <a:ext cx="14446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AA22C00-C9F1-4C1C-9465-1F73878E35A3}" type="datetime'C''''''e''m''e''''''nt'' ''r''ec''''''''y''''c''''lin''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2534CA89-300D-43A2-AFDE-0BF079DED0AC}"/>
              </a:ext>
            </a:extLst>
          </p:cNvPr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auto">
          <a:xfrm>
            <a:off x="8326438" y="5810250"/>
            <a:ext cx="15668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573DB92-2650-4B0B-978B-0C26CDEC2250}" type="datetime'''''C''h''''''''''''em''''ical'' ''rec''''''''yclin''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hemical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FD345C32-C1F4-4F32-8C70-7819CB89B9C1}"/>
              </a:ext>
            </a:extLst>
          </p:cNvPr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auto">
          <a:xfrm>
            <a:off x="628650" y="5810250"/>
            <a:ext cx="15859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43F7123-ACD7-4FA5-BE11-9AB99E142CAE}" type="datetime'''S''h''aring ''''''an''''''''''''''d ''l''''''if''etim''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haring and lifetim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78CA6C60-7756-4489-AF41-96D789B1A78B}"/>
              </a:ext>
            </a:extLst>
          </p:cNvPr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auto">
          <a:xfrm>
            <a:off x="8523288" y="5634038"/>
            <a:ext cx="20431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022E8A9-CFD1-4C55-AAC3-087D004E5201}" type="datetime'R''''''e''d''u''''''ce'' fa''''bri''cat''io''''''n'' l''osses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duce fabrication losse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55D921E-8EB7-4595-A177-48DF33844F55}"/>
              </a:ext>
            </a:extLst>
          </p:cNvPr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473075" y="5634038"/>
            <a:ext cx="15430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0BF3E15-0F3C-4FA7-8058-186BB50F2F1A}" type="datetime'''F''''lo''or sp''ac''e'' sh''''''a''rin''''''''''''g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Floor space shar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726177FE-5F50-4A25-BE2F-66CEB1AE4299}"/>
              </a:ext>
            </a:extLst>
          </p:cNvPr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9477375" y="5281613"/>
            <a:ext cx="15557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8398D5D-C391-4953-AD9D-C88A92600643}" type="datetime'''M''''''a''''te''r''i''a''''ls'' ''e''ff''ic''i''e''nc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Materials efficienc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11B4D5A1-20BF-4EC9-9A97-846153F16CDA}"/>
              </a:ext>
            </a:extLst>
          </p:cNvPr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1778000" y="5986463"/>
            <a:ext cx="18796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C1364B2-AD47-47A5-A578-5EEEC8A450B3}" type="datetime'Hi''''ghe''''''r ''''qua''lit''y r''''ecycl''i''''''n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igher quality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9936708C-3265-434B-83F4-52B013678718}"/>
              </a:ext>
            </a:extLst>
          </p:cNvPr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auto">
          <a:xfrm>
            <a:off x="10086975" y="5105400"/>
            <a:ext cx="11652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64A227E-9CF7-4780-876B-D03E12CF54D8}" type="datetime'''''L''''''igh''''''''t''''w''e''''''''''''i''gh''''tin''g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Lightweight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16D28E7D-470F-43C5-A00B-BD1F2463ED2E}"/>
              </a:ext>
            </a:extLst>
          </p:cNvPr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auto">
          <a:xfrm>
            <a:off x="7635875" y="5986463"/>
            <a:ext cx="15557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105B1B1-B3E3-4A3D-9546-9BDDA29BEF32}" type="datetime'''''M''ateria''ls'' ''''''e''''''ff''ici''enc''''y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Materials efficienc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1E74234F-01ED-4991-92C8-AA43E28AF977}"/>
              </a:ext>
            </a:extLst>
          </p:cNvPr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auto">
          <a:xfrm>
            <a:off x="3460750" y="5281613"/>
            <a:ext cx="12779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5BFA598-A10D-4519-A87F-4530C6746F07}" type="datetime'''Redu''''''''ce'''''' ''''''c''o''pp''e''''''''''''''''r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duce copper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0AD67B0E-0E24-4D86-913F-BB4B7DBCB727}"/>
              </a:ext>
            </a:extLst>
          </p:cNvPr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auto">
          <a:xfrm>
            <a:off x="3221038" y="5810250"/>
            <a:ext cx="24812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EB61352-C084-40A5-B4F2-D229961BAB25}" type="datetime'''''''Redu''ced ''''w''a''ste i''n c''''''o''ns''tructio''n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duced waste in constru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6246C38-09B9-47D3-8F5D-8BB26BC8B7D1}"/>
              </a:ext>
            </a:extLst>
          </p:cNvPr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auto">
          <a:xfrm>
            <a:off x="868363" y="5105400"/>
            <a:ext cx="4984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2D1E9C6-746C-4351-8BBD-928F570CE1AF}" type="datetime''''''' S''''''''''h''''a''''''''''''r''''''''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 Shar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21A2B767-BC50-46AC-A276-94ABE1D8F421}"/>
              </a:ext>
            </a:extLst>
          </p:cNvPr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auto">
          <a:xfrm>
            <a:off x="3859213" y="5457825"/>
            <a:ext cx="1524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AF4932D-F76A-435E-84CB-0CE41F813EE8}" type="datetime'Incr''e''''a''''s''''''''e'' ''''''col''le''c''ti''o''''n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ncrease colle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150D4267-4EA4-4C1D-97BA-4279CB3DE9C9}"/>
              </a:ext>
            </a:extLst>
          </p:cNvPr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auto">
          <a:xfrm>
            <a:off x="4173538" y="5105400"/>
            <a:ext cx="4794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9A542AF-13A6-4687-A8B8-ECBAE0FC9B3B}" type="datetime'''''''''''R''e''''''''''''''''''''u''s''''''''e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us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FBE35771-33A4-4743-A63E-21A7420C2E17}"/>
              </a:ext>
            </a:extLst>
          </p:cNvPr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auto">
          <a:xfrm>
            <a:off x="4313238" y="5634038"/>
            <a:ext cx="1524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088BAE2-1B71-4C0E-BDD3-8641707BE114}" type="datetime'I''n''''''''c''rease'' ''''c''oll''''''''''''ecti''on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ncrease colle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BA2C0D70-0AF7-4C5F-80DA-734396D0D5DF}"/>
              </a:ext>
            </a:extLst>
          </p:cNvPr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auto">
          <a:xfrm>
            <a:off x="5340350" y="6162675"/>
            <a:ext cx="29924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54B6BC9-8201-4026-B2D1-BF7F82819361}" type="datetime'I''''''n''creased re''''cycling at'' current q''ua''''lity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ncreased recycling at current qualit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FB91DD83-75E6-4BE9-B75A-164F7628A3D6}"/>
              </a:ext>
            </a:extLst>
          </p:cNvPr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auto">
          <a:xfrm>
            <a:off x="4435475" y="5986463"/>
            <a:ext cx="16017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A784BA1-CB7D-4031-82A1-5BF6C026C54D}" type="datetime'''A''v''o''''i''d ''d''o''wn''''''''g''''''''r''adi''''ng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void downgrad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4721677-68D2-4A3C-A637-D728E611CD14}"/>
              </a:ext>
            </a:extLst>
          </p:cNvPr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auto">
          <a:xfrm>
            <a:off x="350838" y="5281613"/>
            <a:ext cx="12795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E30DE4F-C1A7-47AC-8BE1-AFCB10E12877}" type="datetime''' P''''''''rol''''''o''''''''n''g ''li''''''f''e''''ti''me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 Prolong lifetim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D399598B-F9B8-4496-B07A-87911E640613}"/>
              </a:ext>
            </a:extLst>
          </p:cNvPr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auto">
          <a:xfrm>
            <a:off x="296863" y="5457825"/>
            <a:ext cx="1397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6E4DC64-5019-4DB8-ADA0-72AF66FB3F30}" type="datetime'''R''em''anuf''''''''act''ur''''''''''i''''''''n''g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manufactur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2F4A417D-5C16-48AB-9CDA-A0A0F78043BE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10817225" y="2058988"/>
            <a:ext cx="231775" cy="17303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9" name="Rectangle 468">
            <a:extLst>
              <a:ext uri="{FF2B5EF4-FFF2-40B4-BE49-F238E27FC236}">
                <a16:creationId xmlns:a16="http://schemas.microsoft.com/office/drawing/2014/main" id="{290E436B-FDC8-439D-829B-162B90D8BF6A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10817225" y="1560513"/>
            <a:ext cx="231775" cy="173038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4EDE944B-0CDE-467B-A109-48DE11890093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10817225" y="1809750"/>
            <a:ext cx="231775" cy="1730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72" name="Rectangle 471">
            <a:extLst>
              <a:ext uri="{FF2B5EF4-FFF2-40B4-BE49-F238E27FC236}">
                <a16:creationId xmlns:a16="http://schemas.microsoft.com/office/drawing/2014/main" id="{D9130C7B-8DB8-4F93-8609-FBFE1959142B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10817225" y="2308225"/>
            <a:ext cx="231775" cy="173038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A685D70-1DDA-4845-AFAC-6C249B3AFE2A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10817225" y="2557463"/>
            <a:ext cx="231775" cy="173038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72A03ED-DA2B-480D-894E-4C8F7EF2F9CD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10817225" y="2806700"/>
            <a:ext cx="231775" cy="173038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1C92D22-941A-4755-A588-49930530BFA4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10817225" y="3055938"/>
            <a:ext cx="231775" cy="173038"/>
          </a:xfrm>
          <a:prstGeom prst="rect">
            <a:avLst/>
          </a:prstGeom>
          <a:solidFill>
            <a:srgbClr val="9DB1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71DAEDD2-72B0-4F53-857A-74575E7C4FDF}"/>
              </a:ext>
            </a:extLst>
          </p:cNvPr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auto">
          <a:xfrm>
            <a:off x="11099800" y="2052638"/>
            <a:ext cx="3873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F63B173-BFC7-49F0-BB0B-2258A419EA77}" type="datetime'''''S''''''''''tee''''''''''''''''''''''''''l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tee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68" name="Rectangle 367">
            <a:extLst>
              <a:ext uri="{FF2B5EF4-FFF2-40B4-BE49-F238E27FC236}">
                <a16:creationId xmlns:a16="http://schemas.microsoft.com/office/drawing/2014/main" id="{488282C5-F51F-40B2-89B7-7A6F67D343CF}"/>
              </a:ext>
            </a:extLst>
          </p:cNvPr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auto">
          <a:xfrm>
            <a:off x="11099800" y="1554163"/>
            <a:ext cx="800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6B688A1-65E8-4B01-9124-0F8F67EAFD5C}" type="datetime'''''''''''''Al''''''''''''u''''m''''''''i''''''''nu''m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luminum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432BEA12-EADE-43A3-8EA4-F3A4AE16BFF9}"/>
              </a:ext>
            </a:extLst>
          </p:cNvPr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auto">
          <a:xfrm>
            <a:off x="11099800" y="1803400"/>
            <a:ext cx="5667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223B3BA-5F07-47A0-9D56-8B41B92C2CE5}" type="datetime'''''''''''''''Pl''''''''a''''st''ic''''''''''''''''s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lastic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71" name="Rectangle 370">
            <a:extLst>
              <a:ext uri="{FF2B5EF4-FFF2-40B4-BE49-F238E27FC236}">
                <a16:creationId xmlns:a16="http://schemas.microsoft.com/office/drawing/2014/main" id="{6B92C3DA-B800-43EF-AE6B-2F2B8078094B}"/>
              </a:ext>
            </a:extLst>
          </p:cNvPr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auto">
          <a:xfrm>
            <a:off x="11099800" y="2301875"/>
            <a:ext cx="6619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0C6D879-91F4-4E16-80AD-43469B578302}" type="datetime'C''''''e''''m''''''e''''n''''''t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D58B817A-03B2-4FCA-904F-D13581C40183}"/>
              </a:ext>
            </a:extLst>
          </p:cNvPr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auto">
          <a:xfrm>
            <a:off x="11099801" y="2551113"/>
            <a:ext cx="6826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B3CD51C-5E22-465B-A712-4EC182393FC9}" type="datetime'''''B''u''''''i''''''''''l''''d''''''''''i''''n''''gs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uilding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9E0F2D8E-0E71-4D96-A836-61DEF72B7B4A}"/>
              </a:ext>
            </a:extLst>
          </p:cNvPr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auto">
          <a:xfrm>
            <a:off x="11099801" y="2800350"/>
            <a:ext cx="3603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FF698EF-2352-4948-BFCB-02ABF935828D}" type="datetime'C''''''''''''''''a''''''''r''''''''''''''''''s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ar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572BE54-7D36-48A6-88D7-581BE765E2D8}"/>
              </a:ext>
            </a:extLst>
          </p:cNvPr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auto">
          <a:xfrm>
            <a:off x="11099800" y="3049588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5FB154C-9867-4549-AE1E-1CDA32956455}" type="datetime'''''''''''''''''''''''''O''the''r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ther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7" name="5. Source">
            <a:extLst>
              <a:ext uri="{FF2B5EF4-FFF2-40B4-BE49-F238E27FC236}">
                <a16:creationId xmlns:a16="http://schemas.microsoft.com/office/drawing/2014/main" id="{2CE4B490-5817-4775-BA1E-12482324B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 Economics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he circular economy: a powerful force for climate change 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C49B278-2D38-4D68-8776-A969C9151917}"/>
              </a:ext>
            </a:extLst>
          </p:cNvPr>
          <p:cNvGrpSpPr/>
          <p:nvPr/>
        </p:nvGrpSpPr>
        <p:grpSpPr>
          <a:xfrm>
            <a:off x="232731" y="1011186"/>
            <a:ext cx="11739183" cy="449354"/>
            <a:chOff x="176793" y="1011186"/>
            <a:chExt cx="11838412" cy="449354"/>
          </a:xfrm>
        </p:grpSpPr>
        <p:sp>
          <p:nvSpPr>
            <p:cNvPr id="109" name="AutoShape 250">
              <a:extLst>
                <a:ext uri="{FF2B5EF4-FFF2-40B4-BE49-F238E27FC236}">
                  <a16:creationId xmlns:a16="http://schemas.microsoft.com/office/drawing/2014/main" id="{7F31AFBF-C42A-4E4E-B102-E17F0100D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794" y="1011186"/>
              <a:ext cx="11838411" cy="449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batement cost for demand-side decarbonization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/tonne CO</a:t>
              </a:r>
              <a:r>
                <a:rPr kumimoji="0" lang="en-GB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 per year 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cxnSp>
          <p:nvCxnSpPr>
            <p:cNvPr id="110" name="AutoShape 249">
              <a:extLst>
                <a:ext uri="{FF2B5EF4-FFF2-40B4-BE49-F238E27FC236}">
                  <a16:creationId xmlns:a16="http://schemas.microsoft.com/office/drawing/2014/main" id="{4B521D01-280B-420D-93AD-D9EFB6A2E837}"/>
                </a:ext>
              </a:extLst>
            </p:cNvPr>
            <p:cNvCxnSpPr>
              <a:cxnSpLocks noChangeShapeType="1"/>
              <a:endCxn id="109" idx="6"/>
            </p:cNvCxnSpPr>
            <p:nvPr/>
          </p:nvCxnSpPr>
          <p:spPr bwMode="auto">
            <a:xfrm flipV="1">
              <a:off x="176793" y="1460540"/>
              <a:ext cx="11838412" cy="0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C52A34-82D8-4ED0-A15F-24EB23F4DC17}"/>
              </a:ext>
            </a:extLst>
          </p:cNvPr>
          <p:cNvSpPr/>
          <p:nvPr/>
        </p:nvSpPr>
        <p:spPr>
          <a:xfrm>
            <a:off x="10588625" y="-361331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2.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9DC4EE-EF07-43F7-AD95-166ADFA84CB9}"/>
              </a:ext>
            </a:extLst>
          </p:cNvPr>
          <p:cNvPicPr>
            <a:picLocks noChangeAspect="1"/>
          </p:cNvPicPr>
          <p:nvPr/>
        </p:nvPicPr>
        <p:blipFill>
          <a:blip r:embed="rId101"/>
          <a:stretch>
            <a:fillRect/>
          </a:stretch>
        </p:blipFill>
        <p:spPr>
          <a:xfrm>
            <a:off x="261938" y="1554163"/>
            <a:ext cx="11771742" cy="4806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2572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" name="think-cell Slide" r:id="rId13" imgW="526" imgH="526" progId="TCLayout.ActiveDocument.1">
                  <p:embed/>
                </p:oleObj>
              </mc:Choice>
              <mc:Fallback>
                <p:oleObj name="think-cell Slide" r:id="rId13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0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Arial Unicode MS" panose="020B0604020202020204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91" y="125867"/>
            <a:ext cx="10182692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In each industry sector, there is a trade-off between three major decarbonization routes: electrification (direct or indirect), carbon capture or use of biomass</a:t>
            </a:r>
            <a:endParaRPr lang="en-GB" sz="1800" b="0" dirty="0"/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9BD2843B-D2AB-4108-A734-DCD338E55CD7}"/>
              </a:ext>
            </a:extLst>
          </p:cNvPr>
          <p:cNvSpPr/>
          <p:nvPr/>
        </p:nvSpPr>
        <p:spPr>
          <a:xfrm>
            <a:off x="10493375" y="-464441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2.6</a:t>
            </a:r>
          </a:p>
        </p:txBody>
      </p:sp>
      <p:grpSp>
        <p:nvGrpSpPr>
          <p:cNvPr id="40" name="ACET">
            <a:extLst>
              <a:ext uri="{FF2B5EF4-FFF2-40B4-BE49-F238E27FC236}">
                <a16:creationId xmlns:a16="http://schemas.microsoft.com/office/drawing/2014/main" id="{8F26BA83-03D5-45F6-8526-D442CE1314AC}"/>
              </a:ext>
            </a:extLst>
          </p:cNvPr>
          <p:cNvGrpSpPr>
            <a:grpSpLocks/>
          </p:cNvGrpSpPr>
          <p:nvPr/>
        </p:nvGrpSpPr>
        <p:grpSpPr bwMode="auto">
          <a:xfrm>
            <a:off x="176790" y="-204393729"/>
            <a:ext cx="11838411" cy="1753"/>
            <a:chOff x="457" y="1551320"/>
            <a:chExt cx="761" cy="1753"/>
          </a:xfrm>
        </p:grpSpPr>
        <p:cxnSp>
          <p:nvCxnSpPr>
            <p:cNvPr id="41" name="AutoShape 249">
              <a:extLst>
                <a:ext uri="{FF2B5EF4-FFF2-40B4-BE49-F238E27FC236}">
                  <a16:creationId xmlns:a16="http://schemas.microsoft.com/office/drawing/2014/main" id="{6178AE70-B15D-49D9-9D2B-E7CCE8951857}"/>
                </a:ext>
              </a:extLst>
            </p:cNvPr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457" y="1553073"/>
              <a:ext cx="761" cy="0"/>
            </a:xfrm>
            <a:prstGeom prst="straightConnector1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2" name="AutoShape 250">
              <a:extLst>
                <a:ext uri="{FF2B5EF4-FFF2-40B4-BE49-F238E27FC236}">
                  <a16:creationId xmlns:a16="http://schemas.microsoft.com/office/drawing/2014/main" id="{677B7331-4473-42B5-9536-C43698031A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" y="1551320"/>
              <a:ext cx="761" cy="17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CBA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onceptual framework of trade-off between decarbonization routes</a:t>
              </a:r>
            </a:p>
          </p:txBody>
        </p:sp>
      </p:grp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50D3FBEF-9691-4505-8D0D-37A198951C92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1543050" y="1703388"/>
          <a:ext cx="8462963" cy="469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6F59A34E-4192-44C8-8D1F-A329901EC980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985375" y="5829300"/>
            <a:ext cx="1276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Electricity price 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US$/MWh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DAD5C87-023F-4E54-9C33-35CCAFEE4E20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9886950" y="3411538"/>
            <a:ext cx="17907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Electricity-based rout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B7BB8EE-9103-430A-BD8E-EDC62D0AC7F7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190625" y="1157288"/>
            <a:ext cx="1833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Abatement cost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US$ per tonne of CO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2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F6D3477-04A0-47FC-AB22-80BF8059F3CF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9886951" y="4111625"/>
            <a:ext cx="17748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Carbon capture route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B992BBA-3F17-4C93-8FFE-F9F43B04E698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886950" y="4810125"/>
            <a:ext cx="16637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Biomass-based rout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6DB58A5-AB92-42DE-BD89-0E3EAA93F5DB}"/>
              </a:ext>
            </a:extLst>
          </p:cNvPr>
          <p:cNvGrpSpPr/>
          <p:nvPr/>
        </p:nvGrpSpPr>
        <p:grpSpPr>
          <a:xfrm>
            <a:off x="1331298" y="2379664"/>
            <a:ext cx="7114952" cy="3648075"/>
            <a:chOff x="1359579" y="2112886"/>
            <a:chExt cx="7114952" cy="3648151"/>
          </a:xfrm>
        </p:grpSpPr>
        <p:cxnSp>
          <p:nvCxnSpPr>
            <p:cNvPr id="5" name="Straight Arrow Connector 49">
              <a:extLst>
                <a:ext uri="{FF2B5EF4-FFF2-40B4-BE49-F238E27FC236}">
                  <a16:creationId xmlns:a16="http://schemas.microsoft.com/office/drawing/2014/main" id="{4A648404-596C-4F15-8D96-C0991786B148}"/>
                </a:ext>
              </a:extLst>
            </p:cNvPr>
            <p:cNvCxnSpPr>
              <a:cxnSpLocks/>
            </p:cNvCxnSpPr>
            <p:nvPr/>
          </p:nvCxnSpPr>
          <p:spPr>
            <a:xfrm>
              <a:off x="6547827" y="3098386"/>
              <a:ext cx="0" cy="2643896"/>
            </a:xfrm>
            <a:prstGeom prst="straightConnector1">
              <a:avLst/>
            </a:prstGeom>
            <a:ln w="19050">
              <a:solidFill>
                <a:srgbClr val="F38B00"/>
              </a:solidFill>
              <a:prstDash val="sys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9">
              <a:extLst>
                <a:ext uri="{FF2B5EF4-FFF2-40B4-BE49-F238E27FC236}">
                  <a16:creationId xmlns:a16="http://schemas.microsoft.com/office/drawing/2014/main" id="{FAEA2B22-8D94-49EA-A76C-D51C210AB3A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07406" y="4982130"/>
              <a:ext cx="2351884" cy="3716"/>
            </a:xfrm>
            <a:prstGeom prst="straightConnector1">
              <a:avLst/>
            </a:prstGeom>
            <a:ln w="19050">
              <a:solidFill>
                <a:srgbClr val="7030A0"/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Speech Bubble: Rectangle with Corners Rounded 50">
              <a:extLst>
                <a:ext uri="{FF2B5EF4-FFF2-40B4-BE49-F238E27FC236}">
                  <a16:creationId xmlns:a16="http://schemas.microsoft.com/office/drawing/2014/main" id="{2AE18006-DC98-4BDC-8B56-93E3355B784D}"/>
                </a:ext>
              </a:extLst>
            </p:cNvPr>
            <p:cNvSpPr/>
            <p:nvPr/>
          </p:nvSpPr>
          <p:spPr>
            <a:xfrm>
              <a:off x="5774531" y="2112886"/>
              <a:ext cx="2700000" cy="852860"/>
            </a:xfrm>
            <a:prstGeom prst="wedgeRoundRectCallout">
              <a:avLst>
                <a:gd name="adj1" fmla="val -20833"/>
                <a:gd name="adj2" fmla="val 65282"/>
                <a:gd name="adj3" fmla="val 16667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rgbClr val="F38B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reakeven point at which electricity-based solutions become lower-cost than CCS</a:t>
              </a:r>
            </a:p>
          </p:txBody>
        </p:sp>
        <p:sp>
          <p:nvSpPr>
            <p:cNvPr id="81" name="Speech Bubble: Rectangle with Corners Rounded 80">
              <a:extLst>
                <a:ext uri="{FF2B5EF4-FFF2-40B4-BE49-F238E27FC236}">
                  <a16:creationId xmlns:a16="http://schemas.microsoft.com/office/drawing/2014/main" id="{22FAFCD1-FBDF-4F4A-BF63-E33C18B601A6}"/>
                </a:ext>
              </a:extLst>
            </p:cNvPr>
            <p:cNvSpPr/>
            <p:nvPr/>
          </p:nvSpPr>
          <p:spPr>
            <a:xfrm>
              <a:off x="1359579" y="3567475"/>
              <a:ext cx="2700000" cy="852860"/>
            </a:xfrm>
            <a:prstGeom prst="wedgeRoundRectCallout">
              <a:avLst>
                <a:gd name="adj1" fmla="val -21326"/>
                <a:gd name="adj2" fmla="val 70760"/>
                <a:gd name="adj3" fmla="val 16667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ost of the cheapest decarbonization route for a given electricity price</a:t>
              </a:r>
            </a:p>
          </p:txBody>
        </p: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1EA164AF-DB02-4C46-8192-45146D1BCD2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07406" y="4777231"/>
              <a:ext cx="3847801" cy="36354"/>
            </a:xfrm>
            <a:prstGeom prst="straightConnector1">
              <a:avLst/>
            </a:prstGeom>
            <a:ln w="19050">
              <a:solidFill>
                <a:srgbClr val="7030A0"/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CAB1D26F-EDA4-4D70-892C-340CDAAD9F21}"/>
                </a:ext>
              </a:extLst>
            </p:cNvPr>
            <p:cNvCxnSpPr>
              <a:cxnSpLocks/>
            </p:cNvCxnSpPr>
            <p:nvPr/>
          </p:nvCxnSpPr>
          <p:spPr>
            <a:xfrm>
              <a:off x="5955207" y="4778640"/>
              <a:ext cx="0" cy="972020"/>
            </a:xfrm>
            <a:prstGeom prst="straightConnector1">
              <a:avLst/>
            </a:prstGeom>
            <a:ln w="19050">
              <a:solidFill>
                <a:srgbClr val="7030A0"/>
              </a:solidFill>
              <a:prstDash val="sysDot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Arrow Connector 113">
              <a:extLst>
                <a:ext uri="{FF2B5EF4-FFF2-40B4-BE49-F238E27FC236}">
                  <a16:creationId xmlns:a16="http://schemas.microsoft.com/office/drawing/2014/main" id="{86904805-60DF-437A-9CAB-B78966390F46}"/>
                </a:ext>
              </a:extLst>
            </p:cNvPr>
            <p:cNvCxnSpPr>
              <a:cxnSpLocks/>
            </p:cNvCxnSpPr>
            <p:nvPr/>
          </p:nvCxnSpPr>
          <p:spPr>
            <a:xfrm>
              <a:off x="4459290" y="4982130"/>
              <a:ext cx="0" cy="778907"/>
            </a:xfrm>
            <a:prstGeom prst="straightConnector1">
              <a:avLst/>
            </a:prstGeom>
            <a:ln w="19050">
              <a:solidFill>
                <a:srgbClr val="7030A0"/>
              </a:solidFill>
              <a:prstDash val="sysDot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5. Source">
            <a:extLst>
              <a:ext uri="{FF2B5EF4-FFF2-40B4-BE49-F238E27FC236}">
                <a16:creationId xmlns:a16="http://schemas.microsoft.com/office/drawing/2014/main" id="{E0740028-28EF-409D-99A6-046E676F9D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McKinsey &amp; Company (2018),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carbonization of the industrial sectors: the next frontie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964520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0338906"/>
              </p:ext>
            </p:extLst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" name="think-cell Slide" r:id="rId26" imgW="526" imgH="526" progId="TCLayout.ActiveDocument.1">
                  <p:embed/>
                </p:oleObj>
              </mc:Choice>
              <mc:Fallback>
                <p:oleObj name="think-cell Slide" r:id="rId26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03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3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 Unicode MS" panose="020B0604020202020204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91" y="125867"/>
            <a:ext cx="10182692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The electricity-based decarbonization route can be cheaper than the carbon capture route depending on industry and on local electricity prices</a:t>
            </a:r>
            <a:endParaRPr lang="en-GB" sz="1800" b="0" dirty="0"/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9BD2843B-D2AB-4108-A734-DCD338E55CD7}"/>
              </a:ext>
            </a:extLst>
          </p:cNvPr>
          <p:cNvSpPr/>
          <p:nvPr/>
        </p:nvSpPr>
        <p:spPr>
          <a:xfrm>
            <a:off x="10231437" y="-382218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2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F703AE8A-B9A2-4D76-8813-A835FEC4111E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54802048"/>
              </p:ext>
            </p:extLst>
          </p:nvPr>
        </p:nvGraphicFramePr>
        <p:xfrm>
          <a:off x="3225800" y="1804988"/>
          <a:ext cx="5710238" cy="1214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2E70257A-BDAB-4DD9-8E8B-07518E75EEC1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347913" y="2051050"/>
            <a:ext cx="8493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36F5D25-948C-4CD0-955B-5DE928C9D93A}" type="datetime'G''''''''''''''''''r''''ee''''nfi''''''e''''''''''''l''d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Greenfield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A068DC64-AA39-4A26-927B-C7FF0EAF0BEB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368550" y="2576513"/>
            <a:ext cx="8286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004DC99-98D9-44E7-876B-9B0CB8795FC6}" type="datetime'B''''r''o''w''''''''''n''''''fi''e''l''''''''''''''''''''d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rownfield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DABDD2B-6D4C-41EF-8135-790D4C22F6D8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282113" y="1971675"/>
            <a:ext cx="231775" cy="17303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E2C58E7-D14F-42EE-BDF7-2F40E5606E3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282113" y="2220913"/>
            <a:ext cx="231775" cy="173038"/>
          </a:xfrm>
          <a:prstGeom prst="rect">
            <a:avLst/>
          </a:prstGeom>
          <a:solidFill>
            <a:srgbClr val="D9D9D9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EBBF74F2-5F8D-4E31-9773-6A23C441A714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564688" y="1965325"/>
            <a:ext cx="7588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E89F264-E55C-452D-B993-258DFCC9C63B}" type="datetime'''''''''''''''''''E''''''''''''''l''''e''''''ctri''''cit''y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lectricity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2EE9240F-27ED-4066-8C48-0B947099FF8A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9564688" y="2214563"/>
            <a:ext cx="1308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DDDE9AC-6FF6-452C-910F-38D264BF2FB9}" type="datetime'C''''''a''r''''''''''bo''n'' ''''capt''''u''''r''''''''''''e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arbon capture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0A206358-F155-4A67-813A-67076F0BFCE4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75621493"/>
              </p:ext>
            </p:extLst>
          </p:nvPr>
        </p:nvGraphicFramePr>
        <p:xfrm>
          <a:off x="3225800" y="3165475"/>
          <a:ext cx="5710238" cy="1214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208" name="Rectangle 207">
            <a:extLst>
              <a:ext uri="{FF2B5EF4-FFF2-40B4-BE49-F238E27FC236}">
                <a16:creationId xmlns:a16="http://schemas.microsoft.com/office/drawing/2014/main" id="{A7FF43D3-DB7B-404E-AE8F-F5DBB3AADFE3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347913" y="3411538"/>
            <a:ext cx="8493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89B6CF7-3C6B-4F1D-B476-44791A7EDFB5}" type="datetime'G''''''''''r''''''''e''e''''n''''''fiel''''''d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Greenfield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43DFE0E2-28ED-4620-B738-FFEEADAB51A0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368550" y="3937000"/>
            <a:ext cx="8286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AED9D31-00B6-48A9-A72F-C957613DF581}" type="datetime'''''B''''''''''''''''''ro''''''''w''''''''''nfi''el''''d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rownfield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E660DF66-BC89-4535-B7D6-71EE7449840C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78432334"/>
              </p:ext>
            </p:extLst>
          </p:nvPr>
        </p:nvGraphicFramePr>
        <p:xfrm>
          <a:off x="3059113" y="4548188"/>
          <a:ext cx="6043612" cy="148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80" name="Rectangle 279">
            <a:extLst>
              <a:ext uri="{FF2B5EF4-FFF2-40B4-BE49-F238E27FC236}">
                <a16:creationId xmlns:a16="http://schemas.microsoft.com/office/drawing/2014/main" id="{C87C50C1-753B-4B54-B6ED-4CF4C9DDE8C4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9077325" y="5481638"/>
            <a:ext cx="12303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Electricity pric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US$/MWh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B651D9B0-941D-4A6B-8037-ADBF56BC1926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2347913" y="4794250"/>
            <a:ext cx="8493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A948F65-5A43-4F6D-9291-E25D0AA10435}" type="datetime'''''''''''''G''r''''ee''''nf''''''''''''''ield''''''''''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Greenfield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680CD481-E84F-43CF-AFF4-DC8C982FD804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2368550" y="5319713"/>
            <a:ext cx="8286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2E7B822-D156-4660-B13F-23DDD3C582B8}" type="datetime'''''Br''''o''''''''''w''''''''''n''fie''l''''''''''''d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rownfield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BC2155C-CB73-472C-A378-F284F78A09FC}"/>
              </a:ext>
            </a:extLst>
          </p:cNvPr>
          <p:cNvGrpSpPr/>
          <p:nvPr/>
        </p:nvGrpSpPr>
        <p:grpSpPr>
          <a:xfrm>
            <a:off x="425451" y="2133600"/>
            <a:ext cx="1558925" cy="3292475"/>
            <a:chOff x="1328079" y="2487613"/>
            <a:chExt cx="1558926" cy="3292475"/>
          </a:xfrm>
        </p:grpSpPr>
        <p:sp>
          <p:nvSpPr>
            <p:cNvPr id="230" name="Rectangle 75">
              <a:extLst>
                <a:ext uri="{FF2B5EF4-FFF2-40B4-BE49-F238E27FC236}">
                  <a16:creationId xmlns:a16="http://schemas.microsoft.com/office/drawing/2014/main" id="{02966252-7E6B-4C91-8227-E8EBF8D516B0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1328080" y="3851275"/>
              <a:ext cx="1558925" cy="56515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teel</a:t>
              </a:r>
            </a:p>
          </p:txBody>
        </p:sp>
        <p:sp>
          <p:nvSpPr>
            <p:cNvPr id="231" name="Rectangle 75">
              <a:extLst>
                <a:ext uri="{FF2B5EF4-FFF2-40B4-BE49-F238E27FC236}">
                  <a16:creationId xmlns:a16="http://schemas.microsoft.com/office/drawing/2014/main" id="{692E2018-792A-4EED-AF31-1D79EDC29EDD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1328080" y="2487613"/>
              <a:ext cx="1558925" cy="56515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ement</a:t>
              </a:r>
            </a:p>
          </p:txBody>
        </p:sp>
        <p:sp>
          <p:nvSpPr>
            <p:cNvPr id="232" name="Rectangle 75">
              <a:extLst>
                <a:ext uri="{FF2B5EF4-FFF2-40B4-BE49-F238E27FC236}">
                  <a16:creationId xmlns:a16="http://schemas.microsoft.com/office/drawing/2014/main" id="{2428169E-0AFF-4454-B185-AFBF3C15D11A}"/>
                </a:ext>
              </a:extLst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1328079" y="5214938"/>
              <a:ext cx="1558925" cy="5651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Ethylene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ACCAD2A9-94FB-4000-8EBA-75F0CAE58EB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9282113" y="2454275"/>
            <a:ext cx="231775" cy="173038"/>
          </a:xfrm>
          <a:prstGeom prst="rect">
            <a:avLst/>
          </a:prstGeom>
          <a:solidFill>
            <a:srgbClr val="C2AFD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C9371E-5E51-4FA8-97AA-9799E6E15937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9564688" y="2447925"/>
            <a:ext cx="21478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Electricity-based </a:t>
            </a: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hydrogen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2" name="5. Source">
            <a:extLst>
              <a:ext uri="{FF2B5EF4-FFF2-40B4-BE49-F238E27FC236}">
                <a16:creationId xmlns:a16="http://schemas.microsoft.com/office/drawing/2014/main" id="{223257A6-A90F-4D1C-A78F-B5CBE6965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184585"/>
            <a:ext cx="12192000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Biomass may be lower cost in some geographies but is not considered as a priority option due to limited availability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cKinsey &amp; Company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carbonization of the industrial sectors: the next frontier</a:t>
            </a:r>
          </a:p>
        </p:txBody>
      </p:sp>
      <p:cxnSp>
        <p:nvCxnSpPr>
          <p:cNvPr id="34" name="AutoShape 249">
            <a:extLst>
              <a:ext uri="{FF2B5EF4-FFF2-40B4-BE49-F238E27FC236}">
                <a16:creationId xmlns:a16="http://schemas.microsoft.com/office/drawing/2014/main" id="{7BF887E3-3636-46F8-BE18-B7DAF3BA24F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25302" y="1505733"/>
            <a:ext cx="11180751" cy="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AutoShape 250">
            <a:extLst>
              <a:ext uri="{FF2B5EF4-FFF2-40B4-BE49-F238E27FC236}">
                <a16:creationId xmlns:a16="http://schemas.microsoft.com/office/drawing/2014/main" id="{CD69A39E-8A84-4BC0-BEA4-1CB700221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302" y="1033505"/>
            <a:ext cx="11589903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apest supply-side decarbonization route depending on electricity price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/MWh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710362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10045688"/>
              </p:ext>
            </p:extLst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26" imgW="526" imgH="526" progId="TCLayout.ActiveDocument.1">
                  <p:embed/>
                </p:oleObj>
              </mc:Choice>
              <mc:Fallback>
                <p:oleObj name="think-cell Slide" r:id="rId26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03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3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 Unicode MS" panose="020B0604020202020204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91" y="125867"/>
            <a:ext cx="10182692" cy="6281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Whether electricity-based decarbonization is cheaper than a carbon capture route will be strongly driven by the electricity price</a:t>
            </a:r>
            <a:endParaRPr lang="en-GB" sz="1800" b="0" dirty="0"/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9BD2843B-D2AB-4108-A734-DCD338E55CD7}"/>
              </a:ext>
            </a:extLst>
          </p:cNvPr>
          <p:cNvSpPr/>
          <p:nvPr/>
        </p:nvSpPr>
        <p:spPr>
          <a:xfrm>
            <a:off x="10231437" y="-382218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2</a:t>
            </a: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3D54A351-5578-4353-B90E-AF6C2ED83F25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585958"/>
              </p:ext>
            </p:extLst>
          </p:nvPr>
        </p:nvGraphicFramePr>
        <p:xfrm>
          <a:off x="3225800" y="1804988"/>
          <a:ext cx="5710238" cy="1214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2E70257A-BDAB-4DD9-8E8B-07518E75EEC1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347913" y="2051050"/>
            <a:ext cx="8493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36F5D25-948C-4CD0-955B-5DE928C9D93A}" type="datetime'G''''''''''''''''''r''''ee''''nfi''''''e''''''''''''l''d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Greenfield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A068DC64-AA39-4A26-927B-C7FF0EAF0BEB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368550" y="2576513"/>
            <a:ext cx="8286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004DC99-98D9-44E7-876B-9B0CB8795FC6}" type="datetime'B''''r''o''w''''''''''n''''''fi''e''l''''''''''''''''''''d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rownfield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DABDD2B-6D4C-41EF-8135-790D4C22F6D8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282113" y="1971675"/>
            <a:ext cx="231775" cy="17303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E2C58E7-D14F-42EE-BDF7-2F40E5606E3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282113" y="2220913"/>
            <a:ext cx="231775" cy="173038"/>
          </a:xfrm>
          <a:prstGeom prst="rect">
            <a:avLst/>
          </a:prstGeom>
          <a:solidFill>
            <a:srgbClr val="DADAD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EBBF74F2-5F8D-4E31-9773-6A23C441A714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564688" y="1965325"/>
            <a:ext cx="7588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E89F264-E55C-452D-B993-258DFCC9C63B}" type="datetime'''''''''''''''''''E''''''''''''''l''''e''''''ctri''''cit''y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lectricity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2EE9240F-27ED-4066-8C48-0B947099FF8A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9564688" y="2214563"/>
            <a:ext cx="1308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DDDE9AC-6FF6-452C-910F-38D264BF2FB9}" type="datetime'C''''''a''r''''''''''bo''n'' ''''capt''''u''''r''''''''''''e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arbon capture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44CB2C5C-7E69-4879-9D00-957B382968C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54090983"/>
              </p:ext>
            </p:extLst>
          </p:nvPr>
        </p:nvGraphicFramePr>
        <p:xfrm>
          <a:off x="3225800" y="3165475"/>
          <a:ext cx="5710238" cy="1214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208" name="Rectangle 207">
            <a:extLst>
              <a:ext uri="{FF2B5EF4-FFF2-40B4-BE49-F238E27FC236}">
                <a16:creationId xmlns:a16="http://schemas.microsoft.com/office/drawing/2014/main" id="{A7FF43D3-DB7B-404E-AE8F-F5DBB3AADFE3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347913" y="3411538"/>
            <a:ext cx="8493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89B6CF7-3C6B-4F1D-B476-44791A7EDFB5}" type="datetime'G''''''''''r''''''''e''e''''n''''''fiel''''''d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Greenfield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43DFE0E2-28ED-4620-B738-FFEEADAB51A0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368550" y="3937000"/>
            <a:ext cx="8286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AED9D31-00B6-48A9-A72F-C957613DF581}" type="datetime'''''B''''''''''''''''''ro''''''''w''''''''''nfi''el''''d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rownfield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3E828900-67B0-47A8-BFB2-A3FCD0AD9C2B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46293316"/>
              </p:ext>
            </p:extLst>
          </p:nvPr>
        </p:nvGraphicFramePr>
        <p:xfrm>
          <a:off x="3059113" y="4548188"/>
          <a:ext cx="6043612" cy="148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80" name="Rectangle 279">
            <a:extLst>
              <a:ext uri="{FF2B5EF4-FFF2-40B4-BE49-F238E27FC236}">
                <a16:creationId xmlns:a16="http://schemas.microsoft.com/office/drawing/2014/main" id="{C87C50C1-753B-4B54-B6ED-4CF4C9DDE8C4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9077325" y="5481638"/>
            <a:ext cx="12303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Electricity pric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US$/MWh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B651D9B0-941D-4A6B-8037-ADBF56BC1926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2347913" y="4794250"/>
            <a:ext cx="8493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A948F65-5A43-4F6D-9291-E25D0AA10435}" type="datetime'''''''''''''G''r''''ee''''nf''''''''''''''ield''''''''''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Greenfield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680CD481-E84F-43CF-AFF4-DC8C982FD804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2368550" y="5319713"/>
            <a:ext cx="8286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2E7B822-D156-4660-B13F-23DDD3C582B8}" type="datetime'''''Br''''o''''''''''w''''''''''n''fie''l''''''''''''d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rownfield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BC2155C-CB73-472C-A378-F284F78A09FC}"/>
              </a:ext>
            </a:extLst>
          </p:cNvPr>
          <p:cNvGrpSpPr/>
          <p:nvPr/>
        </p:nvGrpSpPr>
        <p:grpSpPr>
          <a:xfrm>
            <a:off x="425451" y="2133600"/>
            <a:ext cx="1558925" cy="3292475"/>
            <a:chOff x="1328079" y="2487613"/>
            <a:chExt cx="1558926" cy="3292475"/>
          </a:xfrm>
        </p:grpSpPr>
        <p:sp>
          <p:nvSpPr>
            <p:cNvPr id="230" name="Rectangle 75">
              <a:extLst>
                <a:ext uri="{FF2B5EF4-FFF2-40B4-BE49-F238E27FC236}">
                  <a16:creationId xmlns:a16="http://schemas.microsoft.com/office/drawing/2014/main" id="{02966252-7E6B-4C91-8227-E8EBF8D516B0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1328080" y="3851275"/>
              <a:ext cx="1558925" cy="56515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teel</a:t>
              </a:r>
            </a:p>
          </p:txBody>
        </p:sp>
        <p:sp>
          <p:nvSpPr>
            <p:cNvPr id="231" name="Rectangle 75">
              <a:extLst>
                <a:ext uri="{FF2B5EF4-FFF2-40B4-BE49-F238E27FC236}">
                  <a16:creationId xmlns:a16="http://schemas.microsoft.com/office/drawing/2014/main" id="{692E2018-792A-4EED-AF31-1D79EDC29EDD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1328080" y="2487613"/>
              <a:ext cx="1558925" cy="56515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ement</a:t>
              </a:r>
            </a:p>
          </p:txBody>
        </p:sp>
        <p:sp>
          <p:nvSpPr>
            <p:cNvPr id="232" name="Rectangle 75">
              <a:extLst>
                <a:ext uri="{FF2B5EF4-FFF2-40B4-BE49-F238E27FC236}">
                  <a16:creationId xmlns:a16="http://schemas.microsoft.com/office/drawing/2014/main" id="{2428169E-0AFF-4454-B185-AFBF3C15D11A}"/>
                </a:ext>
              </a:extLst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1328079" y="5214938"/>
              <a:ext cx="1558925" cy="5651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Ethylene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ACCAD2A9-94FB-4000-8EBA-75F0CAE58EB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9282113" y="2454275"/>
            <a:ext cx="231775" cy="173038"/>
          </a:xfrm>
          <a:prstGeom prst="rect">
            <a:avLst/>
          </a:prstGeom>
          <a:solidFill>
            <a:srgbClr val="C2AFD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C9371E-5E51-4FA8-97AA-9799E6E15937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9564688" y="2447925"/>
            <a:ext cx="21478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Electricity-based </a:t>
            </a: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hydrogen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2" name="5. Source">
            <a:extLst>
              <a:ext uri="{FF2B5EF4-FFF2-40B4-BE49-F238E27FC236}">
                <a16:creationId xmlns:a16="http://schemas.microsoft.com/office/drawing/2014/main" id="{223257A6-A90F-4D1C-A78F-B5CBE6965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184585"/>
            <a:ext cx="12192000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Biomass may be lower cost in some geographies but is not considered as a priority option due to limited availability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cKinsey &amp; Company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carbonization of the industrial sectors: the next frontier</a:t>
            </a:r>
          </a:p>
        </p:txBody>
      </p:sp>
      <p:cxnSp>
        <p:nvCxnSpPr>
          <p:cNvPr id="34" name="AutoShape 249">
            <a:extLst>
              <a:ext uri="{FF2B5EF4-FFF2-40B4-BE49-F238E27FC236}">
                <a16:creationId xmlns:a16="http://schemas.microsoft.com/office/drawing/2014/main" id="{7BF887E3-3636-46F8-BE18-B7DAF3BA24F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25302" y="1505733"/>
            <a:ext cx="11180751" cy="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AutoShape 250">
            <a:extLst>
              <a:ext uri="{FF2B5EF4-FFF2-40B4-BE49-F238E27FC236}">
                <a16:creationId xmlns:a16="http://schemas.microsoft.com/office/drawing/2014/main" id="{CD69A39E-8A84-4BC0-BEA4-1CB700221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302" y="1033505"/>
            <a:ext cx="11589903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apest supply-side decarbonization route of primary production depending on electricity price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/MWh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530332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99621629"/>
              </p:ext>
            </p:extLst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Slide" r:id="rId14" imgW="526" imgH="526" progId="TCLayout.ActiveDocument.1">
                  <p:embed/>
                </p:oleObj>
              </mc:Choice>
              <mc:Fallback>
                <p:oleObj name="think-cell Slide" r:id="rId14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03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3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 Unicode MS"/>
              <a:sym typeface="+mn-lt"/>
            </a:endParaRP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4A9A319A-CC33-4066-8D5F-CC797ECFE228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40297595"/>
              </p:ext>
            </p:extLst>
          </p:nvPr>
        </p:nvGraphicFramePr>
        <p:xfrm>
          <a:off x="3829050" y="3041650"/>
          <a:ext cx="5033963" cy="1214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pSp>
        <p:nvGrpSpPr>
          <p:cNvPr id="147" name="ACET">
            <a:extLst>
              <a:ext uri="{FF2B5EF4-FFF2-40B4-BE49-F238E27FC236}">
                <a16:creationId xmlns:a16="http://schemas.microsoft.com/office/drawing/2014/main" id="{20FF1D51-9D13-49BA-80DD-90F4907DEB2E}"/>
              </a:ext>
            </a:extLst>
          </p:cNvPr>
          <p:cNvGrpSpPr>
            <a:grpSpLocks/>
          </p:cNvGrpSpPr>
          <p:nvPr/>
        </p:nvGrpSpPr>
        <p:grpSpPr bwMode="auto">
          <a:xfrm>
            <a:off x="176790" y="-204182560"/>
            <a:ext cx="11838411" cy="3367"/>
            <a:chOff x="457" y="1549702"/>
            <a:chExt cx="761" cy="3367"/>
          </a:xfrm>
        </p:grpSpPr>
        <p:cxnSp>
          <p:nvCxnSpPr>
            <p:cNvPr id="148" name="AutoShape 249">
              <a:extLst>
                <a:ext uri="{FF2B5EF4-FFF2-40B4-BE49-F238E27FC236}">
                  <a16:creationId xmlns:a16="http://schemas.microsoft.com/office/drawing/2014/main" id="{9F67E405-762E-45AD-B38E-0ED9975BB0A3}"/>
                </a:ext>
              </a:extLst>
            </p:cNvPr>
            <p:cNvCxnSpPr>
              <a:cxnSpLocks noChangeShapeType="1"/>
              <a:stCxn id="149" idx="4"/>
              <a:endCxn id="149" idx="6"/>
            </p:cNvCxnSpPr>
            <p:nvPr/>
          </p:nvCxnSpPr>
          <p:spPr bwMode="auto">
            <a:xfrm>
              <a:off x="457" y="1553069"/>
              <a:ext cx="761" cy="0"/>
            </a:xfrm>
            <a:prstGeom prst="straightConnector1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9" name="AutoShape 250">
              <a:extLst>
                <a:ext uri="{FF2B5EF4-FFF2-40B4-BE49-F238E27FC236}">
                  <a16:creationId xmlns:a16="http://schemas.microsoft.com/office/drawing/2014/main" id="{ED0E145F-12A7-4079-9140-229460E064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" y="1549702"/>
              <a:ext cx="761" cy="33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CBA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ost per tonne of CO</a:t>
              </a:r>
              <a:r>
                <a:rPr kumimoji="0" lang="en-GB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7CBA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CBA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 and cheapest decarbonization route depending on electricity price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007CB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/tonne CO</a:t>
              </a:r>
              <a:r>
                <a:rPr kumimoji="0" lang="en-GB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91" y="125867"/>
            <a:ext cx="9662534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The decarbonization cost per tonne of CO</a:t>
            </a:r>
            <a:r>
              <a:rPr lang="en-GB" sz="2000" baseline="-25000" dirty="0"/>
              <a:t>2</a:t>
            </a:r>
            <a:r>
              <a:rPr lang="en-GB" sz="2000" dirty="0"/>
              <a:t> will vary depending on industry and on local electricity prices </a:t>
            </a:r>
            <a:endParaRPr lang="en-GB" sz="1800" b="0" dirty="0"/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9BD2843B-D2AB-4108-A734-DCD338E55CD7}"/>
              </a:ext>
            </a:extLst>
          </p:cNvPr>
          <p:cNvSpPr/>
          <p:nvPr/>
        </p:nvSpPr>
        <p:spPr>
          <a:xfrm>
            <a:off x="10442575" y="-392018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2.7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B1F0D02-D671-44FF-B62C-BAC73C335348}"/>
              </a:ext>
            </a:extLst>
          </p:cNvPr>
          <p:cNvGrpSpPr/>
          <p:nvPr/>
        </p:nvGrpSpPr>
        <p:grpSpPr>
          <a:xfrm>
            <a:off x="407237" y="2067813"/>
            <a:ext cx="1558925" cy="3292475"/>
            <a:chOff x="2395538" y="1876425"/>
            <a:chExt cx="1558925" cy="3292475"/>
          </a:xfrm>
        </p:grpSpPr>
        <p:sp>
          <p:nvSpPr>
            <p:cNvPr id="230" name="Rectangle 75">
              <a:extLst>
                <a:ext uri="{FF2B5EF4-FFF2-40B4-BE49-F238E27FC236}">
                  <a16:creationId xmlns:a16="http://schemas.microsoft.com/office/drawing/2014/main" id="{02966252-7E6B-4C91-8227-E8EBF8D516B0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95538" y="3240088"/>
              <a:ext cx="1558925" cy="56515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teel</a:t>
              </a:r>
            </a:p>
          </p:txBody>
        </p:sp>
        <p:sp>
          <p:nvSpPr>
            <p:cNvPr id="231" name="Rectangle 75">
              <a:extLst>
                <a:ext uri="{FF2B5EF4-FFF2-40B4-BE49-F238E27FC236}">
                  <a16:creationId xmlns:a16="http://schemas.microsoft.com/office/drawing/2014/main" id="{692E2018-792A-4EED-AF31-1D79EDC29EDD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95538" y="1876425"/>
              <a:ext cx="1558925" cy="56515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ement</a:t>
              </a:r>
            </a:p>
          </p:txBody>
        </p:sp>
        <p:sp>
          <p:nvSpPr>
            <p:cNvPr id="232" name="Rectangle 75">
              <a:extLst>
                <a:ext uri="{FF2B5EF4-FFF2-40B4-BE49-F238E27FC236}">
                  <a16:creationId xmlns:a16="http://schemas.microsoft.com/office/drawing/2014/main" id="{2428169E-0AFF-4454-B185-AFBF3C15D11A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95538" y="4603750"/>
              <a:ext cx="1558925" cy="5651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Ethylene</a:t>
              </a:r>
            </a:p>
          </p:txBody>
        </p:sp>
      </p:grpSp>
      <p:graphicFrame>
        <p:nvGraphicFramePr>
          <p:cNvPr id="107" name="Chart 106">
            <a:extLst>
              <a:ext uri="{FF2B5EF4-FFF2-40B4-BE49-F238E27FC236}">
                <a16:creationId xmlns:a16="http://schemas.microsoft.com/office/drawing/2014/main" id="{788E1DBA-F783-4256-88DC-100F6A6069D5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05346034"/>
              </p:ext>
            </p:extLst>
          </p:nvPr>
        </p:nvGraphicFramePr>
        <p:xfrm>
          <a:off x="3829050" y="1749425"/>
          <a:ext cx="5033963" cy="1214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109" name="Chart 108">
            <a:extLst>
              <a:ext uri="{FF2B5EF4-FFF2-40B4-BE49-F238E27FC236}">
                <a16:creationId xmlns:a16="http://schemas.microsoft.com/office/drawing/2014/main" id="{FEC57FBA-BA82-47E3-A10B-5A2919AABB7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58270409"/>
              </p:ext>
            </p:extLst>
          </p:nvPr>
        </p:nvGraphicFramePr>
        <p:xfrm>
          <a:off x="3616325" y="4424363"/>
          <a:ext cx="5459413" cy="148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368" name="Rectangle 367">
            <a:extLst>
              <a:ext uri="{FF2B5EF4-FFF2-40B4-BE49-F238E27FC236}">
                <a16:creationId xmlns:a16="http://schemas.microsoft.com/office/drawing/2014/main" id="{1A70A731-DA39-40AF-8AB6-2C88DC672624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916988" y="5457825"/>
            <a:ext cx="12096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t>US$/tonne CO</a:t>
            </a:r>
            <a:r>
              <a:rPr kumimoji="0" lang="en-US" sz="1300" b="0" i="0" u="none" strike="noStrike" kern="1200" cap="none" spc="0" normalizeH="0" baseline="-25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t>2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5DBD0A9-C7A9-4DAB-9110-558FC97DD6C9}"/>
              </a:ext>
            </a:extLst>
          </p:cNvPr>
          <p:cNvGrpSpPr/>
          <p:nvPr/>
        </p:nvGrpSpPr>
        <p:grpSpPr>
          <a:xfrm>
            <a:off x="2377550" y="1943508"/>
            <a:ext cx="1106488" cy="817562"/>
            <a:chOff x="2377550" y="1943508"/>
            <a:chExt cx="1106488" cy="817562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FD885433-91F1-4372-B2E5-B1937534D9AE}"/>
                </a:ext>
              </a:extLst>
            </p:cNvPr>
            <p:cNvSpPr txBox="1"/>
            <p:nvPr/>
          </p:nvSpPr>
          <p:spPr>
            <a:xfrm>
              <a:off x="2377550" y="1943508"/>
              <a:ext cx="1106488" cy="292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reenfield</a:t>
              </a:r>
            </a:p>
          </p:txBody>
        </p:sp>
        <p:sp>
          <p:nvSpPr>
            <p:cNvPr id="269" name="TextBox 268">
              <a:extLst>
                <a:ext uri="{FF2B5EF4-FFF2-40B4-BE49-F238E27FC236}">
                  <a16:creationId xmlns:a16="http://schemas.microsoft.com/office/drawing/2014/main" id="{EAF25A86-A3A7-4314-9F2F-05CB08D3F335}"/>
                </a:ext>
              </a:extLst>
            </p:cNvPr>
            <p:cNvSpPr txBox="1"/>
            <p:nvPr/>
          </p:nvSpPr>
          <p:spPr>
            <a:xfrm>
              <a:off x="2377550" y="2468970"/>
              <a:ext cx="1106488" cy="292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rownfield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F85615C-8E93-4C06-A913-BB88D30FC13E}"/>
              </a:ext>
            </a:extLst>
          </p:cNvPr>
          <p:cNvGrpSpPr/>
          <p:nvPr/>
        </p:nvGrpSpPr>
        <p:grpSpPr>
          <a:xfrm>
            <a:off x="9544846" y="1832478"/>
            <a:ext cx="1738417" cy="1600970"/>
            <a:chOff x="366502" y="1658603"/>
            <a:chExt cx="1738417" cy="1600970"/>
          </a:xfrm>
        </p:grpSpPr>
        <p:sp>
          <p:nvSpPr>
            <p:cNvPr id="330" name="Rectangle: Rounded Corners 329">
              <a:extLst>
                <a:ext uri="{FF2B5EF4-FFF2-40B4-BE49-F238E27FC236}">
                  <a16:creationId xmlns:a16="http://schemas.microsoft.com/office/drawing/2014/main" id="{42A03E2F-39BE-4885-857B-EB8197E5B026}"/>
                </a:ext>
              </a:extLst>
            </p:cNvPr>
            <p:cNvSpPr/>
            <p:nvPr/>
          </p:nvSpPr>
          <p:spPr>
            <a:xfrm>
              <a:off x="369888" y="2557231"/>
              <a:ext cx="180000" cy="180000"/>
            </a:xfrm>
            <a:prstGeom prst="round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1" name="Rectangle: Rounded Corners 330">
              <a:extLst>
                <a:ext uri="{FF2B5EF4-FFF2-40B4-BE49-F238E27FC236}">
                  <a16:creationId xmlns:a16="http://schemas.microsoft.com/office/drawing/2014/main" id="{8D05BBDC-CA64-4292-B8BF-B3BFA596ABC9}"/>
                </a:ext>
              </a:extLst>
            </p:cNvPr>
            <p:cNvSpPr/>
            <p:nvPr/>
          </p:nvSpPr>
          <p:spPr>
            <a:xfrm>
              <a:off x="369888" y="2788628"/>
              <a:ext cx="180000" cy="180000"/>
            </a:xfrm>
            <a:prstGeom prst="roundRect">
              <a:avLst/>
            </a:prstGeom>
            <a:solidFill>
              <a:srgbClr val="C2AF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2" name="Rectangle: Rounded Corners 331">
              <a:extLst>
                <a:ext uri="{FF2B5EF4-FFF2-40B4-BE49-F238E27FC236}">
                  <a16:creationId xmlns:a16="http://schemas.microsoft.com/office/drawing/2014/main" id="{24E9FBC6-AC1A-44DE-8C8C-032C4AF72C34}"/>
                </a:ext>
              </a:extLst>
            </p:cNvPr>
            <p:cNvSpPr/>
            <p:nvPr/>
          </p:nvSpPr>
          <p:spPr>
            <a:xfrm>
              <a:off x="369888" y="3020497"/>
              <a:ext cx="180000" cy="180000"/>
            </a:xfrm>
            <a:prstGeom prst="roundRect">
              <a:avLst/>
            </a:prstGeom>
            <a:solidFill>
              <a:srgbClr val="96969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B86CDF37-6DCD-4710-8701-5EC20E67915A}"/>
                </a:ext>
              </a:extLst>
            </p:cNvPr>
            <p:cNvSpPr txBox="1"/>
            <p:nvPr/>
          </p:nvSpPr>
          <p:spPr>
            <a:xfrm>
              <a:off x="547688" y="2497003"/>
              <a:ext cx="1106488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Electricity</a:t>
              </a: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8AA4AF9A-3B1C-4D48-9BCA-B87A0CF0C300}"/>
                </a:ext>
              </a:extLst>
            </p:cNvPr>
            <p:cNvSpPr txBox="1"/>
            <p:nvPr/>
          </p:nvSpPr>
          <p:spPr>
            <a:xfrm>
              <a:off x="547688" y="2728109"/>
              <a:ext cx="1106488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ydrogen</a:t>
              </a:r>
            </a:p>
          </p:txBody>
        </p:sp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99BAC3E2-391A-4771-8A9F-B77652E0C38E}"/>
                </a:ext>
              </a:extLst>
            </p:cNvPr>
            <p:cNvSpPr txBox="1"/>
            <p:nvPr/>
          </p:nvSpPr>
          <p:spPr>
            <a:xfrm>
              <a:off x="545994" y="2967185"/>
              <a:ext cx="1558925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arbon capture</a:t>
              </a:r>
            </a:p>
          </p:txBody>
        </p:sp>
        <p:sp>
          <p:nvSpPr>
            <p:cNvPr id="360" name="Oval 359">
              <a:extLst>
                <a:ext uri="{FF2B5EF4-FFF2-40B4-BE49-F238E27FC236}">
                  <a16:creationId xmlns:a16="http://schemas.microsoft.com/office/drawing/2014/main" id="{D27598E6-4ABD-4932-B995-CAE6A1FCABD7}"/>
                </a:ext>
              </a:extLst>
            </p:cNvPr>
            <p:cNvSpPr/>
            <p:nvPr/>
          </p:nvSpPr>
          <p:spPr>
            <a:xfrm>
              <a:off x="366502" y="1718831"/>
              <a:ext cx="180000" cy="180000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61" name="Diamond 360">
              <a:extLst>
                <a:ext uri="{FF2B5EF4-FFF2-40B4-BE49-F238E27FC236}">
                  <a16:creationId xmlns:a16="http://schemas.microsoft.com/office/drawing/2014/main" id="{8683CDF9-CF8F-4016-8E8C-AD34E8F31C14}"/>
                </a:ext>
              </a:extLst>
            </p:cNvPr>
            <p:cNvSpPr/>
            <p:nvPr/>
          </p:nvSpPr>
          <p:spPr>
            <a:xfrm>
              <a:off x="366502" y="1950228"/>
              <a:ext cx="180000" cy="180000"/>
            </a:xfrm>
            <a:prstGeom prst="diamond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62" name="Rectangle 361">
              <a:extLst>
                <a:ext uri="{FF2B5EF4-FFF2-40B4-BE49-F238E27FC236}">
                  <a16:creationId xmlns:a16="http://schemas.microsoft.com/office/drawing/2014/main" id="{3CC53470-18BD-4C48-BCAA-C249E5086721}"/>
                </a:ext>
              </a:extLst>
            </p:cNvPr>
            <p:cNvSpPr/>
            <p:nvPr/>
          </p:nvSpPr>
          <p:spPr>
            <a:xfrm>
              <a:off x="366502" y="2182097"/>
              <a:ext cx="180000" cy="18000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64" name="TextBox 363">
              <a:extLst>
                <a:ext uri="{FF2B5EF4-FFF2-40B4-BE49-F238E27FC236}">
                  <a16:creationId xmlns:a16="http://schemas.microsoft.com/office/drawing/2014/main" id="{82CCECF3-80F6-48CF-AE2F-914EF42C8C1E}"/>
                </a:ext>
              </a:extLst>
            </p:cNvPr>
            <p:cNvSpPr txBox="1"/>
            <p:nvPr/>
          </p:nvSpPr>
          <p:spPr>
            <a:xfrm>
              <a:off x="544301" y="1658603"/>
              <a:ext cx="155723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t US$20/MWh</a:t>
              </a:r>
            </a:p>
          </p:txBody>
        </p:sp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3226D539-9FAD-4B18-8BC4-5F31990C8B6A}"/>
                </a:ext>
              </a:extLst>
            </p:cNvPr>
            <p:cNvSpPr txBox="1"/>
            <p:nvPr/>
          </p:nvSpPr>
          <p:spPr>
            <a:xfrm>
              <a:off x="544302" y="1889709"/>
              <a:ext cx="1557230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t US$40/MWh</a:t>
              </a:r>
            </a:p>
          </p:txBody>
        </p:sp>
        <p:sp>
          <p:nvSpPr>
            <p:cNvPr id="366" name="TextBox 365">
              <a:extLst>
                <a:ext uri="{FF2B5EF4-FFF2-40B4-BE49-F238E27FC236}">
                  <a16:creationId xmlns:a16="http://schemas.microsoft.com/office/drawing/2014/main" id="{AB8EE911-22E2-41A6-92EA-10B42ADF768D}"/>
                </a:ext>
              </a:extLst>
            </p:cNvPr>
            <p:cNvSpPr txBox="1"/>
            <p:nvPr/>
          </p:nvSpPr>
          <p:spPr>
            <a:xfrm>
              <a:off x="542608" y="2128785"/>
              <a:ext cx="1558925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t US$70/MWh</a:t>
              </a:r>
            </a:p>
          </p:txBody>
        </p:sp>
      </p:grpSp>
      <p:sp>
        <p:nvSpPr>
          <p:cNvPr id="93" name="5. Source">
            <a:extLst>
              <a:ext uri="{FF2B5EF4-FFF2-40B4-BE49-F238E27FC236}">
                <a16:creationId xmlns:a16="http://schemas.microsoft.com/office/drawing/2014/main" id="{E1F38F68-78E2-4EEA-9583-AF37A3B1B0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15505"/>
            <a:ext cx="11778784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Bioenergy may be lower in cost in some geographies but is not considered as a priority option due to limited availability 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cKinsey &amp; Company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carbonization of the industrial sectors: the next frontier</a:t>
            </a:r>
          </a:p>
        </p:txBody>
      </p:sp>
      <p:cxnSp>
        <p:nvCxnSpPr>
          <p:cNvPr id="94" name="AutoShape 249">
            <a:extLst>
              <a:ext uri="{FF2B5EF4-FFF2-40B4-BE49-F238E27FC236}">
                <a16:creationId xmlns:a16="http://schemas.microsoft.com/office/drawing/2014/main" id="{5949FD57-A606-41BC-B3A8-E3A11A5250D6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52321" y="1460722"/>
            <a:ext cx="10930942" cy="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5" name="AutoShape 250">
            <a:extLst>
              <a:ext uri="{FF2B5EF4-FFF2-40B4-BE49-F238E27FC236}">
                <a16:creationId xmlns:a16="http://schemas.microsoft.com/office/drawing/2014/main" id="{A1A8B3F7-B331-4C59-8720-F210716F6F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322" y="1021644"/>
            <a:ext cx="10930941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apest supply-side decarbonization route and abatement cost depending at different electricity prices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/tonne 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8B10814-6814-44D3-8DDA-57557C37392F}"/>
              </a:ext>
            </a:extLst>
          </p:cNvPr>
          <p:cNvGrpSpPr/>
          <p:nvPr/>
        </p:nvGrpSpPr>
        <p:grpSpPr>
          <a:xfrm>
            <a:off x="2414481" y="3305270"/>
            <a:ext cx="1106488" cy="817562"/>
            <a:chOff x="2377550" y="1943508"/>
            <a:chExt cx="1106488" cy="817562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8522C35-48F4-4115-9571-D16DBFBFCA75}"/>
                </a:ext>
              </a:extLst>
            </p:cNvPr>
            <p:cNvSpPr txBox="1"/>
            <p:nvPr/>
          </p:nvSpPr>
          <p:spPr>
            <a:xfrm>
              <a:off x="2377550" y="1943508"/>
              <a:ext cx="1106488" cy="292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reenfield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819BD40-5006-4DDD-BE98-A92EF563CFAD}"/>
                </a:ext>
              </a:extLst>
            </p:cNvPr>
            <p:cNvSpPr txBox="1"/>
            <p:nvPr/>
          </p:nvSpPr>
          <p:spPr>
            <a:xfrm>
              <a:off x="2377550" y="2468970"/>
              <a:ext cx="1106488" cy="292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rownfield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1BCA335E-3B7D-460A-B190-7FE2B8E5C914}"/>
              </a:ext>
            </a:extLst>
          </p:cNvPr>
          <p:cNvGrpSpPr/>
          <p:nvPr/>
        </p:nvGrpSpPr>
        <p:grpSpPr>
          <a:xfrm>
            <a:off x="2414481" y="4668932"/>
            <a:ext cx="1106488" cy="817562"/>
            <a:chOff x="2377550" y="1943508"/>
            <a:chExt cx="1106488" cy="817562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4C1CE86-74CE-424C-B2B0-FD46314CFC8E}"/>
                </a:ext>
              </a:extLst>
            </p:cNvPr>
            <p:cNvSpPr txBox="1"/>
            <p:nvPr/>
          </p:nvSpPr>
          <p:spPr>
            <a:xfrm>
              <a:off x="2377550" y="1943508"/>
              <a:ext cx="1106488" cy="292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reenfield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F5823427-BE59-4662-B432-6DEA60F4D410}"/>
                </a:ext>
              </a:extLst>
            </p:cNvPr>
            <p:cNvSpPr txBox="1"/>
            <p:nvPr/>
          </p:nvSpPr>
          <p:spPr>
            <a:xfrm>
              <a:off x="2377550" y="2468970"/>
              <a:ext cx="1106488" cy="292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rownfield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4859441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" name="Object 121" hidden="1">
            <a:extLst>
              <a:ext uri="{FF2B5EF4-FFF2-40B4-BE49-F238E27FC236}">
                <a16:creationId xmlns:a16="http://schemas.microsoft.com/office/drawing/2014/main" id="{46124D7F-9C1B-4E27-88A8-224A9495C3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" name="think-cell Slide" r:id="rId26" imgW="395" imgH="394" progId="TCLayout.ActiveDocument.1">
                  <p:embed/>
                </p:oleObj>
              </mc:Choice>
              <mc:Fallback>
                <p:oleObj name="think-cell Slide" r:id="rId26" imgW="395" imgH="394" progId="TCLayout.ActiveDocument.1">
                  <p:embed/>
                  <p:pic>
                    <p:nvPicPr>
                      <p:cNvPr id="122" name="Object 121" hidden="1">
                        <a:extLst>
                          <a:ext uri="{FF2B5EF4-FFF2-40B4-BE49-F238E27FC236}">
                            <a16:creationId xmlns:a16="http://schemas.microsoft.com/office/drawing/2014/main" id="{46124D7F-9C1B-4E27-88A8-224A9495C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Rectangle 120" hidden="1">
            <a:extLst>
              <a:ext uri="{FF2B5EF4-FFF2-40B4-BE49-F238E27FC236}">
                <a16:creationId xmlns:a16="http://schemas.microsoft.com/office/drawing/2014/main" id="{D3180227-D883-4713-A003-941276BD188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8E1FB0-C292-4B98-A346-800B54ED9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296702"/>
            <a:ext cx="10058751" cy="307777"/>
          </a:xfrm>
        </p:spPr>
        <p:txBody>
          <a:bodyPr/>
          <a:lstStyle/>
          <a:p>
            <a:r>
              <a:rPr lang="en-GB" sz="2000" dirty="0"/>
              <a:t>Electricity is the major energy source used in aluminum production</a:t>
            </a:r>
            <a:endParaRPr lang="en-GB" dirty="0">
              <a:highlight>
                <a:srgbClr val="FFFF00"/>
              </a:highlight>
            </a:endParaRPr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3358C281-9920-4025-8005-4F1CB7E762B2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2705100" y="1952625"/>
          <a:ext cx="2354263" cy="4246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8DF2FD64-B2B0-410C-8874-67A99198587C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678238" y="6175376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5F47875-F4ED-48D9-9D00-58D66286A72A}" type="datetime'''''''''''''''2''''''''''''0''''''''''''''''''''14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4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38154CD-6971-482A-BB46-7FD322A9FF9C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4038600" y="1930400"/>
            <a:ext cx="296863" cy="2127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C4D46D8-84CF-476A-94B7-6CCFA07F8759}" type="datetime'''''''''''''''0''.''0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7825D82-B9EE-4E90-B071-C69C793848B2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3733800" y="2224088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23BA24E-768D-459F-A67F-7E7D7711EEE1}" type="datetime'''''''''''''''0''''''''''''''''''''''''''''''.''''''8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8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F0ABDDF-894F-412A-9DEC-D2AF546076FA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3733800" y="28035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4176142-84F8-4232-8AF7-F74C0CCEF79B}" type="datetime'''''''''''''''''''''''''''''''''1''''''''''''.''0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54CCDA7-7A71-4BCA-8B8E-26AB30A2D3AF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430588" y="1949450"/>
            <a:ext cx="296863" cy="212725"/>
          </a:xfrm>
          <a:prstGeom prst="rect">
            <a:avLst/>
          </a:prstGeom>
          <a:solidFill>
            <a:srgbClr val="C30C3E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7B932F2-79ED-47E3-BFA0-1F7165E59FBE}" type="datetime'''''''''''''''''''''0''''''''''''''''''.''''''''''1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1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B071028-2B9C-4EB6-BC3C-FF1CB4CDA9ED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3733800" y="34639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3BDFCC4-9323-4C5E-A025-964204B0A0C6}" type="datetime'1''''''''''''''.''''''''''''''''''''''''''0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5B6DF5C-9EB4-4399-8ECE-EEC1A4968992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733800" y="490537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A1BF4C7-5870-4E43-AA53-7423A919871A}" type="datetime'''''''''''''''''''''''''''''''''''''3''''''''''''''.''''3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.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E6E295C-9903-414C-8261-6AED4E08EB9A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3733800" y="171767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04649E6-CCC5-4997-B237-E235402C3AF6}" type="datetime'''''''''''''''''6''''''''''''''''''''.''''''2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.2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E985DF-7C74-487B-978B-5C8F446E748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815013" y="2622550"/>
            <a:ext cx="231775" cy="173038"/>
          </a:xfrm>
          <a:prstGeom prst="rect">
            <a:avLst/>
          </a:prstGeom>
          <a:solidFill>
            <a:srgbClr val="C0C0C0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FBDEAD-3DFF-4DA2-94BF-1F2B299D383B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815013" y="2373313"/>
            <a:ext cx="231775" cy="173038"/>
          </a:xfrm>
          <a:prstGeom prst="rect">
            <a:avLst/>
          </a:prstGeom>
          <a:solidFill>
            <a:srgbClr val="808080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F1882B-6642-4098-804F-D6E0EE064B7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5815013" y="1874838"/>
            <a:ext cx="231775" cy="17303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E41EFA-CC2A-4839-ABF3-B5ADC0A7A03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815013" y="2124075"/>
            <a:ext cx="231775" cy="173038"/>
          </a:xfrm>
          <a:prstGeom prst="rect">
            <a:avLst/>
          </a:prstGeom>
          <a:solidFill>
            <a:srgbClr val="C30C3E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C86A0D-1C47-4AD0-A6E9-44B4E2BBD89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815013" y="2871788"/>
            <a:ext cx="231775" cy="173038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406702-AE9C-45C8-9AD8-E9C64F32688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815013" y="3121025"/>
            <a:ext cx="231775" cy="17303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EFED01B-8C86-469C-A535-DAE9C92BD0E3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6097588" y="2865438"/>
            <a:ext cx="3889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2C2332A-A250-4509-88C3-AE33DE326D80}" type="datetime'''''C''''''''''''''''''''''''''''''o''''''a''''l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oa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92F3CCF-9AA4-4444-96B0-4EF0E69DE964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097588" y="1868488"/>
            <a:ext cx="30162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87A3A36-8323-4BEC-BDF4-041BF1FAEB6C}" type="datetime'Biomas''''s, ''wa''st''e a''nd o''''t''he''r re''newa''bl''es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iomass, waste and other renewable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D35B481-8D5A-4D34-ADB3-BC40FC6882E9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097588" y="2117725"/>
            <a:ext cx="3889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63D9BD6-3293-4895-A88D-39306D535335}" type="datetime'''''''''''''''''H''''''''''''''''''''''''''e''''a''''''''''t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ea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BAB5F3E-C6CF-4D9D-8D76-EE75A31FD04B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097588" y="2366963"/>
            <a:ext cx="2095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BE0040B-5B1B-42AB-AF25-8682E2EE1732}" type="datetime'''''''''''''''O''''''''''''''''''''''''''''''''''''''i''''''l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i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738B5D4-FEF4-49D5-BCC4-987CCA0D9F29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097588" y="2616200"/>
            <a:ext cx="9191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D55DFB1-B394-4265-8BBC-534B007248E1}" type="datetime'''''''N''''a''tu''''''''r''a''''''l ga''''s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Natural ga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55F3250-DB83-494A-85D9-976C4AE72D78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6097588" y="3114675"/>
            <a:ext cx="7588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94A926F-8212-482A-8F19-F869D6EAD950}" type="datetime'''''''El''''e''c''t''''ri''''ci''''''''''''''t''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lectricit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BB82649-F12A-4D85-AF7E-282DF5073FE5}"/>
              </a:ext>
            </a:extLst>
          </p:cNvPr>
          <p:cNvSpPr/>
          <p:nvPr/>
        </p:nvSpPr>
        <p:spPr>
          <a:xfrm>
            <a:off x="10431988" y="-365582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2.9</a:t>
            </a:r>
          </a:p>
        </p:txBody>
      </p:sp>
      <p:sp>
        <p:nvSpPr>
          <p:cNvPr id="31" name="5. Source">
            <a:extLst>
              <a:ext uri="{FF2B5EF4-FFF2-40B4-BE49-F238E27FC236}">
                <a16:creationId xmlns:a16="http://schemas.microsoft.com/office/drawing/2014/main" id="{4839158F-869B-4618-B42E-A5F60D1E18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IEA(2017),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echnology Perspectives</a:t>
            </a:r>
          </a:p>
        </p:txBody>
      </p:sp>
      <p:cxnSp>
        <p:nvCxnSpPr>
          <p:cNvPr id="30" name="AutoShape 249">
            <a:extLst>
              <a:ext uri="{FF2B5EF4-FFF2-40B4-BE49-F238E27FC236}">
                <a16:creationId xmlns:a16="http://schemas.microsoft.com/office/drawing/2014/main" id="{FFB31A9F-BE19-4A40-A326-4EDC37DF71BB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2285998" y="1460722"/>
            <a:ext cx="7200000" cy="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AutoShape 250">
            <a:extLst>
              <a:ext uri="{FF2B5EF4-FFF2-40B4-BE49-F238E27FC236}">
                <a16:creationId xmlns:a16="http://schemas.microsoft.com/office/drawing/2014/main" id="{88E9B9EB-B0CB-4E48-9A35-BDD04F9A8B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5998" y="1021644"/>
            <a:ext cx="7200000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luminum energy u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J, 2014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20595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" name="Object 121" hidden="1">
            <a:extLst>
              <a:ext uri="{FF2B5EF4-FFF2-40B4-BE49-F238E27FC236}">
                <a16:creationId xmlns:a16="http://schemas.microsoft.com/office/drawing/2014/main" id="{46124D7F-9C1B-4E27-88A8-224A9495C3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443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1" name="think-cell Slide" r:id="rId36" imgW="395" imgH="394" progId="TCLayout.ActiveDocument.1">
                  <p:embed/>
                </p:oleObj>
              </mc:Choice>
              <mc:Fallback>
                <p:oleObj name="think-cell Slide" r:id="rId36" imgW="395" imgH="394" progId="TCLayout.ActiveDocument.1">
                  <p:embed/>
                  <p:pic>
                    <p:nvPicPr>
                      <p:cNvPr id="122" name="Object 121" hidden="1">
                        <a:extLst>
                          <a:ext uri="{FF2B5EF4-FFF2-40B4-BE49-F238E27FC236}">
                            <a16:creationId xmlns:a16="http://schemas.microsoft.com/office/drawing/2014/main" id="{46124D7F-9C1B-4E27-88A8-224A9495C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Rectangle 120" hidden="1">
            <a:extLst>
              <a:ext uri="{FF2B5EF4-FFF2-40B4-BE49-F238E27FC236}">
                <a16:creationId xmlns:a16="http://schemas.microsoft.com/office/drawing/2014/main" id="{D3180227-D883-4713-A003-941276BD188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400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BB82649-F12A-4D85-AF7E-282DF5073FE5}"/>
              </a:ext>
            </a:extLst>
          </p:cNvPr>
          <p:cNvSpPr/>
          <p:nvPr/>
        </p:nvSpPr>
        <p:spPr>
          <a:xfrm>
            <a:off x="10479088" y="-499116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2.10</a:t>
            </a:r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4C524257-3E23-4B69-8AC0-6F48FD20620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58586250"/>
              </p:ext>
            </p:extLst>
          </p:nvPr>
        </p:nvGraphicFramePr>
        <p:xfrm>
          <a:off x="900113" y="1992313"/>
          <a:ext cx="10283825" cy="381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1DF5E0D-885C-444A-9FA7-5721955027C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967663" y="5794375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59BF2269-4313-4072-9E6A-6DF9AEC91163}" type="datetime'''''''7''''''''''''''''''''''''''''''0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7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6C5F7BE-9F0A-4649-BE05-AAB25F014F4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19538" y="5794375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A6D87D1D-E937-4B1B-8036-A3E9B68C12D3}" type="datetime'''3''''''0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3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ECE25AF-3329-4A01-B1CE-8EFDBBFCE6E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69913" y="3641725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18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3396" indent="-162057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181" baseline="0">
                <a:solidFill>
                  <a:schemeClr val="tx1"/>
                </a:solidFill>
                <a:latin typeface="+mn-lt"/>
              </a:defRPr>
            </a:lvl2pPr>
            <a:lvl3pPr marL="385722" indent="-220987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181" baseline="0">
                <a:solidFill>
                  <a:schemeClr val="tx1"/>
                </a:solidFill>
                <a:latin typeface="+mn-lt"/>
              </a:defRPr>
            </a:lvl3pPr>
            <a:lvl4pPr marL="518315" indent="-131252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181" baseline="0">
                <a:solidFill>
                  <a:schemeClr val="tx1"/>
                </a:solidFill>
                <a:latin typeface="+mn-lt"/>
              </a:defRPr>
            </a:lvl4pPr>
            <a:lvl5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81" baseline="0">
                <a:solidFill>
                  <a:schemeClr val="tx1"/>
                </a:solidFill>
                <a:latin typeface="+mn-lt"/>
              </a:defRPr>
            </a:lvl5pPr>
            <a:lvl6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6pPr>
            <a:lvl7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7pPr>
            <a:lvl8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8pPr>
            <a:lvl9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7553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07134DFA-8295-444E-A227-0E1F7968ADF5}" type="datetime'''''''''''''6''''''''''''''''''''0''''''''0'''">
              <a:rPr kumimoji="0" lang="nl-NL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r" defTabSz="7553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600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4F0F0755-51DC-4BD5-9ACB-3469B60940B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32363" y="5794375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568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9802" indent="-188246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568" baseline="0">
                <a:solidFill>
                  <a:schemeClr val="tx1"/>
                </a:solidFill>
                <a:latin typeface="+mn-lt"/>
              </a:defRPr>
            </a:lvl2pPr>
            <a:lvl3pPr marL="448056" indent="-256699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568" baseline="0">
                <a:solidFill>
                  <a:schemeClr val="tx1"/>
                </a:solidFill>
                <a:latin typeface="+mn-lt"/>
              </a:defRPr>
            </a:lvl3pPr>
            <a:lvl4pPr marL="602076" indent="-152464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568" baseline="0">
                <a:solidFill>
                  <a:schemeClr val="tx1"/>
                </a:solidFill>
                <a:latin typeface="+mn-lt"/>
              </a:defRPr>
            </a:lvl4pPr>
            <a:lvl5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5pPr>
            <a:lvl6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6pPr>
            <a:lvl7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7pPr>
            <a:lvl8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8pPr>
            <a:lvl9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774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5FC84DAB-4656-441C-8542-391915A1A2B3}" type="datetime'''''''''''''''''''''''''''''''4''''''''''''''0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87744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4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344C58A-6552-4E43-BE2B-007B738235D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33450" y="5794375"/>
            <a:ext cx="9842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568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9802" indent="-188246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568" baseline="0">
                <a:solidFill>
                  <a:schemeClr val="tx1"/>
                </a:solidFill>
                <a:latin typeface="+mn-lt"/>
              </a:defRPr>
            </a:lvl2pPr>
            <a:lvl3pPr marL="448056" indent="-256699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568" baseline="0">
                <a:solidFill>
                  <a:schemeClr val="tx1"/>
                </a:solidFill>
                <a:latin typeface="+mn-lt"/>
              </a:defRPr>
            </a:lvl3pPr>
            <a:lvl4pPr marL="602076" indent="-152464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568" baseline="0">
                <a:solidFill>
                  <a:schemeClr val="tx1"/>
                </a:solidFill>
                <a:latin typeface="+mn-lt"/>
              </a:defRPr>
            </a:lvl4pPr>
            <a:lvl5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5pPr>
            <a:lvl6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6pPr>
            <a:lvl7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7pPr>
            <a:lvl8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8pPr>
            <a:lvl9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774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0B958C2A-87E1-4EC4-BF39-CAF4B508C149}" type="datetime'''''''''''0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87744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A86E651-A329-4CF2-A7C3-0FC45F4BCA3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895475" y="5794375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186BA561-162B-49FE-9A32-E45075FA85C1}" type="datetime'''''''''''1''''''''''0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0283CD9E-1908-4ABB-AD7F-3C228D44BB6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908300" y="5794375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568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9802" indent="-188246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568" baseline="0">
                <a:solidFill>
                  <a:schemeClr val="tx1"/>
                </a:solidFill>
                <a:latin typeface="+mn-lt"/>
              </a:defRPr>
            </a:lvl2pPr>
            <a:lvl3pPr marL="448056" indent="-256699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568" baseline="0">
                <a:solidFill>
                  <a:schemeClr val="tx1"/>
                </a:solidFill>
                <a:latin typeface="+mn-lt"/>
              </a:defRPr>
            </a:lvl3pPr>
            <a:lvl4pPr marL="602076" indent="-152464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568" baseline="0">
                <a:solidFill>
                  <a:schemeClr val="tx1"/>
                </a:solidFill>
                <a:latin typeface="+mn-lt"/>
              </a:defRPr>
            </a:lvl4pPr>
            <a:lvl5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5pPr>
            <a:lvl6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6pPr>
            <a:lvl7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7pPr>
            <a:lvl8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8pPr>
            <a:lvl9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774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B80CD4D4-3DC3-4117-930D-1E1259935730}" type="datetime'''''''20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87744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2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3CE6CF4-DADC-48D0-BFDA-D4124D6F4A0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978900" y="5794375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568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9802" indent="-188246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568" baseline="0">
                <a:solidFill>
                  <a:schemeClr val="tx1"/>
                </a:solidFill>
                <a:latin typeface="+mn-lt"/>
              </a:defRPr>
            </a:lvl2pPr>
            <a:lvl3pPr marL="448056" indent="-256699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568" baseline="0">
                <a:solidFill>
                  <a:schemeClr val="tx1"/>
                </a:solidFill>
                <a:latin typeface="+mn-lt"/>
              </a:defRPr>
            </a:lvl3pPr>
            <a:lvl4pPr marL="602076" indent="-152464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568" baseline="0">
                <a:solidFill>
                  <a:schemeClr val="tx1"/>
                </a:solidFill>
                <a:latin typeface="+mn-lt"/>
              </a:defRPr>
            </a:lvl4pPr>
            <a:lvl5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5pPr>
            <a:lvl6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6pPr>
            <a:lvl7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7pPr>
            <a:lvl8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8pPr>
            <a:lvl9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774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26212D0E-BDDA-4310-8D81-BF25AFCD1EAB}" type="datetime'''''''''''''''''''''8''''''''''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87744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8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00F23E0E-8916-435A-B26C-7A4EB911461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943600" y="5794375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94E87976-730F-4A85-A824-74A7F44D27CF}" type="datetime'''''''''''''''''''''''''5''''''''''0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5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5060015-3EB5-46CC-BDE9-2BFEBAAB624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954838" y="5794375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568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9802" indent="-188246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568" baseline="0">
                <a:solidFill>
                  <a:schemeClr val="tx1"/>
                </a:solidFill>
                <a:latin typeface="+mn-lt"/>
              </a:defRPr>
            </a:lvl2pPr>
            <a:lvl3pPr marL="448056" indent="-256699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568" baseline="0">
                <a:solidFill>
                  <a:schemeClr val="tx1"/>
                </a:solidFill>
                <a:latin typeface="+mn-lt"/>
              </a:defRPr>
            </a:lvl3pPr>
            <a:lvl4pPr marL="602076" indent="-152464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568" baseline="0">
                <a:solidFill>
                  <a:schemeClr val="tx1"/>
                </a:solidFill>
                <a:latin typeface="+mn-lt"/>
              </a:defRPr>
            </a:lvl4pPr>
            <a:lvl5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5pPr>
            <a:lvl6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6pPr>
            <a:lvl7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7pPr>
            <a:lvl8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8pPr>
            <a:lvl9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774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E4D38627-1875-4862-A535-6844D0354C02}" type="datetime'''''''''''''''6''''''''''''''''''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87744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6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9D1BBFF-A5B9-4B31-9471-B61EDCC5FD7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991725" y="5794375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B41BA198-7579-448F-8FE1-B6B3CC6615A1}" type="datetime'9''''''''''0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9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FCD42282-7008-48C5-BE2F-134ECCBFE41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953750" y="5794375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568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9802" indent="-188246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568" baseline="0">
                <a:solidFill>
                  <a:schemeClr val="tx1"/>
                </a:solidFill>
                <a:latin typeface="+mn-lt"/>
              </a:defRPr>
            </a:lvl2pPr>
            <a:lvl3pPr marL="448056" indent="-256699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568" baseline="0">
                <a:solidFill>
                  <a:schemeClr val="tx1"/>
                </a:solidFill>
                <a:latin typeface="+mn-lt"/>
              </a:defRPr>
            </a:lvl3pPr>
            <a:lvl4pPr marL="602076" indent="-152464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568" baseline="0">
                <a:solidFill>
                  <a:schemeClr val="tx1"/>
                </a:solidFill>
                <a:latin typeface="+mn-lt"/>
              </a:defRPr>
            </a:lvl4pPr>
            <a:lvl5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5pPr>
            <a:lvl6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6pPr>
            <a:lvl7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7pPr>
            <a:lvl8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8pPr>
            <a:lvl9pPr marL="734812" indent="-127572" algn="l" defTabSz="87744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774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D8CA5B11-86E2-4FC9-AE95-AFFE1500AF64}" type="datetime'1''''''0''''''''''''''''''0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87744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1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C297F3F-3384-4BA4-B438-C3FA3B6CDD9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66763" y="5629275"/>
            <a:ext cx="9842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3276EBAB-8E29-469B-B6F2-F88ABE3D5569}" type="datetime'''''''0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r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DAAAE62-2097-409A-AD5B-01F146C70D2E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569913" y="528161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A54FB44-4929-49AB-A99B-C428BE4CBD19}" type="datetime'''''''''''''''''''''''1''''0''''''''''''''0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8F592A3-6D43-4640-986F-A7C8AC2C446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69913" y="4967288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EBA1A903-D2EA-43B2-9EDF-3001B58C7540}" type="datetime'''''''''''''2''''''00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r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2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8CBA2AF7-B75B-4108-AE13-8E1813B73DD3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569913" y="4619625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8E3041F-7455-458F-8C33-762394B21F5E}" type="datetime'3''''''''''''''''''''''''''''0''0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DBF359A4-F2D1-44BD-8D72-867F8AE7051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69913" y="4303713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18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3396" indent="-162057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181" baseline="0">
                <a:solidFill>
                  <a:schemeClr val="tx1"/>
                </a:solidFill>
                <a:latin typeface="+mn-lt"/>
              </a:defRPr>
            </a:lvl2pPr>
            <a:lvl3pPr marL="385722" indent="-220987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181" baseline="0">
                <a:solidFill>
                  <a:schemeClr val="tx1"/>
                </a:solidFill>
                <a:latin typeface="+mn-lt"/>
              </a:defRPr>
            </a:lvl3pPr>
            <a:lvl4pPr marL="518315" indent="-131252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181" baseline="0">
                <a:solidFill>
                  <a:schemeClr val="tx1"/>
                </a:solidFill>
                <a:latin typeface="+mn-lt"/>
              </a:defRPr>
            </a:lvl4pPr>
            <a:lvl5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81" baseline="0">
                <a:solidFill>
                  <a:schemeClr val="tx1"/>
                </a:solidFill>
                <a:latin typeface="+mn-lt"/>
              </a:defRPr>
            </a:lvl5pPr>
            <a:lvl6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6pPr>
            <a:lvl7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7pPr>
            <a:lvl8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8pPr>
            <a:lvl9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7553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91B5913E-D072-479A-A18F-777F6F04C4BD}" type="datetime'''''''''''''''''''''''''''''''''''''''4''0''0'''''">
              <a:rPr kumimoji="0" lang="nl-NL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r" defTabSz="7553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400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83077C6B-03E4-49BB-AC58-40916618E4F8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569913" y="3956050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5CEC52C-778B-41EA-8F39-1378FE331518}" type="datetime'''5''0''''''''''''''''''''''''''0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C77E7DEA-C6DC-4163-A6F8-563212BFD789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569913" y="32940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05B9675-A05C-4B6F-9D21-E4DDF87D4AFA}" type="datetime'7''''''''''''''''''''''''''''''''''0''0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4C8887B-A1D1-464E-89E5-61EBB3CDAEC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69913" y="2978150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18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3396" indent="-162057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181" baseline="0">
                <a:solidFill>
                  <a:schemeClr val="tx1"/>
                </a:solidFill>
                <a:latin typeface="+mn-lt"/>
              </a:defRPr>
            </a:lvl2pPr>
            <a:lvl3pPr marL="385722" indent="-220987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181" baseline="0">
                <a:solidFill>
                  <a:schemeClr val="tx1"/>
                </a:solidFill>
                <a:latin typeface="+mn-lt"/>
              </a:defRPr>
            </a:lvl3pPr>
            <a:lvl4pPr marL="518315" indent="-131252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181" baseline="0">
                <a:solidFill>
                  <a:schemeClr val="tx1"/>
                </a:solidFill>
                <a:latin typeface="+mn-lt"/>
              </a:defRPr>
            </a:lvl4pPr>
            <a:lvl5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81" baseline="0">
                <a:solidFill>
                  <a:schemeClr val="tx1"/>
                </a:solidFill>
                <a:latin typeface="+mn-lt"/>
              </a:defRPr>
            </a:lvl5pPr>
            <a:lvl6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6pPr>
            <a:lvl7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7pPr>
            <a:lvl8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8pPr>
            <a:lvl9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7553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fld id="{34EA471F-54C1-4166-841D-0558DF95379C}" type="datetime'8''''''''''''''''''''''''''''''''''''''''''''''''''''''00'''">
              <a:rPr kumimoji="0" lang="nl-NL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r" defTabSz="7553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Pct val="100000"/>
                <a:buFontTx/>
                <a:buNone/>
                <a:tabLst/>
                <a:defRPr/>
              </a:pPr>
              <a:t>800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C8A600D6-D132-4D48-AE80-675E24C9ACEE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69913" y="2630488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018E1CC-E30A-4969-982C-6FBDC5B09313}" type="datetime'''''''''''''''''''''''''''9''''''''''0''''''0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9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E950B076-9AF2-42C6-BB09-450592593BE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22275" y="2316163"/>
            <a:ext cx="442913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18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3396" indent="-162057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181" baseline="0">
                <a:solidFill>
                  <a:schemeClr val="tx1"/>
                </a:solidFill>
                <a:latin typeface="+mn-lt"/>
              </a:defRPr>
            </a:lvl2pPr>
            <a:lvl3pPr marL="385722" indent="-220987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181" baseline="0">
                <a:solidFill>
                  <a:schemeClr val="tx1"/>
                </a:solidFill>
                <a:latin typeface="+mn-lt"/>
              </a:defRPr>
            </a:lvl3pPr>
            <a:lvl4pPr marL="518315" indent="-131252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181" baseline="0">
                <a:solidFill>
                  <a:schemeClr val="tx1"/>
                </a:solidFill>
                <a:latin typeface="+mn-lt"/>
              </a:defRPr>
            </a:lvl4pPr>
            <a:lvl5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81" baseline="0">
                <a:solidFill>
                  <a:schemeClr val="tx1"/>
                </a:solidFill>
                <a:latin typeface="+mn-lt"/>
              </a:defRPr>
            </a:lvl5pPr>
            <a:lvl6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6pPr>
            <a:lvl7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7pPr>
            <a:lvl8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8pPr>
            <a:lvl9pPr marL="632584" indent="-109823" algn="l" defTabSz="7553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35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7553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nl-NL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t>1,000</a:t>
            </a: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6B7F764-6974-4F55-8EE5-345FEBB24FB3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422275" y="1968500"/>
            <a:ext cx="4429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D47C8BE-EFDD-433E-8235-639BC1AA3422}" type="datetime'''1.''''''''''''''''''''''''10''''''''''''''0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5900C70E-C335-4C82-8D80-2CF6F0F1A9C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309100" y="6169025"/>
            <a:ext cx="1939925" cy="384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t>Zero carbon electricity</a:t>
            </a:r>
          </a:p>
          <a:p>
            <a:pPr marL="0" marR="0" lvl="0" indent="0" algn="r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t>US$/MWh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84A59FF-50CF-4C22-BA10-EB3ECB740637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8701088" y="2022475"/>
            <a:ext cx="438150" cy="0"/>
          </a:xfrm>
          <a:prstGeom prst="line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C1891B3-0E93-4154-A349-B20473237A26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8701088" y="1773238"/>
            <a:ext cx="438150" cy="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F7595BB-9745-48BE-8534-8A976167180A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8701088" y="2271713"/>
            <a:ext cx="438150" cy="0"/>
          </a:xfrm>
          <a:prstGeom prst="line">
            <a:avLst/>
          </a:prstGeom>
          <a:ln w="381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EE4588EE-CC05-48B4-BCBA-154A6933B9B5}"/>
              </a:ext>
            </a:extLst>
          </p:cNvPr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9190038" y="1681163"/>
            <a:ext cx="831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4876"/>
              </a:buClr>
              <a:defRPr/>
            </a:pPr>
            <a:fld id="{A1970339-698C-43DC-A06C-9BB088095165}" type="datetime'El''''e''''ctr''''''''''ol''''''''''''''''ysi''''''''''s'''">
              <a:rPr lang="en-GB" altLang="en-US" sz="1300" smtClean="0">
                <a:solidFill>
                  <a:srgbClr val="595959"/>
                </a:solidFill>
                <a:ea typeface="+mn-ea"/>
                <a:cs typeface="+mn-cs"/>
              </a:rPr>
              <a:pPr lvl="0">
                <a:buClr>
                  <a:srgbClr val="004876"/>
                </a:buClr>
                <a:defRPr/>
              </a:pPr>
              <a:t>Electrolysis</a:t>
            </a:fld>
            <a:endParaRPr kumimoji="0" lang="en-GB" sz="1300" b="0" i="0" strike="noStrike" kern="1200" spc="0" normalizeH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E2F5ACC-7AAB-46B6-902D-7139F54FB6A6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9190038" y="1930400"/>
            <a:ext cx="8794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4876"/>
              </a:buClr>
              <a:defRPr/>
            </a:pPr>
            <a:fld id="{FD0EA4A6-A103-4C75-852E-F7C8E3A527F5}" type="datetime'''''S''M''''''''R'''''''' ''+'''''''' C''C''''''S'''''">
              <a:rPr lang="en-GB" altLang="en-US" sz="1300" smtClean="0">
                <a:solidFill>
                  <a:srgbClr val="595959"/>
                </a:solidFill>
                <a:ea typeface="+mn-ea"/>
                <a:cs typeface="+mn-cs"/>
              </a:rPr>
              <a:pPr lvl="0">
                <a:buClr>
                  <a:srgbClr val="004876"/>
                </a:buClr>
                <a:defRPr/>
              </a:pPr>
              <a:t>SMR + CCS</a:t>
            </a:fld>
            <a:endParaRPr kumimoji="0" lang="en-GB" sz="1300" b="0" i="0" strike="noStrike" kern="1200" spc="0" normalizeH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E757F1F-F222-4688-85AF-90125C7F4D4C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9190038" y="2179638"/>
            <a:ext cx="15890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lang="en-GB" sz="1300" dirty="0">
                <a:solidFill>
                  <a:srgbClr val="595959"/>
                </a:solidFill>
                <a:latin typeface="Century Gothic"/>
                <a:ea typeface="ＭＳ Ｐゴシック"/>
                <a:cs typeface="+mn-cs"/>
                <a:sym typeface="+mn-lt"/>
              </a:rPr>
              <a:t>Biogas as feedstock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C0BBAE2B-9F64-4F47-9D06-C70F69DFB924}"/>
              </a:ext>
            </a:extLst>
          </p:cNvPr>
          <p:cNvCxnSpPr>
            <a:cxnSpLocks/>
          </p:cNvCxnSpPr>
          <p:nvPr/>
        </p:nvCxnSpPr>
        <p:spPr>
          <a:xfrm>
            <a:off x="3577636" y="3495227"/>
            <a:ext cx="0" cy="2232474"/>
          </a:xfrm>
          <a:prstGeom prst="straightConnector1">
            <a:avLst/>
          </a:prstGeom>
          <a:ln w="19050">
            <a:solidFill>
              <a:schemeClr val="accent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Speech Bubble: Rectangle with Corners Rounded 115">
            <a:extLst>
              <a:ext uri="{FF2B5EF4-FFF2-40B4-BE49-F238E27FC236}">
                <a16:creationId xmlns:a16="http://schemas.microsoft.com/office/drawing/2014/main" id="{D7366DAE-8E0A-44D9-8670-A1E52DE40FA5}"/>
              </a:ext>
            </a:extLst>
          </p:cNvPr>
          <p:cNvSpPr/>
          <p:nvPr/>
        </p:nvSpPr>
        <p:spPr>
          <a:xfrm>
            <a:off x="1848037" y="2808288"/>
            <a:ext cx="2418241" cy="907582"/>
          </a:xfrm>
          <a:prstGeom prst="wedgeRoundRectCallout">
            <a:avLst>
              <a:gd name="adj1" fmla="val 21376"/>
              <a:gd name="adj2" fmla="val 84027"/>
              <a:gd name="adj3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icity-based solutions become lower-cost than CCS at $25/MWh ($15/MWh for brownfield) </a:t>
            </a:r>
          </a:p>
        </p:txBody>
      </p: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34D8AF7E-6D99-4B02-8440-7503747FDE7F}"/>
              </a:ext>
            </a:extLst>
          </p:cNvPr>
          <p:cNvCxnSpPr>
            <a:cxnSpLocks/>
          </p:cNvCxnSpPr>
          <p:nvPr/>
        </p:nvCxnSpPr>
        <p:spPr>
          <a:xfrm>
            <a:off x="6297395" y="3495227"/>
            <a:ext cx="0" cy="2232474"/>
          </a:xfrm>
          <a:prstGeom prst="straightConnector1">
            <a:avLst/>
          </a:prstGeom>
          <a:ln w="19050">
            <a:solidFill>
              <a:schemeClr val="accent3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Speech Bubble: Rectangle with Corners Rounded 131">
            <a:extLst>
              <a:ext uri="{FF2B5EF4-FFF2-40B4-BE49-F238E27FC236}">
                <a16:creationId xmlns:a16="http://schemas.microsoft.com/office/drawing/2014/main" id="{DAC75349-46CF-473A-AF7C-EE3E00CD9939}"/>
              </a:ext>
            </a:extLst>
          </p:cNvPr>
          <p:cNvSpPr/>
          <p:nvPr/>
        </p:nvSpPr>
        <p:spPr>
          <a:xfrm>
            <a:off x="5244950" y="3488555"/>
            <a:ext cx="3388685" cy="907582"/>
          </a:xfrm>
          <a:prstGeom prst="wedgeRoundRectCallout">
            <a:avLst>
              <a:gd name="adj1" fmla="val -19171"/>
              <a:gd name="adj2" fmla="val 79661"/>
              <a:gd name="adj3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icity-based solutions become lower-cost than biomass-based solutions at $55/MWh ($45/MWh for brownfield) 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361D2147-8CBA-40E9-9B16-3EFDA9276BAE}"/>
              </a:ext>
            </a:extLst>
          </p:cNvPr>
          <p:cNvSpPr txBox="1">
            <a:spLocks/>
          </p:cNvSpPr>
          <p:nvPr/>
        </p:nvSpPr>
        <p:spPr bwMode="auto">
          <a:xfrm>
            <a:off x="233261" y="128589"/>
            <a:ext cx="1005875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Electricity-based ammonia production becomes lower-cost than fossil fuel-based production with CCS if electricity is cheaper than US$25/MWh</a:t>
            </a:r>
            <a:endParaRPr kumimoji="0" lang="en-GB" sz="2041" b="1" i="0" u="none" strike="noStrike" kern="0" cap="none" spc="0" normalizeH="0" baseline="0" noProof="0" dirty="0">
              <a:ln>
                <a:noFill/>
              </a:ln>
              <a:solidFill>
                <a:srgbClr val="004876"/>
              </a:solidFill>
              <a:effectLst/>
              <a:highlight>
                <a:srgbClr val="FFFF00"/>
              </a:highlight>
              <a:uLnTx/>
              <a:uFillTx/>
              <a:latin typeface="Century Gothic"/>
              <a:ea typeface="Arial Unicode MS" pitchFamily="34" charset="-128"/>
            </a:endParaRPr>
          </a:p>
        </p:txBody>
      </p:sp>
      <p:sp>
        <p:nvSpPr>
          <p:cNvPr id="49" name="5. Source">
            <a:extLst>
              <a:ext uri="{FF2B5EF4-FFF2-40B4-BE49-F238E27FC236}">
                <a16:creationId xmlns:a16="http://schemas.microsoft.com/office/drawing/2014/main" id="{8F67C49E-006A-4B21-B54C-FF69A256A3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McKinsey &amp; Company (2018),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carbonization of the industrial sectors: the next frontier</a:t>
            </a:r>
          </a:p>
        </p:txBody>
      </p:sp>
      <p:cxnSp>
        <p:nvCxnSpPr>
          <p:cNvPr id="54" name="AutoShape 249">
            <a:extLst>
              <a:ext uri="{FF2B5EF4-FFF2-40B4-BE49-F238E27FC236}">
                <a16:creationId xmlns:a16="http://schemas.microsoft.com/office/drawing/2014/main" id="{D14917E7-B8FE-40ED-8A7A-81DB2042FB37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52321" y="1460722"/>
            <a:ext cx="11160000" cy="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AutoShape 250">
            <a:extLst>
              <a:ext uri="{FF2B5EF4-FFF2-40B4-BE49-F238E27FC236}">
                <a16:creationId xmlns:a16="http://schemas.microsoft.com/office/drawing/2014/main" id="{F6E8214C-4FBE-4B42-BDD0-9E87A94DD4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323" y="1021644"/>
            <a:ext cx="11160000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batement cost in ammonia production – greenfiel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/tonne 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85852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Slide" r:id="rId24" imgW="449" imgH="450" progId="TCLayout.ActiveDocument.1">
                  <p:embed/>
                </p:oleObj>
              </mc:Choice>
              <mc:Fallback>
                <p:oleObj name="think-cell Slide" r:id="rId24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A72FE2F-F467-4753-B185-A4587810373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4589463" y="2795588"/>
            <a:ext cx="1795463" cy="1471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42052E-9530-4439-917C-4B7B978EA18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4589463" y="3481388"/>
            <a:ext cx="1795463" cy="1158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6264AC6-DF65-4964-A1FB-83B0FFA416D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4589463" y="4197350"/>
            <a:ext cx="1795463" cy="835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DEAF0195-0A57-4CC2-A97D-7CBC94283F52}"/>
              </a:ext>
            </a:extLst>
          </p:cNvPr>
          <p:cNvGraphicFramePr/>
          <p:nvPr>
            <p:custDataLst>
              <p:tags r:id="rId7"/>
            </p:custDataLst>
            <p:extLst/>
          </p:nvPr>
        </p:nvGraphicFramePr>
        <p:xfrm>
          <a:off x="1363663" y="2713038"/>
          <a:ext cx="8248650" cy="340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011C35-93E7-468B-AAD9-2CD806F807F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3465513" y="2381251"/>
            <a:ext cx="0" cy="16240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2FDBF15-C9A1-44F9-916E-52065DEA7633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465513" y="2381250"/>
            <a:ext cx="40417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1110D8F-312E-4151-92FA-553A9CADC5D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507288" y="23812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2017F690-3AA4-4D78-9787-BB0AC7E85D63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327401" y="4737100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4453CC6-9871-49E6-BCD2-B49F79B58430}" type="datetime'''''''''''1''.''''''''''''0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14A9EE6E-0E0B-4136-86B8-BB91E5063C18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3327401" y="435451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03A1B57-38CC-42A5-8EDB-4324ADB31ECF}" type="datetime'''''0''''''''''''''''''''''''''''''.''''''''''''9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ECF1204-08B4-440D-8598-714900B50D90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3327401" y="5435600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4CE95D7-3EFE-4D74-AC5B-8ED4E9B79065}" type="datetime'''2''''''''''''''''''''''''.5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.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E2B6F18-E1D2-4613-8DA4-AEFD8285C70B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6661151" y="6092825"/>
            <a:ext cx="1692275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4576468-EC14-4680-BE88-6AD88BD292C3}" type="datetime'20''50&#10; IE''A’s Re''''ference &#10;T''e''ch''nology Scenar''io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50
 IEA’s Reference 
Technology Scenario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60D2308-0A15-47AD-99CD-69EA8BB98BD9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7369176" y="304006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A83158D-FF36-41D3-A886-A55ACCCFF096}" type="datetime'''1''''''''.''''''''''''''''''''''''''''''''''7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C82BD4C-5C65-4B1B-B3A1-9E5B93390EAD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3275013" y="6092825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2535BEE-3A5B-4819-B5B9-4B73BC5F671A}" type="datetime'''''''''''''''''''''''''''''2''''0''''1''''''''''''''''4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835B821-149D-4B8D-932E-D6726E2D416D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7369176" y="3740150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B5ED0CD-919F-4E1F-AF14-91E850B3740A}" type="datetime'''''''1''''''''''.''''''''''''''''''''''''''8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8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00C8D26-089E-403D-9E46-087BA43A537E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7369176" y="5018088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332422B-9B33-4937-8EFC-13FECC1EBBA6}" type="datetime'''4''''''.''''''''''''''''''''''''''''''6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.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C3E988E-850D-43D7-B9F3-1000BC07320E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3327401" y="404336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C28CC75-5711-4163-BABB-819DA3A60E77}" type="datetime'''''''''''''4''.''''''''''''''''''''''''''''5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.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A6BBE8A-C3D2-4065-8D3E-A4D075906D98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7369176" y="2571750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322BB94-055A-4D0D-84D3-BD592738EB6C}" type="datetime'''8''''''''''''''''''''''''''''''.''''2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8.2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15C5C3B6-BB52-4EBC-8E87-4514DC0EC41B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162550" y="2230438"/>
            <a:ext cx="64928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23DCBD5-CA15-4DD3-B3FF-8D27062584AB}" type="datetime'''''+''''''''8''''''''''''''''''3%''''''''''''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+83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3" name="5. Source">
            <a:extLst>
              <a:ext uri="{FF2B5EF4-FFF2-40B4-BE49-F238E27FC236}">
                <a16:creationId xmlns:a16="http://schemas.microsoft.com/office/drawing/2014/main" id="{A1C2C607-77FF-46C1-9D89-8D8116BE72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EA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echnology Perspectives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" name="AutoShape 250">
            <a:extLst>
              <a:ext uri="{FF2B5EF4-FFF2-40B4-BE49-F238E27FC236}">
                <a16:creationId xmlns:a16="http://schemas.microsoft.com/office/drawing/2014/main" id="{01E72A8F-1D4A-4193-B152-44A646050B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3663" y="710313"/>
            <a:ext cx="8339137" cy="74459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-duty transport well-to-wheel emissions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t 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A32F212C-A0CE-449D-B8AE-409DF32A235D}"/>
              </a:ext>
            </a:extLst>
          </p:cNvPr>
          <p:cNvSpPr txBox="1">
            <a:spLocks/>
          </p:cNvSpPr>
          <p:nvPr/>
        </p:nvSpPr>
        <p:spPr bwMode="auto">
          <a:xfrm>
            <a:off x="233261" y="129459"/>
            <a:ext cx="1005875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Carbon emissions from heavy-duty transport could increase by 83% by 2050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in a business-as-usual scenario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265B15-69D6-49AE-B055-D97B19F4D9A3}"/>
              </a:ext>
            </a:extLst>
          </p:cNvPr>
          <p:cNvSpPr/>
          <p:nvPr/>
        </p:nvSpPr>
        <p:spPr>
          <a:xfrm>
            <a:off x="2889513" y="1798573"/>
            <a:ext cx="1152000" cy="360363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~13%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3BA1E7A8-B007-4700-AE0E-F95F8CA79B1B}"/>
              </a:ext>
            </a:extLst>
          </p:cNvPr>
          <p:cNvSpPr/>
          <p:nvPr/>
        </p:nvSpPr>
        <p:spPr>
          <a:xfrm>
            <a:off x="6931288" y="1797751"/>
            <a:ext cx="1152000" cy="360363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~20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46E48F1-E4F7-49F9-B9C8-6A727C91ACE2}"/>
              </a:ext>
            </a:extLst>
          </p:cNvPr>
          <p:cNvSpPr txBox="1"/>
          <p:nvPr/>
        </p:nvSpPr>
        <p:spPr>
          <a:xfrm>
            <a:off x="7237357" y="1060418"/>
            <a:ext cx="228293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are of global emissions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C23057D-44C6-4FB5-9B4E-07D5ADFE5D18}"/>
              </a:ext>
            </a:extLst>
          </p:cNvPr>
          <p:cNvSpPr/>
          <p:nvPr/>
        </p:nvSpPr>
        <p:spPr>
          <a:xfrm>
            <a:off x="6687550" y="1080612"/>
            <a:ext cx="576000" cy="252000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X%</a:t>
            </a:r>
          </a:p>
        </p:txBody>
      </p:sp>
      <p:cxnSp>
        <p:nvCxnSpPr>
          <p:cNvPr id="34" name="AutoShape 249">
            <a:extLst>
              <a:ext uri="{FF2B5EF4-FFF2-40B4-BE49-F238E27FC236}">
                <a16:creationId xmlns:a16="http://schemas.microsoft.com/office/drawing/2014/main" id="{24326630-0C0E-4C19-B743-467B590039DF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363663" y="1458815"/>
            <a:ext cx="7985645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557203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3036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9" name="think-cell Slide" r:id="rId41" imgW="449" imgH="450" progId="TCLayout.ActiveDocument.1">
                  <p:embed/>
                </p:oleObj>
              </mc:Choice>
              <mc:Fallback>
                <p:oleObj name="think-cell Slide" r:id="rId41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2041" b="1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B77D2E1-73FF-4C2D-82E4-2367BEC4402E}"/>
              </a:ext>
            </a:extLst>
          </p:cNvPr>
          <p:cNvSpPr/>
          <p:nvPr/>
        </p:nvSpPr>
        <p:spPr>
          <a:xfrm>
            <a:off x="448720" y="2002314"/>
            <a:ext cx="3599999" cy="4445636"/>
          </a:xfrm>
          <a:prstGeom prst="rect">
            <a:avLst/>
          </a:prstGeom>
          <a:solidFill>
            <a:srgbClr val="FFE69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7AD0D2D-8CDF-4CF3-801F-214CDAC91516}"/>
              </a:ext>
            </a:extLst>
          </p:cNvPr>
          <p:cNvSpPr/>
          <p:nvPr/>
        </p:nvSpPr>
        <p:spPr>
          <a:xfrm>
            <a:off x="4327104" y="2002314"/>
            <a:ext cx="3599999" cy="4445636"/>
          </a:xfrm>
          <a:prstGeom prst="rect">
            <a:avLst/>
          </a:prstGeom>
          <a:solidFill>
            <a:srgbClr val="FFCF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F22231B-E094-4821-B52B-8A0C8CCA0E68}"/>
              </a:ext>
            </a:extLst>
          </p:cNvPr>
          <p:cNvSpPr/>
          <p:nvPr/>
        </p:nvSpPr>
        <p:spPr>
          <a:xfrm>
            <a:off x="8249641" y="2002314"/>
            <a:ext cx="3599999" cy="4445636"/>
          </a:xfrm>
          <a:prstGeom prst="rect">
            <a:avLst/>
          </a:prstGeom>
          <a:solidFill>
            <a:srgbClr val="FDB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30F5A4-7B87-4EE6-B387-A65337FC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121" y="300859"/>
            <a:ext cx="11768317" cy="314060"/>
          </a:xfrm>
        </p:spPr>
        <p:txBody>
          <a:bodyPr/>
          <a:lstStyle/>
          <a:p>
            <a:r>
              <a:rPr lang="en-GB" dirty="0"/>
              <a:t>Heavy-duty </a:t>
            </a:r>
            <a:r>
              <a:rPr lang="en-GB" sz="2000" dirty="0"/>
              <a:t>transport</a:t>
            </a:r>
            <a:r>
              <a:rPr lang="en-GB" dirty="0"/>
              <a:t> demand is expected to increase significantly in the next 30 years</a:t>
            </a:r>
            <a:endParaRPr lang="en-GB" sz="1800" b="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03D583E4-FC61-4406-8033-00FC6E53DE3F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4249738" y="2481263"/>
          <a:ext cx="3763962" cy="3703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DDE92CF-62A3-4A2B-9FB8-65E589E32E0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932363" y="2312988"/>
            <a:ext cx="23987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CD290CD-4314-4E95-9A9E-2E8CAC70FE6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4932363" y="2312988"/>
            <a:ext cx="0" cy="25447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012914-6C4A-474C-81DE-3FDBE77300B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331075" y="23129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212">
            <a:extLst>
              <a:ext uri="{FF2B5EF4-FFF2-40B4-BE49-F238E27FC236}">
                <a16:creationId xmlns:a16="http://schemas.microsoft.com/office/drawing/2014/main" id="{511E3765-4E06-471B-948D-D51973AFF444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4741863" y="6157913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F205B9B-D6B5-42EA-A1E0-8153D44F9E68}" type="datetime'''''''''''''''''''''''20''1''3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40D9DB2F-3653-4FDA-969A-E66B04676205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140575" y="6157913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3AE3C4D-0E82-4600-9EC1-662520F3893B}" type="datetime'''''''''''''''''''''''''205''0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5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4DD29F71-11D6-4E9E-BF3A-3A690C607636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5940425" y="6157913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16CE971-5444-4223-8FAD-7C53F4BF2B8B}" type="datetime'''''''2''''''''''''0''''''''''''''''''''''''''''''''3''0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3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30" name="Oval 229">
            <a:extLst>
              <a:ext uri="{FF2B5EF4-FFF2-40B4-BE49-F238E27FC236}">
                <a16:creationId xmlns:a16="http://schemas.microsoft.com/office/drawing/2014/main" id="{6FBCCB7A-D65A-457B-834F-510CD3212088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765800" y="2173288"/>
            <a:ext cx="730250" cy="2809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0DB4D23-F365-4D9E-86BD-DD4EC407CA39}" type="datetime'+''''''''''''2''4''''''''''''''3''%'''''''''''''''">
              <a:rPr kumimoji="0" lang="en-GB" altLang="en-US" sz="13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+243%</a:t>
            </a:fld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id="{EC436442-ECF9-486B-8B17-DACD00E81488}"/>
              </a:ext>
            </a:extLst>
          </p:cNvPr>
          <p:cNvGraphicFramePr/>
          <p:nvPr>
            <p:custDataLst>
              <p:tags r:id="rId12"/>
            </p:custDataLst>
            <p:extLst/>
          </p:nvPr>
        </p:nvGraphicFramePr>
        <p:xfrm>
          <a:off x="366713" y="2481263"/>
          <a:ext cx="3765550" cy="3703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A3C28B6-1A67-4062-93C8-1DD98EE3FE2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835025" y="3662363"/>
            <a:ext cx="0" cy="18764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DA51313F-1776-4125-A7CB-45CD09D978B2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835025" y="3662363"/>
            <a:ext cx="24003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A0576946-32A7-4D65-9F4B-44FB50844053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3235325" y="3662363"/>
            <a:ext cx="0" cy="17145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A769D74B-651B-4FC8-90AC-0B21C868B7E4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1263650" y="2312988"/>
            <a:ext cx="0" cy="2438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3392B6E6-6E37-4EDB-8D8B-9CD94466607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263650" y="2312988"/>
            <a:ext cx="24003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F7966135-6B80-43FC-8969-8033814FBFC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3663950" y="23129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50C2CDFA-D9FB-47D9-B9D7-06E36A775A17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2058988" y="6157913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3DA2755-85FE-49E2-8ADE-75E0BFB7A4B7}" type="datetime'''''''2''''''''''03''''''''''''''''''''''''''''0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3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3ECB19A-A567-460C-A233-2DC2B3AF616A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858838" y="6157913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4DE3E7C-5018-4536-9559-EECC7E9B3A64}" type="datetime'''''2''''''''''''''''''0''1''''''''''''''''4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C2248B6-5032-4976-AD9E-96762AD1C847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3259138" y="6157913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975B319-B2B1-4588-8EB8-9343361C6229}" type="datetime'''''2''''''0''''''''5''''0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5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C1596602-400A-4CF9-B0A4-8F0553EACA6A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735138" y="3522663"/>
            <a:ext cx="600075" cy="2809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F96B69C-D1CF-4513-89AD-32EF19F381DF}" type="datetime'+''''''''''''''''''''''5''''''''''''4''''%'''''">
              <a:rPr kumimoji="0" lang="en-GB" altLang="en-US" sz="13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+54%</a:t>
            </a:fld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D6880E96-FBED-4457-A545-FA397C23B21C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098675" y="2173288"/>
            <a:ext cx="730250" cy="2809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A58D388-05CE-4A3E-A891-432D66512D30}" type="datetime'''''''''''+''2''1''''''''''''''''''''''''''''''''''''''0''''%'">
              <a:rPr kumimoji="0" lang="en-GB" altLang="en-US" sz="13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+210%</a:t>
            </a:fld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CEC44C1-C9B3-4B81-9630-0424166E0B0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0845800" y="1009650"/>
            <a:ext cx="231775" cy="173038"/>
          </a:xfrm>
          <a:prstGeom prst="rect">
            <a:avLst/>
          </a:prstGeom>
          <a:solidFill>
            <a:srgbClr val="4C6C9C"/>
          </a:solidFill>
          <a:ln w="31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889D80-8CDE-4255-8B01-A5F01318C961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0845800" y="1258888"/>
            <a:ext cx="231775" cy="173038"/>
          </a:xfrm>
          <a:prstGeom prst="rect">
            <a:avLst/>
          </a:prstGeom>
          <a:solidFill>
            <a:srgbClr val="C3CFE1"/>
          </a:solidFill>
          <a:ln w="31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7E7271F-7600-4FA1-8FA8-949F62EC1478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11128375" y="1003300"/>
            <a:ext cx="8143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FB03DF2-40D1-4ECC-8DEF-C4EFF765A8FC}" type="datetime'''''''''''''''''P''''''''''''asse''''n''''g''''''''er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assenger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840C09B-9978-4A61-AD69-19FEBE360F08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11128375" y="1252538"/>
            <a:ext cx="5365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1418707-9CAA-4088-9802-6193E59410F6}" type="datetime'F''''''''r''''e''''''''''''i''''''gh''''''t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Freigh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EF5FDACC-F9E1-4DB8-9A2D-E29C78502AC9}"/>
              </a:ext>
            </a:extLst>
          </p:cNvPr>
          <p:cNvGraphicFramePr/>
          <p:nvPr>
            <p:custDataLst>
              <p:tags r:id="rId28"/>
            </p:custDataLst>
            <p:extLst/>
          </p:nvPr>
        </p:nvGraphicFramePr>
        <p:xfrm>
          <a:off x="8167688" y="2644775"/>
          <a:ext cx="3765550" cy="3540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13DDE41-0AF0-4FF6-860F-266A93DAF71B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8850313" y="2312988"/>
            <a:ext cx="24003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A6973AD9-1E18-453C-A0F5-083A9437EF10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8850313" y="2312988"/>
            <a:ext cx="0" cy="25288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F9A60E79-3A0E-4428-879D-A63EFD2EAB3D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11250613" y="23129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0CDB7A38-DCFC-4E3D-A07C-6A9A3A4CE869}"/>
              </a:ext>
            </a:extLst>
          </p:cNvPr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10974388" y="2503488"/>
            <a:ext cx="5540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15A0ED0-0957-4C71-88F4-0013684BC709}" type="datetime'''''''''2''''''1'''''''''',''''''3''7''''''''7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1,37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F54CCF0-B055-496D-A548-85166E515FDE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8620125" y="4879975"/>
            <a:ext cx="4619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39BDC3D-688D-499F-BF21-5CEF075D655E}" type="datetime'''''6'''''''''''''''''''',''''''''''3''''''''2''''''3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,32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67CD054-DDBD-478E-8110-CC1F5B7E77F8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8659813" y="6157913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6F07DE8-1FE5-4BD7-BB1B-27C750613DA7}" type="datetime'2''''''''''''''''''''''''0''''''''''''1''''''''''''4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526F089-FF83-48ED-A349-D146B0B00F39}"/>
              </a:ext>
            </a:extLst>
          </p:cNvPr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9859963" y="6157913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1F65E2C-C371-4960-A1C3-F9E52831BAE6}" type="datetime'''''''2''0''''''3''''''''''''''''''''''''''''''0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3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F76F711-041D-436C-BFD3-0838A5A67C5F}"/>
              </a:ext>
            </a:extLst>
          </p:cNvPr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11060113" y="6157913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AB9066A-6182-4872-9B16-89216AC35E69}" type="datetime'''''''''''''''''2''''''0''''''''''''5''''''''''''''0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5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D42535A-D1B6-4784-951A-06D5F9DF9DFD}"/>
              </a:ext>
            </a:extLst>
          </p:cNvPr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9774238" y="4076700"/>
            <a:ext cx="5540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1DE0F97-9F31-4EEB-B751-5C0BFBD3C099}" type="datetime'''''''''''''''''1''''''''''''''''''''''''''''''1,4''16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1,41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E74850F3-9139-4895-BDCA-CF9966499FB9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9685338" y="2173288"/>
            <a:ext cx="730250" cy="2809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E44CCC1-9F62-4460-BF82-212C7B85495D}" type="datetime'''''''''''''''''''''+''''''23''''''''''''''''8''''%'''">
              <a:rPr kumimoji="0" lang="en-GB" altLang="en-US" sz="13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+238%</a:t>
            </a:fld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1" name="5. Source">
            <a:extLst>
              <a:ext uri="{FF2B5EF4-FFF2-40B4-BE49-F238E27FC236}">
                <a16:creationId xmlns:a16="http://schemas.microsoft.com/office/drawing/2014/main" id="{15A5F32A-542A-46E8-95E3-A60FAA4915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EA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echnology Perspectives;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ECD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FT Transport Outlook 2017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7" name="AutoShape 250">
            <a:extLst>
              <a:ext uri="{FF2B5EF4-FFF2-40B4-BE49-F238E27FC236}">
                <a16:creationId xmlns:a16="http://schemas.microsoft.com/office/drawing/2014/main" id="{FC3FB4D2-CCC8-4993-B34D-D3ABC78321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720" y="1217676"/>
            <a:ext cx="3600000" cy="61863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-road transport dem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EA RTS scenari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llion passenger km / T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nn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km per year</a:t>
            </a:r>
          </a:p>
        </p:txBody>
      </p:sp>
      <p:cxnSp>
        <p:nvCxnSpPr>
          <p:cNvPr id="98" name="AutoShape 249">
            <a:extLst>
              <a:ext uri="{FF2B5EF4-FFF2-40B4-BE49-F238E27FC236}">
                <a16:creationId xmlns:a16="http://schemas.microsoft.com/office/drawing/2014/main" id="{968C9F7F-610E-45EF-A170-BBA764EB478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38125" y="1836306"/>
            <a:ext cx="3600000" cy="1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" name="AutoShape 249">
            <a:extLst>
              <a:ext uri="{FF2B5EF4-FFF2-40B4-BE49-F238E27FC236}">
                <a16:creationId xmlns:a16="http://schemas.microsoft.com/office/drawing/2014/main" id="{A94986BD-58AE-4F90-92B3-83A3969D572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332710" y="1836306"/>
            <a:ext cx="3600000" cy="1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1" name="AutoShape 249">
            <a:extLst>
              <a:ext uri="{FF2B5EF4-FFF2-40B4-BE49-F238E27FC236}">
                <a16:creationId xmlns:a16="http://schemas.microsoft.com/office/drawing/2014/main" id="{D85003FB-29A0-4251-BB79-A440D344023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249640" y="1836306"/>
            <a:ext cx="3600000" cy="1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2" name="AutoShape 250">
            <a:extLst>
              <a:ext uri="{FF2B5EF4-FFF2-40B4-BE49-F238E27FC236}">
                <a16:creationId xmlns:a16="http://schemas.microsoft.com/office/drawing/2014/main" id="{8153D47A-FB59-401C-A689-9598704102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710" y="1217676"/>
            <a:ext cx="3600000" cy="61863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: container traffic projec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ternational Transport Forum freight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TEU per year</a:t>
            </a:r>
          </a:p>
        </p:txBody>
      </p:sp>
      <p:sp>
        <p:nvSpPr>
          <p:cNvPr id="107" name="AutoShape 250">
            <a:extLst>
              <a:ext uri="{FF2B5EF4-FFF2-40B4-BE49-F238E27FC236}">
                <a16:creationId xmlns:a16="http://schemas.microsoft.com/office/drawing/2014/main" id="{D4E4061C-D011-4EDF-8AF5-7D50F7BF9A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9640" y="1217676"/>
            <a:ext cx="3600000" cy="61863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iation demand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EA RTS scenari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llion passenger km per year</a:t>
            </a:r>
          </a:p>
        </p:txBody>
      </p:sp>
    </p:spTree>
    <p:extLst>
      <p:ext uri="{BB962C8B-B14F-4D97-AF65-F5344CB8AC3E}">
        <p14:creationId xmlns:p14="http://schemas.microsoft.com/office/powerpoint/2010/main" val="17975701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Slide" r:id="rId214" imgW="526" imgH="526" progId="TCLayout.ActiveDocument.1">
                  <p:embed/>
                </p:oleObj>
              </mc:Choice>
              <mc:Fallback>
                <p:oleObj name="think-cell Slide" r:id="rId214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215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0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A6BD0AD3-16B5-4ABE-A169-AE1997B28034}"/>
              </a:ext>
            </a:extLst>
          </p:cNvPr>
          <p:cNvGrpSpPr>
            <a:grpSpLocks/>
          </p:cNvGrpSpPr>
          <p:nvPr/>
        </p:nvGrpSpPr>
        <p:grpSpPr>
          <a:xfrm>
            <a:off x="2460635" y="1784869"/>
            <a:ext cx="9007786" cy="4601603"/>
            <a:chOff x="38163" y="1274763"/>
            <a:chExt cx="8848662" cy="4519612"/>
          </a:xfrm>
          <a:solidFill>
            <a:schemeClr val="accent6">
              <a:lumMod val="20000"/>
              <a:lumOff val="80000"/>
            </a:schemeClr>
          </a:solidFill>
        </p:grpSpPr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2C9D843A-6B3A-47FF-9BEF-6D5127E17294}"/>
                </a:ext>
              </a:extLst>
            </p:cNvPr>
            <p:cNvGrpSpPr/>
            <p:nvPr/>
          </p:nvGrpSpPr>
          <p:grpSpPr>
            <a:xfrm>
              <a:off x="38163" y="1274763"/>
              <a:ext cx="8848662" cy="4519612"/>
              <a:chOff x="38163" y="1274763"/>
              <a:chExt cx="8848662" cy="4519612"/>
            </a:xfrm>
            <a:grpFill/>
          </p:grpSpPr>
          <p:sp>
            <p:nvSpPr>
              <p:cNvPr id="237" name="Freeform 5">
                <a:extLst>
                  <a:ext uri="{FF2B5EF4-FFF2-40B4-BE49-F238E27FC236}">
                    <a16:creationId xmlns:a16="http://schemas.microsoft.com/office/drawing/2014/main" id="{B0E0E8A0-DEB8-4A43-A4DC-C10DB22EAD87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121151" y="3248025"/>
                <a:ext cx="504825" cy="490538"/>
              </a:xfrm>
              <a:custGeom>
                <a:avLst/>
                <a:gdLst>
                  <a:gd name="T0" fmla="*/ 192 w 313"/>
                  <a:gd name="T1" fmla="*/ 306 h 309"/>
                  <a:gd name="T2" fmla="*/ 171 w 313"/>
                  <a:gd name="T3" fmla="*/ 294 h 309"/>
                  <a:gd name="T4" fmla="*/ 131 w 313"/>
                  <a:gd name="T5" fmla="*/ 264 h 309"/>
                  <a:gd name="T6" fmla="*/ 102 w 313"/>
                  <a:gd name="T7" fmla="*/ 246 h 309"/>
                  <a:gd name="T8" fmla="*/ 86 w 313"/>
                  <a:gd name="T9" fmla="*/ 231 h 309"/>
                  <a:gd name="T10" fmla="*/ 45 w 313"/>
                  <a:gd name="T11" fmla="*/ 205 h 309"/>
                  <a:gd name="T12" fmla="*/ 17 w 313"/>
                  <a:gd name="T13" fmla="*/ 187 h 309"/>
                  <a:gd name="T14" fmla="*/ 15 w 313"/>
                  <a:gd name="T15" fmla="*/ 180 h 309"/>
                  <a:gd name="T16" fmla="*/ 0 w 313"/>
                  <a:gd name="T17" fmla="*/ 165 h 309"/>
                  <a:gd name="T18" fmla="*/ 14 w 313"/>
                  <a:gd name="T19" fmla="*/ 147 h 309"/>
                  <a:gd name="T20" fmla="*/ 24 w 313"/>
                  <a:gd name="T21" fmla="*/ 139 h 309"/>
                  <a:gd name="T22" fmla="*/ 38 w 313"/>
                  <a:gd name="T23" fmla="*/ 138 h 309"/>
                  <a:gd name="T24" fmla="*/ 53 w 313"/>
                  <a:gd name="T25" fmla="*/ 129 h 309"/>
                  <a:gd name="T26" fmla="*/ 62 w 313"/>
                  <a:gd name="T27" fmla="*/ 120 h 309"/>
                  <a:gd name="T28" fmla="*/ 77 w 313"/>
                  <a:gd name="T29" fmla="*/ 114 h 309"/>
                  <a:gd name="T30" fmla="*/ 89 w 313"/>
                  <a:gd name="T31" fmla="*/ 102 h 309"/>
                  <a:gd name="T32" fmla="*/ 92 w 313"/>
                  <a:gd name="T33" fmla="*/ 91 h 309"/>
                  <a:gd name="T34" fmla="*/ 108 w 313"/>
                  <a:gd name="T35" fmla="*/ 90 h 309"/>
                  <a:gd name="T36" fmla="*/ 110 w 313"/>
                  <a:gd name="T37" fmla="*/ 73 h 309"/>
                  <a:gd name="T38" fmla="*/ 110 w 313"/>
                  <a:gd name="T39" fmla="*/ 44 h 309"/>
                  <a:gd name="T40" fmla="*/ 116 w 313"/>
                  <a:gd name="T41" fmla="*/ 33 h 309"/>
                  <a:gd name="T42" fmla="*/ 131 w 313"/>
                  <a:gd name="T43" fmla="*/ 28 h 309"/>
                  <a:gd name="T44" fmla="*/ 149 w 313"/>
                  <a:gd name="T45" fmla="*/ 18 h 309"/>
                  <a:gd name="T46" fmla="*/ 188 w 313"/>
                  <a:gd name="T47" fmla="*/ 12 h 309"/>
                  <a:gd name="T48" fmla="*/ 228 w 313"/>
                  <a:gd name="T49" fmla="*/ 19 h 309"/>
                  <a:gd name="T50" fmla="*/ 222 w 313"/>
                  <a:gd name="T51" fmla="*/ 9 h 309"/>
                  <a:gd name="T52" fmla="*/ 258 w 313"/>
                  <a:gd name="T53" fmla="*/ 18 h 309"/>
                  <a:gd name="T54" fmla="*/ 251 w 313"/>
                  <a:gd name="T55" fmla="*/ 52 h 309"/>
                  <a:gd name="T56" fmla="*/ 254 w 313"/>
                  <a:gd name="T57" fmla="*/ 84 h 309"/>
                  <a:gd name="T58" fmla="*/ 255 w 313"/>
                  <a:gd name="T59" fmla="*/ 90 h 309"/>
                  <a:gd name="T60" fmla="*/ 260 w 313"/>
                  <a:gd name="T61" fmla="*/ 91 h 309"/>
                  <a:gd name="T62" fmla="*/ 270 w 313"/>
                  <a:gd name="T63" fmla="*/ 102 h 309"/>
                  <a:gd name="T64" fmla="*/ 281 w 313"/>
                  <a:gd name="T65" fmla="*/ 111 h 309"/>
                  <a:gd name="T66" fmla="*/ 279 w 313"/>
                  <a:gd name="T67" fmla="*/ 142 h 309"/>
                  <a:gd name="T68" fmla="*/ 279 w 313"/>
                  <a:gd name="T69" fmla="*/ 154 h 309"/>
                  <a:gd name="T70" fmla="*/ 288 w 313"/>
                  <a:gd name="T71" fmla="*/ 181 h 309"/>
                  <a:gd name="T72" fmla="*/ 272 w 313"/>
                  <a:gd name="T73" fmla="*/ 198 h 309"/>
                  <a:gd name="T74" fmla="*/ 281 w 313"/>
                  <a:gd name="T75" fmla="*/ 211 h 309"/>
                  <a:gd name="T76" fmla="*/ 296 w 313"/>
                  <a:gd name="T77" fmla="*/ 226 h 309"/>
                  <a:gd name="T78" fmla="*/ 305 w 313"/>
                  <a:gd name="T79" fmla="*/ 232 h 309"/>
                  <a:gd name="T80" fmla="*/ 290 w 313"/>
                  <a:gd name="T81" fmla="*/ 250 h 309"/>
                  <a:gd name="T82" fmla="*/ 273 w 313"/>
                  <a:gd name="T83" fmla="*/ 256 h 309"/>
                  <a:gd name="T84" fmla="*/ 258 w 313"/>
                  <a:gd name="T85" fmla="*/ 265 h 309"/>
                  <a:gd name="T86" fmla="*/ 246 w 313"/>
                  <a:gd name="T87" fmla="*/ 280 h 309"/>
                  <a:gd name="T88" fmla="*/ 237 w 313"/>
                  <a:gd name="T89" fmla="*/ 286 h 309"/>
                  <a:gd name="T90" fmla="*/ 218 w 313"/>
                  <a:gd name="T91" fmla="*/ 304 h 309"/>
                  <a:gd name="T92" fmla="*/ 192 w 313"/>
                  <a:gd name="T93" fmla="*/ 306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13" h="309">
                    <a:moveTo>
                      <a:pt x="192" y="306"/>
                    </a:moveTo>
                    <a:cubicBezTo>
                      <a:pt x="176" y="303"/>
                      <a:pt x="184" y="296"/>
                      <a:pt x="171" y="294"/>
                    </a:cubicBezTo>
                    <a:cubicBezTo>
                      <a:pt x="161" y="287"/>
                      <a:pt x="142" y="272"/>
                      <a:pt x="131" y="264"/>
                    </a:cubicBezTo>
                    <a:cubicBezTo>
                      <a:pt x="123" y="257"/>
                      <a:pt x="109" y="251"/>
                      <a:pt x="102" y="246"/>
                    </a:cubicBezTo>
                    <a:cubicBezTo>
                      <a:pt x="100" y="245"/>
                      <a:pt x="89" y="233"/>
                      <a:pt x="86" y="231"/>
                    </a:cubicBezTo>
                    <a:cubicBezTo>
                      <a:pt x="72" y="222"/>
                      <a:pt x="58" y="215"/>
                      <a:pt x="45" y="205"/>
                    </a:cubicBezTo>
                    <a:cubicBezTo>
                      <a:pt x="37" y="199"/>
                      <a:pt x="28" y="189"/>
                      <a:pt x="17" y="187"/>
                    </a:cubicBezTo>
                    <a:cubicBezTo>
                      <a:pt x="11" y="182"/>
                      <a:pt x="18" y="184"/>
                      <a:pt x="15" y="180"/>
                    </a:cubicBezTo>
                    <a:cubicBezTo>
                      <a:pt x="12" y="176"/>
                      <a:pt x="0" y="170"/>
                      <a:pt x="0" y="165"/>
                    </a:cubicBezTo>
                    <a:cubicBezTo>
                      <a:pt x="0" y="160"/>
                      <a:pt x="10" y="151"/>
                      <a:pt x="14" y="147"/>
                    </a:cubicBezTo>
                    <a:cubicBezTo>
                      <a:pt x="17" y="141"/>
                      <a:pt x="20" y="140"/>
                      <a:pt x="24" y="139"/>
                    </a:cubicBezTo>
                    <a:cubicBezTo>
                      <a:pt x="28" y="138"/>
                      <a:pt x="33" y="140"/>
                      <a:pt x="38" y="138"/>
                    </a:cubicBezTo>
                    <a:cubicBezTo>
                      <a:pt x="45" y="135"/>
                      <a:pt x="49" y="132"/>
                      <a:pt x="53" y="129"/>
                    </a:cubicBezTo>
                    <a:cubicBezTo>
                      <a:pt x="57" y="126"/>
                      <a:pt x="58" y="123"/>
                      <a:pt x="62" y="120"/>
                    </a:cubicBezTo>
                    <a:cubicBezTo>
                      <a:pt x="64" y="117"/>
                      <a:pt x="75" y="117"/>
                      <a:pt x="77" y="114"/>
                    </a:cubicBezTo>
                    <a:cubicBezTo>
                      <a:pt x="81" y="111"/>
                      <a:pt x="87" y="106"/>
                      <a:pt x="89" y="102"/>
                    </a:cubicBezTo>
                    <a:cubicBezTo>
                      <a:pt x="91" y="98"/>
                      <a:pt x="89" y="93"/>
                      <a:pt x="92" y="91"/>
                    </a:cubicBezTo>
                    <a:cubicBezTo>
                      <a:pt x="97" y="89"/>
                      <a:pt x="101" y="91"/>
                      <a:pt x="108" y="90"/>
                    </a:cubicBezTo>
                    <a:cubicBezTo>
                      <a:pt x="110" y="81"/>
                      <a:pt x="112" y="82"/>
                      <a:pt x="110" y="73"/>
                    </a:cubicBezTo>
                    <a:cubicBezTo>
                      <a:pt x="110" y="65"/>
                      <a:pt x="109" y="51"/>
                      <a:pt x="110" y="44"/>
                    </a:cubicBezTo>
                    <a:cubicBezTo>
                      <a:pt x="111" y="37"/>
                      <a:pt x="112" y="36"/>
                      <a:pt x="116" y="33"/>
                    </a:cubicBezTo>
                    <a:cubicBezTo>
                      <a:pt x="118" y="22"/>
                      <a:pt x="123" y="26"/>
                      <a:pt x="131" y="28"/>
                    </a:cubicBezTo>
                    <a:cubicBezTo>
                      <a:pt x="136" y="21"/>
                      <a:pt x="141" y="20"/>
                      <a:pt x="149" y="18"/>
                    </a:cubicBezTo>
                    <a:cubicBezTo>
                      <a:pt x="161" y="9"/>
                      <a:pt x="169" y="13"/>
                      <a:pt x="188" y="12"/>
                    </a:cubicBezTo>
                    <a:cubicBezTo>
                      <a:pt x="200" y="3"/>
                      <a:pt x="215" y="17"/>
                      <a:pt x="228" y="19"/>
                    </a:cubicBezTo>
                    <a:cubicBezTo>
                      <a:pt x="239" y="23"/>
                      <a:pt x="227" y="15"/>
                      <a:pt x="222" y="9"/>
                    </a:cubicBezTo>
                    <a:cubicBezTo>
                      <a:pt x="237" y="0"/>
                      <a:pt x="282" y="4"/>
                      <a:pt x="258" y="18"/>
                    </a:cubicBezTo>
                    <a:cubicBezTo>
                      <a:pt x="251" y="27"/>
                      <a:pt x="263" y="43"/>
                      <a:pt x="251" y="52"/>
                    </a:cubicBezTo>
                    <a:cubicBezTo>
                      <a:pt x="248" y="64"/>
                      <a:pt x="245" y="75"/>
                      <a:pt x="254" y="84"/>
                    </a:cubicBezTo>
                    <a:cubicBezTo>
                      <a:pt x="254" y="86"/>
                      <a:pt x="254" y="88"/>
                      <a:pt x="255" y="90"/>
                    </a:cubicBezTo>
                    <a:cubicBezTo>
                      <a:pt x="256" y="91"/>
                      <a:pt x="259" y="90"/>
                      <a:pt x="260" y="91"/>
                    </a:cubicBezTo>
                    <a:cubicBezTo>
                      <a:pt x="262" y="93"/>
                      <a:pt x="269" y="99"/>
                      <a:pt x="270" y="102"/>
                    </a:cubicBezTo>
                    <a:cubicBezTo>
                      <a:pt x="271" y="108"/>
                      <a:pt x="278" y="105"/>
                      <a:pt x="281" y="111"/>
                    </a:cubicBezTo>
                    <a:cubicBezTo>
                      <a:pt x="282" y="117"/>
                      <a:pt x="279" y="135"/>
                      <a:pt x="279" y="142"/>
                    </a:cubicBezTo>
                    <a:cubicBezTo>
                      <a:pt x="279" y="149"/>
                      <a:pt x="278" y="148"/>
                      <a:pt x="279" y="154"/>
                    </a:cubicBezTo>
                    <a:cubicBezTo>
                      <a:pt x="280" y="160"/>
                      <a:pt x="289" y="174"/>
                      <a:pt x="288" y="181"/>
                    </a:cubicBezTo>
                    <a:cubicBezTo>
                      <a:pt x="287" y="188"/>
                      <a:pt x="273" y="193"/>
                      <a:pt x="272" y="198"/>
                    </a:cubicBezTo>
                    <a:cubicBezTo>
                      <a:pt x="275" y="202"/>
                      <a:pt x="278" y="207"/>
                      <a:pt x="281" y="211"/>
                    </a:cubicBezTo>
                    <a:cubicBezTo>
                      <a:pt x="283" y="220"/>
                      <a:pt x="288" y="225"/>
                      <a:pt x="296" y="226"/>
                    </a:cubicBezTo>
                    <a:cubicBezTo>
                      <a:pt x="303" y="230"/>
                      <a:pt x="296" y="228"/>
                      <a:pt x="305" y="232"/>
                    </a:cubicBezTo>
                    <a:cubicBezTo>
                      <a:pt x="313" y="242"/>
                      <a:pt x="295" y="250"/>
                      <a:pt x="290" y="250"/>
                    </a:cubicBezTo>
                    <a:cubicBezTo>
                      <a:pt x="283" y="253"/>
                      <a:pt x="280" y="253"/>
                      <a:pt x="273" y="256"/>
                    </a:cubicBezTo>
                    <a:cubicBezTo>
                      <a:pt x="268" y="263"/>
                      <a:pt x="267" y="263"/>
                      <a:pt x="258" y="265"/>
                    </a:cubicBezTo>
                    <a:cubicBezTo>
                      <a:pt x="254" y="268"/>
                      <a:pt x="250" y="277"/>
                      <a:pt x="246" y="280"/>
                    </a:cubicBezTo>
                    <a:cubicBezTo>
                      <a:pt x="243" y="286"/>
                      <a:pt x="244" y="285"/>
                      <a:pt x="237" y="286"/>
                    </a:cubicBezTo>
                    <a:cubicBezTo>
                      <a:pt x="231" y="290"/>
                      <a:pt x="225" y="303"/>
                      <a:pt x="218" y="304"/>
                    </a:cubicBezTo>
                    <a:cubicBezTo>
                      <a:pt x="211" y="309"/>
                      <a:pt x="200" y="306"/>
                      <a:pt x="192" y="30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38" name="Freeform 6">
                <a:extLst>
                  <a:ext uri="{FF2B5EF4-FFF2-40B4-BE49-F238E27FC236}">
                    <a16:creationId xmlns:a16="http://schemas.microsoft.com/office/drawing/2014/main" id="{BCDA4DC1-3C34-4D44-8321-ED837754EA47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59301" y="3371850"/>
                <a:ext cx="381000" cy="355600"/>
              </a:xfrm>
              <a:custGeom>
                <a:avLst/>
                <a:gdLst>
                  <a:gd name="T0" fmla="*/ 6 w 236"/>
                  <a:gd name="T1" fmla="*/ 43 h 224"/>
                  <a:gd name="T2" fmla="*/ 16 w 236"/>
                  <a:gd name="T3" fmla="*/ 22 h 224"/>
                  <a:gd name="T4" fmla="*/ 28 w 236"/>
                  <a:gd name="T5" fmla="*/ 15 h 224"/>
                  <a:gd name="T6" fmla="*/ 48 w 236"/>
                  <a:gd name="T7" fmla="*/ 0 h 224"/>
                  <a:gd name="T8" fmla="*/ 85 w 236"/>
                  <a:gd name="T9" fmla="*/ 6 h 224"/>
                  <a:gd name="T10" fmla="*/ 118 w 236"/>
                  <a:gd name="T11" fmla="*/ 30 h 224"/>
                  <a:gd name="T12" fmla="*/ 142 w 236"/>
                  <a:gd name="T13" fmla="*/ 40 h 224"/>
                  <a:gd name="T14" fmla="*/ 150 w 236"/>
                  <a:gd name="T15" fmla="*/ 43 h 224"/>
                  <a:gd name="T16" fmla="*/ 160 w 236"/>
                  <a:gd name="T17" fmla="*/ 30 h 224"/>
                  <a:gd name="T18" fmla="*/ 156 w 236"/>
                  <a:gd name="T19" fmla="*/ 13 h 224"/>
                  <a:gd name="T20" fmla="*/ 174 w 236"/>
                  <a:gd name="T21" fmla="*/ 3 h 224"/>
                  <a:gd name="T22" fmla="*/ 213 w 236"/>
                  <a:gd name="T23" fmla="*/ 12 h 224"/>
                  <a:gd name="T24" fmla="*/ 226 w 236"/>
                  <a:gd name="T25" fmla="*/ 21 h 224"/>
                  <a:gd name="T26" fmla="*/ 228 w 236"/>
                  <a:gd name="T27" fmla="*/ 34 h 224"/>
                  <a:gd name="T28" fmla="*/ 229 w 236"/>
                  <a:gd name="T29" fmla="*/ 66 h 224"/>
                  <a:gd name="T30" fmla="*/ 231 w 236"/>
                  <a:gd name="T31" fmla="*/ 183 h 224"/>
                  <a:gd name="T32" fmla="*/ 232 w 236"/>
                  <a:gd name="T33" fmla="*/ 217 h 224"/>
                  <a:gd name="T34" fmla="*/ 208 w 236"/>
                  <a:gd name="T35" fmla="*/ 223 h 224"/>
                  <a:gd name="T36" fmla="*/ 186 w 236"/>
                  <a:gd name="T37" fmla="*/ 208 h 224"/>
                  <a:gd name="T38" fmla="*/ 168 w 236"/>
                  <a:gd name="T39" fmla="*/ 198 h 224"/>
                  <a:gd name="T40" fmla="*/ 153 w 236"/>
                  <a:gd name="T41" fmla="*/ 195 h 224"/>
                  <a:gd name="T42" fmla="*/ 145 w 236"/>
                  <a:gd name="T43" fmla="*/ 187 h 224"/>
                  <a:gd name="T44" fmla="*/ 129 w 236"/>
                  <a:gd name="T45" fmla="*/ 175 h 224"/>
                  <a:gd name="T46" fmla="*/ 103 w 236"/>
                  <a:gd name="T47" fmla="*/ 168 h 224"/>
                  <a:gd name="T48" fmla="*/ 78 w 236"/>
                  <a:gd name="T49" fmla="*/ 171 h 224"/>
                  <a:gd name="T50" fmla="*/ 58 w 236"/>
                  <a:gd name="T51" fmla="*/ 163 h 224"/>
                  <a:gd name="T52" fmla="*/ 39 w 236"/>
                  <a:gd name="T53" fmla="*/ 160 h 224"/>
                  <a:gd name="T54" fmla="*/ 12 w 236"/>
                  <a:gd name="T55" fmla="*/ 139 h 224"/>
                  <a:gd name="T56" fmla="*/ 1 w 236"/>
                  <a:gd name="T57" fmla="*/ 127 h 224"/>
                  <a:gd name="T58" fmla="*/ 15 w 236"/>
                  <a:gd name="T59" fmla="*/ 106 h 224"/>
                  <a:gd name="T60" fmla="*/ 7 w 236"/>
                  <a:gd name="T61" fmla="*/ 73 h 224"/>
                  <a:gd name="T62" fmla="*/ 6 w 236"/>
                  <a:gd name="T63" fmla="*/ 4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224">
                    <a:moveTo>
                      <a:pt x="6" y="43"/>
                    </a:moveTo>
                    <a:cubicBezTo>
                      <a:pt x="8" y="35"/>
                      <a:pt x="12" y="27"/>
                      <a:pt x="16" y="22"/>
                    </a:cubicBezTo>
                    <a:cubicBezTo>
                      <a:pt x="20" y="17"/>
                      <a:pt x="23" y="19"/>
                      <a:pt x="28" y="15"/>
                    </a:cubicBezTo>
                    <a:cubicBezTo>
                      <a:pt x="34" y="5"/>
                      <a:pt x="37" y="2"/>
                      <a:pt x="48" y="0"/>
                    </a:cubicBezTo>
                    <a:cubicBezTo>
                      <a:pt x="73" y="1"/>
                      <a:pt x="67" y="2"/>
                      <a:pt x="85" y="6"/>
                    </a:cubicBezTo>
                    <a:cubicBezTo>
                      <a:pt x="103" y="30"/>
                      <a:pt x="74" y="26"/>
                      <a:pt x="118" y="30"/>
                    </a:cubicBezTo>
                    <a:cubicBezTo>
                      <a:pt x="127" y="32"/>
                      <a:pt x="133" y="38"/>
                      <a:pt x="142" y="40"/>
                    </a:cubicBezTo>
                    <a:cubicBezTo>
                      <a:pt x="144" y="44"/>
                      <a:pt x="145" y="48"/>
                      <a:pt x="150" y="43"/>
                    </a:cubicBezTo>
                    <a:cubicBezTo>
                      <a:pt x="154" y="39"/>
                      <a:pt x="160" y="30"/>
                      <a:pt x="160" y="30"/>
                    </a:cubicBezTo>
                    <a:cubicBezTo>
                      <a:pt x="159" y="23"/>
                      <a:pt x="157" y="19"/>
                      <a:pt x="156" y="13"/>
                    </a:cubicBezTo>
                    <a:cubicBezTo>
                      <a:pt x="161" y="9"/>
                      <a:pt x="168" y="7"/>
                      <a:pt x="174" y="3"/>
                    </a:cubicBezTo>
                    <a:cubicBezTo>
                      <a:pt x="197" y="4"/>
                      <a:pt x="194" y="8"/>
                      <a:pt x="213" y="12"/>
                    </a:cubicBezTo>
                    <a:cubicBezTo>
                      <a:pt x="217" y="15"/>
                      <a:pt x="222" y="18"/>
                      <a:pt x="226" y="21"/>
                    </a:cubicBezTo>
                    <a:cubicBezTo>
                      <a:pt x="229" y="27"/>
                      <a:pt x="229" y="28"/>
                      <a:pt x="228" y="34"/>
                    </a:cubicBezTo>
                    <a:cubicBezTo>
                      <a:pt x="230" y="44"/>
                      <a:pt x="227" y="56"/>
                      <a:pt x="229" y="66"/>
                    </a:cubicBezTo>
                    <a:cubicBezTo>
                      <a:pt x="232" y="90"/>
                      <a:pt x="234" y="157"/>
                      <a:pt x="231" y="183"/>
                    </a:cubicBezTo>
                    <a:cubicBezTo>
                      <a:pt x="231" y="208"/>
                      <a:pt x="236" y="210"/>
                      <a:pt x="232" y="217"/>
                    </a:cubicBezTo>
                    <a:cubicBezTo>
                      <a:pt x="228" y="224"/>
                      <a:pt x="216" y="224"/>
                      <a:pt x="208" y="223"/>
                    </a:cubicBezTo>
                    <a:cubicBezTo>
                      <a:pt x="201" y="222"/>
                      <a:pt x="193" y="212"/>
                      <a:pt x="186" y="208"/>
                    </a:cubicBezTo>
                    <a:cubicBezTo>
                      <a:pt x="179" y="204"/>
                      <a:pt x="173" y="200"/>
                      <a:pt x="168" y="198"/>
                    </a:cubicBezTo>
                    <a:cubicBezTo>
                      <a:pt x="163" y="194"/>
                      <a:pt x="155" y="197"/>
                      <a:pt x="153" y="195"/>
                    </a:cubicBezTo>
                    <a:cubicBezTo>
                      <a:pt x="149" y="193"/>
                      <a:pt x="149" y="190"/>
                      <a:pt x="145" y="187"/>
                    </a:cubicBezTo>
                    <a:cubicBezTo>
                      <a:pt x="139" y="183"/>
                      <a:pt x="136" y="178"/>
                      <a:pt x="129" y="175"/>
                    </a:cubicBezTo>
                    <a:cubicBezTo>
                      <a:pt x="122" y="172"/>
                      <a:pt x="111" y="169"/>
                      <a:pt x="103" y="168"/>
                    </a:cubicBezTo>
                    <a:cubicBezTo>
                      <a:pt x="75" y="169"/>
                      <a:pt x="94" y="162"/>
                      <a:pt x="78" y="171"/>
                    </a:cubicBezTo>
                    <a:cubicBezTo>
                      <a:pt x="74" y="170"/>
                      <a:pt x="62" y="164"/>
                      <a:pt x="58" y="163"/>
                    </a:cubicBezTo>
                    <a:cubicBezTo>
                      <a:pt x="52" y="161"/>
                      <a:pt x="39" y="160"/>
                      <a:pt x="39" y="160"/>
                    </a:cubicBezTo>
                    <a:cubicBezTo>
                      <a:pt x="30" y="154"/>
                      <a:pt x="20" y="147"/>
                      <a:pt x="12" y="139"/>
                    </a:cubicBezTo>
                    <a:cubicBezTo>
                      <a:pt x="7" y="134"/>
                      <a:pt x="7" y="131"/>
                      <a:pt x="1" y="127"/>
                    </a:cubicBezTo>
                    <a:cubicBezTo>
                      <a:pt x="0" y="119"/>
                      <a:pt x="10" y="112"/>
                      <a:pt x="15" y="106"/>
                    </a:cubicBezTo>
                    <a:cubicBezTo>
                      <a:pt x="17" y="94"/>
                      <a:pt x="11" y="84"/>
                      <a:pt x="7" y="73"/>
                    </a:cubicBezTo>
                    <a:cubicBezTo>
                      <a:pt x="6" y="61"/>
                      <a:pt x="6" y="54"/>
                      <a:pt x="6" y="4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40" name="Freeform 7">
                <a:extLst>
                  <a:ext uri="{FF2B5EF4-FFF2-40B4-BE49-F238E27FC236}">
                    <a16:creationId xmlns:a16="http://schemas.microsoft.com/office/drawing/2014/main" id="{D498F1CC-7EEB-4F83-8F43-5516DF62994A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862513" y="2749550"/>
                <a:ext cx="463550" cy="282575"/>
              </a:xfrm>
              <a:custGeom>
                <a:avLst/>
                <a:gdLst>
                  <a:gd name="T0" fmla="*/ 107 w 287"/>
                  <a:gd name="T1" fmla="*/ 158 h 178"/>
                  <a:gd name="T2" fmla="*/ 131 w 287"/>
                  <a:gd name="T3" fmla="*/ 137 h 178"/>
                  <a:gd name="T4" fmla="*/ 151 w 287"/>
                  <a:gd name="T5" fmla="*/ 132 h 178"/>
                  <a:gd name="T6" fmla="*/ 152 w 287"/>
                  <a:gd name="T7" fmla="*/ 149 h 178"/>
                  <a:gd name="T8" fmla="*/ 163 w 287"/>
                  <a:gd name="T9" fmla="*/ 156 h 178"/>
                  <a:gd name="T10" fmla="*/ 176 w 287"/>
                  <a:gd name="T11" fmla="*/ 176 h 178"/>
                  <a:gd name="T12" fmla="*/ 211 w 287"/>
                  <a:gd name="T13" fmla="*/ 164 h 178"/>
                  <a:gd name="T14" fmla="*/ 194 w 287"/>
                  <a:gd name="T15" fmla="*/ 149 h 178"/>
                  <a:gd name="T16" fmla="*/ 185 w 287"/>
                  <a:gd name="T17" fmla="*/ 143 h 178"/>
                  <a:gd name="T18" fmla="*/ 199 w 287"/>
                  <a:gd name="T19" fmla="*/ 134 h 178"/>
                  <a:gd name="T20" fmla="*/ 217 w 287"/>
                  <a:gd name="T21" fmla="*/ 125 h 178"/>
                  <a:gd name="T22" fmla="*/ 251 w 287"/>
                  <a:gd name="T23" fmla="*/ 114 h 178"/>
                  <a:gd name="T24" fmla="*/ 263 w 287"/>
                  <a:gd name="T25" fmla="*/ 104 h 178"/>
                  <a:gd name="T26" fmla="*/ 263 w 287"/>
                  <a:gd name="T27" fmla="*/ 63 h 178"/>
                  <a:gd name="T28" fmla="*/ 225 w 287"/>
                  <a:gd name="T29" fmla="*/ 52 h 178"/>
                  <a:gd name="T30" fmla="*/ 214 w 287"/>
                  <a:gd name="T31" fmla="*/ 45 h 178"/>
                  <a:gd name="T32" fmla="*/ 187 w 287"/>
                  <a:gd name="T33" fmla="*/ 29 h 178"/>
                  <a:gd name="T34" fmla="*/ 179 w 287"/>
                  <a:gd name="T35" fmla="*/ 11 h 178"/>
                  <a:gd name="T36" fmla="*/ 142 w 287"/>
                  <a:gd name="T37" fmla="*/ 8 h 178"/>
                  <a:gd name="T38" fmla="*/ 122 w 287"/>
                  <a:gd name="T39" fmla="*/ 12 h 178"/>
                  <a:gd name="T40" fmla="*/ 109 w 287"/>
                  <a:gd name="T41" fmla="*/ 18 h 178"/>
                  <a:gd name="T42" fmla="*/ 92 w 287"/>
                  <a:gd name="T43" fmla="*/ 17 h 178"/>
                  <a:gd name="T44" fmla="*/ 31 w 287"/>
                  <a:gd name="T45" fmla="*/ 15 h 178"/>
                  <a:gd name="T46" fmla="*/ 28 w 287"/>
                  <a:gd name="T47" fmla="*/ 32 h 178"/>
                  <a:gd name="T48" fmla="*/ 14 w 287"/>
                  <a:gd name="T49" fmla="*/ 53 h 178"/>
                  <a:gd name="T50" fmla="*/ 5 w 287"/>
                  <a:gd name="T51" fmla="*/ 63 h 178"/>
                  <a:gd name="T52" fmla="*/ 7 w 287"/>
                  <a:gd name="T53" fmla="*/ 72 h 178"/>
                  <a:gd name="T54" fmla="*/ 5 w 287"/>
                  <a:gd name="T55" fmla="*/ 84 h 178"/>
                  <a:gd name="T56" fmla="*/ 7 w 287"/>
                  <a:gd name="T57" fmla="*/ 96 h 178"/>
                  <a:gd name="T58" fmla="*/ 47 w 287"/>
                  <a:gd name="T59" fmla="*/ 98 h 178"/>
                  <a:gd name="T60" fmla="*/ 65 w 287"/>
                  <a:gd name="T61" fmla="*/ 95 h 178"/>
                  <a:gd name="T62" fmla="*/ 73 w 287"/>
                  <a:gd name="T63" fmla="*/ 89 h 178"/>
                  <a:gd name="T64" fmla="*/ 91 w 287"/>
                  <a:gd name="T65" fmla="*/ 90 h 178"/>
                  <a:gd name="T66" fmla="*/ 103 w 287"/>
                  <a:gd name="T67" fmla="*/ 99 h 178"/>
                  <a:gd name="T68" fmla="*/ 109 w 287"/>
                  <a:gd name="T69" fmla="*/ 117 h 178"/>
                  <a:gd name="T70" fmla="*/ 110 w 287"/>
                  <a:gd name="T71" fmla="*/ 132 h 178"/>
                  <a:gd name="T72" fmla="*/ 104 w 287"/>
                  <a:gd name="T73" fmla="*/ 144 h 178"/>
                  <a:gd name="T74" fmla="*/ 98 w 287"/>
                  <a:gd name="T75" fmla="*/ 150 h 178"/>
                  <a:gd name="T76" fmla="*/ 107 w 287"/>
                  <a:gd name="T77" fmla="*/ 15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7" h="178">
                    <a:moveTo>
                      <a:pt x="107" y="158"/>
                    </a:moveTo>
                    <a:cubicBezTo>
                      <a:pt x="117" y="154"/>
                      <a:pt x="123" y="143"/>
                      <a:pt x="131" y="137"/>
                    </a:cubicBezTo>
                    <a:cubicBezTo>
                      <a:pt x="135" y="126"/>
                      <a:pt x="141" y="130"/>
                      <a:pt x="151" y="132"/>
                    </a:cubicBezTo>
                    <a:cubicBezTo>
                      <a:pt x="155" y="139"/>
                      <a:pt x="156" y="142"/>
                      <a:pt x="152" y="149"/>
                    </a:cubicBezTo>
                    <a:cubicBezTo>
                      <a:pt x="155" y="155"/>
                      <a:pt x="157" y="155"/>
                      <a:pt x="163" y="156"/>
                    </a:cubicBezTo>
                    <a:cubicBezTo>
                      <a:pt x="170" y="168"/>
                      <a:pt x="159" y="178"/>
                      <a:pt x="176" y="176"/>
                    </a:cubicBezTo>
                    <a:cubicBezTo>
                      <a:pt x="190" y="162"/>
                      <a:pt x="186" y="165"/>
                      <a:pt x="211" y="164"/>
                    </a:cubicBezTo>
                    <a:cubicBezTo>
                      <a:pt x="217" y="154"/>
                      <a:pt x="202" y="150"/>
                      <a:pt x="194" y="149"/>
                    </a:cubicBezTo>
                    <a:cubicBezTo>
                      <a:pt x="191" y="147"/>
                      <a:pt x="185" y="147"/>
                      <a:pt x="185" y="143"/>
                    </a:cubicBezTo>
                    <a:cubicBezTo>
                      <a:pt x="185" y="138"/>
                      <a:pt x="196" y="135"/>
                      <a:pt x="199" y="134"/>
                    </a:cubicBezTo>
                    <a:cubicBezTo>
                      <a:pt x="205" y="131"/>
                      <a:pt x="211" y="129"/>
                      <a:pt x="217" y="125"/>
                    </a:cubicBezTo>
                    <a:cubicBezTo>
                      <a:pt x="223" y="115"/>
                      <a:pt x="240" y="116"/>
                      <a:pt x="251" y="114"/>
                    </a:cubicBezTo>
                    <a:cubicBezTo>
                      <a:pt x="256" y="111"/>
                      <a:pt x="259" y="109"/>
                      <a:pt x="263" y="104"/>
                    </a:cubicBezTo>
                    <a:cubicBezTo>
                      <a:pt x="266" y="84"/>
                      <a:pt x="287" y="67"/>
                      <a:pt x="263" y="63"/>
                    </a:cubicBezTo>
                    <a:cubicBezTo>
                      <a:pt x="257" y="54"/>
                      <a:pt x="234" y="54"/>
                      <a:pt x="225" y="52"/>
                    </a:cubicBezTo>
                    <a:cubicBezTo>
                      <a:pt x="217" y="49"/>
                      <a:pt x="220" y="49"/>
                      <a:pt x="214" y="45"/>
                    </a:cubicBezTo>
                    <a:cubicBezTo>
                      <a:pt x="209" y="38"/>
                      <a:pt x="195" y="34"/>
                      <a:pt x="187" y="29"/>
                    </a:cubicBezTo>
                    <a:cubicBezTo>
                      <a:pt x="183" y="24"/>
                      <a:pt x="183" y="16"/>
                      <a:pt x="179" y="11"/>
                    </a:cubicBezTo>
                    <a:cubicBezTo>
                      <a:pt x="177" y="0"/>
                      <a:pt x="151" y="9"/>
                      <a:pt x="142" y="8"/>
                    </a:cubicBezTo>
                    <a:cubicBezTo>
                      <a:pt x="133" y="9"/>
                      <a:pt x="130" y="10"/>
                      <a:pt x="122" y="12"/>
                    </a:cubicBezTo>
                    <a:cubicBezTo>
                      <a:pt x="117" y="14"/>
                      <a:pt x="114" y="17"/>
                      <a:pt x="109" y="18"/>
                    </a:cubicBezTo>
                    <a:cubicBezTo>
                      <a:pt x="104" y="19"/>
                      <a:pt x="105" y="17"/>
                      <a:pt x="92" y="17"/>
                    </a:cubicBezTo>
                    <a:cubicBezTo>
                      <a:pt x="74" y="8"/>
                      <a:pt x="46" y="15"/>
                      <a:pt x="31" y="15"/>
                    </a:cubicBezTo>
                    <a:cubicBezTo>
                      <a:pt x="21" y="19"/>
                      <a:pt x="23" y="24"/>
                      <a:pt x="28" y="32"/>
                    </a:cubicBezTo>
                    <a:cubicBezTo>
                      <a:pt x="26" y="41"/>
                      <a:pt x="22" y="48"/>
                      <a:pt x="14" y="53"/>
                    </a:cubicBezTo>
                    <a:cubicBezTo>
                      <a:pt x="11" y="58"/>
                      <a:pt x="6" y="60"/>
                      <a:pt x="5" y="63"/>
                    </a:cubicBezTo>
                    <a:cubicBezTo>
                      <a:pt x="4" y="66"/>
                      <a:pt x="7" y="69"/>
                      <a:pt x="7" y="72"/>
                    </a:cubicBezTo>
                    <a:cubicBezTo>
                      <a:pt x="7" y="75"/>
                      <a:pt x="5" y="80"/>
                      <a:pt x="5" y="84"/>
                    </a:cubicBezTo>
                    <a:cubicBezTo>
                      <a:pt x="6" y="88"/>
                      <a:pt x="0" y="94"/>
                      <a:pt x="7" y="96"/>
                    </a:cubicBezTo>
                    <a:cubicBezTo>
                      <a:pt x="14" y="98"/>
                      <a:pt x="37" y="98"/>
                      <a:pt x="47" y="98"/>
                    </a:cubicBezTo>
                    <a:cubicBezTo>
                      <a:pt x="56" y="97"/>
                      <a:pt x="61" y="96"/>
                      <a:pt x="65" y="95"/>
                    </a:cubicBezTo>
                    <a:cubicBezTo>
                      <a:pt x="69" y="94"/>
                      <a:pt x="69" y="90"/>
                      <a:pt x="73" y="89"/>
                    </a:cubicBezTo>
                    <a:cubicBezTo>
                      <a:pt x="79" y="86"/>
                      <a:pt x="84" y="89"/>
                      <a:pt x="91" y="90"/>
                    </a:cubicBezTo>
                    <a:cubicBezTo>
                      <a:pt x="96" y="93"/>
                      <a:pt x="99" y="94"/>
                      <a:pt x="103" y="99"/>
                    </a:cubicBezTo>
                    <a:cubicBezTo>
                      <a:pt x="104" y="107"/>
                      <a:pt x="104" y="111"/>
                      <a:pt x="109" y="117"/>
                    </a:cubicBezTo>
                    <a:cubicBezTo>
                      <a:pt x="111" y="125"/>
                      <a:pt x="114" y="124"/>
                      <a:pt x="110" y="132"/>
                    </a:cubicBezTo>
                    <a:cubicBezTo>
                      <a:pt x="110" y="136"/>
                      <a:pt x="106" y="141"/>
                      <a:pt x="104" y="144"/>
                    </a:cubicBezTo>
                    <a:cubicBezTo>
                      <a:pt x="102" y="147"/>
                      <a:pt x="98" y="148"/>
                      <a:pt x="98" y="150"/>
                    </a:cubicBezTo>
                    <a:cubicBezTo>
                      <a:pt x="96" y="159"/>
                      <a:pt x="99" y="159"/>
                      <a:pt x="107" y="15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41" name="Freeform 8">
                <a:extLst>
                  <a:ext uri="{FF2B5EF4-FFF2-40B4-BE49-F238E27FC236}">
                    <a16:creationId xmlns:a16="http://schemas.microsoft.com/office/drawing/2014/main" id="{E6CA371E-D0C9-4653-B339-53866D067737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5673726" y="3000375"/>
                <a:ext cx="393700" cy="258763"/>
              </a:xfrm>
              <a:custGeom>
                <a:avLst/>
                <a:gdLst>
                  <a:gd name="T0" fmla="*/ 174 w 244"/>
                  <a:gd name="T1" fmla="*/ 93 h 163"/>
                  <a:gd name="T2" fmla="*/ 189 w 244"/>
                  <a:gd name="T3" fmla="*/ 82 h 163"/>
                  <a:gd name="T4" fmla="*/ 219 w 244"/>
                  <a:gd name="T5" fmla="*/ 61 h 163"/>
                  <a:gd name="T6" fmla="*/ 237 w 244"/>
                  <a:gd name="T7" fmla="*/ 73 h 163"/>
                  <a:gd name="T8" fmla="*/ 244 w 244"/>
                  <a:gd name="T9" fmla="*/ 84 h 163"/>
                  <a:gd name="T10" fmla="*/ 196 w 244"/>
                  <a:gd name="T11" fmla="*/ 97 h 163"/>
                  <a:gd name="T12" fmla="*/ 183 w 244"/>
                  <a:gd name="T13" fmla="*/ 106 h 163"/>
                  <a:gd name="T14" fmla="*/ 172 w 244"/>
                  <a:gd name="T15" fmla="*/ 115 h 163"/>
                  <a:gd name="T16" fmla="*/ 177 w 244"/>
                  <a:gd name="T17" fmla="*/ 142 h 163"/>
                  <a:gd name="T18" fmla="*/ 153 w 244"/>
                  <a:gd name="T19" fmla="*/ 157 h 163"/>
                  <a:gd name="T20" fmla="*/ 150 w 244"/>
                  <a:gd name="T21" fmla="*/ 153 h 163"/>
                  <a:gd name="T22" fmla="*/ 148 w 244"/>
                  <a:gd name="T23" fmla="*/ 147 h 163"/>
                  <a:gd name="T24" fmla="*/ 121 w 244"/>
                  <a:gd name="T25" fmla="*/ 129 h 163"/>
                  <a:gd name="T26" fmla="*/ 99 w 244"/>
                  <a:gd name="T27" fmla="*/ 112 h 163"/>
                  <a:gd name="T28" fmla="*/ 91 w 244"/>
                  <a:gd name="T29" fmla="*/ 93 h 163"/>
                  <a:gd name="T30" fmla="*/ 76 w 244"/>
                  <a:gd name="T31" fmla="*/ 78 h 163"/>
                  <a:gd name="T32" fmla="*/ 58 w 244"/>
                  <a:gd name="T33" fmla="*/ 73 h 163"/>
                  <a:gd name="T34" fmla="*/ 49 w 244"/>
                  <a:gd name="T35" fmla="*/ 57 h 163"/>
                  <a:gd name="T36" fmla="*/ 18 w 244"/>
                  <a:gd name="T37" fmla="*/ 72 h 163"/>
                  <a:gd name="T38" fmla="*/ 4 w 244"/>
                  <a:gd name="T39" fmla="*/ 79 h 163"/>
                  <a:gd name="T40" fmla="*/ 4 w 244"/>
                  <a:gd name="T41" fmla="*/ 19 h 163"/>
                  <a:gd name="T42" fmla="*/ 30 w 244"/>
                  <a:gd name="T43" fmla="*/ 9 h 163"/>
                  <a:gd name="T44" fmla="*/ 43 w 244"/>
                  <a:gd name="T45" fmla="*/ 0 h 163"/>
                  <a:gd name="T46" fmla="*/ 51 w 244"/>
                  <a:gd name="T47" fmla="*/ 9 h 163"/>
                  <a:gd name="T48" fmla="*/ 61 w 244"/>
                  <a:gd name="T49" fmla="*/ 12 h 163"/>
                  <a:gd name="T50" fmla="*/ 69 w 244"/>
                  <a:gd name="T51" fmla="*/ 25 h 163"/>
                  <a:gd name="T52" fmla="*/ 90 w 244"/>
                  <a:gd name="T53" fmla="*/ 34 h 163"/>
                  <a:gd name="T54" fmla="*/ 105 w 244"/>
                  <a:gd name="T55" fmla="*/ 46 h 163"/>
                  <a:gd name="T56" fmla="*/ 139 w 244"/>
                  <a:gd name="T57" fmla="*/ 46 h 163"/>
                  <a:gd name="T58" fmla="*/ 150 w 244"/>
                  <a:gd name="T59" fmla="*/ 63 h 163"/>
                  <a:gd name="T60" fmla="*/ 156 w 244"/>
                  <a:gd name="T61" fmla="*/ 75 h 163"/>
                  <a:gd name="T62" fmla="*/ 165 w 244"/>
                  <a:gd name="T63" fmla="*/ 81 h 163"/>
                  <a:gd name="T64" fmla="*/ 174 w 244"/>
                  <a:gd name="T65" fmla="*/ 9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4" h="163">
                    <a:moveTo>
                      <a:pt x="174" y="93"/>
                    </a:moveTo>
                    <a:cubicBezTo>
                      <a:pt x="186" y="84"/>
                      <a:pt x="180" y="87"/>
                      <a:pt x="189" y="82"/>
                    </a:cubicBezTo>
                    <a:cubicBezTo>
                      <a:pt x="196" y="73"/>
                      <a:pt x="209" y="65"/>
                      <a:pt x="219" y="61"/>
                    </a:cubicBezTo>
                    <a:cubicBezTo>
                      <a:pt x="227" y="64"/>
                      <a:pt x="229" y="71"/>
                      <a:pt x="237" y="73"/>
                    </a:cubicBezTo>
                    <a:cubicBezTo>
                      <a:pt x="243" y="76"/>
                      <a:pt x="243" y="78"/>
                      <a:pt x="244" y="84"/>
                    </a:cubicBezTo>
                    <a:cubicBezTo>
                      <a:pt x="242" y="101"/>
                      <a:pt x="211" y="95"/>
                      <a:pt x="196" y="97"/>
                    </a:cubicBezTo>
                    <a:cubicBezTo>
                      <a:pt x="192" y="100"/>
                      <a:pt x="187" y="103"/>
                      <a:pt x="183" y="106"/>
                    </a:cubicBezTo>
                    <a:cubicBezTo>
                      <a:pt x="180" y="112"/>
                      <a:pt x="179" y="114"/>
                      <a:pt x="172" y="115"/>
                    </a:cubicBezTo>
                    <a:cubicBezTo>
                      <a:pt x="174" y="124"/>
                      <a:pt x="173" y="134"/>
                      <a:pt x="177" y="142"/>
                    </a:cubicBezTo>
                    <a:cubicBezTo>
                      <a:pt x="174" y="163"/>
                      <a:pt x="175" y="159"/>
                      <a:pt x="153" y="157"/>
                    </a:cubicBezTo>
                    <a:cubicBezTo>
                      <a:pt x="152" y="156"/>
                      <a:pt x="151" y="154"/>
                      <a:pt x="150" y="153"/>
                    </a:cubicBezTo>
                    <a:cubicBezTo>
                      <a:pt x="149" y="151"/>
                      <a:pt x="149" y="149"/>
                      <a:pt x="148" y="147"/>
                    </a:cubicBezTo>
                    <a:cubicBezTo>
                      <a:pt x="143" y="140"/>
                      <a:pt x="128" y="133"/>
                      <a:pt x="121" y="129"/>
                    </a:cubicBezTo>
                    <a:cubicBezTo>
                      <a:pt x="116" y="121"/>
                      <a:pt x="106" y="118"/>
                      <a:pt x="99" y="112"/>
                    </a:cubicBezTo>
                    <a:cubicBezTo>
                      <a:pt x="95" y="106"/>
                      <a:pt x="94" y="99"/>
                      <a:pt x="91" y="93"/>
                    </a:cubicBezTo>
                    <a:cubicBezTo>
                      <a:pt x="90" y="86"/>
                      <a:pt x="83" y="79"/>
                      <a:pt x="76" y="78"/>
                    </a:cubicBezTo>
                    <a:cubicBezTo>
                      <a:pt x="72" y="74"/>
                      <a:pt x="62" y="76"/>
                      <a:pt x="58" y="73"/>
                    </a:cubicBezTo>
                    <a:cubicBezTo>
                      <a:pt x="54" y="70"/>
                      <a:pt x="56" y="57"/>
                      <a:pt x="49" y="57"/>
                    </a:cubicBezTo>
                    <a:cubicBezTo>
                      <a:pt x="31" y="58"/>
                      <a:pt x="24" y="58"/>
                      <a:pt x="18" y="72"/>
                    </a:cubicBezTo>
                    <a:cubicBezTo>
                      <a:pt x="17" y="79"/>
                      <a:pt x="9" y="75"/>
                      <a:pt x="4" y="79"/>
                    </a:cubicBezTo>
                    <a:cubicBezTo>
                      <a:pt x="5" y="72"/>
                      <a:pt x="0" y="30"/>
                      <a:pt x="4" y="19"/>
                    </a:cubicBezTo>
                    <a:cubicBezTo>
                      <a:pt x="8" y="8"/>
                      <a:pt x="24" y="12"/>
                      <a:pt x="30" y="9"/>
                    </a:cubicBezTo>
                    <a:cubicBezTo>
                      <a:pt x="34" y="6"/>
                      <a:pt x="39" y="3"/>
                      <a:pt x="43" y="0"/>
                    </a:cubicBezTo>
                    <a:cubicBezTo>
                      <a:pt x="46" y="0"/>
                      <a:pt x="48" y="7"/>
                      <a:pt x="51" y="9"/>
                    </a:cubicBezTo>
                    <a:cubicBezTo>
                      <a:pt x="54" y="11"/>
                      <a:pt x="58" y="9"/>
                      <a:pt x="61" y="12"/>
                    </a:cubicBezTo>
                    <a:cubicBezTo>
                      <a:pt x="64" y="14"/>
                      <a:pt x="66" y="22"/>
                      <a:pt x="69" y="25"/>
                    </a:cubicBezTo>
                    <a:cubicBezTo>
                      <a:pt x="74" y="29"/>
                      <a:pt x="73" y="31"/>
                      <a:pt x="90" y="34"/>
                    </a:cubicBezTo>
                    <a:cubicBezTo>
                      <a:pt x="95" y="37"/>
                      <a:pt x="97" y="44"/>
                      <a:pt x="105" y="46"/>
                    </a:cubicBezTo>
                    <a:cubicBezTo>
                      <a:pt x="113" y="48"/>
                      <a:pt x="132" y="43"/>
                      <a:pt x="139" y="46"/>
                    </a:cubicBezTo>
                    <a:cubicBezTo>
                      <a:pt x="148" y="51"/>
                      <a:pt x="141" y="56"/>
                      <a:pt x="150" y="63"/>
                    </a:cubicBezTo>
                    <a:cubicBezTo>
                      <a:pt x="152" y="68"/>
                      <a:pt x="154" y="72"/>
                      <a:pt x="156" y="75"/>
                    </a:cubicBezTo>
                    <a:cubicBezTo>
                      <a:pt x="158" y="78"/>
                      <a:pt x="162" y="78"/>
                      <a:pt x="165" y="81"/>
                    </a:cubicBezTo>
                    <a:cubicBezTo>
                      <a:pt x="172" y="76"/>
                      <a:pt x="165" y="87"/>
                      <a:pt x="174" y="9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42" name="Freeform 9">
                <a:extLst>
                  <a:ext uri="{FF2B5EF4-FFF2-40B4-BE49-F238E27FC236}">
                    <a16:creationId xmlns:a16="http://schemas.microsoft.com/office/drawing/2014/main" id="{848993F3-EF7D-4F9C-9973-6CB6F8A9DA79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5410201" y="3105150"/>
                <a:ext cx="117475" cy="104775"/>
              </a:xfrm>
              <a:custGeom>
                <a:avLst/>
                <a:gdLst>
                  <a:gd name="T0" fmla="*/ 44 w 73"/>
                  <a:gd name="T1" fmla="*/ 22 h 66"/>
                  <a:gd name="T2" fmla="*/ 31 w 73"/>
                  <a:gd name="T3" fmla="*/ 18 h 66"/>
                  <a:gd name="T4" fmla="*/ 20 w 73"/>
                  <a:gd name="T5" fmla="*/ 0 h 66"/>
                  <a:gd name="T6" fmla="*/ 4 w 73"/>
                  <a:gd name="T7" fmla="*/ 7 h 66"/>
                  <a:gd name="T8" fmla="*/ 7 w 73"/>
                  <a:gd name="T9" fmla="*/ 28 h 66"/>
                  <a:gd name="T10" fmla="*/ 13 w 73"/>
                  <a:gd name="T11" fmla="*/ 36 h 66"/>
                  <a:gd name="T12" fmla="*/ 16 w 73"/>
                  <a:gd name="T13" fmla="*/ 46 h 66"/>
                  <a:gd name="T14" fmla="*/ 28 w 73"/>
                  <a:gd name="T15" fmla="*/ 51 h 66"/>
                  <a:gd name="T16" fmla="*/ 41 w 73"/>
                  <a:gd name="T17" fmla="*/ 48 h 66"/>
                  <a:gd name="T18" fmla="*/ 56 w 73"/>
                  <a:gd name="T19" fmla="*/ 66 h 66"/>
                  <a:gd name="T20" fmla="*/ 62 w 73"/>
                  <a:gd name="T21" fmla="*/ 45 h 66"/>
                  <a:gd name="T22" fmla="*/ 73 w 73"/>
                  <a:gd name="T23" fmla="*/ 31 h 66"/>
                  <a:gd name="T24" fmla="*/ 61 w 73"/>
                  <a:gd name="T25" fmla="*/ 18 h 66"/>
                  <a:gd name="T26" fmla="*/ 49 w 73"/>
                  <a:gd name="T27" fmla="*/ 4 h 66"/>
                  <a:gd name="T28" fmla="*/ 44 w 73"/>
                  <a:gd name="T29" fmla="*/ 2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3" h="66">
                    <a:moveTo>
                      <a:pt x="44" y="22"/>
                    </a:moveTo>
                    <a:cubicBezTo>
                      <a:pt x="39" y="21"/>
                      <a:pt x="36" y="19"/>
                      <a:pt x="31" y="18"/>
                    </a:cubicBezTo>
                    <a:cubicBezTo>
                      <a:pt x="24" y="13"/>
                      <a:pt x="28" y="5"/>
                      <a:pt x="20" y="0"/>
                    </a:cubicBezTo>
                    <a:cubicBezTo>
                      <a:pt x="15" y="2"/>
                      <a:pt x="8" y="4"/>
                      <a:pt x="4" y="7"/>
                    </a:cubicBezTo>
                    <a:cubicBezTo>
                      <a:pt x="0" y="16"/>
                      <a:pt x="1" y="20"/>
                      <a:pt x="7" y="28"/>
                    </a:cubicBezTo>
                    <a:cubicBezTo>
                      <a:pt x="10" y="42"/>
                      <a:pt x="5" y="24"/>
                      <a:pt x="13" y="36"/>
                    </a:cubicBezTo>
                    <a:cubicBezTo>
                      <a:pt x="15" y="39"/>
                      <a:pt x="14" y="43"/>
                      <a:pt x="16" y="46"/>
                    </a:cubicBezTo>
                    <a:cubicBezTo>
                      <a:pt x="18" y="54"/>
                      <a:pt x="21" y="52"/>
                      <a:pt x="28" y="51"/>
                    </a:cubicBezTo>
                    <a:cubicBezTo>
                      <a:pt x="32" y="44"/>
                      <a:pt x="35" y="43"/>
                      <a:pt x="41" y="48"/>
                    </a:cubicBezTo>
                    <a:cubicBezTo>
                      <a:pt x="46" y="57"/>
                      <a:pt x="46" y="61"/>
                      <a:pt x="56" y="66"/>
                    </a:cubicBezTo>
                    <a:cubicBezTo>
                      <a:pt x="68" y="62"/>
                      <a:pt x="58" y="55"/>
                      <a:pt x="62" y="45"/>
                    </a:cubicBezTo>
                    <a:cubicBezTo>
                      <a:pt x="63" y="41"/>
                      <a:pt x="71" y="35"/>
                      <a:pt x="73" y="31"/>
                    </a:cubicBezTo>
                    <a:cubicBezTo>
                      <a:pt x="71" y="26"/>
                      <a:pt x="65" y="21"/>
                      <a:pt x="61" y="18"/>
                    </a:cubicBezTo>
                    <a:cubicBezTo>
                      <a:pt x="59" y="12"/>
                      <a:pt x="54" y="7"/>
                      <a:pt x="49" y="4"/>
                    </a:cubicBezTo>
                    <a:cubicBezTo>
                      <a:pt x="47" y="10"/>
                      <a:pt x="47" y="16"/>
                      <a:pt x="44" y="2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43" name="Freeform 10">
                <a:extLst>
                  <a:ext uri="{FF2B5EF4-FFF2-40B4-BE49-F238E27FC236}">
                    <a16:creationId xmlns:a16="http://schemas.microsoft.com/office/drawing/2014/main" id="{7E21C7AC-3BB4-42D2-8B39-8EBE8613A982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960938" y="2884488"/>
                <a:ext cx="84138" cy="107950"/>
              </a:xfrm>
              <a:custGeom>
                <a:avLst/>
                <a:gdLst>
                  <a:gd name="T0" fmla="*/ 0 w 52"/>
                  <a:gd name="T1" fmla="*/ 11 h 68"/>
                  <a:gd name="T2" fmla="*/ 25 w 52"/>
                  <a:gd name="T3" fmla="*/ 1 h 68"/>
                  <a:gd name="T4" fmla="*/ 42 w 52"/>
                  <a:gd name="T5" fmla="*/ 11 h 68"/>
                  <a:gd name="T6" fmla="*/ 45 w 52"/>
                  <a:gd name="T7" fmla="*/ 29 h 68"/>
                  <a:gd name="T8" fmla="*/ 52 w 52"/>
                  <a:gd name="T9" fmla="*/ 43 h 68"/>
                  <a:gd name="T10" fmla="*/ 46 w 52"/>
                  <a:gd name="T11" fmla="*/ 55 h 68"/>
                  <a:gd name="T12" fmla="*/ 34 w 52"/>
                  <a:gd name="T13" fmla="*/ 68 h 68"/>
                  <a:gd name="T14" fmla="*/ 18 w 52"/>
                  <a:gd name="T15" fmla="*/ 28 h 68"/>
                  <a:gd name="T16" fmla="*/ 0 w 52"/>
                  <a:gd name="T17" fmla="*/ 1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68">
                    <a:moveTo>
                      <a:pt x="0" y="11"/>
                    </a:moveTo>
                    <a:cubicBezTo>
                      <a:pt x="2" y="1"/>
                      <a:pt x="14" y="0"/>
                      <a:pt x="25" y="1"/>
                    </a:cubicBezTo>
                    <a:cubicBezTo>
                      <a:pt x="34" y="4"/>
                      <a:pt x="31" y="10"/>
                      <a:pt x="42" y="11"/>
                    </a:cubicBezTo>
                    <a:cubicBezTo>
                      <a:pt x="46" y="15"/>
                      <a:pt x="43" y="24"/>
                      <a:pt x="45" y="29"/>
                    </a:cubicBezTo>
                    <a:cubicBezTo>
                      <a:pt x="47" y="34"/>
                      <a:pt x="52" y="39"/>
                      <a:pt x="52" y="43"/>
                    </a:cubicBezTo>
                    <a:cubicBezTo>
                      <a:pt x="48" y="46"/>
                      <a:pt x="50" y="52"/>
                      <a:pt x="46" y="55"/>
                    </a:cubicBezTo>
                    <a:cubicBezTo>
                      <a:pt x="43" y="62"/>
                      <a:pt x="40" y="63"/>
                      <a:pt x="34" y="68"/>
                    </a:cubicBezTo>
                    <a:cubicBezTo>
                      <a:pt x="14" y="66"/>
                      <a:pt x="37" y="42"/>
                      <a:pt x="18" y="28"/>
                    </a:cubicBezTo>
                    <a:cubicBezTo>
                      <a:pt x="16" y="24"/>
                      <a:pt x="2" y="4"/>
                      <a:pt x="0" y="1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44" name="Freeform 11">
                <a:extLst>
                  <a:ext uri="{FF2B5EF4-FFF2-40B4-BE49-F238E27FC236}">
                    <a16:creationId xmlns:a16="http://schemas.microsoft.com/office/drawing/2014/main" id="{682D9688-F662-41D7-BDE9-90361F1B8BD3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5305426" y="3071813"/>
                <a:ext cx="125413" cy="66675"/>
              </a:xfrm>
              <a:custGeom>
                <a:avLst/>
                <a:gdLst>
                  <a:gd name="T0" fmla="*/ 34 w 78"/>
                  <a:gd name="T1" fmla="*/ 31 h 42"/>
                  <a:gd name="T2" fmla="*/ 12 w 78"/>
                  <a:gd name="T3" fmla="*/ 13 h 42"/>
                  <a:gd name="T4" fmla="*/ 37 w 78"/>
                  <a:gd name="T5" fmla="*/ 7 h 42"/>
                  <a:gd name="T6" fmla="*/ 57 w 78"/>
                  <a:gd name="T7" fmla="*/ 10 h 42"/>
                  <a:gd name="T8" fmla="*/ 78 w 78"/>
                  <a:gd name="T9" fmla="*/ 19 h 42"/>
                  <a:gd name="T10" fmla="*/ 64 w 78"/>
                  <a:gd name="T11" fmla="*/ 36 h 42"/>
                  <a:gd name="T12" fmla="*/ 34 w 78"/>
                  <a:gd name="T13" fmla="*/ 3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42">
                    <a:moveTo>
                      <a:pt x="34" y="31"/>
                    </a:moveTo>
                    <a:cubicBezTo>
                      <a:pt x="0" y="25"/>
                      <a:pt x="34" y="30"/>
                      <a:pt x="12" y="13"/>
                    </a:cubicBezTo>
                    <a:cubicBezTo>
                      <a:pt x="6" y="0"/>
                      <a:pt x="35" y="7"/>
                      <a:pt x="37" y="7"/>
                    </a:cubicBezTo>
                    <a:cubicBezTo>
                      <a:pt x="51" y="13"/>
                      <a:pt x="27" y="4"/>
                      <a:pt x="57" y="10"/>
                    </a:cubicBezTo>
                    <a:cubicBezTo>
                      <a:pt x="64" y="11"/>
                      <a:pt x="70" y="18"/>
                      <a:pt x="78" y="19"/>
                    </a:cubicBezTo>
                    <a:cubicBezTo>
                      <a:pt x="67" y="23"/>
                      <a:pt x="73" y="32"/>
                      <a:pt x="64" y="36"/>
                    </a:cubicBezTo>
                    <a:cubicBezTo>
                      <a:pt x="35" y="34"/>
                      <a:pt x="41" y="42"/>
                      <a:pt x="34" y="3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45" name="Freeform 12">
                <a:extLst>
                  <a:ext uri="{FF2B5EF4-FFF2-40B4-BE49-F238E27FC236}">
                    <a16:creationId xmlns:a16="http://schemas.microsoft.com/office/drawing/2014/main" id="{3563F157-7DF3-48A9-B323-14F4357F89F8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786313" y="3092450"/>
                <a:ext cx="65088" cy="74613"/>
              </a:xfrm>
              <a:custGeom>
                <a:avLst/>
                <a:gdLst>
                  <a:gd name="T0" fmla="*/ 8 w 41"/>
                  <a:gd name="T1" fmla="*/ 3 h 47"/>
                  <a:gd name="T2" fmla="*/ 23 w 41"/>
                  <a:gd name="T3" fmla="*/ 6 h 47"/>
                  <a:gd name="T4" fmla="*/ 40 w 41"/>
                  <a:gd name="T5" fmla="*/ 32 h 47"/>
                  <a:gd name="T6" fmla="*/ 26 w 41"/>
                  <a:gd name="T7" fmla="*/ 42 h 47"/>
                  <a:gd name="T8" fmla="*/ 10 w 41"/>
                  <a:gd name="T9" fmla="*/ 45 h 47"/>
                  <a:gd name="T10" fmla="*/ 5 w 41"/>
                  <a:gd name="T11" fmla="*/ 18 h 47"/>
                  <a:gd name="T12" fmla="*/ 8 w 41"/>
                  <a:gd name="T13" fmla="*/ 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47">
                    <a:moveTo>
                      <a:pt x="8" y="3"/>
                    </a:moveTo>
                    <a:cubicBezTo>
                      <a:pt x="15" y="2"/>
                      <a:pt x="20" y="0"/>
                      <a:pt x="23" y="6"/>
                    </a:cubicBezTo>
                    <a:cubicBezTo>
                      <a:pt x="25" y="17"/>
                      <a:pt x="31" y="26"/>
                      <a:pt x="40" y="32"/>
                    </a:cubicBezTo>
                    <a:cubicBezTo>
                      <a:pt x="41" y="39"/>
                      <a:pt x="33" y="41"/>
                      <a:pt x="26" y="42"/>
                    </a:cubicBezTo>
                    <a:cubicBezTo>
                      <a:pt x="20" y="47"/>
                      <a:pt x="18" y="47"/>
                      <a:pt x="10" y="45"/>
                    </a:cubicBezTo>
                    <a:cubicBezTo>
                      <a:pt x="0" y="39"/>
                      <a:pt x="4" y="30"/>
                      <a:pt x="5" y="18"/>
                    </a:cubicBezTo>
                    <a:cubicBezTo>
                      <a:pt x="5" y="14"/>
                      <a:pt x="1" y="3"/>
                      <a:pt x="8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46" name="Freeform 13">
                <a:extLst>
                  <a:ext uri="{FF2B5EF4-FFF2-40B4-BE49-F238E27FC236}">
                    <a16:creationId xmlns:a16="http://schemas.microsoft.com/office/drawing/2014/main" id="{F2A35A02-93A0-4EF1-9A2B-D037906EA42F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816476" y="3095625"/>
                <a:ext cx="88900" cy="44450"/>
              </a:xfrm>
              <a:custGeom>
                <a:avLst/>
                <a:gdLst>
                  <a:gd name="T0" fmla="*/ 4 w 55"/>
                  <a:gd name="T1" fmla="*/ 7 h 28"/>
                  <a:gd name="T2" fmla="*/ 21 w 55"/>
                  <a:gd name="T3" fmla="*/ 0 h 28"/>
                  <a:gd name="T4" fmla="*/ 46 w 55"/>
                  <a:gd name="T5" fmla="*/ 15 h 28"/>
                  <a:gd name="T6" fmla="*/ 31 w 55"/>
                  <a:gd name="T7" fmla="*/ 19 h 28"/>
                  <a:gd name="T8" fmla="*/ 19 w 55"/>
                  <a:gd name="T9" fmla="*/ 28 h 28"/>
                  <a:gd name="T10" fmla="*/ 4 w 55"/>
                  <a:gd name="T11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28">
                    <a:moveTo>
                      <a:pt x="4" y="7"/>
                    </a:moveTo>
                    <a:cubicBezTo>
                      <a:pt x="17" y="6"/>
                      <a:pt x="10" y="2"/>
                      <a:pt x="21" y="0"/>
                    </a:cubicBezTo>
                    <a:cubicBezTo>
                      <a:pt x="55" y="2"/>
                      <a:pt x="28" y="2"/>
                      <a:pt x="46" y="15"/>
                    </a:cubicBezTo>
                    <a:cubicBezTo>
                      <a:pt x="41" y="16"/>
                      <a:pt x="36" y="18"/>
                      <a:pt x="31" y="19"/>
                    </a:cubicBezTo>
                    <a:cubicBezTo>
                      <a:pt x="26" y="22"/>
                      <a:pt x="22" y="23"/>
                      <a:pt x="19" y="28"/>
                    </a:cubicBezTo>
                    <a:cubicBezTo>
                      <a:pt x="14" y="26"/>
                      <a:pt x="0" y="7"/>
                      <a:pt x="4" y="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47" name="Freeform 14">
                <a:extLst>
                  <a:ext uri="{FF2B5EF4-FFF2-40B4-BE49-F238E27FC236}">
                    <a16:creationId xmlns:a16="http://schemas.microsoft.com/office/drawing/2014/main" id="{7310C160-CCF4-4C6A-8677-18496355CBF2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870451" y="3036888"/>
                <a:ext cx="150813" cy="92075"/>
              </a:xfrm>
              <a:custGeom>
                <a:avLst/>
                <a:gdLst>
                  <a:gd name="T0" fmla="*/ 6 w 94"/>
                  <a:gd name="T1" fmla="*/ 34 h 58"/>
                  <a:gd name="T2" fmla="*/ 7 w 94"/>
                  <a:gd name="T3" fmla="*/ 29 h 58"/>
                  <a:gd name="T4" fmla="*/ 12 w 94"/>
                  <a:gd name="T5" fmla="*/ 25 h 58"/>
                  <a:gd name="T6" fmla="*/ 0 w 94"/>
                  <a:gd name="T7" fmla="*/ 8 h 58"/>
                  <a:gd name="T8" fmla="*/ 36 w 94"/>
                  <a:gd name="T9" fmla="*/ 8 h 58"/>
                  <a:gd name="T10" fmla="*/ 66 w 94"/>
                  <a:gd name="T11" fmla="*/ 1 h 58"/>
                  <a:gd name="T12" fmla="*/ 84 w 94"/>
                  <a:gd name="T13" fmla="*/ 8 h 58"/>
                  <a:gd name="T14" fmla="*/ 63 w 94"/>
                  <a:gd name="T15" fmla="*/ 34 h 58"/>
                  <a:gd name="T16" fmla="*/ 52 w 94"/>
                  <a:gd name="T17" fmla="*/ 52 h 58"/>
                  <a:gd name="T18" fmla="*/ 34 w 94"/>
                  <a:gd name="T19" fmla="*/ 55 h 58"/>
                  <a:gd name="T20" fmla="*/ 12 w 94"/>
                  <a:gd name="T21" fmla="*/ 49 h 58"/>
                  <a:gd name="T22" fmla="*/ 6 w 94"/>
                  <a:gd name="T23" fmla="*/ 3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58">
                    <a:moveTo>
                      <a:pt x="6" y="34"/>
                    </a:moveTo>
                    <a:cubicBezTo>
                      <a:pt x="6" y="32"/>
                      <a:pt x="6" y="30"/>
                      <a:pt x="7" y="29"/>
                    </a:cubicBezTo>
                    <a:cubicBezTo>
                      <a:pt x="8" y="27"/>
                      <a:pt x="11" y="27"/>
                      <a:pt x="12" y="25"/>
                    </a:cubicBezTo>
                    <a:cubicBezTo>
                      <a:pt x="14" y="17"/>
                      <a:pt x="5" y="12"/>
                      <a:pt x="0" y="8"/>
                    </a:cubicBezTo>
                    <a:cubicBezTo>
                      <a:pt x="10" y="0"/>
                      <a:pt x="24" y="6"/>
                      <a:pt x="36" y="8"/>
                    </a:cubicBezTo>
                    <a:cubicBezTo>
                      <a:pt x="49" y="7"/>
                      <a:pt x="54" y="3"/>
                      <a:pt x="66" y="1"/>
                    </a:cubicBezTo>
                    <a:cubicBezTo>
                      <a:pt x="75" y="2"/>
                      <a:pt x="77" y="2"/>
                      <a:pt x="84" y="8"/>
                    </a:cubicBezTo>
                    <a:cubicBezTo>
                      <a:pt x="94" y="25"/>
                      <a:pt x="75" y="32"/>
                      <a:pt x="63" y="34"/>
                    </a:cubicBezTo>
                    <a:cubicBezTo>
                      <a:pt x="60" y="43"/>
                      <a:pt x="62" y="49"/>
                      <a:pt x="52" y="52"/>
                    </a:cubicBezTo>
                    <a:cubicBezTo>
                      <a:pt x="44" y="58"/>
                      <a:pt x="43" y="57"/>
                      <a:pt x="34" y="55"/>
                    </a:cubicBezTo>
                    <a:cubicBezTo>
                      <a:pt x="26" y="49"/>
                      <a:pt x="23" y="50"/>
                      <a:pt x="12" y="49"/>
                    </a:cubicBezTo>
                    <a:cubicBezTo>
                      <a:pt x="8" y="43"/>
                      <a:pt x="6" y="41"/>
                      <a:pt x="6" y="3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48" name="Freeform 15">
                <a:extLst>
                  <a:ext uri="{FF2B5EF4-FFF2-40B4-BE49-F238E27FC236}">
                    <a16:creationId xmlns:a16="http://schemas.microsoft.com/office/drawing/2014/main" id="{9F16256D-952A-4067-97C1-85B7E6C65C30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4829176" y="2889250"/>
                <a:ext cx="215900" cy="173038"/>
              </a:xfrm>
              <a:custGeom>
                <a:avLst/>
                <a:gdLst>
                  <a:gd name="T0" fmla="*/ 116 w 134"/>
                  <a:gd name="T1" fmla="*/ 109 h 109"/>
                  <a:gd name="T2" fmla="*/ 124 w 134"/>
                  <a:gd name="T3" fmla="*/ 85 h 109"/>
                  <a:gd name="T4" fmla="*/ 134 w 134"/>
                  <a:gd name="T5" fmla="*/ 74 h 109"/>
                  <a:gd name="T6" fmla="*/ 113 w 134"/>
                  <a:gd name="T7" fmla="*/ 67 h 109"/>
                  <a:gd name="T8" fmla="*/ 109 w 134"/>
                  <a:gd name="T9" fmla="*/ 53 h 109"/>
                  <a:gd name="T10" fmla="*/ 101 w 134"/>
                  <a:gd name="T11" fmla="*/ 22 h 109"/>
                  <a:gd name="T12" fmla="*/ 88 w 134"/>
                  <a:gd name="T13" fmla="*/ 8 h 109"/>
                  <a:gd name="T14" fmla="*/ 23 w 134"/>
                  <a:gd name="T15" fmla="*/ 14 h 109"/>
                  <a:gd name="T16" fmla="*/ 5 w 134"/>
                  <a:gd name="T17" fmla="*/ 40 h 109"/>
                  <a:gd name="T18" fmla="*/ 10 w 134"/>
                  <a:gd name="T19" fmla="*/ 70 h 109"/>
                  <a:gd name="T20" fmla="*/ 22 w 134"/>
                  <a:gd name="T21" fmla="*/ 88 h 109"/>
                  <a:gd name="T22" fmla="*/ 28 w 134"/>
                  <a:gd name="T23" fmla="*/ 100 h 109"/>
                  <a:gd name="T24" fmla="*/ 43 w 134"/>
                  <a:gd name="T25" fmla="*/ 97 h 109"/>
                  <a:gd name="T26" fmla="*/ 67 w 134"/>
                  <a:gd name="T27" fmla="*/ 103 h 109"/>
                  <a:gd name="T28" fmla="*/ 85 w 134"/>
                  <a:gd name="T29" fmla="*/ 94 h 109"/>
                  <a:gd name="T30" fmla="*/ 86 w 134"/>
                  <a:gd name="T31" fmla="*/ 107 h 109"/>
                  <a:gd name="T32" fmla="*/ 110 w 134"/>
                  <a:gd name="T33" fmla="*/ 10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4" h="109">
                    <a:moveTo>
                      <a:pt x="116" y="109"/>
                    </a:moveTo>
                    <a:cubicBezTo>
                      <a:pt x="117" y="99"/>
                      <a:pt x="115" y="90"/>
                      <a:pt x="124" y="85"/>
                    </a:cubicBezTo>
                    <a:cubicBezTo>
                      <a:pt x="128" y="78"/>
                      <a:pt x="132" y="82"/>
                      <a:pt x="134" y="74"/>
                    </a:cubicBezTo>
                    <a:cubicBezTo>
                      <a:pt x="133" y="70"/>
                      <a:pt x="117" y="70"/>
                      <a:pt x="113" y="67"/>
                    </a:cubicBezTo>
                    <a:cubicBezTo>
                      <a:pt x="109" y="64"/>
                      <a:pt x="111" y="60"/>
                      <a:pt x="109" y="53"/>
                    </a:cubicBezTo>
                    <a:cubicBezTo>
                      <a:pt x="107" y="39"/>
                      <a:pt x="109" y="32"/>
                      <a:pt x="101" y="22"/>
                    </a:cubicBezTo>
                    <a:cubicBezTo>
                      <a:pt x="100" y="16"/>
                      <a:pt x="94" y="11"/>
                      <a:pt x="88" y="8"/>
                    </a:cubicBezTo>
                    <a:cubicBezTo>
                      <a:pt x="48" y="9"/>
                      <a:pt x="47" y="0"/>
                      <a:pt x="23" y="14"/>
                    </a:cubicBezTo>
                    <a:cubicBezTo>
                      <a:pt x="22" y="26"/>
                      <a:pt x="16" y="35"/>
                      <a:pt x="5" y="40"/>
                    </a:cubicBezTo>
                    <a:cubicBezTo>
                      <a:pt x="4" y="50"/>
                      <a:pt x="0" y="64"/>
                      <a:pt x="10" y="70"/>
                    </a:cubicBezTo>
                    <a:cubicBezTo>
                      <a:pt x="14" y="76"/>
                      <a:pt x="18" y="82"/>
                      <a:pt x="22" y="88"/>
                    </a:cubicBezTo>
                    <a:cubicBezTo>
                      <a:pt x="25" y="91"/>
                      <a:pt x="21" y="98"/>
                      <a:pt x="28" y="100"/>
                    </a:cubicBezTo>
                    <a:cubicBezTo>
                      <a:pt x="31" y="101"/>
                      <a:pt x="37" y="97"/>
                      <a:pt x="43" y="97"/>
                    </a:cubicBezTo>
                    <a:cubicBezTo>
                      <a:pt x="49" y="97"/>
                      <a:pt x="60" y="103"/>
                      <a:pt x="67" y="103"/>
                    </a:cubicBezTo>
                    <a:cubicBezTo>
                      <a:pt x="74" y="103"/>
                      <a:pt x="82" y="93"/>
                      <a:pt x="85" y="94"/>
                    </a:cubicBezTo>
                    <a:cubicBezTo>
                      <a:pt x="88" y="95"/>
                      <a:pt x="82" y="105"/>
                      <a:pt x="86" y="107"/>
                    </a:cubicBezTo>
                    <a:cubicBezTo>
                      <a:pt x="90" y="109"/>
                      <a:pt x="105" y="106"/>
                      <a:pt x="110" y="106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0" name="Freeform 16">
                <a:extLst>
                  <a:ext uri="{FF2B5EF4-FFF2-40B4-BE49-F238E27FC236}">
                    <a16:creationId xmlns:a16="http://schemas.microsoft.com/office/drawing/2014/main" id="{F5B3B0C4-8F03-4A06-A9B2-094A14ECC200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4776788" y="3054350"/>
                <a:ext cx="47625" cy="52388"/>
              </a:xfrm>
              <a:custGeom>
                <a:avLst/>
                <a:gdLst>
                  <a:gd name="T0" fmla="*/ 13 w 30"/>
                  <a:gd name="T1" fmla="*/ 33 h 33"/>
                  <a:gd name="T2" fmla="*/ 2 w 30"/>
                  <a:gd name="T3" fmla="*/ 15 h 33"/>
                  <a:gd name="T4" fmla="*/ 7 w 30"/>
                  <a:gd name="T5" fmla="*/ 0 h 33"/>
                  <a:gd name="T6" fmla="*/ 28 w 30"/>
                  <a:gd name="T7" fmla="*/ 15 h 33"/>
                  <a:gd name="T8" fmla="*/ 17 w 30"/>
                  <a:gd name="T9" fmla="*/ 27 h 33"/>
                  <a:gd name="T10" fmla="*/ 13 w 30"/>
                  <a:gd name="T1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33">
                    <a:moveTo>
                      <a:pt x="13" y="33"/>
                    </a:moveTo>
                    <a:cubicBezTo>
                      <a:pt x="9" y="27"/>
                      <a:pt x="6" y="21"/>
                      <a:pt x="2" y="15"/>
                    </a:cubicBezTo>
                    <a:cubicBezTo>
                      <a:pt x="1" y="7"/>
                      <a:pt x="0" y="4"/>
                      <a:pt x="7" y="0"/>
                    </a:cubicBezTo>
                    <a:cubicBezTo>
                      <a:pt x="18" y="3"/>
                      <a:pt x="17" y="13"/>
                      <a:pt x="28" y="15"/>
                    </a:cubicBezTo>
                    <a:cubicBezTo>
                      <a:pt x="30" y="24"/>
                      <a:pt x="25" y="25"/>
                      <a:pt x="17" y="27"/>
                    </a:cubicBezTo>
                    <a:cubicBezTo>
                      <a:pt x="12" y="30"/>
                      <a:pt x="13" y="28"/>
                      <a:pt x="13" y="3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1" name="Freeform 17">
                <a:extLst>
                  <a:ext uri="{FF2B5EF4-FFF2-40B4-BE49-F238E27FC236}">
                    <a16:creationId xmlns:a16="http://schemas.microsoft.com/office/drawing/2014/main" id="{0A95FC93-79DC-42CF-AD12-43C0796402E2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713288" y="2998788"/>
                <a:ext cx="85725" cy="77788"/>
              </a:xfrm>
              <a:custGeom>
                <a:avLst/>
                <a:gdLst>
                  <a:gd name="T0" fmla="*/ 53 w 53"/>
                  <a:gd name="T1" fmla="*/ 40 h 49"/>
                  <a:gd name="T2" fmla="*/ 37 w 53"/>
                  <a:gd name="T3" fmla="*/ 5 h 49"/>
                  <a:gd name="T4" fmla="*/ 2 w 53"/>
                  <a:gd name="T5" fmla="*/ 16 h 49"/>
                  <a:gd name="T6" fmla="*/ 17 w 53"/>
                  <a:gd name="T7" fmla="*/ 25 h 49"/>
                  <a:gd name="T8" fmla="*/ 26 w 53"/>
                  <a:gd name="T9" fmla="*/ 37 h 49"/>
                  <a:gd name="T10" fmla="*/ 35 w 53"/>
                  <a:gd name="T11" fmla="*/ 49 h 49"/>
                  <a:gd name="T12" fmla="*/ 53 w 53"/>
                  <a:gd name="T1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49">
                    <a:moveTo>
                      <a:pt x="53" y="40"/>
                    </a:moveTo>
                    <a:cubicBezTo>
                      <a:pt x="51" y="23"/>
                      <a:pt x="50" y="15"/>
                      <a:pt x="37" y="5"/>
                    </a:cubicBezTo>
                    <a:cubicBezTo>
                      <a:pt x="3" y="7"/>
                      <a:pt x="12" y="0"/>
                      <a:pt x="2" y="16"/>
                    </a:cubicBezTo>
                    <a:cubicBezTo>
                      <a:pt x="0" y="26"/>
                      <a:pt x="8" y="23"/>
                      <a:pt x="17" y="25"/>
                    </a:cubicBezTo>
                    <a:cubicBezTo>
                      <a:pt x="20" y="30"/>
                      <a:pt x="21" y="33"/>
                      <a:pt x="26" y="37"/>
                    </a:cubicBezTo>
                    <a:cubicBezTo>
                      <a:pt x="28" y="42"/>
                      <a:pt x="32" y="44"/>
                      <a:pt x="35" y="49"/>
                    </a:cubicBezTo>
                    <a:cubicBezTo>
                      <a:pt x="42" y="46"/>
                      <a:pt x="45" y="26"/>
                      <a:pt x="53" y="4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2" name="Freeform 18">
                <a:extLst>
                  <a:ext uri="{FF2B5EF4-FFF2-40B4-BE49-F238E27FC236}">
                    <a16:creationId xmlns:a16="http://schemas.microsoft.com/office/drawing/2014/main" id="{29818719-569B-46A4-BDFF-E61EC46F711C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657726" y="2957513"/>
                <a:ext cx="130175" cy="134938"/>
              </a:xfrm>
              <a:custGeom>
                <a:avLst/>
                <a:gdLst>
                  <a:gd name="T0" fmla="*/ 72 w 80"/>
                  <a:gd name="T1" fmla="*/ 15 h 85"/>
                  <a:gd name="T2" fmla="*/ 54 w 80"/>
                  <a:gd name="T3" fmla="*/ 7 h 85"/>
                  <a:gd name="T4" fmla="*/ 39 w 80"/>
                  <a:gd name="T5" fmla="*/ 1 h 85"/>
                  <a:gd name="T6" fmla="*/ 21 w 80"/>
                  <a:gd name="T7" fmla="*/ 15 h 85"/>
                  <a:gd name="T8" fmla="*/ 9 w 80"/>
                  <a:gd name="T9" fmla="*/ 21 h 85"/>
                  <a:gd name="T10" fmla="*/ 8 w 80"/>
                  <a:gd name="T11" fmla="*/ 31 h 85"/>
                  <a:gd name="T12" fmla="*/ 18 w 80"/>
                  <a:gd name="T13" fmla="*/ 49 h 85"/>
                  <a:gd name="T14" fmla="*/ 27 w 80"/>
                  <a:gd name="T15" fmla="*/ 61 h 85"/>
                  <a:gd name="T16" fmla="*/ 44 w 80"/>
                  <a:gd name="T17" fmla="*/ 73 h 85"/>
                  <a:gd name="T18" fmla="*/ 72 w 80"/>
                  <a:gd name="T19" fmla="*/ 85 h 85"/>
                  <a:gd name="T20" fmla="*/ 68 w 80"/>
                  <a:gd name="T21" fmla="*/ 76 h 85"/>
                  <a:gd name="T22" fmla="*/ 56 w 80"/>
                  <a:gd name="T23" fmla="*/ 58 h 85"/>
                  <a:gd name="T24" fmla="*/ 39 w 80"/>
                  <a:gd name="T25" fmla="*/ 48 h 85"/>
                  <a:gd name="T26" fmla="*/ 42 w 80"/>
                  <a:gd name="T27" fmla="*/ 30 h 85"/>
                  <a:gd name="T28" fmla="*/ 80 w 80"/>
                  <a:gd name="T29" fmla="*/ 31 h 85"/>
                  <a:gd name="T30" fmla="*/ 77 w 80"/>
                  <a:gd name="T31" fmla="*/ 1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0" h="85">
                    <a:moveTo>
                      <a:pt x="72" y="15"/>
                    </a:moveTo>
                    <a:cubicBezTo>
                      <a:pt x="66" y="12"/>
                      <a:pt x="60" y="9"/>
                      <a:pt x="54" y="7"/>
                    </a:cubicBezTo>
                    <a:cubicBezTo>
                      <a:pt x="49" y="2"/>
                      <a:pt x="47" y="0"/>
                      <a:pt x="39" y="1"/>
                    </a:cubicBezTo>
                    <a:cubicBezTo>
                      <a:pt x="36" y="7"/>
                      <a:pt x="27" y="11"/>
                      <a:pt x="21" y="15"/>
                    </a:cubicBezTo>
                    <a:cubicBezTo>
                      <a:pt x="20" y="24"/>
                      <a:pt x="17" y="22"/>
                      <a:pt x="9" y="21"/>
                    </a:cubicBezTo>
                    <a:cubicBezTo>
                      <a:pt x="0" y="23"/>
                      <a:pt x="4" y="25"/>
                      <a:pt x="8" y="31"/>
                    </a:cubicBezTo>
                    <a:cubicBezTo>
                      <a:pt x="9" y="45"/>
                      <a:pt x="9" y="42"/>
                      <a:pt x="18" y="49"/>
                    </a:cubicBezTo>
                    <a:cubicBezTo>
                      <a:pt x="20" y="55"/>
                      <a:pt x="22" y="57"/>
                      <a:pt x="27" y="61"/>
                    </a:cubicBezTo>
                    <a:cubicBezTo>
                      <a:pt x="31" y="67"/>
                      <a:pt x="37" y="72"/>
                      <a:pt x="44" y="73"/>
                    </a:cubicBezTo>
                    <a:cubicBezTo>
                      <a:pt x="53" y="80"/>
                      <a:pt x="61" y="84"/>
                      <a:pt x="72" y="85"/>
                    </a:cubicBezTo>
                    <a:cubicBezTo>
                      <a:pt x="76" y="84"/>
                      <a:pt x="71" y="80"/>
                      <a:pt x="68" y="76"/>
                    </a:cubicBezTo>
                    <a:cubicBezTo>
                      <a:pt x="65" y="72"/>
                      <a:pt x="61" y="63"/>
                      <a:pt x="56" y="58"/>
                    </a:cubicBezTo>
                    <a:cubicBezTo>
                      <a:pt x="52" y="52"/>
                      <a:pt x="46" y="49"/>
                      <a:pt x="39" y="48"/>
                    </a:cubicBezTo>
                    <a:cubicBezTo>
                      <a:pt x="35" y="41"/>
                      <a:pt x="35" y="35"/>
                      <a:pt x="42" y="30"/>
                    </a:cubicBezTo>
                    <a:cubicBezTo>
                      <a:pt x="49" y="27"/>
                      <a:pt x="74" y="33"/>
                      <a:pt x="80" y="31"/>
                    </a:cubicBezTo>
                    <a:cubicBezTo>
                      <a:pt x="78" y="20"/>
                      <a:pt x="79" y="24"/>
                      <a:pt x="77" y="18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3" name="Freeform 19">
                <a:extLst>
                  <a:ext uri="{FF2B5EF4-FFF2-40B4-BE49-F238E27FC236}">
                    <a16:creationId xmlns:a16="http://schemas.microsoft.com/office/drawing/2014/main" id="{257CF598-C26A-4FA3-8EB8-F4BA7B4DD7A7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4783138" y="2962275"/>
                <a:ext cx="106363" cy="144463"/>
              </a:xfrm>
              <a:custGeom>
                <a:avLst/>
                <a:gdLst>
                  <a:gd name="T0" fmla="*/ 1 w 66"/>
                  <a:gd name="T1" fmla="*/ 13 h 91"/>
                  <a:gd name="T2" fmla="*/ 34 w 66"/>
                  <a:gd name="T3" fmla="*/ 3 h 91"/>
                  <a:gd name="T4" fmla="*/ 33 w 66"/>
                  <a:gd name="T5" fmla="*/ 18 h 91"/>
                  <a:gd name="T6" fmla="*/ 43 w 66"/>
                  <a:gd name="T7" fmla="*/ 31 h 91"/>
                  <a:gd name="T8" fmla="*/ 52 w 66"/>
                  <a:gd name="T9" fmla="*/ 43 h 91"/>
                  <a:gd name="T10" fmla="*/ 66 w 66"/>
                  <a:gd name="T11" fmla="*/ 67 h 91"/>
                  <a:gd name="T12" fmla="*/ 58 w 66"/>
                  <a:gd name="T13" fmla="*/ 81 h 91"/>
                  <a:gd name="T14" fmla="*/ 27 w 66"/>
                  <a:gd name="T15" fmla="*/ 90 h 91"/>
                  <a:gd name="T16" fmla="*/ 21 w 66"/>
                  <a:gd name="T17" fmla="*/ 75 h 91"/>
                  <a:gd name="T18" fmla="*/ 6 w 66"/>
                  <a:gd name="T19" fmla="*/ 58 h 91"/>
                  <a:gd name="T20" fmla="*/ 9 w 66"/>
                  <a:gd name="T21" fmla="*/ 48 h 91"/>
                  <a:gd name="T22" fmla="*/ 6 w 66"/>
                  <a:gd name="T23" fmla="*/ 39 h 91"/>
                  <a:gd name="T24" fmla="*/ 1 w 66"/>
                  <a:gd name="T25" fmla="*/ 33 h 91"/>
                  <a:gd name="T26" fmla="*/ 1 w 66"/>
                  <a:gd name="T27" fmla="*/ 21 h 91"/>
                  <a:gd name="T28" fmla="*/ 1 w 66"/>
                  <a:gd name="T29" fmla="*/ 12 h 91"/>
                  <a:gd name="T30" fmla="*/ 1 w 66"/>
                  <a:gd name="T31" fmla="*/ 1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6" h="91">
                    <a:moveTo>
                      <a:pt x="1" y="13"/>
                    </a:moveTo>
                    <a:cubicBezTo>
                      <a:pt x="8" y="0"/>
                      <a:pt x="14" y="1"/>
                      <a:pt x="34" y="3"/>
                    </a:cubicBezTo>
                    <a:cubicBezTo>
                      <a:pt x="40" y="4"/>
                      <a:pt x="32" y="13"/>
                      <a:pt x="33" y="18"/>
                    </a:cubicBezTo>
                    <a:cubicBezTo>
                      <a:pt x="34" y="23"/>
                      <a:pt x="40" y="27"/>
                      <a:pt x="43" y="31"/>
                    </a:cubicBezTo>
                    <a:cubicBezTo>
                      <a:pt x="46" y="36"/>
                      <a:pt x="47" y="39"/>
                      <a:pt x="52" y="43"/>
                    </a:cubicBezTo>
                    <a:cubicBezTo>
                      <a:pt x="56" y="53"/>
                      <a:pt x="61" y="58"/>
                      <a:pt x="66" y="67"/>
                    </a:cubicBezTo>
                    <a:cubicBezTo>
                      <a:pt x="66" y="73"/>
                      <a:pt x="65" y="77"/>
                      <a:pt x="58" y="81"/>
                    </a:cubicBezTo>
                    <a:cubicBezTo>
                      <a:pt x="51" y="85"/>
                      <a:pt x="33" y="91"/>
                      <a:pt x="27" y="90"/>
                    </a:cubicBezTo>
                    <a:cubicBezTo>
                      <a:pt x="25" y="85"/>
                      <a:pt x="23" y="80"/>
                      <a:pt x="21" y="75"/>
                    </a:cubicBezTo>
                    <a:cubicBezTo>
                      <a:pt x="20" y="68"/>
                      <a:pt x="9" y="64"/>
                      <a:pt x="6" y="58"/>
                    </a:cubicBezTo>
                    <a:cubicBezTo>
                      <a:pt x="3" y="53"/>
                      <a:pt x="9" y="52"/>
                      <a:pt x="9" y="48"/>
                    </a:cubicBezTo>
                    <a:cubicBezTo>
                      <a:pt x="9" y="45"/>
                      <a:pt x="7" y="41"/>
                      <a:pt x="6" y="39"/>
                    </a:cubicBezTo>
                    <a:cubicBezTo>
                      <a:pt x="5" y="37"/>
                      <a:pt x="2" y="36"/>
                      <a:pt x="1" y="33"/>
                    </a:cubicBezTo>
                    <a:cubicBezTo>
                      <a:pt x="0" y="27"/>
                      <a:pt x="1" y="24"/>
                      <a:pt x="1" y="21"/>
                    </a:cubicBezTo>
                    <a:cubicBezTo>
                      <a:pt x="1" y="18"/>
                      <a:pt x="1" y="13"/>
                      <a:pt x="1" y="12"/>
                    </a:cubicBezTo>
                    <a:cubicBezTo>
                      <a:pt x="0" y="5"/>
                      <a:pt x="0" y="5"/>
                      <a:pt x="1" y="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4" name="Freeform 20">
                <a:extLst>
                  <a:ext uri="{FF2B5EF4-FFF2-40B4-BE49-F238E27FC236}">
                    <a16:creationId xmlns:a16="http://schemas.microsoft.com/office/drawing/2014/main" id="{3E66B51A-E8E1-492F-9906-7B17DB071590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4721226" y="2882900"/>
                <a:ext cx="149225" cy="100013"/>
              </a:xfrm>
              <a:custGeom>
                <a:avLst/>
                <a:gdLst>
                  <a:gd name="T0" fmla="*/ 21 w 92"/>
                  <a:gd name="T1" fmla="*/ 57 h 63"/>
                  <a:gd name="T2" fmla="*/ 12 w 92"/>
                  <a:gd name="T3" fmla="*/ 53 h 63"/>
                  <a:gd name="T4" fmla="*/ 5 w 92"/>
                  <a:gd name="T5" fmla="*/ 44 h 63"/>
                  <a:gd name="T6" fmla="*/ 0 w 92"/>
                  <a:gd name="T7" fmla="*/ 41 h 63"/>
                  <a:gd name="T8" fmla="*/ 11 w 92"/>
                  <a:gd name="T9" fmla="*/ 23 h 63"/>
                  <a:gd name="T10" fmla="*/ 26 w 92"/>
                  <a:gd name="T11" fmla="*/ 11 h 63"/>
                  <a:gd name="T12" fmla="*/ 51 w 92"/>
                  <a:gd name="T13" fmla="*/ 8 h 63"/>
                  <a:gd name="T14" fmla="*/ 66 w 92"/>
                  <a:gd name="T15" fmla="*/ 0 h 63"/>
                  <a:gd name="T16" fmla="*/ 92 w 92"/>
                  <a:gd name="T17" fmla="*/ 5 h 63"/>
                  <a:gd name="T18" fmla="*/ 84 w 92"/>
                  <a:gd name="T19" fmla="*/ 33 h 63"/>
                  <a:gd name="T20" fmla="*/ 72 w 92"/>
                  <a:gd name="T21" fmla="*/ 50 h 63"/>
                  <a:gd name="T22" fmla="*/ 45 w 92"/>
                  <a:gd name="T23" fmla="*/ 54 h 63"/>
                  <a:gd name="T24" fmla="*/ 32 w 92"/>
                  <a:gd name="T25" fmla="*/ 62 h 63"/>
                  <a:gd name="T26" fmla="*/ 21 w 92"/>
                  <a:gd name="T27" fmla="*/ 57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63">
                    <a:moveTo>
                      <a:pt x="21" y="57"/>
                    </a:moveTo>
                    <a:cubicBezTo>
                      <a:pt x="18" y="55"/>
                      <a:pt x="15" y="55"/>
                      <a:pt x="12" y="53"/>
                    </a:cubicBezTo>
                    <a:cubicBezTo>
                      <a:pt x="9" y="51"/>
                      <a:pt x="8" y="46"/>
                      <a:pt x="5" y="44"/>
                    </a:cubicBezTo>
                    <a:cubicBezTo>
                      <a:pt x="3" y="43"/>
                      <a:pt x="2" y="42"/>
                      <a:pt x="0" y="41"/>
                    </a:cubicBezTo>
                    <a:cubicBezTo>
                      <a:pt x="2" y="31"/>
                      <a:pt x="1" y="25"/>
                      <a:pt x="11" y="23"/>
                    </a:cubicBezTo>
                    <a:cubicBezTo>
                      <a:pt x="19" y="17"/>
                      <a:pt x="17" y="13"/>
                      <a:pt x="26" y="11"/>
                    </a:cubicBezTo>
                    <a:cubicBezTo>
                      <a:pt x="31" y="2"/>
                      <a:pt x="39" y="6"/>
                      <a:pt x="51" y="8"/>
                    </a:cubicBezTo>
                    <a:cubicBezTo>
                      <a:pt x="60" y="6"/>
                      <a:pt x="59" y="3"/>
                      <a:pt x="66" y="0"/>
                    </a:cubicBezTo>
                    <a:cubicBezTo>
                      <a:pt x="75" y="2"/>
                      <a:pt x="92" y="5"/>
                      <a:pt x="92" y="5"/>
                    </a:cubicBezTo>
                    <a:cubicBezTo>
                      <a:pt x="91" y="16"/>
                      <a:pt x="89" y="24"/>
                      <a:pt x="84" y="33"/>
                    </a:cubicBezTo>
                    <a:cubicBezTo>
                      <a:pt x="80" y="40"/>
                      <a:pt x="78" y="47"/>
                      <a:pt x="72" y="50"/>
                    </a:cubicBezTo>
                    <a:cubicBezTo>
                      <a:pt x="66" y="53"/>
                      <a:pt x="52" y="52"/>
                      <a:pt x="45" y="54"/>
                    </a:cubicBezTo>
                    <a:cubicBezTo>
                      <a:pt x="40" y="60"/>
                      <a:pt x="38" y="59"/>
                      <a:pt x="32" y="62"/>
                    </a:cubicBezTo>
                    <a:cubicBezTo>
                      <a:pt x="22" y="60"/>
                      <a:pt x="25" y="63"/>
                      <a:pt x="21" y="5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5" name="Freeform 21">
                <a:extLst>
                  <a:ext uri="{FF2B5EF4-FFF2-40B4-BE49-F238E27FC236}">
                    <a16:creationId xmlns:a16="http://schemas.microsoft.com/office/drawing/2014/main" id="{7E6F122D-EFAB-4626-8AFD-ADB3762EC34E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4729163" y="2835275"/>
                <a:ext cx="147638" cy="76200"/>
              </a:xfrm>
              <a:custGeom>
                <a:avLst/>
                <a:gdLst>
                  <a:gd name="T0" fmla="*/ 90 w 91"/>
                  <a:gd name="T1" fmla="*/ 35 h 48"/>
                  <a:gd name="T2" fmla="*/ 91 w 91"/>
                  <a:gd name="T3" fmla="*/ 18 h 48"/>
                  <a:gd name="T4" fmla="*/ 51 w 91"/>
                  <a:gd name="T5" fmla="*/ 11 h 48"/>
                  <a:gd name="T6" fmla="*/ 25 w 91"/>
                  <a:gd name="T7" fmla="*/ 12 h 48"/>
                  <a:gd name="T8" fmla="*/ 4 w 91"/>
                  <a:gd name="T9" fmla="*/ 24 h 48"/>
                  <a:gd name="T10" fmla="*/ 10 w 91"/>
                  <a:gd name="T11" fmla="*/ 45 h 48"/>
                  <a:gd name="T12" fmla="*/ 25 w 91"/>
                  <a:gd name="T13" fmla="*/ 36 h 48"/>
                  <a:gd name="T14" fmla="*/ 49 w 91"/>
                  <a:gd name="T15" fmla="*/ 35 h 48"/>
                  <a:gd name="T16" fmla="*/ 90 w 91"/>
                  <a:gd name="T17" fmla="*/ 3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48">
                    <a:moveTo>
                      <a:pt x="90" y="35"/>
                    </a:moveTo>
                    <a:cubicBezTo>
                      <a:pt x="91" y="27"/>
                      <a:pt x="90" y="26"/>
                      <a:pt x="91" y="18"/>
                    </a:cubicBezTo>
                    <a:cubicBezTo>
                      <a:pt x="88" y="0"/>
                      <a:pt x="66" y="10"/>
                      <a:pt x="51" y="11"/>
                    </a:cubicBezTo>
                    <a:cubicBezTo>
                      <a:pt x="42" y="8"/>
                      <a:pt x="34" y="10"/>
                      <a:pt x="25" y="12"/>
                    </a:cubicBezTo>
                    <a:cubicBezTo>
                      <a:pt x="16" y="19"/>
                      <a:pt x="17" y="23"/>
                      <a:pt x="4" y="24"/>
                    </a:cubicBezTo>
                    <a:cubicBezTo>
                      <a:pt x="0" y="30"/>
                      <a:pt x="4" y="40"/>
                      <a:pt x="10" y="45"/>
                    </a:cubicBezTo>
                    <a:cubicBezTo>
                      <a:pt x="13" y="48"/>
                      <a:pt x="19" y="38"/>
                      <a:pt x="25" y="36"/>
                    </a:cubicBezTo>
                    <a:cubicBezTo>
                      <a:pt x="31" y="34"/>
                      <a:pt x="38" y="35"/>
                      <a:pt x="49" y="35"/>
                    </a:cubicBezTo>
                    <a:cubicBezTo>
                      <a:pt x="63" y="27"/>
                      <a:pt x="66" y="32"/>
                      <a:pt x="90" y="3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6" name="Freeform 22">
                <a:extLst>
                  <a:ext uri="{FF2B5EF4-FFF2-40B4-BE49-F238E27FC236}">
                    <a16:creationId xmlns:a16="http://schemas.microsoft.com/office/drawing/2014/main" id="{136BDB49-E998-4B05-BDAE-CB311E381A0B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4625976" y="2792413"/>
                <a:ext cx="161925" cy="88900"/>
              </a:xfrm>
              <a:custGeom>
                <a:avLst/>
                <a:gdLst>
                  <a:gd name="T0" fmla="*/ 100 w 100"/>
                  <a:gd name="T1" fmla="*/ 35 h 56"/>
                  <a:gd name="T2" fmla="*/ 86 w 100"/>
                  <a:gd name="T3" fmla="*/ 26 h 56"/>
                  <a:gd name="T4" fmla="*/ 55 w 100"/>
                  <a:gd name="T5" fmla="*/ 3 h 56"/>
                  <a:gd name="T6" fmla="*/ 35 w 100"/>
                  <a:gd name="T7" fmla="*/ 2 h 56"/>
                  <a:gd name="T8" fmla="*/ 20 w 100"/>
                  <a:gd name="T9" fmla="*/ 12 h 56"/>
                  <a:gd name="T10" fmla="*/ 2 w 100"/>
                  <a:gd name="T11" fmla="*/ 23 h 56"/>
                  <a:gd name="T12" fmla="*/ 11 w 100"/>
                  <a:gd name="T13" fmla="*/ 38 h 56"/>
                  <a:gd name="T14" fmla="*/ 23 w 100"/>
                  <a:gd name="T15" fmla="*/ 56 h 56"/>
                  <a:gd name="T16" fmla="*/ 41 w 100"/>
                  <a:gd name="T17" fmla="*/ 45 h 56"/>
                  <a:gd name="T18" fmla="*/ 59 w 100"/>
                  <a:gd name="T19" fmla="*/ 56 h 56"/>
                  <a:gd name="T20" fmla="*/ 64 w 100"/>
                  <a:gd name="T21" fmla="*/ 54 h 56"/>
                  <a:gd name="T22" fmla="*/ 68 w 100"/>
                  <a:gd name="T23" fmla="*/ 56 h 56"/>
                  <a:gd name="T24" fmla="*/ 88 w 100"/>
                  <a:gd name="T25" fmla="*/ 42 h 56"/>
                  <a:gd name="T26" fmla="*/ 100 w 100"/>
                  <a:gd name="T27" fmla="*/ 3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0" h="56">
                    <a:moveTo>
                      <a:pt x="100" y="35"/>
                    </a:moveTo>
                    <a:cubicBezTo>
                      <a:pt x="94" y="32"/>
                      <a:pt x="93" y="27"/>
                      <a:pt x="86" y="26"/>
                    </a:cubicBezTo>
                    <a:cubicBezTo>
                      <a:pt x="75" y="18"/>
                      <a:pt x="66" y="11"/>
                      <a:pt x="55" y="3"/>
                    </a:cubicBezTo>
                    <a:cubicBezTo>
                      <a:pt x="47" y="0"/>
                      <a:pt x="41" y="1"/>
                      <a:pt x="35" y="2"/>
                    </a:cubicBezTo>
                    <a:cubicBezTo>
                      <a:pt x="29" y="3"/>
                      <a:pt x="25" y="9"/>
                      <a:pt x="20" y="12"/>
                    </a:cubicBezTo>
                    <a:cubicBezTo>
                      <a:pt x="13" y="20"/>
                      <a:pt x="6" y="13"/>
                      <a:pt x="2" y="23"/>
                    </a:cubicBezTo>
                    <a:cubicBezTo>
                      <a:pt x="6" y="41"/>
                      <a:pt x="0" y="29"/>
                      <a:pt x="11" y="38"/>
                    </a:cubicBezTo>
                    <a:cubicBezTo>
                      <a:pt x="13" y="43"/>
                      <a:pt x="20" y="51"/>
                      <a:pt x="23" y="56"/>
                    </a:cubicBezTo>
                    <a:cubicBezTo>
                      <a:pt x="30" y="53"/>
                      <a:pt x="35" y="49"/>
                      <a:pt x="41" y="45"/>
                    </a:cubicBezTo>
                    <a:cubicBezTo>
                      <a:pt x="47" y="49"/>
                      <a:pt x="53" y="52"/>
                      <a:pt x="59" y="56"/>
                    </a:cubicBezTo>
                    <a:cubicBezTo>
                      <a:pt x="61" y="55"/>
                      <a:pt x="62" y="54"/>
                      <a:pt x="64" y="54"/>
                    </a:cubicBezTo>
                    <a:cubicBezTo>
                      <a:pt x="65" y="54"/>
                      <a:pt x="67" y="56"/>
                      <a:pt x="68" y="56"/>
                    </a:cubicBezTo>
                    <a:cubicBezTo>
                      <a:pt x="75" y="55"/>
                      <a:pt x="80" y="43"/>
                      <a:pt x="88" y="42"/>
                    </a:cubicBezTo>
                    <a:cubicBezTo>
                      <a:pt x="91" y="37"/>
                      <a:pt x="94" y="31"/>
                      <a:pt x="100" y="3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7" name="Freeform 23">
                <a:extLst>
                  <a:ext uri="{FF2B5EF4-FFF2-40B4-BE49-F238E27FC236}">
                    <a16:creationId xmlns:a16="http://schemas.microsoft.com/office/drawing/2014/main" id="{B29AF05E-264D-471C-9EBC-4AF2750F5104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5183188" y="3248025"/>
                <a:ext cx="142875" cy="146050"/>
              </a:xfrm>
              <a:custGeom>
                <a:avLst/>
                <a:gdLst>
                  <a:gd name="T0" fmla="*/ 89 w 89"/>
                  <a:gd name="T1" fmla="*/ 6 h 92"/>
                  <a:gd name="T2" fmla="*/ 62 w 89"/>
                  <a:gd name="T3" fmla="*/ 12 h 92"/>
                  <a:gd name="T4" fmla="*/ 50 w 89"/>
                  <a:gd name="T5" fmla="*/ 15 h 92"/>
                  <a:gd name="T6" fmla="*/ 8 w 89"/>
                  <a:gd name="T7" fmla="*/ 16 h 92"/>
                  <a:gd name="T8" fmla="*/ 10 w 89"/>
                  <a:gd name="T9" fmla="*/ 54 h 92"/>
                  <a:gd name="T10" fmla="*/ 5 w 89"/>
                  <a:gd name="T11" fmla="*/ 78 h 92"/>
                  <a:gd name="T12" fmla="*/ 19 w 89"/>
                  <a:gd name="T13" fmla="*/ 85 h 92"/>
                  <a:gd name="T14" fmla="*/ 28 w 89"/>
                  <a:gd name="T15" fmla="*/ 82 h 92"/>
                  <a:gd name="T16" fmla="*/ 55 w 89"/>
                  <a:gd name="T17" fmla="*/ 70 h 92"/>
                  <a:gd name="T18" fmla="*/ 73 w 89"/>
                  <a:gd name="T19" fmla="*/ 52 h 92"/>
                  <a:gd name="T20" fmla="*/ 82 w 89"/>
                  <a:gd name="T21" fmla="*/ 39 h 92"/>
                  <a:gd name="T22" fmla="*/ 89 w 89"/>
                  <a:gd name="T23" fmla="*/ 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92">
                    <a:moveTo>
                      <a:pt x="89" y="6"/>
                    </a:moveTo>
                    <a:cubicBezTo>
                      <a:pt x="77" y="4"/>
                      <a:pt x="69" y="0"/>
                      <a:pt x="62" y="12"/>
                    </a:cubicBezTo>
                    <a:cubicBezTo>
                      <a:pt x="60" y="21"/>
                      <a:pt x="58" y="16"/>
                      <a:pt x="50" y="15"/>
                    </a:cubicBezTo>
                    <a:cubicBezTo>
                      <a:pt x="36" y="15"/>
                      <a:pt x="22" y="14"/>
                      <a:pt x="8" y="16"/>
                    </a:cubicBezTo>
                    <a:cubicBezTo>
                      <a:pt x="3" y="17"/>
                      <a:pt x="0" y="48"/>
                      <a:pt x="10" y="54"/>
                    </a:cubicBezTo>
                    <a:cubicBezTo>
                      <a:pt x="17" y="63"/>
                      <a:pt x="12" y="71"/>
                      <a:pt x="5" y="78"/>
                    </a:cubicBezTo>
                    <a:cubicBezTo>
                      <a:pt x="8" y="84"/>
                      <a:pt x="13" y="84"/>
                      <a:pt x="19" y="85"/>
                    </a:cubicBezTo>
                    <a:cubicBezTo>
                      <a:pt x="23" y="92"/>
                      <a:pt x="21" y="86"/>
                      <a:pt x="28" y="82"/>
                    </a:cubicBezTo>
                    <a:cubicBezTo>
                      <a:pt x="30" y="68"/>
                      <a:pt x="42" y="72"/>
                      <a:pt x="55" y="70"/>
                    </a:cubicBezTo>
                    <a:cubicBezTo>
                      <a:pt x="65" y="63"/>
                      <a:pt x="58" y="59"/>
                      <a:pt x="73" y="52"/>
                    </a:cubicBezTo>
                    <a:cubicBezTo>
                      <a:pt x="76" y="48"/>
                      <a:pt x="79" y="43"/>
                      <a:pt x="82" y="39"/>
                    </a:cubicBezTo>
                    <a:cubicBezTo>
                      <a:pt x="84" y="27"/>
                      <a:pt x="78" y="14"/>
                      <a:pt x="89" y="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8" name="Freeform 24">
                <a:extLst>
                  <a:ext uri="{FF2B5EF4-FFF2-40B4-BE49-F238E27FC236}">
                    <a16:creationId xmlns:a16="http://schemas.microsoft.com/office/drawing/2014/main" id="{39652311-4185-4844-A923-1C4882CC551F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5103813" y="3292475"/>
                <a:ext cx="63500" cy="39688"/>
              </a:xfrm>
              <a:custGeom>
                <a:avLst/>
                <a:gdLst>
                  <a:gd name="T0" fmla="*/ 0 w 39"/>
                  <a:gd name="T1" fmla="*/ 12 h 25"/>
                  <a:gd name="T2" fmla="*/ 30 w 39"/>
                  <a:gd name="T3" fmla="*/ 0 h 25"/>
                  <a:gd name="T4" fmla="*/ 29 w 39"/>
                  <a:gd name="T5" fmla="*/ 8 h 25"/>
                  <a:gd name="T6" fmla="*/ 21 w 39"/>
                  <a:gd name="T7" fmla="*/ 21 h 25"/>
                  <a:gd name="T8" fmla="*/ 2 w 39"/>
                  <a:gd name="T9" fmla="*/ 23 h 25"/>
                  <a:gd name="T10" fmla="*/ 0 w 39"/>
                  <a:gd name="T11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25">
                    <a:moveTo>
                      <a:pt x="0" y="12"/>
                    </a:moveTo>
                    <a:cubicBezTo>
                      <a:pt x="17" y="9"/>
                      <a:pt x="18" y="9"/>
                      <a:pt x="30" y="0"/>
                    </a:cubicBezTo>
                    <a:cubicBezTo>
                      <a:pt x="39" y="3"/>
                      <a:pt x="35" y="5"/>
                      <a:pt x="29" y="8"/>
                    </a:cubicBezTo>
                    <a:cubicBezTo>
                      <a:pt x="35" y="16"/>
                      <a:pt x="29" y="19"/>
                      <a:pt x="21" y="21"/>
                    </a:cubicBezTo>
                    <a:cubicBezTo>
                      <a:pt x="14" y="25"/>
                      <a:pt x="10" y="24"/>
                      <a:pt x="2" y="23"/>
                    </a:cubicBezTo>
                    <a:cubicBezTo>
                      <a:pt x="0" y="14"/>
                      <a:pt x="0" y="18"/>
                      <a:pt x="0" y="1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59" name="Freeform 25">
                <a:extLst>
                  <a:ext uri="{FF2B5EF4-FFF2-40B4-BE49-F238E27FC236}">
                    <a16:creationId xmlns:a16="http://schemas.microsoft.com/office/drawing/2014/main" id="{DB4898B4-211D-4F4F-9DAB-71078923ED49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4935538" y="3090863"/>
                <a:ext cx="479425" cy="190500"/>
              </a:xfrm>
              <a:custGeom>
                <a:avLst/>
                <a:gdLst>
                  <a:gd name="T0" fmla="*/ 61 w 297"/>
                  <a:gd name="T1" fmla="*/ 24 h 120"/>
                  <a:gd name="T2" fmla="*/ 44 w 297"/>
                  <a:gd name="T3" fmla="*/ 9 h 120"/>
                  <a:gd name="T4" fmla="*/ 29 w 297"/>
                  <a:gd name="T5" fmla="*/ 0 h 120"/>
                  <a:gd name="T6" fmla="*/ 19 w 297"/>
                  <a:gd name="T7" fmla="*/ 10 h 120"/>
                  <a:gd name="T8" fmla="*/ 2 w 297"/>
                  <a:gd name="T9" fmla="*/ 42 h 120"/>
                  <a:gd name="T10" fmla="*/ 5 w 297"/>
                  <a:gd name="T11" fmla="*/ 64 h 120"/>
                  <a:gd name="T12" fmla="*/ 20 w 297"/>
                  <a:gd name="T13" fmla="*/ 63 h 120"/>
                  <a:gd name="T14" fmla="*/ 22 w 297"/>
                  <a:gd name="T15" fmla="*/ 85 h 120"/>
                  <a:gd name="T16" fmla="*/ 53 w 297"/>
                  <a:gd name="T17" fmla="*/ 115 h 120"/>
                  <a:gd name="T18" fmla="*/ 68 w 297"/>
                  <a:gd name="T19" fmla="*/ 120 h 120"/>
                  <a:gd name="T20" fmla="*/ 82 w 297"/>
                  <a:gd name="T21" fmla="*/ 109 h 120"/>
                  <a:gd name="T22" fmla="*/ 109 w 297"/>
                  <a:gd name="T23" fmla="*/ 115 h 120"/>
                  <a:gd name="T24" fmla="*/ 133 w 297"/>
                  <a:gd name="T25" fmla="*/ 111 h 120"/>
                  <a:gd name="T26" fmla="*/ 167 w 297"/>
                  <a:gd name="T27" fmla="*/ 114 h 120"/>
                  <a:gd name="T28" fmla="*/ 182 w 297"/>
                  <a:gd name="T29" fmla="*/ 114 h 120"/>
                  <a:gd name="T30" fmla="*/ 211 w 297"/>
                  <a:gd name="T31" fmla="*/ 114 h 120"/>
                  <a:gd name="T32" fmla="*/ 222 w 297"/>
                  <a:gd name="T33" fmla="*/ 103 h 120"/>
                  <a:gd name="T34" fmla="*/ 232 w 297"/>
                  <a:gd name="T35" fmla="*/ 102 h 120"/>
                  <a:gd name="T36" fmla="*/ 248 w 297"/>
                  <a:gd name="T37" fmla="*/ 103 h 120"/>
                  <a:gd name="T38" fmla="*/ 269 w 297"/>
                  <a:gd name="T39" fmla="*/ 108 h 120"/>
                  <a:gd name="T40" fmla="*/ 272 w 297"/>
                  <a:gd name="T41" fmla="*/ 103 h 120"/>
                  <a:gd name="T42" fmla="*/ 284 w 297"/>
                  <a:gd name="T43" fmla="*/ 105 h 120"/>
                  <a:gd name="T44" fmla="*/ 274 w 297"/>
                  <a:gd name="T45" fmla="*/ 45 h 120"/>
                  <a:gd name="T46" fmla="*/ 262 w 297"/>
                  <a:gd name="T47" fmla="*/ 21 h 120"/>
                  <a:gd name="T48" fmla="*/ 230 w 297"/>
                  <a:gd name="T49" fmla="*/ 28 h 120"/>
                  <a:gd name="T50" fmla="*/ 193 w 297"/>
                  <a:gd name="T51" fmla="*/ 30 h 120"/>
                  <a:gd name="T52" fmla="*/ 164 w 297"/>
                  <a:gd name="T53" fmla="*/ 15 h 120"/>
                  <a:gd name="T54" fmla="*/ 146 w 297"/>
                  <a:gd name="T55" fmla="*/ 6 h 120"/>
                  <a:gd name="T56" fmla="*/ 98 w 297"/>
                  <a:gd name="T57" fmla="*/ 15 h 120"/>
                  <a:gd name="T58" fmla="*/ 86 w 297"/>
                  <a:gd name="T59" fmla="*/ 22 h 120"/>
                  <a:gd name="T60" fmla="*/ 61 w 297"/>
                  <a:gd name="T61" fmla="*/ 24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7" h="120">
                    <a:moveTo>
                      <a:pt x="61" y="24"/>
                    </a:moveTo>
                    <a:cubicBezTo>
                      <a:pt x="46" y="21"/>
                      <a:pt x="50" y="20"/>
                      <a:pt x="44" y="9"/>
                    </a:cubicBezTo>
                    <a:cubicBezTo>
                      <a:pt x="39" y="5"/>
                      <a:pt x="33" y="0"/>
                      <a:pt x="29" y="0"/>
                    </a:cubicBezTo>
                    <a:cubicBezTo>
                      <a:pt x="25" y="0"/>
                      <a:pt x="23" y="3"/>
                      <a:pt x="19" y="10"/>
                    </a:cubicBezTo>
                    <a:cubicBezTo>
                      <a:pt x="22" y="30"/>
                      <a:pt x="17" y="33"/>
                      <a:pt x="2" y="42"/>
                    </a:cubicBezTo>
                    <a:cubicBezTo>
                      <a:pt x="1" y="50"/>
                      <a:pt x="0" y="57"/>
                      <a:pt x="5" y="64"/>
                    </a:cubicBezTo>
                    <a:cubicBezTo>
                      <a:pt x="12" y="63"/>
                      <a:pt x="14" y="59"/>
                      <a:pt x="20" y="63"/>
                    </a:cubicBezTo>
                    <a:cubicBezTo>
                      <a:pt x="19" y="71"/>
                      <a:pt x="11" y="83"/>
                      <a:pt x="22" y="85"/>
                    </a:cubicBezTo>
                    <a:cubicBezTo>
                      <a:pt x="27" y="108"/>
                      <a:pt x="27" y="113"/>
                      <a:pt x="53" y="115"/>
                    </a:cubicBezTo>
                    <a:cubicBezTo>
                      <a:pt x="58" y="117"/>
                      <a:pt x="63" y="118"/>
                      <a:pt x="68" y="120"/>
                    </a:cubicBezTo>
                    <a:cubicBezTo>
                      <a:pt x="74" y="117"/>
                      <a:pt x="77" y="114"/>
                      <a:pt x="82" y="109"/>
                    </a:cubicBezTo>
                    <a:cubicBezTo>
                      <a:pt x="90" y="113"/>
                      <a:pt x="109" y="115"/>
                      <a:pt x="109" y="115"/>
                    </a:cubicBezTo>
                    <a:cubicBezTo>
                      <a:pt x="118" y="114"/>
                      <a:pt x="124" y="112"/>
                      <a:pt x="133" y="111"/>
                    </a:cubicBezTo>
                    <a:cubicBezTo>
                      <a:pt x="143" y="110"/>
                      <a:pt x="159" y="114"/>
                      <a:pt x="167" y="114"/>
                    </a:cubicBezTo>
                    <a:cubicBezTo>
                      <a:pt x="175" y="114"/>
                      <a:pt x="175" y="114"/>
                      <a:pt x="182" y="114"/>
                    </a:cubicBezTo>
                    <a:cubicBezTo>
                      <a:pt x="189" y="114"/>
                      <a:pt x="204" y="116"/>
                      <a:pt x="211" y="114"/>
                    </a:cubicBezTo>
                    <a:cubicBezTo>
                      <a:pt x="218" y="112"/>
                      <a:pt x="219" y="105"/>
                      <a:pt x="222" y="103"/>
                    </a:cubicBezTo>
                    <a:cubicBezTo>
                      <a:pt x="225" y="101"/>
                      <a:pt x="228" y="102"/>
                      <a:pt x="232" y="102"/>
                    </a:cubicBezTo>
                    <a:cubicBezTo>
                      <a:pt x="236" y="102"/>
                      <a:pt x="242" y="102"/>
                      <a:pt x="248" y="103"/>
                    </a:cubicBezTo>
                    <a:cubicBezTo>
                      <a:pt x="254" y="104"/>
                      <a:pt x="265" y="108"/>
                      <a:pt x="269" y="108"/>
                    </a:cubicBezTo>
                    <a:cubicBezTo>
                      <a:pt x="273" y="108"/>
                      <a:pt x="270" y="103"/>
                      <a:pt x="272" y="103"/>
                    </a:cubicBezTo>
                    <a:cubicBezTo>
                      <a:pt x="274" y="103"/>
                      <a:pt x="284" y="115"/>
                      <a:pt x="284" y="105"/>
                    </a:cubicBezTo>
                    <a:cubicBezTo>
                      <a:pt x="297" y="84"/>
                      <a:pt x="292" y="59"/>
                      <a:pt x="274" y="45"/>
                    </a:cubicBezTo>
                    <a:cubicBezTo>
                      <a:pt x="268" y="29"/>
                      <a:pt x="274" y="33"/>
                      <a:pt x="262" y="21"/>
                    </a:cubicBezTo>
                    <a:cubicBezTo>
                      <a:pt x="246" y="22"/>
                      <a:pt x="243" y="25"/>
                      <a:pt x="230" y="28"/>
                    </a:cubicBezTo>
                    <a:cubicBezTo>
                      <a:pt x="218" y="34"/>
                      <a:pt x="208" y="31"/>
                      <a:pt x="193" y="30"/>
                    </a:cubicBezTo>
                    <a:cubicBezTo>
                      <a:pt x="183" y="26"/>
                      <a:pt x="175" y="17"/>
                      <a:pt x="164" y="15"/>
                    </a:cubicBezTo>
                    <a:cubicBezTo>
                      <a:pt x="158" y="11"/>
                      <a:pt x="153" y="7"/>
                      <a:pt x="146" y="6"/>
                    </a:cubicBezTo>
                    <a:cubicBezTo>
                      <a:pt x="117" y="7"/>
                      <a:pt x="116" y="4"/>
                      <a:pt x="98" y="15"/>
                    </a:cubicBezTo>
                    <a:cubicBezTo>
                      <a:pt x="94" y="20"/>
                      <a:pt x="92" y="21"/>
                      <a:pt x="86" y="22"/>
                    </a:cubicBezTo>
                    <a:cubicBezTo>
                      <a:pt x="76" y="27"/>
                      <a:pt x="83" y="24"/>
                      <a:pt x="61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0" name="Freeform 26">
                <a:extLst>
                  <a:ext uri="{FF2B5EF4-FFF2-40B4-BE49-F238E27FC236}">
                    <a16:creationId xmlns:a16="http://schemas.microsoft.com/office/drawing/2014/main" id="{27433E33-1EAC-4CE2-9D9E-C219A48FB352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4624388" y="4073525"/>
                <a:ext cx="449263" cy="415925"/>
              </a:xfrm>
              <a:custGeom>
                <a:avLst/>
                <a:gdLst>
                  <a:gd name="T0" fmla="*/ 8 w 278"/>
                  <a:gd name="T1" fmla="*/ 170 h 262"/>
                  <a:gd name="T2" fmla="*/ 0 w 278"/>
                  <a:gd name="T3" fmla="*/ 156 h 262"/>
                  <a:gd name="T4" fmla="*/ 15 w 278"/>
                  <a:gd name="T5" fmla="*/ 141 h 262"/>
                  <a:gd name="T6" fmla="*/ 33 w 278"/>
                  <a:gd name="T7" fmla="*/ 141 h 262"/>
                  <a:gd name="T8" fmla="*/ 53 w 278"/>
                  <a:gd name="T9" fmla="*/ 135 h 262"/>
                  <a:gd name="T10" fmla="*/ 68 w 278"/>
                  <a:gd name="T11" fmla="*/ 107 h 262"/>
                  <a:gd name="T12" fmla="*/ 84 w 278"/>
                  <a:gd name="T13" fmla="*/ 90 h 262"/>
                  <a:gd name="T14" fmla="*/ 84 w 278"/>
                  <a:gd name="T15" fmla="*/ 72 h 262"/>
                  <a:gd name="T16" fmla="*/ 92 w 278"/>
                  <a:gd name="T17" fmla="*/ 53 h 262"/>
                  <a:gd name="T18" fmla="*/ 98 w 278"/>
                  <a:gd name="T19" fmla="*/ 18 h 262"/>
                  <a:gd name="T20" fmla="*/ 108 w 278"/>
                  <a:gd name="T21" fmla="*/ 0 h 262"/>
                  <a:gd name="T22" fmla="*/ 144 w 278"/>
                  <a:gd name="T23" fmla="*/ 14 h 262"/>
                  <a:gd name="T24" fmla="*/ 158 w 278"/>
                  <a:gd name="T25" fmla="*/ 12 h 262"/>
                  <a:gd name="T26" fmla="*/ 188 w 278"/>
                  <a:gd name="T27" fmla="*/ 5 h 262"/>
                  <a:gd name="T28" fmla="*/ 209 w 278"/>
                  <a:gd name="T29" fmla="*/ 0 h 262"/>
                  <a:gd name="T30" fmla="*/ 233 w 278"/>
                  <a:gd name="T31" fmla="*/ 6 h 262"/>
                  <a:gd name="T32" fmla="*/ 261 w 278"/>
                  <a:gd name="T33" fmla="*/ 12 h 262"/>
                  <a:gd name="T34" fmla="*/ 272 w 278"/>
                  <a:gd name="T35" fmla="*/ 24 h 262"/>
                  <a:gd name="T36" fmla="*/ 278 w 278"/>
                  <a:gd name="T37" fmla="*/ 39 h 262"/>
                  <a:gd name="T38" fmla="*/ 264 w 278"/>
                  <a:gd name="T39" fmla="*/ 65 h 262"/>
                  <a:gd name="T40" fmla="*/ 258 w 278"/>
                  <a:gd name="T41" fmla="*/ 90 h 262"/>
                  <a:gd name="T42" fmla="*/ 249 w 278"/>
                  <a:gd name="T43" fmla="*/ 110 h 262"/>
                  <a:gd name="T44" fmla="*/ 257 w 278"/>
                  <a:gd name="T45" fmla="*/ 171 h 262"/>
                  <a:gd name="T46" fmla="*/ 272 w 278"/>
                  <a:gd name="T47" fmla="*/ 182 h 262"/>
                  <a:gd name="T48" fmla="*/ 243 w 278"/>
                  <a:gd name="T49" fmla="*/ 204 h 262"/>
                  <a:gd name="T50" fmla="*/ 237 w 278"/>
                  <a:gd name="T51" fmla="*/ 255 h 262"/>
                  <a:gd name="T52" fmla="*/ 219 w 278"/>
                  <a:gd name="T53" fmla="*/ 249 h 262"/>
                  <a:gd name="T54" fmla="*/ 197 w 278"/>
                  <a:gd name="T55" fmla="*/ 245 h 262"/>
                  <a:gd name="T56" fmla="*/ 169 w 278"/>
                  <a:gd name="T57" fmla="*/ 240 h 262"/>
                  <a:gd name="T58" fmla="*/ 150 w 278"/>
                  <a:gd name="T59" fmla="*/ 236 h 262"/>
                  <a:gd name="T60" fmla="*/ 146 w 278"/>
                  <a:gd name="T61" fmla="*/ 227 h 262"/>
                  <a:gd name="T62" fmla="*/ 148 w 278"/>
                  <a:gd name="T63" fmla="*/ 209 h 262"/>
                  <a:gd name="T64" fmla="*/ 141 w 278"/>
                  <a:gd name="T65" fmla="*/ 195 h 262"/>
                  <a:gd name="T66" fmla="*/ 128 w 278"/>
                  <a:gd name="T67" fmla="*/ 186 h 262"/>
                  <a:gd name="T68" fmla="*/ 109 w 278"/>
                  <a:gd name="T69" fmla="*/ 189 h 262"/>
                  <a:gd name="T70" fmla="*/ 90 w 278"/>
                  <a:gd name="T71" fmla="*/ 194 h 262"/>
                  <a:gd name="T72" fmla="*/ 68 w 278"/>
                  <a:gd name="T73" fmla="*/ 176 h 262"/>
                  <a:gd name="T74" fmla="*/ 63 w 278"/>
                  <a:gd name="T75" fmla="*/ 165 h 262"/>
                  <a:gd name="T76" fmla="*/ 44 w 278"/>
                  <a:gd name="T77" fmla="*/ 164 h 262"/>
                  <a:gd name="T78" fmla="*/ 8 w 278"/>
                  <a:gd name="T79" fmla="*/ 17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8" h="262">
                    <a:moveTo>
                      <a:pt x="8" y="170"/>
                    </a:moveTo>
                    <a:cubicBezTo>
                      <a:pt x="5" y="163"/>
                      <a:pt x="7" y="160"/>
                      <a:pt x="0" y="156"/>
                    </a:cubicBezTo>
                    <a:cubicBezTo>
                      <a:pt x="1" y="151"/>
                      <a:pt x="10" y="143"/>
                      <a:pt x="15" y="141"/>
                    </a:cubicBezTo>
                    <a:cubicBezTo>
                      <a:pt x="20" y="139"/>
                      <a:pt x="27" y="142"/>
                      <a:pt x="33" y="141"/>
                    </a:cubicBezTo>
                    <a:cubicBezTo>
                      <a:pt x="39" y="137"/>
                      <a:pt x="46" y="137"/>
                      <a:pt x="53" y="135"/>
                    </a:cubicBezTo>
                    <a:cubicBezTo>
                      <a:pt x="62" y="128"/>
                      <a:pt x="52" y="117"/>
                      <a:pt x="68" y="107"/>
                    </a:cubicBezTo>
                    <a:cubicBezTo>
                      <a:pt x="77" y="92"/>
                      <a:pt x="66" y="95"/>
                      <a:pt x="84" y="90"/>
                    </a:cubicBezTo>
                    <a:cubicBezTo>
                      <a:pt x="89" y="84"/>
                      <a:pt x="87" y="79"/>
                      <a:pt x="84" y="72"/>
                    </a:cubicBezTo>
                    <a:cubicBezTo>
                      <a:pt x="86" y="57"/>
                      <a:pt x="87" y="63"/>
                      <a:pt x="92" y="53"/>
                    </a:cubicBezTo>
                    <a:cubicBezTo>
                      <a:pt x="87" y="40"/>
                      <a:pt x="91" y="30"/>
                      <a:pt x="98" y="18"/>
                    </a:cubicBezTo>
                    <a:cubicBezTo>
                      <a:pt x="99" y="10"/>
                      <a:pt x="100" y="4"/>
                      <a:pt x="108" y="0"/>
                    </a:cubicBezTo>
                    <a:cubicBezTo>
                      <a:pt x="122" y="2"/>
                      <a:pt x="130" y="13"/>
                      <a:pt x="144" y="14"/>
                    </a:cubicBezTo>
                    <a:cubicBezTo>
                      <a:pt x="151" y="18"/>
                      <a:pt x="149" y="15"/>
                      <a:pt x="158" y="12"/>
                    </a:cubicBezTo>
                    <a:cubicBezTo>
                      <a:pt x="169" y="4"/>
                      <a:pt x="170" y="6"/>
                      <a:pt x="188" y="5"/>
                    </a:cubicBezTo>
                    <a:cubicBezTo>
                      <a:pt x="196" y="3"/>
                      <a:pt x="202" y="0"/>
                      <a:pt x="209" y="0"/>
                    </a:cubicBezTo>
                    <a:cubicBezTo>
                      <a:pt x="216" y="0"/>
                      <a:pt x="224" y="4"/>
                      <a:pt x="233" y="6"/>
                    </a:cubicBezTo>
                    <a:cubicBezTo>
                      <a:pt x="245" y="12"/>
                      <a:pt x="243" y="11"/>
                      <a:pt x="261" y="12"/>
                    </a:cubicBezTo>
                    <a:cubicBezTo>
                      <a:pt x="267" y="15"/>
                      <a:pt x="268" y="19"/>
                      <a:pt x="272" y="24"/>
                    </a:cubicBezTo>
                    <a:cubicBezTo>
                      <a:pt x="273" y="30"/>
                      <a:pt x="274" y="34"/>
                      <a:pt x="278" y="39"/>
                    </a:cubicBezTo>
                    <a:cubicBezTo>
                      <a:pt x="276" y="50"/>
                      <a:pt x="269" y="57"/>
                      <a:pt x="264" y="65"/>
                    </a:cubicBezTo>
                    <a:cubicBezTo>
                      <a:pt x="262" y="75"/>
                      <a:pt x="267" y="89"/>
                      <a:pt x="258" y="90"/>
                    </a:cubicBezTo>
                    <a:cubicBezTo>
                      <a:pt x="257" y="102"/>
                      <a:pt x="259" y="106"/>
                      <a:pt x="249" y="110"/>
                    </a:cubicBezTo>
                    <a:cubicBezTo>
                      <a:pt x="251" y="130"/>
                      <a:pt x="248" y="153"/>
                      <a:pt x="257" y="171"/>
                    </a:cubicBezTo>
                    <a:cubicBezTo>
                      <a:pt x="258" y="177"/>
                      <a:pt x="266" y="179"/>
                      <a:pt x="272" y="182"/>
                    </a:cubicBezTo>
                    <a:cubicBezTo>
                      <a:pt x="276" y="206"/>
                      <a:pt x="263" y="202"/>
                      <a:pt x="243" y="204"/>
                    </a:cubicBezTo>
                    <a:cubicBezTo>
                      <a:pt x="236" y="216"/>
                      <a:pt x="245" y="248"/>
                      <a:pt x="237" y="255"/>
                    </a:cubicBezTo>
                    <a:cubicBezTo>
                      <a:pt x="233" y="262"/>
                      <a:pt x="226" y="251"/>
                      <a:pt x="219" y="249"/>
                    </a:cubicBezTo>
                    <a:cubicBezTo>
                      <a:pt x="212" y="247"/>
                      <a:pt x="205" y="247"/>
                      <a:pt x="197" y="245"/>
                    </a:cubicBezTo>
                    <a:cubicBezTo>
                      <a:pt x="189" y="243"/>
                      <a:pt x="177" y="242"/>
                      <a:pt x="169" y="240"/>
                    </a:cubicBezTo>
                    <a:cubicBezTo>
                      <a:pt x="162" y="238"/>
                      <a:pt x="154" y="238"/>
                      <a:pt x="150" y="236"/>
                    </a:cubicBezTo>
                    <a:cubicBezTo>
                      <a:pt x="146" y="234"/>
                      <a:pt x="146" y="231"/>
                      <a:pt x="146" y="227"/>
                    </a:cubicBezTo>
                    <a:cubicBezTo>
                      <a:pt x="142" y="222"/>
                      <a:pt x="149" y="214"/>
                      <a:pt x="148" y="209"/>
                    </a:cubicBezTo>
                    <a:cubicBezTo>
                      <a:pt x="147" y="204"/>
                      <a:pt x="144" y="199"/>
                      <a:pt x="141" y="195"/>
                    </a:cubicBezTo>
                    <a:cubicBezTo>
                      <a:pt x="136" y="193"/>
                      <a:pt x="140" y="191"/>
                      <a:pt x="128" y="186"/>
                    </a:cubicBezTo>
                    <a:cubicBezTo>
                      <a:pt x="123" y="185"/>
                      <a:pt x="115" y="188"/>
                      <a:pt x="109" y="189"/>
                    </a:cubicBezTo>
                    <a:cubicBezTo>
                      <a:pt x="103" y="190"/>
                      <a:pt x="97" y="196"/>
                      <a:pt x="90" y="194"/>
                    </a:cubicBezTo>
                    <a:cubicBezTo>
                      <a:pt x="75" y="192"/>
                      <a:pt x="74" y="187"/>
                      <a:pt x="68" y="176"/>
                    </a:cubicBezTo>
                    <a:cubicBezTo>
                      <a:pt x="63" y="172"/>
                      <a:pt x="67" y="167"/>
                      <a:pt x="63" y="165"/>
                    </a:cubicBezTo>
                    <a:cubicBezTo>
                      <a:pt x="59" y="163"/>
                      <a:pt x="53" y="163"/>
                      <a:pt x="44" y="164"/>
                    </a:cubicBezTo>
                    <a:cubicBezTo>
                      <a:pt x="35" y="165"/>
                      <a:pt x="15" y="169"/>
                      <a:pt x="8" y="17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1" name="Freeform 27">
                <a:extLst>
                  <a:ext uri="{FF2B5EF4-FFF2-40B4-BE49-F238E27FC236}">
                    <a16:creationId xmlns:a16="http://schemas.microsoft.com/office/drawing/2014/main" id="{5810C28F-DB19-4631-9410-C3975EC89FC8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5140326" y="4081463"/>
                <a:ext cx="182563" cy="219075"/>
              </a:xfrm>
              <a:custGeom>
                <a:avLst/>
                <a:gdLst>
                  <a:gd name="T0" fmla="*/ 3 w 113"/>
                  <a:gd name="T1" fmla="*/ 88 h 138"/>
                  <a:gd name="T2" fmla="*/ 24 w 113"/>
                  <a:gd name="T3" fmla="*/ 94 h 138"/>
                  <a:gd name="T4" fmla="*/ 37 w 113"/>
                  <a:gd name="T5" fmla="*/ 99 h 138"/>
                  <a:gd name="T6" fmla="*/ 51 w 113"/>
                  <a:gd name="T7" fmla="*/ 117 h 138"/>
                  <a:gd name="T8" fmla="*/ 81 w 113"/>
                  <a:gd name="T9" fmla="*/ 138 h 138"/>
                  <a:gd name="T10" fmla="*/ 99 w 113"/>
                  <a:gd name="T11" fmla="*/ 114 h 138"/>
                  <a:gd name="T12" fmla="*/ 105 w 113"/>
                  <a:gd name="T13" fmla="*/ 99 h 138"/>
                  <a:gd name="T14" fmla="*/ 105 w 113"/>
                  <a:gd name="T15" fmla="*/ 72 h 138"/>
                  <a:gd name="T16" fmla="*/ 105 w 113"/>
                  <a:gd name="T17" fmla="*/ 27 h 138"/>
                  <a:gd name="T18" fmla="*/ 106 w 113"/>
                  <a:gd name="T19" fmla="*/ 15 h 138"/>
                  <a:gd name="T20" fmla="*/ 60 w 113"/>
                  <a:gd name="T21" fmla="*/ 16 h 138"/>
                  <a:gd name="T22" fmla="*/ 34 w 113"/>
                  <a:gd name="T23" fmla="*/ 6 h 138"/>
                  <a:gd name="T24" fmla="*/ 12 w 113"/>
                  <a:gd name="T25" fmla="*/ 3 h 138"/>
                  <a:gd name="T26" fmla="*/ 13 w 113"/>
                  <a:gd name="T27" fmla="*/ 27 h 138"/>
                  <a:gd name="T28" fmla="*/ 18 w 113"/>
                  <a:gd name="T29" fmla="*/ 52 h 138"/>
                  <a:gd name="T30" fmla="*/ 3 w 113"/>
                  <a:gd name="T31" fmla="*/ 66 h 138"/>
                  <a:gd name="T32" fmla="*/ 3 w 113"/>
                  <a:gd name="T33" fmla="*/ 8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3" h="138">
                    <a:moveTo>
                      <a:pt x="3" y="88"/>
                    </a:moveTo>
                    <a:cubicBezTo>
                      <a:pt x="10" y="90"/>
                      <a:pt x="17" y="93"/>
                      <a:pt x="24" y="94"/>
                    </a:cubicBezTo>
                    <a:cubicBezTo>
                      <a:pt x="28" y="96"/>
                      <a:pt x="33" y="97"/>
                      <a:pt x="37" y="99"/>
                    </a:cubicBezTo>
                    <a:cubicBezTo>
                      <a:pt x="40" y="106"/>
                      <a:pt x="44" y="115"/>
                      <a:pt x="51" y="117"/>
                    </a:cubicBezTo>
                    <a:cubicBezTo>
                      <a:pt x="58" y="123"/>
                      <a:pt x="73" y="138"/>
                      <a:pt x="81" y="138"/>
                    </a:cubicBezTo>
                    <a:cubicBezTo>
                      <a:pt x="91" y="135"/>
                      <a:pt x="87" y="116"/>
                      <a:pt x="99" y="114"/>
                    </a:cubicBezTo>
                    <a:cubicBezTo>
                      <a:pt x="100" y="108"/>
                      <a:pt x="101" y="104"/>
                      <a:pt x="105" y="99"/>
                    </a:cubicBezTo>
                    <a:cubicBezTo>
                      <a:pt x="106" y="90"/>
                      <a:pt x="104" y="81"/>
                      <a:pt x="105" y="72"/>
                    </a:cubicBezTo>
                    <a:cubicBezTo>
                      <a:pt x="107" y="60"/>
                      <a:pt x="105" y="36"/>
                      <a:pt x="105" y="27"/>
                    </a:cubicBezTo>
                    <a:cubicBezTo>
                      <a:pt x="105" y="18"/>
                      <a:pt x="113" y="17"/>
                      <a:pt x="106" y="15"/>
                    </a:cubicBezTo>
                    <a:cubicBezTo>
                      <a:pt x="94" y="16"/>
                      <a:pt x="72" y="17"/>
                      <a:pt x="60" y="16"/>
                    </a:cubicBezTo>
                    <a:cubicBezTo>
                      <a:pt x="49" y="7"/>
                      <a:pt x="49" y="7"/>
                      <a:pt x="34" y="6"/>
                    </a:cubicBezTo>
                    <a:cubicBezTo>
                      <a:pt x="28" y="5"/>
                      <a:pt x="15" y="0"/>
                      <a:pt x="12" y="3"/>
                    </a:cubicBezTo>
                    <a:cubicBezTo>
                      <a:pt x="9" y="6"/>
                      <a:pt x="12" y="19"/>
                      <a:pt x="13" y="27"/>
                    </a:cubicBezTo>
                    <a:cubicBezTo>
                      <a:pt x="14" y="34"/>
                      <a:pt x="20" y="46"/>
                      <a:pt x="18" y="52"/>
                    </a:cubicBezTo>
                    <a:cubicBezTo>
                      <a:pt x="16" y="58"/>
                      <a:pt x="5" y="60"/>
                      <a:pt x="3" y="66"/>
                    </a:cubicBezTo>
                    <a:cubicBezTo>
                      <a:pt x="0" y="75"/>
                      <a:pt x="3" y="78"/>
                      <a:pt x="3" y="8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2" name="Freeform 28">
                <a:extLst>
                  <a:ext uri="{FF2B5EF4-FFF2-40B4-BE49-F238E27FC236}">
                    <a16:creationId xmlns:a16="http://schemas.microsoft.com/office/drawing/2014/main" id="{0CD77475-1F63-4A31-8160-71E3C5FC0971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4848226" y="4391025"/>
                <a:ext cx="292100" cy="233363"/>
              </a:xfrm>
              <a:custGeom>
                <a:avLst/>
                <a:gdLst>
                  <a:gd name="T0" fmla="*/ 61 w 181"/>
                  <a:gd name="T1" fmla="*/ 46 h 147"/>
                  <a:gd name="T2" fmla="*/ 80 w 181"/>
                  <a:gd name="T3" fmla="*/ 51 h 147"/>
                  <a:gd name="T4" fmla="*/ 95 w 181"/>
                  <a:gd name="T5" fmla="*/ 55 h 147"/>
                  <a:gd name="T6" fmla="*/ 110 w 181"/>
                  <a:gd name="T7" fmla="*/ 67 h 147"/>
                  <a:gd name="T8" fmla="*/ 103 w 181"/>
                  <a:gd name="T9" fmla="*/ 57 h 147"/>
                  <a:gd name="T10" fmla="*/ 100 w 181"/>
                  <a:gd name="T11" fmla="*/ 37 h 147"/>
                  <a:gd name="T12" fmla="*/ 103 w 181"/>
                  <a:gd name="T13" fmla="*/ 10 h 147"/>
                  <a:gd name="T14" fmla="*/ 113 w 181"/>
                  <a:gd name="T15" fmla="*/ 0 h 147"/>
                  <a:gd name="T16" fmla="*/ 139 w 181"/>
                  <a:gd name="T17" fmla="*/ 4 h 147"/>
                  <a:gd name="T18" fmla="*/ 172 w 181"/>
                  <a:gd name="T19" fmla="*/ 15 h 147"/>
                  <a:gd name="T20" fmla="*/ 169 w 181"/>
                  <a:gd name="T21" fmla="*/ 66 h 147"/>
                  <a:gd name="T22" fmla="*/ 152 w 181"/>
                  <a:gd name="T23" fmla="*/ 94 h 147"/>
                  <a:gd name="T24" fmla="*/ 137 w 181"/>
                  <a:gd name="T25" fmla="*/ 100 h 147"/>
                  <a:gd name="T26" fmla="*/ 107 w 181"/>
                  <a:gd name="T27" fmla="*/ 114 h 147"/>
                  <a:gd name="T28" fmla="*/ 88 w 181"/>
                  <a:gd name="T29" fmla="*/ 127 h 147"/>
                  <a:gd name="T30" fmla="*/ 80 w 181"/>
                  <a:gd name="T31" fmla="*/ 142 h 147"/>
                  <a:gd name="T32" fmla="*/ 52 w 181"/>
                  <a:gd name="T33" fmla="*/ 147 h 147"/>
                  <a:gd name="T34" fmla="*/ 17 w 181"/>
                  <a:gd name="T35" fmla="*/ 141 h 147"/>
                  <a:gd name="T36" fmla="*/ 8 w 181"/>
                  <a:gd name="T37" fmla="*/ 129 h 147"/>
                  <a:gd name="T38" fmla="*/ 4 w 181"/>
                  <a:gd name="T39" fmla="*/ 112 h 147"/>
                  <a:gd name="T40" fmla="*/ 4 w 181"/>
                  <a:gd name="T41" fmla="*/ 91 h 147"/>
                  <a:gd name="T42" fmla="*/ 7 w 181"/>
                  <a:gd name="T43" fmla="*/ 70 h 147"/>
                  <a:gd name="T44" fmla="*/ 29 w 181"/>
                  <a:gd name="T45" fmla="*/ 66 h 147"/>
                  <a:gd name="T46" fmla="*/ 40 w 181"/>
                  <a:gd name="T47" fmla="*/ 55 h 147"/>
                  <a:gd name="T48" fmla="*/ 38 w 181"/>
                  <a:gd name="T49" fmla="*/ 43 h 147"/>
                  <a:gd name="T50" fmla="*/ 35 w 181"/>
                  <a:gd name="T51" fmla="*/ 42 h 147"/>
                  <a:gd name="T52" fmla="*/ 61 w 181"/>
                  <a:gd name="T53" fmla="*/ 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1" h="147">
                    <a:moveTo>
                      <a:pt x="61" y="46"/>
                    </a:moveTo>
                    <a:cubicBezTo>
                      <a:pt x="68" y="48"/>
                      <a:pt x="74" y="50"/>
                      <a:pt x="80" y="51"/>
                    </a:cubicBezTo>
                    <a:cubicBezTo>
                      <a:pt x="85" y="52"/>
                      <a:pt x="90" y="54"/>
                      <a:pt x="95" y="55"/>
                    </a:cubicBezTo>
                    <a:cubicBezTo>
                      <a:pt x="100" y="58"/>
                      <a:pt x="109" y="67"/>
                      <a:pt x="110" y="67"/>
                    </a:cubicBezTo>
                    <a:cubicBezTo>
                      <a:pt x="107" y="64"/>
                      <a:pt x="105" y="62"/>
                      <a:pt x="103" y="57"/>
                    </a:cubicBezTo>
                    <a:cubicBezTo>
                      <a:pt x="101" y="52"/>
                      <a:pt x="100" y="45"/>
                      <a:pt x="100" y="37"/>
                    </a:cubicBezTo>
                    <a:cubicBezTo>
                      <a:pt x="100" y="29"/>
                      <a:pt x="101" y="16"/>
                      <a:pt x="103" y="10"/>
                    </a:cubicBezTo>
                    <a:cubicBezTo>
                      <a:pt x="106" y="6"/>
                      <a:pt x="110" y="4"/>
                      <a:pt x="113" y="0"/>
                    </a:cubicBezTo>
                    <a:cubicBezTo>
                      <a:pt x="127" y="1"/>
                      <a:pt x="128" y="2"/>
                      <a:pt x="139" y="4"/>
                    </a:cubicBezTo>
                    <a:cubicBezTo>
                      <a:pt x="151" y="16"/>
                      <a:pt x="149" y="13"/>
                      <a:pt x="172" y="15"/>
                    </a:cubicBezTo>
                    <a:cubicBezTo>
                      <a:pt x="173" y="28"/>
                      <a:pt x="181" y="57"/>
                      <a:pt x="169" y="66"/>
                    </a:cubicBezTo>
                    <a:cubicBezTo>
                      <a:pt x="167" y="84"/>
                      <a:pt x="169" y="91"/>
                      <a:pt x="152" y="94"/>
                    </a:cubicBezTo>
                    <a:cubicBezTo>
                      <a:pt x="147" y="97"/>
                      <a:pt x="143" y="99"/>
                      <a:pt x="137" y="100"/>
                    </a:cubicBezTo>
                    <a:cubicBezTo>
                      <a:pt x="127" y="105"/>
                      <a:pt x="117" y="109"/>
                      <a:pt x="107" y="114"/>
                    </a:cubicBezTo>
                    <a:cubicBezTo>
                      <a:pt x="100" y="123"/>
                      <a:pt x="100" y="126"/>
                      <a:pt x="88" y="127"/>
                    </a:cubicBezTo>
                    <a:cubicBezTo>
                      <a:pt x="85" y="134"/>
                      <a:pt x="89" y="140"/>
                      <a:pt x="80" y="142"/>
                    </a:cubicBezTo>
                    <a:cubicBezTo>
                      <a:pt x="71" y="146"/>
                      <a:pt x="61" y="143"/>
                      <a:pt x="52" y="147"/>
                    </a:cubicBezTo>
                    <a:cubicBezTo>
                      <a:pt x="40" y="145"/>
                      <a:pt x="27" y="147"/>
                      <a:pt x="17" y="141"/>
                    </a:cubicBezTo>
                    <a:cubicBezTo>
                      <a:pt x="14" y="136"/>
                      <a:pt x="10" y="134"/>
                      <a:pt x="8" y="129"/>
                    </a:cubicBezTo>
                    <a:cubicBezTo>
                      <a:pt x="7" y="123"/>
                      <a:pt x="5" y="118"/>
                      <a:pt x="4" y="112"/>
                    </a:cubicBezTo>
                    <a:cubicBezTo>
                      <a:pt x="3" y="106"/>
                      <a:pt x="0" y="99"/>
                      <a:pt x="4" y="91"/>
                    </a:cubicBezTo>
                    <a:cubicBezTo>
                      <a:pt x="5" y="84"/>
                      <a:pt x="3" y="74"/>
                      <a:pt x="7" y="70"/>
                    </a:cubicBezTo>
                    <a:cubicBezTo>
                      <a:pt x="11" y="66"/>
                      <a:pt x="24" y="68"/>
                      <a:pt x="29" y="66"/>
                    </a:cubicBezTo>
                    <a:cubicBezTo>
                      <a:pt x="33" y="63"/>
                      <a:pt x="39" y="59"/>
                      <a:pt x="40" y="55"/>
                    </a:cubicBezTo>
                    <a:cubicBezTo>
                      <a:pt x="41" y="51"/>
                      <a:pt x="39" y="45"/>
                      <a:pt x="38" y="43"/>
                    </a:cubicBezTo>
                    <a:cubicBezTo>
                      <a:pt x="36" y="34"/>
                      <a:pt x="32" y="50"/>
                      <a:pt x="35" y="42"/>
                    </a:cubicBezTo>
                    <a:cubicBezTo>
                      <a:pt x="39" y="41"/>
                      <a:pt x="56" y="45"/>
                      <a:pt x="61" y="4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3" name="Freeform 29">
                <a:extLst>
                  <a:ext uri="{FF2B5EF4-FFF2-40B4-BE49-F238E27FC236}">
                    <a16:creationId xmlns:a16="http://schemas.microsoft.com/office/drawing/2014/main" id="{4BBCACA5-EB43-4075-803B-CEDC48E355C0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5303838" y="3908425"/>
                <a:ext cx="263525" cy="325438"/>
              </a:xfrm>
              <a:custGeom>
                <a:avLst/>
                <a:gdLst>
                  <a:gd name="T0" fmla="*/ 7 w 163"/>
                  <a:gd name="T1" fmla="*/ 205 h 205"/>
                  <a:gd name="T2" fmla="*/ 35 w 163"/>
                  <a:gd name="T3" fmla="*/ 179 h 205"/>
                  <a:gd name="T4" fmla="*/ 55 w 163"/>
                  <a:gd name="T5" fmla="*/ 161 h 205"/>
                  <a:gd name="T6" fmla="*/ 75 w 163"/>
                  <a:gd name="T7" fmla="*/ 145 h 205"/>
                  <a:gd name="T8" fmla="*/ 87 w 163"/>
                  <a:gd name="T9" fmla="*/ 137 h 205"/>
                  <a:gd name="T10" fmla="*/ 119 w 163"/>
                  <a:gd name="T11" fmla="*/ 97 h 205"/>
                  <a:gd name="T12" fmla="*/ 127 w 163"/>
                  <a:gd name="T13" fmla="*/ 73 h 205"/>
                  <a:gd name="T14" fmla="*/ 147 w 163"/>
                  <a:gd name="T15" fmla="*/ 43 h 205"/>
                  <a:gd name="T16" fmla="*/ 159 w 163"/>
                  <a:gd name="T17" fmla="*/ 27 h 205"/>
                  <a:gd name="T18" fmla="*/ 157 w 163"/>
                  <a:gd name="T19" fmla="*/ 5 h 205"/>
                  <a:gd name="T20" fmla="*/ 133 w 163"/>
                  <a:gd name="T21" fmla="*/ 7 h 205"/>
                  <a:gd name="T22" fmla="*/ 85 w 163"/>
                  <a:gd name="T23" fmla="*/ 15 h 205"/>
                  <a:gd name="T24" fmla="*/ 39 w 163"/>
                  <a:gd name="T25" fmla="*/ 3 h 205"/>
                  <a:gd name="T26" fmla="*/ 27 w 163"/>
                  <a:gd name="T27" fmla="*/ 9 h 205"/>
                  <a:gd name="T28" fmla="*/ 41 w 163"/>
                  <a:gd name="T29" fmla="*/ 23 h 205"/>
                  <a:gd name="T30" fmla="*/ 67 w 163"/>
                  <a:gd name="T31" fmla="*/ 47 h 205"/>
                  <a:gd name="T32" fmla="*/ 85 w 163"/>
                  <a:gd name="T33" fmla="*/ 53 h 205"/>
                  <a:gd name="T34" fmla="*/ 91 w 163"/>
                  <a:gd name="T35" fmla="*/ 55 h 205"/>
                  <a:gd name="T36" fmla="*/ 107 w 163"/>
                  <a:gd name="T37" fmla="*/ 69 h 205"/>
                  <a:gd name="T38" fmla="*/ 89 w 163"/>
                  <a:gd name="T39" fmla="*/ 81 h 205"/>
                  <a:gd name="T40" fmla="*/ 69 w 163"/>
                  <a:gd name="T41" fmla="*/ 101 h 205"/>
                  <a:gd name="T42" fmla="*/ 51 w 163"/>
                  <a:gd name="T43" fmla="*/ 107 h 205"/>
                  <a:gd name="T44" fmla="*/ 10 w 163"/>
                  <a:gd name="T45" fmla="*/ 122 h 205"/>
                  <a:gd name="T46" fmla="*/ 7 w 163"/>
                  <a:gd name="T47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3" h="205">
                    <a:moveTo>
                      <a:pt x="7" y="205"/>
                    </a:moveTo>
                    <a:cubicBezTo>
                      <a:pt x="14" y="198"/>
                      <a:pt x="27" y="182"/>
                      <a:pt x="35" y="179"/>
                    </a:cubicBezTo>
                    <a:cubicBezTo>
                      <a:pt x="40" y="172"/>
                      <a:pt x="48" y="166"/>
                      <a:pt x="55" y="161"/>
                    </a:cubicBezTo>
                    <a:cubicBezTo>
                      <a:pt x="58" y="152"/>
                      <a:pt x="67" y="150"/>
                      <a:pt x="75" y="145"/>
                    </a:cubicBezTo>
                    <a:cubicBezTo>
                      <a:pt x="79" y="142"/>
                      <a:pt x="87" y="137"/>
                      <a:pt x="87" y="137"/>
                    </a:cubicBezTo>
                    <a:cubicBezTo>
                      <a:pt x="96" y="123"/>
                      <a:pt x="109" y="112"/>
                      <a:pt x="119" y="97"/>
                    </a:cubicBezTo>
                    <a:cubicBezTo>
                      <a:pt x="124" y="90"/>
                      <a:pt x="122" y="80"/>
                      <a:pt x="127" y="73"/>
                    </a:cubicBezTo>
                    <a:cubicBezTo>
                      <a:pt x="134" y="63"/>
                      <a:pt x="138" y="52"/>
                      <a:pt x="147" y="43"/>
                    </a:cubicBezTo>
                    <a:cubicBezTo>
                      <a:pt x="150" y="35"/>
                      <a:pt x="155" y="34"/>
                      <a:pt x="159" y="27"/>
                    </a:cubicBezTo>
                    <a:cubicBezTo>
                      <a:pt x="158" y="20"/>
                      <a:pt x="163" y="9"/>
                      <a:pt x="157" y="5"/>
                    </a:cubicBezTo>
                    <a:cubicBezTo>
                      <a:pt x="151" y="0"/>
                      <a:pt x="141" y="6"/>
                      <a:pt x="133" y="7"/>
                    </a:cubicBezTo>
                    <a:cubicBezTo>
                      <a:pt x="115" y="10"/>
                      <a:pt x="107" y="13"/>
                      <a:pt x="85" y="15"/>
                    </a:cubicBezTo>
                    <a:cubicBezTo>
                      <a:pt x="53" y="36"/>
                      <a:pt x="57" y="9"/>
                      <a:pt x="39" y="3"/>
                    </a:cubicBezTo>
                    <a:cubicBezTo>
                      <a:pt x="36" y="4"/>
                      <a:pt x="28" y="6"/>
                      <a:pt x="27" y="9"/>
                    </a:cubicBezTo>
                    <a:cubicBezTo>
                      <a:pt x="25" y="15"/>
                      <a:pt x="41" y="23"/>
                      <a:pt x="41" y="23"/>
                    </a:cubicBezTo>
                    <a:cubicBezTo>
                      <a:pt x="48" y="34"/>
                      <a:pt x="55" y="42"/>
                      <a:pt x="67" y="47"/>
                    </a:cubicBezTo>
                    <a:cubicBezTo>
                      <a:pt x="73" y="50"/>
                      <a:pt x="79" y="51"/>
                      <a:pt x="85" y="53"/>
                    </a:cubicBezTo>
                    <a:cubicBezTo>
                      <a:pt x="87" y="54"/>
                      <a:pt x="91" y="55"/>
                      <a:pt x="91" y="55"/>
                    </a:cubicBezTo>
                    <a:cubicBezTo>
                      <a:pt x="94" y="65"/>
                      <a:pt x="101" y="60"/>
                      <a:pt x="107" y="69"/>
                    </a:cubicBezTo>
                    <a:cubicBezTo>
                      <a:pt x="99" y="72"/>
                      <a:pt x="96" y="77"/>
                      <a:pt x="89" y="81"/>
                    </a:cubicBezTo>
                    <a:cubicBezTo>
                      <a:pt x="84" y="88"/>
                      <a:pt x="76" y="96"/>
                      <a:pt x="69" y="101"/>
                    </a:cubicBezTo>
                    <a:cubicBezTo>
                      <a:pt x="63" y="106"/>
                      <a:pt x="60" y="104"/>
                      <a:pt x="51" y="107"/>
                    </a:cubicBezTo>
                    <a:cubicBezTo>
                      <a:pt x="41" y="110"/>
                      <a:pt x="17" y="106"/>
                      <a:pt x="10" y="122"/>
                    </a:cubicBezTo>
                    <a:cubicBezTo>
                      <a:pt x="0" y="139"/>
                      <a:pt x="4" y="195"/>
                      <a:pt x="7" y="20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4" name="Freeform 30">
                <a:extLst>
                  <a:ext uri="{FF2B5EF4-FFF2-40B4-BE49-F238E27FC236}">
                    <a16:creationId xmlns:a16="http://schemas.microsoft.com/office/drawing/2014/main" id="{E5382D76-0706-4613-B4AE-C214AC0A7C7A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gray">
              <a:xfrm>
                <a:off x="5045076" y="4090988"/>
                <a:ext cx="128588" cy="136525"/>
              </a:xfrm>
              <a:custGeom>
                <a:avLst/>
                <a:gdLst>
                  <a:gd name="T0" fmla="*/ 9 w 79"/>
                  <a:gd name="T1" fmla="*/ 13 h 86"/>
                  <a:gd name="T2" fmla="*/ 48 w 79"/>
                  <a:gd name="T3" fmla="*/ 6 h 86"/>
                  <a:gd name="T4" fmla="*/ 69 w 79"/>
                  <a:gd name="T5" fmla="*/ 1 h 86"/>
                  <a:gd name="T6" fmla="*/ 74 w 79"/>
                  <a:gd name="T7" fmla="*/ 25 h 86"/>
                  <a:gd name="T8" fmla="*/ 77 w 79"/>
                  <a:gd name="T9" fmla="*/ 46 h 86"/>
                  <a:gd name="T10" fmla="*/ 63 w 79"/>
                  <a:gd name="T11" fmla="*/ 60 h 86"/>
                  <a:gd name="T12" fmla="*/ 56 w 79"/>
                  <a:gd name="T13" fmla="*/ 81 h 86"/>
                  <a:gd name="T14" fmla="*/ 3 w 79"/>
                  <a:gd name="T15" fmla="*/ 78 h 86"/>
                  <a:gd name="T16" fmla="*/ 14 w 79"/>
                  <a:gd name="T17" fmla="*/ 40 h 86"/>
                  <a:gd name="T18" fmla="*/ 9 w 79"/>
                  <a:gd name="T19" fmla="*/ 13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86">
                    <a:moveTo>
                      <a:pt x="9" y="13"/>
                    </a:moveTo>
                    <a:cubicBezTo>
                      <a:pt x="21" y="4"/>
                      <a:pt x="27" y="7"/>
                      <a:pt x="48" y="6"/>
                    </a:cubicBezTo>
                    <a:cubicBezTo>
                      <a:pt x="54" y="3"/>
                      <a:pt x="62" y="0"/>
                      <a:pt x="69" y="1"/>
                    </a:cubicBezTo>
                    <a:cubicBezTo>
                      <a:pt x="73" y="8"/>
                      <a:pt x="70" y="18"/>
                      <a:pt x="74" y="25"/>
                    </a:cubicBezTo>
                    <a:cubicBezTo>
                      <a:pt x="75" y="32"/>
                      <a:pt x="79" y="41"/>
                      <a:pt x="77" y="46"/>
                    </a:cubicBezTo>
                    <a:cubicBezTo>
                      <a:pt x="75" y="52"/>
                      <a:pt x="66" y="54"/>
                      <a:pt x="63" y="60"/>
                    </a:cubicBezTo>
                    <a:cubicBezTo>
                      <a:pt x="59" y="67"/>
                      <a:pt x="63" y="79"/>
                      <a:pt x="56" y="81"/>
                    </a:cubicBezTo>
                    <a:cubicBezTo>
                      <a:pt x="39" y="86"/>
                      <a:pt x="3" y="78"/>
                      <a:pt x="3" y="78"/>
                    </a:cubicBezTo>
                    <a:cubicBezTo>
                      <a:pt x="0" y="64"/>
                      <a:pt x="2" y="49"/>
                      <a:pt x="14" y="40"/>
                    </a:cubicBezTo>
                    <a:cubicBezTo>
                      <a:pt x="18" y="31"/>
                      <a:pt x="14" y="20"/>
                      <a:pt x="9" y="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5" name="Freeform 32">
                <a:extLst>
                  <a:ext uri="{FF2B5EF4-FFF2-40B4-BE49-F238E27FC236}">
                    <a16:creationId xmlns:a16="http://schemas.microsoft.com/office/drawing/2014/main" id="{6B0353A7-EA53-485E-AC94-57934B6232F7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gray">
              <a:xfrm>
                <a:off x="4338638" y="3621088"/>
                <a:ext cx="382588" cy="290513"/>
              </a:xfrm>
              <a:custGeom>
                <a:avLst/>
                <a:gdLst>
                  <a:gd name="T0" fmla="*/ 219 w 237"/>
                  <a:gd name="T1" fmla="*/ 20 h 183"/>
                  <a:gd name="T2" fmla="*/ 201 w 237"/>
                  <a:gd name="T3" fmla="*/ 8 h 183"/>
                  <a:gd name="T4" fmla="*/ 183 w 237"/>
                  <a:gd name="T5" fmla="*/ 3 h 183"/>
                  <a:gd name="T6" fmla="*/ 156 w 237"/>
                  <a:gd name="T7" fmla="*/ 14 h 183"/>
                  <a:gd name="T8" fmla="*/ 134 w 237"/>
                  <a:gd name="T9" fmla="*/ 24 h 183"/>
                  <a:gd name="T10" fmla="*/ 120 w 237"/>
                  <a:gd name="T11" fmla="*/ 33 h 183"/>
                  <a:gd name="T12" fmla="*/ 111 w 237"/>
                  <a:gd name="T13" fmla="*/ 45 h 183"/>
                  <a:gd name="T14" fmla="*/ 102 w 237"/>
                  <a:gd name="T15" fmla="*/ 53 h 183"/>
                  <a:gd name="T16" fmla="*/ 77 w 237"/>
                  <a:gd name="T17" fmla="*/ 72 h 183"/>
                  <a:gd name="T18" fmla="*/ 57 w 237"/>
                  <a:gd name="T19" fmla="*/ 69 h 183"/>
                  <a:gd name="T20" fmla="*/ 59 w 237"/>
                  <a:gd name="T21" fmla="*/ 80 h 183"/>
                  <a:gd name="T22" fmla="*/ 60 w 237"/>
                  <a:gd name="T23" fmla="*/ 119 h 183"/>
                  <a:gd name="T24" fmla="*/ 44 w 237"/>
                  <a:gd name="T25" fmla="*/ 128 h 183"/>
                  <a:gd name="T26" fmla="*/ 26 w 237"/>
                  <a:gd name="T27" fmla="*/ 128 h 183"/>
                  <a:gd name="T28" fmla="*/ 0 w 237"/>
                  <a:gd name="T29" fmla="*/ 137 h 183"/>
                  <a:gd name="T30" fmla="*/ 6 w 237"/>
                  <a:gd name="T31" fmla="*/ 143 h 183"/>
                  <a:gd name="T32" fmla="*/ 11 w 237"/>
                  <a:gd name="T33" fmla="*/ 159 h 183"/>
                  <a:gd name="T34" fmla="*/ 29 w 237"/>
                  <a:gd name="T35" fmla="*/ 174 h 183"/>
                  <a:gd name="T36" fmla="*/ 47 w 237"/>
                  <a:gd name="T37" fmla="*/ 179 h 183"/>
                  <a:gd name="T38" fmla="*/ 51 w 237"/>
                  <a:gd name="T39" fmla="*/ 182 h 183"/>
                  <a:gd name="T40" fmla="*/ 54 w 237"/>
                  <a:gd name="T41" fmla="*/ 171 h 183"/>
                  <a:gd name="T42" fmla="*/ 69 w 237"/>
                  <a:gd name="T43" fmla="*/ 159 h 183"/>
                  <a:gd name="T44" fmla="*/ 89 w 237"/>
                  <a:gd name="T45" fmla="*/ 158 h 183"/>
                  <a:gd name="T46" fmla="*/ 128 w 237"/>
                  <a:gd name="T47" fmla="*/ 167 h 183"/>
                  <a:gd name="T48" fmla="*/ 146 w 237"/>
                  <a:gd name="T49" fmla="*/ 162 h 183"/>
                  <a:gd name="T50" fmla="*/ 162 w 237"/>
                  <a:gd name="T51" fmla="*/ 164 h 183"/>
                  <a:gd name="T52" fmla="*/ 173 w 237"/>
                  <a:gd name="T53" fmla="*/ 159 h 183"/>
                  <a:gd name="T54" fmla="*/ 177 w 237"/>
                  <a:gd name="T55" fmla="*/ 161 h 183"/>
                  <a:gd name="T56" fmla="*/ 192 w 237"/>
                  <a:gd name="T57" fmla="*/ 164 h 183"/>
                  <a:gd name="T58" fmla="*/ 200 w 237"/>
                  <a:gd name="T59" fmla="*/ 143 h 183"/>
                  <a:gd name="T60" fmla="*/ 209 w 237"/>
                  <a:gd name="T61" fmla="*/ 132 h 183"/>
                  <a:gd name="T62" fmla="*/ 215 w 237"/>
                  <a:gd name="T63" fmla="*/ 122 h 183"/>
                  <a:gd name="T64" fmla="*/ 224 w 237"/>
                  <a:gd name="T65" fmla="*/ 116 h 183"/>
                  <a:gd name="T66" fmla="*/ 230 w 237"/>
                  <a:gd name="T67" fmla="*/ 98 h 183"/>
                  <a:gd name="T68" fmla="*/ 237 w 237"/>
                  <a:gd name="T69" fmla="*/ 78 h 183"/>
                  <a:gd name="T70" fmla="*/ 233 w 237"/>
                  <a:gd name="T71" fmla="*/ 51 h 183"/>
                  <a:gd name="T72" fmla="*/ 222 w 237"/>
                  <a:gd name="T73" fmla="*/ 26 h 183"/>
                  <a:gd name="T74" fmla="*/ 219 w 237"/>
                  <a:gd name="T75" fmla="*/ 2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37" h="183">
                    <a:moveTo>
                      <a:pt x="219" y="20"/>
                    </a:moveTo>
                    <a:cubicBezTo>
                      <a:pt x="215" y="17"/>
                      <a:pt x="207" y="11"/>
                      <a:pt x="201" y="8"/>
                    </a:cubicBezTo>
                    <a:cubicBezTo>
                      <a:pt x="195" y="5"/>
                      <a:pt x="190" y="2"/>
                      <a:pt x="183" y="3"/>
                    </a:cubicBezTo>
                    <a:cubicBezTo>
                      <a:pt x="175" y="0"/>
                      <a:pt x="156" y="14"/>
                      <a:pt x="156" y="14"/>
                    </a:cubicBezTo>
                    <a:cubicBezTo>
                      <a:pt x="148" y="17"/>
                      <a:pt x="140" y="21"/>
                      <a:pt x="134" y="24"/>
                    </a:cubicBezTo>
                    <a:cubicBezTo>
                      <a:pt x="128" y="27"/>
                      <a:pt x="124" y="30"/>
                      <a:pt x="120" y="33"/>
                    </a:cubicBezTo>
                    <a:cubicBezTo>
                      <a:pt x="116" y="39"/>
                      <a:pt x="119" y="43"/>
                      <a:pt x="111" y="45"/>
                    </a:cubicBezTo>
                    <a:cubicBezTo>
                      <a:pt x="109" y="53"/>
                      <a:pt x="111" y="52"/>
                      <a:pt x="102" y="53"/>
                    </a:cubicBezTo>
                    <a:cubicBezTo>
                      <a:pt x="96" y="56"/>
                      <a:pt x="84" y="69"/>
                      <a:pt x="77" y="72"/>
                    </a:cubicBezTo>
                    <a:cubicBezTo>
                      <a:pt x="70" y="75"/>
                      <a:pt x="60" y="68"/>
                      <a:pt x="57" y="69"/>
                    </a:cubicBezTo>
                    <a:cubicBezTo>
                      <a:pt x="54" y="71"/>
                      <a:pt x="59" y="72"/>
                      <a:pt x="59" y="80"/>
                    </a:cubicBezTo>
                    <a:cubicBezTo>
                      <a:pt x="59" y="88"/>
                      <a:pt x="63" y="111"/>
                      <a:pt x="60" y="119"/>
                    </a:cubicBezTo>
                    <a:cubicBezTo>
                      <a:pt x="57" y="127"/>
                      <a:pt x="50" y="127"/>
                      <a:pt x="44" y="128"/>
                    </a:cubicBezTo>
                    <a:cubicBezTo>
                      <a:pt x="38" y="139"/>
                      <a:pt x="33" y="127"/>
                      <a:pt x="26" y="128"/>
                    </a:cubicBezTo>
                    <a:cubicBezTo>
                      <a:pt x="19" y="129"/>
                      <a:pt x="3" y="135"/>
                      <a:pt x="0" y="137"/>
                    </a:cubicBezTo>
                    <a:cubicBezTo>
                      <a:pt x="1" y="140"/>
                      <a:pt x="5" y="140"/>
                      <a:pt x="6" y="143"/>
                    </a:cubicBezTo>
                    <a:cubicBezTo>
                      <a:pt x="8" y="146"/>
                      <a:pt x="7" y="154"/>
                      <a:pt x="11" y="159"/>
                    </a:cubicBezTo>
                    <a:cubicBezTo>
                      <a:pt x="15" y="164"/>
                      <a:pt x="23" y="171"/>
                      <a:pt x="29" y="174"/>
                    </a:cubicBezTo>
                    <a:cubicBezTo>
                      <a:pt x="35" y="177"/>
                      <a:pt x="41" y="177"/>
                      <a:pt x="47" y="179"/>
                    </a:cubicBezTo>
                    <a:cubicBezTo>
                      <a:pt x="48" y="180"/>
                      <a:pt x="49" y="183"/>
                      <a:pt x="51" y="182"/>
                    </a:cubicBezTo>
                    <a:cubicBezTo>
                      <a:pt x="53" y="181"/>
                      <a:pt x="54" y="172"/>
                      <a:pt x="54" y="171"/>
                    </a:cubicBezTo>
                    <a:cubicBezTo>
                      <a:pt x="56" y="165"/>
                      <a:pt x="63" y="160"/>
                      <a:pt x="69" y="159"/>
                    </a:cubicBezTo>
                    <a:cubicBezTo>
                      <a:pt x="76" y="157"/>
                      <a:pt x="82" y="159"/>
                      <a:pt x="89" y="158"/>
                    </a:cubicBezTo>
                    <a:cubicBezTo>
                      <a:pt x="102" y="160"/>
                      <a:pt x="114" y="166"/>
                      <a:pt x="128" y="167"/>
                    </a:cubicBezTo>
                    <a:cubicBezTo>
                      <a:pt x="137" y="169"/>
                      <a:pt x="139" y="162"/>
                      <a:pt x="146" y="162"/>
                    </a:cubicBezTo>
                    <a:cubicBezTo>
                      <a:pt x="152" y="162"/>
                      <a:pt x="158" y="164"/>
                      <a:pt x="162" y="164"/>
                    </a:cubicBezTo>
                    <a:cubicBezTo>
                      <a:pt x="166" y="164"/>
                      <a:pt x="171" y="159"/>
                      <a:pt x="173" y="159"/>
                    </a:cubicBezTo>
                    <a:cubicBezTo>
                      <a:pt x="174" y="158"/>
                      <a:pt x="175" y="161"/>
                      <a:pt x="177" y="161"/>
                    </a:cubicBezTo>
                    <a:cubicBezTo>
                      <a:pt x="183" y="160"/>
                      <a:pt x="187" y="167"/>
                      <a:pt x="192" y="164"/>
                    </a:cubicBezTo>
                    <a:cubicBezTo>
                      <a:pt x="197" y="161"/>
                      <a:pt x="197" y="147"/>
                      <a:pt x="200" y="143"/>
                    </a:cubicBezTo>
                    <a:cubicBezTo>
                      <a:pt x="202" y="135"/>
                      <a:pt x="205" y="139"/>
                      <a:pt x="209" y="132"/>
                    </a:cubicBezTo>
                    <a:cubicBezTo>
                      <a:pt x="211" y="128"/>
                      <a:pt x="213" y="125"/>
                      <a:pt x="215" y="122"/>
                    </a:cubicBezTo>
                    <a:cubicBezTo>
                      <a:pt x="217" y="119"/>
                      <a:pt x="221" y="120"/>
                      <a:pt x="224" y="116"/>
                    </a:cubicBezTo>
                    <a:cubicBezTo>
                      <a:pt x="225" y="110"/>
                      <a:pt x="227" y="104"/>
                      <a:pt x="230" y="98"/>
                    </a:cubicBezTo>
                    <a:cubicBezTo>
                      <a:pt x="231" y="92"/>
                      <a:pt x="237" y="86"/>
                      <a:pt x="237" y="78"/>
                    </a:cubicBezTo>
                    <a:cubicBezTo>
                      <a:pt x="237" y="70"/>
                      <a:pt x="235" y="60"/>
                      <a:pt x="233" y="51"/>
                    </a:cubicBezTo>
                    <a:cubicBezTo>
                      <a:pt x="231" y="42"/>
                      <a:pt x="224" y="31"/>
                      <a:pt x="222" y="26"/>
                    </a:cubicBezTo>
                    <a:cubicBezTo>
                      <a:pt x="221" y="21"/>
                      <a:pt x="205" y="6"/>
                      <a:pt x="219" y="2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6" name="Freeform 33">
                <a:extLst>
                  <a:ext uri="{FF2B5EF4-FFF2-40B4-BE49-F238E27FC236}">
                    <a16:creationId xmlns:a16="http://schemas.microsoft.com/office/drawing/2014/main" id="{264AAD85-D09D-4BAF-9457-B16848C28F7D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gray">
              <a:xfrm>
                <a:off x="4340226" y="3897313"/>
                <a:ext cx="88900" cy="155575"/>
              </a:xfrm>
              <a:custGeom>
                <a:avLst/>
                <a:gdLst>
                  <a:gd name="T0" fmla="*/ 32 w 55"/>
                  <a:gd name="T1" fmla="*/ 4 h 98"/>
                  <a:gd name="T2" fmla="*/ 26 w 55"/>
                  <a:gd name="T3" fmla="*/ 12 h 98"/>
                  <a:gd name="T4" fmla="*/ 18 w 55"/>
                  <a:gd name="T5" fmla="*/ 18 h 98"/>
                  <a:gd name="T6" fmla="*/ 18 w 55"/>
                  <a:gd name="T7" fmla="*/ 34 h 98"/>
                  <a:gd name="T8" fmla="*/ 34 w 55"/>
                  <a:gd name="T9" fmla="*/ 92 h 98"/>
                  <a:gd name="T10" fmla="*/ 52 w 55"/>
                  <a:gd name="T11" fmla="*/ 36 h 98"/>
                  <a:gd name="T12" fmla="*/ 50 w 55"/>
                  <a:gd name="T13" fmla="*/ 18 h 98"/>
                  <a:gd name="T14" fmla="*/ 43 w 55"/>
                  <a:gd name="T15" fmla="*/ 7 h 98"/>
                  <a:gd name="T16" fmla="*/ 32 w 55"/>
                  <a:gd name="T17" fmla="*/ 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98">
                    <a:moveTo>
                      <a:pt x="32" y="4"/>
                    </a:moveTo>
                    <a:cubicBezTo>
                      <a:pt x="28" y="0"/>
                      <a:pt x="28" y="10"/>
                      <a:pt x="26" y="12"/>
                    </a:cubicBezTo>
                    <a:cubicBezTo>
                      <a:pt x="24" y="14"/>
                      <a:pt x="19" y="14"/>
                      <a:pt x="18" y="18"/>
                    </a:cubicBezTo>
                    <a:cubicBezTo>
                      <a:pt x="13" y="26"/>
                      <a:pt x="9" y="28"/>
                      <a:pt x="18" y="34"/>
                    </a:cubicBezTo>
                    <a:cubicBezTo>
                      <a:pt x="27" y="60"/>
                      <a:pt x="0" y="98"/>
                      <a:pt x="34" y="92"/>
                    </a:cubicBezTo>
                    <a:cubicBezTo>
                      <a:pt x="45" y="60"/>
                      <a:pt x="34" y="63"/>
                      <a:pt x="52" y="36"/>
                    </a:cubicBezTo>
                    <a:cubicBezTo>
                      <a:pt x="55" y="24"/>
                      <a:pt x="51" y="23"/>
                      <a:pt x="50" y="18"/>
                    </a:cubicBezTo>
                    <a:cubicBezTo>
                      <a:pt x="49" y="13"/>
                      <a:pt x="46" y="9"/>
                      <a:pt x="43" y="7"/>
                    </a:cubicBezTo>
                    <a:cubicBezTo>
                      <a:pt x="40" y="5"/>
                      <a:pt x="35" y="3"/>
                      <a:pt x="32" y="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7" name="Freeform 34">
                <a:extLst>
                  <a:ext uri="{FF2B5EF4-FFF2-40B4-BE49-F238E27FC236}">
                    <a16:creationId xmlns:a16="http://schemas.microsoft.com/office/drawing/2014/main" id="{04E9265F-D0BF-44D2-AB61-6AD864827A01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gray">
              <a:xfrm>
                <a:off x="4327526" y="3929063"/>
                <a:ext cx="46038" cy="123825"/>
              </a:xfrm>
              <a:custGeom>
                <a:avLst/>
                <a:gdLst>
                  <a:gd name="T0" fmla="*/ 18 w 28"/>
                  <a:gd name="T1" fmla="*/ 0 h 78"/>
                  <a:gd name="T2" fmla="*/ 0 w 28"/>
                  <a:gd name="T3" fmla="*/ 21 h 78"/>
                  <a:gd name="T4" fmla="*/ 10 w 28"/>
                  <a:gd name="T5" fmla="*/ 50 h 78"/>
                  <a:gd name="T6" fmla="*/ 10 w 28"/>
                  <a:gd name="T7" fmla="*/ 63 h 78"/>
                  <a:gd name="T8" fmla="*/ 16 w 28"/>
                  <a:gd name="T9" fmla="*/ 76 h 78"/>
                  <a:gd name="T10" fmla="*/ 24 w 28"/>
                  <a:gd name="T11" fmla="*/ 74 h 78"/>
                  <a:gd name="T12" fmla="*/ 27 w 28"/>
                  <a:gd name="T13" fmla="*/ 24 h 78"/>
                  <a:gd name="T14" fmla="*/ 18 w 28"/>
                  <a:gd name="T1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78">
                    <a:moveTo>
                      <a:pt x="18" y="0"/>
                    </a:moveTo>
                    <a:cubicBezTo>
                      <a:pt x="7" y="4"/>
                      <a:pt x="3" y="11"/>
                      <a:pt x="0" y="21"/>
                    </a:cubicBezTo>
                    <a:cubicBezTo>
                      <a:pt x="1" y="30"/>
                      <a:pt x="8" y="41"/>
                      <a:pt x="10" y="50"/>
                    </a:cubicBezTo>
                    <a:cubicBezTo>
                      <a:pt x="11" y="54"/>
                      <a:pt x="10" y="63"/>
                      <a:pt x="10" y="63"/>
                    </a:cubicBezTo>
                    <a:cubicBezTo>
                      <a:pt x="11" y="68"/>
                      <a:pt x="13" y="72"/>
                      <a:pt x="16" y="76"/>
                    </a:cubicBezTo>
                    <a:cubicBezTo>
                      <a:pt x="18" y="78"/>
                      <a:pt x="24" y="77"/>
                      <a:pt x="24" y="74"/>
                    </a:cubicBezTo>
                    <a:cubicBezTo>
                      <a:pt x="24" y="65"/>
                      <a:pt x="28" y="36"/>
                      <a:pt x="27" y="24"/>
                    </a:cubicBezTo>
                    <a:cubicBezTo>
                      <a:pt x="26" y="12"/>
                      <a:pt x="20" y="5"/>
                      <a:pt x="18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68" name="Freeform 35">
                <a:extLst>
                  <a:ext uri="{FF2B5EF4-FFF2-40B4-BE49-F238E27FC236}">
                    <a16:creationId xmlns:a16="http://schemas.microsoft.com/office/drawing/2014/main" id="{62385DDB-A3C0-48D7-B1A0-90F39462A7C1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gray">
              <a:xfrm>
                <a:off x="4005263" y="3935413"/>
                <a:ext cx="76200" cy="85725"/>
              </a:xfrm>
              <a:custGeom>
                <a:avLst/>
                <a:gdLst>
                  <a:gd name="T0" fmla="*/ 16 w 47"/>
                  <a:gd name="T1" fmla="*/ 18 h 54"/>
                  <a:gd name="T2" fmla="*/ 12 w 47"/>
                  <a:gd name="T3" fmla="*/ 50 h 54"/>
                  <a:gd name="T4" fmla="*/ 26 w 47"/>
                  <a:gd name="T5" fmla="*/ 54 h 54"/>
                  <a:gd name="T6" fmla="*/ 44 w 47"/>
                  <a:gd name="T7" fmla="*/ 46 h 54"/>
                  <a:gd name="T8" fmla="*/ 44 w 47"/>
                  <a:gd name="T9" fmla="*/ 30 h 54"/>
                  <a:gd name="T10" fmla="*/ 39 w 47"/>
                  <a:gd name="T11" fmla="*/ 9 h 54"/>
                  <a:gd name="T12" fmla="*/ 16 w 47"/>
                  <a:gd name="T13" fmla="*/ 1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54">
                    <a:moveTo>
                      <a:pt x="16" y="18"/>
                    </a:moveTo>
                    <a:cubicBezTo>
                      <a:pt x="3" y="22"/>
                      <a:pt x="0" y="42"/>
                      <a:pt x="12" y="50"/>
                    </a:cubicBezTo>
                    <a:cubicBezTo>
                      <a:pt x="16" y="53"/>
                      <a:pt x="21" y="52"/>
                      <a:pt x="26" y="54"/>
                    </a:cubicBezTo>
                    <a:cubicBezTo>
                      <a:pt x="40" y="49"/>
                      <a:pt x="34" y="52"/>
                      <a:pt x="44" y="46"/>
                    </a:cubicBezTo>
                    <a:cubicBezTo>
                      <a:pt x="47" y="42"/>
                      <a:pt x="45" y="36"/>
                      <a:pt x="44" y="30"/>
                    </a:cubicBezTo>
                    <a:cubicBezTo>
                      <a:pt x="43" y="24"/>
                      <a:pt x="44" y="11"/>
                      <a:pt x="39" y="9"/>
                    </a:cubicBezTo>
                    <a:cubicBezTo>
                      <a:pt x="36" y="0"/>
                      <a:pt x="25" y="15"/>
                      <a:pt x="16" y="1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0" name="Freeform 36">
                <a:extLst>
                  <a:ext uri="{FF2B5EF4-FFF2-40B4-BE49-F238E27FC236}">
                    <a16:creationId xmlns:a16="http://schemas.microsoft.com/office/drawing/2014/main" id="{5BF9922C-F93C-480D-B1C4-6F3655900EEB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gray">
              <a:xfrm>
                <a:off x="3962401" y="3890963"/>
                <a:ext cx="187325" cy="125413"/>
              </a:xfrm>
              <a:custGeom>
                <a:avLst/>
                <a:gdLst>
                  <a:gd name="T0" fmla="*/ 28 w 116"/>
                  <a:gd name="T1" fmla="*/ 48 h 79"/>
                  <a:gd name="T2" fmla="*/ 6 w 116"/>
                  <a:gd name="T3" fmla="*/ 30 h 79"/>
                  <a:gd name="T4" fmla="*/ 6 w 116"/>
                  <a:gd name="T5" fmla="*/ 24 h 79"/>
                  <a:gd name="T6" fmla="*/ 17 w 116"/>
                  <a:gd name="T7" fmla="*/ 15 h 79"/>
                  <a:gd name="T8" fmla="*/ 30 w 116"/>
                  <a:gd name="T9" fmla="*/ 2 h 79"/>
                  <a:gd name="T10" fmla="*/ 49 w 116"/>
                  <a:gd name="T11" fmla="*/ 7 h 79"/>
                  <a:gd name="T12" fmla="*/ 76 w 116"/>
                  <a:gd name="T13" fmla="*/ 10 h 79"/>
                  <a:gd name="T14" fmla="*/ 102 w 116"/>
                  <a:gd name="T15" fmla="*/ 26 h 79"/>
                  <a:gd name="T16" fmla="*/ 110 w 116"/>
                  <a:gd name="T17" fmla="*/ 38 h 79"/>
                  <a:gd name="T18" fmla="*/ 112 w 116"/>
                  <a:gd name="T19" fmla="*/ 56 h 79"/>
                  <a:gd name="T20" fmla="*/ 113 w 116"/>
                  <a:gd name="T21" fmla="*/ 76 h 79"/>
                  <a:gd name="T22" fmla="*/ 91 w 116"/>
                  <a:gd name="T23" fmla="*/ 79 h 79"/>
                  <a:gd name="T24" fmla="*/ 72 w 116"/>
                  <a:gd name="T25" fmla="*/ 68 h 79"/>
                  <a:gd name="T26" fmla="*/ 69 w 116"/>
                  <a:gd name="T27" fmla="*/ 58 h 79"/>
                  <a:gd name="T28" fmla="*/ 68 w 116"/>
                  <a:gd name="T29" fmla="*/ 49 h 79"/>
                  <a:gd name="T30" fmla="*/ 65 w 116"/>
                  <a:gd name="T31" fmla="*/ 39 h 79"/>
                  <a:gd name="T32" fmla="*/ 46 w 116"/>
                  <a:gd name="T33" fmla="*/ 40 h 79"/>
                  <a:gd name="T34" fmla="*/ 38 w 116"/>
                  <a:gd name="T35" fmla="*/ 46 h 79"/>
                  <a:gd name="T36" fmla="*/ 28 w 116"/>
                  <a:gd name="T37" fmla="*/ 4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6" h="79">
                    <a:moveTo>
                      <a:pt x="28" y="48"/>
                    </a:moveTo>
                    <a:cubicBezTo>
                      <a:pt x="25" y="31"/>
                      <a:pt x="23" y="32"/>
                      <a:pt x="6" y="30"/>
                    </a:cubicBezTo>
                    <a:cubicBezTo>
                      <a:pt x="0" y="24"/>
                      <a:pt x="11" y="31"/>
                      <a:pt x="6" y="24"/>
                    </a:cubicBezTo>
                    <a:cubicBezTo>
                      <a:pt x="7" y="21"/>
                      <a:pt x="13" y="19"/>
                      <a:pt x="17" y="15"/>
                    </a:cubicBezTo>
                    <a:cubicBezTo>
                      <a:pt x="21" y="11"/>
                      <a:pt x="25" y="3"/>
                      <a:pt x="30" y="2"/>
                    </a:cubicBezTo>
                    <a:cubicBezTo>
                      <a:pt x="35" y="0"/>
                      <a:pt x="41" y="6"/>
                      <a:pt x="49" y="7"/>
                    </a:cubicBezTo>
                    <a:cubicBezTo>
                      <a:pt x="57" y="8"/>
                      <a:pt x="67" y="7"/>
                      <a:pt x="76" y="10"/>
                    </a:cubicBezTo>
                    <a:cubicBezTo>
                      <a:pt x="85" y="13"/>
                      <a:pt x="96" y="21"/>
                      <a:pt x="102" y="26"/>
                    </a:cubicBezTo>
                    <a:cubicBezTo>
                      <a:pt x="104" y="30"/>
                      <a:pt x="110" y="38"/>
                      <a:pt x="110" y="38"/>
                    </a:cubicBezTo>
                    <a:cubicBezTo>
                      <a:pt x="108" y="44"/>
                      <a:pt x="112" y="56"/>
                      <a:pt x="112" y="56"/>
                    </a:cubicBezTo>
                    <a:cubicBezTo>
                      <a:pt x="111" y="61"/>
                      <a:pt x="116" y="72"/>
                      <a:pt x="113" y="76"/>
                    </a:cubicBezTo>
                    <a:cubicBezTo>
                      <a:pt x="111" y="79"/>
                      <a:pt x="91" y="79"/>
                      <a:pt x="91" y="79"/>
                    </a:cubicBezTo>
                    <a:cubicBezTo>
                      <a:pt x="79" y="77"/>
                      <a:pt x="82" y="71"/>
                      <a:pt x="72" y="68"/>
                    </a:cubicBezTo>
                    <a:cubicBezTo>
                      <a:pt x="68" y="65"/>
                      <a:pt x="71" y="63"/>
                      <a:pt x="69" y="58"/>
                    </a:cubicBezTo>
                    <a:cubicBezTo>
                      <a:pt x="68" y="55"/>
                      <a:pt x="69" y="52"/>
                      <a:pt x="68" y="49"/>
                    </a:cubicBezTo>
                    <a:cubicBezTo>
                      <a:pt x="67" y="46"/>
                      <a:pt x="69" y="41"/>
                      <a:pt x="65" y="39"/>
                    </a:cubicBezTo>
                    <a:cubicBezTo>
                      <a:pt x="61" y="35"/>
                      <a:pt x="50" y="39"/>
                      <a:pt x="46" y="40"/>
                    </a:cubicBezTo>
                    <a:cubicBezTo>
                      <a:pt x="42" y="41"/>
                      <a:pt x="41" y="45"/>
                      <a:pt x="38" y="46"/>
                    </a:cubicBezTo>
                    <a:cubicBezTo>
                      <a:pt x="33" y="53"/>
                      <a:pt x="32" y="52"/>
                      <a:pt x="28" y="4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1" name="Freeform 37">
                <a:extLst>
                  <a:ext uri="{FF2B5EF4-FFF2-40B4-BE49-F238E27FC236}">
                    <a16:creationId xmlns:a16="http://schemas.microsoft.com/office/drawing/2014/main" id="{FC8C1B5F-6B70-41EA-92EF-27613E097D0E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gray">
              <a:xfrm>
                <a:off x="4205288" y="3835400"/>
                <a:ext cx="184150" cy="127000"/>
              </a:xfrm>
              <a:custGeom>
                <a:avLst/>
                <a:gdLst>
                  <a:gd name="T0" fmla="*/ 77 w 114"/>
                  <a:gd name="T1" fmla="*/ 0 h 80"/>
                  <a:gd name="T2" fmla="*/ 34 w 114"/>
                  <a:gd name="T3" fmla="*/ 13 h 80"/>
                  <a:gd name="T4" fmla="*/ 18 w 114"/>
                  <a:gd name="T5" fmla="*/ 27 h 80"/>
                  <a:gd name="T6" fmla="*/ 0 w 114"/>
                  <a:gd name="T7" fmla="*/ 55 h 80"/>
                  <a:gd name="T8" fmla="*/ 12 w 114"/>
                  <a:gd name="T9" fmla="*/ 77 h 80"/>
                  <a:gd name="T10" fmla="*/ 24 w 114"/>
                  <a:gd name="T11" fmla="*/ 75 h 80"/>
                  <a:gd name="T12" fmla="*/ 40 w 114"/>
                  <a:gd name="T13" fmla="*/ 63 h 80"/>
                  <a:gd name="T14" fmla="*/ 80 w 114"/>
                  <a:gd name="T15" fmla="*/ 61 h 80"/>
                  <a:gd name="T16" fmla="*/ 110 w 114"/>
                  <a:gd name="T17" fmla="*/ 55 h 80"/>
                  <a:gd name="T18" fmla="*/ 100 w 114"/>
                  <a:gd name="T19" fmla="*/ 31 h 80"/>
                  <a:gd name="T20" fmla="*/ 86 w 114"/>
                  <a:gd name="T21" fmla="*/ 9 h 80"/>
                  <a:gd name="T22" fmla="*/ 77 w 114"/>
                  <a:gd name="T2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4" h="80">
                    <a:moveTo>
                      <a:pt x="77" y="0"/>
                    </a:moveTo>
                    <a:cubicBezTo>
                      <a:pt x="58" y="2"/>
                      <a:pt x="54" y="11"/>
                      <a:pt x="34" y="13"/>
                    </a:cubicBezTo>
                    <a:cubicBezTo>
                      <a:pt x="31" y="26"/>
                      <a:pt x="30" y="24"/>
                      <a:pt x="18" y="27"/>
                    </a:cubicBezTo>
                    <a:cubicBezTo>
                      <a:pt x="7" y="35"/>
                      <a:pt x="12" y="51"/>
                      <a:pt x="0" y="55"/>
                    </a:cubicBezTo>
                    <a:cubicBezTo>
                      <a:pt x="2" y="67"/>
                      <a:pt x="0" y="73"/>
                      <a:pt x="12" y="77"/>
                    </a:cubicBezTo>
                    <a:cubicBezTo>
                      <a:pt x="15" y="80"/>
                      <a:pt x="19" y="77"/>
                      <a:pt x="24" y="75"/>
                    </a:cubicBezTo>
                    <a:cubicBezTo>
                      <a:pt x="29" y="73"/>
                      <a:pt x="31" y="65"/>
                      <a:pt x="40" y="63"/>
                    </a:cubicBezTo>
                    <a:cubicBezTo>
                      <a:pt x="53" y="62"/>
                      <a:pt x="67" y="62"/>
                      <a:pt x="80" y="61"/>
                    </a:cubicBezTo>
                    <a:cubicBezTo>
                      <a:pt x="98" y="55"/>
                      <a:pt x="88" y="57"/>
                      <a:pt x="110" y="55"/>
                    </a:cubicBezTo>
                    <a:cubicBezTo>
                      <a:pt x="114" y="44"/>
                      <a:pt x="111" y="35"/>
                      <a:pt x="100" y="31"/>
                    </a:cubicBezTo>
                    <a:cubicBezTo>
                      <a:pt x="94" y="22"/>
                      <a:pt x="95" y="15"/>
                      <a:pt x="86" y="9"/>
                    </a:cubicBezTo>
                    <a:cubicBezTo>
                      <a:pt x="81" y="2"/>
                      <a:pt x="71" y="0"/>
                      <a:pt x="77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2" name="Freeform 38">
                <a:extLst>
                  <a:ext uri="{FF2B5EF4-FFF2-40B4-BE49-F238E27FC236}">
                    <a16:creationId xmlns:a16="http://schemas.microsoft.com/office/drawing/2014/main" id="{834E0BF0-62A7-4915-9613-E78EDAC7B20F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gray">
              <a:xfrm>
                <a:off x="5357813" y="3749675"/>
                <a:ext cx="244475" cy="144463"/>
              </a:xfrm>
              <a:custGeom>
                <a:avLst/>
                <a:gdLst>
                  <a:gd name="T0" fmla="*/ 3 w 151"/>
                  <a:gd name="T1" fmla="*/ 27 h 91"/>
                  <a:gd name="T2" fmla="*/ 17 w 151"/>
                  <a:gd name="T3" fmla="*/ 69 h 91"/>
                  <a:gd name="T4" fmla="*/ 39 w 151"/>
                  <a:gd name="T5" fmla="*/ 89 h 91"/>
                  <a:gd name="T6" fmla="*/ 52 w 151"/>
                  <a:gd name="T7" fmla="*/ 84 h 91"/>
                  <a:gd name="T8" fmla="*/ 84 w 151"/>
                  <a:gd name="T9" fmla="*/ 71 h 91"/>
                  <a:gd name="T10" fmla="*/ 108 w 151"/>
                  <a:gd name="T11" fmla="*/ 60 h 91"/>
                  <a:gd name="T12" fmla="*/ 129 w 151"/>
                  <a:gd name="T13" fmla="*/ 53 h 91"/>
                  <a:gd name="T14" fmla="*/ 138 w 151"/>
                  <a:gd name="T15" fmla="*/ 41 h 91"/>
                  <a:gd name="T16" fmla="*/ 148 w 151"/>
                  <a:gd name="T17" fmla="*/ 24 h 91"/>
                  <a:gd name="T18" fmla="*/ 129 w 151"/>
                  <a:gd name="T19" fmla="*/ 0 h 91"/>
                  <a:gd name="T20" fmla="*/ 115 w 151"/>
                  <a:gd name="T21" fmla="*/ 2 h 91"/>
                  <a:gd name="T22" fmla="*/ 88 w 151"/>
                  <a:gd name="T23" fmla="*/ 3 h 91"/>
                  <a:gd name="T24" fmla="*/ 73 w 151"/>
                  <a:gd name="T25" fmla="*/ 6 h 91"/>
                  <a:gd name="T26" fmla="*/ 54 w 151"/>
                  <a:gd name="T27" fmla="*/ 41 h 91"/>
                  <a:gd name="T28" fmla="*/ 40 w 151"/>
                  <a:gd name="T29" fmla="*/ 33 h 91"/>
                  <a:gd name="T30" fmla="*/ 22 w 151"/>
                  <a:gd name="T31" fmla="*/ 26 h 91"/>
                  <a:gd name="T32" fmla="*/ 10 w 151"/>
                  <a:gd name="T33" fmla="*/ 24 h 91"/>
                  <a:gd name="T34" fmla="*/ 3 w 151"/>
                  <a:gd name="T35" fmla="*/ 27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1" h="91">
                    <a:moveTo>
                      <a:pt x="3" y="27"/>
                    </a:moveTo>
                    <a:cubicBezTo>
                      <a:pt x="0" y="42"/>
                      <a:pt x="12" y="55"/>
                      <a:pt x="17" y="69"/>
                    </a:cubicBezTo>
                    <a:cubicBezTo>
                      <a:pt x="17" y="79"/>
                      <a:pt x="33" y="87"/>
                      <a:pt x="39" y="89"/>
                    </a:cubicBezTo>
                    <a:cubicBezTo>
                      <a:pt x="45" y="91"/>
                      <a:pt x="45" y="87"/>
                      <a:pt x="52" y="84"/>
                    </a:cubicBezTo>
                    <a:cubicBezTo>
                      <a:pt x="68" y="74"/>
                      <a:pt x="60" y="76"/>
                      <a:pt x="84" y="71"/>
                    </a:cubicBezTo>
                    <a:cubicBezTo>
                      <a:pt x="90" y="61"/>
                      <a:pt x="97" y="62"/>
                      <a:pt x="108" y="60"/>
                    </a:cubicBezTo>
                    <a:cubicBezTo>
                      <a:pt x="114" y="56"/>
                      <a:pt x="122" y="54"/>
                      <a:pt x="129" y="53"/>
                    </a:cubicBezTo>
                    <a:cubicBezTo>
                      <a:pt x="134" y="49"/>
                      <a:pt x="135" y="46"/>
                      <a:pt x="138" y="41"/>
                    </a:cubicBezTo>
                    <a:cubicBezTo>
                      <a:pt x="140" y="31"/>
                      <a:pt x="151" y="35"/>
                      <a:pt x="148" y="24"/>
                    </a:cubicBezTo>
                    <a:cubicBezTo>
                      <a:pt x="147" y="14"/>
                      <a:pt x="139" y="5"/>
                      <a:pt x="129" y="0"/>
                    </a:cubicBezTo>
                    <a:cubicBezTo>
                      <a:pt x="124" y="1"/>
                      <a:pt x="120" y="2"/>
                      <a:pt x="115" y="2"/>
                    </a:cubicBezTo>
                    <a:cubicBezTo>
                      <a:pt x="106" y="3"/>
                      <a:pt x="97" y="2"/>
                      <a:pt x="88" y="3"/>
                    </a:cubicBezTo>
                    <a:cubicBezTo>
                      <a:pt x="83" y="3"/>
                      <a:pt x="73" y="6"/>
                      <a:pt x="73" y="6"/>
                    </a:cubicBezTo>
                    <a:cubicBezTo>
                      <a:pt x="67" y="16"/>
                      <a:pt x="64" y="33"/>
                      <a:pt x="54" y="41"/>
                    </a:cubicBezTo>
                    <a:cubicBezTo>
                      <a:pt x="48" y="40"/>
                      <a:pt x="45" y="35"/>
                      <a:pt x="40" y="33"/>
                    </a:cubicBezTo>
                    <a:cubicBezTo>
                      <a:pt x="36" y="32"/>
                      <a:pt x="22" y="26"/>
                      <a:pt x="22" y="26"/>
                    </a:cubicBezTo>
                    <a:cubicBezTo>
                      <a:pt x="17" y="17"/>
                      <a:pt x="19" y="22"/>
                      <a:pt x="10" y="24"/>
                    </a:cubicBezTo>
                    <a:cubicBezTo>
                      <a:pt x="5" y="26"/>
                      <a:pt x="7" y="26"/>
                      <a:pt x="3" y="2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3" name="Freeform 39">
                <a:extLst>
                  <a:ext uri="{FF2B5EF4-FFF2-40B4-BE49-F238E27FC236}">
                    <a16:creationId xmlns:a16="http://schemas.microsoft.com/office/drawing/2014/main" id="{8200BCE7-969D-4F20-B6E5-26177400ECAE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gray">
              <a:xfrm>
                <a:off x="5199063" y="3762375"/>
                <a:ext cx="168275" cy="165100"/>
              </a:xfrm>
              <a:custGeom>
                <a:avLst/>
                <a:gdLst>
                  <a:gd name="T0" fmla="*/ 31 w 106"/>
                  <a:gd name="T1" fmla="*/ 0 h 104"/>
                  <a:gd name="T2" fmla="*/ 55 w 106"/>
                  <a:gd name="T3" fmla="*/ 18 h 104"/>
                  <a:gd name="T4" fmla="*/ 87 w 106"/>
                  <a:gd name="T5" fmla="*/ 46 h 104"/>
                  <a:gd name="T6" fmla="*/ 105 w 106"/>
                  <a:gd name="T7" fmla="*/ 96 h 104"/>
                  <a:gd name="T8" fmla="*/ 90 w 106"/>
                  <a:gd name="T9" fmla="*/ 100 h 104"/>
                  <a:gd name="T10" fmla="*/ 80 w 106"/>
                  <a:gd name="T11" fmla="*/ 91 h 104"/>
                  <a:gd name="T12" fmla="*/ 83 w 106"/>
                  <a:gd name="T13" fmla="*/ 78 h 104"/>
                  <a:gd name="T14" fmla="*/ 77 w 106"/>
                  <a:gd name="T15" fmla="*/ 54 h 104"/>
                  <a:gd name="T16" fmla="*/ 12 w 106"/>
                  <a:gd name="T17" fmla="*/ 54 h 104"/>
                  <a:gd name="T18" fmla="*/ 7 w 106"/>
                  <a:gd name="T19" fmla="*/ 30 h 104"/>
                  <a:gd name="T20" fmla="*/ 31 w 106"/>
                  <a:gd name="T21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104">
                    <a:moveTo>
                      <a:pt x="31" y="0"/>
                    </a:moveTo>
                    <a:cubicBezTo>
                      <a:pt x="52" y="2"/>
                      <a:pt x="35" y="13"/>
                      <a:pt x="55" y="18"/>
                    </a:cubicBezTo>
                    <a:cubicBezTo>
                      <a:pt x="62" y="26"/>
                      <a:pt x="80" y="36"/>
                      <a:pt x="87" y="46"/>
                    </a:cubicBezTo>
                    <a:cubicBezTo>
                      <a:pt x="95" y="59"/>
                      <a:pt x="104" y="87"/>
                      <a:pt x="105" y="96"/>
                    </a:cubicBezTo>
                    <a:cubicBezTo>
                      <a:pt x="106" y="104"/>
                      <a:pt x="94" y="101"/>
                      <a:pt x="90" y="100"/>
                    </a:cubicBezTo>
                    <a:cubicBezTo>
                      <a:pt x="86" y="99"/>
                      <a:pt x="81" y="95"/>
                      <a:pt x="80" y="91"/>
                    </a:cubicBezTo>
                    <a:cubicBezTo>
                      <a:pt x="79" y="87"/>
                      <a:pt x="83" y="84"/>
                      <a:pt x="83" y="78"/>
                    </a:cubicBezTo>
                    <a:cubicBezTo>
                      <a:pt x="83" y="72"/>
                      <a:pt x="89" y="58"/>
                      <a:pt x="77" y="54"/>
                    </a:cubicBezTo>
                    <a:cubicBezTo>
                      <a:pt x="56" y="65"/>
                      <a:pt x="36" y="59"/>
                      <a:pt x="12" y="54"/>
                    </a:cubicBezTo>
                    <a:cubicBezTo>
                      <a:pt x="0" y="51"/>
                      <a:pt x="4" y="39"/>
                      <a:pt x="7" y="30"/>
                    </a:cubicBezTo>
                    <a:cubicBezTo>
                      <a:pt x="10" y="21"/>
                      <a:pt x="26" y="6"/>
                      <a:pt x="31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4" name="Freeform 40">
                <a:extLst>
                  <a:ext uri="{FF2B5EF4-FFF2-40B4-BE49-F238E27FC236}">
                    <a16:creationId xmlns:a16="http://schemas.microsoft.com/office/drawing/2014/main" id="{A65B0C1F-1C03-4E89-9B90-CCF113406867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gray">
              <a:xfrm>
                <a:off x="3933826" y="3544888"/>
                <a:ext cx="293688" cy="301625"/>
              </a:xfrm>
              <a:custGeom>
                <a:avLst/>
                <a:gdLst>
                  <a:gd name="T0" fmla="*/ 176 w 182"/>
                  <a:gd name="T1" fmla="*/ 26 h 190"/>
                  <a:gd name="T2" fmla="*/ 156 w 182"/>
                  <a:gd name="T3" fmla="*/ 28 h 190"/>
                  <a:gd name="T4" fmla="*/ 156 w 182"/>
                  <a:gd name="T5" fmla="*/ 82 h 190"/>
                  <a:gd name="T6" fmla="*/ 166 w 182"/>
                  <a:gd name="T7" fmla="*/ 174 h 190"/>
                  <a:gd name="T8" fmla="*/ 62 w 182"/>
                  <a:gd name="T9" fmla="*/ 178 h 190"/>
                  <a:gd name="T10" fmla="*/ 29 w 182"/>
                  <a:gd name="T11" fmla="*/ 161 h 190"/>
                  <a:gd name="T12" fmla="*/ 6 w 182"/>
                  <a:gd name="T13" fmla="*/ 160 h 190"/>
                  <a:gd name="T14" fmla="*/ 6 w 182"/>
                  <a:gd name="T15" fmla="*/ 128 h 190"/>
                  <a:gd name="T16" fmla="*/ 0 w 182"/>
                  <a:gd name="T17" fmla="*/ 104 h 190"/>
                  <a:gd name="T18" fmla="*/ 56 w 182"/>
                  <a:gd name="T19" fmla="*/ 84 h 190"/>
                  <a:gd name="T20" fmla="*/ 54 w 182"/>
                  <a:gd name="T21" fmla="*/ 62 h 190"/>
                  <a:gd name="T22" fmla="*/ 72 w 182"/>
                  <a:gd name="T23" fmla="*/ 48 h 190"/>
                  <a:gd name="T24" fmla="*/ 74 w 182"/>
                  <a:gd name="T25" fmla="*/ 12 h 190"/>
                  <a:gd name="T26" fmla="*/ 118 w 182"/>
                  <a:gd name="T27" fmla="*/ 12 h 190"/>
                  <a:gd name="T28" fmla="*/ 134 w 182"/>
                  <a:gd name="T29" fmla="*/ 0 h 190"/>
                  <a:gd name="T30" fmla="*/ 158 w 182"/>
                  <a:gd name="T31" fmla="*/ 14 h 190"/>
                  <a:gd name="T32" fmla="*/ 176 w 182"/>
                  <a:gd name="T33" fmla="*/ 26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2" h="190">
                    <a:moveTo>
                      <a:pt x="176" y="26"/>
                    </a:moveTo>
                    <a:cubicBezTo>
                      <a:pt x="169" y="27"/>
                      <a:pt x="162" y="26"/>
                      <a:pt x="156" y="28"/>
                    </a:cubicBezTo>
                    <a:cubicBezTo>
                      <a:pt x="139" y="34"/>
                      <a:pt x="155" y="64"/>
                      <a:pt x="156" y="82"/>
                    </a:cubicBezTo>
                    <a:cubicBezTo>
                      <a:pt x="150" y="98"/>
                      <a:pt x="182" y="158"/>
                      <a:pt x="166" y="174"/>
                    </a:cubicBezTo>
                    <a:cubicBezTo>
                      <a:pt x="150" y="190"/>
                      <a:pt x="85" y="180"/>
                      <a:pt x="62" y="178"/>
                    </a:cubicBezTo>
                    <a:cubicBezTo>
                      <a:pt x="52" y="175"/>
                      <a:pt x="41" y="162"/>
                      <a:pt x="29" y="161"/>
                    </a:cubicBezTo>
                    <a:cubicBezTo>
                      <a:pt x="20" y="160"/>
                      <a:pt x="15" y="161"/>
                      <a:pt x="6" y="160"/>
                    </a:cubicBezTo>
                    <a:cubicBezTo>
                      <a:pt x="8" y="144"/>
                      <a:pt x="11" y="143"/>
                      <a:pt x="6" y="128"/>
                    </a:cubicBezTo>
                    <a:cubicBezTo>
                      <a:pt x="3" y="120"/>
                      <a:pt x="0" y="104"/>
                      <a:pt x="0" y="104"/>
                    </a:cubicBezTo>
                    <a:cubicBezTo>
                      <a:pt x="4" y="75"/>
                      <a:pt x="19" y="87"/>
                      <a:pt x="56" y="84"/>
                    </a:cubicBezTo>
                    <a:cubicBezTo>
                      <a:pt x="61" y="74"/>
                      <a:pt x="60" y="71"/>
                      <a:pt x="54" y="62"/>
                    </a:cubicBezTo>
                    <a:cubicBezTo>
                      <a:pt x="57" y="50"/>
                      <a:pt x="60" y="50"/>
                      <a:pt x="72" y="48"/>
                    </a:cubicBezTo>
                    <a:cubicBezTo>
                      <a:pt x="73" y="36"/>
                      <a:pt x="65" y="19"/>
                      <a:pt x="74" y="12"/>
                    </a:cubicBezTo>
                    <a:cubicBezTo>
                      <a:pt x="81" y="4"/>
                      <a:pt x="104" y="12"/>
                      <a:pt x="118" y="12"/>
                    </a:cubicBezTo>
                    <a:cubicBezTo>
                      <a:pt x="128" y="10"/>
                      <a:pt x="127" y="0"/>
                      <a:pt x="134" y="0"/>
                    </a:cubicBezTo>
                    <a:cubicBezTo>
                      <a:pt x="141" y="0"/>
                      <a:pt x="151" y="10"/>
                      <a:pt x="158" y="14"/>
                    </a:cubicBezTo>
                    <a:cubicBezTo>
                      <a:pt x="163" y="22"/>
                      <a:pt x="167" y="24"/>
                      <a:pt x="176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5" name="Freeform 41">
                <a:extLst>
                  <a:ext uri="{FF2B5EF4-FFF2-40B4-BE49-F238E27FC236}">
                    <a16:creationId xmlns:a16="http://schemas.microsoft.com/office/drawing/2014/main" id="{4816EE68-7511-4FDA-8692-678FDA027384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gray">
              <a:xfrm>
                <a:off x="5572126" y="3590925"/>
                <a:ext cx="190500" cy="207963"/>
              </a:xfrm>
              <a:custGeom>
                <a:avLst/>
                <a:gdLst>
                  <a:gd name="T0" fmla="*/ 53 w 120"/>
                  <a:gd name="T1" fmla="*/ 37 h 131"/>
                  <a:gd name="T2" fmla="*/ 69 w 120"/>
                  <a:gd name="T3" fmla="*/ 0 h 131"/>
                  <a:gd name="T4" fmla="*/ 113 w 120"/>
                  <a:gd name="T5" fmla="*/ 22 h 131"/>
                  <a:gd name="T6" fmla="*/ 120 w 120"/>
                  <a:gd name="T7" fmla="*/ 40 h 131"/>
                  <a:gd name="T8" fmla="*/ 111 w 120"/>
                  <a:gd name="T9" fmla="*/ 64 h 131"/>
                  <a:gd name="T10" fmla="*/ 90 w 120"/>
                  <a:gd name="T11" fmla="*/ 75 h 131"/>
                  <a:gd name="T12" fmla="*/ 75 w 120"/>
                  <a:gd name="T13" fmla="*/ 99 h 131"/>
                  <a:gd name="T14" fmla="*/ 51 w 120"/>
                  <a:gd name="T15" fmla="*/ 118 h 131"/>
                  <a:gd name="T16" fmla="*/ 30 w 120"/>
                  <a:gd name="T17" fmla="*/ 127 h 131"/>
                  <a:gd name="T18" fmla="*/ 14 w 120"/>
                  <a:gd name="T19" fmla="*/ 120 h 131"/>
                  <a:gd name="T20" fmla="*/ 3 w 120"/>
                  <a:gd name="T21" fmla="*/ 102 h 131"/>
                  <a:gd name="T22" fmla="*/ 26 w 120"/>
                  <a:gd name="T23" fmla="*/ 88 h 131"/>
                  <a:gd name="T24" fmla="*/ 41 w 120"/>
                  <a:gd name="T25" fmla="*/ 75 h 131"/>
                  <a:gd name="T26" fmla="*/ 53 w 120"/>
                  <a:gd name="T27" fmla="*/ 3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131">
                    <a:moveTo>
                      <a:pt x="53" y="37"/>
                    </a:moveTo>
                    <a:cubicBezTo>
                      <a:pt x="55" y="24"/>
                      <a:pt x="58" y="9"/>
                      <a:pt x="69" y="0"/>
                    </a:cubicBezTo>
                    <a:cubicBezTo>
                      <a:pt x="76" y="20"/>
                      <a:pt x="95" y="19"/>
                      <a:pt x="113" y="22"/>
                    </a:cubicBezTo>
                    <a:cubicBezTo>
                      <a:pt x="114" y="31"/>
                      <a:pt x="115" y="33"/>
                      <a:pt x="120" y="40"/>
                    </a:cubicBezTo>
                    <a:cubicBezTo>
                      <a:pt x="119" y="51"/>
                      <a:pt x="117" y="55"/>
                      <a:pt x="111" y="64"/>
                    </a:cubicBezTo>
                    <a:cubicBezTo>
                      <a:pt x="109" y="74"/>
                      <a:pt x="99" y="73"/>
                      <a:pt x="90" y="75"/>
                    </a:cubicBezTo>
                    <a:cubicBezTo>
                      <a:pt x="87" y="91"/>
                      <a:pt x="93" y="96"/>
                      <a:pt x="75" y="99"/>
                    </a:cubicBezTo>
                    <a:cubicBezTo>
                      <a:pt x="74" y="108"/>
                      <a:pt x="61" y="116"/>
                      <a:pt x="51" y="118"/>
                    </a:cubicBezTo>
                    <a:cubicBezTo>
                      <a:pt x="43" y="122"/>
                      <a:pt x="39" y="126"/>
                      <a:pt x="30" y="127"/>
                    </a:cubicBezTo>
                    <a:cubicBezTo>
                      <a:pt x="22" y="131"/>
                      <a:pt x="20" y="124"/>
                      <a:pt x="14" y="120"/>
                    </a:cubicBezTo>
                    <a:cubicBezTo>
                      <a:pt x="10" y="113"/>
                      <a:pt x="7" y="109"/>
                      <a:pt x="3" y="102"/>
                    </a:cubicBezTo>
                    <a:cubicBezTo>
                      <a:pt x="0" y="88"/>
                      <a:pt x="16" y="89"/>
                      <a:pt x="26" y="88"/>
                    </a:cubicBezTo>
                    <a:cubicBezTo>
                      <a:pt x="32" y="83"/>
                      <a:pt x="33" y="77"/>
                      <a:pt x="41" y="75"/>
                    </a:cubicBezTo>
                    <a:cubicBezTo>
                      <a:pt x="56" y="64"/>
                      <a:pt x="54" y="59"/>
                      <a:pt x="53" y="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6" name="Freeform 42">
                <a:extLst>
                  <a:ext uri="{FF2B5EF4-FFF2-40B4-BE49-F238E27FC236}">
                    <a16:creationId xmlns:a16="http://schemas.microsoft.com/office/drawing/2014/main" id="{1008EBD1-A75C-46B8-B7CB-E479A5AEA59F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gray">
              <a:xfrm>
                <a:off x="5561013" y="3540125"/>
                <a:ext cx="125413" cy="115888"/>
              </a:xfrm>
              <a:custGeom>
                <a:avLst/>
                <a:gdLst>
                  <a:gd name="T0" fmla="*/ 7 w 78"/>
                  <a:gd name="T1" fmla="*/ 44 h 73"/>
                  <a:gd name="T2" fmla="*/ 43 w 78"/>
                  <a:gd name="T3" fmla="*/ 39 h 73"/>
                  <a:gd name="T4" fmla="*/ 59 w 78"/>
                  <a:gd name="T5" fmla="*/ 18 h 73"/>
                  <a:gd name="T6" fmla="*/ 74 w 78"/>
                  <a:gd name="T7" fmla="*/ 0 h 73"/>
                  <a:gd name="T8" fmla="*/ 76 w 78"/>
                  <a:gd name="T9" fmla="*/ 32 h 73"/>
                  <a:gd name="T10" fmla="*/ 67 w 78"/>
                  <a:gd name="T11" fmla="*/ 38 h 73"/>
                  <a:gd name="T12" fmla="*/ 64 w 78"/>
                  <a:gd name="T13" fmla="*/ 54 h 73"/>
                  <a:gd name="T14" fmla="*/ 53 w 78"/>
                  <a:gd name="T15" fmla="*/ 69 h 73"/>
                  <a:gd name="T16" fmla="*/ 14 w 78"/>
                  <a:gd name="T17" fmla="*/ 66 h 73"/>
                  <a:gd name="T18" fmla="*/ 5 w 78"/>
                  <a:gd name="T19" fmla="*/ 57 h 73"/>
                  <a:gd name="T20" fmla="*/ 4 w 78"/>
                  <a:gd name="T21" fmla="*/ 47 h 73"/>
                  <a:gd name="T22" fmla="*/ 7 w 78"/>
                  <a:gd name="T23" fmla="*/ 4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8" h="73">
                    <a:moveTo>
                      <a:pt x="7" y="44"/>
                    </a:moveTo>
                    <a:cubicBezTo>
                      <a:pt x="21" y="34"/>
                      <a:pt x="3" y="46"/>
                      <a:pt x="43" y="39"/>
                    </a:cubicBezTo>
                    <a:cubicBezTo>
                      <a:pt x="47" y="38"/>
                      <a:pt x="55" y="21"/>
                      <a:pt x="59" y="18"/>
                    </a:cubicBezTo>
                    <a:cubicBezTo>
                      <a:pt x="65" y="19"/>
                      <a:pt x="76" y="3"/>
                      <a:pt x="74" y="0"/>
                    </a:cubicBezTo>
                    <a:cubicBezTo>
                      <a:pt x="75" y="1"/>
                      <a:pt x="76" y="31"/>
                      <a:pt x="76" y="32"/>
                    </a:cubicBezTo>
                    <a:cubicBezTo>
                      <a:pt x="72" y="48"/>
                      <a:pt x="78" y="36"/>
                      <a:pt x="67" y="38"/>
                    </a:cubicBezTo>
                    <a:cubicBezTo>
                      <a:pt x="65" y="42"/>
                      <a:pt x="66" y="49"/>
                      <a:pt x="64" y="54"/>
                    </a:cubicBezTo>
                    <a:cubicBezTo>
                      <a:pt x="62" y="59"/>
                      <a:pt x="61" y="67"/>
                      <a:pt x="53" y="69"/>
                    </a:cubicBezTo>
                    <a:cubicBezTo>
                      <a:pt x="45" y="73"/>
                      <a:pt x="22" y="68"/>
                      <a:pt x="14" y="66"/>
                    </a:cubicBezTo>
                    <a:cubicBezTo>
                      <a:pt x="6" y="64"/>
                      <a:pt x="7" y="60"/>
                      <a:pt x="5" y="57"/>
                    </a:cubicBezTo>
                    <a:cubicBezTo>
                      <a:pt x="3" y="53"/>
                      <a:pt x="0" y="51"/>
                      <a:pt x="4" y="47"/>
                    </a:cubicBezTo>
                    <a:cubicBezTo>
                      <a:pt x="7" y="44"/>
                      <a:pt x="9" y="46"/>
                      <a:pt x="7" y="4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7" name="Freeform 43">
                <a:extLst>
                  <a:ext uri="{FF2B5EF4-FFF2-40B4-BE49-F238E27FC236}">
                    <a16:creationId xmlns:a16="http://schemas.microsoft.com/office/drawing/2014/main" id="{1B675D72-F484-437D-9E7E-97AE86D54B5F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gray">
              <a:xfrm>
                <a:off x="5529263" y="3554413"/>
                <a:ext cx="49213" cy="50800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79" name="Freeform 45">
                <a:extLst>
                  <a:ext uri="{FF2B5EF4-FFF2-40B4-BE49-F238E27FC236}">
                    <a16:creationId xmlns:a16="http://schemas.microsoft.com/office/drawing/2014/main" id="{732BE7BD-F31D-4C62-A4F3-45A247B15B0A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gray">
              <a:xfrm>
                <a:off x="4618038" y="4329113"/>
                <a:ext cx="295275" cy="301625"/>
              </a:xfrm>
              <a:custGeom>
                <a:avLst/>
                <a:gdLst>
                  <a:gd name="T0" fmla="*/ 0 w 183"/>
                  <a:gd name="T1" fmla="*/ 174 h 190"/>
                  <a:gd name="T2" fmla="*/ 10 w 183"/>
                  <a:gd name="T3" fmla="*/ 129 h 190"/>
                  <a:gd name="T4" fmla="*/ 15 w 183"/>
                  <a:gd name="T5" fmla="*/ 112 h 190"/>
                  <a:gd name="T6" fmla="*/ 28 w 183"/>
                  <a:gd name="T7" fmla="*/ 97 h 190"/>
                  <a:gd name="T8" fmla="*/ 22 w 183"/>
                  <a:gd name="T9" fmla="*/ 69 h 190"/>
                  <a:gd name="T10" fmla="*/ 22 w 183"/>
                  <a:gd name="T11" fmla="*/ 34 h 190"/>
                  <a:gd name="T12" fmla="*/ 12 w 183"/>
                  <a:gd name="T13" fmla="*/ 16 h 190"/>
                  <a:gd name="T14" fmla="*/ 30 w 183"/>
                  <a:gd name="T15" fmla="*/ 4 h 190"/>
                  <a:gd name="T16" fmla="*/ 60 w 183"/>
                  <a:gd name="T17" fmla="*/ 1 h 190"/>
                  <a:gd name="T18" fmla="*/ 70 w 183"/>
                  <a:gd name="T19" fmla="*/ 3 h 190"/>
                  <a:gd name="T20" fmla="*/ 79 w 183"/>
                  <a:gd name="T21" fmla="*/ 28 h 190"/>
                  <a:gd name="T22" fmla="*/ 103 w 183"/>
                  <a:gd name="T23" fmla="*/ 31 h 190"/>
                  <a:gd name="T24" fmla="*/ 123 w 183"/>
                  <a:gd name="T25" fmla="*/ 25 h 190"/>
                  <a:gd name="T26" fmla="*/ 144 w 183"/>
                  <a:gd name="T27" fmla="*/ 30 h 190"/>
                  <a:gd name="T28" fmla="*/ 151 w 183"/>
                  <a:gd name="T29" fmla="*/ 42 h 190"/>
                  <a:gd name="T30" fmla="*/ 150 w 183"/>
                  <a:gd name="T31" fmla="*/ 58 h 190"/>
                  <a:gd name="T32" fmla="*/ 157 w 183"/>
                  <a:gd name="T33" fmla="*/ 78 h 190"/>
                  <a:gd name="T34" fmla="*/ 180 w 183"/>
                  <a:gd name="T35" fmla="*/ 81 h 190"/>
                  <a:gd name="T36" fmla="*/ 175 w 183"/>
                  <a:gd name="T37" fmla="*/ 103 h 190"/>
                  <a:gd name="T38" fmla="*/ 151 w 183"/>
                  <a:gd name="T39" fmla="*/ 109 h 190"/>
                  <a:gd name="T40" fmla="*/ 145 w 183"/>
                  <a:gd name="T41" fmla="*/ 139 h 190"/>
                  <a:gd name="T42" fmla="*/ 151 w 183"/>
                  <a:gd name="T43" fmla="*/ 178 h 190"/>
                  <a:gd name="T44" fmla="*/ 97 w 183"/>
                  <a:gd name="T45" fmla="*/ 180 h 190"/>
                  <a:gd name="T46" fmla="*/ 37 w 183"/>
                  <a:gd name="T47" fmla="*/ 183 h 190"/>
                  <a:gd name="T48" fmla="*/ 0 w 183"/>
                  <a:gd name="T49" fmla="*/ 17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3" h="190">
                    <a:moveTo>
                      <a:pt x="0" y="174"/>
                    </a:moveTo>
                    <a:cubicBezTo>
                      <a:pt x="1" y="156"/>
                      <a:pt x="0" y="143"/>
                      <a:pt x="10" y="129"/>
                    </a:cubicBezTo>
                    <a:cubicBezTo>
                      <a:pt x="8" y="120"/>
                      <a:pt x="6" y="118"/>
                      <a:pt x="15" y="112"/>
                    </a:cubicBezTo>
                    <a:cubicBezTo>
                      <a:pt x="19" y="107"/>
                      <a:pt x="23" y="101"/>
                      <a:pt x="28" y="97"/>
                    </a:cubicBezTo>
                    <a:cubicBezTo>
                      <a:pt x="26" y="87"/>
                      <a:pt x="28" y="77"/>
                      <a:pt x="22" y="69"/>
                    </a:cubicBezTo>
                    <a:cubicBezTo>
                      <a:pt x="20" y="57"/>
                      <a:pt x="20" y="47"/>
                      <a:pt x="22" y="34"/>
                    </a:cubicBezTo>
                    <a:cubicBezTo>
                      <a:pt x="17" y="28"/>
                      <a:pt x="19" y="21"/>
                      <a:pt x="12" y="16"/>
                    </a:cubicBezTo>
                    <a:cubicBezTo>
                      <a:pt x="13" y="10"/>
                      <a:pt x="22" y="6"/>
                      <a:pt x="30" y="4"/>
                    </a:cubicBezTo>
                    <a:cubicBezTo>
                      <a:pt x="38" y="2"/>
                      <a:pt x="53" y="1"/>
                      <a:pt x="60" y="1"/>
                    </a:cubicBezTo>
                    <a:cubicBezTo>
                      <a:pt x="63" y="2"/>
                      <a:pt x="68" y="0"/>
                      <a:pt x="70" y="3"/>
                    </a:cubicBezTo>
                    <a:cubicBezTo>
                      <a:pt x="73" y="6"/>
                      <a:pt x="74" y="23"/>
                      <a:pt x="79" y="28"/>
                    </a:cubicBezTo>
                    <a:cubicBezTo>
                      <a:pt x="84" y="33"/>
                      <a:pt x="96" y="32"/>
                      <a:pt x="103" y="31"/>
                    </a:cubicBezTo>
                    <a:cubicBezTo>
                      <a:pt x="118" y="29"/>
                      <a:pt x="112" y="33"/>
                      <a:pt x="123" y="25"/>
                    </a:cubicBezTo>
                    <a:cubicBezTo>
                      <a:pt x="133" y="26"/>
                      <a:pt x="139" y="21"/>
                      <a:pt x="144" y="30"/>
                    </a:cubicBezTo>
                    <a:cubicBezTo>
                      <a:pt x="149" y="34"/>
                      <a:pt x="150" y="37"/>
                      <a:pt x="151" y="42"/>
                    </a:cubicBezTo>
                    <a:cubicBezTo>
                      <a:pt x="152" y="47"/>
                      <a:pt x="149" y="52"/>
                      <a:pt x="150" y="58"/>
                    </a:cubicBezTo>
                    <a:cubicBezTo>
                      <a:pt x="153" y="65"/>
                      <a:pt x="152" y="74"/>
                      <a:pt x="157" y="78"/>
                    </a:cubicBezTo>
                    <a:cubicBezTo>
                      <a:pt x="162" y="82"/>
                      <a:pt x="177" y="77"/>
                      <a:pt x="180" y="81"/>
                    </a:cubicBezTo>
                    <a:cubicBezTo>
                      <a:pt x="183" y="85"/>
                      <a:pt x="180" y="98"/>
                      <a:pt x="175" y="103"/>
                    </a:cubicBezTo>
                    <a:cubicBezTo>
                      <a:pt x="168" y="107"/>
                      <a:pt x="159" y="108"/>
                      <a:pt x="151" y="109"/>
                    </a:cubicBezTo>
                    <a:cubicBezTo>
                      <a:pt x="146" y="115"/>
                      <a:pt x="145" y="128"/>
                      <a:pt x="145" y="139"/>
                    </a:cubicBezTo>
                    <a:cubicBezTo>
                      <a:pt x="145" y="150"/>
                      <a:pt x="159" y="171"/>
                      <a:pt x="151" y="178"/>
                    </a:cubicBezTo>
                    <a:cubicBezTo>
                      <a:pt x="143" y="190"/>
                      <a:pt x="118" y="179"/>
                      <a:pt x="97" y="180"/>
                    </a:cubicBezTo>
                    <a:cubicBezTo>
                      <a:pt x="77" y="170"/>
                      <a:pt x="59" y="185"/>
                      <a:pt x="37" y="183"/>
                    </a:cubicBezTo>
                    <a:cubicBezTo>
                      <a:pt x="19" y="176"/>
                      <a:pt x="31" y="167"/>
                      <a:pt x="0" y="17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0" name="Freeform 46">
                <a:extLst>
                  <a:ext uri="{FF2B5EF4-FFF2-40B4-BE49-F238E27FC236}">
                    <a16:creationId xmlns:a16="http://schemas.microsoft.com/office/drawing/2014/main" id="{9DB4200E-3951-4D21-B85B-C7D3F9ACD4F2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gray">
              <a:xfrm>
                <a:off x="4546601" y="3921125"/>
                <a:ext cx="171450" cy="231775"/>
              </a:xfrm>
              <a:custGeom>
                <a:avLst/>
                <a:gdLst>
                  <a:gd name="T0" fmla="*/ 17 w 106"/>
                  <a:gd name="T1" fmla="*/ 143 h 146"/>
                  <a:gd name="T2" fmla="*/ 6 w 106"/>
                  <a:gd name="T3" fmla="*/ 119 h 146"/>
                  <a:gd name="T4" fmla="*/ 0 w 106"/>
                  <a:gd name="T5" fmla="*/ 96 h 146"/>
                  <a:gd name="T6" fmla="*/ 17 w 106"/>
                  <a:gd name="T7" fmla="*/ 77 h 146"/>
                  <a:gd name="T8" fmla="*/ 30 w 106"/>
                  <a:gd name="T9" fmla="*/ 68 h 146"/>
                  <a:gd name="T10" fmla="*/ 42 w 106"/>
                  <a:gd name="T11" fmla="*/ 72 h 146"/>
                  <a:gd name="T12" fmla="*/ 54 w 106"/>
                  <a:gd name="T13" fmla="*/ 47 h 146"/>
                  <a:gd name="T14" fmla="*/ 62 w 106"/>
                  <a:gd name="T15" fmla="*/ 33 h 146"/>
                  <a:gd name="T16" fmla="*/ 68 w 106"/>
                  <a:gd name="T17" fmla="*/ 18 h 146"/>
                  <a:gd name="T18" fmla="*/ 80 w 106"/>
                  <a:gd name="T19" fmla="*/ 2 h 146"/>
                  <a:gd name="T20" fmla="*/ 89 w 106"/>
                  <a:gd name="T21" fmla="*/ 6 h 146"/>
                  <a:gd name="T22" fmla="*/ 96 w 106"/>
                  <a:gd name="T23" fmla="*/ 18 h 146"/>
                  <a:gd name="T24" fmla="*/ 83 w 106"/>
                  <a:gd name="T25" fmla="*/ 27 h 146"/>
                  <a:gd name="T26" fmla="*/ 98 w 106"/>
                  <a:gd name="T27" fmla="*/ 60 h 146"/>
                  <a:gd name="T28" fmla="*/ 89 w 106"/>
                  <a:gd name="T29" fmla="*/ 72 h 146"/>
                  <a:gd name="T30" fmla="*/ 92 w 106"/>
                  <a:gd name="T31" fmla="*/ 98 h 146"/>
                  <a:gd name="T32" fmla="*/ 96 w 106"/>
                  <a:gd name="T33" fmla="*/ 113 h 146"/>
                  <a:gd name="T34" fmla="*/ 95 w 106"/>
                  <a:gd name="T35" fmla="*/ 120 h 146"/>
                  <a:gd name="T36" fmla="*/ 104 w 106"/>
                  <a:gd name="T37" fmla="*/ 126 h 146"/>
                  <a:gd name="T38" fmla="*/ 80 w 106"/>
                  <a:gd name="T39" fmla="*/ 140 h 146"/>
                  <a:gd name="T40" fmla="*/ 17 w 106"/>
                  <a:gd name="T41" fmla="*/ 143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6" h="146">
                    <a:moveTo>
                      <a:pt x="17" y="143"/>
                    </a:moveTo>
                    <a:cubicBezTo>
                      <a:pt x="15" y="127"/>
                      <a:pt x="20" y="122"/>
                      <a:pt x="6" y="119"/>
                    </a:cubicBezTo>
                    <a:cubicBezTo>
                      <a:pt x="2" y="112"/>
                      <a:pt x="0" y="96"/>
                      <a:pt x="0" y="96"/>
                    </a:cubicBezTo>
                    <a:cubicBezTo>
                      <a:pt x="2" y="78"/>
                      <a:pt x="0" y="79"/>
                      <a:pt x="17" y="77"/>
                    </a:cubicBezTo>
                    <a:cubicBezTo>
                      <a:pt x="21" y="70"/>
                      <a:pt x="22" y="69"/>
                      <a:pt x="30" y="68"/>
                    </a:cubicBezTo>
                    <a:cubicBezTo>
                      <a:pt x="36" y="72"/>
                      <a:pt x="36" y="77"/>
                      <a:pt x="42" y="72"/>
                    </a:cubicBezTo>
                    <a:cubicBezTo>
                      <a:pt x="47" y="57"/>
                      <a:pt x="42" y="56"/>
                      <a:pt x="54" y="47"/>
                    </a:cubicBezTo>
                    <a:cubicBezTo>
                      <a:pt x="57" y="40"/>
                      <a:pt x="55" y="37"/>
                      <a:pt x="62" y="33"/>
                    </a:cubicBezTo>
                    <a:cubicBezTo>
                      <a:pt x="63" y="27"/>
                      <a:pt x="66" y="24"/>
                      <a:pt x="68" y="18"/>
                    </a:cubicBezTo>
                    <a:cubicBezTo>
                      <a:pt x="69" y="1"/>
                      <a:pt x="69" y="9"/>
                      <a:pt x="80" y="2"/>
                    </a:cubicBezTo>
                    <a:cubicBezTo>
                      <a:pt x="84" y="0"/>
                      <a:pt x="86" y="3"/>
                      <a:pt x="89" y="6"/>
                    </a:cubicBezTo>
                    <a:cubicBezTo>
                      <a:pt x="92" y="9"/>
                      <a:pt x="97" y="15"/>
                      <a:pt x="96" y="18"/>
                    </a:cubicBezTo>
                    <a:cubicBezTo>
                      <a:pt x="90" y="21"/>
                      <a:pt x="90" y="26"/>
                      <a:pt x="83" y="27"/>
                    </a:cubicBezTo>
                    <a:cubicBezTo>
                      <a:pt x="83" y="34"/>
                      <a:pt x="97" y="53"/>
                      <a:pt x="98" y="60"/>
                    </a:cubicBezTo>
                    <a:cubicBezTo>
                      <a:pt x="99" y="67"/>
                      <a:pt x="90" y="66"/>
                      <a:pt x="89" y="72"/>
                    </a:cubicBezTo>
                    <a:cubicBezTo>
                      <a:pt x="87" y="80"/>
                      <a:pt x="92" y="92"/>
                      <a:pt x="92" y="98"/>
                    </a:cubicBezTo>
                    <a:cubicBezTo>
                      <a:pt x="93" y="105"/>
                      <a:pt x="96" y="109"/>
                      <a:pt x="96" y="113"/>
                    </a:cubicBezTo>
                    <a:cubicBezTo>
                      <a:pt x="97" y="121"/>
                      <a:pt x="94" y="118"/>
                      <a:pt x="95" y="120"/>
                    </a:cubicBezTo>
                    <a:cubicBezTo>
                      <a:pt x="96" y="122"/>
                      <a:pt x="106" y="123"/>
                      <a:pt x="104" y="126"/>
                    </a:cubicBezTo>
                    <a:cubicBezTo>
                      <a:pt x="101" y="146"/>
                      <a:pt x="100" y="141"/>
                      <a:pt x="80" y="140"/>
                    </a:cubicBezTo>
                    <a:cubicBezTo>
                      <a:pt x="57" y="131"/>
                      <a:pt x="77" y="138"/>
                      <a:pt x="17" y="14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1" name="Freeform 47">
                <a:extLst>
                  <a:ext uri="{FF2B5EF4-FFF2-40B4-BE49-F238E27FC236}">
                    <a16:creationId xmlns:a16="http://schemas.microsoft.com/office/drawing/2014/main" id="{B03E9ACE-7169-45CC-9817-78EA5831F4A2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gray">
              <a:xfrm>
                <a:off x="4395788" y="3871913"/>
                <a:ext cx="287338" cy="214313"/>
              </a:xfrm>
              <a:custGeom>
                <a:avLst/>
                <a:gdLst>
                  <a:gd name="T0" fmla="*/ 88 w 178"/>
                  <a:gd name="T1" fmla="*/ 130 h 135"/>
                  <a:gd name="T2" fmla="*/ 48 w 178"/>
                  <a:gd name="T3" fmla="*/ 132 h 135"/>
                  <a:gd name="T4" fmla="*/ 33 w 178"/>
                  <a:gd name="T5" fmla="*/ 109 h 135"/>
                  <a:gd name="T6" fmla="*/ 6 w 178"/>
                  <a:gd name="T7" fmla="*/ 102 h 135"/>
                  <a:gd name="T8" fmla="*/ 15 w 178"/>
                  <a:gd name="T9" fmla="*/ 61 h 135"/>
                  <a:gd name="T10" fmla="*/ 19 w 178"/>
                  <a:gd name="T11" fmla="*/ 24 h 135"/>
                  <a:gd name="T12" fmla="*/ 25 w 178"/>
                  <a:gd name="T13" fmla="*/ 6 h 135"/>
                  <a:gd name="T14" fmla="*/ 31 w 178"/>
                  <a:gd name="T15" fmla="*/ 3 h 135"/>
                  <a:gd name="T16" fmla="*/ 45 w 178"/>
                  <a:gd name="T17" fmla="*/ 0 h 135"/>
                  <a:gd name="T18" fmla="*/ 70 w 178"/>
                  <a:gd name="T19" fmla="*/ 4 h 135"/>
                  <a:gd name="T20" fmla="*/ 90 w 178"/>
                  <a:gd name="T21" fmla="*/ 9 h 135"/>
                  <a:gd name="T22" fmla="*/ 99 w 178"/>
                  <a:gd name="T23" fmla="*/ 9 h 135"/>
                  <a:gd name="T24" fmla="*/ 115 w 178"/>
                  <a:gd name="T25" fmla="*/ 4 h 135"/>
                  <a:gd name="T26" fmla="*/ 133 w 178"/>
                  <a:gd name="T27" fmla="*/ 3 h 135"/>
                  <a:gd name="T28" fmla="*/ 148 w 178"/>
                  <a:gd name="T29" fmla="*/ 6 h 135"/>
                  <a:gd name="T30" fmla="*/ 160 w 178"/>
                  <a:gd name="T31" fmla="*/ 4 h 135"/>
                  <a:gd name="T32" fmla="*/ 171 w 178"/>
                  <a:gd name="T33" fmla="*/ 13 h 135"/>
                  <a:gd name="T34" fmla="*/ 178 w 178"/>
                  <a:gd name="T35" fmla="*/ 27 h 135"/>
                  <a:gd name="T36" fmla="*/ 166 w 178"/>
                  <a:gd name="T37" fmla="*/ 37 h 135"/>
                  <a:gd name="T38" fmla="*/ 160 w 178"/>
                  <a:gd name="T39" fmla="*/ 52 h 135"/>
                  <a:gd name="T40" fmla="*/ 156 w 178"/>
                  <a:gd name="T41" fmla="*/ 63 h 135"/>
                  <a:gd name="T42" fmla="*/ 151 w 178"/>
                  <a:gd name="T43" fmla="*/ 78 h 135"/>
                  <a:gd name="T44" fmla="*/ 141 w 178"/>
                  <a:gd name="T45" fmla="*/ 85 h 135"/>
                  <a:gd name="T46" fmla="*/ 136 w 178"/>
                  <a:gd name="T47" fmla="*/ 100 h 135"/>
                  <a:gd name="T48" fmla="*/ 121 w 178"/>
                  <a:gd name="T49" fmla="*/ 103 h 135"/>
                  <a:gd name="T50" fmla="*/ 109 w 178"/>
                  <a:gd name="T51" fmla="*/ 105 h 135"/>
                  <a:gd name="T52" fmla="*/ 94 w 178"/>
                  <a:gd name="T53" fmla="*/ 112 h 135"/>
                  <a:gd name="T54" fmla="*/ 88 w 178"/>
                  <a:gd name="T55" fmla="*/ 13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8" h="135">
                    <a:moveTo>
                      <a:pt x="88" y="130"/>
                    </a:moveTo>
                    <a:cubicBezTo>
                      <a:pt x="65" y="135"/>
                      <a:pt x="78" y="133"/>
                      <a:pt x="48" y="132"/>
                    </a:cubicBezTo>
                    <a:cubicBezTo>
                      <a:pt x="46" y="113"/>
                      <a:pt x="49" y="113"/>
                      <a:pt x="33" y="109"/>
                    </a:cubicBezTo>
                    <a:cubicBezTo>
                      <a:pt x="26" y="100"/>
                      <a:pt x="18" y="103"/>
                      <a:pt x="6" y="102"/>
                    </a:cubicBezTo>
                    <a:cubicBezTo>
                      <a:pt x="7" y="82"/>
                      <a:pt x="0" y="70"/>
                      <a:pt x="15" y="61"/>
                    </a:cubicBezTo>
                    <a:cubicBezTo>
                      <a:pt x="24" y="50"/>
                      <a:pt x="14" y="37"/>
                      <a:pt x="19" y="24"/>
                    </a:cubicBezTo>
                    <a:cubicBezTo>
                      <a:pt x="21" y="15"/>
                      <a:pt x="21" y="10"/>
                      <a:pt x="25" y="6"/>
                    </a:cubicBezTo>
                    <a:cubicBezTo>
                      <a:pt x="27" y="3"/>
                      <a:pt x="28" y="4"/>
                      <a:pt x="31" y="3"/>
                    </a:cubicBezTo>
                    <a:cubicBezTo>
                      <a:pt x="34" y="2"/>
                      <a:pt x="39" y="0"/>
                      <a:pt x="45" y="0"/>
                    </a:cubicBezTo>
                    <a:cubicBezTo>
                      <a:pt x="52" y="0"/>
                      <a:pt x="63" y="3"/>
                      <a:pt x="70" y="4"/>
                    </a:cubicBezTo>
                    <a:cubicBezTo>
                      <a:pt x="77" y="6"/>
                      <a:pt x="85" y="8"/>
                      <a:pt x="90" y="9"/>
                    </a:cubicBezTo>
                    <a:cubicBezTo>
                      <a:pt x="95" y="10"/>
                      <a:pt x="95" y="10"/>
                      <a:pt x="99" y="9"/>
                    </a:cubicBezTo>
                    <a:cubicBezTo>
                      <a:pt x="103" y="9"/>
                      <a:pt x="109" y="4"/>
                      <a:pt x="115" y="4"/>
                    </a:cubicBezTo>
                    <a:cubicBezTo>
                      <a:pt x="121" y="3"/>
                      <a:pt x="128" y="3"/>
                      <a:pt x="133" y="3"/>
                    </a:cubicBezTo>
                    <a:cubicBezTo>
                      <a:pt x="141" y="2"/>
                      <a:pt x="144" y="6"/>
                      <a:pt x="148" y="6"/>
                    </a:cubicBezTo>
                    <a:cubicBezTo>
                      <a:pt x="152" y="6"/>
                      <a:pt x="156" y="3"/>
                      <a:pt x="160" y="4"/>
                    </a:cubicBezTo>
                    <a:cubicBezTo>
                      <a:pt x="164" y="5"/>
                      <a:pt x="168" y="9"/>
                      <a:pt x="171" y="13"/>
                    </a:cubicBezTo>
                    <a:cubicBezTo>
                      <a:pt x="172" y="20"/>
                      <a:pt x="172" y="23"/>
                      <a:pt x="178" y="27"/>
                    </a:cubicBezTo>
                    <a:cubicBezTo>
                      <a:pt x="174" y="32"/>
                      <a:pt x="171" y="34"/>
                      <a:pt x="166" y="37"/>
                    </a:cubicBezTo>
                    <a:cubicBezTo>
                      <a:pt x="165" y="43"/>
                      <a:pt x="164" y="47"/>
                      <a:pt x="160" y="52"/>
                    </a:cubicBezTo>
                    <a:cubicBezTo>
                      <a:pt x="159" y="59"/>
                      <a:pt x="162" y="59"/>
                      <a:pt x="156" y="63"/>
                    </a:cubicBezTo>
                    <a:cubicBezTo>
                      <a:pt x="155" y="69"/>
                      <a:pt x="153" y="73"/>
                      <a:pt x="151" y="78"/>
                    </a:cubicBezTo>
                    <a:cubicBezTo>
                      <a:pt x="149" y="83"/>
                      <a:pt x="143" y="81"/>
                      <a:pt x="141" y="85"/>
                    </a:cubicBezTo>
                    <a:cubicBezTo>
                      <a:pt x="139" y="89"/>
                      <a:pt x="139" y="97"/>
                      <a:pt x="136" y="100"/>
                    </a:cubicBezTo>
                    <a:cubicBezTo>
                      <a:pt x="131" y="110"/>
                      <a:pt x="136" y="106"/>
                      <a:pt x="121" y="103"/>
                    </a:cubicBezTo>
                    <a:cubicBezTo>
                      <a:pt x="115" y="99"/>
                      <a:pt x="116" y="104"/>
                      <a:pt x="109" y="105"/>
                    </a:cubicBezTo>
                    <a:cubicBezTo>
                      <a:pt x="108" y="112"/>
                      <a:pt x="101" y="111"/>
                      <a:pt x="94" y="112"/>
                    </a:cubicBezTo>
                    <a:cubicBezTo>
                      <a:pt x="93" y="125"/>
                      <a:pt x="92" y="124"/>
                      <a:pt x="88" y="13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2" name="Freeform 50">
                <a:extLst>
                  <a:ext uri="{FF2B5EF4-FFF2-40B4-BE49-F238E27FC236}">
                    <a16:creationId xmlns:a16="http://schemas.microsoft.com/office/drawing/2014/main" id="{5446A953-8184-4F8D-B1D3-0B8395E5E46B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gray">
              <a:xfrm>
                <a:off x="4246563" y="3925888"/>
                <a:ext cx="104775" cy="149225"/>
              </a:xfrm>
              <a:custGeom>
                <a:avLst/>
                <a:gdLst>
                  <a:gd name="T0" fmla="*/ 65 w 65"/>
                  <a:gd name="T1" fmla="*/ 0 h 94"/>
                  <a:gd name="T2" fmla="*/ 14 w 65"/>
                  <a:gd name="T3" fmla="*/ 6 h 94"/>
                  <a:gd name="T4" fmla="*/ 18 w 65"/>
                  <a:gd name="T5" fmla="*/ 48 h 94"/>
                  <a:gd name="T6" fmla="*/ 10 w 65"/>
                  <a:gd name="T7" fmla="*/ 70 h 94"/>
                  <a:gd name="T8" fmla="*/ 28 w 65"/>
                  <a:gd name="T9" fmla="*/ 94 h 94"/>
                  <a:gd name="T10" fmla="*/ 58 w 65"/>
                  <a:gd name="T11" fmla="*/ 86 h 94"/>
                  <a:gd name="T12" fmla="*/ 57 w 65"/>
                  <a:gd name="T13" fmla="*/ 50 h 94"/>
                  <a:gd name="T14" fmla="*/ 51 w 65"/>
                  <a:gd name="T15" fmla="*/ 23 h 94"/>
                  <a:gd name="T16" fmla="*/ 65 w 65"/>
                  <a:gd name="T17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94">
                    <a:moveTo>
                      <a:pt x="65" y="0"/>
                    </a:moveTo>
                    <a:cubicBezTo>
                      <a:pt x="48" y="1"/>
                      <a:pt x="31" y="3"/>
                      <a:pt x="14" y="6"/>
                    </a:cubicBezTo>
                    <a:cubicBezTo>
                      <a:pt x="0" y="8"/>
                      <a:pt x="18" y="48"/>
                      <a:pt x="18" y="48"/>
                    </a:cubicBezTo>
                    <a:cubicBezTo>
                      <a:pt x="15" y="56"/>
                      <a:pt x="12" y="61"/>
                      <a:pt x="10" y="70"/>
                    </a:cubicBezTo>
                    <a:cubicBezTo>
                      <a:pt x="12" y="83"/>
                      <a:pt x="16" y="90"/>
                      <a:pt x="28" y="94"/>
                    </a:cubicBezTo>
                    <a:cubicBezTo>
                      <a:pt x="44" y="92"/>
                      <a:pt x="45" y="90"/>
                      <a:pt x="58" y="86"/>
                    </a:cubicBezTo>
                    <a:cubicBezTo>
                      <a:pt x="63" y="79"/>
                      <a:pt x="58" y="60"/>
                      <a:pt x="57" y="50"/>
                    </a:cubicBezTo>
                    <a:cubicBezTo>
                      <a:pt x="56" y="40"/>
                      <a:pt x="50" y="31"/>
                      <a:pt x="51" y="23"/>
                    </a:cubicBezTo>
                    <a:cubicBezTo>
                      <a:pt x="53" y="16"/>
                      <a:pt x="62" y="6"/>
                      <a:pt x="65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3" name="Freeform 51">
                <a:extLst>
                  <a:ext uri="{FF2B5EF4-FFF2-40B4-BE49-F238E27FC236}">
                    <a16:creationId xmlns:a16="http://schemas.microsoft.com/office/drawing/2014/main" id="{B25D9653-D32E-4603-8588-DF71EFB172F3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gray">
              <a:xfrm>
                <a:off x="4130676" y="3944938"/>
                <a:ext cx="153988" cy="142875"/>
              </a:xfrm>
              <a:custGeom>
                <a:avLst/>
                <a:gdLst>
                  <a:gd name="T0" fmla="*/ 75 w 95"/>
                  <a:gd name="T1" fmla="*/ 0 h 90"/>
                  <a:gd name="T2" fmla="*/ 62 w 95"/>
                  <a:gd name="T3" fmla="*/ 11 h 90"/>
                  <a:gd name="T4" fmla="*/ 51 w 95"/>
                  <a:gd name="T5" fmla="*/ 2 h 90"/>
                  <a:gd name="T6" fmla="*/ 18 w 95"/>
                  <a:gd name="T7" fmla="*/ 2 h 90"/>
                  <a:gd name="T8" fmla="*/ 6 w 95"/>
                  <a:gd name="T9" fmla="*/ 4 h 90"/>
                  <a:gd name="T10" fmla="*/ 9 w 95"/>
                  <a:gd name="T11" fmla="*/ 36 h 90"/>
                  <a:gd name="T12" fmla="*/ 0 w 95"/>
                  <a:gd name="T13" fmla="*/ 50 h 90"/>
                  <a:gd name="T14" fmla="*/ 12 w 95"/>
                  <a:gd name="T15" fmla="*/ 70 h 90"/>
                  <a:gd name="T16" fmla="*/ 24 w 95"/>
                  <a:gd name="T17" fmla="*/ 90 h 90"/>
                  <a:gd name="T18" fmla="*/ 64 w 95"/>
                  <a:gd name="T19" fmla="*/ 76 h 90"/>
                  <a:gd name="T20" fmla="*/ 82 w 95"/>
                  <a:gd name="T21" fmla="*/ 58 h 90"/>
                  <a:gd name="T22" fmla="*/ 89 w 95"/>
                  <a:gd name="T23" fmla="*/ 41 h 90"/>
                  <a:gd name="T24" fmla="*/ 90 w 95"/>
                  <a:gd name="T25" fmla="*/ 30 h 90"/>
                  <a:gd name="T26" fmla="*/ 83 w 95"/>
                  <a:gd name="T27" fmla="*/ 15 h 90"/>
                  <a:gd name="T28" fmla="*/ 75 w 95"/>
                  <a:gd name="T2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5" h="90">
                    <a:moveTo>
                      <a:pt x="75" y="0"/>
                    </a:moveTo>
                    <a:cubicBezTo>
                      <a:pt x="67" y="11"/>
                      <a:pt x="78" y="3"/>
                      <a:pt x="62" y="11"/>
                    </a:cubicBezTo>
                    <a:cubicBezTo>
                      <a:pt x="58" y="10"/>
                      <a:pt x="58" y="3"/>
                      <a:pt x="51" y="2"/>
                    </a:cubicBezTo>
                    <a:cubicBezTo>
                      <a:pt x="44" y="1"/>
                      <a:pt x="25" y="2"/>
                      <a:pt x="18" y="2"/>
                    </a:cubicBezTo>
                    <a:cubicBezTo>
                      <a:pt x="14" y="3"/>
                      <a:pt x="9" y="1"/>
                      <a:pt x="6" y="4"/>
                    </a:cubicBezTo>
                    <a:cubicBezTo>
                      <a:pt x="5" y="5"/>
                      <a:pt x="7" y="30"/>
                      <a:pt x="9" y="36"/>
                    </a:cubicBezTo>
                    <a:cubicBezTo>
                      <a:pt x="6" y="44"/>
                      <a:pt x="4" y="43"/>
                      <a:pt x="0" y="50"/>
                    </a:cubicBezTo>
                    <a:cubicBezTo>
                      <a:pt x="4" y="61"/>
                      <a:pt x="0" y="67"/>
                      <a:pt x="12" y="70"/>
                    </a:cubicBezTo>
                    <a:cubicBezTo>
                      <a:pt x="18" y="78"/>
                      <a:pt x="14" y="87"/>
                      <a:pt x="24" y="90"/>
                    </a:cubicBezTo>
                    <a:cubicBezTo>
                      <a:pt x="42" y="72"/>
                      <a:pt x="18" y="79"/>
                      <a:pt x="64" y="76"/>
                    </a:cubicBezTo>
                    <a:cubicBezTo>
                      <a:pt x="82" y="80"/>
                      <a:pt x="95" y="78"/>
                      <a:pt x="82" y="58"/>
                    </a:cubicBezTo>
                    <a:cubicBezTo>
                      <a:pt x="85" y="53"/>
                      <a:pt x="88" y="46"/>
                      <a:pt x="89" y="41"/>
                    </a:cubicBezTo>
                    <a:cubicBezTo>
                      <a:pt x="90" y="36"/>
                      <a:pt x="91" y="34"/>
                      <a:pt x="90" y="30"/>
                    </a:cubicBezTo>
                    <a:cubicBezTo>
                      <a:pt x="90" y="23"/>
                      <a:pt x="85" y="19"/>
                      <a:pt x="83" y="15"/>
                    </a:cubicBezTo>
                    <a:cubicBezTo>
                      <a:pt x="80" y="10"/>
                      <a:pt x="81" y="5"/>
                      <a:pt x="75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4" name="Freeform 52">
                <a:extLst>
                  <a:ext uri="{FF2B5EF4-FFF2-40B4-BE49-F238E27FC236}">
                    <a16:creationId xmlns:a16="http://schemas.microsoft.com/office/drawing/2014/main" id="{9FEEDA0D-8E87-4256-86E7-731C350ADE99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gray">
              <a:xfrm>
                <a:off x="4719638" y="4727575"/>
                <a:ext cx="393700" cy="352425"/>
              </a:xfrm>
              <a:custGeom>
                <a:avLst/>
                <a:gdLst>
                  <a:gd name="T0" fmla="*/ 15 w 244"/>
                  <a:gd name="T1" fmla="*/ 100 h 222"/>
                  <a:gd name="T2" fmla="*/ 16 w 244"/>
                  <a:gd name="T3" fmla="*/ 128 h 222"/>
                  <a:gd name="T4" fmla="*/ 30 w 244"/>
                  <a:gd name="T5" fmla="*/ 149 h 222"/>
                  <a:gd name="T6" fmla="*/ 37 w 244"/>
                  <a:gd name="T7" fmla="*/ 193 h 222"/>
                  <a:gd name="T8" fmla="*/ 51 w 244"/>
                  <a:gd name="T9" fmla="*/ 205 h 222"/>
                  <a:gd name="T10" fmla="*/ 84 w 244"/>
                  <a:gd name="T11" fmla="*/ 206 h 222"/>
                  <a:gd name="T12" fmla="*/ 144 w 244"/>
                  <a:gd name="T13" fmla="*/ 199 h 222"/>
                  <a:gd name="T14" fmla="*/ 166 w 244"/>
                  <a:gd name="T15" fmla="*/ 194 h 222"/>
                  <a:gd name="T16" fmla="*/ 177 w 244"/>
                  <a:gd name="T17" fmla="*/ 182 h 222"/>
                  <a:gd name="T18" fmla="*/ 192 w 244"/>
                  <a:gd name="T19" fmla="*/ 167 h 222"/>
                  <a:gd name="T20" fmla="*/ 207 w 244"/>
                  <a:gd name="T21" fmla="*/ 152 h 222"/>
                  <a:gd name="T22" fmla="*/ 216 w 244"/>
                  <a:gd name="T23" fmla="*/ 139 h 222"/>
                  <a:gd name="T24" fmla="*/ 243 w 244"/>
                  <a:gd name="T25" fmla="*/ 112 h 222"/>
                  <a:gd name="T26" fmla="*/ 244 w 244"/>
                  <a:gd name="T27" fmla="*/ 83 h 222"/>
                  <a:gd name="T28" fmla="*/ 235 w 244"/>
                  <a:gd name="T29" fmla="*/ 71 h 222"/>
                  <a:gd name="T30" fmla="*/ 241 w 244"/>
                  <a:gd name="T31" fmla="*/ 52 h 222"/>
                  <a:gd name="T32" fmla="*/ 231 w 244"/>
                  <a:gd name="T33" fmla="*/ 41 h 222"/>
                  <a:gd name="T34" fmla="*/ 231 w 244"/>
                  <a:gd name="T35" fmla="*/ 22 h 222"/>
                  <a:gd name="T36" fmla="*/ 223 w 244"/>
                  <a:gd name="T37" fmla="*/ 14 h 222"/>
                  <a:gd name="T38" fmla="*/ 213 w 244"/>
                  <a:gd name="T39" fmla="*/ 2 h 222"/>
                  <a:gd name="T40" fmla="*/ 191 w 244"/>
                  <a:gd name="T41" fmla="*/ 3 h 222"/>
                  <a:gd name="T42" fmla="*/ 169 w 244"/>
                  <a:gd name="T43" fmla="*/ 11 h 222"/>
                  <a:gd name="T44" fmla="*/ 163 w 244"/>
                  <a:gd name="T45" fmla="*/ 26 h 222"/>
                  <a:gd name="T46" fmla="*/ 156 w 244"/>
                  <a:gd name="T47" fmla="*/ 37 h 222"/>
                  <a:gd name="T48" fmla="*/ 157 w 244"/>
                  <a:gd name="T49" fmla="*/ 40 h 222"/>
                  <a:gd name="T50" fmla="*/ 145 w 244"/>
                  <a:gd name="T51" fmla="*/ 47 h 222"/>
                  <a:gd name="T52" fmla="*/ 132 w 244"/>
                  <a:gd name="T53" fmla="*/ 50 h 222"/>
                  <a:gd name="T54" fmla="*/ 115 w 244"/>
                  <a:gd name="T55" fmla="*/ 56 h 222"/>
                  <a:gd name="T56" fmla="*/ 91 w 244"/>
                  <a:gd name="T57" fmla="*/ 64 h 222"/>
                  <a:gd name="T58" fmla="*/ 70 w 244"/>
                  <a:gd name="T59" fmla="*/ 77 h 222"/>
                  <a:gd name="T60" fmla="*/ 64 w 244"/>
                  <a:gd name="T61" fmla="*/ 89 h 222"/>
                  <a:gd name="T62" fmla="*/ 52 w 244"/>
                  <a:gd name="T63" fmla="*/ 106 h 222"/>
                  <a:gd name="T64" fmla="*/ 36 w 244"/>
                  <a:gd name="T65" fmla="*/ 111 h 222"/>
                  <a:gd name="T66" fmla="*/ 24 w 244"/>
                  <a:gd name="T67" fmla="*/ 110 h 222"/>
                  <a:gd name="T68" fmla="*/ 15 w 244"/>
                  <a:gd name="T69" fmla="*/ 10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4" h="222">
                    <a:moveTo>
                      <a:pt x="15" y="100"/>
                    </a:moveTo>
                    <a:cubicBezTo>
                      <a:pt x="0" y="102"/>
                      <a:pt x="7" y="122"/>
                      <a:pt x="16" y="128"/>
                    </a:cubicBezTo>
                    <a:cubicBezTo>
                      <a:pt x="22" y="138"/>
                      <a:pt x="20" y="143"/>
                      <a:pt x="30" y="149"/>
                    </a:cubicBezTo>
                    <a:cubicBezTo>
                      <a:pt x="33" y="164"/>
                      <a:pt x="22" y="185"/>
                      <a:pt x="37" y="193"/>
                    </a:cubicBezTo>
                    <a:cubicBezTo>
                      <a:pt x="40" y="203"/>
                      <a:pt x="41" y="203"/>
                      <a:pt x="51" y="205"/>
                    </a:cubicBezTo>
                    <a:cubicBezTo>
                      <a:pt x="53" y="222"/>
                      <a:pt x="73" y="208"/>
                      <a:pt x="84" y="206"/>
                    </a:cubicBezTo>
                    <a:cubicBezTo>
                      <a:pt x="103" y="197"/>
                      <a:pt x="167" y="216"/>
                      <a:pt x="144" y="199"/>
                    </a:cubicBezTo>
                    <a:cubicBezTo>
                      <a:pt x="155" y="191"/>
                      <a:pt x="138" y="202"/>
                      <a:pt x="166" y="194"/>
                    </a:cubicBezTo>
                    <a:cubicBezTo>
                      <a:pt x="168" y="193"/>
                      <a:pt x="174" y="184"/>
                      <a:pt x="177" y="182"/>
                    </a:cubicBezTo>
                    <a:cubicBezTo>
                      <a:pt x="181" y="176"/>
                      <a:pt x="186" y="171"/>
                      <a:pt x="192" y="167"/>
                    </a:cubicBezTo>
                    <a:cubicBezTo>
                      <a:pt x="198" y="160"/>
                      <a:pt x="199" y="155"/>
                      <a:pt x="207" y="152"/>
                    </a:cubicBezTo>
                    <a:cubicBezTo>
                      <a:pt x="210" y="148"/>
                      <a:pt x="213" y="143"/>
                      <a:pt x="216" y="139"/>
                    </a:cubicBezTo>
                    <a:cubicBezTo>
                      <a:pt x="217" y="125"/>
                      <a:pt x="229" y="113"/>
                      <a:pt x="243" y="112"/>
                    </a:cubicBezTo>
                    <a:cubicBezTo>
                      <a:pt x="239" y="102"/>
                      <a:pt x="242" y="93"/>
                      <a:pt x="244" y="83"/>
                    </a:cubicBezTo>
                    <a:cubicBezTo>
                      <a:pt x="240" y="78"/>
                      <a:pt x="237" y="77"/>
                      <a:pt x="235" y="71"/>
                    </a:cubicBezTo>
                    <a:cubicBezTo>
                      <a:pt x="234" y="66"/>
                      <a:pt x="243" y="61"/>
                      <a:pt x="241" y="52"/>
                    </a:cubicBezTo>
                    <a:cubicBezTo>
                      <a:pt x="240" y="47"/>
                      <a:pt x="233" y="46"/>
                      <a:pt x="231" y="41"/>
                    </a:cubicBezTo>
                    <a:cubicBezTo>
                      <a:pt x="229" y="36"/>
                      <a:pt x="232" y="26"/>
                      <a:pt x="231" y="22"/>
                    </a:cubicBezTo>
                    <a:cubicBezTo>
                      <a:pt x="230" y="18"/>
                      <a:pt x="226" y="17"/>
                      <a:pt x="223" y="14"/>
                    </a:cubicBezTo>
                    <a:cubicBezTo>
                      <a:pt x="222" y="6"/>
                      <a:pt x="221" y="5"/>
                      <a:pt x="213" y="2"/>
                    </a:cubicBezTo>
                    <a:cubicBezTo>
                      <a:pt x="208" y="0"/>
                      <a:pt x="198" y="2"/>
                      <a:pt x="191" y="3"/>
                    </a:cubicBezTo>
                    <a:cubicBezTo>
                      <a:pt x="184" y="4"/>
                      <a:pt x="174" y="7"/>
                      <a:pt x="169" y="11"/>
                    </a:cubicBezTo>
                    <a:cubicBezTo>
                      <a:pt x="166" y="16"/>
                      <a:pt x="166" y="21"/>
                      <a:pt x="163" y="26"/>
                    </a:cubicBezTo>
                    <a:cubicBezTo>
                      <a:pt x="161" y="30"/>
                      <a:pt x="157" y="35"/>
                      <a:pt x="156" y="37"/>
                    </a:cubicBezTo>
                    <a:cubicBezTo>
                      <a:pt x="155" y="39"/>
                      <a:pt x="159" y="38"/>
                      <a:pt x="157" y="40"/>
                    </a:cubicBezTo>
                    <a:cubicBezTo>
                      <a:pt x="155" y="42"/>
                      <a:pt x="149" y="45"/>
                      <a:pt x="145" y="47"/>
                    </a:cubicBezTo>
                    <a:cubicBezTo>
                      <a:pt x="141" y="53"/>
                      <a:pt x="139" y="49"/>
                      <a:pt x="132" y="50"/>
                    </a:cubicBezTo>
                    <a:cubicBezTo>
                      <a:pt x="126" y="55"/>
                      <a:pt x="122" y="59"/>
                      <a:pt x="115" y="56"/>
                    </a:cubicBezTo>
                    <a:cubicBezTo>
                      <a:pt x="108" y="49"/>
                      <a:pt x="99" y="59"/>
                      <a:pt x="91" y="64"/>
                    </a:cubicBezTo>
                    <a:cubicBezTo>
                      <a:pt x="86" y="70"/>
                      <a:pt x="76" y="73"/>
                      <a:pt x="70" y="77"/>
                    </a:cubicBezTo>
                    <a:cubicBezTo>
                      <a:pt x="64" y="81"/>
                      <a:pt x="67" y="84"/>
                      <a:pt x="64" y="89"/>
                    </a:cubicBezTo>
                    <a:cubicBezTo>
                      <a:pt x="61" y="94"/>
                      <a:pt x="55" y="102"/>
                      <a:pt x="52" y="106"/>
                    </a:cubicBezTo>
                    <a:cubicBezTo>
                      <a:pt x="47" y="110"/>
                      <a:pt x="41" y="110"/>
                      <a:pt x="36" y="111"/>
                    </a:cubicBezTo>
                    <a:cubicBezTo>
                      <a:pt x="31" y="112"/>
                      <a:pt x="27" y="112"/>
                      <a:pt x="24" y="110"/>
                    </a:cubicBezTo>
                    <a:cubicBezTo>
                      <a:pt x="20" y="107"/>
                      <a:pt x="19" y="104"/>
                      <a:pt x="15" y="10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5" name="Freeform 53">
                <a:extLst>
                  <a:ext uri="{FF2B5EF4-FFF2-40B4-BE49-F238E27FC236}">
                    <a16:creationId xmlns:a16="http://schemas.microsoft.com/office/drawing/2014/main" id="{7454100D-192C-4EA8-916D-DDD212508CEB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gray">
              <a:xfrm>
                <a:off x="4972051" y="4892675"/>
                <a:ext cx="68263" cy="80963"/>
              </a:xfrm>
              <a:custGeom>
                <a:avLst/>
                <a:gdLst>
                  <a:gd name="T0" fmla="*/ 21 w 43"/>
                  <a:gd name="T1" fmla="*/ 5 h 51"/>
                  <a:gd name="T2" fmla="*/ 7 w 43"/>
                  <a:gd name="T3" fmla="*/ 12 h 51"/>
                  <a:gd name="T4" fmla="*/ 9 w 43"/>
                  <a:gd name="T5" fmla="*/ 23 h 51"/>
                  <a:gd name="T6" fmla="*/ 10 w 43"/>
                  <a:gd name="T7" fmla="*/ 39 h 51"/>
                  <a:gd name="T8" fmla="*/ 36 w 43"/>
                  <a:gd name="T9" fmla="*/ 27 h 51"/>
                  <a:gd name="T10" fmla="*/ 25 w 43"/>
                  <a:gd name="T11" fmla="*/ 0 h 51"/>
                  <a:gd name="T12" fmla="*/ 21 w 43"/>
                  <a:gd name="T13" fmla="*/ 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51">
                    <a:moveTo>
                      <a:pt x="21" y="5"/>
                    </a:moveTo>
                    <a:cubicBezTo>
                      <a:pt x="12" y="7"/>
                      <a:pt x="16" y="10"/>
                      <a:pt x="7" y="12"/>
                    </a:cubicBezTo>
                    <a:cubicBezTo>
                      <a:pt x="0" y="16"/>
                      <a:pt x="3" y="20"/>
                      <a:pt x="9" y="23"/>
                    </a:cubicBezTo>
                    <a:cubicBezTo>
                      <a:pt x="9" y="28"/>
                      <a:pt x="6" y="36"/>
                      <a:pt x="10" y="39"/>
                    </a:cubicBezTo>
                    <a:cubicBezTo>
                      <a:pt x="24" y="51"/>
                      <a:pt x="28" y="30"/>
                      <a:pt x="36" y="27"/>
                    </a:cubicBezTo>
                    <a:cubicBezTo>
                      <a:pt x="43" y="13"/>
                      <a:pt x="39" y="6"/>
                      <a:pt x="25" y="0"/>
                    </a:cubicBezTo>
                    <a:cubicBezTo>
                      <a:pt x="23" y="1"/>
                      <a:pt x="8" y="8"/>
                      <a:pt x="21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7" name="Freeform 54">
                <a:extLst>
                  <a:ext uri="{FF2B5EF4-FFF2-40B4-BE49-F238E27FC236}">
                    <a16:creationId xmlns:a16="http://schemas.microsoft.com/office/drawing/2014/main" id="{777A0721-52A3-4E48-A551-CE2A73BF49DE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gray">
              <a:xfrm>
                <a:off x="4610101" y="4597400"/>
                <a:ext cx="247650" cy="307975"/>
              </a:xfrm>
              <a:custGeom>
                <a:avLst/>
                <a:gdLst>
                  <a:gd name="T0" fmla="*/ 75 w 154"/>
                  <a:gd name="T1" fmla="*/ 191 h 194"/>
                  <a:gd name="T2" fmla="*/ 60 w 154"/>
                  <a:gd name="T3" fmla="*/ 179 h 194"/>
                  <a:gd name="T4" fmla="*/ 53 w 154"/>
                  <a:gd name="T5" fmla="*/ 165 h 194"/>
                  <a:gd name="T6" fmla="*/ 47 w 154"/>
                  <a:gd name="T7" fmla="*/ 120 h 194"/>
                  <a:gd name="T8" fmla="*/ 24 w 154"/>
                  <a:gd name="T9" fmla="*/ 51 h 194"/>
                  <a:gd name="T10" fmla="*/ 8 w 154"/>
                  <a:gd name="T11" fmla="*/ 24 h 194"/>
                  <a:gd name="T12" fmla="*/ 0 w 154"/>
                  <a:gd name="T13" fmla="*/ 11 h 194"/>
                  <a:gd name="T14" fmla="*/ 24 w 154"/>
                  <a:gd name="T15" fmla="*/ 0 h 194"/>
                  <a:gd name="T16" fmla="*/ 39 w 154"/>
                  <a:gd name="T17" fmla="*/ 11 h 194"/>
                  <a:gd name="T18" fmla="*/ 101 w 154"/>
                  <a:gd name="T19" fmla="*/ 8 h 194"/>
                  <a:gd name="T20" fmla="*/ 107 w 154"/>
                  <a:gd name="T21" fmla="*/ 12 h 194"/>
                  <a:gd name="T22" fmla="*/ 141 w 154"/>
                  <a:gd name="T23" fmla="*/ 20 h 194"/>
                  <a:gd name="T24" fmla="*/ 125 w 154"/>
                  <a:gd name="T25" fmla="*/ 84 h 194"/>
                  <a:gd name="T26" fmla="*/ 128 w 154"/>
                  <a:gd name="T27" fmla="*/ 131 h 194"/>
                  <a:gd name="T28" fmla="*/ 137 w 154"/>
                  <a:gd name="T29" fmla="*/ 156 h 194"/>
                  <a:gd name="T30" fmla="*/ 131 w 154"/>
                  <a:gd name="T31" fmla="*/ 167 h 194"/>
                  <a:gd name="T32" fmla="*/ 111 w 154"/>
                  <a:gd name="T33" fmla="*/ 192 h 194"/>
                  <a:gd name="T34" fmla="*/ 81 w 154"/>
                  <a:gd name="T35" fmla="*/ 185 h 194"/>
                  <a:gd name="T36" fmla="*/ 75 w 154"/>
                  <a:gd name="T37" fmla="*/ 191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4" h="194">
                    <a:moveTo>
                      <a:pt x="75" y="191"/>
                    </a:moveTo>
                    <a:cubicBezTo>
                      <a:pt x="70" y="184"/>
                      <a:pt x="69" y="181"/>
                      <a:pt x="60" y="179"/>
                    </a:cubicBezTo>
                    <a:cubicBezTo>
                      <a:pt x="59" y="173"/>
                      <a:pt x="56" y="170"/>
                      <a:pt x="53" y="165"/>
                    </a:cubicBezTo>
                    <a:cubicBezTo>
                      <a:pt x="51" y="150"/>
                      <a:pt x="55" y="133"/>
                      <a:pt x="47" y="120"/>
                    </a:cubicBezTo>
                    <a:cubicBezTo>
                      <a:pt x="45" y="82"/>
                      <a:pt x="41" y="80"/>
                      <a:pt x="24" y="51"/>
                    </a:cubicBezTo>
                    <a:cubicBezTo>
                      <a:pt x="22" y="38"/>
                      <a:pt x="18" y="32"/>
                      <a:pt x="8" y="24"/>
                    </a:cubicBezTo>
                    <a:cubicBezTo>
                      <a:pt x="6" y="19"/>
                      <a:pt x="3" y="15"/>
                      <a:pt x="0" y="11"/>
                    </a:cubicBezTo>
                    <a:cubicBezTo>
                      <a:pt x="3" y="3"/>
                      <a:pt x="16" y="4"/>
                      <a:pt x="24" y="0"/>
                    </a:cubicBezTo>
                    <a:cubicBezTo>
                      <a:pt x="29" y="2"/>
                      <a:pt x="34" y="9"/>
                      <a:pt x="39" y="11"/>
                    </a:cubicBezTo>
                    <a:cubicBezTo>
                      <a:pt x="52" y="13"/>
                      <a:pt x="84" y="7"/>
                      <a:pt x="101" y="8"/>
                    </a:cubicBezTo>
                    <a:cubicBezTo>
                      <a:pt x="112" y="8"/>
                      <a:pt x="100" y="10"/>
                      <a:pt x="107" y="12"/>
                    </a:cubicBezTo>
                    <a:cubicBezTo>
                      <a:pt x="114" y="14"/>
                      <a:pt x="138" y="8"/>
                      <a:pt x="141" y="20"/>
                    </a:cubicBezTo>
                    <a:cubicBezTo>
                      <a:pt x="140" y="43"/>
                      <a:pt x="154" y="81"/>
                      <a:pt x="125" y="84"/>
                    </a:cubicBezTo>
                    <a:cubicBezTo>
                      <a:pt x="123" y="103"/>
                      <a:pt x="127" y="117"/>
                      <a:pt x="128" y="131"/>
                    </a:cubicBezTo>
                    <a:cubicBezTo>
                      <a:pt x="130" y="143"/>
                      <a:pt x="137" y="150"/>
                      <a:pt x="137" y="156"/>
                    </a:cubicBezTo>
                    <a:cubicBezTo>
                      <a:pt x="137" y="162"/>
                      <a:pt x="135" y="161"/>
                      <a:pt x="131" y="167"/>
                    </a:cubicBezTo>
                    <a:cubicBezTo>
                      <a:pt x="127" y="173"/>
                      <a:pt x="119" y="189"/>
                      <a:pt x="111" y="192"/>
                    </a:cubicBezTo>
                    <a:cubicBezTo>
                      <a:pt x="93" y="191"/>
                      <a:pt x="92" y="194"/>
                      <a:pt x="81" y="185"/>
                    </a:cubicBezTo>
                    <a:cubicBezTo>
                      <a:pt x="77" y="186"/>
                      <a:pt x="66" y="187"/>
                      <a:pt x="75" y="19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8" name="Freeform 55">
                <a:extLst>
                  <a:ext uri="{FF2B5EF4-FFF2-40B4-BE49-F238E27FC236}">
                    <a16:creationId xmlns:a16="http://schemas.microsoft.com/office/drawing/2014/main" id="{EF88E01B-DB62-47ED-82DF-400D35756DD1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gray">
              <a:xfrm>
                <a:off x="4808538" y="4606925"/>
                <a:ext cx="239713" cy="255588"/>
              </a:xfrm>
              <a:custGeom>
                <a:avLst/>
                <a:gdLst>
                  <a:gd name="T0" fmla="*/ 20 w 149"/>
                  <a:gd name="T1" fmla="*/ 11 h 161"/>
                  <a:gd name="T2" fmla="*/ 20 w 149"/>
                  <a:gd name="T3" fmla="*/ 21 h 161"/>
                  <a:gd name="T4" fmla="*/ 20 w 149"/>
                  <a:gd name="T5" fmla="*/ 35 h 161"/>
                  <a:gd name="T6" fmla="*/ 20 w 149"/>
                  <a:gd name="T7" fmla="*/ 48 h 161"/>
                  <a:gd name="T8" fmla="*/ 18 w 149"/>
                  <a:gd name="T9" fmla="*/ 69 h 161"/>
                  <a:gd name="T10" fmla="*/ 3 w 149"/>
                  <a:gd name="T11" fmla="*/ 84 h 161"/>
                  <a:gd name="T12" fmla="*/ 2 w 149"/>
                  <a:gd name="T13" fmla="*/ 94 h 161"/>
                  <a:gd name="T14" fmla="*/ 3 w 149"/>
                  <a:gd name="T15" fmla="*/ 123 h 161"/>
                  <a:gd name="T16" fmla="*/ 14 w 149"/>
                  <a:gd name="T17" fmla="*/ 147 h 161"/>
                  <a:gd name="T18" fmla="*/ 32 w 149"/>
                  <a:gd name="T19" fmla="*/ 144 h 161"/>
                  <a:gd name="T20" fmla="*/ 47 w 149"/>
                  <a:gd name="T21" fmla="*/ 129 h 161"/>
                  <a:gd name="T22" fmla="*/ 66 w 149"/>
                  <a:gd name="T23" fmla="*/ 131 h 161"/>
                  <a:gd name="T24" fmla="*/ 80 w 149"/>
                  <a:gd name="T25" fmla="*/ 128 h 161"/>
                  <a:gd name="T26" fmla="*/ 98 w 149"/>
                  <a:gd name="T27" fmla="*/ 117 h 161"/>
                  <a:gd name="T28" fmla="*/ 107 w 149"/>
                  <a:gd name="T29" fmla="*/ 104 h 161"/>
                  <a:gd name="T30" fmla="*/ 116 w 149"/>
                  <a:gd name="T31" fmla="*/ 89 h 161"/>
                  <a:gd name="T32" fmla="*/ 134 w 149"/>
                  <a:gd name="T33" fmla="*/ 81 h 161"/>
                  <a:gd name="T34" fmla="*/ 138 w 149"/>
                  <a:gd name="T35" fmla="*/ 78 h 161"/>
                  <a:gd name="T36" fmla="*/ 137 w 149"/>
                  <a:gd name="T37" fmla="*/ 68 h 161"/>
                  <a:gd name="T38" fmla="*/ 114 w 149"/>
                  <a:gd name="T39" fmla="*/ 63 h 161"/>
                  <a:gd name="T40" fmla="*/ 99 w 149"/>
                  <a:gd name="T41" fmla="*/ 42 h 161"/>
                  <a:gd name="T42" fmla="*/ 84 w 149"/>
                  <a:gd name="T43" fmla="*/ 24 h 161"/>
                  <a:gd name="T44" fmla="*/ 74 w 149"/>
                  <a:gd name="T45" fmla="*/ 9 h 161"/>
                  <a:gd name="T46" fmla="*/ 36 w 149"/>
                  <a:gd name="T47" fmla="*/ 3 h 161"/>
                  <a:gd name="T48" fmla="*/ 24 w 149"/>
                  <a:gd name="T49" fmla="*/ 9 h 161"/>
                  <a:gd name="T50" fmla="*/ 20 w 149"/>
                  <a:gd name="T51" fmla="*/ 1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9" h="161">
                    <a:moveTo>
                      <a:pt x="20" y="11"/>
                    </a:moveTo>
                    <a:cubicBezTo>
                      <a:pt x="19" y="13"/>
                      <a:pt x="20" y="15"/>
                      <a:pt x="20" y="21"/>
                    </a:cubicBezTo>
                    <a:cubicBezTo>
                      <a:pt x="20" y="25"/>
                      <a:pt x="20" y="31"/>
                      <a:pt x="20" y="35"/>
                    </a:cubicBezTo>
                    <a:cubicBezTo>
                      <a:pt x="20" y="39"/>
                      <a:pt x="20" y="42"/>
                      <a:pt x="20" y="48"/>
                    </a:cubicBezTo>
                    <a:cubicBezTo>
                      <a:pt x="20" y="54"/>
                      <a:pt x="21" y="63"/>
                      <a:pt x="18" y="69"/>
                    </a:cubicBezTo>
                    <a:cubicBezTo>
                      <a:pt x="16" y="74"/>
                      <a:pt x="5" y="79"/>
                      <a:pt x="3" y="84"/>
                    </a:cubicBezTo>
                    <a:cubicBezTo>
                      <a:pt x="2" y="88"/>
                      <a:pt x="0" y="86"/>
                      <a:pt x="2" y="94"/>
                    </a:cubicBezTo>
                    <a:cubicBezTo>
                      <a:pt x="2" y="100"/>
                      <a:pt x="1" y="114"/>
                      <a:pt x="3" y="123"/>
                    </a:cubicBezTo>
                    <a:cubicBezTo>
                      <a:pt x="5" y="132"/>
                      <a:pt x="9" y="144"/>
                      <a:pt x="14" y="147"/>
                    </a:cubicBezTo>
                    <a:cubicBezTo>
                      <a:pt x="16" y="161"/>
                      <a:pt x="22" y="150"/>
                      <a:pt x="32" y="144"/>
                    </a:cubicBezTo>
                    <a:cubicBezTo>
                      <a:pt x="38" y="143"/>
                      <a:pt x="41" y="131"/>
                      <a:pt x="47" y="129"/>
                    </a:cubicBezTo>
                    <a:cubicBezTo>
                      <a:pt x="53" y="127"/>
                      <a:pt x="61" y="131"/>
                      <a:pt x="66" y="131"/>
                    </a:cubicBezTo>
                    <a:cubicBezTo>
                      <a:pt x="71" y="131"/>
                      <a:pt x="75" y="130"/>
                      <a:pt x="80" y="128"/>
                    </a:cubicBezTo>
                    <a:cubicBezTo>
                      <a:pt x="90" y="126"/>
                      <a:pt x="90" y="122"/>
                      <a:pt x="98" y="117"/>
                    </a:cubicBezTo>
                    <a:cubicBezTo>
                      <a:pt x="101" y="113"/>
                      <a:pt x="105" y="109"/>
                      <a:pt x="107" y="104"/>
                    </a:cubicBezTo>
                    <a:cubicBezTo>
                      <a:pt x="108" y="95"/>
                      <a:pt x="108" y="94"/>
                      <a:pt x="116" y="89"/>
                    </a:cubicBezTo>
                    <a:cubicBezTo>
                      <a:pt x="120" y="82"/>
                      <a:pt x="126" y="83"/>
                      <a:pt x="134" y="81"/>
                    </a:cubicBezTo>
                    <a:cubicBezTo>
                      <a:pt x="135" y="80"/>
                      <a:pt x="136" y="79"/>
                      <a:pt x="138" y="78"/>
                    </a:cubicBezTo>
                    <a:cubicBezTo>
                      <a:pt x="147" y="74"/>
                      <a:pt x="149" y="70"/>
                      <a:pt x="137" y="68"/>
                    </a:cubicBezTo>
                    <a:cubicBezTo>
                      <a:pt x="129" y="65"/>
                      <a:pt x="122" y="66"/>
                      <a:pt x="114" y="63"/>
                    </a:cubicBezTo>
                    <a:cubicBezTo>
                      <a:pt x="113" y="45"/>
                      <a:pt x="114" y="47"/>
                      <a:pt x="99" y="42"/>
                    </a:cubicBezTo>
                    <a:cubicBezTo>
                      <a:pt x="91" y="36"/>
                      <a:pt x="94" y="28"/>
                      <a:pt x="84" y="24"/>
                    </a:cubicBezTo>
                    <a:cubicBezTo>
                      <a:pt x="80" y="18"/>
                      <a:pt x="81" y="12"/>
                      <a:pt x="74" y="9"/>
                    </a:cubicBezTo>
                    <a:cubicBezTo>
                      <a:pt x="62" y="11"/>
                      <a:pt x="48" y="5"/>
                      <a:pt x="36" y="3"/>
                    </a:cubicBezTo>
                    <a:cubicBezTo>
                      <a:pt x="31" y="0"/>
                      <a:pt x="24" y="9"/>
                      <a:pt x="24" y="9"/>
                    </a:cubicBezTo>
                    <a:cubicBezTo>
                      <a:pt x="23" y="10"/>
                      <a:pt x="20" y="11"/>
                      <a:pt x="20" y="1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89" name="Freeform 56">
                <a:extLst>
                  <a:ext uri="{FF2B5EF4-FFF2-40B4-BE49-F238E27FC236}">
                    <a16:creationId xmlns:a16="http://schemas.microsoft.com/office/drawing/2014/main" id="{ECEB3211-3CBE-42BB-924A-A51C6F58B9AF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gray">
              <a:xfrm>
                <a:off x="5365751" y="4473575"/>
                <a:ext cx="179388" cy="338138"/>
              </a:xfrm>
              <a:custGeom>
                <a:avLst/>
                <a:gdLst>
                  <a:gd name="T0" fmla="*/ 15 w 112"/>
                  <a:gd name="T1" fmla="*/ 204 h 213"/>
                  <a:gd name="T2" fmla="*/ 3 w 112"/>
                  <a:gd name="T3" fmla="*/ 179 h 213"/>
                  <a:gd name="T4" fmla="*/ 14 w 112"/>
                  <a:gd name="T5" fmla="*/ 140 h 213"/>
                  <a:gd name="T6" fmla="*/ 12 w 112"/>
                  <a:gd name="T7" fmla="*/ 98 h 213"/>
                  <a:gd name="T8" fmla="*/ 47 w 112"/>
                  <a:gd name="T9" fmla="*/ 56 h 213"/>
                  <a:gd name="T10" fmla="*/ 59 w 112"/>
                  <a:gd name="T11" fmla="*/ 44 h 213"/>
                  <a:gd name="T12" fmla="*/ 69 w 112"/>
                  <a:gd name="T13" fmla="*/ 32 h 213"/>
                  <a:gd name="T14" fmla="*/ 80 w 112"/>
                  <a:gd name="T15" fmla="*/ 18 h 213"/>
                  <a:gd name="T16" fmla="*/ 90 w 112"/>
                  <a:gd name="T17" fmla="*/ 0 h 213"/>
                  <a:gd name="T18" fmla="*/ 101 w 112"/>
                  <a:gd name="T19" fmla="*/ 17 h 213"/>
                  <a:gd name="T20" fmla="*/ 110 w 112"/>
                  <a:gd name="T21" fmla="*/ 56 h 213"/>
                  <a:gd name="T22" fmla="*/ 102 w 112"/>
                  <a:gd name="T23" fmla="*/ 68 h 213"/>
                  <a:gd name="T24" fmla="*/ 95 w 112"/>
                  <a:gd name="T25" fmla="*/ 90 h 213"/>
                  <a:gd name="T26" fmla="*/ 80 w 112"/>
                  <a:gd name="T27" fmla="*/ 129 h 213"/>
                  <a:gd name="T28" fmla="*/ 74 w 112"/>
                  <a:gd name="T29" fmla="*/ 159 h 213"/>
                  <a:gd name="T30" fmla="*/ 66 w 112"/>
                  <a:gd name="T31" fmla="*/ 186 h 213"/>
                  <a:gd name="T32" fmla="*/ 33 w 112"/>
                  <a:gd name="T33" fmla="*/ 210 h 213"/>
                  <a:gd name="T34" fmla="*/ 15 w 112"/>
                  <a:gd name="T35" fmla="*/ 20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213">
                    <a:moveTo>
                      <a:pt x="15" y="204"/>
                    </a:moveTo>
                    <a:cubicBezTo>
                      <a:pt x="9" y="195"/>
                      <a:pt x="12" y="181"/>
                      <a:pt x="3" y="179"/>
                    </a:cubicBezTo>
                    <a:cubicBezTo>
                      <a:pt x="0" y="163"/>
                      <a:pt x="0" y="148"/>
                      <a:pt x="14" y="140"/>
                    </a:cubicBezTo>
                    <a:cubicBezTo>
                      <a:pt x="21" y="128"/>
                      <a:pt x="18" y="110"/>
                      <a:pt x="12" y="98"/>
                    </a:cubicBezTo>
                    <a:cubicBezTo>
                      <a:pt x="16" y="66"/>
                      <a:pt x="15" y="61"/>
                      <a:pt x="47" y="56"/>
                    </a:cubicBezTo>
                    <a:cubicBezTo>
                      <a:pt x="52" y="52"/>
                      <a:pt x="54" y="48"/>
                      <a:pt x="59" y="44"/>
                    </a:cubicBezTo>
                    <a:cubicBezTo>
                      <a:pt x="62" y="39"/>
                      <a:pt x="64" y="36"/>
                      <a:pt x="69" y="32"/>
                    </a:cubicBezTo>
                    <a:cubicBezTo>
                      <a:pt x="73" y="25"/>
                      <a:pt x="72" y="21"/>
                      <a:pt x="80" y="18"/>
                    </a:cubicBezTo>
                    <a:cubicBezTo>
                      <a:pt x="85" y="12"/>
                      <a:pt x="83" y="5"/>
                      <a:pt x="90" y="0"/>
                    </a:cubicBezTo>
                    <a:cubicBezTo>
                      <a:pt x="99" y="3"/>
                      <a:pt x="96" y="9"/>
                      <a:pt x="101" y="17"/>
                    </a:cubicBezTo>
                    <a:cubicBezTo>
                      <a:pt x="103" y="31"/>
                      <a:pt x="105" y="43"/>
                      <a:pt x="110" y="56"/>
                    </a:cubicBezTo>
                    <a:cubicBezTo>
                      <a:pt x="112" y="66"/>
                      <a:pt x="107" y="60"/>
                      <a:pt x="102" y="68"/>
                    </a:cubicBezTo>
                    <a:cubicBezTo>
                      <a:pt x="105" y="78"/>
                      <a:pt x="103" y="84"/>
                      <a:pt x="95" y="90"/>
                    </a:cubicBezTo>
                    <a:cubicBezTo>
                      <a:pt x="94" y="103"/>
                      <a:pt x="91" y="120"/>
                      <a:pt x="80" y="129"/>
                    </a:cubicBezTo>
                    <a:cubicBezTo>
                      <a:pt x="79" y="140"/>
                      <a:pt x="81" y="150"/>
                      <a:pt x="74" y="159"/>
                    </a:cubicBezTo>
                    <a:cubicBezTo>
                      <a:pt x="72" y="169"/>
                      <a:pt x="71" y="177"/>
                      <a:pt x="66" y="186"/>
                    </a:cubicBezTo>
                    <a:cubicBezTo>
                      <a:pt x="64" y="211"/>
                      <a:pt x="57" y="206"/>
                      <a:pt x="33" y="210"/>
                    </a:cubicBezTo>
                    <a:cubicBezTo>
                      <a:pt x="25" y="213"/>
                      <a:pt x="20" y="209"/>
                      <a:pt x="15" y="20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0" name="Freeform 57">
                <a:extLst>
                  <a:ext uri="{FF2B5EF4-FFF2-40B4-BE49-F238E27FC236}">
                    <a16:creationId xmlns:a16="http://schemas.microsoft.com/office/drawing/2014/main" id="{7119E6A0-C231-4A2F-A5EA-DC7280791CD8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gray">
              <a:xfrm>
                <a:off x="5070476" y="4821238"/>
                <a:ext cx="47625" cy="39688"/>
              </a:xfrm>
              <a:custGeom>
                <a:avLst/>
                <a:gdLst>
                  <a:gd name="T0" fmla="*/ 18 w 30"/>
                  <a:gd name="T1" fmla="*/ 0 h 25"/>
                  <a:gd name="T2" fmla="*/ 5 w 30"/>
                  <a:gd name="T3" fmla="*/ 23 h 25"/>
                  <a:gd name="T4" fmla="*/ 20 w 30"/>
                  <a:gd name="T5" fmla="*/ 21 h 25"/>
                  <a:gd name="T6" fmla="*/ 18 w 30"/>
                  <a:gd name="T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25">
                    <a:moveTo>
                      <a:pt x="18" y="0"/>
                    </a:moveTo>
                    <a:cubicBezTo>
                      <a:pt x="0" y="3"/>
                      <a:pt x="3" y="3"/>
                      <a:pt x="5" y="23"/>
                    </a:cubicBezTo>
                    <a:cubicBezTo>
                      <a:pt x="10" y="22"/>
                      <a:pt x="17" y="25"/>
                      <a:pt x="20" y="21"/>
                    </a:cubicBezTo>
                    <a:cubicBezTo>
                      <a:pt x="30" y="7"/>
                      <a:pt x="9" y="6"/>
                      <a:pt x="18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1" name="Freeform 58">
                <a:extLst>
                  <a:ext uri="{FF2B5EF4-FFF2-40B4-BE49-F238E27FC236}">
                    <a16:creationId xmlns:a16="http://schemas.microsoft.com/office/drawing/2014/main" id="{C3EA630B-C214-4C4D-9D29-0CBD42E06A37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gray">
              <a:xfrm>
                <a:off x="4926013" y="3390900"/>
                <a:ext cx="282575" cy="292100"/>
              </a:xfrm>
              <a:custGeom>
                <a:avLst/>
                <a:gdLst>
                  <a:gd name="T0" fmla="*/ 8 w 175"/>
                  <a:gd name="T1" fmla="*/ 178 h 184"/>
                  <a:gd name="T2" fmla="*/ 151 w 175"/>
                  <a:gd name="T3" fmla="*/ 174 h 184"/>
                  <a:gd name="T4" fmla="*/ 157 w 175"/>
                  <a:gd name="T5" fmla="*/ 145 h 184"/>
                  <a:gd name="T6" fmla="*/ 149 w 175"/>
                  <a:gd name="T7" fmla="*/ 111 h 184"/>
                  <a:gd name="T8" fmla="*/ 131 w 175"/>
                  <a:gd name="T9" fmla="*/ 79 h 184"/>
                  <a:gd name="T10" fmla="*/ 119 w 175"/>
                  <a:gd name="T11" fmla="*/ 51 h 184"/>
                  <a:gd name="T12" fmla="*/ 122 w 175"/>
                  <a:gd name="T13" fmla="*/ 43 h 184"/>
                  <a:gd name="T14" fmla="*/ 127 w 175"/>
                  <a:gd name="T15" fmla="*/ 61 h 184"/>
                  <a:gd name="T16" fmla="*/ 136 w 175"/>
                  <a:gd name="T17" fmla="*/ 79 h 184"/>
                  <a:gd name="T18" fmla="*/ 145 w 175"/>
                  <a:gd name="T19" fmla="*/ 28 h 184"/>
                  <a:gd name="T20" fmla="*/ 115 w 175"/>
                  <a:gd name="T21" fmla="*/ 24 h 184"/>
                  <a:gd name="T22" fmla="*/ 100 w 175"/>
                  <a:gd name="T23" fmla="*/ 10 h 184"/>
                  <a:gd name="T24" fmla="*/ 70 w 175"/>
                  <a:gd name="T25" fmla="*/ 27 h 184"/>
                  <a:gd name="T26" fmla="*/ 41 w 175"/>
                  <a:gd name="T27" fmla="*/ 15 h 184"/>
                  <a:gd name="T28" fmla="*/ 7 w 175"/>
                  <a:gd name="T29" fmla="*/ 13 h 184"/>
                  <a:gd name="T30" fmla="*/ 1 w 175"/>
                  <a:gd name="T31" fmla="*/ 27 h 184"/>
                  <a:gd name="T32" fmla="*/ 5 w 175"/>
                  <a:gd name="T33" fmla="*/ 106 h 184"/>
                  <a:gd name="T34" fmla="*/ 4 w 175"/>
                  <a:gd name="T35" fmla="*/ 177 h 184"/>
                  <a:gd name="T36" fmla="*/ 8 w 175"/>
                  <a:gd name="T37" fmla="*/ 17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5" h="184">
                    <a:moveTo>
                      <a:pt x="8" y="178"/>
                    </a:moveTo>
                    <a:cubicBezTo>
                      <a:pt x="34" y="173"/>
                      <a:pt x="127" y="184"/>
                      <a:pt x="151" y="174"/>
                    </a:cubicBezTo>
                    <a:cubicBezTo>
                      <a:pt x="175" y="169"/>
                      <a:pt x="157" y="155"/>
                      <a:pt x="157" y="145"/>
                    </a:cubicBezTo>
                    <a:cubicBezTo>
                      <a:pt x="157" y="135"/>
                      <a:pt x="153" y="122"/>
                      <a:pt x="149" y="111"/>
                    </a:cubicBezTo>
                    <a:cubicBezTo>
                      <a:pt x="147" y="99"/>
                      <a:pt x="137" y="89"/>
                      <a:pt x="131" y="79"/>
                    </a:cubicBezTo>
                    <a:cubicBezTo>
                      <a:pt x="130" y="67"/>
                      <a:pt x="129" y="57"/>
                      <a:pt x="119" y="51"/>
                    </a:cubicBezTo>
                    <a:cubicBezTo>
                      <a:pt x="118" y="48"/>
                      <a:pt x="119" y="42"/>
                      <a:pt x="122" y="43"/>
                    </a:cubicBezTo>
                    <a:cubicBezTo>
                      <a:pt x="124" y="44"/>
                      <a:pt x="126" y="58"/>
                      <a:pt x="127" y="61"/>
                    </a:cubicBezTo>
                    <a:cubicBezTo>
                      <a:pt x="128" y="68"/>
                      <a:pt x="128" y="77"/>
                      <a:pt x="136" y="79"/>
                    </a:cubicBezTo>
                    <a:cubicBezTo>
                      <a:pt x="162" y="76"/>
                      <a:pt x="151" y="81"/>
                      <a:pt x="145" y="28"/>
                    </a:cubicBezTo>
                    <a:cubicBezTo>
                      <a:pt x="144" y="18"/>
                      <a:pt x="125" y="24"/>
                      <a:pt x="115" y="24"/>
                    </a:cubicBezTo>
                    <a:cubicBezTo>
                      <a:pt x="109" y="20"/>
                      <a:pt x="106" y="15"/>
                      <a:pt x="100" y="10"/>
                    </a:cubicBezTo>
                    <a:cubicBezTo>
                      <a:pt x="87" y="13"/>
                      <a:pt x="82" y="21"/>
                      <a:pt x="70" y="27"/>
                    </a:cubicBezTo>
                    <a:cubicBezTo>
                      <a:pt x="60" y="24"/>
                      <a:pt x="51" y="17"/>
                      <a:pt x="41" y="15"/>
                    </a:cubicBezTo>
                    <a:cubicBezTo>
                      <a:pt x="30" y="9"/>
                      <a:pt x="21" y="12"/>
                      <a:pt x="7" y="13"/>
                    </a:cubicBezTo>
                    <a:cubicBezTo>
                      <a:pt x="0" y="15"/>
                      <a:pt x="1" y="0"/>
                      <a:pt x="1" y="27"/>
                    </a:cubicBezTo>
                    <a:cubicBezTo>
                      <a:pt x="0" y="42"/>
                      <a:pt x="5" y="81"/>
                      <a:pt x="5" y="106"/>
                    </a:cubicBezTo>
                    <a:cubicBezTo>
                      <a:pt x="5" y="131"/>
                      <a:pt x="3" y="165"/>
                      <a:pt x="4" y="177"/>
                    </a:cubicBezTo>
                    <a:cubicBezTo>
                      <a:pt x="9" y="174"/>
                      <a:pt x="13" y="179"/>
                      <a:pt x="8" y="17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2" name="Freeform 59">
                <a:extLst>
                  <a:ext uri="{FF2B5EF4-FFF2-40B4-BE49-F238E27FC236}">
                    <a16:creationId xmlns:a16="http://schemas.microsoft.com/office/drawing/2014/main" id="{DF795DC1-1F67-4144-B718-CCD24726EB40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gray">
              <a:xfrm>
                <a:off x="3930651" y="3509963"/>
                <a:ext cx="234950" cy="185738"/>
              </a:xfrm>
              <a:custGeom>
                <a:avLst/>
                <a:gdLst>
                  <a:gd name="T0" fmla="*/ 118 w 146"/>
                  <a:gd name="T1" fmla="*/ 0 h 117"/>
                  <a:gd name="T2" fmla="*/ 62 w 146"/>
                  <a:gd name="T3" fmla="*/ 2 h 117"/>
                  <a:gd name="T4" fmla="*/ 54 w 146"/>
                  <a:gd name="T5" fmla="*/ 4 h 117"/>
                  <a:gd name="T6" fmla="*/ 50 w 146"/>
                  <a:gd name="T7" fmla="*/ 24 h 117"/>
                  <a:gd name="T8" fmla="*/ 32 w 146"/>
                  <a:gd name="T9" fmla="*/ 30 h 117"/>
                  <a:gd name="T10" fmla="*/ 22 w 146"/>
                  <a:gd name="T11" fmla="*/ 60 h 117"/>
                  <a:gd name="T12" fmla="*/ 4 w 146"/>
                  <a:gd name="T13" fmla="*/ 92 h 117"/>
                  <a:gd name="T14" fmla="*/ 3 w 146"/>
                  <a:gd name="T15" fmla="*/ 114 h 117"/>
                  <a:gd name="T16" fmla="*/ 19 w 146"/>
                  <a:gd name="T17" fmla="*/ 108 h 117"/>
                  <a:gd name="T18" fmla="*/ 43 w 146"/>
                  <a:gd name="T19" fmla="*/ 106 h 117"/>
                  <a:gd name="T20" fmla="*/ 58 w 146"/>
                  <a:gd name="T21" fmla="*/ 108 h 117"/>
                  <a:gd name="T22" fmla="*/ 60 w 146"/>
                  <a:gd name="T23" fmla="*/ 90 h 117"/>
                  <a:gd name="T24" fmla="*/ 60 w 146"/>
                  <a:gd name="T25" fmla="*/ 76 h 117"/>
                  <a:gd name="T26" fmla="*/ 72 w 146"/>
                  <a:gd name="T27" fmla="*/ 72 h 117"/>
                  <a:gd name="T28" fmla="*/ 76 w 146"/>
                  <a:gd name="T29" fmla="*/ 66 h 117"/>
                  <a:gd name="T30" fmla="*/ 75 w 146"/>
                  <a:gd name="T31" fmla="*/ 52 h 117"/>
                  <a:gd name="T32" fmla="*/ 75 w 146"/>
                  <a:gd name="T33" fmla="*/ 46 h 117"/>
                  <a:gd name="T34" fmla="*/ 78 w 146"/>
                  <a:gd name="T35" fmla="*/ 33 h 117"/>
                  <a:gd name="T36" fmla="*/ 88 w 146"/>
                  <a:gd name="T37" fmla="*/ 30 h 117"/>
                  <a:gd name="T38" fmla="*/ 106 w 146"/>
                  <a:gd name="T39" fmla="*/ 34 h 117"/>
                  <a:gd name="T40" fmla="*/ 130 w 146"/>
                  <a:gd name="T41" fmla="*/ 30 h 117"/>
                  <a:gd name="T42" fmla="*/ 138 w 146"/>
                  <a:gd name="T43" fmla="*/ 21 h 117"/>
                  <a:gd name="T44" fmla="*/ 118 w 146"/>
                  <a:gd name="T4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6" h="117">
                    <a:moveTo>
                      <a:pt x="118" y="0"/>
                    </a:moveTo>
                    <a:cubicBezTo>
                      <a:pt x="99" y="1"/>
                      <a:pt x="81" y="1"/>
                      <a:pt x="62" y="2"/>
                    </a:cubicBezTo>
                    <a:cubicBezTo>
                      <a:pt x="59" y="2"/>
                      <a:pt x="56" y="2"/>
                      <a:pt x="54" y="4"/>
                    </a:cubicBezTo>
                    <a:cubicBezTo>
                      <a:pt x="50" y="10"/>
                      <a:pt x="55" y="20"/>
                      <a:pt x="50" y="24"/>
                    </a:cubicBezTo>
                    <a:cubicBezTo>
                      <a:pt x="45" y="28"/>
                      <a:pt x="32" y="30"/>
                      <a:pt x="32" y="30"/>
                    </a:cubicBezTo>
                    <a:cubicBezTo>
                      <a:pt x="28" y="42"/>
                      <a:pt x="35" y="56"/>
                      <a:pt x="22" y="60"/>
                    </a:cubicBezTo>
                    <a:cubicBezTo>
                      <a:pt x="15" y="71"/>
                      <a:pt x="11" y="81"/>
                      <a:pt x="4" y="92"/>
                    </a:cubicBezTo>
                    <a:cubicBezTo>
                      <a:pt x="0" y="98"/>
                      <a:pt x="3" y="114"/>
                      <a:pt x="3" y="114"/>
                    </a:cubicBezTo>
                    <a:cubicBezTo>
                      <a:pt x="6" y="117"/>
                      <a:pt x="12" y="109"/>
                      <a:pt x="19" y="108"/>
                    </a:cubicBezTo>
                    <a:cubicBezTo>
                      <a:pt x="26" y="107"/>
                      <a:pt x="37" y="106"/>
                      <a:pt x="43" y="106"/>
                    </a:cubicBezTo>
                    <a:cubicBezTo>
                      <a:pt x="49" y="106"/>
                      <a:pt x="55" y="111"/>
                      <a:pt x="58" y="108"/>
                    </a:cubicBezTo>
                    <a:cubicBezTo>
                      <a:pt x="63" y="94"/>
                      <a:pt x="63" y="100"/>
                      <a:pt x="60" y="90"/>
                    </a:cubicBezTo>
                    <a:cubicBezTo>
                      <a:pt x="61" y="85"/>
                      <a:pt x="57" y="80"/>
                      <a:pt x="60" y="76"/>
                    </a:cubicBezTo>
                    <a:cubicBezTo>
                      <a:pt x="62" y="73"/>
                      <a:pt x="68" y="74"/>
                      <a:pt x="72" y="72"/>
                    </a:cubicBezTo>
                    <a:cubicBezTo>
                      <a:pt x="73" y="67"/>
                      <a:pt x="75" y="68"/>
                      <a:pt x="76" y="66"/>
                    </a:cubicBezTo>
                    <a:cubicBezTo>
                      <a:pt x="76" y="62"/>
                      <a:pt x="75" y="57"/>
                      <a:pt x="75" y="52"/>
                    </a:cubicBezTo>
                    <a:cubicBezTo>
                      <a:pt x="75" y="49"/>
                      <a:pt x="75" y="49"/>
                      <a:pt x="75" y="46"/>
                    </a:cubicBezTo>
                    <a:cubicBezTo>
                      <a:pt x="75" y="43"/>
                      <a:pt x="76" y="36"/>
                      <a:pt x="78" y="33"/>
                    </a:cubicBezTo>
                    <a:cubicBezTo>
                      <a:pt x="80" y="30"/>
                      <a:pt x="83" y="30"/>
                      <a:pt x="88" y="30"/>
                    </a:cubicBezTo>
                    <a:cubicBezTo>
                      <a:pt x="93" y="30"/>
                      <a:pt x="99" y="34"/>
                      <a:pt x="106" y="34"/>
                    </a:cubicBezTo>
                    <a:cubicBezTo>
                      <a:pt x="113" y="34"/>
                      <a:pt x="125" y="32"/>
                      <a:pt x="130" y="30"/>
                    </a:cubicBezTo>
                    <a:cubicBezTo>
                      <a:pt x="133" y="21"/>
                      <a:pt x="146" y="27"/>
                      <a:pt x="138" y="21"/>
                    </a:cubicBezTo>
                    <a:cubicBezTo>
                      <a:pt x="133" y="13"/>
                      <a:pt x="121" y="8"/>
                      <a:pt x="118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3" name="Freeform 60">
                <a:extLst>
                  <a:ext uri="{FF2B5EF4-FFF2-40B4-BE49-F238E27FC236}">
                    <a16:creationId xmlns:a16="http://schemas.microsoft.com/office/drawing/2014/main" id="{93FC53EF-A1C4-4FA7-9554-12A009EA3CAC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gray">
              <a:xfrm>
                <a:off x="4022726" y="3295650"/>
                <a:ext cx="279400" cy="219075"/>
              </a:xfrm>
              <a:custGeom>
                <a:avLst/>
                <a:gdLst>
                  <a:gd name="T0" fmla="*/ 0 w 173"/>
                  <a:gd name="T1" fmla="*/ 138 h 138"/>
                  <a:gd name="T2" fmla="*/ 27 w 173"/>
                  <a:gd name="T3" fmla="*/ 124 h 138"/>
                  <a:gd name="T4" fmla="*/ 39 w 173"/>
                  <a:gd name="T5" fmla="*/ 114 h 138"/>
                  <a:gd name="T6" fmla="*/ 54 w 173"/>
                  <a:gd name="T7" fmla="*/ 63 h 138"/>
                  <a:gd name="T8" fmla="*/ 72 w 173"/>
                  <a:gd name="T9" fmla="*/ 42 h 138"/>
                  <a:gd name="T10" fmla="*/ 90 w 173"/>
                  <a:gd name="T11" fmla="*/ 30 h 138"/>
                  <a:gd name="T12" fmla="*/ 102 w 173"/>
                  <a:gd name="T13" fmla="*/ 15 h 138"/>
                  <a:gd name="T14" fmla="*/ 108 w 173"/>
                  <a:gd name="T15" fmla="*/ 0 h 138"/>
                  <a:gd name="T16" fmla="*/ 144 w 173"/>
                  <a:gd name="T17" fmla="*/ 4 h 138"/>
                  <a:gd name="T18" fmla="*/ 168 w 173"/>
                  <a:gd name="T19" fmla="*/ 12 h 138"/>
                  <a:gd name="T20" fmla="*/ 171 w 173"/>
                  <a:gd name="T21" fmla="*/ 57 h 138"/>
                  <a:gd name="T22" fmla="*/ 154 w 173"/>
                  <a:gd name="T23" fmla="*/ 64 h 138"/>
                  <a:gd name="T24" fmla="*/ 145 w 173"/>
                  <a:gd name="T25" fmla="*/ 76 h 138"/>
                  <a:gd name="T26" fmla="*/ 133 w 173"/>
                  <a:gd name="T27" fmla="*/ 85 h 138"/>
                  <a:gd name="T28" fmla="*/ 118 w 173"/>
                  <a:gd name="T29" fmla="*/ 96 h 138"/>
                  <a:gd name="T30" fmla="*/ 104 w 173"/>
                  <a:gd name="T31" fmla="*/ 108 h 138"/>
                  <a:gd name="T32" fmla="*/ 85 w 173"/>
                  <a:gd name="T33" fmla="*/ 109 h 138"/>
                  <a:gd name="T34" fmla="*/ 61 w 173"/>
                  <a:gd name="T35" fmla="*/ 133 h 138"/>
                  <a:gd name="T36" fmla="*/ 0 w 173"/>
                  <a:gd name="T37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3" h="138">
                    <a:moveTo>
                      <a:pt x="0" y="138"/>
                    </a:moveTo>
                    <a:cubicBezTo>
                      <a:pt x="6" y="135"/>
                      <a:pt x="21" y="128"/>
                      <a:pt x="27" y="124"/>
                    </a:cubicBezTo>
                    <a:cubicBezTo>
                      <a:pt x="31" y="118"/>
                      <a:pt x="31" y="115"/>
                      <a:pt x="39" y="114"/>
                    </a:cubicBezTo>
                    <a:cubicBezTo>
                      <a:pt x="60" y="104"/>
                      <a:pt x="42" y="80"/>
                      <a:pt x="54" y="63"/>
                    </a:cubicBezTo>
                    <a:cubicBezTo>
                      <a:pt x="56" y="53"/>
                      <a:pt x="61" y="44"/>
                      <a:pt x="72" y="42"/>
                    </a:cubicBezTo>
                    <a:cubicBezTo>
                      <a:pt x="77" y="36"/>
                      <a:pt x="82" y="32"/>
                      <a:pt x="90" y="30"/>
                    </a:cubicBezTo>
                    <a:cubicBezTo>
                      <a:pt x="97" y="27"/>
                      <a:pt x="98" y="21"/>
                      <a:pt x="102" y="15"/>
                    </a:cubicBezTo>
                    <a:cubicBezTo>
                      <a:pt x="103" y="9"/>
                      <a:pt x="104" y="5"/>
                      <a:pt x="108" y="0"/>
                    </a:cubicBezTo>
                    <a:cubicBezTo>
                      <a:pt x="121" y="1"/>
                      <a:pt x="131" y="3"/>
                      <a:pt x="144" y="4"/>
                    </a:cubicBezTo>
                    <a:cubicBezTo>
                      <a:pt x="154" y="5"/>
                      <a:pt x="163" y="3"/>
                      <a:pt x="168" y="12"/>
                    </a:cubicBezTo>
                    <a:cubicBezTo>
                      <a:pt x="172" y="20"/>
                      <a:pt x="173" y="48"/>
                      <a:pt x="171" y="57"/>
                    </a:cubicBezTo>
                    <a:cubicBezTo>
                      <a:pt x="169" y="66"/>
                      <a:pt x="158" y="61"/>
                      <a:pt x="154" y="64"/>
                    </a:cubicBezTo>
                    <a:cubicBezTo>
                      <a:pt x="149" y="68"/>
                      <a:pt x="148" y="71"/>
                      <a:pt x="145" y="76"/>
                    </a:cubicBezTo>
                    <a:cubicBezTo>
                      <a:pt x="143" y="84"/>
                      <a:pt x="140" y="84"/>
                      <a:pt x="133" y="85"/>
                    </a:cubicBezTo>
                    <a:cubicBezTo>
                      <a:pt x="127" y="89"/>
                      <a:pt x="124" y="92"/>
                      <a:pt x="118" y="96"/>
                    </a:cubicBezTo>
                    <a:cubicBezTo>
                      <a:pt x="113" y="100"/>
                      <a:pt x="109" y="106"/>
                      <a:pt x="104" y="108"/>
                    </a:cubicBezTo>
                    <a:cubicBezTo>
                      <a:pt x="99" y="110"/>
                      <a:pt x="92" y="105"/>
                      <a:pt x="85" y="109"/>
                    </a:cubicBezTo>
                    <a:cubicBezTo>
                      <a:pt x="77" y="113"/>
                      <a:pt x="62" y="133"/>
                      <a:pt x="61" y="133"/>
                    </a:cubicBezTo>
                    <a:cubicBezTo>
                      <a:pt x="44" y="134"/>
                      <a:pt x="17" y="138"/>
                      <a:pt x="0" y="13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4" name="Freeform 61">
                <a:extLst>
                  <a:ext uri="{FF2B5EF4-FFF2-40B4-BE49-F238E27FC236}">
                    <a16:creationId xmlns:a16="http://schemas.microsoft.com/office/drawing/2014/main" id="{1D603BF8-2843-4636-BE90-D3D65D1CBA65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gray">
              <a:xfrm>
                <a:off x="5168901" y="3395663"/>
                <a:ext cx="493713" cy="415925"/>
              </a:xfrm>
              <a:custGeom>
                <a:avLst/>
                <a:gdLst>
                  <a:gd name="T0" fmla="*/ 7 w 306"/>
                  <a:gd name="T1" fmla="*/ 45 h 262"/>
                  <a:gd name="T2" fmla="*/ 23 w 306"/>
                  <a:gd name="T3" fmla="*/ 45 h 262"/>
                  <a:gd name="T4" fmla="*/ 37 w 306"/>
                  <a:gd name="T5" fmla="*/ 36 h 262"/>
                  <a:gd name="T6" fmla="*/ 35 w 306"/>
                  <a:gd name="T7" fmla="*/ 15 h 262"/>
                  <a:gd name="T8" fmla="*/ 37 w 306"/>
                  <a:gd name="T9" fmla="*/ 6 h 262"/>
                  <a:gd name="T10" fmla="*/ 59 w 306"/>
                  <a:gd name="T11" fmla="*/ 3 h 262"/>
                  <a:gd name="T12" fmla="*/ 79 w 306"/>
                  <a:gd name="T13" fmla="*/ 1 h 262"/>
                  <a:gd name="T14" fmla="*/ 94 w 306"/>
                  <a:gd name="T15" fmla="*/ 7 h 262"/>
                  <a:gd name="T16" fmla="*/ 106 w 306"/>
                  <a:gd name="T17" fmla="*/ 18 h 262"/>
                  <a:gd name="T18" fmla="*/ 121 w 306"/>
                  <a:gd name="T19" fmla="*/ 24 h 262"/>
                  <a:gd name="T20" fmla="*/ 128 w 306"/>
                  <a:gd name="T21" fmla="*/ 36 h 262"/>
                  <a:gd name="T22" fmla="*/ 128 w 306"/>
                  <a:gd name="T23" fmla="*/ 39 h 262"/>
                  <a:gd name="T24" fmla="*/ 139 w 306"/>
                  <a:gd name="T25" fmla="*/ 43 h 262"/>
                  <a:gd name="T26" fmla="*/ 154 w 306"/>
                  <a:gd name="T27" fmla="*/ 48 h 262"/>
                  <a:gd name="T28" fmla="*/ 185 w 306"/>
                  <a:gd name="T29" fmla="*/ 52 h 262"/>
                  <a:gd name="T30" fmla="*/ 200 w 306"/>
                  <a:gd name="T31" fmla="*/ 58 h 262"/>
                  <a:gd name="T32" fmla="*/ 214 w 306"/>
                  <a:gd name="T33" fmla="*/ 81 h 262"/>
                  <a:gd name="T34" fmla="*/ 223 w 306"/>
                  <a:gd name="T35" fmla="*/ 94 h 262"/>
                  <a:gd name="T36" fmla="*/ 235 w 306"/>
                  <a:gd name="T37" fmla="*/ 111 h 262"/>
                  <a:gd name="T38" fmla="*/ 247 w 306"/>
                  <a:gd name="T39" fmla="*/ 129 h 262"/>
                  <a:gd name="T40" fmla="*/ 254 w 306"/>
                  <a:gd name="T41" fmla="*/ 156 h 262"/>
                  <a:gd name="T42" fmla="*/ 280 w 306"/>
                  <a:gd name="T43" fmla="*/ 162 h 262"/>
                  <a:gd name="T44" fmla="*/ 302 w 306"/>
                  <a:gd name="T45" fmla="*/ 163 h 262"/>
                  <a:gd name="T46" fmla="*/ 304 w 306"/>
                  <a:gd name="T47" fmla="*/ 177 h 262"/>
                  <a:gd name="T48" fmla="*/ 296 w 306"/>
                  <a:gd name="T49" fmla="*/ 193 h 262"/>
                  <a:gd name="T50" fmla="*/ 281 w 306"/>
                  <a:gd name="T51" fmla="*/ 204 h 262"/>
                  <a:gd name="T52" fmla="*/ 274 w 306"/>
                  <a:gd name="T53" fmla="*/ 210 h 262"/>
                  <a:gd name="T54" fmla="*/ 257 w 306"/>
                  <a:gd name="T55" fmla="*/ 214 h 262"/>
                  <a:gd name="T56" fmla="*/ 236 w 306"/>
                  <a:gd name="T57" fmla="*/ 223 h 262"/>
                  <a:gd name="T58" fmla="*/ 208 w 306"/>
                  <a:gd name="T59" fmla="*/ 224 h 262"/>
                  <a:gd name="T60" fmla="*/ 197 w 306"/>
                  <a:gd name="T61" fmla="*/ 228 h 262"/>
                  <a:gd name="T62" fmla="*/ 191 w 306"/>
                  <a:gd name="T63" fmla="*/ 231 h 262"/>
                  <a:gd name="T64" fmla="*/ 182 w 306"/>
                  <a:gd name="T65" fmla="*/ 249 h 262"/>
                  <a:gd name="T66" fmla="*/ 169 w 306"/>
                  <a:gd name="T67" fmla="*/ 262 h 262"/>
                  <a:gd name="T68" fmla="*/ 137 w 306"/>
                  <a:gd name="T69" fmla="*/ 246 h 262"/>
                  <a:gd name="T70" fmla="*/ 113 w 306"/>
                  <a:gd name="T71" fmla="*/ 247 h 262"/>
                  <a:gd name="T72" fmla="*/ 107 w 306"/>
                  <a:gd name="T73" fmla="*/ 238 h 262"/>
                  <a:gd name="T74" fmla="*/ 83 w 306"/>
                  <a:gd name="T75" fmla="*/ 208 h 262"/>
                  <a:gd name="T76" fmla="*/ 68 w 306"/>
                  <a:gd name="T77" fmla="*/ 192 h 262"/>
                  <a:gd name="T78" fmla="*/ 61 w 306"/>
                  <a:gd name="T79" fmla="*/ 154 h 262"/>
                  <a:gd name="T80" fmla="*/ 37 w 306"/>
                  <a:gd name="T81" fmla="*/ 127 h 262"/>
                  <a:gd name="T82" fmla="*/ 31 w 306"/>
                  <a:gd name="T83" fmla="*/ 120 h 262"/>
                  <a:gd name="T84" fmla="*/ 20 w 306"/>
                  <a:gd name="T85" fmla="*/ 96 h 262"/>
                  <a:gd name="T86" fmla="*/ 8 w 306"/>
                  <a:gd name="T87" fmla="*/ 78 h 262"/>
                  <a:gd name="T88" fmla="*/ 1 w 306"/>
                  <a:gd name="T89" fmla="*/ 60 h 262"/>
                  <a:gd name="T90" fmla="*/ 7 w 306"/>
                  <a:gd name="T91" fmla="*/ 45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6" h="262">
                    <a:moveTo>
                      <a:pt x="7" y="45"/>
                    </a:moveTo>
                    <a:cubicBezTo>
                      <a:pt x="14" y="46"/>
                      <a:pt x="17" y="49"/>
                      <a:pt x="23" y="45"/>
                    </a:cubicBezTo>
                    <a:cubicBezTo>
                      <a:pt x="27" y="38"/>
                      <a:pt x="29" y="37"/>
                      <a:pt x="37" y="36"/>
                    </a:cubicBezTo>
                    <a:cubicBezTo>
                      <a:pt x="48" y="30"/>
                      <a:pt x="44" y="20"/>
                      <a:pt x="35" y="15"/>
                    </a:cubicBezTo>
                    <a:cubicBezTo>
                      <a:pt x="34" y="12"/>
                      <a:pt x="32" y="7"/>
                      <a:pt x="37" y="6"/>
                    </a:cubicBezTo>
                    <a:cubicBezTo>
                      <a:pt x="44" y="4"/>
                      <a:pt x="59" y="3"/>
                      <a:pt x="59" y="3"/>
                    </a:cubicBezTo>
                    <a:cubicBezTo>
                      <a:pt x="67" y="0"/>
                      <a:pt x="71" y="0"/>
                      <a:pt x="79" y="1"/>
                    </a:cubicBezTo>
                    <a:cubicBezTo>
                      <a:pt x="84" y="4"/>
                      <a:pt x="88" y="6"/>
                      <a:pt x="94" y="7"/>
                    </a:cubicBezTo>
                    <a:cubicBezTo>
                      <a:pt x="100" y="10"/>
                      <a:pt x="106" y="18"/>
                      <a:pt x="106" y="18"/>
                    </a:cubicBezTo>
                    <a:cubicBezTo>
                      <a:pt x="109" y="24"/>
                      <a:pt x="115" y="20"/>
                      <a:pt x="121" y="24"/>
                    </a:cubicBezTo>
                    <a:cubicBezTo>
                      <a:pt x="122" y="31"/>
                      <a:pt x="122" y="33"/>
                      <a:pt x="128" y="36"/>
                    </a:cubicBezTo>
                    <a:cubicBezTo>
                      <a:pt x="129" y="38"/>
                      <a:pt x="126" y="38"/>
                      <a:pt x="128" y="39"/>
                    </a:cubicBezTo>
                    <a:cubicBezTo>
                      <a:pt x="130" y="40"/>
                      <a:pt x="135" y="42"/>
                      <a:pt x="139" y="43"/>
                    </a:cubicBezTo>
                    <a:cubicBezTo>
                      <a:pt x="144" y="45"/>
                      <a:pt x="149" y="46"/>
                      <a:pt x="154" y="48"/>
                    </a:cubicBezTo>
                    <a:cubicBezTo>
                      <a:pt x="166" y="57"/>
                      <a:pt x="152" y="48"/>
                      <a:pt x="185" y="52"/>
                    </a:cubicBezTo>
                    <a:cubicBezTo>
                      <a:pt x="190" y="53"/>
                      <a:pt x="195" y="57"/>
                      <a:pt x="200" y="58"/>
                    </a:cubicBezTo>
                    <a:cubicBezTo>
                      <a:pt x="202" y="70"/>
                      <a:pt x="203" y="76"/>
                      <a:pt x="214" y="81"/>
                    </a:cubicBezTo>
                    <a:cubicBezTo>
                      <a:pt x="222" y="91"/>
                      <a:pt x="219" y="87"/>
                      <a:pt x="223" y="94"/>
                    </a:cubicBezTo>
                    <a:cubicBezTo>
                      <a:pt x="224" y="107"/>
                      <a:pt x="224" y="106"/>
                      <a:pt x="235" y="111"/>
                    </a:cubicBezTo>
                    <a:cubicBezTo>
                      <a:pt x="239" y="118"/>
                      <a:pt x="241" y="125"/>
                      <a:pt x="247" y="129"/>
                    </a:cubicBezTo>
                    <a:cubicBezTo>
                      <a:pt x="250" y="137"/>
                      <a:pt x="245" y="151"/>
                      <a:pt x="254" y="156"/>
                    </a:cubicBezTo>
                    <a:cubicBezTo>
                      <a:pt x="259" y="161"/>
                      <a:pt x="272" y="161"/>
                      <a:pt x="280" y="162"/>
                    </a:cubicBezTo>
                    <a:cubicBezTo>
                      <a:pt x="288" y="163"/>
                      <a:pt x="298" y="160"/>
                      <a:pt x="302" y="163"/>
                    </a:cubicBezTo>
                    <a:cubicBezTo>
                      <a:pt x="306" y="166"/>
                      <a:pt x="305" y="172"/>
                      <a:pt x="304" y="177"/>
                    </a:cubicBezTo>
                    <a:cubicBezTo>
                      <a:pt x="303" y="182"/>
                      <a:pt x="300" y="188"/>
                      <a:pt x="296" y="193"/>
                    </a:cubicBezTo>
                    <a:cubicBezTo>
                      <a:pt x="293" y="201"/>
                      <a:pt x="286" y="201"/>
                      <a:pt x="281" y="204"/>
                    </a:cubicBezTo>
                    <a:cubicBezTo>
                      <a:pt x="277" y="207"/>
                      <a:pt x="278" y="208"/>
                      <a:pt x="274" y="210"/>
                    </a:cubicBezTo>
                    <a:cubicBezTo>
                      <a:pt x="270" y="212"/>
                      <a:pt x="263" y="212"/>
                      <a:pt x="257" y="214"/>
                    </a:cubicBezTo>
                    <a:cubicBezTo>
                      <a:pt x="245" y="223"/>
                      <a:pt x="254" y="222"/>
                      <a:pt x="236" y="223"/>
                    </a:cubicBezTo>
                    <a:cubicBezTo>
                      <a:pt x="227" y="225"/>
                      <a:pt x="214" y="223"/>
                      <a:pt x="208" y="224"/>
                    </a:cubicBezTo>
                    <a:cubicBezTo>
                      <a:pt x="202" y="225"/>
                      <a:pt x="200" y="227"/>
                      <a:pt x="197" y="228"/>
                    </a:cubicBezTo>
                    <a:cubicBezTo>
                      <a:pt x="194" y="231"/>
                      <a:pt x="193" y="228"/>
                      <a:pt x="191" y="231"/>
                    </a:cubicBezTo>
                    <a:cubicBezTo>
                      <a:pt x="189" y="234"/>
                      <a:pt x="186" y="244"/>
                      <a:pt x="182" y="249"/>
                    </a:cubicBezTo>
                    <a:cubicBezTo>
                      <a:pt x="179" y="254"/>
                      <a:pt x="174" y="259"/>
                      <a:pt x="169" y="262"/>
                    </a:cubicBezTo>
                    <a:cubicBezTo>
                      <a:pt x="154" y="259"/>
                      <a:pt x="149" y="248"/>
                      <a:pt x="137" y="246"/>
                    </a:cubicBezTo>
                    <a:cubicBezTo>
                      <a:pt x="129" y="246"/>
                      <a:pt x="121" y="248"/>
                      <a:pt x="113" y="247"/>
                    </a:cubicBezTo>
                    <a:cubicBezTo>
                      <a:pt x="112" y="247"/>
                      <a:pt x="107" y="238"/>
                      <a:pt x="107" y="238"/>
                    </a:cubicBezTo>
                    <a:cubicBezTo>
                      <a:pt x="101" y="228"/>
                      <a:pt x="93" y="214"/>
                      <a:pt x="83" y="208"/>
                    </a:cubicBezTo>
                    <a:cubicBezTo>
                      <a:pt x="80" y="201"/>
                      <a:pt x="75" y="196"/>
                      <a:pt x="68" y="192"/>
                    </a:cubicBezTo>
                    <a:cubicBezTo>
                      <a:pt x="58" y="175"/>
                      <a:pt x="64" y="186"/>
                      <a:pt x="61" y="154"/>
                    </a:cubicBezTo>
                    <a:cubicBezTo>
                      <a:pt x="60" y="142"/>
                      <a:pt x="45" y="133"/>
                      <a:pt x="37" y="127"/>
                    </a:cubicBezTo>
                    <a:cubicBezTo>
                      <a:pt x="36" y="124"/>
                      <a:pt x="32" y="123"/>
                      <a:pt x="31" y="120"/>
                    </a:cubicBezTo>
                    <a:cubicBezTo>
                      <a:pt x="27" y="107"/>
                      <a:pt x="34" y="98"/>
                      <a:pt x="20" y="96"/>
                    </a:cubicBezTo>
                    <a:cubicBezTo>
                      <a:pt x="18" y="88"/>
                      <a:pt x="14" y="83"/>
                      <a:pt x="8" y="78"/>
                    </a:cubicBezTo>
                    <a:cubicBezTo>
                      <a:pt x="7" y="72"/>
                      <a:pt x="5" y="65"/>
                      <a:pt x="1" y="60"/>
                    </a:cubicBezTo>
                    <a:cubicBezTo>
                      <a:pt x="1" y="55"/>
                      <a:pt x="0" y="45"/>
                      <a:pt x="7" y="4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6" name="Freeform 62">
                <a:extLst>
                  <a:ext uri="{FF2B5EF4-FFF2-40B4-BE49-F238E27FC236}">
                    <a16:creationId xmlns:a16="http://schemas.microsoft.com/office/drawing/2014/main" id="{9EC882D1-ED33-4720-80B4-67EB76E738FF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gray">
              <a:xfrm>
                <a:off x="5153026" y="3360738"/>
                <a:ext cx="119063" cy="115888"/>
              </a:xfrm>
              <a:custGeom>
                <a:avLst/>
                <a:gdLst>
                  <a:gd name="T0" fmla="*/ 8 w 73"/>
                  <a:gd name="T1" fmla="*/ 70 h 73"/>
                  <a:gd name="T2" fmla="*/ 31 w 73"/>
                  <a:gd name="T3" fmla="*/ 67 h 73"/>
                  <a:gd name="T4" fmla="*/ 41 w 73"/>
                  <a:gd name="T5" fmla="*/ 56 h 73"/>
                  <a:gd name="T6" fmla="*/ 50 w 73"/>
                  <a:gd name="T7" fmla="*/ 58 h 73"/>
                  <a:gd name="T8" fmla="*/ 46 w 73"/>
                  <a:gd name="T9" fmla="*/ 37 h 73"/>
                  <a:gd name="T10" fmla="*/ 57 w 73"/>
                  <a:gd name="T11" fmla="*/ 26 h 73"/>
                  <a:gd name="T12" fmla="*/ 70 w 73"/>
                  <a:gd name="T13" fmla="*/ 28 h 73"/>
                  <a:gd name="T14" fmla="*/ 64 w 73"/>
                  <a:gd name="T15" fmla="*/ 17 h 73"/>
                  <a:gd name="T16" fmla="*/ 58 w 73"/>
                  <a:gd name="T17" fmla="*/ 2 h 73"/>
                  <a:gd name="T18" fmla="*/ 46 w 73"/>
                  <a:gd name="T19" fmla="*/ 5 h 73"/>
                  <a:gd name="T20" fmla="*/ 38 w 73"/>
                  <a:gd name="T21" fmla="*/ 14 h 73"/>
                  <a:gd name="T22" fmla="*/ 41 w 73"/>
                  <a:gd name="T23" fmla="*/ 14 h 73"/>
                  <a:gd name="T24" fmla="*/ 26 w 73"/>
                  <a:gd name="T25" fmla="*/ 11 h 73"/>
                  <a:gd name="T26" fmla="*/ 16 w 73"/>
                  <a:gd name="T27" fmla="*/ 22 h 73"/>
                  <a:gd name="T28" fmla="*/ 4 w 73"/>
                  <a:gd name="T29" fmla="*/ 44 h 73"/>
                  <a:gd name="T30" fmla="*/ 5 w 73"/>
                  <a:gd name="T31" fmla="*/ 65 h 73"/>
                  <a:gd name="T32" fmla="*/ 8 w 73"/>
                  <a:gd name="T33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73">
                    <a:moveTo>
                      <a:pt x="8" y="70"/>
                    </a:moveTo>
                    <a:cubicBezTo>
                      <a:pt x="22" y="64"/>
                      <a:pt x="0" y="73"/>
                      <a:pt x="31" y="67"/>
                    </a:cubicBezTo>
                    <a:cubicBezTo>
                      <a:pt x="36" y="66"/>
                      <a:pt x="38" y="57"/>
                      <a:pt x="41" y="56"/>
                    </a:cubicBezTo>
                    <a:cubicBezTo>
                      <a:pt x="44" y="55"/>
                      <a:pt x="49" y="61"/>
                      <a:pt x="50" y="58"/>
                    </a:cubicBezTo>
                    <a:cubicBezTo>
                      <a:pt x="53" y="51"/>
                      <a:pt x="51" y="43"/>
                      <a:pt x="46" y="37"/>
                    </a:cubicBezTo>
                    <a:cubicBezTo>
                      <a:pt x="47" y="32"/>
                      <a:pt x="53" y="27"/>
                      <a:pt x="57" y="26"/>
                    </a:cubicBezTo>
                    <a:cubicBezTo>
                      <a:pt x="61" y="25"/>
                      <a:pt x="69" y="29"/>
                      <a:pt x="70" y="28"/>
                    </a:cubicBezTo>
                    <a:cubicBezTo>
                      <a:pt x="73" y="24"/>
                      <a:pt x="66" y="21"/>
                      <a:pt x="64" y="17"/>
                    </a:cubicBezTo>
                    <a:cubicBezTo>
                      <a:pt x="62" y="13"/>
                      <a:pt x="61" y="4"/>
                      <a:pt x="58" y="2"/>
                    </a:cubicBezTo>
                    <a:cubicBezTo>
                      <a:pt x="55" y="0"/>
                      <a:pt x="49" y="3"/>
                      <a:pt x="46" y="5"/>
                    </a:cubicBezTo>
                    <a:cubicBezTo>
                      <a:pt x="44" y="6"/>
                      <a:pt x="39" y="12"/>
                      <a:pt x="38" y="14"/>
                    </a:cubicBezTo>
                    <a:cubicBezTo>
                      <a:pt x="37" y="17"/>
                      <a:pt x="43" y="11"/>
                      <a:pt x="41" y="14"/>
                    </a:cubicBezTo>
                    <a:cubicBezTo>
                      <a:pt x="41" y="14"/>
                      <a:pt x="27" y="12"/>
                      <a:pt x="26" y="11"/>
                    </a:cubicBezTo>
                    <a:cubicBezTo>
                      <a:pt x="21" y="14"/>
                      <a:pt x="19" y="17"/>
                      <a:pt x="16" y="22"/>
                    </a:cubicBezTo>
                    <a:cubicBezTo>
                      <a:pt x="14" y="38"/>
                      <a:pt x="18" y="42"/>
                      <a:pt x="4" y="44"/>
                    </a:cubicBezTo>
                    <a:cubicBezTo>
                      <a:pt x="4" y="51"/>
                      <a:pt x="4" y="58"/>
                      <a:pt x="5" y="65"/>
                    </a:cubicBezTo>
                    <a:cubicBezTo>
                      <a:pt x="5" y="67"/>
                      <a:pt x="8" y="70"/>
                      <a:pt x="8" y="7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297" name="Freeform 63">
                <a:extLst>
                  <a:ext uri="{FF2B5EF4-FFF2-40B4-BE49-F238E27FC236}">
                    <a16:creationId xmlns:a16="http://schemas.microsoft.com/office/drawing/2014/main" id="{AAF7D099-15C8-4E47-B65A-39C3C68A1B8A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gray">
              <a:xfrm>
                <a:off x="4051301" y="3997325"/>
                <a:ext cx="119063" cy="84138"/>
              </a:xfrm>
              <a:custGeom>
                <a:avLst/>
                <a:gdLst>
                  <a:gd name="T0" fmla="*/ 51 w 73"/>
                  <a:gd name="T1" fmla="*/ 17 h 53"/>
                  <a:gd name="T2" fmla="*/ 47 w 73"/>
                  <a:gd name="T3" fmla="*/ 11 h 53"/>
                  <a:gd name="T4" fmla="*/ 36 w 73"/>
                  <a:gd name="T5" fmla="*/ 11 h 53"/>
                  <a:gd name="T6" fmla="*/ 18 w 73"/>
                  <a:gd name="T7" fmla="*/ 0 h 53"/>
                  <a:gd name="T8" fmla="*/ 7 w 73"/>
                  <a:gd name="T9" fmla="*/ 11 h 53"/>
                  <a:gd name="T10" fmla="*/ 1 w 73"/>
                  <a:gd name="T11" fmla="*/ 23 h 53"/>
                  <a:gd name="T12" fmla="*/ 15 w 73"/>
                  <a:gd name="T13" fmla="*/ 27 h 53"/>
                  <a:gd name="T14" fmla="*/ 27 w 73"/>
                  <a:gd name="T15" fmla="*/ 35 h 53"/>
                  <a:gd name="T16" fmla="*/ 43 w 73"/>
                  <a:gd name="T17" fmla="*/ 49 h 53"/>
                  <a:gd name="T18" fmla="*/ 55 w 73"/>
                  <a:gd name="T19" fmla="*/ 53 h 53"/>
                  <a:gd name="T20" fmla="*/ 55 w 73"/>
                  <a:gd name="T21" fmla="*/ 31 h 53"/>
                  <a:gd name="T22" fmla="*/ 51 w 73"/>
                  <a:gd name="T23" fmla="*/ 1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" h="53">
                    <a:moveTo>
                      <a:pt x="51" y="17"/>
                    </a:moveTo>
                    <a:cubicBezTo>
                      <a:pt x="50" y="15"/>
                      <a:pt x="49" y="11"/>
                      <a:pt x="47" y="11"/>
                    </a:cubicBezTo>
                    <a:cubicBezTo>
                      <a:pt x="44" y="9"/>
                      <a:pt x="41" y="13"/>
                      <a:pt x="36" y="11"/>
                    </a:cubicBezTo>
                    <a:cubicBezTo>
                      <a:pt x="31" y="9"/>
                      <a:pt x="23" y="0"/>
                      <a:pt x="18" y="0"/>
                    </a:cubicBezTo>
                    <a:cubicBezTo>
                      <a:pt x="13" y="0"/>
                      <a:pt x="10" y="7"/>
                      <a:pt x="7" y="11"/>
                    </a:cubicBezTo>
                    <a:cubicBezTo>
                      <a:pt x="7" y="12"/>
                      <a:pt x="0" y="21"/>
                      <a:pt x="1" y="23"/>
                    </a:cubicBezTo>
                    <a:cubicBezTo>
                      <a:pt x="4" y="27"/>
                      <a:pt x="11" y="25"/>
                      <a:pt x="15" y="27"/>
                    </a:cubicBezTo>
                    <a:cubicBezTo>
                      <a:pt x="19" y="29"/>
                      <a:pt x="27" y="35"/>
                      <a:pt x="27" y="35"/>
                    </a:cubicBezTo>
                    <a:cubicBezTo>
                      <a:pt x="29" y="38"/>
                      <a:pt x="40" y="47"/>
                      <a:pt x="43" y="49"/>
                    </a:cubicBezTo>
                    <a:cubicBezTo>
                      <a:pt x="47" y="51"/>
                      <a:pt x="55" y="53"/>
                      <a:pt x="55" y="53"/>
                    </a:cubicBezTo>
                    <a:cubicBezTo>
                      <a:pt x="73" y="49"/>
                      <a:pt x="65" y="38"/>
                      <a:pt x="55" y="31"/>
                    </a:cubicBezTo>
                    <a:cubicBezTo>
                      <a:pt x="52" y="22"/>
                      <a:pt x="54" y="27"/>
                      <a:pt x="51" y="1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2" name="Freeform 68">
                <a:extLst>
                  <a:ext uri="{FF2B5EF4-FFF2-40B4-BE49-F238E27FC236}">
                    <a16:creationId xmlns:a16="http://schemas.microsoft.com/office/drawing/2014/main" id="{C7A479A7-E046-4A1E-BB51-CD75EAE30998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4476751" y="2905125"/>
                <a:ext cx="122238" cy="76200"/>
              </a:xfrm>
              <a:custGeom>
                <a:avLst/>
                <a:gdLst>
                  <a:gd name="T0" fmla="*/ 13 w 76"/>
                  <a:gd name="T1" fmla="*/ 12 h 48"/>
                  <a:gd name="T2" fmla="*/ 47 w 76"/>
                  <a:gd name="T3" fmla="*/ 4 h 48"/>
                  <a:gd name="T4" fmla="*/ 67 w 76"/>
                  <a:gd name="T5" fmla="*/ 7 h 48"/>
                  <a:gd name="T6" fmla="*/ 76 w 76"/>
                  <a:gd name="T7" fmla="*/ 18 h 48"/>
                  <a:gd name="T8" fmla="*/ 64 w 76"/>
                  <a:gd name="T9" fmla="*/ 25 h 48"/>
                  <a:gd name="T10" fmla="*/ 56 w 76"/>
                  <a:gd name="T11" fmla="*/ 31 h 48"/>
                  <a:gd name="T12" fmla="*/ 41 w 76"/>
                  <a:gd name="T13" fmla="*/ 39 h 48"/>
                  <a:gd name="T14" fmla="*/ 29 w 76"/>
                  <a:gd name="T15" fmla="*/ 43 h 48"/>
                  <a:gd name="T16" fmla="*/ 4 w 76"/>
                  <a:gd name="T17" fmla="*/ 34 h 48"/>
                  <a:gd name="T18" fmla="*/ 2 w 76"/>
                  <a:gd name="T19" fmla="*/ 18 h 48"/>
                  <a:gd name="T20" fmla="*/ 13 w 76"/>
                  <a:gd name="T21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6" h="48">
                    <a:moveTo>
                      <a:pt x="13" y="12"/>
                    </a:moveTo>
                    <a:cubicBezTo>
                      <a:pt x="37" y="4"/>
                      <a:pt x="23" y="0"/>
                      <a:pt x="47" y="4"/>
                    </a:cubicBezTo>
                    <a:cubicBezTo>
                      <a:pt x="53" y="5"/>
                      <a:pt x="70" y="1"/>
                      <a:pt x="67" y="7"/>
                    </a:cubicBezTo>
                    <a:cubicBezTo>
                      <a:pt x="72" y="9"/>
                      <a:pt x="76" y="15"/>
                      <a:pt x="76" y="18"/>
                    </a:cubicBezTo>
                    <a:cubicBezTo>
                      <a:pt x="76" y="21"/>
                      <a:pt x="67" y="23"/>
                      <a:pt x="64" y="25"/>
                    </a:cubicBezTo>
                    <a:cubicBezTo>
                      <a:pt x="61" y="27"/>
                      <a:pt x="60" y="29"/>
                      <a:pt x="56" y="31"/>
                    </a:cubicBezTo>
                    <a:cubicBezTo>
                      <a:pt x="52" y="33"/>
                      <a:pt x="45" y="37"/>
                      <a:pt x="41" y="39"/>
                    </a:cubicBezTo>
                    <a:cubicBezTo>
                      <a:pt x="37" y="41"/>
                      <a:pt x="35" y="44"/>
                      <a:pt x="29" y="43"/>
                    </a:cubicBezTo>
                    <a:cubicBezTo>
                      <a:pt x="23" y="48"/>
                      <a:pt x="9" y="38"/>
                      <a:pt x="4" y="34"/>
                    </a:cubicBezTo>
                    <a:cubicBezTo>
                      <a:pt x="0" y="30"/>
                      <a:pt x="0" y="22"/>
                      <a:pt x="2" y="18"/>
                    </a:cubicBezTo>
                    <a:cubicBezTo>
                      <a:pt x="7" y="14"/>
                      <a:pt x="18" y="17"/>
                      <a:pt x="13" y="1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4" name="Freeform 69">
                <a:extLst>
                  <a:ext uri="{FF2B5EF4-FFF2-40B4-BE49-F238E27FC236}">
                    <a16:creationId xmlns:a16="http://schemas.microsoft.com/office/drawing/2014/main" id="{72C35B6F-B95D-4CBA-A989-BC681CE74BA5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gray">
              <a:xfrm>
                <a:off x="4398963" y="2759075"/>
                <a:ext cx="82550" cy="93663"/>
              </a:xfrm>
              <a:custGeom>
                <a:avLst/>
                <a:gdLst>
                  <a:gd name="T0" fmla="*/ 20 w 51"/>
                  <a:gd name="T1" fmla="*/ 5 h 59"/>
                  <a:gd name="T2" fmla="*/ 47 w 51"/>
                  <a:gd name="T3" fmla="*/ 17 h 59"/>
                  <a:gd name="T4" fmla="*/ 50 w 51"/>
                  <a:gd name="T5" fmla="*/ 29 h 59"/>
                  <a:gd name="T6" fmla="*/ 48 w 51"/>
                  <a:gd name="T7" fmla="*/ 59 h 59"/>
                  <a:gd name="T8" fmla="*/ 26 w 51"/>
                  <a:gd name="T9" fmla="*/ 39 h 59"/>
                  <a:gd name="T10" fmla="*/ 6 w 51"/>
                  <a:gd name="T11" fmla="*/ 25 h 59"/>
                  <a:gd name="T12" fmla="*/ 10 w 51"/>
                  <a:gd name="T13" fmla="*/ 7 h 59"/>
                  <a:gd name="T14" fmla="*/ 12 w 51"/>
                  <a:gd name="T15" fmla="*/ 1 h 59"/>
                  <a:gd name="T16" fmla="*/ 22 w 51"/>
                  <a:gd name="T17" fmla="*/ 3 h 59"/>
                  <a:gd name="T18" fmla="*/ 28 w 51"/>
                  <a:gd name="T19" fmla="*/ 5 h 59"/>
                  <a:gd name="T20" fmla="*/ 20 w 51"/>
                  <a:gd name="T21" fmla="*/ 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9">
                    <a:moveTo>
                      <a:pt x="20" y="5"/>
                    </a:moveTo>
                    <a:cubicBezTo>
                      <a:pt x="27" y="7"/>
                      <a:pt x="40" y="15"/>
                      <a:pt x="47" y="17"/>
                    </a:cubicBezTo>
                    <a:cubicBezTo>
                      <a:pt x="51" y="24"/>
                      <a:pt x="47" y="21"/>
                      <a:pt x="50" y="29"/>
                    </a:cubicBezTo>
                    <a:cubicBezTo>
                      <a:pt x="47" y="38"/>
                      <a:pt x="49" y="50"/>
                      <a:pt x="48" y="59"/>
                    </a:cubicBezTo>
                    <a:cubicBezTo>
                      <a:pt x="26" y="55"/>
                      <a:pt x="42" y="49"/>
                      <a:pt x="26" y="39"/>
                    </a:cubicBezTo>
                    <a:cubicBezTo>
                      <a:pt x="23" y="31"/>
                      <a:pt x="14" y="28"/>
                      <a:pt x="6" y="25"/>
                    </a:cubicBezTo>
                    <a:cubicBezTo>
                      <a:pt x="0" y="16"/>
                      <a:pt x="3" y="14"/>
                      <a:pt x="10" y="7"/>
                    </a:cubicBezTo>
                    <a:cubicBezTo>
                      <a:pt x="11" y="5"/>
                      <a:pt x="10" y="2"/>
                      <a:pt x="12" y="1"/>
                    </a:cubicBezTo>
                    <a:cubicBezTo>
                      <a:pt x="15" y="0"/>
                      <a:pt x="19" y="2"/>
                      <a:pt x="22" y="3"/>
                    </a:cubicBezTo>
                    <a:cubicBezTo>
                      <a:pt x="24" y="4"/>
                      <a:pt x="29" y="4"/>
                      <a:pt x="28" y="5"/>
                    </a:cubicBezTo>
                    <a:cubicBezTo>
                      <a:pt x="26" y="7"/>
                      <a:pt x="23" y="5"/>
                      <a:pt x="20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5" name="Freeform 70">
                <a:extLst>
                  <a:ext uri="{FF2B5EF4-FFF2-40B4-BE49-F238E27FC236}">
                    <a16:creationId xmlns:a16="http://schemas.microsoft.com/office/drawing/2014/main" id="{7B7EA0C7-336D-493B-91F9-3D6C072897AA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gray">
              <a:xfrm>
                <a:off x="5591176" y="3071813"/>
                <a:ext cx="330200" cy="234950"/>
              </a:xfrm>
              <a:custGeom>
                <a:avLst/>
                <a:gdLst>
                  <a:gd name="T0" fmla="*/ 16 w 205"/>
                  <a:gd name="T1" fmla="*/ 112 h 148"/>
                  <a:gd name="T2" fmla="*/ 13 w 205"/>
                  <a:gd name="T3" fmla="*/ 72 h 148"/>
                  <a:gd name="T4" fmla="*/ 1 w 205"/>
                  <a:gd name="T5" fmla="*/ 55 h 148"/>
                  <a:gd name="T6" fmla="*/ 10 w 205"/>
                  <a:gd name="T7" fmla="*/ 24 h 148"/>
                  <a:gd name="T8" fmla="*/ 35 w 205"/>
                  <a:gd name="T9" fmla="*/ 28 h 148"/>
                  <a:gd name="T10" fmla="*/ 48 w 205"/>
                  <a:gd name="T11" fmla="*/ 28 h 148"/>
                  <a:gd name="T12" fmla="*/ 61 w 205"/>
                  <a:gd name="T13" fmla="*/ 34 h 148"/>
                  <a:gd name="T14" fmla="*/ 72 w 205"/>
                  <a:gd name="T15" fmla="*/ 27 h 148"/>
                  <a:gd name="T16" fmla="*/ 85 w 205"/>
                  <a:gd name="T17" fmla="*/ 12 h 148"/>
                  <a:gd name="T18" fmla="*/ 108 w 205"/>
                  <a:gd name="T19" fmla="*/ 12 h 148"/>
                  <a:gd name="T20" fmla="*/ 112 w 205"/>
                  <a:gd name="T21" fmla="*/ 30 h 148"/>
                  <a:gd name="T22" fmla="*/ 133 w 205"/>
                  <a:gd name="T23" fmla="*/ 34 h 148"/>
                  <a:gd name="T24" fmla="*/ 144 w 205"/>
                  <a:gd name="T25" fmla="*/ 46 h 148"/>
                  <a:gd name="T26" fmla="*/ 145 w 205"/>
                  <a:gd name="T27" fmla="*/ 60 h 148"/>
                  <a:gd name="T28" fmla="*/ 171 w 205"/>
                  <a:gd name="T29" fmla="*/ 81 h 148"/>
                  <a:gd name="T30" fmla="*/ 195 w 205"/>
                  <a:gd name="T31" fmla="*/ 94 h 148"/>
                  <a:gd name="T32" fmla="*/ 205 w 205"/>
                  <a:gd name="T33" fmla="*/ 105 h 148"/>
                  <a:gd name="T34" fmla="*/ 186 w 205"/>
                  <a:gd name="T35" fmla="*/ 111 h 148"/>
                  <a:gd name="T36" fmla="*/ 177 w 205"/>
                  <a:gd name="T37" fmla="*/ 130 h 148"/>
                  <a:gd name="T38" fmla="*/ 163 w 205"/>
                  <a:gd name="T39" fmla="*/ 139 h 148"/>
                  <a:gd name="T40" fmla="*/ 151 w 205"/>
                  <a:gd name="T41" fmla="*/ 148 h 148"/>
                  <a:gd name="T42" fmla="*/ 130 w 205"/>
                  <a:gd name="T43" fmla="*/ 141 h 148"/>
                  <a:gd name="T44" fmla="*/ 112 w 205"/>
                  <a:gd name="T45" fmla="*/ 123 h 148"/>
                  <a:gd name="T46" fmla="*/ 100 w 205"/>
                  <a:gd name="T47" fmla="*/ 114 h 148"/>
                  <a:gd name="T48" fmla="*/ 82 w 205"/>
                  <a:gd name="T49" fmla="*/ 105 h 148"/>
                  <a:gd name="T50" fmla="*/ 59 w 205"/>
                  <a:gd name="T51" fmla="*/ 100 h 148"/>
                  <a:gd name="T52" fmla="*/ 39 w 205"/>
                  <a:gd name="T53" fmla="*/ 102 h 148"/>
                  <a:gd name="T54" fmla="*/ 24 w 205"/>
                  <a:gd name="T55" fmla="*/ 106 h 148"/>
                  <a:gd name="T56" fmla="*/ 16 w 205"/>
                  <a:gd name="T57" fmla="*/ 112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5" h="148">
                    <a:moveTo>
                      <a:pt x="16" y="112"/>
                    </a:moveTo>
                    <a:cubicBezTo>
                      <a:pt x="22" y="99"/>
                      <a:pt x="21" y="83"/>
                      <a:pt x="13" y="72"/>
                    </a:cubicBezTo>
                    <a:cubicBezTo>
                      <a:pt x="12" y="65"/>
                      <a:pt x="5" y="61"/>
                      <a:pt x="1" y="55"/>
                    </a:cubicBezTo>
                    <a:cubicBezTo>
                      <a:pt x="2" y="44"/>
                      <a:pt x="0" y="31"/>
                      <a:pt x="10" y="24"/>
                    </a:cubicBezTo>
                    <a:cubicBezTo>
                      <a:pt x="16" y="20"/>
                      <a:pt x="29" y="26"/>
                      <a:pt x="35" y="28"/>
                    </a:cubicBezTo>
                    <a:cubicBezTo>
                      <a:pt x="41" y="29"/>
                      <a:pt x="44" y="27"/>
                      <a:pt x="48" y="28"/>
                    </a:cubicBezTo>
                    <a:cubicBezTo>
                      <a:pt x="56" y="30"/>
                      <a:pt x="57" y="34"/>
                      <a:pt x="61" y="34"/>
                    </a:cubicBezTo>
                    <a:cubicBezTo>
                      <a:pt x="65" y="34"/>
                      <a:pt x="68" y="31"/>
                      <a:pt x="72" y="27"/>
                    </a:cubicBezTo>
                    <a:cubicBezTo>
                      <a:pt x="73" y="11"/>
                      <a:pt x="72" y="16"/>
                      <a:pt x="85" y="12"/>
                    </a:cubicBezTo>
                    <a:cubicBezTo>
                      <a:pt x="92" y="14"/>
                      <a:pt x="101" y="9"/>
                      <a:pt x="108" y="12"/>
                    </a:cubicBezTo>
                    <a:cubicBezTo>
                      <a:pt x="118" y="25"/>
                      <a:pt x="100" y="0"/>
                      <a:pt x="112" y="30"/>
                    </a:cubicBezTo>
                    <a:cubicBezTo>
                      <a:pt x="113" y="32"/>
                      <a:pt x="130" y="34"/>
                      <a:pt x="133" y="34"/>
                    </a:cubicBezTo>
                    <a:cubicBezTo>
                      <a:pt x="137" y="38"/>
                      <a:pt x="141" y="41"/>
                      <a:pt x="144" y="46"/>
                    </a:cubicBezTo>
                    <a:cubicBezTo>
                      <a:pt x="144" y="51"/>
                      <a:pt x="143" y="56"/>
                      <a:pt x="145" y="60"/>
                    </a:cubicBezTo>
                    <a:cubicBezTo>
                      <a:pt x="146" y="62"/>
                      <a:pt x="168" y="80"/>
                      <a:pt x="171" y="81"/>
                    </a:cubicBezTo>
                    <a:cubicBezTo>
                      <a:pt x="177" y="89"/>
                      <a:pt x="185" y="92"/>
                      <a:pt x="195" y="94"/>
                    </a:cubicBezTo>
                    <a:cubicBezTo>
                      <a:pt x="200" y="98"/>
                      <a:pt x="204" y="98"/>
                      <a:pt x="205" y="105"/>
                    </a:cubicBezTo>
                    <a:cubicBezTo>
                      <a:pt x="199" y="109"/>
                      <a:pt x="193" y="109"/>
                      <a:pt x="186" y="111"/>
                    </a:cubicBezTo>
                    <a:cubicBezTo>
                      <a:pt x="175" y="118"/>
                      <a:pt x="182" y="117"/>
                      <a:pt x="177" y="130"/>
                    </a:cubicBezTo>
                    <a:cubicBezTo>
                      <a:pt x="175" y="135"/>
                      <a:pt x="163" y="139"/>
                      <a:pt x="163" y="139"/>
                    </a:cubicBezTo>
                    <a:cubicBezTo>
                      <a:pt x="159" y="145"/>
                      <a:pt x="158" y="147"/>
                      <a:pt x="151" y="148"/>
                    </a:cubicBezTo>
                    <a:cubicBezTo>
                      <a:pt x="139" y="147"/>
                      <a:pt x="139" y="146"/>
                      <a:pt x="130" y="141"/>
                    </a:cubicBezTo>
                    <a:cubicBezTo>
                      <a:pt x="128" y="131"/>
                      <a:pt x="120" y="128"/>
                      <a:pt x="112" y="123"/>
                    </a:cubicBezTo>
                    <a:cubicBezTo>
                      <a:pt x="108" y="117"/>
                      <a:pt x="107" y="115"/>
                      <a:pt x="100" y="114"/>
                    </a:cubicBezTo>
                    <a:cubicBezTo>
                      <a:pt x="94" y="110"/>
                      <a:pt x="89" y="106"/>
                      <a:pt x="82" y="105"/>
                    </a:cubicBezTo>
                    <a:cubicBezTo>
                      <a:pt x="75" y="103"/>
                      <a:pt x="66" y="100"/>
                      <a:pt x="59" y="100"/>
                    </a:cubicBezTo>
                    <a:cubicBezTo>
                      <a:pt x="52" y="100"/>
                      <a:pt x="45" y="101"/>
                      <a:pt x="39" y="102"/>
                    </a:cubicBezTo>
                    <a:cubicBezTo>
                      <a:pt x="34" y="103"/>
                      <a:pt x="29" y="105"/>
                      <a:pt x="24" y="106"/>
                    </a:cubicBezTo>
                    <a:cubicBezTo>
                      <a:pt x="17" y="109"/>
                      <a:pt x="20" y="107"/>
                      <a:pt x="16" y="11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6" name="Freeform 71">
                <a:extLst>
                  <a:ext uri="{FF2B5EF4-FFF2-40B4-BE49-F238E27FC236}">
                    <a16:creationId xmlns:a16="http://schemas.microsoft.com/office/drawing/2014/main" id="{4EA9FE83-83A4-4517-9348-A1881E2D888A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gray">
              <a:xfrm>
                <a:off x="4845051" y="2503488"/>
                <a:ext cx="177800" cy="114300"/>
              </a:xfrm>
              <a:custGeom>
                <a:avLst/>
                <a:gdLst>
                  <a:gd name="T0" fmla="*/ 46 w 110"/>
                  <a:gd name="T1" fmla="*/ 8 h 72"/>
                  <a:gd name="T2" fmla="*/ 34 w 110"/>
                  <a:gd name="T3" fmla="*/ 29 h 72"/>
                  <a:gd name="T4" fmla="*/ 13 w 110"/>
                  <a:gd name="T5" fmla="*/ 22 h 72"/>
                  <a:gd name="T6" fmla="*/ 0 w 110"/>
                  <a:gd name="T7" fmla="*/ 50 h 72"/>
                  <a:gd name="T8" fmla="*/ 52 w 110"/>
                  <a:gd name="T9" fmla="*/ 49 h 72"/>
                  <a:gd name="T10" fmla="*/ 81 w 110"/>
                  <a:gd name="T11" fmla="*/ 70 h 72"/>
                  <a:gd name="T12" fmla="*/ 100 w 110"/>
                  <a:gd name="T13" fmla="*/ 61 h 72"/>
                  <a:gd name="T14" fmla="*/ 100 w 110"/>
                  <a:gd name="T15" fmla="*/ 11 h 72"/>
                  <a:gd name="T16" fmla="*/ 87 w 110"/>
                  <a:gd name="T17" fmla="*/ 17 h 72"/>
                  <a:gd name="T18" fmla="*/ 66 w 110"/>
                  <a:gd name="T19" fmla="*/ 10 h 72"/>
                  <a:gd name="T20" fmla="*/ 46 w 110"/>
                  <a:gd name="T21" fmla="*/ 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72">
                    <a:moveTo>
                      <a:pt x="46" y="8"/>
                    </a:moveTo>
                    <a:cubicBezTo>
                      <a:pt x="45" y="21"/>
                      <a:pt x="47" y="26"/>
                      <a:pt x="34" y="29"/>
                    </a:cubicBezTo>
                    <a:cubicBezTo>
                      <a:pt x="26" y="28"/>
                      <a:pt x="21" y="23"/>
                      <a:pt x="13" y="22"/>
                    </a:cubicBezTo>
                    <a:cubicBezTo>
                      <a:pt x="0" y="15"/>
                      <a:pt x="7" y="40"/>
                      <a:pt x="0" y="50"/>
                    </a:cubicBezTo>
                    <a:cubicBezTo>
                      <a:pt x="6" y="56"/>
                      <a:pt x="35" y="47"/>
                      <a:pt x="52" y="49"/>
                    </a:cubicBezTo>
                    <a:cubicBezTo>
                      <a:pt x="65" y="52"/>
                      <a:pt x="73" y="68"/>
                      <a:pt x="81" y="70"/>
                    </a:cubicBezTo>
                    <a:cubicBezTo>
                      <a:pt x="89" y="72"/>
                      <a:pt x="97" y="71"/>
                      <a:pt x="100" y="61"/>
                    </a:cubicBezTo>
                    <a:cubicBezTo>
                      <a:pt x="109" y="46"/>
                      <a:pt x="110" y="27"/>
                      <a:pt x="100" y="11"/>
                    </a:cubicBezTo>
                    <a:cubicBezTo>
                      <a:pt x="95" y="13"/>
                      <a:pt x="91" y="14"/>
                      <a:pt x="87" y="17"/>
                    </a:cubicBezTo>
                    <a:cubicBezTo>
                      <a:pt x="77" y="16"/>
                      <a:pt x="73" y="17"/>
                      <a:pt x="66" y="10"/>
                    </a:cubicBezTo>
                    <a:cubicBezTo>
                      <a:pt x="62" y="0"/>
                      <a:pt x="55" y="5"/>
                      <a:pt x="46" y="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7" name="Freeform 72">
                <a:extLst>
                  <a:ext uri="{FF2B5EF4-FFF2-40B4-BE49-F238E27FC236}">
                    <a16:creationId xmlns:a16="http://schemas.microsoft.com/office/drawing/2014/main" id="{0832CA4C-0B16-486B-A403-6C30925127E3}"/>
                  </a:ext>
                </a:extLst>
              </p:cNvPr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gray">
              <a:xfrm>
                <a:off x="4837113" y="2581275"/>
                <a:ext cx="139700" cy="100013"/>
              </a:xfrm>
              <a:custGeom>
                <a:avLst/>
                <a:gdLst>
                  <a:gd name="T0" fmla="*/ 8 w 86"/>
                  <a:gd name="T1" fmla="*/ 4 h 63"/>
                  <a:gd name="T2" fmla="*/ 5 w 86"/>
                  <a:gd name="T3" fmla="*/ 25 h 63"/>
                  <a:gd name="T4" fmla="*/ 26 w 86"/>
                  <a:gd name="T5" fmla="*/ 45 h 63"/>
                  <a:gd name="T6" fmla="*/ 30 w 86"/>
                  <a:gd name="T7" fmla="*/ 58 h 63"/>
                  <a:gd name="T8" fmla="*/ 47 w 86"/>
                  <a:gd name="T9" fmla="*/ 63 h 63"/>
                  <a:gd name="T10" fmla="*/ 66 w 86"/>
                  <a:gd name="T11" fmla="*/ 58 h 63"/>
                  <a:gd name="T12" fmla="*/ 72 w 86"/>
                  <a:gd name="T13" fmla="*/ 46 h 63"/>
                  <a:gd name="T14" fmla="*/ 86 w 86"/>
                  <a:gd name="T15" fmla="*/ 28 h 63"/>
                  <a:gd name="T16" fmla="*/ 78 w 86"/>
                  <a:gd name="T17" fmla="*/ 16 h 63"/>
                  <a:gd name="T18" fmla="*/ 63 w 86"/>
                  <a:gd name="T19" fmla="*/ 3 h 63"/>
                  <a:gd name="T20" fmla="*/ 41 w 86"/>
                  <a:gd name="T21" fmla="*/ 1 h 63"/>
                  <a:gd name="T22" fmla="*/ 8 w 86"/>
                  <a:gd name="T23" fmla="*/ 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63">
                    <a:moveTo>
                      <a:pt x="8" y="4"/>
                    </a:moveTo>
                    <a:cubicBezTo>
                      <a:pt x="0" y="7"/>
                      <a:pt x="2" y="18"/>
                      <a:pt x="5" y="25"/>
                    </a:cubicBezTo>
                    <a:cubicBezTo>
                      <a:pt x="8" y="32"/>
                      <a:pt x="22" y="40"/>
                      <a:pt x="26" y="45"/>
                    </a:cubicBezTo>
                    <a:cubicBezTo>
                      <a:pt x="31" y="51"/>
                      <a:pt x="24" y="54"/>
                      <a:pt x="30" y="58"/>
                    </a:cubicBezTo>
                    <a:cubicBezTo>
                      <a:pt x="33" y="61"/>
                      <a:pt x="41" y="63"/>
                      <a:pt x="47" y="63"/>
                    </a:cubicBezTo>
                    <a:cubicBezTo>
                      <a:pt x="53" y="63"/>
                      <a:pt x="62" y="61"/>
                      <a:pt x="66" y="58"/>
                    </a:cubicBezTo>
                    <a:cubicBezTo>
                      <a:pt x="70" y="56"/>
                      <a:pt x="71" y="50"/>
                      <a:pt x="72" y="46"/>
                    </a:cubicBezTo>
                    <a:cubicBezTo>
                      <a:pt x="73" y="40"/>
                      <a:pt x="83" y="33"/>
                      <a:pt x="86" y="28"/>
                    </a:cubicBezTo>
                    <a:cubicBezTo>
                      <a:pt x="83" y="22"/>
                      <a:pt x="84" y="20"/>
                      <a:pt x="78" y="16"/>
                    </a:cubicBezTo>
                    <a:cubicBezTo>
                      <a:pt x="74" y="11"/>
                      <a:pt x="68" y="6"/>
                      <a:pt x="63" y="3"/>
                    </a:cubicBezTo>
                    <a:cubicBezTo>
                      <a:pt x="57" y="1"/>
                      <a:pt x="50" y="0"/>
                      <a:pt x="41" y="1"/>
                    </a:cubicBezTo>
                    <a:cubicBezTo>
                      <a:pt x="32" y="1"/>
                      <a:pt x="15" y="3"/>
                      <a:pt x="8" y="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8" name="Freeform 73">
                <a:extLst>
                  <a:ext uri="{FF2B5EF4-FFF2-40B4-BE49-F238E27FC236}">
                    <a16:creationId xmlns:a16="http://schemas.microsoft.com/office/drawing/2014/main" id="{9207F359-51DF-4EA2-BCDD-669BA7C0BD34}"/>
                  </a:ext>
                </a:extLst>
              </p:cNvPr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gray">
              <a:xfrm>
                <a:off x="4892676" y="2597150"/>
                <a:ext cx="206375" cy="185738"/>
              </a:xfrm>
              <a:custGeom>
                <a:avLst/>
                <a:gdLst>
                  <a:gd name="T0" fmla="*/ 11 w 128"/>
                  <a:gd name="T1" fmla="*/ 54 h 117"/>
                  <a:gd name="T2" fmla="*/ 2 w 128"/>
                  <a:gd name="T3" fmla="*/ 92 h 117"/>
                  <a:gd name="T4" fmla="*/ 10 w 128"/>
                  <a:gd name="T5" fmla="*/ 114 h 117"/>
                  <a:gd name="T6" fmla="*/ 22 w 128"/>
                  <a:gd name="T7" fmla="*/ 110 h 117"/>
                  <a:gd name="T8" fmla="*/ 61 w 128"/>
                  <a:gd name="T9" fmla="*/ 110 h 117"/>
                  <a:gd name="T10" fmla="*/ 83 w 128"/>
                  <a:gd name="T11" fmla="*/ 114 h 117"/>
                  <a:gd name="T12" fmla="*/ 107 w 128"/>
                  <a:gd name="T13" fmla="*/ 109 h 117"/>
                  <a:gd name="T14" fmla="*/ 118 w 128"/>
                  <a:gd name="T15" fmla="*/ 102 h 117"/>
                  <a:gd name="T16" fmla="*/ 124 w 128"/>
                  <a:gd name="T17" fmla="*/ 84 h 117"/>
                  <a:gd name="T18" fmla="*/ 122 w 128"/>
                  <a:gd name="T19" fmla="*/ 68 h 117"/>
                  <a:gd name="T20" fmla="*/ 119 w 128"/>
                  <a:gd name="T21" fmla="*/ 51 h 117"/>
                  <a:gd name="T22" fmla="*/ 104 w 128"/>
                  <a:gd name="T23" fmla="*/ 23 h 117"/>
                  <a:gd name="T24" fmla="*/ 91 w 128"/>
                  <a:gd name="T25" fmla="*/ 6 h 117"/>
                  <a:gd name="T26" fmla="*/ 74 w 128"/>
                  <a:gd name="T27" fmla="*/ 2 h 117"/>
                  <a:gd name="T28" fmla="*/ 56 w 128"/>
                  <a:gd name="T29" fmla="*/ 15 h 117"/>
                  <a:gd name="T30" fmla="*/ 44 w 128"/>
                  <a:gd name="T31" fmla="*/ 26 h 117"/>
                  <a:gd name="T32" fmla="*/ 41 w 128"/>
                  <a:gd name="T33" fmla="*/ 37 h 117"/>
                  <a:gd name="T34" fmla="*/ 35 w 128"/>
                  <a:gd name="T35" fmla="*/ 48 h 117"/>
                  <a:gd name="T36" fmla="*/ 23 w 128"/>
                  <a:gd name="T37" fmla="*/ 53 h 117"/>
                  <a:gd name="T38" fmla="*/ 11 w 128"/>
                  <a:gd name="T39" fmla="*/ 5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17">
                    <a:moveTo>
                      <a:pt x="11" y="54"/>
                    </a:moveTo>
                    <a:cubicBezTo>
                      <a:pt x="8" y="67"/>
                      <a:pt x="14" y="85"/>
                      <a:pt x="2" y="92"/>
                    </a:cubicBezTo>
                    <a:cubicBezTo>
                      <a:pt x="2" y="100"/>
                      <a:pt x="0" y="111"/>
                      <a:pt x="10" y="114"/>
                    </a:cubicBezTo>
                    <a:cubicBezTo>
                      <a:pt x="13" y="117"/>
                      <a:pt x="14" y="111"/>
                      <a:pt x="22" y="110"/>
                    </a:cubicBezTo>
                    <a:cubicBezTo>
                      <a:pt x="30" y="109"/>
                      <a:pt x="51" y="109"/>
                      <a:pt x="61" y="110"/>
                    </a:cubicBezTo>
                    <a:cubicBezTo>
                      <a:pt x="68" y="114"/>
                      <a:pt x="76" y="109"/>
                      <a:pt x="83" y="114"/>
                    </a:cubicBezTo>
                    <a:cubicBezTo>
                      <a:pt x="91" y="114"/>
                      <a:pt x="101" y="111"/>
                      <a:pt x="107" y="109"/>
                    </a:cubicBezTo>
                    <a:cubicBezTo>
                      <a:pt x="113" y="107"/>
                      <a:pt x="115" y="106"/>
                      <a:pt x="118" y="102"/>
                    </a:cubicBezTo>
                    <a:cubicBezTo>
                      <a:pt x="119" y="94"/>
                      <a:pt x="128" y="89"/>
                      <a:pt x="124" y="84"/>
                    </a:cubicBezTo>
                    <a:cubicBezTo>
                      <a:pt x="122" y="76"/>
                      <a:pt x="118" y="75"/>
                      <a:pt x="122" y="68"/>
                    </a:cubicBezTo>
                    <a:cubicBezTo>
                      <a:pt x="119" y="62"/>
                      <a:pt x="121" y="57"/>
                      <a:pt x="119" y="51"/>
                    </a:cubicBezTo>
                    <a:cubicBezTo>
                      <a:pt x="117" y="40"/>
                      <a:pt x="116" y="25"/>
                      <a:pt x="104" y="23"/>
                    </a:cubicBezTo>
                    <a:cubicBezTo>
                      <a:pt x="98" y="19"/>
                      <a:pt x="91" y="6"/>
                      <a:pt x="91" y="6"/>
                    </a:cubicBezTo>
                    <a:cubicBezTo>
                      <a:pt x="87" y="0"/>
                      <a:pt x="81" y="3"/>
                      <a:pt x="74" y="2"/>
                    </a:cubicBezTo>
                    <a:cubicBezTo>
                      <a:pt x="67" y="6"/>
                      <a:pt x="64" y="14"/>
                      <a:pt x="56" y="15"/>
                    </a:cubicBezTo>
                    <a:cubicBezTo>
                      <a:pt x="53" y="20"/>
                      <a:pt x="47" y="21"/>
                      <a:pt x="44" y="26"/>
                    </a:cubicBezTo>
                    <a:cubicBezTo>
                      <a:pt x="42" y="30"/>
                      <a:pt x="42" y="33"/>
                      <a:pt x="41" y="37"/>
                    </a:cubicBezTo>
                    <a:cubicBezTo>
                      <a:pt x="40" y="41"/>
                      <a:pt x="38" y="45"/>
                      <a:pt x="35" y="48"/>
                    </a:cubicBezTo>
                    <a:cubicBezTo>
                      <a:pt x="26" y="47"/>
                      <a:pt x="27" y="52"/>
                      <a:pt x="23" y="53"/>
                    </a:cubicBezTo>
                    <a:cubicBezTo>
                      <a:pt x="19" y="54"/>
                      <a:pt x="13" y="54"/>
                      <a:pt x="11" y="5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09" name="Freeform 74">
                <a:extLst>
                  <a:ext uri="{FF2B5EF4-FFF2-40B4-BE49-F238E27FC236}">
                    <a16:creationId xmlns:a16="http://schemas.microsoft.com/office/drawing/2014/main" id="{12AF01AD-8425-42CE-87A8-B0F91ED621B7}"/>
                  </a:ext>
                </a:extLst>
              </p:cNvPr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gray">
              <a:xfrm>
                <a:off x="4473576" y="2657475"/>
                <a:ext cx="207963" cy="265113"/>
              </a:xfrm>
              <a:custGeom>
                <a:avLst/>
                <a:gdLst>
                  <a:gd name="T0" fmla="*/ 3 w 129"/>
                  <a:gd name="T1" fmla="*/ 127 h 167"/>
                  <a:gd name="T2" fmla="*/ 4 w 129"/>
                  <a:gd name="T3" fmla="*/ 109 h 167"/>
                  <a:gd name="T4" fmla="*/ 3 w 129"/>
                  <a:gd name="T5" fmla="*/ 88 h 167"/>
                  <a:gd name="T6" fmla="*/ 7 w 129"/>
                  <a:gd name="T7" fmla="*/ 69 h 167"/>
                  <a:gd name="T8" fmla="*/ 15 w 129"/>
                  <a:gd name="T9" fmla="*/ 52 h 167"/>
                  <a:gd name="T10" fmla="*/ 24 w 129"/>
                  <a:gd name="T11" fmla="*/ 28 h 167"/>
                  <a:gd name="T12" fmla="*/ 52 w 129"/>
                  <a:gd name="T13" fmla="*/ 22 h 167"/>
                  <a:gd name="T14" fmla="*/ 57 w 129"/>
                  <a:gd name="T15" fmla="*/ 0 h 167"/>
                  <a:gd name="T16" fmla="*/ 75 w 129"/>
                  <a:gd name="T17" fmla="*/ 13 h 167"/>
                  <a:gd name="T18" fmla="*/ 87 w 129"/>
                  <a:gd name="T19" fmla="*/ 21 h 167"/>
                  <a:gd name="T20" fmla="*/ 114 w 129"/>
                  <a:gd name="T21" fmla="*/ 13 h 167"/>
                  <a:gd name="T22" fmla="*/ 123 w 129"/>
                  <a:gd name="T23" fmla="*/ 27 h 167"/>
                  <a:gd name="T24" fmla="*/ 129 w 129"/>
                  <a:gd name="T25" fmla="*/ 58 h 167"/>
                  <a:gd name="T26" fmla="*/ 126 w 129"/>
                  <a:gd name="T27" fmla="*/ 88 h 167"/>
                  <a:gd name="T28" fmla="*/ 111 w 129"/>
                  <a:gd name="T29" fmla="*/ 100 h 167"/>
                  <a:gd name="T30" fmla="*/ 97 w 129"/>
                  <a:gd name="T31" fmla="*/ 108 h 167"/>
                  <a:gd name="T32" fmla="*/ 97 w 129"/>
                  <a:gd name="T33" fmla="*/ 120 h 167"/>
                  <a:gd name="T34" fmla="*/ 111 w 129"/>
                  <a:gd name="T35" fmla="*/ 129 h 167"/>
                  <a:gd name="T36" fmla="*/ 103 w 129"/>
                  <a:gd name="T37" fmla="*/ 156 h 167"/>
                  <a:gd name="T38" fmla="*/ 96 w 129"/>
                  <a:gd name="T39" fmla="*/ 165 h 167"/>
                  <a:gd name="T40" fmla="*/ 76 w 129"/>
                  <a:gd name="T41" fmla="*/ 166 h 167"/>
                  <a:gd name="T42" fmla="*/ 28 w 129"/>
                  <a:gd name="T43" fmla="*/ 159 h 167"/>
                  <a:gd name="T44" fmla="*/ 30 w 129"/>
                  <a:gd name="T45" fmla="*/ 141 h 167"/>
                  <a:gd name="T46" fmla="*/ 16 w 129"/>
                  <a:gd name="T47" fmla="*/ 129 h 167"/>
                  <a:gd name="T48" fmla="*/ 3 w 129"/>
                  <a:gd name="T49" fmla="*/ 12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" h="167">
                    <a:moveTo>
                      <a:pt x="3" y="127"/>
                    </a:moveTo>
                    <a:cubicBezTo>
                      <a:pt x="0" y="123"/>
                      <a:pt x="3" y="119"/>
                      <a:pt x="4" y="109"/>
                    </a:cubicBezTo>
                    <a:cubicBezTo>
                      <a:pt x="4" y="103"/>
                      <a:pt x="2" y="95"/>
                      <a:pt x="3" y="88"/>
                    </a:cubicBezTo>
                    <a:cubicBezTo>
                      <a:pt x="4" y="81"/>
                      <a:pt x="5" y="75"/>
                      <a:pt x="7" y="69"/>
                    </a:cubicBezTo>
                    <a:cubicBezTo>
                      <a:pt x="8" y="59"/>
                      <a:pt x="10" y="58"/>
                      <a:pt x="15" y="52"/>
                    </a:cubicBezTo>
                    <a:cubicBezTo>
                      <a:pt x="18" y="45"/>
                      <a:pt x="18" y="33"/>
                      <a:pt x="24" y="28"/>
                    </a:cubicBezTo>
                    <a:cubicBezTo>
                      <a:pt x="28" y="17"/>
                      <a:pt x="39" y="24"/>
                      <a:pt x="52" y="22"/>
                    </a:cubicBezTo>
                    <a:cubicBezTo>
                      <a:pt x="54" y="14"/>
                      <a:pt x="46" y="2"/>
                      <a:pt x="57" y="0"/>
                    </a:cubicBezTo>
                    <a:cubicBezTo>
                      <a:pt x="70" y="1"/>
                      <a:pt x="68" y="4"/>
                      <a:pt x="75" y="13"/>
                    </a:cubicBezTo>
                    <a:cubicBezTo>
                      <a:pt x="77" y="22"/>
                      <a:pt x="78" y="22"/>
                      <a:pt x="87" y="21"/>
                    </a:cubicBezTo>
                    <a:cubicBezTo>
                      <a:pt x="95" y="8"/>
                      <a:pt x="92" y="12"/>
                      <a:pt x="114" y="13"/>
                    </a:cubicBezTo>
                    <a:cubicBezTo>
                      <a:pt x="115" y="20"/>
                      <a:pt x="120" y="20"/>
                      <a:pt x="123" y="27"/>
                    </a:cubicBezTo>
                    <a:cubicBezTo>
                      <a:pt x="124" y="37"/>
                      <a:pt x="124" y="49"/>
                      <a:pt x="129" y="58"/>
                    </a:cubicBezTo>
                    <a:cubicBezTo>
                      <a:pt x="129" y="69"/>
                      <a:pt x="129" y="81"/>
                      <a:pt x="126" y="88"/>
                    </a:cubicBezTo>
                    <a:cubicBezTo>
                      <a:pt x="123" y="95"/>
                      <a:pt x="116" y="97"/>
                      <a:pt x="111" y="100"/>
                    </a:cubicBezTo>
                    <a:cubicBezTo>
                      <a:pt x="104" y="105"/>
                      <a:pt x="102" y="100"/>
                      <a:pt x="97" y="108"/>
                    </a:cubicBezTo>
                    <a:cubicBezTo>
                      <a:pt x="96" y="111"/>
                      <a:pt x="95" y="116"/>
                      <a:pt x="97" y="120"/>
                    </a:cubicBezTo>
                    <a:cubicBezTo>
                      <a:pt x="99" y="124"/>
                      <a:pt x="110" y="123"/>
                      <a:pt x="111" y="129"/>
                    </a:cubicBezTo>
                    <a:cubicBezTo>
                      <a:pt x="113" y="142"/>
                      <a:pt x="108" y="145"/>
                      <a:pt x="103" y="156"/>
                    </a:cubicBezTo>
                    <a:cubicBezTo>
                      <a:pt x="100" y="162"/>
                      <a:pt x="100" y="163"/>
                      <a:pt x="96" y="165"/>
                    </a:cubicBezTo>
                    <a:cubicBezTo>
                      <a:pt x="92" y="167"/>
                      <a:pt x="87" y="167"/>
                      <a:pt x="76" y="166"/>
                    </a:cubicBezTo>
                    <a:cubicBezTo>
                      <a:pt x="60" y="154"/>
                      <a:pt x="59" y="160"/>
                      <a:pt x="28" y="159"/>
                    </a:cubicBezTo>
                    <a:cubicBezTo>
                      <a:pt x="20" y="155"/>
                      <a:pt x="32" y="146"/>
                      <a:pt x="30" y="141"/>
                    </a:cubicBezTo>
                    <a:cubicBezTo>
                      <a:pt x="28" y="136"/>
                      <a:pt x="20" y="131"/>
                      <a:pt x="16" y="129"/>
                    </a:cubicBezTo>
                    <a:cubicBezTo>
                      <a:pt x="11" y="126"/>
                      <a:pt x="3" y="131"/>
                      <a:pt x="3" y="12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0" name="Freeform 75">
                <a:extLst>
                  <a:ext uri="{FF2B5EF4-FFF2-40B4-BE49-F238E27FC236}">
                    <a16:creationId xmlns:a16="http://schemas.microsoft.com/office/drawing/2014/main" id="{E02E5FF0-D356-44E3-BC3F-4CC28FC103C2}"/>
                  </a:ext>
                </a:extLst>
              </p:cNvPr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gray">
              <a:xfrm>
                <a:off x="4427538" y="2686050"/>
                <a:ext cx="90488" cy="100013"/>
              </a:xfrm>
              <a:custGeom>
                <a:avLst/>
                <a:gdLst>
                  <a:gd name="T0" fmla="*/ 7 w 56"/>
                  <a:gd name="T1" fmla="*/ 52 h 63"/>
                  <a:gd name="T2" fmla="*/ 10 w 56"/>
                  <a:gd name="T3" fmla="*/ 35 h 63"/>
                  <a:gd name="T4" fmla="*/ 14 w 56"/>
                  <a:gd name="T5" fmla="*/ 17 h 63"/>
                  <a:gd name="T6" fmla="*/ 50 w 56"/>
                  <a:gd name="T7" fmla="*/ 9 h 63"/>
                  <a:gd name="T8" fmla="*/ 44 w 56"/>
                  <a:gd name="T9" fmla="*/ 27 h 63"/>
                  <a:gd name="T10" fmla="*/ 38 w 56"/>
                  <a:gd name="T11" fmla="*/ 46 h 63"/>
                  <a:gd name="T12" fmla="*/ 28 w 56"/>
                  <a:gd name="T13" fmla="*/ 63 h 63"/>
                  <a:gd name="T14" fmla="*/ 7 w 56"/>
                  <a:gd name="T15" fmla="*/ 5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63">
                    <a:moveTo>
                      <a:pt x="7" y="52"/>
                    </a:moveTo>
                    <a:cubicBezTo>
                      <a:pt x="12" y="38"/>
                      <a:pt x="0" y="41"/>
                      <a:pt x="10" y="35"/>
                    </a:cubicBezTo>
                    <a:cubicBezTo>
                      <a:pt x="15" y="28"/>
                      <a:pt x="17" y="25"/>
                      <a:pt x="14" y="17"/>
                    </a:cubicBezTo>
                    <a:cubicBezTo>
                      <a:pt x="20" y="0"/>
                      <a:pt x="32" y="8"/>
                      <a:pt x="50" y="9"/>
                    </a:cubicBezTo>
                    <a:cubicBezTo>
                      <a:pt x="56" y="11"/>
                      <a:pt x="46" y="21"/>
                      <a:pt x="44" y="27"/>
                    </a:cubicBezTo>
                    <a:cubicBezTo>
                      <a:pt x="42" y="33"/>
                      <a:pt x="33" y="40"/>
                      <a:pt x="38" y="46"/>
                    </a:cubicBezTo>
                    <a:cubicBezTo>
                      <a:pt x="33" y="54"/>
                      <a:pt x="37" y="60"/>
                      <a:pt x="28" y="63"/>
                    </a:cubicBezTo>
                    <a:cubicBezTo>
                      <a:pt x="18" y="60"/>
                      <a:pt x="14" y="59"/>
                      <a:pt x="7" y="5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1" name="Freeform 77">
                <a:extLst>
                  <a:ext uri="{FF2B5EF4-FFF2-40B4-BE49-F238E27FC236}">
                    <a16:creationId xmlns:a16="http://schemas.microsoft.com/office/drawing/2014/main" id="{EF8EBB45-2D08-4237-923E-44B2B165B90A}"/>
                  </a:ext>
                </a:extLst>
              </p:cNvPr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gray">
              <a:xfrm>
                <a:off x="4798847" y="3116263"/>
                <a:ext cx="157329" cy="181187"/>
              </a:xfrm>
              <a:custGeom>
                <a:avLst/>
                <a:gdLst/>
                <a:ahLst/>
                <a:cxnLst/>
                <a:rect l="l" t="t" r="r" b="b"/>
                <a:pathLst>
                  <a:path w="157329" h="181187">
                    <a:moveTo>
                      <a:pt x="93201" y="149225"/>
                    </a:moveTo>
                    <a:cubicBezTo>
                      <a:pt x="128471" y="153988"/>
                      <a:pt x="114043" y="166688"/>
                      <a:pt x="157329" y="171450"/>
                    </a:cubicBezTo>
                    <a:cubicBezTo>
                      <a:pt x="136488" y="185738"/>
                      <a:pt x="133281" y="180976"/>
                      <a:pt x="102820" y="177801"/>
                    </a:cubicBezTo>
                    <a:cubicBezTo>
                      <a:pt x="91598" y="169863"/>
                      <a:pt x="85185" y="171450"/>
                      <a:pt x="80375" y="158750"/>
                    </a:cubicBezTo>
                    <a:cubicBezTo>
                      <a:pt x="91598" y="155575"/>
                      <a:pt x="88391" y="158750"/>
                      <a:pt x="93201" y="149225"/>
                    </a:cubicBezTo>
                    <a:close/>
                    <a:moveTo>
                      <a:pt x="112439" y="0"/>
                    </a:moveTo>
                    <a:cubicBezTo>
                      <a:pt x="96407" y="15875"/>
                      <a:pt x="110836" y="-3175"/>
                      <a:pt x="115645" y="12700"/>
                    </a:cubicBezTo>
                    <a:cubicBezTo>
                      <a:pt x="110836" y="30162"/>
                      <a:pt x="67548" y="46037"/>
                      <a:pt x="56326" y="65087"/>
                    </a:cubicBezTo>
                    <a:cubicBezTo>
                      <a:pt x="46707" y="80962"/>
                      <a:pt x="57929" y="103187"/>
                      <a:pt x="56326" y="112712"/>
                    </a:cubicBezTo>
                    <a:cubicBezTo>
                      <a:pt x="54723" y="122237"/>
                      <a:pt x="49913" y="130175"/>
                      <a:pt x="41897" y="120650"/>
                    </a:cubicBezTo>
                    <a:cubicBezTo>
                      <a:pt x="13039" y="101600"/>
                      <a:pt x="9833" y="92075"/>
                      <a:pt x="3420" y="57150"/>
                    </a:cubicBezTo>
                    <a:cubicBezTo>
                      <a:pt x="1817" y="50800"/>
                      <a:pt x="-187" y="48815"/>
                      <a:pt x="13" y="47823"/>
                    </a:cubicBezTo>
                    <a:lnTo>
                      <a:pt x="9833" y="44450"/>
                    </a:lnTo>
                    <a:cubicBezTo>
                      <a:pt x="16246" y="42862"/>
                      <a:pt x="30674" y="50800"/>
                      <a:pt x="38691" y="46037"/>
                    </a:cubicBezTo>
                    <a:cubicBezTo>
                      <a:pt x="46707" y="41275"/>
                      <a:pt x="54723" y="19050"/>
                      <a:pt x="61136" y="14287"/>
                    </a:cubicBezTo>
                    <a:cubicBezTo>
                      <a:pt x="61136" y="14287"/>
                      <a:pt x="67548" y="9525"/>
                      <a:pt x="73961" y="6350"/>
                    </a:cubicBezTo>
                    <a:cubicBezTo>
                      <a:pt x="85184" y="0"/>
                      <a:pt x="99613" y="4762"/>
                      <a:pt x="11243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2" name="Freeform 79">
                <a:extLst>
                  <a:ext uri="{FF2B5EF4-FFF2-40B4-BE49-F238E27FC236}">
                    <a16:creationId xmlns:a16="http://schemas.microsoft.com/office/drawing/2014/main" id="{8CF8411F-E017-464F-A4C7-EEEAF6F0B804}"/>
                  </a:ext>
                </a:extLst>
              </p:cNvPr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gray">
              <a:xfrm>
                <a:off x="5943601" y="3146425"/>
                <a:ext cx="195263" cy="128588"/>
              </a:xfrm>
              <a:custGeom>
                <a:avLst/>
                <a:gdLst>
                  <a:gd name="T0" fmla="*/ 98 w 121"/>
                  <a:gd name="T1" fmla="*/ 26 h 81"/>
                  <a:gd name="T2" fmla="*/ 98 w 121"/>
                  <a:gd name="T3" fmla="*/ 40 h 81"/>
                  <a:gd name="T4" fmla="*/ 109 w 121"/>
                  <a:gd name="T5" fmla="*/ 34 h 81"/>
                  <a:gd name="T6" fmla="*/ 113 w 121"/>
                  <a:gd name="T7" fmla="*/ 46 h 81"/>
                  <a:gd name="T8" fmla="*/ 119 w 121"/>
                  <a:gd name="T9" fmla="*/ 62 h 81"/>
                  <a:gd name="T10" fmla="*/ 101 w 121"/>
                  <a:gd name="T11" fmla="*/ 68 h 81"/>
                  <a:gd name="T12" fmla="*/ 80 w 121"/>
                  <a:gd name="T13" fmla="*/ 74 h 81"/>
                  <a:gd name="T14" fmla="*/ 64 w 121"/>
                  <a:gd name="T15" fmla="*/ 77 h 81"/>
                  <a:gd name="T16" fmla="*/ 62 w 121"/>
                  <a:gd name="T17" fmla="*/ 52 h 81"/>
                  <a:gd name="T18" fmla="*/ 58 w 121"/>
                  <a:gd name="T19" fmla="*/ 40 h 81"/>
                  <a:gd name="T20" fmla="*/ 44 w 121"/>
                  <a:gd name="T21" fmla="*/ 58 h 81"/>
                  <a:gd name="T22" fmla="*/ 32 w 121"/>
                  <a:gd name="T23" fmla="*/ 64 h 81"/>
                  <a:gd name="T24" fmla="*/ 11 w 121"/>
                  <a:gd name="T25" fmla="*/ 67 h 81"/>
                  <a:gd name="T26" fmla="*/ 8 w 121"/>
                  <a:gd name="T27" fmla="*/ 53 h 81"/>
                  <a:gd name="T28" fmla="*/ 8 w 121"/>
                  <a:gd name="T29" fmla="*/ 39 h 81"/>
                  <a:gd name="T30" fmla="*/ 2 w 121"/>
                  <a:gd name="T31" fmla="*/ 25 h 81"/>
                  <a:gd name="T32" fmla="*/ 20 w 121"/>
                  <a:gd name="T33" fmla="*/ 11 h 81"/>
                  <a:gd name="T34" fmla="*/ 28 w 121"/>
                  <a:gd name="T35" fmla="*/ 1 h 81"/>
                  <a:gd name="T36" fmla="*/ 37 w 121"/>
                  <a:gd name="T37" fmla="*/ 4 h 81"/>
                  <a:gd name="T38" fmla="*/ 50 w 121"/>
                  <a:gd name="T39" fmla="*/ 19 h 81"/>
                  <a:gd name="T40" fmla="*/ 52 w 121"/>
                  <a:gd name="T41" fmla="*/ 32 h 81"/>
                  <a:gd name="T42" fmla="*/ 58 w 121"/>
                  <a:gd name="T43" fmla="*/ 23 h 81"/>
                  <a:gd name="T44" fmla="*/ 79 w 121"/>
                  <a:gd name="T45" fmla="*/ 26 h 81"/>
                  <a:gd name="T46" fmla="*/ 98 w 121"/>
                  <a:gd name="T47" fmla="*/ 2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1" h="81">
                    <a:moveTo>
                      <a:pt x="98" y="26"/>
                    </a:moveTo>
                    <a:cubicBezTo>
                      <a:pt x="101" y="28"/>
                      <a:pt x="96" y="39"/>
                      <a:pt x="98" y="40"/>
                    </a:cubicBezTo>
                    <a:cubicBezTo>
                      <a:pt x="100" y="41"/>
                      <a:pt x="107" y="33"/>
                      <a:pt x="109" y="34"/>
                    </a:cubicBezTo>
                    <a:cubicBezTo>
                      <a:pt x="111" y="35"/>
                      <a:pt x="111" y="41"/>
                      <a:pt x="113" y="46"/>
                    </a:cubicBezTo>
                    <a:cubicBezTo>
                      <a:pt x="115" y="51"/>
                      <a:pt x="121" y="58"/>
                      <a:pt x="119" y="62"/>
                    </a:cubicBezTo>
                    <a:cubicBezTo>
                      <a:pt x="117" y="66"/>
                      <a:pt x="107" y="66"/>
                      <a:pt x="101" y="68"/>
                    </a:cubicBezTo>
                    <a:cubicBezTo>
                      <a:pt x="95" y="70"/>
                      <a:pt x="86" y="73"/>
                      <a:pt x="80" y="74"/>
                    </a:cubicBezTo>
                    <a:cubicBezTo>
                      <a:pt x="74" y="75"/>
                      <a:pt x="67" y="81"/>
                      <a:pt x="64" y="77"/>
                    </a:cubicBezTo>
                    <a:cubicBezTo>
                      <a:pt x="61" y="73"/>
                      <a:pt x="63" y="58"/>
                      <a:pt x="62" y="52"/>
                    </a:cubicBezTo>
                    <a:cubicBezTo>
                      <a:pt x="61" y="46"/>
                      <a:pt x="61" y="39"/>
                      <a:pt x="58" y="40"/>
                    </a:cubicBezTo>
                    <a:cubicBezTo>
                      <a:pt x="55" y="41"/>
                      <a:pt x="48" y="54"/>
                      <a:pt x="44" y="58"/>
                    </a:cubicBezTo>
                    <a:cubicBezTo>
                      <a:pt x="40" y="62"/>
                      <a:pt x="37" y="63"/>
                      <a:pt x="32" y="64"/>
                    </a:cubicBezTo>
                    <a:cubicBezTo>
                      <a:pt x="27" y="65"/>
                      <a:pt x="15" y="69"/>
                      <a:pt x="11" y="67"/>
                    </a:cubicBezTo>
                    <a:cubicBezTo>
                      <a:pt x="7" y="65"/>
                      <a:pt x="8" y="58"/>
                      <a:pt x="8" y="53"/>
                    </a:cubicBezTo>
                    <a:cubicBezTo>
                      <a:pt x="8" y="48"/>
                      <a:pt x="9" y="44"/>
                      <a:pt x="8" y="39"/>
                    </a:cubicBezTo>
                    <a:cubicBezTo>
                      <a:pt x="7" y="34"/>
                      <a:pt x="0" y="30"/>
                      <a:pt x="2" y="25"/>
                    </a:cubicBezTo>
                    <a:cubicBezTo>
                      <a:pt x="4" y="20"/>
                      <a:pt x="16" y="15"/>
                      <a:pt x="20" y="11"/>
                    </a:cubicBezTo>
                    <a:cubicBezTo>
                      <a:pt x="24" y="7"/>
                      <a:pt x="25" y="2"/>
                      <a:pt x="28" y="1"/>
                    </a:cubicBezTo>
                    <a:cubicBezTo>
                      <a:pt x="31" y="0"/>
                      <a:pt x="33" y="1"/>
                      <a:pt x="37" y="4"/>
                    </a:cubicBezTo>
                    <a:cubicBezTo>
                      <a:pt x="41" y="7"/>
                      <a:pt x="48" y="14"/>
                      <a:pt x="50" y="19"/>
                    </a:cubicBezTo>
                    <a:cubicBezTo>
                      <a:pt x="52" y="24"/>
                      <a:pt x="51" y="31"/>
                      <a:pt x="52" y="32"/>
                    </a:cubicBezTo>
                    <a:cubicBezTo>
                      <a:pt x="53" y="33"/>
                      <a:pt x="54" y="24"/>
                      <a:pt x="58" y="23"/>
                    </a:cubicBezTo>
                    <a:cubicBezTo>
                      <a:pt x="62" y="22"/>
                      <a:pt x="73" y="26"/>
                      <a:pt x="79" y="26"/>
                    </a:cubicBezTo>
                    <a:cubicBezTo>
                      <a:pt x="85" y="26"/>
                      <a:pt x="95" y="24"/>
                      <a:pt x="98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4" name="Freeform 80">
                <a:extLst>
                  <a:ext uri="{FF2B5EF4-FFF2-40B4-BE49-F238E27FC236}">
                    <a16:creationId xmlns:a16="http://schemas.microsoft.com/office/drawing/2014/main" id="{C150446D-764D-4376-A9F4-0997FE664C7C}"/>
                  </a:ext>
                </a:extLst>
              </p:cNvPr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gray">
              <a:xfrm>
                <a:off x="4056063" y="2622550"/>
                <a:ext cx="123825" cy="174625"/>
              </a:xfrm>
              <a:custGeom>
                <a:avLst/>
                <a:gdLst>
                  <a:gd name="T0" fmla="*/ 40 w 76"/>
                  <a:gd name="T1" fmla="*/ 41 h 110"/>
                  <a:gd name="T2" fmla="*/ 66 w 76"/>
                  <a:gd name="T3" fmla="*/ 55 h 110"/>
                  <a:gd name="T4" fmla="*/ 73 w 76"/>
                  <a:gd name="T5" fmla="*/ 91 h 110"/>
                  <a:gd name="T6" fmla="*/ 51 w 76"/>
                  <a:gd name="T7" fmla="*/ 103 h 110"/>
                  <a:gd name="T8" fmla="*/ 36 w 76"/>
                  <a:gd name="T9" fmla="*/ 103 h 110"/>
                  <a:gd name="T10" fmla="*/ 16 w 76"/>
                  <a:gd name="T11" fmla="*/ 91 h 110"/>
                  <a:gd name="T12" fmla="*/ 15 w 76"/>
                  <a:gd name="T13" fmla="*/ 82 h 110"/>
                  <a:gd name="T14" fmla="*/ 28 w 76"/>
                  <a:gd name="T15" fmla="*/ 64 h 110"/>
                  <a:gd name="T16" fmla="*/ 12 w 76"/>
                  <a:gd name="T17" fmla="*/ 53 h 110"/>
                  <a:gd name="T18" fmla="*/ 3 w 76"/>
                  <a:gd name="T19" fmla="*/ 37 h 110"/>
                  <a:gd name="T20" fmla="*/ 30 w 76"/>
                  <a:gd name="T21" fmla="*/ 25 h 110"/>
                  <a:gd name="T22" fmla="*/ 21 w 76"/>
                  <a:gd name="T23" fmla="*/ 8 h 110"/>
                  <a:gd name="T24" fmla="*/ 55 w 76"/>
                  <a:gd name="T25" fmla="*/ 2 h 110"/>
                  <a:gd name="T26" fmla="*/ 43 w 76"/>
                  <a:gd name="T27" fmla="*/ 19 h 110"/>
                  <a:gd name="T28" fmla="*/ 40 w 76"/>
                  <a:gd name="T29" fmla="*/ 4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110">
                    <a:moveTo>
                      <a:pt x="40" y="41"/>
                    </a:moveTo>
                    <a:cubicBezTo>
                      <a:pt x="46" y="45"/>
                      <a:pt x="61" y="47"/>
                      <a:pt x="66" y="55"/>
                    </a:cubicBezTo>
                    <a:cubicBezTo>
                      <a:pt x="71" y="63"/>
                      <a:pt x="76" y="83"/>
                      <a:pt x="73" y="91"/>
                    </a:cubicBezTo>
                    <a:cubicBezTo>
                      <a:pt x="66" y="94"/>
                      <a:pt x="59" y="101"/>
                      <a:pt x="51" y="103"/>
                    </a:cubicBezTo>
                    <a:cubicBezTo>
                      <a:pt x="50" y="110"/>
                      <a:pt x="42" y="100"/>
                      <a:pt x="36" y="103"/>
                    </a:cubicBezTo>
                    <a:cubicBezTo>
                      <a:pt x="13" y="99"/>
                      <a:pt x="23" y="104"/>
                      <a:pt x="16" y="91"/>
                    </a:cubicBezTo>
                    <a:cubicBezTo>
                      <a:pt x="15" y="84"/>
                      <a:pt x="6" y="84"/>
                      <a:pt x="15" y="82"/>
                    </a:cubicBezTo>
                    <a:cubicBezTo>
                      <a:pt x="21" y="72"/>
                      <a:pt x="18" y="72"/>
                      <a:pt x="28" y="64"/>
                    </a:cubicBezTo>
                    <a:cubicBezTo>
                      <a:pt x="26" y="52"/>
                      <a:pt x="17" y="62"/>
                      <a:pt x="12" y="53"/>
                    </a:cubicBezTo>
                    <a:cubicBezTo>
                      <a:pt x="10" y="48"/>
                      <a:pt x="0" y="42"/>
                      <a:pt x="3" y="37"/>
                    </a:cubicBezTo>
                    <a:cubicBezTo>
                      <a:pt x="6" y="32"/>
                      <a:pt x="27" y="30"/>
                      <a:pt x="30" y="25"/>
                    </a:cubicBezTo>
                    <a:cubicBezTo>
                      <a:pt x="33" y="20"/>
                      <a:pt x="17" y="12"/>
                      <a:pt x="21" y="8"/>
                    </a:cubicBezTo>
                    <a:cubicBezTo>
                      <a:pt x="25" y="4"/>
                      <a:pt x="52" y="0"/>
                      <a:pt x="55" y="2"/>
                    </a:cubicBezTo>
                    <a:cubicBezTo>
                      <a:pt x="58" y="4"/>
                      <a:pt x="45" y="13"/>
                      <a:pt x="43" y="19"/>
                    </a:cubicBezTo>
                    <a:cubicBezTo>
                      <a:pt x="41" y="25"/>
                      <a:pt x="31" y="37"/>
                      <a:pt x="40" y="4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5" name="Freeform 86">
                <a:extLst>
                  <a:ext uri="{FF2B5EF4-FFF2-40B4-BE49-F238E27FC236}">
                    <a16:creationId xmlns:a16="http://schemas.microsoft.com/office/drawing/2014/main" id="{C53C5C4C-FD54-496C-B861-B2EA6F6FE25F}"/>
                  </a:ext>
                </a:extLst>
              </p:cNvPr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gray">
              <a:xfrm>
                <a:off x="4124326" y="3049588"/>
                <a:ext cx="295275" cy="234950"/>
              </a:xfrm>
              <a:custGeom>
                <a:avLst/>
                <a:gdLst>
                  <a:gd name="T0" fmla="*/ 9 w 183"/>
                  <a:gd name="T1" fmla="*/ 5 h 148"/>
                  <a:gd name="T2" fmla="*/ 54 w 183"/>
                  <a:gd name="T3" fmla="*/ 3 h 148"/>
                  <a:gd name="T4" fmla="*/ 81 w 183"/>
                  <a:gd name="T5" fmla="*/ 3 h 148"/>
                  <a:gd name="T6" fmla="*/ 156 w 183"/>
                  <a:gd name="T7" fmla="*/ 17 h 148"/>
                  <a:gd name="T8" fmla="*/ 175 w 183"/>
                  <a:gd name="T9" fmla="*/ 27 h 148"/>
                  <a:gd name="T10" fmla="*/ 175 w 183"/>
                  <a:gd name="T11" fmla="*/ 39 h 148"/>
                  <a:gd name="T12" fmla="*/ 154 w 183"/>
                  <a:gd name="T13" fmla="*/ 48 h 148"/>
                  <a:gd name="T14" fmla="*/ 139 w 183"/>
                  <a:gd name="T15" fmla="*/ 62 h 148"/>
                  <a:gd name="T16" fmla="*/ 129 w 183"/>
                  <a:gd name="T17" fmla="*/ 77 h 148"/>
                  <a:gd name="T18" fmla="*/ 132 w 183"/>
                  <a:gd name="T19" fmla="*/ 96 h 148"/>
                  <a:gd name="T20" fmla="*/ 130 w 183"/>
                  <a:gd name="T21" fmla="*/ 102 h 148"/>
                  <a:gd name="T22" fmla="*/ 123 w 183"/>
                  <a:gd name="T23" fmla="*/ 104 h 148"/>
                  <a:gd name="T24" fmla="*/ 112 w 183"/>
                  <a:gd name="T25" fmla="*/ 119 h 148"/>
                  <a:gd name="T26" fmla="*/ 91 w 183"/>
                  <a:gd name="T27" fmla="*/ 134 h 148"/>
                  <a:gd name="T28" fmla="*/ 55 w 183"/>
                  <a:gd name="T29" fmla="*/ 141 h 148"/>
                  <a:gd name="T30" fmla="*/ 43 w 183"/>
                  <a:gd name="T31" fmla="*/ 146 h 148"/>
                  <a:gd name="T32" fmla="*/ 28 w 183"/>
                  <a:gd name="T33" fmla="*/ 131 h 148"/>
                  <a:gd name="T34" fmla="*/ 21 w 183"/>
                  <a:gd name="T35" fmla="*/ 119 h 148"/>
                  <a:gd name="T36" fmla="*/ 27 w 183"/>
                  <a:gd name="T37" fmla="*/ 83 h 148"/>
                  <a:gd name="T38" fmla="*/ 37 w 183"/>
                  <a:gd name="T39" fmla="*/ 42 h 148"/>
                  <a:gd name="T40" fmla="*/ 16 w 183"/>
                  <a:gd name="T41" fmla="*/ 35 h 148"/>
                  <a:gd name="T42" fmla="*/ 4 w 183"/>
                  <a:gd name="T43" fmla="*/ 29 h 148"/>
                  <a:gd name="T44" fmla="*/ 0 w 183"/>
                  <a:gd name="T45" fmla="*/ 12 h 148"/>
                  <a:gd name="T46" fmla="*/ 9 w 183"/>
                  <a:gd name="T47" fmla="*/ 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3" h="148">
                    <a:moveTo>
                      <a:pt x="9" y="5"/>
                    </a:moveTo>
                    <a:cubicBezTo>
                      <a:pt x="13" y="0"/>
                      <a:pt x="48" y="3"/>
                      <a:pt x="54" y="3"/>
                    </a:cubicBezTo>
                    <a:cubicBezTo>
                      <a:pt x="62" y="9"/>
                      <a:pt x="72" y="7"/>
                      <a:pt x="81" y="3"/>
                    </a:cubicBezTo>
                    <a:cubicBezTo>
                      <a:pt x="113" y="5"/>
                      <a:pt x="122" y="15"/>
                      <a:pt x="156" y="17"/>
                    </a:cubicBezTo>
                    <a:cubicBezTo>
                      <a:pt x="167" y="25"/>
                      <a:pt x="155" y="25"/>
                      <a:pt x="175" y="27"/>
                    </a:cubicBezTo>
                    <a:cubicBezTo>
                      <a:pt x="177" y="34"/>
                      <a:pt x="183" y="37"/>
                      <a:pt x="175" y="39"/>
                    </a:cubicBezTo>
                    <a:cubicBezTo>
                      <a:pt x="171" y="46"/>
                      <a:pt x="162" y="47"/>
                      <a:pt x="154" y="48"/>
                    </a:cubicBezTo>
                    <a:cubicBezTo>
                      <a:pt x="148" y="53"/>
                      <a:pt x="147" y="59"/>
                      <a:pt x="139" y="62"/>
                    </a:cubicBezTo>
                    <a:cubicBezTo>
                      <a:pt x="135" y="68"/>
                      <a:pt x="136" y="74"/>
                      <a:pt x="129" y="77"/>
                    </a:cubicBezTo>
                    <a:cubicBezTo>
                      <a:pt x="123" y="84"/>
                      <a:pt x="125" y="91"/>
                      <a:pt x="132" y="96"/>
                    </a:cubicBezTo>
                    <a:cubicBezTo>
                      <a:pt x="131" y="98"/>
                      <a:pt x="132" y="101"/>
                      <a:pt x="130" y="102"/>
                    </a:cubicBezTo>
                    <a:cubicBezTo>
                      <a:pt x="128" y="104"/>
                      <a:pt x="125" y="102"/>
                      <a:pt x="123" y="104"/>
                    </a:cubicBezTo>
                    <a:cubicBezTo>
                      <a:pt x="115" y="114"/>
                      <a:pt x="125" y="111"/>
                      <a:pt x="112" y="119"/>
                    </a:cubicBezTo>
                    <a:cubicBezTo>
                      <a:pt x="105" y="129"/>
                      <a:pt x="102" y="130"/>
                      <a:pt x="91" y="134"/>
                    </a:cubicBezTo>
                    <a:cubicBezTo>
                      <a:pt x="78" y="144"/>
                      <a:pt x="78" y="140"/>
                      <a:pt x="55" y="141"/>
                    </a:cubicBezTo>
                    <a:cubicBezTo>
                      <a:pt x="48" y="145"/>
                      <a:pt x="52" y="148"/>
                      <a:pt x="43" y="146"/>
                    </a:cubicBezTo>
                    <a:cubicBezTo>
                      <a:pt x="39" y="140"/>
                      <a:pt x="35" y="132"/>
                      <a:pt x="28" y="131"/>
                    </a:cubicBezTo>
                    <a:cubicBezTo>
                      <a:pt x="25" y="126"/>
                      <a:pt x="24" y="124"/>
                      <a:pt x="21" y="119"/>
                    </a:cubicBezTo>
                    <a:cubicBezTo>
                      <a:pt x="28" y="108"/>
                      <a:pt x="21" y="95"/>
                      <a:pt x="27" y="83"/>
                    </a:cubicBezTo>
                    <a:cubicBezTo>
                      <a:pt x="30" y="67"/>
                      <a:pt x="29" y="56"/>
                      <a:pt x="37" y="42"/>
                    </a:cubicBezTo>
                    <a:cubicBezTo>
                      <a:pt x="31" y="34"/>
                      <a:pt x="27" y="36"/>
                      <a:pt x="16" y="35"/>
                    </a:cubicBezTo>
                    <a:cubicBezTo>
                      <a:pt x="11" y="33"/>
                      <a:pt x="9" y="32"/>
                      <a:pt x="4" y="29"/>
                    </a:cubicBezTo>
                    <a:cubicBezTo>
                      <a:pt x="3" y="24"/>
                      <a:pt x="1" y="17"/>
                      <a:pt x="0" y="12"/>
                    </a:cubicBezTo>
                    <a:cubicBezTo>
                      <a:pt x="3" y="10"/>
                      <a:pt x="9" y="8"/>
                      <a:pt x="9" y="8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6" name="Freeform 87">
                <a:extLst>
                  <a:ext uri="{FF2B5EF4-FFF2-40B4-BE49-F238E27FC236}">
                    <a16:creationId xmlns:a16="http://schemas.microsoft.com/office/drawing/2014/main" id="{EF2F188A-A40C-449C-ADB0-7D33C5AA870C}"/>
                  </a:ext>
                </a:extLst>
              </p:cNvPr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gray">
              <a:xfrm>
                <a:off x="5400676" y="3170238"/>
                <a:ext cx="446088" cy="415925"/>
              </a:xfrm>
              <a:custGeom>
                <a:avLst/>
                <a:gdLst>
                  <a:gd name="T0" fmla="*/ 5 w 277"/>
                  <a:gd name="T1" fmla="*/ 5 h 262"/>
                  <a:gd name="T2" fmla="*/ 1 w 277"/>
                  <a:gd name="T3" fmla="*/ 37 h 262"/>
                  <a:gd name="T4" fmla="*/ 2 w 277"/>
                  <a:gd name="T5" fmla="*/ 53 h 262"/>
                  <a:gd name="T6" fmla="*/ 15 w 277"/>
                  <a:gd name="T7" fmla="*/ 67 h 262"/>
                  <a:gd name="T8" fmla="*/ 26 w 277"/>
                  <a:gd name="T9" fmla="*/ 77 h 262"/>
                  <a:gd name="T10" fmla="*/ 14 w 277"/>
                  <a:gd name="T11" fmla="*/ 100 h 262"/>
                  <a:gd name="T12" fmla="*/ 28 w 277"/>
                  <a:gd name="T13" fmla="*/ 121 h 262"/>
                  <a:gd name="T14" fmla="*/ 46 w 277"/>
                  <a:gd name="T15" fmla="*/ 139 h 262"/>
                  <a:gd name="T16" fmla="*/ 53 w 277"/>
                  <a:gd name="T17" fmla="*/ 173 h 262"/>
                  <a:gd name="T18" fmla="*/ 85 w 277"/>
                  <a:gd name="T19" fmla="*/ 182 h 262"/>
                  <a:gd name="T20" fmla="*/ 94 w 277"/>
                  <a:gd name="T21" fmla="*/ 208 h 262"/>
                  <a:gd name="T22" fmla="*/ 115 w 277"/>
                  <a:gd name="T23" fmla="*/ 218 h 262"/>
                  <a:gd name="T24" fmla="*/ 119 w 277"/>
                  <a:gd name="T25" fmla="*/ 220 h 262"/>
                  <a:gd name="T26" fmla="*/ 130 w 277"/>
                  <a:gd name="T27" fmla="*/ 221 h 262"/>
                  <a:gd name="T28" fmla="*/ 145 w 277"/>
                  <a:gd name="T29" fmla="*/ 233 h 262"/>
                  <a:gd name="T30" fmla="*/ 173 w 277"/>
                  <a:gd name="T31" fmla="*/ 215 h 262"/>
                  <a:gd name="T32" fmla="*/ 193 w 277"/>
                  <a:gd name="T33" fmla="*/ 221 h 262"/>
                  <a:gd name="T34" fmla="*/ 202 w 277"/>
                  <a:gd name="T35" fmla="*/ 251 h 262"/>
                  <a:gd name="T36" fmla="*/ 236 w 277"/>
                  <a:gd name="T37" fmla="*/ 257 h 262"/>
                  <a:gd name="T38" fmla="*/ 256 w 277"/>
                  <a:gd name="T39" fmla="*/ 241 h 262"/>
                  <a:gd name="T40" fmla="*/ 268 w 277"/>
                  <a:gd name="T41" fmla="*/ 233 h 262"/>
                  <a:gd name="T42" fmla="*/ 277 w 277"/>
                  <a:gd name="T43" fmla="*/ 230 h 262"/>
                  <a:gd name="T44" fmla="*/ 269 w 277"/>
                  <a:gd name="T45" fmla="*/ 208 h 262"/>
                  <a:gd name="T46" fmla="*/ 253 w 277"/>
                  <a:gd name="T47" fmla="*/ 199 h 262"/>
                  <a:gd name="T48" fmla="*/ 248 w 277"/>
                  <a:gd name="T49" fmla="*/ 176 h 262"/>
                  <a:gd name="T50" fmla="*/ 251 w 277"/>
                  <a:gd name="T51" fmla="*/ 164 h 262"/>
                  <a:gd name="T52" fmla="*/ 243 w 277"/>
                  <a:gd name="T53" fmla="*/ 146 h 262"/>
                  <a:gd name="T54" fmla="*/ 239 w 277"/>
                  <a:gd name="T55" fmla="*/ 127 h 262"/>
                  <a:gd name="T56" fmla="*/ 247 w 277"/>
                  <a:gd name="T57" fmla="*/ 80 h 262"/>
                  <a:gd name="T58" fmla="*/ 227 w 277"/>
                  <a:gd name="T59" fmla="*/ 61 h 262"/>
                  <a:gd name="T60" fmla="*/ 209 w 277"/>
                  <a:gd name="T61" fmla="*/ 49 h 262"/>
                  <a:gd name="T62" fmla="*/ 185 w 277"/>
                  <a:gd name="T63" fmla="*/ 40 h 262"/>
                  <a:gd name="T64" fmla="*/ 165 w 277"/>
                  <a:gd name="T65" fmla="*/ 38 h 262"/>
                  <a:gd name="T66" fmla="*/ 146 w 277"/>
                  <a:gd name="T67" fmla="*/ 44 h 262"/>
                  <a:gd name="T68" fmla="*/ 128 w 277"/>
                  <a:gd name="T69" fmla="*/ 52 h 262"/>
                  <a:gd name="T70" fmla="*/ 97 w 277"/>
                  <a:gd name="T71" fmla="*/ 61 h 262"/>
                  <a:gd name="T72" fmla="*/ 73 w 277"/>
                  <a:gd name="T73" fmla="*/ 41 h 262"/>
                  <a:gd name="T74" fmla="*/ 53 w 277"/>
                  <a:gd name="T75" fmla="*/ 19 h 262"/>
                  <a:gd name="T76" fmla="*/ 43 w 277"/>
                  <a:gd name="T77" fmla="*/ 8 h 262"/>
                  <a:gd name="T78" fmla="*/ 31 w 277"/>
                  <a:gd name="T79" fmla="*/ 10 h 262"/>
                  <a:gd name="T80" fmla="*/ 17 w 277"/>
                  <a:gd name="T81" fmla="*/ 8 h 262"/>
                  <a:gd name="T82" fmla="*/ 5 w 277"/>
                  <a:gd name="T83" fmla="*/ 5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7" h="262">
                    <a:moveTo>
                      <a:pt x="5" y="5"/>
                    </a:moveTo>
                    <a:cubicBezTo>
                      <a:pt x="0" y="9"/>
                      <a:pt x="1" y="28"/>
                      <a:pt x="1" y="37"/>
                    </a:cubicBezTo>
                    <a:cubicBezTo>
                      <a:pt x="1" y="45"/>
                      <a:pt x="0" y="48"/>
                      <a:pt x="2" y="53"/>
                    </a:cubicBezTo>
                    <a:cubicBezTo>
                      <a:pt x="4" y="58"/>
                      <a:pt x="11" y="63"/>
                      <a:pt x="15" y="67"/>
                    </a:cubicBezTo>
                    <a:cubicBezTo>
                      <a:pt x="19" y="71"/>
                      <a:pt x="26" y="72"/>
                      <a:pt x="26" y="77"/>
                    </a:cubicBezTo>
                    <a:cubicBezTo>
                      <a:pt x="18" y="85"/>
                      <a:pt x="25" y="96"/>
                      <a:pt x="14" y="100"/>
                    </a:cubicBezTo>
                    <a:cubicBezTo>
                      <a:pt x="12" y="110"/>
                      <a:pt x="19" y="117"/>
                      <a:pt x="28" y="121"/>
                    </a:cubicBezTo>
                    <a:cubicBezTo>
                      <a:pt x="34" y="129"/>
                      <a:pt x="37" y="135"/>
                      <a:pt x="46" y="139"/>
                    </a:cubicBezTo>
                    <a:cubicBezTo>
                      <a:pt x="54" y="149"/>
                      <a:pt x="45" y="163"/>
                      <a:pt x="53" y="173"/>
                    </a:cubicBezTo>
                    <a:cubicBezTo>
                      <a:pt x="67" y="170"/>
                      <a:pt x="78" y="169"/>
                      <a:pt x="85" y="182"/>
                    </a:cubicBezTo>
                    <a:cubicBezTo>
                      <a:pt x="87" y="192"/>
                      <a:pt x="90" y="199"/>
                      <a:pt x="94" y="208"/>
                    </a:cubicBezTo>
                    <a:cubicBezTo>
                      <a:pt x="96" y="221"/>
                      <a:pt x="104" y="216"/>
                      <a:pt x="115" y="218"/>
                    </a:cubicBezTo>
                    <a:cubicBezTo>
                      <a:pt x="116" y="219"/>
                      <a:pt x="118" y="220"/>
                      <a:pt x="119" y="220"/>
                    </a:cubicBezTo>
                    <a:cubicBezTo>
                      <a:pt x="123" y="221"/>
                      <a:pt x="127" y="220"/>
                      <a:pt x="130" y="221"/>
                    </a:cubicBezTo>
                    <a:cubicBezTo>
                      <a:pt x="136" y="224"/>
                      <a:pt x="134" y="231"/>
                      <a:pt x="145" y="233"/>
                    </a:cubicBezTo>
                    <a:cubicBezTo>
                      <a:pt x="153" y="237"/>
                      <a:pt x="166" y="220"/>
                      <a:pt x="173" y="215"/>
                    </a:cubicBezTo>
                    <a:cubicBezTo>
                      <a:pt x="178" y="216"/>
                      <a:pt x="189" y="218"/>
                      <a:pt x="193" y="221"/>
                    </a:cubicBezTo>
                    <a:cubicBezTo>
                      <a:pt x="198" y="224"/>
                      <a:pt x="190" y="249"/>
                      <a:pt x="202" y="251"/>
                    </a:cubicBezTo>
                    <a:cubicBezTo>
                      <a:pt x="224" y="262"/>
                      <a:pt x="198" y="256"/>
                      <a:pt x="236" y="257"/>
                    </a:cubicBezTo>
                    <a:cubicBezTo>
                      <a:pt x="274" y="255"/>
                      <a:pt x="241" y="262"/>
                      <a:pt x="256" y="241"/>
                    </a:cubicBezTo>
                    <a:cubicBezTo>
                      <a:pt x="262" y="241"/>
                      <a:pt x="266" y="233"/>
                      <a:pt x="268" y="233"/>
                    </a:cubicBezTo>
                    <a:cubicBezTo>
                      <a:pt x="271" y="230"/>
                      <a:pt x="277" y="234"/>
                      <a:pt x="277" y="230"/>
                    </a:cubicBezTo>
                    <a:cubicBezTo>
                      <a:pt x="277" y="226"/>
                      <a:pt x="273" y="213"/>
                      <a:pt x="269" y="208"/>
                    </a:cubicBezTo>
                    <a:cubicBezTo>
                      <a:pt x="268" y="201"/>
                      <a:pt x="258" y="204"/>
                      <a:pt x="253" y="199"/>
                    </a:cubicBezTo>
                    <a:cubicBezTo>
                      <a:pt x="248" y="186"/>
                      <a:pt x="247" y="198"/>
                      <a:pt x="248" y="176"/>
                    </a:cubicBezTo>
                    <a:cubicBezTo>
                      <a:pt x="247" y="170"/>
                      <a:pt x="252" y="168"/>
                      <a:pt x="251" y="164"/>
                    </a:cubicBezTo>
                    <a:cubicBezTo>
                      <a:pt x="250" y="159"/>
                      <a:pt x="245" y="152"/>
                      <a:pt x="243" y="146"/>
                    </a:cubicBezTo>
                    <a:cubicBezTo>
                      <a:pt x="237" y="138"/>
                      <a:pt x="238" y="136"/>
                      <a:pt x="239" y="127"/>
                    </a:cubicBezTo>
                    <a:cubicBezTo>
                      <a:pt x="239" y="117"/>
                      <a:pt x="249" y="91"/>
                      <a:pt x="247" y="80"/>
                    </a:cubicBezTo>
                    <a:cubicBezTo>
                      <a:pt x="245" y="69"/>
                      <a:pt x="233" y="66"/>
                      <a:pt x="227" y="61"/>
                    </a:cubicBezTo>
                    <a:cubicBezTo>
                      <a:pt x="223" y="54"/>
                      <a:pt x="218" y="50"/>
                      <a:pt x="209" y="49"/>
                    </a:cubicBezTo>
                    <a:cubicBezTo>
                      <a:pt x="202" y="46"/>
                      <a:pt x="192" y="41"/>
                      <a:pt x="185" y="40"/>
                    </a:cubicBezTo>
                    <a:cubicBezTo>
                      <a:pt x="177" y="38"/>
                      <a:pt x="171" y="37"/>
                      <a:pt x="165" y="38"/>
                    </a:cubicBezTo>
                    <a:cubicBezTo>
                      <a:pt x="159" y="39"/>
                      <a:pt x="152" y="42"/>
                      <a:pt x="146" y="44"/>
                    </a:cubicBezTo>
                    <a:cubicBezTo>
                      <a:pt x="141" y="48"/>
                      <a:pt x="135" y="51"/>
                      <a:pt x="128" y="52"/>
                    </a:cubicBezTo>
                    <a:cubicBezTo>
                      <a:pt x="120" y="53"/>
                      <a:pt x="106" y="63"/>
                      <a:pt x="97" y="61"/>
                    </a:cubicBezTo>
                    <a:cubicBezTo>
                      <a:pt x="88" y="59"/>
                      <a:pt x="80" y="48"/>
                      <a:pt x="73" y="41"/>
                    </a:cubicBezTo>
                    <a:cubicBezTo>
                      <a:pt x="69" y="35"/>
                      <a:pt x="57" y="24"/>
                      <a:pt x="53" y="19"/>
                    </a:cubicBezTo>
                    <a:cubicBezTo>
                      <a:pt x="48" y="13"/>
                      <a:pt x="50" y="11"/>
                      <a:pt x="43" y="8"/>
                    </a:cubicBezTo>
                    <a:cubicBezTo>
                      <a:pt x="38" y="11"/>
                      <a:pt x="36" y="6"/>
                      <a:pt x="31" y="10"/>
                    </a:cubicBezTo>
                    <a:cubicBezTo>
                      <a:pt x="27" y="4"/>
                      <a:pt x="24" y="11"/>
                      <a:pt x="17" y="8"/>
                    </a:cubicBezTo>
                    <a:cubicBezTo>
                      <a:pt x="11" y="0"/>
                      <a:pt x="12" y="9"/>
                      <a:pt x="5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7" name="Freeform 88">
                <a:extLst>
                  <a:ext uri="{FF2B5EF4-FFF2-40B4-BE49-F238E27FC236}">
                    <a16:creationId xmlns:a16="http://schemas.microsoft.com/office/drawing/2014/main" id="{80E274DB-7A6B-4911-B13E-BE79513F70FF}"/>
                  </a:ext>
                </a:extLst>
              </p:cNvPr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gray">
              <a:xfrm>
                <a:off x="5245101" y="3249613"/>
                <a:ext cx="241300" cy="228600"/>
              </a:xfrm>
              <a:custGeom>
                <a:avLst/>
                <a:gdLst>
                  <a:gd name="T0" fmla="*/ 92 w 149"/>
                  <a:gd name="T1" fmla="*/ 3 h 144"/>
                  <a:gd name="T2" fmla="*/ 76 w 149"/>
                  <a:gd name="T3" fmla="*/ 8 h 144"/>
                  <a:gd name="T4" fmla="*/ 49 w 149"/>
                  <a:gd name="T5" fmla="*/ 5 h 144"/>
                  <a:gd name="T6" fmla="*/ 41 w 149"/>
                  <a:gd name="T7" fmla="*/ 40 h 144"/>
                  <a:gd name="T8" fmla="*/ 32 w 149"/>
                  <a:gd name="T9" fmla="*/ 51 h 144"/>
                  <a:gd name="T10" fmla="*/ 22 w 149"/>
                  <a:gd name="T11" fmla="*/ 66 h 144"/>
                  <a:gd name="T12" fmla="*/ 7 w 149"/>
                  <a:gd name="T13" fmla="*/ 71 h 144"/>
                  <a:gd name="T14" fmla="*/ 20 w 149"/>
                  <a:gd name="T15" fmla="*/ 95 h 144"/>
                  <a:gd name="T16" fmla="*/ 34 w 149"/>
                  <a:gd name="T17" fmla="*/ 95 h 144"/>
                  <a:gd name="T18" fmla="*/ 49 w 149"/>
                  <a:gd name="T19" fmla="*/ 102 h 144"/>
                  <a:gd name="T20" fmla="*/ 58 w 149"/>
                  <a:gd name="T21" fmla="*/ 107 h 144"/>
                  <a:gd name="T22" fmla="*/ 71 w 149"/>
                  <a:gd name="T23" fmla="*/ 117 h 144"/>
                  <a:gd name="T24" fmla="*/ 83 w 149"/>
                  <a:gd name="T25" fmla="*/ 131 h 144"/>
                  <a:gd name="T26" fmla="*/ 97 w 149"/>
                  <a:gd name="T27" fmla="*/ 134 h 144"/>
                  <a:gd name="T28" fmla="*/ 110 w 149"/>
                  <a:gd name="T29" fmla="*/ 143 h 144"/>
                  <a:gd name="T30" fmla="*/ 128 w 149"/>
                  <a:gd name="T31" fmla="*/ 140 h 144"/>
                  <a:gd name="T32" fmla="*/ 146 w 149"/>
                  <a:gd name="T33" fmla="*/ 125 h 144"/>
                  <a:gd name="T34" fmla="*/ 147 w 149"/>
                  <a:gd name="T35" fmla="*/ 114 h 144"/>
                  <a:gd name="T36" fmla="*/ 145 w 149"/>
                  <a:gd name="T37" fmla="*/ 93 h 144"/>
                  <a:gd name="T38" fmla="*/ 122 w 149"/>
                  <a:gd name="T39" fmla="*/ 71 h 144"/>
                  <a:gd name="T40" fmla="*/ 110 w 149"/>
                  <a:gd name="T41" fmla="*/ 59 h 144"/>
                  <a:gd name="T42" fmla="*/ 119 w 149"/>
                  <a:gd name="T43" fmla="*/ 45 h 144"/>
                  <a:gd name="T44" fmla="*/ 119 w 149"/>
                  <a:gd name="T45" fmla="*/ 35 h 144"/>
                  <a:gd name="T46" fmla="*/ 121 w 149"/>
                  <a:gd name="T47" fmla="*/ 23 h 144"/>
                  <a:gd name="T48" fmla="*/ 113 w 149"/>
                  <a:gd name="T49" fmla="*/ 18 h 144"/>
                  <a:gd name="T50" fmla="*/ 103 w 149"/>
                  <a:gd name="T51" fmla="*/ 14 h 144"/>
                  <a:gd name="T52" fmla="*/ 95 w 149"/>
                  <a:gd name="T53" fmla="*/ 6 h 144"/>
                  <a:gd name="T54" fmla="*/ 92 w 149"/>
                  <a:gd name="T55" fmla="*/ 3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9" h="144">
                    <a:moveTo>
                      <a:pt x="92" y="3"/>
                    </a:moveTo>
                    <a:cubicBezTo>
                      <a:pt x="89" y="2"/>
                      <a:pt x="83" y="8"/>
                      <a:pt x="76" y="8"/>
                    </a:cubicBezTo>
                    <a:cubicBezTo>
                      <a:pt x="69" y="8"/>
                      <a:pt x="55" y="0"/>
                      <a:pt x="49" y="5"/>
                    </a:cubicBezTo>
                    <a:cubicBezTo>
                      <a:pt x="41" y="12"/>
                      <a:pt x="44" y="32"/>
                      <a:pt x="41" y="40"/>
                    </a:cubicBezTo>
                    <a:cubicBezTo>
                      <a:pt x="38" y="48"/>
                      <a:pt x="35" y="47"/>
                      <a:pt x="32" y="51"/>
                    </a:cubicBezTo>
                    <a:cubicBezTo>
                      <a:pt x="28" y="55"/>
                      <a:pt x="26" y="63"/>
                      <a:pt x="22" y="66"/>
                    </a:cubicBezTo>
                    <a:cubicBezTo>
                      <a:pt x="18" y="69"/>
                      <a:pt x="7" y="66"/>
                      <a:pt x="7" y="71"/>
                    </a:cubicBezTo>
                    <a:cubicBezTo>
                      <a:pt x="0" y="85"/>
                      <a:pt x="8" y="93"/>
                      <a:pt x="20" y="95"/>
                    </a:cubicBezTo>
                    <a:cubicBezTo>
                      <a:pt x="24" y="100"/>
                      <a:pt x="29" y="94"/>
                      <a:pt x="34" y="95"/>
                    </a:cubicBezTo>
                    <a:cubicBezTo>
                      <a:pt x="39" y="96"/>
                      <a:pt x="45" y="100"/>
                      <a:pt x="49" y="102"/>
                    </a:cubicBezTo>
                    <a:cubicBezTo>
                      <a:pt x="53" y="104"/>
                      <a:pt x="54" y="105"/>
                      <a:pt x="58" y="107"/>
                    </a:cubicBezTo>
                    <a:cubicBezTo>
                      <a:pt x="61" y="110"/>
                      <a:pt x="67" y="113"/>
                      <a:pt x="71" y="117"/>
                    </a:cubicBezTo>
                    <a:cubicBezTo>
                      <a:pt x="75" y="121"/>
                      <a:pt x="79" y="128"/>
                      <a:pt x="83" y="131"/>
                    </a:cubicBezTo>
                    <a:cubicBezTo>
                      <a:pt x="89" y="135"/>
                      <a:pt x="90" y="133"/>
                      <a:pt x="97" y="134"/>
                    </a:cubicBezTo>
                    <a:cubicBezTo>
                      <a:pt x="102" y="135"/>
                      <a:pt x="105" y="142"/>
                      <a:pt x="110" y="143"/>
                    </a:cubicBezTo>
                    <a:cubicBezTo>
                      <a:pt x="115" y="144"/>
                      <a:pt x="122" y="143"/>
                      <a:pt x="128" y="140"/>
                    </a:cubicBezTo>
                    <a:cubicBezTo>
                      <a:pt x="134" y="137"/>
                      <a:pt x="147" y="136"/>
                      <a:pt x="146" y="125"/>
                    </a:cubicBezTo>
                    <a:cubicBezTo>
                      <a:pt x="149" y="121"/>
                      <a:pt x="147" y="119"/>
                      <a:pt x="147" y="114"/>
                    </a:cubicBezTo>
                    <a:cubicBezTo>
                      <a:pt x="147" y="109"/>
                      <a:pt x="149" y="100"/>
                      <a:pt x="145" y="93"/>
                    </a:cubicBezTo>
                    <a:cubicBezTo>
                      <a:pt x="141" y="86"/>
                      <a:pt x="128" y="77"/>
                      <a:pt x="122" y="71"/>
                    </a:cubicBezTo>
                    <a:cubicBezTo>
                      <a:pt x="118" y="65"/>
                      <a:pt x="114" y="64"/>
                      <a:pt x="110" y="59"/>
                    </a:cubicBezTo>
                    <a:cubicBezTo>
                      <a:pt x="108" y="54"/>
                      <a:pt x="118" y="49"/>
                      <a:pt x="119" y="45"/>
                    </a:cubicBezTo>
                    <a:cubicBezTo>
                      <a:pt x="120" y="41"/>
                      <a:pt x="119" y="39"/>
                      <a:pt x="119" y="35"/>
                    </a:cubicBezTo>
                    <a:cubicBezTo>
                      <a:pt x="120" y="29"/>
                      <a:pt x="124" y="26"/>
                      <a:pt x="121" y="23"/>
                    </a:cubicBezTo>
                    <a:cubicBezTo>
                      <a:pt x="120" y="20"/>
                      <a:pt x="116" y="20"/>
                      <a:pt x="113" y="18"/>
                    </a:cubicBezTo>
                    <a:cubicBezTo>
                      <a:pt x="110" y="16"/>
                      <a:pt x="106" y="16"/>
                      <a:pt x="103" y="14"/>
                    </a:cubicBezTo>
                    <a:cubicBezTo>
                      <a:pt x="99" y="7"/>
                      <a:pt x="102" y="11"/>
                      <a:pt x="95" y="6"/>
                    </a:cubicBezTo>
                    <a:cubicBezTo>
                      <a:pt x="90" y="3"/>
                      <a:pt x="89" y="3"/>
                      <a:pt x="92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8" name="Freeform 89">
                <a:extLst>
                  <a:ext uri="{FF2B5EF4-FFF2-40B4-BE49-F238E27FC236}">
                    <a16:creationId xmlns:a16="http://schemas.microsoft.com/office/drawing/2014/main" id="{DB572884-33D9-467F-AAA8-4CA156BA9441}"/>
                  </a:ext>
                </a:extLst>
              </p:cNvPr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gray">
              <a:xfrm>
                <a:off x="4602163" y="4108450"/>
                <a:ext cx="173038" cy="207963"/>
              </a:xfrm>
              <a:custGeom>
                <a:avLst/>
                <a:gdLst>
                  <a:gd name="T0" fmla="*/ 67 w 107"/>
                  <a:gd name="T1" fmla="*/ 14 h 131"/>
                  <a:gd name="T2" fmla="*/ 70 w 107"/>
                  <a:gd name="T3" fmla="*/ 16 h 131"/>
                  <a:gd name="T4" fmla="*/ 86 w 107"/>
                  <a:gd name="T5" fmla="*/ 1 h 131"/>
                  <a:gd name="T6" fmla="*/ 103 w 107"/>
                  <a:gd name="T7" fmla="*/ 2 h 131"/>
                  <a:gd name="T8" fmla="*/ 106 w 107"/>
                  <a:gd name="T9" fmla="*/ 29 h 131"/>
                  <a:gd name="T10" fmla="*/ 98 w 107"/>
                  <a:gd name="T11" fmla="*/ 43 h 131"/>
                  <a:gd name="T12" fmla="*/ 100 w 107"/>
                  <a:gd name="T13" fmla="*/ 64 h 131"/>
                  <a:gd name="T14" fmla="*/ 86 w 107"/>
                  <a:gd name="T15" fmla="*/ 73 h 131"/>
                  <a:gd name="T16" fmla="*/ 77 w 107"/>
                  <a:gd name="T17" fmla="*/ 86 h 131"/>
                  <a:gd name="T18" fmla="*/ 71 w 107"/>
                  <a:gd name="T19" fmla="*/ 101 h 131"/>
                  <a:gd name="T20" fmla="*/ 65 w 107"/>
                  <a:gd name="T21" fmla="*/ 113 h 131"/>
                  <a:gd name="T22" fmla="*/ 50 w 107"/>
                  <a:gd name="T23" fmla="*/ 119 h 131"/>
                  <a:gd name="T24" fmla="*/ 39 w 107"/>
                  <a:gd name="T25" fmla="*/ 119 h 131"/>
                  <a:gd name="T26" fmla="*/ 25 w 107"/>
                  <a:gd name="T27" fmla="*/ 121 h 131"/>
                  <a:gd name="T28" fmla="*/ 11 w 107"/>
                  <a:gd name="T29" fmla="*/ 130 h 131"/>
                  <a:gd name="T30" fmla="*/ 1 w 107"/>
                  <a:gd name="T31" fmla="*/ 115 h 131"/>
                  <a:gd name="T32" fmla="*/ 16 w 107"/>
                  <a:gd name="T33" fmla="*/ 103 h 131"/>
                  <a:gd name="T34" fmla="*/ 16 w 107"/>
                  <a:gd name="T35" fmla="*/ 88 h 131"/>
                  <a:gd name="T36" fmla="*/ 26 w 107"/>
                  <a:gd name="T37" fmla="*/ 80 h 131"/>
                  <a:gd name="T38" fmla="*/ 49 w 107"/>
                  <a:gd name="T39" fmla="*/ 85 h 131"/>
                  <a:gd name="T40" fmla="*/ 53 w 107"/>
                  <a:gd name="T41" fmla="*/ 71 h 131"/>
                  <a:gd name="T42" fmla="*/ 46 w 107"/>
                  <a:gd name="T43" fmla="*/ 50 h 131"/>
                  <a:gd name="T44" fmla="*/ 47 w 107"/>
                  <a:gd name="T45" fmla="*/ 37 h 131"/>
                  <a:gd name="T46" fmla="*/ 35 w 107"/>
                  <a:gd name="T47" fmla="*/ 37 h 131"/>
                  <a:gd name="T48" fmla="*/ 28 w 107"/>
                  <a:gd name="T49" fmla="*/ 20 h 131"/>
                  <a:gd name="T50" fmla="*/ 58 w 107"/>
                  <a:gd name="T51" fmla="*/ 22 h 131"/>
                  <a:gd name="T52" fmla="*/ 73 w 107"/>
                  <a:gd name="T53" fmla="*/ 1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7" h="131">
                    <a:moveTo>
                      <a:pt x="67" y="14"/>
                    </a:moveTo>
                    <a:cubicBezTo>
                      <a:pt x="76" y="18"/>
                      <a:pt x="67" y="23"/>
                      <a:pt x="70" y="16"/>
                    </a:cubicBezTo>
                    <a:cubicBezTo>
                      <a:pt x="67" y="7"/>
                      <a:pt x="76" y="2"/>
                      <a:pt x="86" y="1"/>
                    </a:cubicBezTo>
                    <a:cubicBezTo>
                      <a:pt x="92" y="1"/>
                      <a:pt x="98" y="0"/>
                      <a:pt x="103" y="2"/>
                    </a:cubicBezTo>
                    <a:cubicBezTo>
                      <a:pt x="106" y="6"/>
                      <a:pt x="107" y="22"/>
                      <a:pt x="106" y="29"/>
                    </a:cubicBezTo>
                    <a:cubicBezTo>
                      <a:pt x="105" y="36"/>
                      <a:pt x="99" y="37"/>
                      <a:pt x="98" y="43"/>
                    </a:cubicBezTo>
                    <a:cubicBezTo>
                      <a:pt x="97" y="53"/>
                      <a:pt x="102" y="59"/>
                      <a:pt x="100" y="64"/>
                    </a:cubicBezTo>
                    <a:cubicBezTo>
                      <a:pt x="98" y="69"/>
                      <a:pt x="90" y="69"/>
                      <a:pt x="86" y="73"/>
                    </a:cubicBezTo>
                    <a:cubicBezTo>
                      <a:pt x="85" y="81"/>
                      <a:pt x="81" y="80"/>
                      <a:pt x="77" y="86"/>
                    </a:cubicBezTo>
                    <a:cubicBezTo>
                      <a:pt x="75" y="92"/>
                      <a:pt x="73" y="97"/>
                      <a:pt x="71" y="101"/>
                    </a:cubicBezTo>
                    <a:cubicBezTo>
                      <a:pt x="69" y="105"/>
                      <a:pt x="68" y="110"/>
                      <a:pt x="65" y="113"/>
                    </a:cubicBezTo>
                    <a:cubicBezTo>
                      <a:pt x="60" y="117"/>
                      <a:pt x="56" y="118"/>
                      <a:pt x="50" y="119"/>
                    </a:cubicBezTo>
                    <a:cubicBezTo>
                      <a:pt x="46" y="120"/>
                      <a:pt x="43" y="119"/>
                      <a:pt x="39" y="119"/>
                    </a:cubicBezTo>
                    <a:cubicBezTo>
                      <a:pt x="35" y="119"/>
                      <a:pt x="30" y="119"/>
                      <a:pt x="25" y="121"/>
                    </a:cubicBezTo>
                    <a:cubicBezTo>
                      <a:pt x="19" y="121"/>
                      <a:pt x="15" y="131"/>
                      <a:pt x="11" y="130"/>
                    </a:cubicBezTo>
                    <a:cubicBezTo>
                      <a:pt x="7" y="129"/>
                      <a:pt x="0" y="119"/>
                      <a:pt x="1" y="115"/>
                    </a:cubicBezTo>
                    <a:cubicBezTo>
                      <a:pt x="0" y="109"/>
                      <a:pt x="14" y="107"/>
                      <a:pt x="16" y="103"/>
                    </a:cubicBezTo>
                    <a:cubicBezTo>
                      <a:pt x="18" y="99"/>
                      <a:pt x="14" y="92"/>
                      <a:pt x="16" y="88"/>
                    </a:cubicBezTo>
                    <a:cubicBezTo>
                      <a:pt x="18" y="84"/>
                      <a:pt x="21" y="80"/>
                      <a:pt x="26" y="80"/>
                    </a:cubicBezTo>
                    <a:cubicBezTo>
                      <a:pt x="31" y="80"/>
                      <a:pt x="45" y="86"/>
                      <a:pt x="49" y="85"/>
                    </a:cubicBezTo>
                    <a:cubicBezTo>
                      <a:pt x="53" y="84"/>
                      <a:pt x="53" y="77"/>
                      <a:pt x="53" y="71"/>
                    </a:cubicBezTo>
                    <a:cubicBezTo>
                      <a:pt x="53" y="65"/>
                      <a:pt x="47" y="56"/>
                      <a:pt x="46" y="50"/>
                    </a:cubicBezTo>
                    <a:cubicBezTo>
                      <a:pt x="45" y="44"/>
                      <a:pt x="49" y="39"/>
                      <a:pt x="47" y="37"/>
                    </a:cubicBezTo>
                    <a:cubicBezTo>
                      <a:pt x="45" y="35"/>
                      <a:pt x="38" y="40"/>
                      <a:pt x="35" y="37"/>
                    </a:cubicBezTo>
                    <a:cubicBezTo>
                      <a:pt x="32" y="34"/>
                      <a:pt x="24" y="22"/>
                      <a:pt x="28" y="20"/>
                    </a:cubicBezTo>
                    <a:cubicBezTo>
                      <a:pt x="32" y="18"/>
                      <a:pt x="51" y="23"/>
                      <a:pt x="58" y="22"/>
                    </a:cubicBezTo>
                    <a:cubicBezTo>
                      <a:pt x="65" y="21"/>
                      <a:pt x="70" y="13"/>
                      <a:pt x="73" y="11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19" name="Freeform 90">
                <a:extLst>
                  <a:ext uri="{FF2B5EF4-FFF2-40B4-BE49-F238E27FC236}">
                    <a16:creationId xmlns:a16="http://schemas.microsoft.com/office/drawing/2014/main" id="{6CB33431-5CCD-4720-A4C9-57267E0E0012}"/>
                  </a:ext>
                </a:extLst>
              </p:cNvPr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gray">
              <a:xfrm>
                <a:off x="4552951" y="4140200"/>
                <a:ext cx="134938" cy="152400"/>
              </a:xfrm>
              <a:custGeom>
                <a:avLst/>
                <a:gdLst>
                  <a:gd name="T0" fmla="*/ 4 w 83"/>
                  <a:gd name="T1" fmla="*/ 24 h 96"/>
                  <a:gd name="T2" fmla="*/ 32 w 83"/>
                  <a:gd name="T3" fmla="*/ 17 h 96"/>
                  <a:gd name="T4" fmla="*/ 37 w 83"/>
                  <a:gd name="T5" fmla="*/ 0 h 96"/>
                  <a:gd name="T6" fmla="*/ 55 w 83"/>
                  <a:gd name="T7" fmla="*/ 2 h 96"/>
                  <a:gd name="T8" fmla="*/ 65 w 83"/>
                  <a:gd name="T9" fmla="*/ 17 h 96"/>
                  <a:gd name="T10" fmla="*/ 80 w 83"/>
                  <a:gd name="T11" fmla="*/ 21 h 96"/>
                  <a:gd name="T12" fmla="*/ 79 w 83"/>
                  <a:gd name="T13" fmla="*/ 26 h 96"/>
                  <a:gd name="T14" fmla="*/ 77 w 83"/>
                  <a:gd name="T15" fmla="*/ 32 h 96"/>
                  <a:gd name="T16" fmla="*/ 77 w 83"/>
                  <a:gd name="T17" fmla="*/ 41 h 96"/>
                  <a:gd name="T18" fmla="*/ 81 w 83"/>
                  <a:gd name="T19" fmla="*/ 49 h 96"/>
                  <a:gd name="T20" fmla="*/ 79 w 83"/>
                  <a:gd name="T21" fmla="*/ 65 h 96"/>
                  <a:gd name="T22" fmla="*/ 56 w 83"/>
                  <a:gd name="T23" fmla="*/ 59 h 96"/>
                  <a:gd name="T24" fmla="*/ 49 w 83"/>
                  <a:gd name="T25" fmla="*/ 69 h 96"/>
                  <a:gd name="T26" fmla="*/ 29 w 83"/>
                  <a:gd name="T27" fmla="*/ 96 h 96"/>
                  <a:gd name="T28" fmla="*/ 8 w 83"/>
                  <a:gd name="T29" fmla="*/ 77 h 96"/>
                  <a:gd name="T30" fmla="*/ 4 w 83"/>
                  <a:gd name="T31" fmla="*/ 2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3" h="96">
                    <a:moveTo>
                      <a:pt x="4" y="24"/>
                    </a:moveTo>
                    <a:cubicBezTo>
                      <a:pt x="13" y="24"/>
                      <a:pt x="24" y="22"/>
                      <a:pt x="32" y="17"/>
                    </a:cubicBezTo>
                    <a:cubicBezTo>
                      <a:pt x="37" y="14"/>
                      <a:pt x="37" y="0"/>
                      <a:pt x="37" y="0"/>
                    </a:cubicBezTo>
                    <a:cubicBezTo>
                      <a:pt x="44" y="1"/>
                      <a:pt x="49" y="0"/>
                      <a:pt x="55" y="2"/>
                    </a:cubicBezTo>
                    <a:cubicBezTo>
                      <a:pt x="60" y="3"/>
                      <a:pt x="59" y="14"/>
                      <a:pt x="65" y="17"/>
                    </a:cubicBezTo>
                    <a:cubicBezTo>
                      <a:pt x="72" y="14"/>
                      <a:pt x="76" y="15"/>
                      <a:pt x="80" y="21"/>
                    </a:cubicBezTo>
                    <a:cubicBezTo>
                      <a:pt x="80" y="23"/>
                      <a:pt x="80" y="25"/>
                      <a:pt x="79" y="26"/>
                    </a:cubicBezTo>
                    <a:cubicBezTo>
                      <a:pt x="77" y="27"/>
                      <a:pt x="78" y="30"/>
                      <a:pt x="77" y="32"/>
                    </a:cubicBezTo>
                    <a:cubicBezTo>
                      <a:pt x="77" y="34"/>
                      <a:pt x="78" y="35"/>
                      <a:pt x="77" y="41"/>
                    </a:cubicBezTo>
                    <a:cubicBezTo>
                      <a:pt x="78" y="44"/>
                      <a:pt x="81" y="45"/>
                      <a:pt x="81" y="49"/>
                    </a:cubicBezTo>
                    <a:cubicBezTo>
                      <a:pt x="81" y="53"/>
                      <a:pt x="83" y="63"/>
                      <a:pt x="79" y="65"/>
                    </a:cubicBezTo>
                    <a:cubicBezTo>
                      <a:pt x="69" y="64"/>
                      <a:pt x="62" y="67"/>
                      <a:pt x="56" y="59"/>
                    </a:cubicBezTo>
                    <a:cubicBezTo>
                      <a:pt x="46" y="60"/>
                      <a:pt x="55" y="61"/>
                      <a:pt x="49" y="69"/>
                    </a:cubicBezTo>
                    <a:cubicBezTo>
                      <a:pt x="51" y="79"/>
                      <a:pt x="38" y="89"/>
                      <a:pt x="29" y="96"/>
                    </a:cubicBezTo>
                    <a:cubicBezTo>
                      <a:pt x="20" y="93"/>
                      <a:pt x="16" y="83"/>
                      <a:pt x="8" y="77"/>
                    </a:cubicBezTo>
                    <a:cubicBezTo>
                      <a:pt x="4" y="65"/>
                      <a:pt x="0" y="34"/>
                      <a:pt x="4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0" name="Freeform 91">
                <a:extLst>
                  <a:ext uri="{FF2B5EF4-FFF2-40B4-BE49-F238E27FC236}">
                    <a16:creationId xmlns:a16="http://schemas.microsoft.com/office/drawing/2014/main" id="{8A89F2AF-D004-4CAC-9B9E-AEE2EB3EAD52}"/>
                  </a:ext>
                </a:extLst>
              </p:cNvPr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gray">
              <a:xfrm>
                <a:off x="5065713" y="4440238"/>
                <a:ext cx="258763" cy="396875"/>
              </a:xfrm>
              <a:custGeom>
                <a:avLst/>
                <a:gdLst>
                  <a:gd name="T0" fmla="*/ 38 w 161"/>
                  <a:gd name="T1" fmla="*/ 237 h 250"/>
                  <a:gd name="T2" fmla="*/ 63 w 161"/>
                  <a:gd name="T3" fmla="*/ 221 h 250"/>
                  <a:gd name="T4" fmla="*/ 77 w 161"/>
                  <a:gd name="T5" fmla="*/ 204 h 250"/>
                  <a:gd name="T6" fmla="*/ 75 w 161"/>
                  <a:gd name="T7" fmla="*/ 173 h 250"/>
                  <a:gd name="T8" fmla="*/ 65 w 161"/>
                  <a:gd name="T9" fmla="*/ 150 h 250"/>
                  <a:gd name="T10" fmla="*/ 77 w 161"/>
                  <a:gd name="T11" fmla="*/ 134 h 250"/>
                  <a:gd name="T12" fmla="*/ 87 w 161"/>
                  <a:gd name="T13" fmla="*/ 123 h 250"/>
                  <a:gd name="T14" fmla="*/ 96 w 161"/>
                  <a:gd name="T15" fmla="*/ 116 h 250"/>
                  <a:gd name="T16" fmla="*/ 134 w 161"/>
                  <a:gd name="T17" fmla="*/ 102 h 250"/>
                  <a:gd name="T18" fmla="*/ 149 w 161"/>
                  <a:gd name="T19" fmla="*/ 71 h 250"/>
                  <a:gd name="T20" fmla="*/ 140 w 161"/>
                  <a:gd name="T21" fmla="*/ 0 h 250"/>
                  <a:gd name="T22" fmla="*/ 120 w 161"/>
                  <a:gd name="T23" fmla="*/ 15 h 250"/>
                  <a:gd name="T24" fmla="*/ 99 w 161"/>
                  <a:gd name="T25" fmla="*/ 23 h 250"/>
                  <a:gd name="T26" fmla="*/ 65 w 161"/>
                  <a:gd name="T27" fmla="*/ 24 h 250"/>
                  <a:gd name="T28" fmla="*/ 68 w 161"/>
                  <a:gd name="T29" fmla="*/ 47 h 250"/>
                  <a:gd name="T30" fmla="*/ 74 w 161"/>
                  <a:gd name="T31" fmla="*/ 62 h 250"/>
                  <a:gd name="T32" fmla="*/ 71 w 161"/>
                  <a:gd name="T33" fmla="*/ 99 h 250"/>
                  <a:gd name="T34" fmla="*/ 57 w 161"/>
                  <a:gd name="T35" fmla="*/ 86 h 250"/>
                  <a:gd name="T36" fmla="*/ 45 w 161"/>
                  <a:gd name="T37" fmla="*/ 63 h 250"/>
                  <a:gd name="T38" fmla="*/ 32 w 161"/>
                  <a:gd name="T39" fmla="*/ 54 h 250"/>
                  <a:gd name="T40" fmla="*/ 18 w 161"/>
                  <a:gd name="T41" fmla="*/ 63 h 250"/>
                  <a:gd name="T42" fmla="*/ 5 w 161"/>
                  <a:gd name="T43" fmla="*/ 72 h 250"/>
                  <a:gd name="T44" fmla="*/ 8 w 161"/>
                  <a:gd name="T45" fmla="*/ 84 h 250"/>
                  <a:gd name="T46" fmla="*/ 17 w 161"/>
                  <a:gd name="T47" fmla="*/ 87 h 250"/>
                  <a:gd name="T48" fmla="*/ 35 w 161"/>
                  <a:gd name="T49" fmla="*/ 99 h 250"/>
                  <a:gd name="T50" fmla="*/ 35 w 161"/>
                  <a:gd name="T51" fmla="*/ 138 h 250"/>
                  <a:gd name="T52" fmla="*/ 30 w 161"/>
                  <a:gd name="T53" fmla="*/ 158 h 250"/>
                  <a:gd name="T54" fmla="*/ 27 w 161"/>
                  <a:gd name="T55" fmla="*/ 174 h 250"/>
                  <a:gd name="T56" fmla="*/ 6 w 161"/>
                  <a:gd name="T57" fmla="*/ 189 h 250"/>
                  <a:gd name="T58" fmla="*/ 17 w 161"/>
                  <a:gd name="T59" fmla="*/ 206 h 250"/>
                  <a:gd name="T60" fmla="*/ 24 w 161"/>
                  <a:gd name="T61" fmla="*/ 230 h 250"/>
                  <a:gd name="T62" fmla="*/ 29 w 161"/>
                  <a:gd name="T63" fmla="*/ 249 h 250"/>
                  <a:gd name="T64" fmla="*/ 38 w 161"/>
                  <a:gd name="T65" fmla="*/ 237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1" h="250">
                    <a:moveTo>
                      <a:pt x="38" y="237"/>
                    </a:moveTo>
                    <a:cubicBezTo>
                      <a:pt x="40" y="223"/>
                      <a:pt x="51" y="222"/>
                      <a:pt x="63" y="221"/>
                    </a:cubicBezTo>
                    <a:cubicBezTo>
                      <a:pt x="70" y="218"/>
                      <a:pt x="73" y="211"/>
                      <a:pt x="77" y="204"/>
                    </a:cubicBezTo>
                    <a:cubicBezTo>
                      <a:pt x="79" y="194"/>
                      <a:pt x="80" y="183"/>
                      <a:pt x="75" y="173"/>
                    </a:cubicBezTo>
                    <a:cubicBezTo>
                      <a:pt x="73" y="164"/>
                      <a:pt x="70" y="158"/>
                      <a:pt x="65" y="150"/>
                    </a:cubicBezTo>
                    <a:cubicBezTo>
                      <a:pt x="66" y="135"/>
                      <a:pt x="65" y="136"/>
                      <a:pt x="77" y="134"/>
                    </a:cubicBezTo>
                    <a:cubicBezTo>
                      <a:pt x="87" y="129"/>
                      <a:pt x="82" y="129"/>
                      <a:pt x="87" y="123"/>
                    </a:cubicBezTo>
                    <a:cubicBezTo>
                      <a:pt x="89" y="120"/>
                      <a:pt x="96" y="116"/>
                      <a:pt x="96" y="116"/>
                    </a:cubicBezTo>
                    <a:cubicBezTo>
                      <a:pt x="104" y="102"/>
                      <a:pt x="119" y="104"/>
                      <a:pt x="134" y="102"/>
                    </a:cubicBezTo>
                    <a:cubicBezTo>
                      <a:pt x="135" y="89"/>
                      <a:pt x="143" y="82"/>
                      <a:pt x="149" y="71"/>
                    </a:cubicBezTo>
                    <a:cubicBezTo>
                      <a:pt x="148" y="50"/>
                      <a:pt x="161" y="15"/>
                      <a:pt x="140" y="0"/>
                    </a:cubicBezTo>
                    <a:cubicBezTo>
                      <a:pt x="134" y="7"/>
                      <a:pt x="129" y="14"/>
                      <a:pt x="120" y="15"/>
                    </a:cubicBezTo>
                    <a:cubicBezTo>
                      <a:pt x="107" y="13"/>
                      <a:pt x="109" y="22"/>
                      <a:pt x="99" y="23"/>
                    </a:cubicBezTo>
                    <a:cubicBezTo>
                      <a:pt x="88" y="24"/>
                      <a:pt x="76" y="24"/>
                      <a:pt x="65" y="24"/>
                    </a:cubicBezTo>
                    <a:cubicBezTo>
                      <a:pt x="62" y="33"/>
                      <a:pt x="59" y="42"/>
                      <a:pt x="68" y="47"/>
                    </a:cubicBezTo>
                    <a:cubicBezTo>
                      <a:pt x="72" y="52"/>
                      <a:pt x="72" y="56"/>
                      <a:pt x="74" y="62"/>
                    </a:cubicBezTo>
                    <a:cubicBezTo>
                      <a:pt x="76" y="74"/>
                      <a:pt x="83" y="90"/>
                      <a:pt x="71" y="99"/>
                    </a:cubicBezTo>
                    <a:cubicBezTo>
                      <a:pt x="60" y="97"/>
                      <a:pt x="61" y="94"/>
                      <a:pt x="57" y="86"/>
                    </a:cubicBezTo>
                    <a:cubicBezTo>
                      <a:pt x="56" y="62"/>
                      <a:pt x="60" y="68"/>
                      <a:pt x="45" y="63"/>
                    </a:cubicBezTo>
                    <a:cubicBezTo>
                      <a:pt x="41" y="58"/>
                      <a:pt x="38" y="56"/>
                      <a:pt x="32" y="54"/>
                    </a:cubicBezTo>
                    <a:cubicBezTo>
                      <a:pt x="28" y="61"/>
                      <a:pt x="26" y="62"/>
                      <a:pt x="18" y="63"/>
                    </a:cubicBezTo>
                    <a:cubicBezTo>
                      <a:pt x="14" y="70"/>
                      <a:pt x="11" y="68"/>
                      <a:pt x="5" y="72"/>
                    </a:cubicBezTo>
                    <a:cubicBezTo>
                      <a:pt x="1" y="78"/>
                      <a:pt x="0" y="82"/>
                      <a:pt x="8" y="84"/>
                    </a:cubicBezTo>
                    <a:cubicBezTo>
                      <a:pt x="11" y="85"/>
                      <a:pt x="14" y="85"/>
                      <a:pt x="17" y="87"/>
                    </a:cubicBezTo>
                    <a:cubicBezTo>
                      <a:pt x="24" y="92"/>
                      <a:pt x="25" y="97"/>
                      <a:pt x="35" y="99"/>
                    </a:cubicBezTo>
                    <a:cubicBezTo>
                      <a:pt x="38" y="107"/>
                      <a:pt x="36" y="128"/>
                      <a:pt x="35" y="138"/>
                    </a:cubicBezTo>
                    <a:cubicBezTo>
                      <a:pt x="34" y="148"/>
                      <a:pt x="31" y="152"/>
                      <a:pt x="30" y="158"/>
                    </a:cubicBezTo>
                    <a:cubicBezTo>
                      <a:pt x="29" y="165"/>
                      <a:pt x="33" y="170"/>
                      <a:pt x="27" y="174"/>
                    </a:cubicBezTo>
                    <a:cubicBezTo>
                      <a:pt x="24" y="182"/>
                      <a:pt x="13" y="185"/>
                      <a:pt x="6" y="189"/>
                    </a:cubicBezTo>
                    <a:cubicBezTo>
                      <a:pt x="8" y="194"/>
                      <a:pt x="15" y="201"/>
                      <a:pt x="17" y="206"/>
                    </a:cubicBezTo>
                    <a:cubicBezTo>
                      <a:pt x="18" y="222"/>
                      <a:pt x="16" y="220"/>
                      <a:pt x="24" y="230"/>
                    </a:cubicBezTo>
                    <a:cubicBezTo>
                      <a:pt x="26" y="243"/>
                      <a:pt x="18" y="247"/>
                      <a:pt x="29" y="249"/>
                    </a:cubicBezTo>
                    <a:cubicBezTo>
                      <a:pt x="31" y="250"/>
                      <a:pt x="32" y="242"/>
                      <a:pt x="38" y="2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1" name="Freeform 92">
                <a:extLst>
                  <a:ext uri="{FF2B5EF4-FFF2-40B4-BE49-F238E27FC236}">
                    <a16:creationId xmlns:a16="http://schemas.microsoft.com/office/drawing/2014/main" id="{8C6D3396-F64F-4BE1-9030-2E13EA03DB96}"/>
                  </a:ext>
                </a:extLst>
              </p:cNvPr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gray">
              <a:xfrm>
                <a:off x="5024438" y="4252913"/>
                <a:ext cx="47625" cy="49213"/>
              </a:xfrm>
              <a:custGeom>
                <a:avLst/>
                <a:gdLst>
                  <a:gd name="T0" fmla="*/ 25 w 29"/>
                  <a:gd name="T1" fmla="*/ 0 h 31"/>
                  <a:gd name="T2" fmla="*/ 3 w 29"/>
                  <a:gd name="T3" fmla="*/ 7 h 31"/>
                  <a:gd name="T4" fmla="*/ 4 w 29"/>
                  <a:gd name="T5" fmla="*/ 28 h 31"/>
                  <a:gd name="T6" fmla="*/ 18 w 29"/>
                  <a:gd name="T7" fmla="*/ 25 h 31"/>
                  <a:gd name="T8" fmla="*/ 27 w 29"/>
                  <a:gd name="T9" fmla="*/ 18 h 31"/>
                  <a:gd name="T10" fmla="*/ 25 w 29"/>
                  <a:gd name="T11" fmla="*/ 7 h 31"/>
                  <a:gd name="T12" fmla="*/ 25 w 29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1">
                    <a:moveTo>
                      <a:pt x="25" y="0"/>
                    </a:moveTo>
                    <a:cubicBezTo>
                      <a:pt x="16" y="1"/>
                      <a:pt x="9" y="0"/>
                      <a:pt x="3" y="7"/>
                    </a:cubicBezTo>
                    <a:cubicBezTo>
                      <a:pt x="0" y="11"/>
                      <a:pt x="2" y="25"/>
                      <a:pt x="4" y="28"/>
                    </a:cubicBezTo>
                    <a:cubicBezTo>
                      <a:pt x="6" y="31"/>
                      <a:pt x="14" y="27"/>
                      <a:pt x="18" y="25"/>
                    </a:cubicBezTo>
                    <a:cubicBezTo>
                      <a:pt x="21" y="23"/>
                      <a:pt x="26" y="21"/>
                      <a:pt x="27" y="18"/>
                    </a:cubicBezTo>
                    <a:cubicBezTo>
                      <a:pt x="28" y="15"/>
                      <a:pt x="25" y="10"/>
                      <a:pt x="25" y="7"/>
                    </a:cubicBezTo>
                    <a:cubicBezTo>
                      <a:pt x="25" y="4"/>
                      <a:pt x="29" y="0"/>
                      <a:pt x="25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2" name="Freeform 93">
                <a:extLst>
                  <a:ext uri="{FF2B5EF4-FFF2-40B4-BE49-F238E27FC236}">
                    <a16:creationId xmlns:a16="http://schemas.microsoft.com/office/drawing/2014/main" id="{2528249E-E140-4FDD-B73C-034FADDA1413}"/>
                  </a:ext>
                </a:extLst>
              </p:cNvPr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gray">
              <a:xfrm>
                <a:off x="5027613" y="4217988"/>
                <a:ext cx="273050" cy="265113"/>
              </a:xfrm>
              <a:custGeom>
                <a:avLst/>
                <a:gdLst>
                  <a:gd name="T0" fmla="*/ 10 w 169"/>
                  <a:gd name="T1" fmla="*/ 2 h 167"/>
                  <a:gd name="T2" fmla="*/ 53 w 169"/>
                  <a:gd name="T3" fmla="*/ 2 h 167"/>
                  <a:gd name="T4" fmla="*/ 77 w 169"/>
                  <a:gd name="T5" fmla="*/ 5 h 167"/>
                  <a:gd name="T6" fmla="*/ 103 w 169"/>
                  <a:gd name="T7" fmla="*/ 13 h 167"/>
                  <a:gd name="T8" fmla="*/ 128 w 169"/>
                  <a:gd name="T9" fmla="*/ 37 h 167"/>
                  <a:gd name="T10" fmla="*/ 149 w 169"/>
                  <a:gd name="T11" fmla="*/ 49 h 167"/>
                  <a:gd name="T12" fmla="*/ 154 w 169"/>
                  <a:gd name="T13" fmla="*/ 106 h 167"/>
                  <a:gd name="T14" fmla="*/ 157 w 169"/>
                  <a:gd name="T15" fmla="*/ 122 h 167"/>
                  <a:gd name="T16" fmla="*/ 155 w 169"/>
                  <a:gd name="T17" fmla="*/ 151 h 167"/>
                  <a:gd name="T18" fmla="*/ 136 w 169"/>
                  <a:gd name="T19" fmla="*/ 155 h 167"/>
                  <a:gd name="T20" fmla="*/ 124 w 169"/>
                  <a:gd name="T21" fmla="*/ 163 h 167"/>
                  <a:gd name="T22" fmla="*/ 106 w 169"/>
                  <a:gd name="T23" fmla="*/ 164 h 167"/>
                  <a:gd name="T24" fmla="*/ 89 w 169"/>
                  <a:gd name="T25" fmla="*/ 160 h 167"/>
                  <a:gd name="T26" fmla="*/ 38 w 169"/>
                  <a:gd name="T27" fmla="*/ 121 h 167"/>
                  <a:gd name="T28" fmla="*/ 20 w 169"/>
                  <a:gd name="T29" fmla="*/ 109 h 167"/>
                  <a:gd name="T30" fmla="*/ 23 w 169"/>
                  <a:gd name="T31" fmla="*/ 92 h 167"/>
                  <a:gd name="T32" fmla="*/ 10 w 169"/>
                  <a:gd name="T33" fmla="*/ 85 h 167"/>
                  <a:gd name="T34" fmla="*/ 1 w 169"/>
                  <a:gd name="T35" fmla="*/ 73 h 167"/>
                  <a:gd name="T36" fmla="*/ 2 w 169"/>
                  <a:gd name="T37" fmla="*/ 53 h 167"/>
                  <a:gd name="T38" fmla="*/ 12 w 169"/>
                  <a:gd name="T39" fmla="*/ 52 h 167"/>
                  <a:gd name="T40" fmla="*/ 26 w 169"/>
                  <a:gd name="T41" fmla="*/ 38 h 167"/>
                  <a:gd name="T42" fmla="*/ 23 w 169"/>
                  <a:gd name="T43" fmla="*/ 23 h 167"/>
                  <a:gd name="T44" fmla="*/ 25 w 169"/>
                  <a:gd name="T45" fmla="*/ 13 h 167"/>
                  <a:gd name="T46" fmla="*/ 10 w 169"/>
                  <a:gd name="T47" fmla="*/ 2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9" h="167">
                    <a:moveTo>
                      <a:pt x="10" y="2"/>
                    </a:moveTo>
                    <a:cubicBezTo>
                      <a:pt x="15" y="0"/>
                      <a:pt x="38" y="0"/>
                      <a:pt x="53" y="2"/>
                    </a:cubicBezTo>
                    <a:cubicBezTo>
                      <a:pt x="64" y="2"/>
                      <a:pt x="69" y="3"/>
                      <a:pt x="77" y="5"/>
                    </a:cubicBezTo>
                    <a:cubicBezTo>
                      <a:pt x="85" y="7"/>
                      <a:pt x="95" y="8"/>
                      <a:pt x="103" y="13"/>
                    </a:cubicBezTo>
                    <a:cubicBezTo>
                      <a:pt x="113" y="20"/>
                      <a:pt x="117" y="32"/>
                      <a:pt x="128" y="37"/>
                    </a:cubicBezTo>
                    <a:cubicBezTo>
                      <a:pt x="136" y="48"/>
                      <a:pt x="136" y="45"/>
                      <a:pt x="149" y="49"/>
                    </a:cubicBezTo>
                    <a:cubicBezTo>
                      <a:pt x="138" y="64"/>
                      <a:pt x="147" y="89"/>
                      <a:pt x="154" y="106"/>
                    </a:cubicBezTo>
                    <a:cubicBezTo>
                      <a:pt x="155" y="113"/>
                      <a:pt x="153" y="117"/>
                      <a:pt x="157" y="122"/>
                    </a:cubicBezTo>
                    <a:cubicBezTo>
                      <a:pt x="159" y="134"/>
                      <a:pt x="169" y="149"/>
                      <a:pt x="155" y="151"/>
                    </a:cubicBezTo>
                    <a:cubicBezTo>
                      <a:pt x="152" y="157"/>
                      <a:pt x="141" y="153"/>
                      <a:pt x="136" y="155"/>
                    </a:cubicBezTo>
                    <a:cubicBezTo>
                      <a:pt x="131" y="157"/>
                      <a:pt x="129" y="162"/>
                      <a:pt x="124" y="163"/>
                    </a:cubicBezTo>
                    <a:cubicBezTo>
                      <a:pt x="119" y="164"/>
                      <a:pt x="112" y="164"/>
                      <a:pt x="106" y="164"/>
                    </a:cubicBezTo>
                    <a:cubicBezTo>
                      <a:pt x="100" y="167"/>
                      <a:pt x="95" y="161"/>
                      <a:pt x="89" y="160"/>
                    </a:cubicBezTo>
                    <a:cubicBezTo>
                      <a:pt x="87" y="131"/>
                      <a:pt x="64" y="122"/>
                      <a:pt x="38" y="121"/>
                    </a:cubicBezTo>
                    <a:cubicBezTo>
                      <a:pt x="32" y="117"/>
                      <a:pt x="26" y="113"/>
                      <a:pt x="20" y="109"/>
                    </a:cubicBezTo>
                    <a:cubicBezTo>
                      <a:pt x="17" y="105"/>
                      <a:pt x="25" y="96"/>
                      <a:pt x="23" y="92"/>
                    </a:cubicBezTo>
                    <a:cubicBezTo>
                      <a:pt x="21" y="88"/>
                      <a:pt x="14" y="88"/>
                      <a:pt x="10" y="85"/>
                    </a:cubicBezTo>
                    <a:cubicBezTo>
                      <a:pt x="8" y="78"/>
                      <a:pt x="2" y="78"/>
                      <a:pt x="1" y="73"/>
                    </a:cubicBezTo>
                    <a:cubicBezTo>
                      <a:pt x="0" y="68"/>
                      <a:pt x="0" y="56"/>
                      <a:pt x="2" y="53"/>
                    </a:cubicBezTo>
                    <a:cubicBezTo>
                      <a:pt x="4" y="50"/>
                      <a:pt x="8" y="54"/>
                      <a:pt x="12" y="52"/>
                    </a:cubicBezTo>
                    <a:cubicBezTo>
                      <a:pt x="16" y="50"/>
                      <a:pt x="24" y="43"/>
                      <a:pt x="26" y="38"/>
                    </a:cubicBezTo>
                    <a:cubicBezTo>
                      <a:pt x="25" y="32"/>
                      <a:pt x="26" y="29"/>
                      <a:pt x="23" y="23"/>
                    </a:cubicBezTo>
                    <a:cubicBezTo>
                      <a:pt x="25" y="20"/>
                      <a:pt x="24" y="16"/>
                      <a:pt x="25" y="13"/>
                    </a:cubicBezTo>
                    <a:cubicBezTo>
                      <a:pt x="29" y="2"/>
                      <a:pt x="15" y="3"/>
                      <a:pt x="10" y="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3" name="Freeform 94">
                <a:extLst>
                  <a:ext uri="{FF2B5EF4-FFF2-40B4-BE49-F238E27FC236}">
                    <a16:creationId xmlns:a16="http://schemas.microsoft.com/office/drawing/2014/main" id="{7F316C1A-D65D-48AA-AFDA-8E60158D79D7}"/>
                  </a:ext>
                </a:extLst>
              </p:cNvPr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gray">
              <a:xfrm>
                <a:off x="5030788" y="4221163"/>
                <a:ext cx="52388" cy="39688"/>
              </a:xfrm>
              <a:custGeom>
                <a:avLst/>
                <a:gdLst>
                  <a:gd name="T0" fmla="*/ 11 w 32"/>
                  <a:gd name="T1" fmla="*/ 2 h 25"/>
                  <a:gd name="T2" fmla="*/ 21 w 32"/>
                  <a:gd name="T3" fmla="*/ 14 h 25"/>
                  <a:gd name="T4" fmla="*/ 0 w 32"/>
                  <a:gd name="T5" fmla="*/ 24 h 25"/>
                  <a:gd name="T6" fmla="*/ 6 w 32"/>
                  <a:gd name="T7" fmla="*/ 8 h 25"/>
                  <a:gd name="T8" fmla="*/ 11 w 32"/>
                  <a:gd name="T9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5">
                    <a:moveTo>
                      <a:pt x="11" y="2"/>
                    </a:moveTo>
                    <a:cubicBezTo>
                      <a:pt x="23" y="0"/>
                      <a:pt x="32" y="10"/>
                      <a:pt x="21" y="14"/>
                    </a:cubicBezTo>
                    <a:cubicBezTo>
                      <a:pt x="16" y="21"/>
                      <a:pt x="8" y="25"/>
                      <a:pt x="0" y="24"/>
                    </a:cubicBezTo>
                    <a:cubicBezTo>
                      <a:pt x="1" y="16"/>
                      <a:pt x="0" y="13"/>
                      <a:pt x="6" y="8"/>
                    </a:cubicBezTo>
                    <a:cubicBezTo>
                      <a:pt x="9" y="2"/>
                      <a:pt x="7" y="2"/>
                      <a:pt x="11" y="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4" name="Freeform 95">
                <a:extLst>
                  <a:ext uri="{FF2B5EF4-FFF2-40B4-BE49-F238E27FC236}">
                    <a16:creationId xmlns:a16="http://schemas.microsoft.com/office/drawing/2014/main" id="{E00FDE08-C9D0-4D4E-9DFD-98E4B659C624}"/>
                  </a:ext>
                </a:extLst>
              </p:cNvPr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gray">
              <a:xfrm>
                <a:off x="5116513" y="4421188"/>
                <a:ext cx="76200" cy="176213"/>
              </a:xfrm>
              <a:custGeom>
                <a:avLst/>
                <a:gdLst>
                  <a:gd name="T0" fmla="*/ 7 w 47"/>
                  <a:gd name="T1" fmla="*/ 0 h 111"/>
                  <a:gd name="T2" fmla="*/ 33 w 47"/>
                  <a:gd name="T3" fmla="*/ 20 h 111"/>
                  <a:gd name="T4" fmla="*/ 34 w 47"/>
                  <a:gd name="T5" fmla="*/ 33 h 111"/>
                  <a:gd name="T6" fmla="*/ 31 w 47"/>
                  <a:gd name="T7" fmla="*/ 54 h 111"/>
                  <a:gd name="T8" fmla="*/ 45 w 47"/>
                  <a:gd name="T9" fmla="*/ 78 h 111"/>
                  <a:gd name="T10" fmla="*/ 45 w 47"/>
                  <a:gd name="T11" fmla="*/ 101 h 111"/>
                  <a:gd name="T12" fmla="*/ 30 w 47"/>
                  <a:gd name="T13" fmla="*/ 108 h 111"/>
                  <a:gd name="T14" fmla="*/ 24 w 47"/>
                  <a:gd name="T15" fmla="*/ 80 h 111"/>
                  <a:gd name="T16" fmla="*/ 9 w 47"/>
                  <a:gd name="T17" fmla="*/ 68 h 111"/>
                  <a:gd name="T18" fmla="*/ 1 w 47"/>
                  <a:gd name="T19" fmla="*/ 56 h 111"/>
                  <a:gd name="T20" fmla="*/ 12 w 47"/>
                  <a:gd name="T21" fmla="*/ 35 h 111"/>
                  <a:gd name="T22" fmla="*/ 7 w 47"/>
                  <a:gd name="T2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111">
                    <a:moveTo>
                      <a:pt x="7" y="0"/>
                    </a:moveTo>
                    <a:cubicBezTo>
                      <a:pt x="21" y="2"/>
                      <a:pt x="28" y="6"/>
                      <a:pt x="33" y="20"/>
                    </a:cubicBezTo>
                    <a:cubicBezTo>
                      <a:pt x="37" y="26"/>
                      <a:pt x="34" y="27"/>
                      <a:pt x="34" y="33"/>
                    </a:cubicBezTo>
                    <a:cubicBezTo>
                      <a:pt x="34" y="39"/>
                      <a:pt x="29" y="47"/>
                      <a:pt x="31" y="54"/>
                    </a:cubicBezTo>
                    <a:cubicBezTo>
                      <a:pt x="35" y="60"/>
                      <a:pt x="43" y="71"/>
                      <a:pt x="45" y="78"/>
                    </a:cubicBezTo>
                    <a:cubicBezTo>
                      <a:pt x="47" y="86"/>
                      <a:pt x="47" y="96"/>
                      <a:pt x="45" y="101"/>
                    </a:cubicBezTo>
                    <a:cubicBezTo>
                      <a:pt x="43" y="106"/>
                      <a:pt x="33" y="111"/>
                      <a:pt x="30" y="108"/>
                    </a:cubicBezTo>
                    <a:cubicBezTo>
                      <a:pt x="26" y="100"/>
                      <a:pt x="26" y="88"/>
                      <a:pt x="24" y="80"/>
                    </a:cubicBezTo>
                    <a:cubicBezTo>
                      <a:pt x="22" y="73"/>
                      <a:pt x="14" y="72"/>
                      <a:pt x="9" y="68"/>
                    </a:cubicBezTo>
                    <a:cubicBezTo>
                      <a:pt x="6" y="63"/>
                      <a:pt x="2" y="62"/>
                      <a:pt x="1" y="56"/>
                    </a:cubicBezTo>
                    <a:cubicBezTo>
                      <a:pt x="0" y="50"/>
                      <a:pt x="11" y="44"/>
                      <a:pt x="12" y="35"/>
                    </a:cubicBezTo>
                    <a:cubicBezTo>
                      <a:pt x="13" y="26"/>
                      <a:pt x="8" y="7"/>
                      <a:pt x="7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5" name="Freeform 96">
                <a:extLst>
                  <a:ext uri="{FF2B5EF4-FFF2-40B4-BE49-F238E27FC236}">
                    <a16:creationId xmlns:a16="http://schemas.microsoft.com/office/drawing/2014/main" id="{5AD5A8FB-7316-469D-8E41-ECB4B4E11218}"/>
                  </a:ext>
                </a:extLst>
              </p:cNvPr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gray">
              <a:xfrm>
                <a:off x="4521201" y="3248025"/>
                <a:ext cx="96838" cy="177800"/>
              </a:xfrm>
              <a:custGeom>
                <a:avLst/>
                <a:gdLst>
                  <a:gd name="T0" fmla="*/ 19 w 60"/>
                  <a:gd name="T1" fmla="*/ 9 h 112"/>
                  <a:gd name="T2" fmla="*/ 39 w 60"/>
                  <a:gd name="T3" fmla="*/ 4 h 112"/>
                  <a:gd name="T4" fmla="*/ 48 w 60"/>
                  <a:gd name="T5" fmla="*/ 34 h 112"/>
                  <a:gd name="T6" fmla="*/ 37 w 60"/>
                  <a:gd name="T7" fmla="*/ 51 h 112"/>
                  <a:gd name="T8" fmla="*/ 51 w 60"/>
                  <a:gd name="T9" fmla="*/ 73 h 112"/>
                  <a:gd name="T10" fmla="*/ 54 w 60"/>
                  <a:gd name="T11" fmla="*/ 90 h 112"/>
                  <a:gd name="T12" fmla="*/ 41 w 60"/>
                  <a:gd name="T13" fmla="*/ 99 h 112"/>
                  <a:gd name="T14" fmla="*/ 34 w 60"/>
                  <a:gd name="T15" fmla="*/ 103 h 112"/>
                  <a:gd name="T16" fmla="*/ 27 w 60"/>
                  <a:gd name="T17" fmla="*/ 109 h 112"/>
                  <a:gd name="T18" fmla="*/ 7 w 60"/>
                  <a:gd name="T19" fmla="*/ 87 h 112"/>
                  <a:gd name="T20" fmla="*/ 0 w 60"/>
                  <a:gd name="T21" fmla="*/ 73 h 112"/>
                  <a:gd name="T22" fmla="*/ 9 w 60"/>
                  <a:gd name="T23" fmla="*/ 34 h 112"/>
                  <a:gd name="T24" fmla="*/ 19 w 60"/>
                  <a:gd name="T25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0" h="112">
                    <a:moveTo>
                      <a:pt x="19" y="9"/>
                    </a:moveTo>
                    <a:cubicBezTo>
                      <a:pt x="24" y="0"/>
                      <a:pt x="29" y="3"/>
                      <a:pt x="39" y="4"/>
                    </a:cubicBezTo>
                    <a:cubicBezTo>
                      <a:pt x="49" y="12"/>
                      <a:pt x="43" y="23"/>
                      <a:pt x="48" y="34"/>
                    </a:cubicBezTo>
                    <a:cubicBezTo>
                      <a:pt x="50" y="44"/>
                      <a:pt x="47" y="48"/>
                      <a:pt x="37" y="51"/>
                    </a:cubicBezTo>
                    <a:cubicBezTo>
                      <a:pt x="35" y="64"/>
                      <a:pt x="38" y="70"/>
                      <a:pt x="51" y="73"/>
                    </a:cubicBezTo>
                    <a:cubicBezTo>
                      <a:pt x="55" y="80"/>
                      <a:pt x="60" y="86"/>
                      <a:pt x="54" y="90"/>
                    </a:cubicBezTo>
                    <a:cubicBezTo>
                      <a:pt x="52" y="94"/>
                      <a:pt x="44" y="97"/>
                      <a:pt x="41" y="99"/>
                    </a:cubicBezTo>
                    <a:cubicBezTo>
                      <a:pt x="38" y="101"/>
                      <a:pt x="36" y="101"/>
                      <a:pt x="34" y="103"/>
                    </a:cubicBezTo>
                    <a:cubicBezTo>
                      <a:pt x="32" y="105"/>
                      <a:pt x="32" y="112"/>
                      <a:pt x="27" y="109"/>
                    </a:cubicBezTo>
                    <a:cubicBezTo>
                      <a:pt x="25" y="100"/>
                      <a:pt x="15" y="92"/>
                      <a:pt x="7" y="87"/>
                    </a:cubicBezTo>
                    <a:cubicBezTo>
                      <a:pt x="4" y="82"/>
                      <a:pt x="1" y="79"/>
                      <a:pt x="0" y="73"/>
                    </a:cubicBezTo>
                    <a:cubicBezTo>
                      <a:pt x="1" y="61"/>
                      <a:pt x="3" y="45"/>
                      <a:pt x="9" y="34"/>
                    </a:cubicBezTo>
                    <a:cubicBezTo>
                      <a:pt x="9" y="28"/>
                      <a:pt x="8" y="9"/>
                      <a:pt x="19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6" name="Freeform 100">
                <a:extLst>
                  <a:ext uri="{FF2B5EF4-FFF2-40B4-BE49-F238E27FC236}">
                    <a16:creationId xmlns:a16="http://schemas.microsoft.com/office/drawing/2014/main" id="{290E7199-6B1F-4689-A2EA-96CF7884884D}"/>
                  </a:ext>
                </a:extLst>
              </p:cNvPr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gray">
              <a:xfrm>
                <a:off x="4660901" y="2652713"/>
                <a:ext cx="250825" cy="203200"/>
              </a:xfrm>
              <a:custGeom>
                <a:avLst/>
                <a:gdLst>
                  <a:gd name="T0" fmla="*/ 0 w 155"/>
                  <a:gd name="T1" fmla="*/ 18 h 128"/>
                  <a:gd name="T2" fmla="*/ 33 w 155"/>
                  <a:gd name="T3" fmla="*/ 15 h 128"/>
                  <a:gd name="T4" fmla="*/ 54 w 155"/>
                  <a:gd name="T5" fmla="*/ 0 h 128"/>
                  <a:gd name="T6" fmla="*/ 87 w 155"/>
                  <a:gd name="T7" fmla="*/ 4 h 128"/>
                  <a:gd name="T8" fmla="*/ 96 w 155"/>
                  <a:gd name="T9" fmla="*/ 16 h 128"/>
                  <a:gd name="T10" fmla="*/ 120 w 155"/>
                  <a:gd name="T11" fmla="*/ 15 h 128"/>
                  <a:gd name="T12" fmla="*/ 147 w 155"/>
                  <a:gd name="T13" fmla="*/ 19 h 128"/>
                  <a:gd name="T14" fmla="*/ 153 w 155"/>
                  <a:gd name="T15" fmla="*/ 39 h 128"/>
                  <a:gd name="T16" fmla="*/ 145 w 155"/>
                  <a:gd name="T17" fmla="*/ 57 h 128"/>
                  <a:gd name="T18" fmla="*/ 150 w 155"/>
                  <a:gd name="T19" fmla="*/ 76 h 128"/>
                  <a:gd name="T20" fmla="*/ 153 w 155"/>
                  <a:gd name="T21" fmla="*/ 99 h 128"/>
                  <a:gd name="T22" fmla="*/ 136 w 155"/>
                  <a:gd name="T23" fmla="*/ 118 h 128"/>
                  <a:gd name="T24" fmla="*/ 123 w 155"/>
                  <a:gd name="T25" fmla="*/ 124 h 128"/>
                  <a:gd name="T26" fmla="*/ 94 w 155"/>
                  <a:gd name="T27" fmla="*/ 127 h 128"/>
                  <a:gd name="T28" fmla="*/ 73 w 155"/>
                  <a:gd name="T29" fmla="*/ 121 h 128"/>
                  <a:gd name="T30" fmla="*/ 39 w 155"/>
                  <a:gd name="T31" fmla="*/ 96 h 128"/>
                  <a:gd name="T32" fmla="*/ 12 w 155"/>
                  <a:gd name="T33" fmla="*/ 88 h 128"/>
                  <a:gd name="T34" fmla="*/ 10 w 155"/>
                  <a:gd name="T35" fmla="*/ 52 h 128"/>
                  <a:gd name="T36" fmla="*/ 0 w 155"/>
                  <a:gd name="T37" fmla="*/ 1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5" h="128">
                    <a:moveTo>
                      <a:pt x="0" y="18"/>
                    </a:moveTo>
                    <a:cubicBezTo>
                      <a:pt x="5" y="17"/>
                      <a:pt x="33" y="15"/>
                      <a:pt x="33" y="15"/>
                    </a:cubicBezTo>
                    <a:cubicBezTo>
                      <a:pt x="42" y="10"/>
                      <a:pt x="42" y="2"/>
                      <a:pt x="54" y="0"/>
                    </a:cubicBezTo>
                    <a:cubicBezTo>
                      <a:pt x="78" y="1"/>
                      <a:pt x="63" y="0"/>
                      <a:pt x="87" y="4"/>
                    </a:cubicBezTo>
                    <a:cubicBezTo>
                      <a:pt x="91" y="5"/>
                      <a:pt x="96" y="16"/>
                      <a:pt x="96" y="16"/>
                    </a:cubicBezTo>
                    <a:cubicBezTo>
                      <a:pt x="100" y="18"/>
                      <a:pt x="112" y="15"/>
                      <a:pt x="120" y="15"/>
                    </a:cubicBezTo>
                    <a:cubicBezTo>
                      <a:pt x="128" y="15"/>
                      <a:pt x="142" y="15"/>
                      <a:pt x="147" y="19"/>
                    </a:cubicBezTo>
                    <a:cubicBezTo>
                      <a:pt x="153" y="23"/>
                      <a:pt x="153" y="33"/>
                      <a:pt x="153" y="39"/>
                    </a:cubicBezTo>
                    <a:cubicBezTo>
                      <a:pt x="153" y="45"/>
                      <a:pt x="145" y="51"/>
                      <a:pt x="145" y="57"/>
                    </a:cubicBezTo>
                    <a:cubicBezTo>
                      <a:pt x="148" y="73"/>
                      <a:pt x="146" y="67"/>
                      <a:pt x="150" y="76"/>
                    </a:cubicBezTo>
                    <a:cubicBezTo>
                      <a:pt x="151" y="83"/>
                      <a:pt x="155" y="92"/>
                      <a:pt x="153" y="99"/>
                    </a:cubicBezTo>
                    <a:cubicBezTo>
                      <a:pt x="151" y="106"/>
                      <a:pt x="141" y="114"/>
                      <a:pt x="136" y="118"/>
                    </a:cubicBezTo>
                    <a:cubicBezTo>
                      <a:pt x="131" y="120"/>
                      <a:pt x="127" y="121"/>
                      <a:pt x="123" y="124"/>
                    </a:cubicBezTo>
                    <a:cubicBezTo>
                      <a:pt x="117" y="125"/>
                      <a:pt x="102" y="128"/>
                      <a:pt x="94" y="127"/>
                    </a:cubicBezTo>
                    <a:cubicBezTo>
                      <a:pt x="86" y="126"/>
                      <a:pt x="82" y="126"/>
                      <a:pt x="73" y="121"/>
                    </a:cubicBezTo>
                    <a:cubicBezTo>
                      <a:pt x="61" y="120"/>
                      <a:pt x="52" y="99"/>
                      <a:pt x="39" y="96"/>
                    </a:cubicBezTo>
                    <a:cubicBezTo>
                      <a:pt x="28" y="88"/>
                      <a:pt x="25" y="92"/>
                      <a:pt x="12" y="88"/>
                    </a:cubicBezTo>
                    <a:cubicBezTo>
                      <a:pt x="6" y="80"/>
                      <a:pt x="11" y="64"/>
                      <a:pt x="10" y="52"/>
                    </a:cubicBezTo>
                    <a:cubicBezTo>
                      <a:pt x="8" y="40"/>
                      <a:pt x="1" y="25"/>
                      <a:pt x="0" y="1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7" name="Freeform 102">
                <a:extLst>
                  <a:ext uri="{FF2B5EF4-FFF2-40B4-BE49-F238E27FC236}">
                    <a16:creationId xmlns:a16="http://schemas.microsoft.com/office/drawing/2014/main" id="{8D28F7ED-EB48-45EF-98FF-EE7FEC4790DA}"/>
                  </a:ext>
                </a:extLst>
              </p:cNvPr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gray">
              <a:xfrm>
                <a:off x="4524464" y="2525711"/>
                <a:ext cx="173435" cy="158852"/>
              </a:xfrm>
              <a:custGeom>
                <a:avLst/>
                <a:gdLst/>
                <a:ahLst/>
                <a:cxnLst/>
                <a:rect l="l" t="t" r="r" b="b"/>
                <a:pathLst>
                  <a:path w="173435" h="158852">
                    <a:moveTo>
                      <a:pt x="161866" y="104174"/>
                    </a:moveTo>
                    <a:cubicBezTo>
                      <a:pt x="177799" y="106608"/>
                      <a:pt x="177890" y="118745"/>
                      <a:pt x="158299" y="114301"/>
                    </a:cubicBezTo>
                    <a:close/>
                    <a:moveTo>
                      <a:pt x="158299" y="103189"/>
                    </a:moveTo>
                    <a:cubicBezTo>
                      <a:pt x="161692" y="103189"/>
                      <a:pt x="162413" y="102751"/>
                      <a:pt x="161866" y="104174"/>
                    </a:cubicBezTo>
                    <a:close/>
                    <a:moveTo>
                      <a:pt x="51691" y="0"/>
                    </a:moveTo>
                    <a:cubicBezTo>
                      <a:pt x="61383" y="3175"/>
                      <a:pt x="74297" y="22223"/>
                      <a:pt x="74297" y="22223"/>
                    </a:cubicBezTo>
                    <a:cubicBezTo>
                      <a:pt x="71074" y="39684"/>
                      <a:pt x="59766" y="44446"/>
                      <a:pt x="64606" y="57145"/>
                    </a:cubicBezTo>
                    <a:cubicBezTo>
                      <a:pt x="56531" y="79368"/>
                      <a:pt x="51691" y="74605"/>
                      <a:pt x="67840" y="79368"/>
                    </a:cubicBezTo>
                    <a:lnTo>
                      <a:pt x="78619" y="73638"/>
                    </a:lnTo>
                    <a:cubicBezTo>
                      <a:pt x="82783" y="68355"/>
                      <a:pt x="73087" y="65081"/>
                      <a:pt x="103383" y="69843"/>
                    </a:cubicBezTo>
                    <a:cubicBezTo>
                      <a:pt x="109840" y="87320"/>
                      <a:pt x="100148" y="109543"/>
                      <a:pt x="96914" y="127004"/>
                    </a:cubicBezTo>
                    <a:cubicBezTo>
                      <a:pt x="72691" y="119067"/>
                      <a:pt x="82383" y="125417"/>
                      <a:pt x="67840" y="111131"/>
                    </a:cubicBezTo>
                    <a:cubicBezTo>
                      <a:pt x="59766" y="134941"/>
                      <a:pt x="67840" y="128591"/>
                      <a:pt x="45223" y="133353"/>
                    </a:cubicBezTo>
                    <a:cubicBezTo>
                      <a:pt x="42000" y="136528"/>
                      <a:pt x="32297" y="133353"/>
                      <a:pt x="30692" y="138115"/>
                    </a:cubicBezTo>
                    <a:cubicBezTo>
                      <a:pt x="27457" y="142877"/>
                      <a:pt x="37149" y="160338"/>
                      <a:pt x="32297" y="158751"/>
                    </a:cubicBezTo>
                    <a:cubicBezTo>
                      <a:pt x="12914" y="155576"/>
                      <a:pt x="9692" y="109543"/>
                      <a:pt x="9692" y="98432"/>
                    </a:cubicBezTo>
                    <a:lnTo>
                      <a:pt x="9692" y="123829"/>
                    </a:lnTo>
                    <a:cubicBezTo>
                      <a:pt x="8074" y="115893"/>
                      <a:pt x="8074" y="106368"/>
                      <a:pt x="6457" y="98432"/>
                    </a:cubicBezTo>
                    <a:cubicBezTo>
                      <a:pt x="4840" y="92082"/>
                      <a:pt x="0" y="79368"/>
                      <a:pt x="0" y="79368"/>
                    </a:cubicBezTo>
                    <a:cubicBezTo>
                      <a:pt x="3223" y="44446"/>
                      <a:pt x="-4852" y="36509"/>
                      <a:pt x="32297" y="31747"/>
                    </a:cubicBezTo>
                    <a:cubicBezTo>
                      <a:pt x="43606" y="20636"/>
                      <a:pt x="48457" y="14286"/>
                      <a:pt x="51691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8" name="Freeform 105">
                <a:extLst>
                  <a:ext uri="{FF2B5EF4-FFF2-40B4-BE49-F238E27FC236}">
                    <a16:creationId xmlns:a16="http://schemas.microsoft.com/office/drawing/2014/main" id="{9983282C-10CE-4FB4-818E-B9A9F082A841}"/>
                  </a:ext>
                </a:extLst>
              </p:cNvPr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gray">
              <a:xfrm>
                <a:off x="5783263" y="3203575"/>
                <a:ext cx="265113" cy="266700"/>
              </a:xfrm>
              <a:custGeom>
                <a:avLst/>
                <a:gdLst>
                  <a:gd name="T0" fmla="*/ 165 w 165"/>
                  <a:gd name="T1" fmla="*/ 37 h 168"/>
                  <a:gd name="T2" fmla="*/ 159 w 165"/>
                  <a:gd name="T3" fmla="*/ 45 h 168"/>
                  <a:gd name="T4" fmla="*/ 159 w 165"/>
                  <a:gd name="T5" fmla="*/ 70 h 168"/>
                  <a:gd name="T6" fmla="*/ 159 w 165"/>
                  <a:gd name="T7" fmla="*/ 81 h 168"/>
                  <a:gd name="T8" fmla="*/ 147 w 165"/>
                  <a:gd name="T9" fmla="*/ 85 h 168"/>
                  <a:gd name="T10" fmla="*/ 133 w 165"/>
                  <a:gd name="T11" fmla="*/ 85 h 168"/>
                  <a:gd name="T12" fmla="*/ 144 w 165"/>
                  <a:gd name="T13" fmla="*/ 96 h 168"/>
                  <a:gd name="T14" fmla="*/ 132 w 165"/>
                  <a:gd name="T15" fmla="*/ 103 h 168"/>
                  <a:gd name="T16" fmla="*/ 130 w 165"/>
                  <a:gd name="T17" fmla="*/ 123 h 168"/>
                  <a:gd name="T18" fmla="*/ 112 w 165"/>
                  <a:gd name="T19" fmla="*/ 127 h 168"/>
                  <a:gd name="T20" fmla="*/ 84 w 165"/>
                  <a:gd name="T21" fmla="*/ 138 h 168"/>
                  <a:gd name="T22" fmla="*/ 84 w 165"/>
                  <a:gd name="T23" fmla="*/ 157 h 168"/>
                  <a:gd name="T24" fmla="*/ 70 w 165"/>
                  <a:gd name="T25" fmla="*/ 163 h 168"/>
                  <a:gd name="T26" fmla="*/ 58 w 165"/>
                  <a:gd name="T27" fmla="*/ 160 h 168"/>
                  <a:gd name="T28" fmla="*/ 48 w 165"/>
                  <a:gd name="T29" fmla="*/ 166 h 168"/>
                  <a:gd name="T30" fmla="*/ 7 w 165"/>
                  <a:gd name="T31" fmla="*/ 165 h 168"/>
                  <a:gd name="T32" fmla="*/ 14 w 165"/>
                  <a:gd name="T33" fmla="*/ 149 h 168"/>
                  <a:gd name="T34" fmla="*/ 10 w 165"/>
                  <a:gd name="T35" fmla="*/ 134 h 168"/>
                  <a:gd name="T36" fmla="*/ 10 w 165"/>
                  <a:gd name="T37" fmla="*/ 127 h 168"/>
                  <a:gd name="T38" fmla="*/ 0 w 165"/>
                  <a:gd name="T39" fmla="*/ 120 h 168"/>
                  <a:gd name="T40" fmla="*/ 7 w 165"/>
                  <a:gd name="T41" fmla="*/ 88 h 168"/>
                  <a:gd name="T42" fmla="*/ 10 w 165"/>
                  <a:gd name="T43" fmla="*/ 79 h 168"/>
                  <a:gd name="T44" fmla="*/ 10 w 165"/>
                  <a:gd name="T45" fmla="*/ 73 h 168"/>
                  <a:gd name="T46" fmla="*/ 9 w 165"/>
                  <a:gd name="T47" fmla="*/ 58 h 168"/>
                  <a:gd name="T48" fmla="*/ 25 w 165"/>
                  <a:gd name="T49" fmla="*/ 61 h 168"/>
                  <a:gd name="T50" fmla="*/ 35 w 165"/>
                  <a:gd name="T51" fmla="*/ 67 h 168"/>
                  <a:gd name="T52" fmla="*/ 46 w 165"/>
                  <a:gd name="T53" fmla="*/ 55 h 168"/>
                  <a:gd name="T54" fmla="*/ 58 w 165"/>
                  <a:gd name="T55" fmla="*/ 50 h 168"/>
                  <a:gd name="T56" fmla="*/ 67 w 165"/>
                  <a:gd name="T57" fmla="*/ 28 h 168"/>
                  <a:gd name="T58" fmla="*/ 79 w 165"/>
                  <a:gd name="T59" fmla="*/ 21 h 168"/>
                  <a:gd name="T60" fmla="*/ 94 w 165"/>
                  <a:gd name="T61" fmla="*/ 32 h 168"/>
                  <a:gd name="T62" fmla="*/ 112 w 165"/>
                  <a:gd name="T63" fmla="*/ 28 h 168"/>
                  <a:gd name="T64" fmla="*/ 136 w 165"/>
                  <a:gd name="T65" fmla="*/ 28 h 168"/>
                  <a:gd name="T66" fmla="*/ 149 w 165"/>
                  <a:gd name="T67" fmla="*/ 16 h 168"/>
                  <a:gd name="T68" fmla="*/ 153 w 165"/>
                  <a:gd name="T69" fmla="*/ 1 h 168"/>
                  <a:gd name="T70" fmla="*/ 162 w 165"/>
                  <a:gd name="T71" fmla="*/ 9 h 168"/>
                  <a:gd name="T72" fmla="*/ 165 w 165"/>
                  <a:gd name="T73" fmla="*/ 37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5" h="168">
                    <a:moveTo>
                      <a:pt x="165" y="37"/>
                    </a:moveTo>
                    <a:cubicBezTo>
                      <a:pt x="165" y="43"/>
                      <a:pt x="160" y="40"/>
                      <a:pt x="159" y="45"/>
                    </a:cubicBezTo>
                    <a:cubicBezTo>
                      <a:pt x="158" y="50"/>
                      <a:pt x="159" y="64"/>
                      <a:pt x="159" y="70"/>
                    </a:cubicBezTo>
                    <a:cubicBezTo>
                      <a:pt x="159" y="76"/>
                      <a:pt x="161" y="78"/>
                      <a:pt x="159" y="81"/>
                    </a:cubicBezTo>
                    <a:cubicBezTo>
                      <a:pt x="157" y="84"/>
                      <a:pt x="151" y="84"/>
                      <a:pt x="147" y="85"/>
                    </a:cubicBezTo>
                    <a:cubicBezTo>
                      <a:pt x="143" y="86"/>
                      <a:pt x="133" y="83"/>
                      <a:pt x="133" y="85"/>
                    </a:cubicBezTo>
                    <a:cubicBezTo>
                      <a:pt x="133" y="87"/>
                      <a:pt x="144" y="93"/>
                      <a:pt x="144" y="96"/>
                    </a:cubicBezTo>
                    <a:cubicBezTo>
                      <a:pt x="144" y="99"/>
                      <a:pt x="134" y="99"/>
                      <a:pt x="132" y="103"/>
                    </a:cubicBezTo>
                    <a:cubicBezTo>
                      <a:pt x="130" y="107"/>
                      <a:pt x="133" y="119"/>
                      <a:pt x="130" y="123"/>
                    </a:cubicBezTo>
                    <a:cubicBezTo>
                      <a:pt x="127" y="127"/>
                      <a:pt x="120" y="124"/>
                      <a:pt x="112" y="127"/>
                    </a:cubicBezTo>
                    <a:cubicBezTo>
                      <a:pt x="104" y="130"/>
                      <a:pt x="89" y="133"/>
                      <a:pt x="84" y="138"/>
                    </a:cubicBezTo>
                    <a:cubicBezTo>
                      <a:pt x="79" y="143"/>
                      <a:pt x="86" y="153"/>
                      <a:pt x="84" y="157"/>
                    </a:cubicBezTo>
                    <a:cubicBezTo>
                      <a:pt x="82" y="161"/>
                      <a:pt x="74" y="163"/>
                      <a:pt x="70" y="163"/>
                    </a:cubicBezTo>
                    <a:cubicBezTo>
                      <a:pt x="66" y="163"/>
                      <a:pt x="62" y="159"/>
                      <a:pt x="58" y="160"/>
                    </a:cubicBezTo>
                    <a:cubicBezTo>
                      <a:pt x="54" y="161"/>
                      <a:pt x="56" y="165"/>
                      <a:pt x="48" y="166"/>
                    </a:cubicBezTo>
                    <a:cubicBezTo>
                      <a:pt x="40" y="167"/>
                      <a:pt x="13" y="168"/>
                      <a:pt x="7" y="165"/>
                    </a:cubicBezTo>
                    <a:cubicBezTo>
                      <a:pt x="1" y="162"/>
                      <a:pt x="14" y="154"/>
                      <a:pt x="14" y="149"/>
                    </a:cubicBezTo>
                    <a:cubicBezTo>
                      <a:pt x="14" y="144"/>
                      <a:pt x="11" y="138"/>
                      <a:pt x="10" y="134"/>
                    </a:cubicBezTo>
                    <a:cubicBezTo>
                      <a:pt x="9" y="130"/>
                      <a:pt x="12" y="129"/>
                      <a:pt x="10" y="127"/>
                    </a:cubicBezTo>
                    <a:cubicBezTo>
                      <a:pt x="8" y="125"/>
                      <a:pt x="0" y="126"/>
                      <a:pt x="0" y="120"/>
                    </a:cubicBezTo>
                    <a:cubicBezTo>
                      <a:pt x="0" y="114"/>
                      <a:pt x="5" y="95"/>
                      <a:pt x="7" y="88"/>
                    </a:cubicBezTo>
                    <a:cubicBezTo>
                      <a:pt x="9" y="81"/>
                      <a:pt x="10" y="81"/>
                      <a:pt x="10" y="79"/>
                    </a:cubicBezTo>
                    <a:cubicBezTo>
                      <a:pt x="10" y="77"/>
                      <a:pt x="10" y="76"/>
                      <a:pt x="10" y="73"/>
                    </a:cubicBezTo>
                    <a:cubicBezTo>
                      <a:pt x="10" y="70"/>
                      <a:pt x="6" y="60"/>
                      <a:pt x="9" y="58"/>
                    </a:cubicBezTo>
                    <a:cubicBezTo>
                      <a:pt x="12" y="56"/>
                      <a:pt x="21" y="60"/>
                      <a:pt x="25" y="61"/>
                    </a:cubicBezTo>
                    <a:cubicBezTo>
                      <a:pt x="29" y="62"/>
                      <a:pt x="32" y="68"/>
                      <a:pt x="35" y="67"/>
                    </a:cubicBezTo>
                    <a:cubicBezTo>
                      <a:pt x="38" y="66"/>
                      <a:pt x="42" y="58"/>
                      <a:pt x="46" y="55"/>
                    </a:cubicBezTo>
                    <a:cubicBezTo>
                      <a:pt x="50" y="52"/>
                      <a:pt x="55" y="54"/>
                      <a:pt x="58" y="50"/>
                    </a:cubicBezTo>
                    <a:cubicBezTo>
                      <a:pt x="61" y="46"/>
                      <a:pt x="64" y="33"/>
                      <a:pt x="67" y="28"/>
                    </a:cubicBezTo>
                    <a:cubicBezTo>
                      <a:pt x="70" y="23"/>
                      <a:pt x="75" y="20"/>
                      <a:pt x="79" y="21"/>
                    </a:cubicBezTo>
                    <a:cubicBezTo>
                      <a:pt x="83" y="22"/>
                      <a:pt x="89" y="31"/>
                      <a:pt x="94" y="32"/>
                    </a:cubicBezTo>
                    <a:cubicBezTo>
                      <a:pt x="99" y="33"/>
                      <a:pt x="105" y="29"/>
                      <a:pt x="112" y="28"/>
                    </a:cubicBezTo>
                    <a:cubicBezTo>
                      <a:pt x="119" y="27"/>
                      <a:pt x="130" y="30"/>
                      <a:pt x="136" y="28"/>
                    </a:cubicBezTo>
                    <a:cubicBezTo>
                      <a:pt x="142" y="26"/>
                      <a:pt x="146" y="20"/>
                      <a:pt x="149" y="16"/>
                    </a:cubicBezTo>
                    <a:cubicBezTo>
                      <a:pt x="152" y="12"/>
                      <a:pt x="151" y="2"/>
                      <a:pt x="153" y="1"/>
                    </a:cubicBezTo>
                    <a:cubicBezTo>
                      <a:pt x="155" y="0"/>
                      <a:pt x="161" y="3"/>
                      <a:pt x="162" y="9"/>
                    </a:cubicBezTo>
                    <a:cubicBezTo>
                      <a:pt x="163" y="15"/>
                      <a:pt x="165" y="31"/>
                      <a:pt x="165" y="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29" name="Freeform 106">
                <a:extLst>
                  <a:ext uri="{FF2B5EF4-FFF2-40B4-BE49-F238E27FC236}">
                    <a16:creationId xmlns:a16="http://schemas.microsoft.com/office/drawing/2014/main" id="{90E794A3-D32F-49D4-9846-54D85D10F66E}"/>
                  </a:ext>
                </a:extLst>
              </p:cNvPr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gray">
              <a:xfrm>
                <a:off x="5802313" y="3255963"/>
                <a:ext cx="331788" cy="355600"/>
              </a:xfrm>
              <a:custGeom>
                <a:avLst/>
                <a:gdLst>
                  <a:gd name="T0" fmla="*/ 3 w 206"/>
                  <a:gd name="T1" fmla="*/ 133 h 224"/>
                  <a:gd name="T2" fmla="*/ 6 w 206"/>
                  <a:gd name="T3" fmla="*/ 145 h 224"/>
                  <a:gd name="T4" fmla="*/ 19 w 206"/>
                  <a:gd name="T5" fmla="*/ 150 h 224"/>
                  <a:gd name="T6" fmla="*/ 25 w 206"/>
                  <a:gd name="T7" fmla="*/ 165 h 224"/>
                  <a:gd name="T8" fmla="*/ 28 w 206"/>
                  <a:gd name="T9" fmla="*/ 177 h 224"/>
                  <a:gd name="T10" fmla="*/ 16 w 206"/>
                  <a:gd name="T11" fmla="*/ 178 h 224"/>
                  <a:gd name="T12" fmla="*/ 7 w 206"/>
                  <a:gd name="T13" fmla="*/ 188 h 224"/>
                  <a:gd name="T14" fmla="*/ 7 w 206"/>
                  <a:gd name="T15" fmla="*/ 202 h 224"/>
                  <a:gd name="T16" fmla="*/ 25 w 206"/>
                  <a:gd name="T17" fmla="*/ 199 h 224"/>
                  <a:gd name="T18" fmla="*/ 37 w 206"/>
                  <a:gd name="T19" fmla="*/ 196 h 224"/>
                  <a:gd name="T20" fmla="*/ 55 w 206"/>
                  <a:gd name="T21" fmla="*/ 201 h 224"/>
                  <a:gd name="T22" fmla="*/ 64 w 206"/>
                  <a:gd name="T23" fmla="*/ 190 h 224"/>
                  <a:gd name="T24" fmla="*/ 75 w 206"/>
                  <a:gd name="T25" fmla="*/ 199 h 224"/>
                  <a:gd name="T26" fmla="*/ 88 w 206"/>
                  <a:gd name="T27" fmla="*/ 208 h 224"/>
                  <a:gd name="T28" fmla="*/ 94 w 206"/>
                  <a:gd name="T29" fmla="*/ 222 h 224"/>
                  <a:gd name="T30" fmla="*/ 108 w 206"/>
                  <a:gd name="T31" fmla="*/ 219 h 224"/>
                  <a:gd name="T32" fmla="*/ 143 w 206"/>
                  <a:gd name="T33" fmla="*/ 218 h 224"/>
                  <a:gd name="T34" fmla="*/ 149 w 206"/>
                  <a:gd name="T35" fmla="*/ 206 h 224"/>
                  <a:gd name="T36" fmla="*/ 130 w 206"/>
                  <a:gd name="T37" fmla="*/ 180 h 224"/>
                  <a:gd name="T38" fmla="*/ 123 w 206"/>
                  <a:gd name="T39" fmla="*/ 166 h 224"/>
                  <a:gd name="T40" fmla="*/ 135 w 206"/>
                  <a:gd name="T41" fmla="*/ 161 h 224"/>
                  <a:gd name="T42" fmla="*/ 165 w 206"/>
                  <a:gd name="T43" fmla="*/ 164 h 224"/>
                  <a:gd name="T44" fmla="*/ 165 w 206"/>
                  <a:gd name="T45" fmla="*/ 143 h 224"/>
                  <a:gd name="T46" fmla="*/ 180 w 206"/>
                  <a:gd name="T47" fmla="*/ 130 h 224"/>
                  <a:gd name="T48" fmla="*/ 202 w 206"/>
                  <a:gd name="T49" fmla="*/ 100 h 224"/>
                  <a:gd name="T50" fmla="*/ 204 w 206"/>
                  <a:gd name="T51" fmla="*/ 78 h 224"/>
                  <a:gd name="T52" fmla="*/ 187 w 206"/>
                  <a:gd name="T53" fmla="*/ 66 h 224"/>
                  <a:gd name="T54" fmla="*/ 181 w 206"/>
                  <a:gd name="T55" fmla="*/ 57 h 224"/>
                  <a:gd name="T56" fmla="*/ 180 w 206"/>
                  <a:gd name="T57" fmla="*/ 45 h 224"/>
                  <a:gd name="T58" fmla="*/ 186 w 206"/>
                  <a:gd name="T59" fmla="*/ 30 h 224"/>
                  <a:gd name="T60" fmla="*/ 168 w 206"/>
                  <a:gd name="T61" fmla="*/ 15 h 224"/>
                  <a:gd name="T62" fmla="*/ 165 w 206"/>
                  <a:gd name="T63" fmla="*/ 0 h 224"/>
                  <a:gd name="T64" fmla="*/ 145 w 206"/>
                  <a:gd name="T65" fmla="*/ 16 h 224"/>
                  <a:gd name="T66" fmla="*/ 147 w 206"/>
                  <a:gd name="T67" fmla="*/ 30 h 224"/>
                  <a:gd name="T68" fmla="*/ 147 w 206"/>
                  <a:gd name="T69" fmla="*/ 49 h 224"/>
                  <a:gd name="T70" fmla="*/ 135 w 206"/>
                  <a:gd name="T71" fmla="*/ 51 h 224"/>
                  <a:gd name="T72" fmla="*/ 131 w 206"/>
                  <a:gd name="T73" fmla="*/ 58 h 224"/>
                  <a:gd name="T74" fmla="*/ 121 w 206"/>
                  <a:gd name="T75" fmla="*/ 67 h 224"/>
                  <a:gd name="T76" fmla="*/ 117 w 206"/>
                  <a:gd name="T77" fmla="*/ 88 h 224"/>
                  <a:gd name="T78" fmla="*/ 97 w 206"/>
                  <a:gd name="T79" fmla="*/ 96 h 224"/>
                  <a:gd name="T80" fmla="*/ 76 w 206"/>
                  <a:gd name="T81" fmla="*/ 100 h 224"/>
                  <a:gd name="T82" fmla="*/ 72 w 206"/>
                  <a:gd name="T83" fmla="*/ 117 h 224"/>
                  <a:gd name="T84" fmla="*/ 69 w 206"/>
                  <a:gd name="T85" fmla="*/ 129 h 224"/>
                  <a:gd name="T86" fmla="*/ 58 w 206"/>
                  <a:gd name="T87" fmla="*/ 130 h 224"/>
                  <a:gd name="T88" fmla="*/ 48 w 206"/>
                  <a:gd name="T89" fmla="*/ 129 h 224"/>
                  <a:gd name="T90" fmla="*/ 27 w 206"/>
                  <a:gd name="T91" fmla="*/ 133 h 224"/>
                  <a:gd name="T92" fmla="*/ 3 w 206"/>
                  <a:gd name="T93" fmla="*/ 13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06" h="224">
                    <a:moveTo>
                      <a:pt x="3" y="133"/>
                    </a:moveTo>
                    <a:cubicBezTo>
                      <a:pt x="0" y="135"/>
                      <a:pt x="3" y="142"/>
                      <a:pt x="6" y="145"/>
                    </a:cubicBezTo>
                    <a:cubicBezTo>
                      <a:pt x="9" y="148"/>
                      <a:pt x="16" y="147"/>
                      <a:pt x="19" y="150"/>
                    </a:cubicBezTo>
                    <a:cubicBezTo>
                      <a:pt x="22" y="153"/>
                      <a:pt x="24" y="161"/>
                      <a:pt x="25" y="165"/>
                    </a:cubicBezTo>
                    <a:cubicBezTo>
                      <a:pt x="26" y="169"/>
                      <a:pt x="29" y="175"/>
                      <a:pt x="28" y="177"/>
                    </a:cubicBezTo>
                    <a:cubicBezTo>
                      <a:pt x="27" y="179"/>
                      <a:pt x="19" y="176"/>
                      <a:pt x="16" y="178"/>
                    </a:cubicBezTo>
                    <a:cubicBezTo>
                      <a:pt x="13" y="180"/>
                      <a:pt x="8" y="184"/>
                      <a:pt x="7" y="188"/>
                    </a:cubicBezTo>
                    <a:cubicBezTo>
                      <a:pt x="6" y="192"/>
                      <a:pt x="4" y="200"/>
                      <a:pt x="7" y="202"/>
                    </a:cubicBezTo>
                    <a:cubicBezTo>
                      <a:pt x="10" y="204"/>
                      <a:pt x="20" y="200"/>
                      <a:pt x="25" y="199"/>
                    </a:cubicBezTo>
                    <a:cubicBezTo>
                      <a:pt x="30" y="198"/>
                      <a:pt x="32" y="196"/>
                      <a:pt x="37" y="196"/>
                    </a:cubicBezTo>
                    <a:cubicBezTo>
                      <a:pt x="42" y="196"/>
                      <a:pt x="51" y="202"/>
                      <a:pt x="55" y="201"/>
                    </a:cubicBezTo>
                    <a:cubicBezTo>
                      <a:pt x="59" y="200"/>
                      <a:pt x="61" y="190"/>
                      <a:pt x="64" y="190"/>
                    </a:cubicBezTo>
                    <a:cubicBezTo>
                      <a:pt x="67" y="190"/>
                      <a:pt x="71" y="196"/>
                      <a:pt x="75" y="199"/>
                    </a:cubicBezTo>
                    <a:cubicBezTo>
                      <a:pt x="79" y="202"/>
                      <a:pt x="85" y="204"/>
                      <a:pt x="88" y="208"/>
                    </a:cubicBezTo>
                    <a:cubicBezTo>
                      <a:pt x="91" y="212"/>
                      <a:pt x="91" y="220"/>
                      <a:pt x="94" y="222"/>
                    </a:cubicBezTo>
                    <a:cubicBezTo>
                      <a:pt x="97" y="224"/>
                      <a:pt x="100" y="220"/>
                      <a:pt x="108" y="219"/>
                    </a:cubicBezTo>
                    <a:cubicBezTo>
                      <a:pt x="116" y="218"/>
                      <a:pt x="136" y="220"/>
                      <a:pt x="143" y="218"/>
                    </a:cubicBezTo>
                    <a:cubicBezTo>
                      <a:pt x="150" y="216"/>
                      <a:pt x="151" y="212"/>
                      <a:pt x="149" y="206"/>
                    </a:cubicBezTo>
                    <a:cubicBezTo>
                      <a:pt x="147" y="200"/>
                      <a:pt x="134" y="187"/>
                      <a:pt x="130" y="180"/>
                    </a:cubicBezTo>
                    <a:cubicBezTo>
                      <a:pt x="126" y="173"/>
                      <a:pt x="122" y="169"/>
                      <a:pt x="123" y="166"/>
                    </a:cubicBezTo>
                    <a:cubicBezTo>
                      <a:pt x="124" y="163"/>
                      <a:pt x="128" y="161"/>
                      <a:pt x="135" y="161"/>
                    </a:cubicBezTo>
                    <a:cubicBezTo>
                      <a:pt x="142" y="161"/>
                      <a:pt x="160" y="167"/>
                      <a:pt x="165" y="164"/>
                    </a:cubicBezTo>
                    <a:cubicBezTo>
                      <a:pt x="170" y="161"/>
                      <a:pt x="163" y="149"/>
                      <a:pt x="165" y="143"/>
                    </a:cubicBezTo>
                    <a:cubicBezTo>
                      <a:pt x="167" y="137"/>
                      <a:pt x="174" y="137"/>
                      <a:pt x="180" y="130"/>
                    </a:cubicBezTo>
                    <a:cubicBezTo>
                      <a:pt x="186" y="123"/>
                      <a:pt x="198" y="109"/>
                      <a:pt x="202" y="100"/>
                    </a:cubicBezTo>
                    <a:cubicBezTo>
                      <a:pt x="206" y="91"/>
                      <a:pt x="206" y="84"/>
                      <a:pt x="204" y="78"/>
                    </a:cubicBezTo>
                    <a:cubicBezTo>
                      <a:pt x="202" y="72"/>
                      <a:pt x="191" y="69"/>
                      <a:pt x="187" y="66"/>
                    </a:cubicBezTo>
                    <a:cubicBezTo>
                      <a:pt x="183" y="63"/>
                      <a:pt x="182" y="60"/>
                      <a:pt x="181" y="57"/>
                    </a:cubicBezTo>
                    <a:cubicBezTo>
                      <a:pt x="180" y="54"/>
                      <a:pt x="179" y="49"/>
                      <a:pt x="180" y="45"/>
                    </a:cubicBezTo>
                    <a:cubicBezTo>
                      <a:pt x="181" y="41"/>
                      <a:pt x="188" y="35"/>
                      <a:pt x="186" y="30"/>
                    </a:cubicBezTo>
                    <a:cubicBezTo>
                      <a:pt x="184" y="25"/>
                      <a:pt x="171" y="20"/>
                      <a:pt x="168" y="15"/>
                    </a:cubicBezTo>
                    <a:cubicBezTo>
                      <a:pt x="165" y="10"/>
                      <a:pt x="169" y="0"/>
                      <a:pt x="165" y="0"/>
                    </a:cubicBezTo>
                    <a:cubicBezTo>
                      <a:pt x="161" y="0"/>
                      <a:pt x="148" y="11"/>
                      <a:pt x="145" y="16"/>
                    </a:cubicBezTo>
                    <a:cubicBezTo>
                      <a:pt x="142" y="21"/>
                      <a:pt x="147" y="25"/>
                      <a:pt x="147" y="30"/>
                    </a:cubicBezTo>
                    <a:cubicBezTo>
                      <a:pt x="147" y="35"/>
                      <a:pt x="149" y="46"/>
                      <a:pt x="147" y="49"/>
                    </a:cubicBezTo>
                    <a:cubicBezTo>
                      <a:pt x="145" y="52"/>
                      <a:pt x="138" y="50"/>
                      <a:pt x="135" y="51"/>
                    </a:cubicBezTo>
                    <a:cubicBezTo>
                      <a:pt x="132" y="52"/>
                      <a:pt x="133" y="55"/>
                      <a:pt x="131" y="58"/>
                    </a:cubicBezTo>
                    <a:cubicBezTo>
                      <a:pt x="129" y="61"/>
                      <a:pt x="123" y="62"/>
                      <a:pt x="121" y="67"/>
                    </a:cubicBezTo>
                    <a:cubicBezTo>
                      <a:pt x="119" y="72"/>
                      <a:pt x="121" y="83"/>
                      <a:pt x="117" y="88"/>
                    </a:cubicBezTo>
                    <a:cubicBezTo>
                      <a:pt x="113" y="93"/>
                      <a:pt x="104" y="94"/>
                      <a:pt x="97" y="96"/>
                    </a:cubicBezTo>
                    <a:cubicBezTo>
                      <a:pt x="90" y="98"/>
                      <a:pt x="80" y="97"/>
                      <a:pt x="76" y="100"/>
                    </a:cubicBezTo>
                    <a:cubicBezTo>
                      <a:pt x="72" y="103"/>
                      <a:pt x="73" y="112"/>
                      <a:pt x="72" y="117"/>
                    </a:cubicBezTo>
                    <a:cubicBezTo>
                      <a:pt x="71" y="122"/>
                      <a:pt x="71" y="127"/>
                      <a:pt x="69" y="129"/>
                    </a:cubicBezTo>
                    <a:cubicBezTo>
                      <a:pt x="67" y="131"/>
                      <a:pt x="61" y="130"/>
                      <a:pt x="58" y="130"/>
                    </a:cubicBezTo>
                    <a:cubicBezTo>
                      <a:pt x="55" y="130"/>
                      <a:pt x="53" y="129"/>
                      <a:pt x="48" y="129"/>
                    </a:cubicBezTo>
                    <a:cubicBezTo>
                      <a:pt x="43" y="129"/>
                      <a:pt x="33" y="132"/>
                      <a:pt x="27" y="133"/>
                    </a:cubicBezTo>
                    <a:cubicBezTo>
                      <a:pt x="21" y="134"/>
                      <a:pt x="6" y="131"/>
                      <a:pt x="3" y="13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0" name="Freeform 107">
                <a:extLst>
                  <a:ext uri="{FF2B5EF4-FFF2-40B4-BE49-F238E27FC236}">
                    <a16:creationId xmlns:a16="http://schemas.microsoft.com/office/drawing/2014/main" id="{4340470E-26A5-4950-A3F5-79F4C2B9A2D1}"/>
                  </a:ext>
                </a:extLst>
              </p:cNvPr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gray">
              <a:xfrm>
                <a:off x="4583113" y="2867025"/>
                <a:ext cx="160338" cy="96838"/>
              </a:xfrm>
              <a:custGeom>
                <a:avLst/>
                <a:gdLst>
                  <a:gd name="T0" fmla="*/ 12 w 100"/>
                  <a:gd name="T1" fmla="*/ 37 h 61"/>
                  <a:gd name="T2" fmla="*/ 20 w 100"/>
                  <a:gd name="T3" fmla="*/ 31 h 61"/>
                  <a:gd name="T4" fmla="*/ 30 w 100"/>
                  <a:gd name="T5" fmla="*/ 29 h 61"/>
                  <a:gd name="T6" fmla="*/ 49 w 100"/>
                  <a:gd name="T7" fmla="*/ 7 h 61"/>
                  <a:gd name="T8" fmla="*/ 73 w 100"/>
                  <a:gd name="T9" fmla="*/ 0 h 61"/>
                  <a:gd name="T10" fmla="*/ 92 w 100"/>
                  <a:gd name="T11" fmla="*/ 6 h 61"/>
                  <a:gd name="T12" fmla="*/ 98 w 100"/>
                  <a:gd name="T13" fmla="*/ 21 h 61"/>
                  <a:gd name="T14" fmla="*/ 97 w 100"/>
                  <a:gd name="T15" fmla="*/ 33 h 61"/>
                  <a:gd name="T16" fmla="*/ 91 w 100"/>
                  <a:gd name="T17" fmla="*/ 34 h 61"/>
                  <a:gd name="T18" fmla="*/ 71 w 100"/>
                  <a:gd name="T19" fmla="*/ 52 h 61"/>
                  <a:gd name="T20" fmla="*/ 61 w 100"/>
                  <a:gd name="T21" fmla="*/ 60 h 61"/>
                  <a:gd name="T22" fmla="*/ 34 w 100"/>
                  <a:gd name="T23" fmla="*/ 51 h 61"/>
                  <a:gd name="T24" fmla="*/ 16 w 100"/>
                  <a:gd name="T25" fmla="*/ 51 h 61"/>
                  <a:gd name="T26" fmla="*/ 7 w 100"/>
                  <a:gd name="T27" fmla="*/ 51 h 61"/>
                  <a:gd name="T28" fmla="*/ 2 w 100"/>
                  <a:gd name="T29" fmla="*/ 49 h 61"/>
                  <a:gd name="T30" fmla="*/ 12 w 100"/>
                  <a:gd name="T31" fmla="*/ 3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" h="61">
                    <a:moveTo>
                      <a:pt x="12" y="37"/>
                    </a:moveTo>
                    <a:cubicBezTo>
                      <a:pt x="10" y="34"/>
                      <a:pt x="17" y="32"/>
                      <a:pt x="20" y="31"/>
                    </a:cubicBezTo>
                    <a:cubicBezTo>
                      <a:pt x="23" y="30"/>
                      <a:pt x="25" y="33"/>
                      <a:pt x="30" y="29"/>
                    </a:cubicBezTo>
                    <a:cubicBezTo>
                      <a:pt x="35" y="25"/>
                      <a:pt x="42" y="12"/>
                      <a:pt x="49" y="7"/>
                    </a:cubicBezTo>
                    <a:cubicBezTo>
                      <a:pt x="55" y="2"/>
                      <a:pt x="65" y="2"/>
                      <a:pt x="73" y="0"/>
                    </a:cubicBezTo>
                    <a:cubicBezTo>
                      <a:pt x="80" y="1"/>
                      <a:pt x="85" y="4"/>
                      <a:pt x="92" y="6"/>
                    </a:cubicBezTo>
                    <a:cubicBezTo>
                      <a:pt x="95" y="11"/>
                      <a:pt x="95" y="16"/>
                      <a:pt x="98" y="21"/>
                    </a:cubicBezTo>
                    <a:cubicBezTo>
                      <a:pt x="98" y="25"/>
                      <a:pt x="99" y="29"/>
                      <a:pt x="97" y="33"/>
                    </a:cubicBezTo>
                    <a:cubicBezTo>
                      <a:pt x="96" y="35"/>
                      <a:pt x="92" y="32"/>
                      <a:pt x="91" y="34"/>
                    </a:cubicBezTo>
                    <a:cubicBezTo>
                      <a:pt x="80" y="50"/>
                      <a:pt x="100" y="49"/>
                      <a:pt x="71" y="52"/>
                    </a:cubicBezTo>
                    <a:cubicBezTo>
                      <a:pt x="70" y="59"/>
                      <a:pt x="67" y="57"/>
                      <a:pt x="61" y="60"/>
                    </a:cubicBezTo>
                    <a:cubicBezTo>
                      <a:pt x="53" y="61"/>
                      <a:pt x="44" y="52"/>
                      <a:pt x="34" y="51"/>
                    </a:cubicBezTo>
                    <a:cubicBezTo>
                      <a:pt x="27" y="50"/>
                      <a:pt x="20" y="51"/>
                      <a:pt x="16" y="51"/>
                    </a:cubicBezTo>
                    <a:cubicBezTo>
                      <a:pt x="12" y="51"/>
                      <a:pt x="9" y="51"/>
                      <a:pt x="7" y="51"/>
                    </a:cubicBezTo>
                    <a:cubicBezTo>
                      <a:pt x="7" y="47"/>
                      <a:pt x="0" y="53"/>
                      <a:pt x="2" y="49"/>
                    </a:cubicBezTo>
                    <a:cubicBezTo>
                      <a:pt x="4" y="45"/>
                      <a:pt x="12" y="44"/>
                      <a:pt x="12" y="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1" name="Freeform 108">
                <a:extLst>
                  <a:ext uri="{FF2B5EF4-FFF2-40B4-BE49-F238E27FC236}">
                    <a16:creationId xmlns:a16="http://schemas.microsoft.com/office/drawing/2014/main" id="{67322AB6-7253-42BA-B34F-3E82A464E4B3}"/>
                  </a:ext>
                </a:extLst>
              </p:cNvPr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gray">
              <a:xfrm>
                <a:off x="4645026" y="2944813"/>
                <a:ext cx="79375" cy="49213"/>
              </a:xfrm>
              <a:custGeom>
                <a:avLst/>
                <a:gdLst>
                  <a:gd name="T0" fmla="*/ 46 w 49"/>
                  <a:gd name="T1" fmla="*/ 2 h 31"/>
                  <a:gd name="T2" fmla="*/ 25 w 49"/>
                  <a:gd name="T3" fmla="*/ 12 h 31"/>
                  <a:gd name="T4" fmla="*/ 2 w 49"/>
                  <a:gd name="T5" fmla="*/ 9 h 31"/>
                  <a:gd name="T6" fmla="*/ 17 w 49"/>
                  <a:gd name="T7" fmla="*/ 27 h 31"/>
                  <a:gd name="T8" fmla="*/ 32 w 49"/>
                  <a:gd name="T9" fmla="*/ 27 h 31"/>
                  <a:gd name="T10" fmla="*/ 44 w 49"/>
                  <a:gd name="T11" fmla="*/ 15 h 31"/>
                  <a:gd name="T12" fmla="*/ 46 w 49"/>
                  <a:gd name="T13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1">
                    <a:moveTo>
                      <a:pt x="46" y="2"/>
                    </a:moveTo>
                    <a:cubicBezTo>
                      <a:pt x="43" y="0"/>
                      <a:pt x="32" y="11"/>
                      <a:pt x="25" y="12"/>
                    </a:cubicBezTo>
                    <a:cubicBezTo>
                      <a:pt x="18" y="13"/>
                      <a:pt x="3" y="7"/>
                      <a:pt x="2" y="9"/>
                    </a:cubicBezTo>
                    <a:cubicBezTo>
                      <a:pt x="0" y="19"/>
                      <a:pt x="6" y="26"/>
                      <a:pt x="17" y="27"/>
                    </a:cubicBezTo>
                    <a:cubicBezTo>
                      <a:pt x="22" y="31"/>
                      <a:pt x="25" y="26"/>
                      <a:pt x="32" y="27"/>
                    </a:cubicBezTo>
                    <a:cubicBezTo>
                      <a:pt x="36" y="22"/>
                      <a:pt x="39" y="18"/>
                      <a:pt x="44" y="15"/>
                    </a:cubicBezTo>
                    <a:cubicBezTo>
                      <a:pt x="49" y="8"/>
                      <a:pt x="44" y="16"/>
                      <a:pt x="46" y="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2" name="Freeform 109">
                <a:extLst>
                  <a:ext uri="{FF2B5EF4-FFF2-40B4-BE49-F238E27FC236}">
                    <a16:creationId xmlns:a16="http://schemas.microsoft.com/office/drawing/2014/main" id="{9DC47995-A49C-481A-AF57-59D0AACEA4F6}"/>
                  </a:ext>
                </a:extLst>
              </p:cNvPr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gray">
              <a:xfrm>
                <a:off x="5156201" y="3330575"/>
                <a:ext cx="49213" cy="88900"/>
              </a:xfrm>
              <a:custGeom>
                <a:avLst/>
                <a:gdLst>
                  <a:gd name="T0" fmla="*/ 29 w 30"/>
                  <a:gd name="T1" fmla="*/ 0 h 56"/>
                  <a:gd name="T2" fmla="*/ 15 w 30"/>
                  <a:gd name="T3" fmla="*/ 15 h 56"/>
                  <a:gd name="T4" fmla="*/ 3 w 30"/>
                  <a:gd name="T5" fmla="*/ 35 h 56"/>
                  <a:gd name="T6" fmla="*/ 2 w 30"/>
                  <a:gd name="T7" fmla="*/ 56 h 56"/>
                  <a:gd name="T8" fmla="*/ 20 w 30"/>
                  <a:gd name="T9" fmla="*/ 30 h 56"/>
                  <a:gd name="T10" fmla="*/ 29 w 30"/>
                  <a:gd name="T11" fmla="*/ 17 h 56"/>
                  <a:gd name="T12" fmla="*/ 29 w 30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56">
                    <a:moveTo>
                      <a:pt x="29" y="0"/>
                    </a:moveTo>
                    <a:cubicBezTo>
                      <a:pt x="17" y="3"/>
                      <a:pt x="20" y="6"/>
                      <a:pt x="15" y="15"/>
                    </a:cubicBezTo>
                    <a:cubicBezTo>
                      <a:pt x="13" y="24"/>
                      <a:pt x="12" y="32"/>
                      <a:pt x="3" y="35"/>
                    </a:cubicBezTo>
                    <a:cubicBezTo>
                      <a:pt x="1" y="45"/>
                      <a:pt x="0" y="44"/>
                      <a:pt x="2" y="56"/>
                    </a:cubicBezTo>
                    <a:cubicBezTo>
                      <a:pt x="17" y="52"/>
                      <a:pt x="8" y="37"/>
                      <a:pt x="20" y="30"/>
                    </a:cubicBezTo>
                    <a:cubicBezTo>
                      <a:pt x="23" y="26"/>
                      <a:pt x="26" y="21"/>
                      <a:pt x="29" y="17"/>
                    </a:cubicBezTo>
                    <a:cubicBezTo>
                      <a:pt x="30" y="11"/>
                      <a:pt x="29" y="6"/>
                      <a:pt x="2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3" name="Freeform 110">
                <a:extLst>
                  <a:ext uri="{FF2B5EF4-FFF2-40B4-BE49-F238E27FC236}">
                    <a16:creationId xmlns:a16="http://schemas.microsoft.com/office/drawing/2014/main" id="{2CBDD61E-F2B7-4DD5-9C20-C5F717AFF637}"/>
                  </a:ext>
                </a:extLst>
              </p:cNvPr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gray">
              <a:xfrm>
                <a:off x="5140326" y="3406775"/>
                <a:ext cx="50800" cy="49213"/>
              </a:xfrm>
              <a:custGeom>
                <a:avLst/>
                <a:gdLst>
                  <a:gd name="T0" fmla="*/ 22 w 31"/>
                  <a:gd name="T1" fmla="*/ 0 h 31"/>
                  <a:gd name="T2" fmla="*/ 12 w 31"/>
                  <a:gd name="T3" fmla="*/ 29 h 31"/>
                  <a:gd name="T4" fmla="*/ 15 w 31"/>
                  <a:gd name="T5" fmla="*/ 2 h 31"/>
                  <a:gd name="T6" fmla="*/ 22 w 31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31">
                    <a:moveTo>
                      <a:pt x="22" y="0"/>
                    </a:moveTo>
                    <a:cubicBezTo>
                      <a:pt x="24" y="18"/>
                      <a:pt x="31" y="31"/>
                      <a:pt x="12" y="29"/>
                    </a:cubicBezTo>
                    <a:cubicBezTo>
                      <a:pt x="7" y="20"/>
                      <a:pt x="0" y="4"/>
                      <a:pt x="15" y="2"/>
                    </a:cubicBezTo>
                    <a:cubicBezTo>
                      <a:pt x="23" y="3"/>
                      <a:pt x="22" y="5"/>
                      <a:pt x="22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4" name="Freeform 111">
                <a:extLst>
                  <a:ext uri="{FF2B5EF4-FFF2-40B4-BE49-F238E27FC236}">
                    <a16:creationId xmlns:a16="http://schemas.microsoft.com/office/drawing/2014/main" id="{6A2073B7-EE28-4E0A-B096-FDEE228F2E62}"/>
                  </a:ext>
                </a:extLst>
              </p:cNvPr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gray">
              <a:xfrm>
                <a:off x="4552951" y="4146550"/>
                <a:ext cx="65088" cy="34925"/>
              </a:xfrm>
              <a:custGeom>
                <a:avLst/>
                <a:gdLst>
                  <a:gd name="T0" fmla="*/ 10 w 40"/>
                  <a:gd name="T1" fmla="*/ 5 h 22"/>
                  <a:gd name="T2" fmla="*/ 2 w 40"/>
                  <a:gd name="T3" fmla="*/ 22 h 22"/>
                  <a:gd name="T4" fmla="*/ 35 w 40"/>
                  <a:gd name="T5" fmla="*/ 14 h 22"/>
                  <a:gd name="T6" fmla="*/ 29 w 40"/>
                  <a:gd name="T7" fmla="*/ 1 h 22"/>
                  <a:gd name="T8" fmla="*/ 10 w 40"/>
                  <a:gd name="T9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2">
                    <a:moveTo>
                      <a:pt x="10" y="5"/>
                    </a:moveTo>
                    <a:cubicBezTo>
                      <a:pt x="6" y="12"/>
                      <a:pt x="0" y="13"/>
                      <a:pt x="2" y="22"/>
                    </a:cubicBezTo>
                    <a:cubicBezTo>
                      <a:pt x="11" y="21"/>
                      <a:pt x="28" y="19"/>
                      <a:pt x="35" y="14"/>
                    </a:cubicBezTo>
                    <a:cubicBezTo>
                      <a:pt x="40" y="11"/>
                      <a:pt x="33" y="2"/>
                      <a:pt x="29" y="1"/>
                    </a:cubicBezTo>
                    <a:cubicBezTo>
                      <a:pt x="25" y="0"/>
                      <a:pt x="14" y="4"/>
                      <a:pt x="10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5" name="Freeform 112">
                <a:extLst>
                  <a:ext uri="{FF2B5EF4-FFF2-40B4-BE49-F238E27FC236}">
                    <a16:creationId xmlns:a16="http://schemas.microsoft.com/office/drawing/2014/main" id="{53D456CE-E96F-4236-985F-60320E58343B}"/>
                  </a:ext>
                </a:extLst>
              </p:cNvPr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gray">
              <a:xfrm>
                <a:off x="4832351" y="1851025"/>
                <a:ext cx="255588" cy="568325"/>
              </a:xfrm>
              <a:custGeom>
                <a:avLst/>
                <a:gdLst>
                  <a:gd name="T0" fmla="*/ 123 w 158"/>
                  <a:gd name="T1" fmla="*/ 16 h 358"/>
                  <a:gd name="T2" fmla="*/ 117 w 158"/>
                  <a:gd name="T3" fmla="*/ 41 h 358"/>
                  <a:gd name="T4" fmla="*/ 111 w 158"/>
                  <a:gd name="T5" fmla="*/ 49 h 358"/>
                  <a:gd name="T6" fmla="*/ 129 w 158"/>
                  <a:gd name="T7" fmla="*/ 92 h 358"/>
                  <a:gd name="T8" fmla="*/ 129 w 158"/>
                  <a:gd name="T9" fmla="*/ 131 h 358"/>
                  <a:gd name="T10" fmla="*/ 132 w 158"/>
                  <a:gd name="T11" fmla="*/ 154 h 358"/>
                  <a:gd name="T12" fmla="*/ 141 w 158"/>
                  <a:gd name="T13" fmla="*/ 188 h 358"/>
                  <a:gd name="T14" fmla="*/ 143 w 158"/>
                  <a:gd name="T15" fmla="*/ 256 h 358"/>
                  <a:gd name="T16" fmla="*/ 152 w 158"/>
                  <a:gd name="T17" fmla="*/ 271 h 358"/>
                  <a:gd name="T18" fmla="*/ 153 w 158"/>
                  <a:gd name="T19" fmla="*/ 298 h 358"/>
                  <a:gd name="T20" fmla="*/ 140 w 158"/>
                  <a:gd name="T21" fmla="*/ 308 h 358"/>
                  <a:gd name="T22" fmla="*/ 140 w 158"/>
                  <a:gd name="T23" fmla="*/ 323 h 358"/>
                  <a:gd name="T24" fmla="*/ 129 w 158"/>
                  <a:gd name="T25" fmla="*/ 331 h 358"/>
                  <a:gd name="T26" fmla="*/ 111 w 158"/>
                  <a:gd name="T27" fmla="*/ 329 h 358"/>
                  <a:gd name="T28" fmla="*/ 104 w 158"/>
                  <a:gd name="T29" fmla="*/ 346 h 358"/>
                  <a:gd name="T30" fmla="*/ 71 w 158"/>
                  <a:gd name="T31" fmla="*/ 349 h 358"/>
                  <a:gd name="T32" fmla="*/ 54 w 158"/>
                  <a:gd name="T33" fmla="*/ 353 h 358"/>
                  <a:gd name="T34" fmla="*/ 41 w 158"/>
                  <a:gd name="T35" fmla="*/ 358 h 358"/>
                  <a:gd name="T36" fmla="*/ 12 w 158"/>
                  <a:gd name="T37" fmla="*/ 334 h 358"/>
                  <a:gd name="T38" fmla="*/ 5 w 158"/>
                  <a:gd name="T39" fmla="*/ 265 h 358"/>
                  <a:gd name="T40" fmla="*/ 27 w 158"/>
                  <a:gd name="T41" fmla="*/ 247 h 358"/>
                  <a:gd name="T42" fmla="*/ 39 w 158"/>
                  <a:gd name="T43" fmla="*/ 221 h 358"/>
                  <a:gd name="T44" fmla="*/ 53 w 158"/>
                  <a:gd name="T45" fmla="*/ 211 h 358"/>
                  <a:gd name="T46" fmla="*/ 47 w 158"/>
                  <a:gd name="T47" fmla="*/ 175 h 358"/>
                  <a:gd name="T48" fmla="*/ 50 w 158"/>
                  <a:gd name="T49" fmla="*/ 116 h 358"/>
                  <a:gd name="T50" fmla="*/ 42 w 158"/>
                  <a:gd name="T51" fmla="*/ 88 h 358"/>
                  <a:gd name="T52" fmla="*/ 36 w 158"/>
                  <a:gd name="T53" fmla="*/ 76 h 358"/>
                  <a:gd name="T54" fmla="*/ 33 w 158"/>
                  <a:gd name="T55" fmla="*/ 71 h 358"/>
                  <a:gd name="T56" fmla="*/ 24 w 158"/>
                  <a:gd name="T57" fmla="*/ 62 h 358"/>
                  <a:gd name="T58" fmla="*/ 35 w 158"/>
                  <a:gd name="T59" fmla="*/ 55 h 358"/>
                  <a:gd name="T60" fmla="*/ 51 w 158"/>
                  <a:gd name="T61" fmla="*/ 55 h 358"/>
                  <a:gd name="T62" fmla="*/ 66 w 158"/>
                  <a:gd name="T63" fmla="*/ 64 h 358"/>
                  <a:gd name="T64" fmla="*/ 75 w 158"/>
                  <a:gd name="T65" fmla="*/ 38 h 358"/>
                  <a:gd name="T66" fmla="*/ 74 w 158"/>
                  <a:gd name="T67" fmla="*/ 25 h 358"/>
                  <a:gd name="T68" fmla="*/ 77 w 158"/>
                  <a:gd name="T69" fmla="*/ 13 h 358"/>
                  <a:gd name="T70" fmla="*/ 98 w 158"/>
                  <a:gd name="T71" fmla="*/ 10 h 358"/>
                  <a:gd name="T72" fmla="*/ 123 w 158"/>
                  <a:gd name="T73" fmla="*/ 16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358">
                    <a:moveTo>
                      <a:pt x="123" y="16"/>
                    </a:moveTo>
                    <a:cubicBezTo>
                      <a:pt x="122" y="24"/>
                      <a:pt x="121" y="33"/>
                      <a:pt x="117" y="41"/>
                    </a:cubicBezTo>
                    <a:cubicBezTo>
                      <a:pt x="116" y="44"/>
                      <a:pt x="111" y="46"/>
                      <a:pt x="111" y="49"/>
                    </a:cubicBezTo>
                    <a:cubicBezTo>
                      <a:pt x="109" y="74"/>
                      <a:pt x="119" y="75"/>
                      <a:pt x="129" y="92"/>
                    </a:cubicBezTo>
                    <a:cubicBezTo>
                      <a:pt x="131" y="105"/>
                      <a:pt x="135" y="119"/>
                      <a:pt x="129" y="131"/>
                    </a:cubicBezTo>
                    <a:cubicBezTo>
                      <a:pt x="131" y="138"/>
                      <a:pt x="130" y="147"/>
                      <a:pt x="132" y="154"/>
                    </a:cubicBezTo>
                    <a:cubicBezTo>
                      <a:pt x="133" y="167"/>
                      <a:pt x="140" y="175"/>
                      <a:pt x="141" y="188"/>
                    </a:cubicBezTo>
                    <a:cubicBezTo>
                      <a:pt x="141" y="211"/>
                      <a:pt x="134" y="229"/>
                      <a:pt x="143" y="256"/>
                    </a:cubicBezTo>
                    <a:cubicBezTo>
                      <a:pt x="146" y="262"/>
                      <a:pt x="149" y="263"/>
                      <a:pt x="152" y="271"/>
                    </a:cubicBezTo>
                    <a:cubicBezTo>
                      <a:pt x="153" y="280"/>
                      <a:pt x="158" y="290"/>
                      <a:pt x="153" y="298"/>
                    </a:cubicBezTo>
                    <a:cubicBezTo>
                      <a:pt x="152" y="305"/>
                      <a:pt x="145" y="304"/>
                      <a:pt x="140" y="308"/>
                    </a:cubicBezTo>
                    <a:cubicBezTo>
                      <a:pt x="137" y="311"/>
                      <a:pt x="142" y="319"/>
                      <a:pt x="140" y="323"/>
                    </a:cubicBezTo>
                    <a:cubicBezTo>
                      <a:pt x="138" y="327"/>
                      <a:pt x="134" y="330"/>
                      <a:pt x="129" y="331"/>
                    </a:cubicBezTo>
                    <a:cubicBezTo>
                      <a:pt x="126" y="334"/>
                      <a:pt x="111" y="329"/>
                      <a:pt x="111" y="329"/>
                    </a:cubicBezTo>
                    <a:cubicBezTo>
                      <a:pt x="109" y="337"/>
                      <a:pt x="113" y="345"/>
                      <a:pt x="104" y="346"/>
                    </a:cubicBezTo>
                    <a:cubicBezTo>
                      <a:pt x="93" y="347"/>
                      <a:pt x="71" y="349"/>
                      <a:pt x="71" y="349"/>
                    </a:cubicBezTo>
                    <a:cubicBezTo>
                      <a:pt x="65" y="350"/>
                      <a:pt x="60" y="352"/>
                      <a:pt x="54" y="353"/>
                    </a:cubicBezTo>
                    <a:cubicBezTo>
                      <a:pt x="50" y="355"/>
                      <a:pt x="45" y="356"/>
                      <a:pt x="41" y="358"/>
                    </a:cubicBezTo>
                    <a:cubicBezTo>
                      <a:pt x="29" y="353"/>
                      <a:pt x="22" y="342"/>
                      <a:pt x="12" y="334"/>
                    </a:cubicBezTo>
                    <a:cubicBezTo>
                      <a:pt x="0" y="311"/>
                      <a:pt x="18" y="287"/>
                      <a:pt x="5" y="265"/>
                    </a:cubicBezTo>
                    <a:cubicBezTo>
                      <a:pt x="7" y="254"/>
                      <a:pt x="20" y="254"/>
                      <a:pt x="27" y="247"/>
                    </a:cubicBezTo>
                    <a:cubicBezTo>
                      <a:pt x="32" y="235"/>
                      <a:pt x="29" y="228"/>
                      <a:pt x="39" y="221"/>
                    </a:cubicBezTo>
                    <a:cubicBezTo>
                      <a:pt x="44" y="212"/>
                      <a:pt x="41" y="213"/>
                      <a:pt x="53" y="211"/>
                    </a:cubicBezTo>
                    <a:cubicBezTo>
                      <a:pt x="59" y="201"/>
                      <a:pt x="56" y="182"/>
                      <a:pt x="47" y="175"/>
                    </a:cubicBezTo>
                    <a:cubicBezTo>
                      <a:pt x="46" y="159"/>
                      <a:pt x="51" y="130"/>
                      <a:pt x="50" y="116"/>
                    </a:cubicBezTo>
                    <a:cubicBezTo>
                      <a:pt x="49" y="102"/>
                      <a:pt x="44" y="95"/>
                      <a:pt x="42" y="88"/>
                    </a:cubicBezTo>
                    <a:cubicBezTo>
                      <a:pt x="40" y="81"/>
                      <a:pt x="37" y="79"/>
                      <a:pt x="36" y="76"/>
                    </a:cubicBezTo>
                    <a:cubicBezTo>
                      <a:pt x="35" y="73"/>
                      <a:pt x="35" y="73"/>
                      <a:pt x="33" y="71"/>
                    </a:cubicBezTo>
                    <a:cubicBezTo>
                      <a:pt x="31" y="69"/>
                      <a:pt x="24" y="65"/>
                      <a:pt x="24" y="62"/>
                    </a:cubicBezTo>
                    <a:cubicBezTo>
                      <a:pt x="24" y="59"/>
                      <a:pt x="31" y="56"/>
                      <a:pt x="35" y="55"/>
                    </a:cubicBezTo>
                    <a:cubicBezTo>
                      <a:pt x="39" y="54"/>
                      <a:pt x="46" y="54"/>
                      <a:pt x="51" y="55"/>
                    </a:cubicBezTo>
                    <a:cubicBezTo>
                      <a:pt x="58" y="52"/>
                      <a:pt x="62" y="67"/>
                      <a:pt x="66" y="64"/>
                    </a:cubicBezTo>
                    <a:cubicBezTo>
                      <a:pt x="70" y="61"/>
                      <a:pt x="74" y="45"/>
                      <a:pt x="75" y="38"/>
                    </a:cubicBezTo>
                    <a:cubicBezTo>
                      <a:pt x="76" y="31"/>
                      <a:pt x="74" y="29"/>
                      <a:pt x="74" y="25"/>
                    </a:cubicBezTo>
                    <a:cubicBezTo>
                      <a:pt x="74" y="21"/>
                      <a:pt x="73" y="15"/>
                      <a:pt x="77" y="13"/>
                    </a:cubicBezTo>
                    <a:cubicBezTo>
                      <a:pt x="84" y="11"/>
                      <a:pt x="91" y="11"/>
                      <a:pt x="98" y="10"/>
                    </a:cubicBezTo>
                    <a:cubicBezTo>
                      <a:pt x="112" y="0"/>
                      <a:pt x="112" y="16"/>
                      <a:pt x="123" y="1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6" name="Freeform 115">
                <a:extLst>
                  <a:ext uri="{FF2B5EF4-FFF2-40B4-BE49-F238E27FC236}">
                    <a16:creationId xmlns:a16="http://schemas.microsoft.com/office/drawing/2014/main" id="{36391CC1-18DF-4BEE-9B1D-72222F6FF8B6}"/>
                  </a:ext>
                </a:extLst>
              </p:cNvPr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gray">
              <a:xfrm>
                <a:off x="4612867" y="1928816"/>
                <a:ext cx="302034" cy="680289"/>
              </a:xfrm>
              <a:custGeom>
                <a:avLst/>
                <a:gdLst/>
                <a:ahLst/>
                <a:cxnLst/>
                <a:rect l="l" t="t" r="r" b="b"/>
                <a:pathLst>
                  <a:path w="302034" h="680289">
                    <a:moveTo>
                      <a:pt x="184297" y="582611"/>
                    </a:moveTo>
                    <a:lnTo>
                      <a:pt x="189135" y="586183"/>
                    </a:lnTo>
                    <a:lnTo>
                      <a:pt x="184297" y="592136"/>
                    </a:lnTo>
                    <a:cubicBezTo>
                      <a:pt x="174620" y="598486"/>
                      <a:pt x="171394" y="608011"/>
                      <a:pt x="169782" y="619124"/>
                    </a:cubicBezTo>
                    <a:cubicBezTo>
                      <a:pt x="158492" y="642936"/>
                      <a:pt x="156879" y="652461"/>
                      <a:pt x="155266" y="606424"/>
                    </a:cubicBezTo>
                    <a:cubicBezTo>
                      <a:pt x="158492" y="584199"/>
                      <a:pt x="160105" y="585786"/>
                      <a:pt x="184297" y="582611"/>
                    </a:cubicBezTo>
                    <a:close/>
                    <a:moveTo>
                      <a:pt x="184559" y="558798"/>
                    </a:moveTo>
                    <a:cubicBezTo>
                      <a:pt x="182972" y="563561"/>
                      <a:pt x="184559" y="569911"/>
                      <a:pt x="181384" y="573086"/>
                    </a:cubicBezTo>
                    <a:cubicBezTo>
                      <a:pt x="176621" y="577848"/>
                      <a:pt x="173446" y="558798"/>
                      <a:pt x="184559" y="558798"/>
                    </a:cubicBezTo>
                    <a:close/>
                    <a:moveTo>
                      <a:pt x="242362" y="0"/>
                    </a:moveTo>
                    <a:cubicBezTo>
                      <a:pt x="242121" y="2178"/>
                      <a:pt x="239917" y="9529"/>
                      <a:pt x="242362" y="9529"/>
                    </a:cubicBezTo>
                    <a:lnTo>
                      <a:pt x="248820" y="19059"/>
                    </a:lnTo>
                    <a:cubicBezTo>
                      <a:pt x="253641" y="28589"/>
                      <a:pt x="255248" y="27001"/>
                      <a:pt x="266558" y="28589"/>
                    </a:cubicBezTo>
                    <a:cubicBezTo>
                      <a:pt x="277838" y="33354"/>
                      <a:pt x="269772" y="47648"/>
                      <a:pt x="281082" y="49237"/>
                    </a:cubicBezTo>
                    <a:cubicBezTo>
                      <a:pt x="282689" y="57178"/>
                      <a:pt x="295576" y="72992"/>
                      <a:pt x="295576" y="72992"/>
                    </a:cubicBezTo>
                    <a:cubicBezTo>
                      <a:pt x="297183" y="82522"/>
                      <a:pt x="302034" y="93640"/>
                      <a:pt x="302034" y="101581"/>
                    </a:cubicBezTo>
                    <a:cubicBezTo>
                      <a:pt x="302034" y="109523"/>
                      <a:pt x="298820" y="117464"/>
                      <a:pt x="297183" y="125406"/>
                    </a:cubicBezTo>
                    <a:cubicBezTo>
                      <a:pt x="295576" y="133347"/>
                      <a:pt x="297183" y="144465"/>
                      <a:pt x="297183" y="152407"/>
                    </a:cubicBezTo>
                    <a:cubicBezTo>
                      <a:pt x="295576" y="161937"/>
                      <a:pt x="293969" y="161937"/>
                      <a:pt x="297183" y="171466"/>
                    </a:cubicBezTo>
                    <a:cubicBezTo>
                      <a:pt x="290755" y="211105"/>
                      <a:pt x="269772" y="176231"/>
                      <a:pt x="242362" y="196879"/>
                    </a:cubicBezTo>
                    <a:cubicBezTo>
                      <a:pt x="232689" y="222223"/>
                      <a:pt x="231082" y="247635"/>
                      <a:pt x="219773" y="273048"/>
                    </a:cubicBezTo>
                    <a:cubicBezTo>
                      <a:pt x="218165" y="285755"/>
                      <a:pt x="218165" y="288931"/>
                      <a:pt x="208493" y="296873"/>
                    </a:cubicBezTo>
                    <a:cubicBezTo>
                      <a:pt x="202035" y="307991"/>
                      <a:pt x="198820" y="309579"/>
                      <a:pt x="185904" y="311167"/>
                    </a:cubicBezTo>
                    <a:cubicBezTo>
                      <a:pt x="177838" y="325462"/>
                      <a:pt x="156886" y="325462"/>
                      <a:pt x="145576" y="339757"/>
                    </a:cubicBezTo>
                    <a:cubicBezTo>
                      <a:pt x="140755" y="353982"/>
                      <a:pt x="143969" y="368277"/>
                      <a:pt x="131083" y="377807"/>
                    </a:cubicBezTo>
                    <a:cubicBezTo>
                      <a:pt x="129476" y="398454"/>
                      <a:pt x="121410" y="434985"/>
                      <a:pt x="135904" y="454045"/>
                    </a:cubicBezTo>
                    <a:cubicBezTo>
                      <a:pt x="137511" y="465163"/>
                      <a:pt x="150428" y="469928"/>
                      <a:pt x="160100" y="476281"/>
                    </a:cubicBezTo>
                    <a:cubicBezTo>
                      <a:pt x="169773" y="495271"/>
                      <a:pt x="168166" y="517507"/>
                      <a:pt x="145576" y="520684"/>
                    </a:cubicBezTo>
                    <a:cubicBezTo>
                      <a:pt x="140755" y="530214"/>
                      <a:pt x="132690" y="547685"/>
                      <a:pt x="126231" y="552450"/>
                    </a:cubicBezTo>
                    <a:cubicBezTo>
                      <a:pt x="119773" y="557215"/>
                      <a:pt x="108493" y="544509"/>
                      <a:pt x="106886" y="547685"/>
                    </a:cubicBezTo>
                    <a:cubicBezTo>
                      <a:pt x="108493" y="557215"/>
                      <a:pt x="111707" y="566745"/>
                      <a:pt x="113345" y="576274"/>
                    </a:cubicBezTo>
                    <a:cubicBezTo>
                      <a:pt x="111707" y="595334"/>
                      <a:pt x="121410" y="601687"/>
                      <a:pt x="108493" y="611217"/>
                    </a:cubicBezTo>
                    <a:lnTo>
                      <a:pt x="105849" y="624662"/>
                    </a:lnTo>
                    <a:cubicBezTo>
                      <a:pt x="106079" y="629935"/>
                      <a:pt x="113345" y="617156"/>
                      <a:pt x="113345" y="644502"/>
                    </a:cubicBezTo>
                    <a:cubicBezTo>
                      <a:pt x="113345" y="663562"/>
                      <a:pt x="63345" y="671503"/>
                      <a:pt x="50428" y="676268"/>
                    </a:cubicBezTo>
                    <a:cubicBezTo>
                      <a:pt x="35904" y="687386"/>
                      <a:pt x="35904" y="673091"/>
                      <a:pt x="31083" y="661973"/>
                    </a:cubicBezTo>
                    <a:cubicBezTo>
                      <a:pt x="29476" y="641325"/>
                      <a:pt x="19773" y="625442"/>
                      <a:pt x="6887" y="609629"/>
                    </a:cubicBezTo>
                    <a:cubicBezTo>
                      <a:pt x="5279" y="601687"/>
                      <a:pt x="2035" y="595334"/>
                      <a:pt x="428" y="587392"/>
                    </a:cubicBezTo>
                    <a:cubicBezTo>
                      <a:pt x="-1179" y="574686"/>
                      <a:pt x="2035" y="542920"/>
                      <a:pt x="5279" y="528626"/>
                    </a:cubicBezTo>
                    <a:cubicBezTo>
                      <a:pt x="8494" y="514331"/>
                      <a:pt x="11738" y="512743"/>
                      <a:pt x="14952" y="506389"/>
                    </a:cubicBezTo>
                    <a:cubicBezTo>
                      <a:pt x="19773" y="500036"/>
                      <a:pt x="21410" y="493683"/>
                      <a:pt x="24624" y="485742"/>
                    </a:cubicBezTo>
                    <a:cubicBezTo>
                      <a:pt x="23017" y="460398"/>
                      <a:pt x="31083" y="428632"/>
                      <a:pt x="6887" y="414337"/>
                    </a:cubicBezTo>
                    <a:cubicBezTo>
                      <a:pt x="5279" y="404808"/>
                      <a:pt x="5279" y="398454"/>
                      <a:pt x="10101" y="390513"/>
                    </a:cubicBezTo>
                    <a:cubicBezTo>
                      <a:pt x="11738" y="355570"/>
                      <a:pt x="428" y="320697"/>
                      <a:pt x="31083" y="301637"/>
                    </a:cubicBezTo>
                    <a:cubicBezTo>
                      <a:pt x="34297" y="287343"/>
                      <a:pt x="50428" y="292108"/>
                      <a:pt x="63345" y="290519"/>
                    </a:cubicBezTo>
                    <a:cubicBezTo>
                      <a:pt x="69773" y="279401"/>
                      <a:pt x="68166" y="277813"/>
                      <a:pt x="58493" y="271460"/>
                    </a:cubicBezTo>
                    <a:cubicBezTo>
                      <a:pt x="56886" y="265107"/>
                      <a:pt x="48821" y="263518"/>
                      <a:pt x="48821" y="258754"/>
                    </a:cubicBezTo>
                    <a:cubicBezTo>
                      <a:pt x="48821" y="253989"/>
                      <a:pt x="52035" y="249224"/>
                      <a:pt x="55279" y="239694"/>
                    </a:cubicBezTo>
                    <a:cubicBezTo>
                      <a:pt x="58493" y="230164"/>
                      <a:pt x="66559" y="207928"/>
                      <a:pt x="69773" y="196879"/>
                    </a:cubicBezTo>
                    <a:cubicBezTo>
                      <a:pt x="73017" y="185761"/>
                      <a:pt x="68166" y="179408"/>
                      <a:pt x="73017" y="173055"/>
                    </a:cubicBezTo>
                    <a:cubicBezTo>
                      <a:pt x="76231" y="165113"/>
                      <a:pt x="82690" y="160348"/>
                      <a:pt x="87541" y="152407"/>
                    </a:cubicBezTo>
                    <a:cubicBezTo>
                      <a:pt x="93969" y="142877"/>
                      <a:pt x="102035" y="138112"/>
                      <a:pt x="106886" y="128582"/>
                    </a:cubicBezTo>
                    <a:cubicBezTo>
                      <a:pt x="108493" y="117464"/>
                      <a:pt x="113345" y="107935"/>
                      <a:pt x="116559" y="96816"/>
                    </a:cubicBezTo>
                    <a:cubicBezTo>
                      <a:pt x="119773" y="84110"/>
                      <a:pt x="119773" y="68227"/>
                      <a:pt x="127838" y="58766"/>
                    </a:cubicBezTo>
                    <a:cubicBezTo>
                      <a:pt x="135904" y="49237"/>
                      <a:pt x="148821" y="49237"/>
                      <a:pt x="161707" y="42883"/>
                    </a:cubicBezTo>
                    <a:cubicBezTo>
                      <a:pt x="192362" y="23824"/>
                      <a:pt x="140755" y="27001"/>
                      <a:pt x="203642" y="20647"/>
                    </a:cubicBezTo>
                    <a:cubicBezTo>
                      <a:pt x="213314" y="14294"/>
                      <a:pt x="213314" y="7941"/>
                      <a:pt x="219773" y="4764"/>
                    </a:cubicBezTo>
                    <a:cubicBezTo>
                      <a:pt x="226231" y="1588"/>
                      <a:pt x="239148" y="0"/>
                      <a:pt x="242362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7" name="Freeform 116">
                <a:extLst>
                  <a:ext uri="{FF2B5EF4-FFF2-40B4-BE49-F238E27FC236}">
                    <a16:creationId xmlns:a16="http://schemas.microsoft.com/office/drawing/2014/main" id="{5731F022-6F4F-48F2-9CAF-7997C668CDD0}"/>
                  </a:ext>
                </a:extLst>
              </p:cNvPr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gray">
              <a:xfrm>
                <a:off x="4435476" y="1770063"/>
                <a:ext cx="650875" cy="744538"/>
              </a:xfrm>
              <a:custGeom>
                <a:avLst/>
                <a:gdLst>
                  <a:gd name="T0" fmla="*/ 369 w 403"/>
                  <a:gd name="T1" fmla="*/ 56 h 469"/>
                  <a:gd name="T2" fmla="*/ 398 w 403"/>
                  <a:gd name="T3" fmla="*/ 46 h 469"/>
                  <a:gd name="T4" fmla="*/ 380 w 403"/>
                  <a:gd name="T5" fmla="*/ 29 h 469"/>
                  <a:gd name="T6" fmla="*/ 330 w 403"/>
                  <a:gd name="T7" fmla="*/ 8 h 469"/>
                  <a:gd name="T8" fmla="*/ 266 w 403"/>
                  <a:gd name="T9" fmla="*/ 20 h 469"/>
                  <a:gd name="T10" fmla="*/ 246 w 403"/>
                  <a:gd name="T11" fmla="*/ 41 h 469"/>
                  <a:gd name="T12" fmla="*/ 213 w 403"/>
                  <a:gd name="T13" fmla="*/ 41 h 469"/>
                  <a:gd name="T14" fmla="*/ 188 w 403"/>
                  <a:gd name="T15" fmla="*/ 76 h 469"/>
                  <a:gd name="T16" fmla="*/ 171 w 403"/>
                  <a:gd name="T17" fmla="*/ 86 h 469"/>
                  <a:gd name="T18" fmla="*/ 144 w 403"/>
                  <a:gd name="T19" fmla="*/ 115 h 469"/>
                  <a:gd name="T20" fmla="*/ 111 w 403"/>
                  <a:gd name="T21" fmla="*/ 155 h 469"/>
                  <a:gd name="T22" fmla="*/ 155 w 403"/>
                  <a:gd name="T23" fmla="*/ 133 h 469"/>
                  <a:gd name="T24" fmla="*/ 134 w 403"/>
                  <a:gd name="T25" fmla="*/ 176 h 469"/>
                  <a:gd name="T26" fmla="*/ 108 w 403"/>
                  <a:gd name="T27" fmla="*/ 239 h 469"/>
                  <a:gd name="T28" fmla="*/ 90 w 403"/>
                  <a:gd name="T29" fmla="*/ 266 h 469"/>
                  <a:gd name="T30" fmla="*/ 60 w 403"/>
                  <a:gd name="T31" fmla="*/ 301 h 469"/>
                  <a:gd name="T32" fmla="*/ 5 w 403"/>
                  <a:gd name="T33" fmla="*/ 386 h 469"/>
                  <a:gd name="T34" fmla="*/ 11 w 403"/>
                  <a:gd name="T35" fmla="*/ 415 h 469"/>
                  <a:gd name="T36" fmla="*/ 24 w 403"/>
                  <a:gd name="T37" fmla="*/ 454 h 469"/>
                  <a:gd name="T38" fmla="*/ 65 w 403"/>
                  <a:gd name="T39" fmla="*/ 466 h 469"/>
                  <a:gd name="T40" fmla="*/ 78 w 403"/>
                  <a:gd name="T41" fmla="*/ 445 h 469"/>
                  <a:gd name="T42" fmla="*/ 92 w 403"/>
                  <a:gd name="T43" fmla="*/ 433 h 469"/>
                  <a:gd name="T44" fmla="*/ 113 w 403"/>
                  <a:gd name="T45" fmla="*/ 433 h 469"/>
                  <a:gd name="T46" fmla="*/ 122 w 403"/>
                  <a:gd name="T47" fmla="*/ 379 h 469"/>
                  <a:gd name="T48" fmla="*/ 119 w 403"/>
                  <a:gd name="T49" fmla="*/ 340 h 469"/>
                  <a:gd name="T50" fmla="*/ 119 w 403"/>
                  <a:gd name="T51" fmla="*/ 303 h 469"/>
                  <a:gd name="T52" fmla="*/ 143 w 403"/>
                  <a:gd name="T53" fmla="*/ 283 h 469"/>
                  <a:gd name="T54" fmla="*/ 140 w 403"/>
                  <a:gd name="T55" fmla="*/ 263 h 469"/>
                  <a:gd name="T56" fmla="*/ 153 w 403"/>
                  <a:gd name="T57" fmla="*/ 221 h 469"/>
                  <a:gd name="T58" fmla="*/ 177 w 403"/>
                  <a:gd name="T59" fmla="*/ 182 h 469"/>
                  <a:gd name="T60" fmla="*/ 192 w 403"/>
                  <a:gd name="T61" fmla="*/ 134 h 469"/>
                  <a:gd name="T62" fmla="*/ 215 w 403"/>
                  <a:gd name="T63" fmla="*/ 127 h 469"/>
                  <a:gd name="T64" fmla="*/ 221 w 403"/>
                  <a:gd name="T65" fmla="*/ 115 h 469"/>
                  <a:gd name="T66" fmla="*/ 240 w 403"/>
                  <a:gd name="T67" fmla="*/ 112 h 469"/>
                  <a:gd name="T68" fmla="*/ 254 w 403"/>
                  <a:gd name="T69" fmla="*/ 89 h 469"/>
                  <a:gd name="T70" fmla="*/ 269 w 403"/>
                  <a:gd name="T71" fmla="*/ 112 h 469"/>
                  <a:gd name="T72" fmla="*/ 293 w 403"/>
                  <a:gd name="T73" fmla="*/ 106 h 469"/>
                  <a:gd name="T74" fmla="*/ 320 w 403"/>
                  <a:gd name="T75" fmla="*/ 97 h 469"/>
                  <a:gd name="T76" fmla="*/ 342 w 403"/>
                  <a:gd name="T77" fmla="*/ 59 h 469"/>
                  <a:gd name="T78" fmla="*/ 368 w 403"/>
                  <a:gd name="T79" fmla="*/ 6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3" h="469">
                    <a:moveTo>
                      <a:pt x="368" y="68"/>
                    </a:moveTo>
                    <a:cubicBezTo>
                      <a:pt x="379" y="66"/>
                      <a:pt x="379" y="60"/>
                      <a:pt x="369" y="56"/>
                    </a:cubicBezTo>
                    <a:cubicBezTo>
                      <a:pt x="374" y="55"/>
                      <a:pt x="378" y="53"/>
                      <a:pt x="383" y="52"/>
                    </a:cubicBezTo>
                    <a:cubicBezTo>
                      <a:pt x="388" y="49"/>
                      <a:pt x="392" y="47"/>
                      <a:pt x="398" y="46"/>
                    </a:cubicBezTo>
                    <a:cubicBezTo>
                      <a:pt x="403" y="38"/>
                      <a:pt x="398" y="41"/>
                      <a:pt x="392" y="38"/>
                    </a:cubicBezTo>
                    <a:cubicBezTo>
                      <a:pt x="389" y="33"/>
                      <a:pt x="385" y="32"/>
                      <a:pt x="380" y="29"/>
                    </a:cubicBezTo>
                    <a:cubicBezTo>
                      <a:pt x="370" y="16"/>
                      <a:pt x="365" y="13"/>
                      <a:pt x="348" y="11"/>
                    </a:cubicBezTo>
                    <a:cubicBezTo>
                      <a:pt x="342" y="10"/>
                      <a:pt x="330" y="8"/>
                      <a:pt x="330" y="8"/>
                    </a:cubicBezTo>
                    <a:cubicBezTo>
                      <a:pt x="319" y="0"/>
                      <a:pt x="298" y="6"/>
                      <a:pt x="288" y="7"/>
                    </a:cubicBezTo>
                    <a:cubicBezTo>
                      <a:pt x="286" y="21"/>
                      <a:pt x="281" y="19"/>
                      <a:pt x="266" y="20"/>
                    </a:cubicBezTo>
                    <a:cubicBezTo>
                      <a:pt x="257" y="23"/>
                      <a:pt x="255" y="30"/>
                      <a:pt x="266" y="32"/>
                    </a:cubicBezTo>
                    <a:cubicBezTo>
                      <a:pt x="263" y="39"/>
                      <a:pt x="254" y="40"/>
                      <a:pt x="246" y="41"/>
                    </a:cubicBezTo>
                    <a:cubicBezTo>
                      <a:pt x="240" y="40"/>
                      <a:pt x="237" y="37"/>
                      <a:pt x="231" y="35"/>
                    </a:cubicBezTo>
                    <a:cubicBezTo>
                      <a:pt x="225" y="38"/>
                      <a:pt x="219" y="40"/>
                      <a:pt x="213" y="41"/>
                    </a:cubicBezTo>
                    <a:cubicBezTo>
                      <a:pt x="208" y="50"/>
                      <a:pt x="212" y="58"/>
                      <a:pt x="203" y="65"/>
                    </a:cubicBezTo>
                    <a:cubicBezTo>
                      <a:pt x="199" y="74"/>
                      <a:pt x="199" y="74"/>
                      <a:pt x="188" y="76"/>
                    </a:cubicBezTo>
                    <a:cubicBezTo>
                      <a:pt x="181" y="80"/>
                      <a:pt x="180" y="98"/>
                      <a:pt x="180" y="98"/>
                    </a:cubicBezTo>
                    <a:cubicBezTo>
                      <a:pt x="175" y="94"/>
                      <a:pt x="174" y="91"/>
                      <a:pt x="171" y="86"/>
                    </a:cubicBezTo>
                    <a:cubicBezTo>
                      <a:pt x="162" y="89"/>
                      <a:pt x="158" y="89"/>
                      <a:pt x="153" y="98"/>
                    </a:cubicBezTo>
                    <a:cubicBezTo>
                      <a:pt x="152" y="105"/>
                      <a:pt x="150" y="111"/>
                      <a:pt x="144" y="115"/>
                    </a:cubicBezTo>
                    <a:cubicBezTo>
                      <a:pt x="139" y="122"/>
                      <a:pt x="143" y="127"/>
                      <a:pt x="135" y="130"/>
                    </a:cubicBezTo>
                    <a:cubicBezTo>
                      <a:pt x="124" y="141"/>
                      <a:pt x="128" y="152"/>
                      <a:pt x="111" y="155"/>
                    </a:cubicBezTo>
                    <a:cubicBezTo>
                      <a:pt x="115" y="165"/>
                      <a:pt x="121" y="155"/>
                      <a:pt x="128" y="154"/>
                    </a:cubicBezTo>
                    <a:cubicBezTo>
                      <a:pt x="141" y="147"/>
                      <a:pt x="145" y="138"/>
                      <a:pt x="155" y="133"/>
                    </a:cubicBezTo>
                    <a:cubicBezTo>
                      <a:pt x="167" y="137"/>
                      <a:pt x="149" y="152"/>
                      <a:pt x="141" y="157"/>
                    </a:cubicBezTo>
                    <a:cubicBezTo>
                      <a:pt x="135" y="164"/>
                      <a:pt x="141" y="172"/>
                      <a:pt x="134" y="176"/>
                    </a:cubicBezTo>
                    <a:cubicBezTo>
                      <a:pt x="132" y="187"/>
                      <a:pt x="127" y="201"/>
                      <a:pt x="116" y="205"/>
                    </a:cubicBezTo>
                    <a:cubicBezTo>
                      <a:pt x="108" y="215"/>
                      <a:pt x="114" y="228"/>
                      <a:pt x="108" y="239"/>
                    </a:cubicBezTo>
                    <a:cubicBezTo>
                      <a:pt x="107" y="246"/>
                      <a:pt x="104" y="244"/>
                      <a:pt x="98" y="248"/>
                    </a:cubicBezTo>
                    <a:cubicBezTo>
                      <a:pt x="96" y="254"/>
                      <a:pt x="93" y="260"/>
                      <a:pt x="90" y="266"/>
                    </a:cubicBezTo>
                    <a:cubicBezTo>
                      <a:pt x="88" y="278"/>
                      <a:pt x="84" y="275"/>
                      <a:pt x="71" y="277"/>
                    </a:cubicBezTo>
                    <a:cubicBezTo>
                      <a:pt x="66" y="284"/>
                      <a:pt x="64" y="293"/>
                      <a:pt x="60" y="301"/>
                    </a:cubicBezTo>
                    <a:cubicBezTo>
                      <a:pt x="54" y="312"/>
                      <a:pt x="23" y="331"/>
                      <a:pt x="11" y="337"/>
                    </a:cubicBezTo>
                    <a:cubicBezTo>
                      <a:pt x="0" y="352"/>
                      <a:pt x="6" y="364"/>
                      <a:pt x="5" y="386"/>
                    </a:cubicBezTo>
                    <a:cubicBezTo>
                      <a:pt x="5" y="395"/>
                      <a:pt x="4" y="404"/>
                      <a:pt x="6" y="413"/>
                    </a:cubicBezTo>
                    <a:cubicBezTo>
                      <a:pt x="6" y="415"/>
                      <a:pt x="11" y="413"/>
                      <a:pt x="11" y="415"/>
                    </a:cubicBezTo>
                    <a:cubicBezTo>
                      <a:pt x="12" y="420"/>
                      <a:pt x="15" y="436"/>
                      <a:pt x="17" y="442"/>
                    </a:cubicBezTo>
                    <a:cubicBezTo>
                      <a:pt x="19" y="448"/>
                      <a:pt x="20" y="449"/>
                      <a:pt x="24" y="454"/>
                    </a:cubicBezTo>
                    <a:cubicBezTo>
                      <a:pt x="31" y="463"/>
                      <a:pt x="29" y="466"/>
                      <a:pt x="41" y="469"/>
                    </a:cubicBezTo>
                    <a:cubicBezTo>
                      <a:pt x="52" y="468"/>
                      <a:pt x="55" y="469"/>
                      <a:pt x="65" y="466"/>
                    </a:cubicBezTo>
                    <a:cubicBezTo>
                      <a:pt x="71" y="465"/>
                      <a:pt x="69" y="460"/>
                      <a:pt x="71" y="457"/>
                    </a:cubicBezTo>
                    <a:cubicBezTo>
                      <a:pt x="73" y="454"/>
                      <a:pt x="74" y="446"/>
                      <a:pt x="78" y="445"/>
                    </a:cubicBezTo>
                    <a:cubicBezTo>
                      <a:pt x="80" y="442"/>
                      <a:pt x="92" y="451"/>
                      <a:pt x="93" y="448"/>
                    </a:cubicBezTo>
                    <a:cubicBezTo>
                      <a:pt x="95" y="447"/>
                      <a:pt x="92" y="435"/>
                      <a:pt x="92" y="433"/>
                    </a:cubicBezTo>
                    <a:cubicBezTo>
                      <a:pt x="92" y="431"/>
                      <a:pt x="92" y="436"/>
                      <a:pt x="95" y="436"/>
                    </a:cubicBezTo>
                    <a:cubicBezTo>
                      <a:pt x="99" y="432"/>
                      <a:pt x="107" y="434"/>
                      <a:pt x="113" y="433"/>
                    </a:cubicBezTo>
                    <a:cubicBezTo>
                      <a:pt x="120" y="425"/>
                      <a:pt x="118" y="413"/>
                      <a:pt x="126" y="407"/>
                    </a:cubicBezTo>
                    <a:cubicBezTo>
                      <a:pt x="130" y="398"/>
                      <a:pt x="128" y="386"/>
                      <a:pt x="122" y="379"/>
                    </a:cubicBezTo>
                    <a:cubicBezTo>
                      <a:pt x="119" y="356"/>
                      <a:pt x="120" y="368"/>
                      <a:pt x="114" y="355"/>
                    </a:cubicBezTo>
                    <a:cubicBezTo>
                      <a:pt x="116" y="350"/>
                      <a:pt x="117" y="345"/>
                      <a:pt x="119" y="340"/>
                    </a:cubicBezTo>
                    <a:cubicBezTo>
                      <a:pt x="120" y="335"/>
                      <a:pt x="117" y="334"/>
                      <a:pt x="117" y="328"/>
                    </a:cubicBezTo>
                    <a:cubicBezTo>
                      <a:pt x="117" y="322"/>
                      <a:pt x="117" y="310"/>
                      <a:pt x="119" y="303"/>
                    </a:cubicBezTo>
                    <a:cubicBezTo>
                      <a:pt x="121" y="296"/>
                      <a:pt x="125" y="290"/>
                      <a:pt x="129" y="287"/>
                    </a:cubicBezTo>
                    <a:cubicBezTo>
                      <a:pt x="133" y="284"/>
                      <a:pt x="140" y="285"/>
                      <a:pt x="143" y="283"/>
                    </a:cubicBezTo>
                    <a:cubicBezTo>
                      <a:pt x="146" y="281"/>
                      <a:pt x="147" y="278"/>
                      <a:pt x="147" y="275"/>
                    </a:cubicBezTo>
                    <a:cubicBezTo>
                      <a:pt x="147" y="272"/>
                      <a:pt x="140" y="268"/>
                      <a:pt x="140" y="263"/>
                    </a:cubicBezTo>
                    <a:cubicBezTo>
                      <a:pt x="141" y="256"/>
                      <a:pt x="143" y="252"/>
                      <a:pt x="146" y="245"/>
                    </a:cubicBezTo>
                    <a:cubicBezTo>
                      <a:pt x="147" y="238"/>
                      <a:pt x="150" y="228"/>
                      <a:pt x="153" y="221"/>
                    </a:cubicBezTo>
                    <a:cubicBezTo>
                      <a:pt x="156" y="214"/>
                      <a:pt x="158" y="210"/>
                      <a:pt x="162" y="203"/>
                    </a:cubicBezTo>
                    <a:cubicBezTo>
                      <a:pt x="166" y="195"/>
                      <a:pt x="169" y="186"/>
                      <a:pt x="177" y="182"/>
                    </a:cubicBezTo>
                    <a:cubicBezTo>
                      <a:pt x="180" y="175"/>
                      <a:pt x="179" y="172"/>
                      <a:pt x="182" y="164"/>
                    </a:cubicBezTo>
                    <a:cubicBezTo>
                      <a:pt x="185" y="156"/>
                      <a:pt x="187" y="140"/>
                      <a:pt x="192" y="134"/>
                    </a:cubicBezTo>
                    <a:cubicBezTo>
                      <a:pt x="198" y="131"/>
                      <a:pt x="205" y="132"/>
                      <a:pt x="212" y="131"/>
                    </a:cubicBezTo>
                    <a:cubicBezTo>
                      <a:pt x="213" y="130"/>
                      <a:pt x="215" y="129"/>
                      <a:pt x="215" y="127"/>
                    </a:cubicBezTo>
                    <a:cubicBezTo>
                      <a:pt x="216" y="122"/>
                      <a:pt x="214" y="117"/>
                      <a:pt x="216" y="113"/>
                    </a:cubicBezTo>
                    <a:cubicBezTo>
                      <a:pt x="217" y="111"/>
                      <a:pt x="219" y="114"/>
                      <a:pt x="221" y="115"/>
                    </a:cubicBezTo>
                    <a:cubicBezTo>
                      <a:pt x="230" y="119"/>
                      <a:pt x="224" y="117"/>
                      <a:pt x="233" y="119"/>
                    </a:cubicBezTo>
                    <a:cubicBezTo>
                      <a:pt x="236" y="119"/>
                      <a:pt x="237" y="115"/>
                      <a:pt x="240" y="112"/>
                    </a:cubicBezTo>
                    <a:cubicBezTo>
                      <a:pt x="243" y="109"/>
                      <a:pt x="250" y="107"/>
                      <a:pt x="252" y="103"/>
                    </a:cubicBezTo>
                    <a:cubicBezTo>
                      <a:pt x="261" y="115"/>
                      <a:pt x="253" y="91"/>
                      <a:pt x="254" y="89"/>
                    </a:cubicBezTo>
                    <a:cubicBezTo>
                      <a:pt x="255" y="88"/>
                      <a:pt x="257" y="90"/>
                      <a:pt x="258" y="91"/>
                    </a:cubicBezTo>
                    <a:cubicBezTo>
                      <a:pt x="262" y="99"/>
                      <a:pt x="261" y="108"/>
                      <a:pt x="269" y="112"/>
                    </a:cubicBezTo>
                    <a:cubicBezTo>
                      <a:pt x="273" y="115"/>
                      <a:pt x="274" y="110"/>
                      <a:pt x="278" y="109"/>
                    </a:cubicBezTo>
                    <a:cubicBezTo>
                      <a:pt x="282" y="108"/>
                      <a:pt x="288" y="105"/>
                      <a:pt x="293" y="106"/>
                    </a:cubicBezTo>
                    <a:cubicBezTo>
                      <a:pt x="298" y="107"/>
                      <a:pt x="305" y="116"/>
                      <a:pt x="309" y="115"/>
                    </a:cubicBezTo>
                    <a:cubicBezTo>
                      <a:pt x="312" y="114"/>
                      <a:pt x="319" y="105"/>
                      <a:pt x="320" y="97"/>
                    </a:cubicBezTo>
                    <a:cubicBezTo>
                      <a:pt x="323" y="89"/>
                      <a:pt x="320" y="73"/>
                      <a:pt x="324" y="67"/>
                    </a:cubicBezTo>
                    <a:cubicBezTo>
                      <a:pt x="328" y="61"/>
                      <a:pt x="337" y="60"/>
                      <a:pt x="342" y="59"/>
                    </a:cubicBezTo>
                    <a:cubicBezTo>
                      <a:pt x="347" y="59"/>
                      <a:pt x="350" y="58"/>
                      <a:pt x="354" y="59"/>
                    </a:cubicBezTo>
                    <a:cubicBezTo>
                      <a:pt x="358" y="60"/>
                      <a:pt x="365" y="66"/>
                      <a:pt x="368" y="6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8" name="Freeform 117">
                <a:extLst>
                  <a:ext uri="{FF2B5EF4-FFF2-40B4-BE49-F238E27FC236}">
                    <a16:creationId xmlns:a16="http://schemas.microsoft.com/office/drawing/2014/main" id="{A8B6AEFE-3750-41D7-A831-952BE3754AF9}"/>
                  </a:ext>
                </a:extLst>
              </p:cNvPr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gray">
              <a:xfrm>
                <a:off x="4856163" y="2435225"/>
                <a:ext cx="173038" cy="133350"/>
              </a:xfrm>
              <a:custGeom>
                <a:avLst/>
                <a:gdLst>
                  <a:gd name="T0" fmla="*/ 8 w 107"/>
                  <a:gd name="T1" fmla="*/ 26 h 84"/>
                  <a:gd name="T2" fmla="*/ 29 w 107"/>
                  <a:gd name="T3" fmla="*/ 17 h 84"/>
                  <a:gd name="T4" fmla="*/ 47 w 107"/>
                  <a:gd name="T5" fmla="*/ 6 h 84"/>
                  <a:gd name="T6" fmla="*/ 60 w 107"/>
                  <a:gd name="T7" fmla="*/ 0 h 84"/>
                  <a:gd name="T8" fmla="*/ 101 w 107"/>
                  <a:gd name="T9" fmla="*/ 8 h 84"/>
                  <a:gd name="T10" fmla="*/ 92 w 107"/>
                  <a:gd name="T11" fmla="*/ 42 h 84"/>
                  <a:gd name="T12" fmla="*/ 92 w 107"/>
                  <a:gd name="T13" fmla="*/ 59 h 84"/>
                  <a:gd name="T14" fmla="*/ 51 w 107"/>
                  <a:gd name="T15" fmla="*/ 45 h 84"/>
                  <a:gd name="T16" fmla="*/ 38 w 107"/>
                  <a:gd name="T17" fmla="*/ 54 h 84"/>
                  <a:gd name="T18" fmla="*/ 5 w 107"/>
                  <a:gd name="T19" fmla="*/ 63 h 84"/>
                  <a:gd name="T20" fmla="*/ 5 w 107"/>
                  <a:gd name="T21" fmla="*/ 51 h 84"/>
                  <a:gd name="T22" fmla="*/ 8 w 107"/>
                  <a:gd name="T23" fmla="*/ 2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7" h="84">
                    <a:moveTo>
                      <a:pt x="8" y="26"/>
                    </a:moveTo>
                    <a:cubicBezTo>
                      <a:pt x="16" y="22"/>
                      <a:pt x="19" y="19"/>
                      <a:pt x="29" y="17"/>
                    </a:cubicBezTo>
                    <a:cubicBezTo>
                      <a:pt x="35" y="7"/>
                      <a:pt x="34" y="8"/>
                      <a:pt x="47" y="6"/>
                    </a:cubicBezTo>
                    <a:cubicBezTo>
                      <a:pt x="51" y="3"/>
                      <a:pt x="55" y="2"/>
                      <a:pt x="60" y="0"/>
                    </a:cubicBezTo>
                    <a:cubicBezTo>
                      <a:pt x="74" y="2"/>
                      <a:pt x="88" y="0"/>
                      <a:pt x="101" y="8"/>
                    </a:cubicBezTo>
                    <a:cubicBezTo>
                      <a:pt x="107" y="14"/>
                      <a:pt x="94" y="34"/>
                      <a:pt x="92" y="42"/>
                    </a:cubicBezTo>
                    <a:cubicBezTo>
                      <a:pt x="90" y="51"/>
                      <a:pt x="99" y="59"/>
                      <a:pt x="92" y="59"/>
                    </a:cubicBezTo>
                    <a:cubicBezTo>
                      <a:pt x="54" y="58"/>
                      <a:pt x="71" y="57"/>
                      <a:pt x="51" y="45"/>
                    </a:cubicBezTo>
                    <a:cubicBezTo>
                      <a:pt x="35" y="48"/>
                      <a:pt x="47" y="50"/>
                      <a:pt x="38" y="54"/>
                    </a:cubicBezTo>
                    <a:cubicBezTo>
                      <a:pt x="35" y="84"/>
                      <a:pt x="26" y="66"/>
                      <a:pt x="5" y="63"/>
                    </a:cubicBezTo>
                    <a:cubicBezTo>
                      <a:pt x="0" y="55"/>
                      <a:pt x="1" y="60"/>
                      <a:pt x="5" y="51"/>
                    </a:cubicBezTo>
                    <a:cubicBezTo>
                      <a:pt x="7" y="42"/>
                      <a:pt x="6" y="36"/>
                      <a:pt x="8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39" name="Freeform 118">
                <a:extLst>
                  <a:ext uri="{FF2B5EF4-FFF2-40B4-BE49-F238E27FC236}">
                    <a16:creationId xmlns:a16="http://schemas.microsoft.com/office/drawing/2014/main" id="{5010076C-2008-4F92-B2FC-293C347DD443}"/>
                  </a:ext>
                </a:extLst>
              </p:cNvPr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gray">
              <a:xfrm>
                <a:off x="4051301" y="3579813"/>
                <a:ext cx="387350" cy="369888"/>
              </a:xfrm>
              <a:custGeom>
                <a:avLst/>
                <a:gdLst>
                  <a:gd name="T0" fmla="*/ 1 w 240"/>
                  <a:gd name="T1" fmla="*/ 157 h 233"/>
                  <a:gd name="T2" fmla="*/ 82 w 240"/>
                  <a:gd name="T3" fmla="*/ 158 h 233"/>
                  <a:gd name="T4" fmla="*/ 96 w 240"/>
                  <a:gd name="T5" fmla="*/ 145 h 233"/>
                  <a:gd name="T6" fmla="*/ 85 w 240"/>
                  <a:gd name="T7" fmla="*/ 73 h 233"/>
                  <a:gd name="T8" fmla="*/ 73 w 240"/>
                  <a:gd name="T9" fmla="*/ 25 h 233"/>
                  <a:gd name="T10" fmla="*/ 82 w 240"/>
                  <a:gd name="T11" fmla="*/ 10 h 233"/>
                  <a:gd name="T12" fmla="*/ 99 w 240"/>
                  <a:gd name="T13" fmla="*/ 5 h 233"/>
                  <a:gd name="T14" fmla="*/ 120 w 240"/>
                  <a:gd name="T15" fmla="*/ 14 h 233"/>
                  <a:gd name="T16" fmla="*/ 133 w 240"/>
                  <a:gd name="T17" fmla="*/ 26 h 233"/>
                  <a:gd name="T18" fmla="*/ 147 w 240"/>
                  <a:gd name="T19" fmla="*/ 35 h 233"/>
                  <a:gd name="T20" fmla="*/ 165 w 240"/>
                  <a:gd name="T21" fmla="*/ 47 h 233"/>
                  <a:gd name="T22" fmla="*/ 178 w 240"/>
                  <a:gd name="T23" fmla="*/ 56 h 233"/>
                  <a:gd name="T24" fmla="*/ 186 w 240"/>
                  <a:gd name="T25" fmla="*/ 62 h 233"/>
                  <a:gd name="T26" fmla="*/ 201 w 240"/>
                  <a:gd name="T27" fmla="*/ 79 h 233"/>
                  <a:gd name="T28" fmla="*/ 210 w 240"/>
                  <a:gd name="T29" fmla="*/ 86 h 233"/>
                  <a:gd name="T30" fmla="*/ 235 w 240"/>
                  <a:gd name="T31" fmla="*/ 98 h 233"/>
                  <a:gd name="T32" fmla="*/ 237 w 240"/>
                  <a:gd name="T33" fmla="*/ 119 h 233"/>
                  <a:gd name="T34" fmla="*/ 237 w 240"/>
                  <a:gd name="T35" fmla="*/ 142 h 233"/>
                  <a:gd name="T36" fmla="*/ 226 w 240"/>
                  <a:gd name="T37" fmla="*/ 152 h 233"/>
                  <a:gd name="T38" fmla="*/ 202 w 240"/>
                  <a:gd name="T39" fmla="*/ 155 h 233"/>
                  <a:gd name="T40" fmla="*/ 172 w 240"/>
                  <a:gd name="T41" fmla="*/ 160 h 233"/>
                  <a:gd name="T42" fmla="*/ 148 w 240"/>
                  <a:gd name="T43" fmla="*/ 167 h 233"/>
                  <a:gd name="T44" fmla="*/ 127 w 240"/>
                  <a:gd name="T45" fmla="*/ 181 h 233"/>
                  <a:gd name="T46" fmla="*/ 115 w 240"/>
                  <a:gd name="T47" fmla="*/ 185 h 233"/>
                  <a:gd name="T48" fmla="*/ 102 w 240"/>
                  <a:gd name="T49" fmla="*/ 206 h 233"/>
                  <a:gd name="T50" fmla="*/ 93 w 240"/>
                  <a:gd name="T51" fmla="*/ 233 h 233"/>
                  <a:gd name="T52" fmla="*/ 49 w 240"/>
                  <a:gd name="T53" fmla="*/ 230 h 233"/>
                  <a:gd name="T54" fmla="*/ 28 w 240"/>
                  <a:gd name="T55" fmla="*/ 208 h 233"/>
                  <a:gd name="T56" fmla="*/ 6 w 240"/>
                  <a:gd name="T57" fmla="*/ 202 h 233"/>
                  <a:gd name="T58" fmla="*/ 1 w 240"/>
                  <a:gd name="T59" fmla="*/ 157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33">
                    <a:moveTo>
                      <a:pt x="1" y="157"/>
                    </a:moveTo>
                    <a:cubicBezTo>
                      <a:pt x="30" y="160"/>
                      <a:pt x="52" y="159"/>
                      <a:pt x="82" y="158"/>
                    </a:cubicBezTo>
                    <a:cubicBezTo>
                      <a:pt x="90" y="156"/>
                      <a:pt x="92" y="152"/>
                      <a:pt x="96" y="145"/>
                    </a:cubicBezTo>
                    <a:cubicBezTo>
                      <a:pt x="94" y="120"/>
                      <a:pt x="93" y="97"/>
                      <a:pt x="85" y="73"/>
                    </a:cubicBezTo>
                    <a:cubicBezTo>
                      <a:pt x="82" y="58"/>
                      <a:pt x="73" y="35"/>
                      <a:pt x="73" y="25"/>
                    </a:cubicBezTo>
                    <a:cubicBezTo>
                      <a:pt x="73" y="15"/>
                      <a:pt x="78" y="13"/>
                      <a:pt x="82" y="10"/>
                    </a:cubicBezTo>
                    <a:cubicBezTo>
                      <a:pt x="84" y="0"/>
                      <a:pt x="93" y="4"/>
                      <a:pt x="99" y="5"/>
                    </a:cubicBezTo>
                    <a:cubicBezTo>
                      <a:pt x="105" y="6"/>
                      <a:pt x="114" y="11"/>
                      <a:pt x="120" y="14"/>
                    </a:cubicBezTo>
                    <a:cubicBezTo>
                      <a:pt x="121" y="20"/>
                      <a:pt x="127" y="23"/>
                      <a:pt x="133" y="26"/>
                    </a:cubicBezTo>
                    <a:cubicBezTo>
                      <a:pt x="138" y="33"/>
                      <a:pt x="139" y="34"/>
                      <a:pt x="147" y="35"/>
                    </a:cubicBezTo>
                    <a:cubicBezTo>
                      <a:pt x="155" y="38"/>
                      <a:pt x="158" y="43"/>
                      <a:pt x="165" y="47"/>
                    </a:cubicBezTo>
                    <a:cubicBezTo>
                      <a:pt x="169" y="54"/>
                      <a:pt x="172" y="52"/>
                      <a:pt x="178" y="56"/>
                    </a:cubicBezTo>
                    <a:cubicBezTo>
                      <a:pt x="180" y="59"/>
                      <a:pt x="185" y="59"/>
                      <a:pt x="186" y="62"/>
                    </a:cubicBezTo>
                    <a:cubicBezTo>
                      <a:pt x="188" y="66"/>
                      <a:pt x="197" y="75"/>
                      <a:pt x="201" y="79"/>
                    </a:cubicBezTo>
                    <a:cubicBezTo>
                      <a:pt x="205" y="83"/>
                      <a:pt x="204" y="83"/>
                      <a:pt x="210" y="86"/>
                    </a:cubicBezTo>
                    <a:cubicBezTo>
                      <a:pt x="220" y="89"/>
                      <a:pt x="227" y="92"/>
                      <a:pt x="235" y="98"/>
                    </a:cubicBezTo>
                    <a:cubicBezTo>
                      <a:pt x="240" y="104"/>
                      <a:pt x="238" y="110"/>
                      <a:pt x="237" y="119"/>
                    </a:cubicBezTo>
                    <a:cubicBezTo>
                      <a:pt x="237" y="126"/>
                      <a:pt x="239" y="137"/>
                      <a:pt x="237" y="142"/>
                    </a:cubicBezTo>
                    <a:cubicBezTo>
                      <a:pt x="235" y="147"/>
                      <a:pt x="232" y="150"/>
                      <a:pt x="226" y="152"/>
                    </a:cubicBezTo>
                    <a:cubicBezTo>
                      <a:pt x="220" y="162"/>
                      <a:pt x="211" y="154"/>
                      <a:pt x="202" y="155"/>
                    </a:cubicBezTo>
                    <a:cubicBezTo>
                      <a:pt x="193" y="156"/>
                      <a:pt x="181" y="158"/>
                      <a:pt x="172" y="160"/>
                    </a:cubicBezTo>
                    <a:cubicBezTo>
                      <a:pt x="162" y="161"/>
                      <a:pt x="157" y="165"/>
                      <a:pt x="148" y="167"/>
                    </a:cubicBezTo>
                    <a:cubicBezTo>
                      <a:pt x="140" y="171"/>
                      <a:pt x="135" y="179"/>
                      <a:pt x="127" y="181"/>
                    </a:cubicBezTo>
                    <a:cubicBezTo>
                      <a:pt x="122" y="187"/>
                      <a:pt x="123" y="184"/>
                      <a:pt x="115" y="185"/>
                    </a:cubicBezTo>
                    <a:cubicBezTo>
                      <a:pt x="108" y="196"/>
                      <a:pt x="113" y="199"/>
                      <a:pt x="102" y="206"/>
                    </a:cubicBezTo>
                    <a:cubicBezTo>
                      <a:pt x="97" y="213"/>
                      <a:pt x="102" y="229"/>
                      <a:pt x="93" y="233"/>
                    </a:cubicBezTo>
                    <a:cubicBezTo>
                      <a:pt x="81" y="232"/>
                      <a:pt x="61" y="232"/>
                      <a:pt x="49" y="230"/>
                    </a:cubicBezTo>
                    <a:cubicBezTo>
                      <a:pt x="54" y="230"/>
                      <a:pt x="37" y="210"/>
                      <a:pt x="28" y="208"/>
                    </a:cubicBezTo>
                    <a:cubicBezTo>
                      <a:pt x="22" y="205"/>
                      <a:pt x="13" y="203"/>
                      <a:pt x="6" y="202"/>
                    </a:cubicBezTo>
                    <a:cubicBezTo>
                      <a:pt x="0" y="193"/>
                      <a:pt x="2" y="167"/>
                      <a:pt x="1" y="15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0" name="Freeform 119">
                <a:extLst>
                  <a:ext uri="{FF2B5EF4-FFF2-40B4-BE49-F238E27FC236}">
                    <a16:creationId xmlns:a16="http://schemas.microsoft.com/office/drawing/2014/main" id="{32EC6928-C9F3-40EC-970B-9D9D8458CAD1}"/>
                  </a:ext>
                </a:extLst>
              </p:cNvPr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gray">
              <a:xfrm>
                <a:off x="4935538" y="4554538"/>
                <a:ext cx="195263" cy="185738"/>
              </a:xfrm>
              <a:custGeom>
                <a:avLst/>
                <a:gdLst>
                  <a:gd name="T0" fmla="*/ 2 w 121"/>
                  <a:gd name="T1" fmla="*/ 42 h 117"/>
                  <a:gd name="T2" fmla="*/ 34 w 121"/>
                  <a:gd name="T3" fmla="*/ 36 h 117"/>
                  <a:gd name="T4" fmla="*/ 49 w 121"/>
                  <a:gd name="T5" fmla="*/ 20 h 117"/>
                  <a:gd name="T6" fmla="*/ 58 w 121"/>
                  <a:gd name="T7" fmla="*/ 11 h 117"/>
                  <a:gd name="T8" fmla="*/ 77 w 121"/>
                  <a:gd name="T9" fmla="*/ 0 h 117"/>
                  <a:gd name="T10" fmla="*/ 92 w 121"/>
                  <a:gd name="T11" fmla="*/ 12 h 117"/>
                  <a:gd name="T12" fmla="*/ 109 w 121"/>
                  <a:gd name="T13" fmla="*/ 21 h 117"/>
                  <a:gd name="T14" fmla="*/ 110 w 121"/>
                  <a:gd name="T15" fmla="*/ 92 h 117"/>
                  <a:gd name="T16" fmla="*/ 101 w 121"/>
                  <a:gd name="T17" fmla="*/ 108 h 117"/>
                  <a:gd name="T18" fmla="*/ 83 w 121"/>
                  <a:gd name="T19" fmla="*/ 114 h 117"/>
                  <a:gd name="T20" fmla="*/ 44 w 121"/>
                  <a:gd name="T21" fmla="*/ 98 h 117"/>
                  <a:gd name="T22" fmla="*/ 32 w 121"/>
                  <a:gd name="T23" fmla="*/ 89 h 117"/>
                  <a:gd name="T24" fmla="*/ 26 w 121"/>
                  <a:gd name="T25" fmla="*/ 78 h 117"/>
                  <a:gd name="T26" fmla="*/ 14 w 121"/>
                  <a:gd name="T27" fmla="*/ 71 h 117"/>
                  <a:gd name="T28" fmla="*/ 6 w 121"/>
                  <a:gd name="T29" fmla="*/ 59 h 117"/>
                  <a:gd name="T30" fmla="*/ 2 w 121"/>
                  <a:gd name="T31" fmla="*/ 51 h 117"/>
                  <a:gd name="T32" fmla="*/ 2 w 121"/>
                  <a:gd name="T33" fmla="*/ 4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1" h="117">
                    <a:moveTo>
                      <a:pt x="2" y="42"/>
                    </a:moveTo>
                    <a:cubicBezTo>
                      <a:pt x="22" y="41"/>
                      <a:pt x="22" y="43"/>
                      <a:pt x="34" y="36"/>
                    </a:cubicBezTo>
                    <a:cubicBezTo>
                      <a:pt x="27" y="23"/>
                      <a:pt x="39" y="21"/>
                      <a:pt x="49" y="20"/>
                    </a:cubicBezTo>
                    <a:cubicBezTo>
                      <a:pt x="53" y="14"/>
                      <a:pt x="51" y="12"/>
                      <a:pt x="58" y="11"/>
                    </a:cubicBezTo>
                    <a:cubicBezTo>
                      <a:pt x="64" y="8"/>
                      <a:pt x="71" y="3"/>
                      <a:pt x="77" y="0"/>
                    </a:cubicBezTo>
                    <a:cubicBezTo>
                      <a:pt x="88" y="4"/>
                      <a:pt x="80" y="10"/>
                      <a:pt x="92" y="12"/>
                    </a:cubicBezTo>
                    <a:cubicBezTo>
                      <a:pt x="99" y="15"/>
                      <a:pt x="101" y="19"/>
                      <a:pt x="109" y="21"/>
                    </a:cubicBezTo>
                    <a:cubicBezTo>
                      <a:pt x="120" y="40"/>
                      <a:pt x="121" y="71"/>
                      <a:pt x="110" y="92"/>
                    </a:cubicBezTo>
                    <a:cubicBezTo>
                      <a:pt x="109" y="99"/>
                      <a:pt x="108" y="107"/>
                      <a:pt x="101" y="108"/>
                    </a:cubicBezTo>
                    <a:cubicBezTo>
                      <a:pt x="95" y="117"/>
                      <a:pt x="95" y="116"/>
                      <a:pt x="83" y="114"/>
                    </a:cubicBezTo>
                    <a:cubicBezTo>
                      <a:pt x="79" y="111"/>
                      <a:pt x="50" y="99"/>
                      <a:pt x="44" y="98"/>
                    </a:cubicBezTo>
                    <a:cubicBezTo>
                      <a:pt x="39" y="95"/>
                      <a:pt x="35" y="94"/>
                      <a:pt x="32" y="89"/>
                    </a:cubicBezTo>
                    <a:cubicBezTo>
                      <a:pt x="29" y="85"/>
                      <a:pt x="29" y="81"/>
                      <a:pt x="26" y="78"/>
                    </a:cubicBezTo>
                    <a:cubicBezTo>
                      <a:pt x="23" y="75"/>
                      <a:pt x="17" y="74"/>
                      <a:pt x="14" y="71"/>
                    </a:cubicBezTo>
                    <a:cubicBezTo>
                      <a:pt x="9" y="66"/>
                      <a:pt x="8" y="62"/>
                      <a:pt x="6" y="59"/>
                    </a:cubicBezTo>
                    <a:cubicBezTo>
                      <a:pt x="4" y="56"/>
                      <a:pt x="3" y="54"/>
                      <a:pt x="2" y="51"/>
                    </a:cubicBezTo>
                    <a:cubicBezTo>
                      <a:pt x="1" y="44"/>
                      <a:pt x="0" y="47"/>
                      <a:pt x="2" y="4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2" name="Freeform 120">
                <a:extLst>
                  <a:ext uri="{FF2B5EF4-FFF2-40B4-BE49-F238E27FC236}">
                    <a16:creationId xmlns:a16="http://schemas.microsoft.com/office/drawing/2014/main" id="{F3FB7C3B-D523-4EBF-A668-6014905933F3}"/>
                  </a:ext>
                </a:extLst>
              </p:cNvPr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gray">
              <a:xfrm>
                <a:off x="5370513" y="3125788"/>
                <a:ext cx="66675" cy="61913"/>
              </a:xfrm>
              <a:custGeom>
                <a:avLst/>
                <a:gdLst>
                  <a:gd name="T0" fmla="*/ 0 w 42"/>
                  <a:gd name="T1" fmla="*/ 3 h 39"/>
                  <a:gd name="T2" fmla="*/ 23 w 42"/>
                  <a:gd name="T3" fmla="*/ 0 h 39"/>
                  <a:gd name="T4" fmla="*/ 31 w 42"/>
                  <a:gd name="T5" fmla="*/ 16 h 39"/>
                  <a:gd name="T6" fmla="*/ 36 w 42"/>
                  <a:gd name="T7" fmla="*/ 27 h 39"/>
                  <a:gd name="T8" fmla="*/ 42 w 42"/>
                  <a:gd name="T9" fmla="*/ 38 h 39"/>
                  <a:gd name="T10" fmla="*/ 27 w 42"/>
                  <a:gd name="T11" fmla="*/ 33 h 39"/>
                  <a:gd name="T12" fmla="*/ 18 w 42"/>
                  <a:gd name="T13" fmla="*/ 39 h 39"/>
                  <a:gd name="T14" fmla="*/ 2 w 42"/>
                  <a:gd name="T15" fmla="*/ 17 h 39"/>
                  <a:gd name="T16" fmla="*/ 0 w 42"/>
                  <a:gd name="T17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39">
                    <a:moveTo>
                      <a:pt x="0" y="3"/>
                    </a:moveTo>
                    <a:lnTo>
                      <a:pt x="23" y="0"/>
                    </a:lnTo>
                    <a:lnTo>
                      <a:pt x="31" y="16"/>
                    </a:lnTo>
                    <a:lnTo>
                      <a:pt x="36" y="27"/>
                    </a:lnTo>
                    <a:lnTo>
                      <a:pt x="42" y="38"/>
                    </a:lnTo>
                    <a:lnTo>
                      <a:pt x="27" y="33"/>
                    </a:lnTo>
                    <a:lnTo>
                      <a:pt x="18" y="39"/>
                    </a:lnTo>
                    <a:lnTo>
                      <a:pt x="2" y="17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3" name="Freeform 127">
                <a:extLst>
                  <a:ext uri="{FF2B5EF4-FFF2-40B4-BE49-F238E27FC236}">
                    <a16:creationId xmlns:a16="http://schemas.microsoft.com/office/drawing/2014/main" id="{3012F008-5D07-4A77-9190-A226F6E00604}"/>
                  </a:ext>
                </a:extLst>
              </p:cNvPr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gray">
              <a:xfrm>
                <a:off x="3930651" y="3863975"/>
                <a:ext cx="96838" cy="34925"/>
              </a:xfrm>
              <a:custGeom>
                <a:avLst/>
                <a:gdLst>
                  <a:gd name="T0" fmla="*/ 0 w 60"/>
                  <a:gd name="T1" fmla="*/ 9 h 22"/>
                  <a:gd name="T2" fmla="*/ 27 w 60"/>
                  <a:gd name="T3" fmla="*/ 9 h 22"/>
                  <a:gd name="T4" fmla="*/ 39 w 60"/>
                  <a:gd name="T5" fmla="*/ 8 h 22"/>
                  <a:gd name="T6" fmla="*/ 48 w 60"/>
                  <a:gd name="T7" fmla="*/ 0 h 22"/>
                  <a:gd name="T8" fmla="*/ 60 w 60"/>
                  <a:gd name="T9" fmla="*/ 9 h 22"/>
                  <a:gd name="T10" fmla="*/ 49 w 60"/>
                  <a:gd name="T11" fmla="*/ 19 h 22"/>
                  <a:gd name="T12" fmla="*/ 40 w 60"/>
                  <a:gd name="T13" fmla="*/ 16 h 22"/>
                  <a:gd name="T14" fmla="*/ 30 w 60"/>
                  <a:gd name="T15" fmla="*/ 22 h 22"/>
                  <a:gd name="T16" fmla="*/ 3 w 60"/>
                  <a:gd name="T17" fmla="*/ 21 h 22"/>
                  <a:gd name="T18" fmla="*/ 0 w 60"/>
                  <a:gd name="T19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22">
                    <a:moveTo>
                      <a:pt x="0" y="9"/>
                    </a:moveTo>
                    <a:lnTo>
                      <a:pt x="27" y="9"/>
                    </a:lnTo>
                    <a:lnTo>
                      <a:pt x="39" y="8"/>
                    </a:lnTo>
                    <a:lnTo>
                      <a:pt x="48" y="0"/>
                    </a:lnTo>
                    <a:lnTo>
                      <a:pt x="60" y="9"/>
                    </a:lnTo>
                    <a:lnTo>
                      <a:pt x="49" y="19"/>
                    </a:lnTo>
                    <a:lnTo>
                      <a:pt x="40" y="16"/>
                    </a:lnTo>
                    <a:lnTo>
                      <a:pt x="30" y="22"/>
                    </a:lnTo>
                    <a:lnTo>
                      <a:pt x="3" y="2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4" name="Freeform 128">
                <a:extLst>
                  <a:ext uri="{FF2B5EF4-FFF2-40B4-BE49-F238E27FC236}">
                    <a16:creationId xmlns:a16="http://schemas.microsoft.com/office/drawing/2014/main" id="{ACB7F549-8461-4C5E-BCA3-623FED258EE2}"/>
                  </a:ext>
                </a:extLst>
              </p:cNvPr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gray">
              <a:xfrm>
                <a:off x="3932238" y="3892550"/>
                <a:ext cx="77788" cy="46038"/>
              </a:xfrm>
              <a:custGeom>
                <a:avLst/>
                <a:gdLst>
                  <a:gd name="T0" fmla="*/ 0 w 48"/>
                  <a:gd name="T1" fmla="*/ 23 h 29"/>
                  <a:gd name="T2" fmla="*/ 21 w 48"/>
                  <a:gd name="T3" fmla="*/ 29 h 29"/>
                  <a:gd name="T4" fmla="*/ 30 w 48"/>
                  <a:gd name="T5" fmla="*/ 21 h 29"/>
                  <a:gd name="T6" fmla="*/ 48 w 48"/>
                  <a:gd name="T7" fmla="*/ 0 h 29"/>
                  <a:gd name="T8" fmla="*/ 26 w 48"/>
                  <a:gd name="T9" fmla="*/ 3 h 29"/>
                  <a:gd name="T10" fmla="*/ 3 w 48"/>
                  <a:gd name="T11" fmla="*/ 3 h 29"/>
                  <a:gd name="T12" fmla="*/ 2 w 48"/>
                  <a:gd name="T13" fmla="*/ 14 h 29"/>
                  <a:gd name="T14" fmla="*/ 0 w 48"/>
                  <a:gd name="T15" fmla="*/ 2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29">
                    <a:moveTo>
                      <a:pt x="0" y="23"/>
                    </a:moveTo>
                    <a:lnTo>
                      <a:pt x="21" y="29"/>
                    </a:lnTo>
                    <a:lnTo>
                      <a:pt x="30" y="21"/>
                    </a:lnTo>
                    <a:lnTo>
                      <a:pt x="48" y="0"/>
                    </a:lnTo>
                    <a:lnTo>
                      <a:pt x="26" y="3"/>
                    </a:lnTo>
                    <a:lnTo>
                      <a:pt x="3" y="3"/>
                    </a:lnTo>
                    <a:lnTo>
                      <a:pt x="2" y="14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6" name="Freeform 129">
                <a:extLst>
                  <a:ext uri="{FF2B5EF4-FFF2-40B4-BE49-F238E27FC236}">
                    <a16:creationId xmlns:a16="http://schemas.microsoft.com/office/drawing/2014/main" id="{8B3530AE-D75B-4A9B-BFD3-DFF9B62D21C1}"/>
                  </a:ext>
                </a:extLst>
              </p:cNvPr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gray">
              <a:xfrm>
                <a:off x="3925888" y="3795713"/>
                <a:ext cx="127000" cy="109538"/>
              </a:xfrm>
              <a:custGeom>
                <a:avLst/>
                <a:gdLst>
                  <a:gd name="T0" fmla="*/ 10 w 79"/>
                  <a:gd name="T1" fmla="*/ 4 h 69"/>
                  <a:gd name="T2" fmla="*/ 27 w 79"/>
                  <a:gd name="T3" fmla="*/ 0 h 69"/>
                  <a:gd name="T4" fmla="*/ 55 w 79"/>
                  <a:gd name="T5" fmla="*/ 10 h 69"/>
                  <a:gd name="T6" fmla="*/ 63 w 79"/>
                  <a:gd name="T7" fmla="*/ 21 h 69"/>
                  <a:gd name="T8" fmla="*/ 79 w 79"/>
                  <a:gd name="T9" fmla="*/ 22 h 69"/>
                  <a:gd name="T10" fmla="*/ 79 w 79"/>
                  <a:gd name="T11" fmla="*/ 51 h 69"/>
                  <a:gd name="T12" fmla="*/ 79 w 79"/>
                  <a:gd name="T13" fmla="*/ 69 h 69"/>
                  <a:gd name="T14" fmla="*/ 66 w 79"/>
                  <a:gd name="T15" fmla="*/ 64 h 69"/>
                  <a:gd name="T16" fmla="*/ 57 w 79"/>
                  <a:gd name="T17" fmla="*/ 58 h 69"/>
                  <a:gd name="T18" fmla="*/ 4 w 79"/>
                  <a:gd name="T19" fmla="*/ 67 h 69"/>
                  <a:gd name="T20" fmla="*/ 22 w 79"/>
                  <a:gd name="T21" fmla="*/ 63 h 69"/>
                  <a:gd name="T22" fmla="*/ 46 w 79"/>
                  <a:gd name="T23" fmla="*/ 61 h 69"/>
                  <a:gd name="T24" fmla="*/ 60 w 79"/>
                  <a:gd name="T25" fmla="*/ 54 h 69"/>
                  <a:gd name="T26" fmla="*/ 51 w 79"/>
                  <a:gd name="T27" fmla="*/ 43 h 69"/>
                  <a:gd name="T28" fmla="*/ 42 w 79"/>
                  <a:gd name="T29" fmla="*/ 52 h 69"/>
                  <a:gd name="T30" fmla="*/ 1 w 79"/>
                  <a:gd name="T31" fmla="*/ 54 h 69"/>
                  <a:gd name="T32" fmla="*/ 0 w 79"/>
                  <a:gd name="T33" fmla="*/ 28 h 69"/>
                  <a:gd name="T34" fmla="*/ 6 w 79"/>
                  <a:gd name="T35" fmla="*/ 16 h 69"/>
                  <a:gd name="T36" fmla="*/ 10 w 79"/>
                  <a:gd name="T37" fmla="*/ 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9" h="69">
                    <a:moveTo>
                      <a:pt x="10" y="4"/>
                    </a:moveTo>
                    <a:lnTo>
                      <a:pt x="27" y="0"/>
                    </a:lnTo>
                    <a:lnTo>
                      <a:pt x="55" y="10"/>
                    </a:lnTo>
                    <a:lnTo>
                      <a:pt x="63" y="21"/>
                    </a:lnTo>
                    <a:lnTo>
                      <a:pt x="79" y="22"/>
                    </a:lnTo>
                    <a:lnTo>
                      <a:pt x="79" y="51"/>
                    </a:lnTo>
                    <a:lnTo>
                      <a:pt x="79" y="69"/>
                    </a:lnTo>
                    <a:lnTo>
                      <a:pt x="66" y="64"/>
                    </a:lnTo>
                    <a:lnTo>
                      <a:pt x="57" y="58"/>
                    </a:lnTo>
                    <a:lnTo>
                      <a:pt x="4" y="67"/>
                    </a:lnTo>
                    <a:lnTo>
                      <a:pt x="22" y="63"/>
                    </a:lnTo>
                    <a:lnTo>
                      <a:pt x="46" y="61"/>
                    </a:lnTo>
                    <a:lnTo>
                      <a:pt x="60" y="54"/>
                    </a:lnTo>
                    <a:lnTo>
                      <a:pt x="51" y="43"/>
                    </a:lnTo>
                    <a:lnTo>
                      <a:pt x="42" y="52"/>
                    </a:lnTo>
                    <a:lnTo>
                      <a:pt x="1" y="54"/>
                    </a:lnTo>
                    <a:lnTo>
                      <a:pt x="0" y="28"/>
                    </a:lnTo>
                    <a:lnTo>
                      <a:pt x="6" y="16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7" name="Freeform 130">
                <a:extLst>
                  <a:ext uri="{FF2B5EF4-FFF2-40B4-BE49-F238E27FC236}">
                    <a16:creationId xmlns:a16="http://schemas.microsoft.com/office/drawing/2014/main" id="{D1DCDED9-F5D3-4156-A51C-78F6E1F61767}"/>
                  </a:ext>
                </a:extLst>
              </p:cNvPr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gray">
              <a:xfrm>
                <a:off x="5331622" y="3894932"/>
                <a:ext cx="47625" cy="50800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8" name="Freeform 131">
                <a:extLst>
                  <a:ext uri="{FF2B5EF4-FFF2-40B4-BE49-F238E27FC236}">
                    <a16:creationId xmlns:a16="http://schemas.microsoft.com/office/drawing/2014/main" id="{595747D9-2FFE-486D-86CD-BE4DD7606A90}"/>
                  </a:ext>
                </a:extLst>
              </p:cNvPr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gray">
              <a:xfrm>
                <a:off x="5416551" y="3433763"/>
                <a:ext cx="49213" cy="50800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49" name="Freeform 132">
                <a:extLst>
                  <a:ext uri="{FF2B5EF4-FFF2-40B4-BE49-F238E27FC236}">
                    <a16:creationId xmlns:a16="http://schemas.microsoft.com/office/drawing/2014/main" id="{E5D8C26F-6AFC-4B4C-A774-E9A75192254F}"/>
                  </a:ext>
                </a:extLst>
              </p:cNvPr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gray">
              <a:xfrm>
                <a:off x="6011863" y="3071813"/>
                <a:ext cx="203200" cy="114300"/>
              </a:xfrm>
              <a:custGeom>
                <a:avLst/>
                <a:gdLst>
                  <a:gd name="T0" fmla="*/ 10 w 126"/>
                  <a:gd name="T1" fmla="*/ 15 h 72"/>
                  <a:gd name="T2" fmla="*/ 22 w 126"/>
                  <a:gd name="T3" fmla="*/ 7 h 72"/>
                  <a:gd name="T4" fmla="*/ 40 w 126"/>
                  <a:gd name="T5" fmla="*/ 15 h 72"/>
                  <a:gd name="T6" fmla="*/ 48 w 126"/>
                  <a:gd name="T7" fmla="*/ 7 h 72"/>
                  <a:gd name="T8" fmla="*/ 58 w 126"/>
                  <a:gd name="T9" fmla="*/ 0 h 72"/>
                  <a:gd name="T10" fmla="*/ 84 w 126"/>
                  <a:gd name="T11" fmla="*/ 9 h 72"/>
                  <a:gd name="T12" fmla="*/ 108 w 126"/>
                  <a:gd name="T13" fmla="*/ 6 h 72"/>
                  <a:gd name="T14" fmla="*/ 124 w 126"/>
                  <a:gd name="T15" fmla="*/ 9 h 72"/>
                  <a:gd name="T16" fmla="*/ 126 w 126"/>
                  <a:gd name="T17" fmla="*/ 19 h 72"/>
                  <a:gd name="T18" fmla="*/ 108 w 126"/>
                  <a:gd name="T19" fmla="*/ 39 h 72"/>
                  <a:gd name="T20" fmla="*/ 85 w 126"/>
                  <a:gd name="T21" fmla="*/ 52 h 72"/>
                  <a:gd name="T22" fmla="*/ 73 w 126"/>
                  <a:gd name="T23" fmla="*/ 55 h 72"/>
                  <a:gd name="T24" fmla="*/ 52 w 126"/>
                  <a:gd name="T25" fmla="*/ 60 h 72"/>
                  <a:gd name="T26" fmla="*/ 51 w 126"/>
                  <a:gd name="T27" fmla="*/ 72 h 72"/>
                  <a:gd name="T28" fmla="*/ 9 w 126"/>
                  <a:gd name="T29" fmla="*/ 70 h 72"/>
                  <a:gd name="T30" fmla="*/ 0 w 126"/>
                  <a:gd name="T31" fmla="*/ 51 h 72"/>
                  <a:gd name="T32" fmla="*/ 25 w 126"/>
                  <a:gd name="T33" fmla="*/ 51 h 72"/>
                  <a:gd name="T34" fmla="*/ 34 w 126"/>
                  <a:gd name="T35" fmla="*/ 36 h 72"/>
                  <a:gd name="T36" fmla="*/ 28 w 126"/>
                  <a:gd name="T37" fmla="*/ 28 h 72"/>
                  <a:gd name="T38" fmla="*/ 22 w 126"/>
                  <a:gd name="T39" fmla="*/ 2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72">
                    <a:moveTo>
                      <a:pt x="10" y="15"/>
                    </a:moveTo>
                    <a:lnTo>
                      <a:pt x="22" y="7"/>
                    </a:lnTo>
                    <a:lnTo>
                      <a:pt x="40" y="15"/>
                    </a:lnTo>
                    <a:lnTo>
                      <a:pt x="48" y="7"/>
                    </a:lnTo>
                    <a:lnTo>
                      <a:pt x="58" y="0"/>
                    </a:lnTo>
                    <a:lnTo>
                      <a:pt x="84" y="9"/>
                    </a:lnTo>
                    <a:lnTo>
                      <a:pt x="108" y="6"/>
                    </a:lnTo>
                    <a:lnTo>
                      <a:pt x="124" y="9"/>
                    </a:lnTo>
                    <a:lnTo>
                      <a:pt x="126" y="19"/>
                    </a:lnTo>
                    <a:lnTo>
                      <a:pt x="108" y="39"/>
                    </a:lnTo>
                    <a:lnTo>
                      <a:pt x="85" y="52"/>
                    </a:lnTo>
                    <a:lnTo>
                      <a:pt x="73" y="55"/>
                    </a:lnTo>
                    <a:lnTo>
                      <a:pt x="52" y="60"/>
                    </a:lnTo>
                    <a:lnTo>
                      <a:pt x="51" y="72"/>
                    </a:lnTo>
                    <a:lnTo>
                      <a:pt x="9" y="70"/>
                    </a:lnTo>
                    <a:lnTo>
                      <a:pt x="0" y="51"/>
                    </a:lnTo>
                    <a:lnTo>
                      <a:pt x="25" y="51"/>
                    </a:lnTo>
                    <a:lnTo>
                      <a:pt x="34" y="36"/>
                    </a:lnTo>
                    <a:lnTo>
                      <a:pt x="28" y="28"/>
                    </a:lnTo>
                    <a:lnTo>
                      <a:pt x="22" y="25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0" name="Freeform 133">
                <a:extLst>
                  <a:ext uri="{FF2B5EF4-FFF2-40B4-BE49-F238E27FC236}">
                    <a16:creationId xmlns:a16="http://schemas.microsoft.com/office/drawing/2014/main" id="{EDA5ABF9-E22A-4758-AA9B-15DDE8A23E2F}"/>
                  </a:ext>
                </a:extLst>
              </p:cNvPr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gray">
              <a:xfrm>
                <a:off x="6248401" y="3446463"/>
                <a:ext cx="206375" cy="109538"/>
              </a:xfrm>
              <a:custGeom>
                <a:avLst/>
                <a:gdLst>
                  <a:gd name="T0" fmla="*/ 17 w 127"/>
                  <a:gd name="T1" fmla="*/ 1 h 69"/>
                  <a:gd name="T2" fmla="*/ 8 w 127"/>
                  <a:gd name="T3" fmla="*/ 16 h 69"/>
                  <a:gd name="T4" fmla="*/ 2 w 127"/>
                  <a:gd name="T5" fmla="*/ 25 h 69"/>
                  <a:gd name="T6" fmla="*/ 20 w 127"/>
                  <a:gd name="T7" fmla="*/ 29 h 69"/>
                  <a:gd name="T8" fmla="*/ 29 w 127"/>
                  <a:gd name="T9" fmla="*/ 38 h 69"/>
                  <a:gd name="T10" fmla="*/ 42 w 127"/>
                  <a:gd name="T11" fmla="*/ 41 h 69"/>
                  <a:gd name="T12" fmla="*/ 64 w 127"/>
                  <a:gd name="T13" fmla="*/ 53 h 69"/>
                  <a:gd name="T14" fmla="*/ 80 w 127"/>
                  <a:gd name="T15" fmla="*/ 61 h 69"/>
                  <a:gd name="T16" fmla="*/ 92 w 127"/>
                  <a:gd name="T17" fmla="*/ 59 h 69"/>
                  <a:gd name="T18" fmla="*/ 117 w 127"/>
                  <a:gd name="T19" fmla="*/ 67 h 69"/>
                  <a:gd name="T20" fmla="*/ 123 w 127"/>
                  <a:gd name="T21" fmla="*/ 47 h 69"/>
                  <a:gd name="T22" fmla="*/ 125 w 127"/>
                  <a:gd name="T23" fmla="*/ 37 h 69"/>
                  <a:gd name="T24" fmla="*/ 111 w 127"/>
                  <a:gd name="T25" fmla="*/ 37 h 69"/>
                  <a:gd name="T26" fmla="*/ 93 w 127"/>
                  <a:gd name="T27" fmla="*/ 29 h 69"/>
                  <a:gd name="T28" fmla="*/ 71 w 127"/>
                  <a:gd name="T29" fmla="*/ 19 h 69"/>
                  <a:gd name="T30" fmla="*/ 54 w 127"/>
                  <a:gd name="T31" fmla="*/ 11 h 69"/>
                  <a:gd name="T32" fmla="*/ 33 w 127"/>
                  <a:gd name="T33" fmla="*/ 2 h 69"/>
                  <a:gd name="T34" fmla="*/ 17 w 127"/>
                  <a:gd name="T35" fmla="*/ 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7" h="69">
                    <a:moveTo>
                      <a:pt x="17" y="1"/>
                    </a:moveTo>
                    <a:cubicBezTo>
                      <a:pt x="12" y="4"/>
                      <a:pt x="10" y="12"/>
                      <a:pt x="8" y="16"/>
                    </a:cubicBezTo>
                    <a:cubicBezTo>
                      <a:pt x="6" y="20"/>
                      <a:pt x="0" y="23"/>
                      <a:pt x="2" y="25"/>
                    </a:cubicBezTo>
                    <a:cubicBezTo>
                      <a:pt x="4" y="27"/>
                      <a:pt x="16" y="27"/>
                      <a:pt x="20" y="29"/>
                    </a:cubicBezTo>
                    <a:cubicBezTo>
                      <a:pt x="24" y="31"/>
                      <a:pt x="25" y="36"/>
                      <a:pt x="29" y="38"/>
                    </a:cubicBezTo>
                    <a:cubicBezTo>
                      <a:pt x="33" y="40"/>
                      <a:pt x="36" y="39"/>
                      <a:pt x="42" y="41"/>
                    </a:cubicBezTo>
                    <a:cubicBezTo>
                      <a:pt x="48" y="43"/>
                      <a:pt x="58" y="50"/>
                      <a:pt x="64" y="53"/>
                    </a:cubicBezTo>
                    <a:cubicBezTo>
                      <a:pt x="70" y="56"/>
                      <a:pt x="75" y="60"/>
                      <a:pt x="80" y="61"/>
                    </a:cubicBezTo>
                    <a:cubicBezTo>
                      <a:pt x="85" y="62"/>
                      <a:pt x="86" y="58"/>
                      <a:pt x="92" y="59"/>
                    </a:cubicBezTo>
                    <a:cubicBezTo>
                      <a:pt x="98" y="60"/>
                      <a:pt x="112" y="69"/>
                      <a:pt x="117" y="67"/>
                    </a:cubicBezTo>
                    <a:cubicBezTo>
                      <a:pt x="122" y="65"/>
                      <a:pt x="122" y="52"/>
                      <a:pt x="123" y="47"/>
                    </a:cubicBezTo>
                    <a:cubicBezTo>
                      <a:pt x="124" y="42"/>
                      <a:pt x="127" y="39"/>
                      <a:pt x="125" y="37"/>
                    </a:cubicBezTo>
                    <a:cubicBezTo>
                      <a:pt x="123" y="35"/>
                      <a:pt x="116" y="38"/>
                      <a:pt x="111" y="37"/>
                    </a:cubicBezTo>
                    <a:cubicBezTo>
                      <a:pt x="106" y="36"/>
                      <a:pt x="100" y="32"/>
                      <a:pt x="93" y="29"/>
                    </a:cubicBezTo>
                    <a:cubicBezTo>
                      <a:pt x="86" y="26"/>
                      <a:pt x="77" y="22"/>
                      <a:pt x="71" y="19"/>
                    </a:cubicBezTo>
                    <a:cubicBezTo>
                      <a:pt x="65" y="16"/>
                      <a:pt x="60" y="14"/>
                      <a:pt x="54" y="11"/>
                    </a:cubicBezTo>
                    <a:cubicBezTo>
                      <a:pt x="48" y="8"/>
                      <a:pt x="39" y="4"/>
                      <a:pt x="33" y="2"/>
                    </a:cubicBezTo>
                    <a:cubicBezTo>
                      <a:pt x="27" y="0"/>
                      <a:pt x="20" y="1"/>
                      <a:pt x="17" y="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2" name="Freeform 134">
                <a:extLst>
                  <a:ext uri="{FF2B5EF4-FFF2-40B4-BE49-F238E27FC236}">
                    <a16:creationId xmlns:a16="http://schemas.microsoft.com/office/drawing/2014/main" id="{D1D8E826-8C40-40CE-8172-4EAF4C93B658}"/>
                  </a:ext>
                </a:extLst>
              </p:cNvPr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gray">
              <a:xfrm>
                <a:off x="6088063" y="2697163"/>
                <a:ext cx="1493838" cy="1057275"/>
              </a:xfrm>
              <a:custGeom>
                <a:avLst/>
                <a:gdLst>
                  <a:gd name="T0" fmla="*/ 637 w 926"/>
                  <a:gd name="T1" fmla="*/ 140 h 666"/>
                  <a:gd name="T2" fmla="*/ 682 w 926"/>
                  <a:gd name="T3" fmla="*/ 137 h 666"/>
                  <a:gd name="T4" fmla="*/ 642 w 926"/>
                  <a:gd name="T5" fmla="*/ 170 h 666"/>
                  <a:gd name="T6" fmla="*/ 603 w 926"/>
                  <a:gd name="T7" fmla="*/ 201 h 666"/>
                  <a:gd name="T8" fmla="*/ 571 w 926"/>
                  <a:gd name="T9" fmla="*/ 213 h 666"/>
                  <a:gd name="T10" fmla="*/ 531 w 926"/>
                  <a:gd name="T11" fmla="*/ 243 h 666"/>
                  <a:gd name="T12" fmla="*/ 474 w 926"/>
                  <a:gd name="T13" fmla="*/ 264 h 666"/>
                  <a:gd name="T14" fmla="*/ 418 w 926"/>
                  <a:gd name="T15" fmla="*/ 243 h 666"/>
                  <a:gd name="T16" fmla="*/ 331 w 926"/>
                  <a:gd name="T17" fmla="*/ 219 h 666"/>
                  <a:gd name="T18" fmla="*/ 294 w 926"/>
                  <a:gd name="T19" fmla="*/ 197 h 666"/>
                  <a:gd name="T20" fmla="*/ 268 w 926"/>
                  <a:gd name="T21" fmla="*/ 155 h 666"/>
                  <a:gd name="T22" fmla="*/ 232 w 926"/>
                  <a:gd name="T23" fmla="*/ 117 h 666"/>
                  <a:gd name="T24" fmla="*/ 195 w 926"/>
                  <a:gd name="T25" fmla="*/ 156 h 666"/>
                  <a:gd name="T26" fmla="*/ 141 w 926"/>
                  <a:gd name="T27" fmla="*/ 179 h 666"/>
                  <a:gd name="T28" fmla="*/ 111 w 926"/>
                  <a:gd name="T29" fmla="*/ 194 h 666"/>
                  <a:gd name="T30" fmla="*/ 120 w 926"/>
                  <a:gd name="T31" fmla="*/ 249 h 666"/>
                  <a:gd name="T32" fmla="*/ 70 w 926"/>
                  <a:gd name="T33" fmla="*/ 272 h 666"/>
                  <a:gd name="T34" fmla="*/ 25 w 926"/>
                  <a:gd name="T35" fmla="*/ 287 h 666"/>
                  <a:gd name="T36" fmla="*/ 16 w 926"/>
                  <a:gd name="T37" fmla="*/ 327 h 666"/>
                  <a:gd name="T38" fmla="*/ 64 w 926"/>
                  <a:gd name="T39" fmla="*/ 374 h 666"/>
                  <a:gd name="T40" fmla="*/ 103 w 926"/>
                  <a:gd name="T41" fmla="*/ 396 h 666"/>
                  <a:gd name="T42" fmla="*/ 87 w 926"/>
                  <a:gd name="T43" fmla="*/ 437 h 666"/>
                  <a:gd name="T44" fmla="*/ 129 w 926"/>
                  <a:gd name="T45" fmla="*/ 474 h 666"/>
                  <a:gd name="T46" fmla="*/ 227 w 926"/>
                  <a:gd name="T47" fmla="*/ 503 h 666"/>
                  <a:gd name="T48" fmla="*/ 298 w 926"/>
                  <a:gd name="T49" fmla="*/ 498 h 666"/>
                  <a:gd name="T50" fmla="*/ 367 w 926"/>
                  <a:gd name="T51" fmla="*/ 498 h 666"/>
                  <a:gd name="T52" fmla="*/ 369 w 926"/>
                  <a:gd name="T53" fmla="*/ 578 h 666"/>
                  <a:gd name="T54" fmla="*/ 405 w 926"/>
                  <a:gd name="T55" fmla="*/ 615 h 666"/>
                  <a:gd name="T56" fmla="*/ 459 w 926"/>
                  <a:gd name="T57" fmla="*/ 600 h 666"/>
                  <a:gd name="T58" fmla="*/ 514 w 926"/>
                  <a:gd name="T59" fmla="*/ 618 h 666"/>
                  <a:gd name="T60" fmla="*/ 532 w 926"/>
                  <a:gd name="T61" fmla="*/ 665 h 666"/>
                  <a:gd name="T62" fmla="*/ 568 w 926"/>
                  <a:gd name="T63" fmla="*/ 624 h 666"/>
                  <a:gd name="T64" fmla="*/ 607 w 926"/>
                  <a:gd name="T65" fmla="*/ 606 h 666"/>
                  <a:gd name="T66" fmla="*/ 696 w 926"/>
                  <a:gd name="T67" fmla="*/ 537 h 666"/>
                  <a:gd name="T68" fmla="*/ 724 w 926"/>
                  <a:gd name="T69" fmla="*/ 456 h 666"/>
                  <a:gd name="T70" fmla="*/ 690 w 926"/>
                  <a:gd name="T71" fmla="*/ 392 h 666"/>
                  <a:gd name="T72" fmla="*/ 700 w 926"/>
                  <a:gd name="T73" fmla="*/ 347 h 666"/>
                  <a:gd name="T74" fmla="*/ 660 w 926"/>
                  <a:gd name="T75" fmla="*/ 314 h 666"/>
                  <a:gd name="T76" fmla="*/ 729 w 926"/>
                  <a:gd name="T77" fmla="*/ 279 h 666"/>
                  <a:gd name="T78" fmla="*/ 747 w 926"/>
                  <a:gd name="T79" fmla="*/ 296 h 666"/>
                  <a:gd name="T80" fmla="*/ 795 w 926"/>
                  <a:gd name="T81" fmla="*/ 264 h 666"/>
                  <a:gd name="T82" fmla="*/ 841 w 926"/>
                  <a:gd name="T83" fmla="*/ 236 h 666"/>
                  <a:gd name="T84" fmla="*/ 868 w 926"/>
                  <a:gd name="T85" fmla="*/ 197 h 666"/>
                  <a:gd name="T86" fmla="*/ 915 w 926"/>
                  <a:gd name="T87" fmla="*/ 153 h 666"/>
                  <a:gd name="T88" fmla="*/ 858 w 926"/>
                  <a:gd name="T89" fmla="*/ 128 h 666"/>
                  <a:gd name="T90" fmla="*/ 807 w 926"/>
                  <a:gd name="T91" fmla="*/ 59 h 666"/>
                  <a:gd name="T92" fmla="*/ 700 w 926"/>
                  <a:gd name="T93" fmla="*/ 14 h 666"/>
                  <a:gd name="T94" fmla="*/ 691 w 926"/>
                  <a:gd name="T95" fmla="*/ 87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26" h="666">
                    <a:moveTo>
                      <a:pt x="640" y="99"/>
                    </a:moveTo>
                    <a:cubicBezTo>
                      <a:pt x="637" y="101"/>
                      <a:pt x="635" y="112"/>
                      <a:pt x="634" y="116"/>
                    </a:cubicBezTo>
                    <a:cubicBezTo>
                      <a:pt x="633" y="120"/>
                      <a:pt x="636" y="122"/>
                      <a:pt x="636" y="126"/>
                    </a:cubicBezTo>
                    <a:cubicBezTo>
                      <a:pt x="636" y="130"/>
                      <a:pt x="636" y="139"/>
                      <a:pt x="637" y="140"/>
                    </a:cubicBezTo>
                    <a:cubicBezTo>
                      <a:pt x="638" y="141"/>
                      <a:pt x="641" y="132"/>
                      <a:pt x="645" y="132"/>
                    </a:cubicBezTo>
                    <a:cubicBezTo>
                      <a:pt x="649" y="132"/>
                      <a:pt x="657" y="142"/>
                      <a:pt x="661" y="141"/>
                    </a:cubicBezTo>
                    <a:cubicBezTo>
                      <a:pt x="665" y="140"/>
                      <a:pt x="667" y="129"/>
                      <a:pt x="670" y="128"/>
                    </a:cubicBezTo>
                    <a:cubicBezTo>
                      <a:pt x="673" y="127"/>
                      <a:pt x="679" y="132"/>
                      <a:pt x="682" y="137"/>
                    </a:cubicBezTo>
                    <a:cubicBezTo>
                      <a:pt x="685" y="142"/>
                      <a:pt x="694" y="154"/>
                      <a:pt x="691" y="158"/>
                    </a:cubicBezTo>
                    <a:cubicBezTo>
                      <a:pt x="688" y="162"/>
                      <a:pt x="672" y="160"/>
                      <a:pt x="666" y="161"/>
                    </a:cubicBezTo>
                    <a:cubicBezTo>
                      <a:pt x="660" y="162"/>
                      <a:pt x="658" y="163"/>
                      <a:pt x="654" y="164"/>
                    </a:cubicBezTo>
                    <a:cubicBezTo>
                      <a:pt x="650" y="165"/>
                      <a:pt x="645" y="167"/>
                      <a:pt x="642" y="170"/>
                    </a:cubicBezTo>
                    <a:cubicBezTo>
                      <a:pt x="639" y="173"/>
                      <a:pt x="638" y="182"/>
                      <a:pt x="634" y="185"/>
                    </a:cubicBezTo>
                    <a:cubicBezTo>
                      <a:pt x="630" y="188"/>
                      <a:pt x="624" y="185"/>
                      <a:pt x="621" y="186"/>
                    </a:cubicBezTo>
                    <a:cubicBezTo>
                      <a:pt x="618" y="187"/>
                      <a:pt x="616" y="192"/>
                      <a:pt x="613" y="194"/>
                    </a:cubicBezTo>
                    <a:cubicBezTo>
                      <a:pt x="610" y="196"/>
                      <a:pt x="607" y="201"/>
                      <a:pt x="603" y="201"/>
                    </a:cubicBezTo>
                    <a:cubicBezTo>
                      <a:pt x="599" y="201"/>
                      <a:pt x="593" y="196"/>
                      <a:pt x="589" y="195"/>
                    </a:cubicBezTo>
                    <a:cubicBezTo>
                      <a:pt x="585" y="194"/>
                      <a:pt x="579" y="191"/>
                      <a:pt x="576" y="192"/>
                    </a:cubicBezTo>
                    <a:cubicBezTo>
                      <a:pt x="573" y="193"/>
                      <a:pt x="571" y="197"/>
                      <a:pt x="570" y="200"/>
                    </a:cubicBezTo>
                    <a:cubicBezTo>
                      <a:pt x="569" y="203"/>
                      <a:pt x="571" y="208"/>
                      <a:pt x="571" y="213"/>
                    </a:cubicBezTo>
                    <a:cubicBezTo>
                      <a:pt x="571" y="218"/>
                      <a:pt x="570" y="224"/>
                      <a:pt x="568" y="228"/>
                    </a:cubicBezTo>
                    <a:cubicBezTo>
                      <a:pt x="566" y="232"/>
                      <a:pt x="563" y="233"/>
                      <a:pt x="559" y="236"/>
                    </a:cubicBezTo>
                    <a:cubicBezTo>
                      <a:pt x="555" y="239"/>
                      <a:pt x="549" y="245"/>
                      <a:pt x="544" y="246"/>
                    </a:cubicBezTo>
                    <a:cubicBezTo>
                      <a:pt x="539" y="247"/>
                      <a:pt x="536" y="242"/>
                      <a:pt x="531" y="243"/>
                    </a:cubicBezTo>
                    <a:cubicBezTo>
                      <a:pt x="526" y="244"/>
                      <a:pt x="521" y="248"/>
                      <a:pt x="516" y="249"/>
                    </a:cubicBezTo>
                    <a:cubicBezTo>
                      <a:pt x="511" y="250"/>
                      <a:pt x="503" y="248"/>
                      <a:pt x="498" y="249"/>
                    </a:cubicBezTo>
                    <a:cubicBezTo>
                      <a:pt x="493" y="250"/>
                      <a:pt x="490" y="252"/>
                      <a:pt x="486" y="255"/>
                    </a:cubicBezTo>
                    <a:cubicBezTo>
                      <a:pt x="482" y="258"/>
                      <a:pt x="479" y="263"/>
                      <a:pt x="474" y="264"/>
                    </a:cubicBezTo>
                    <a:cubicBezTo>
                      <a:pt x="469" y="265"/>
                      <a:pt x="462" y="262"/>
                      <a:pt x="457" y="261"/>
                    </a:cubicBezTo>
                    <a:cubicBezTo>
                      <a:pt x="452" y="260"/>
                      <a:pt x="448" y="257"/>
                      <a:pt x="444" y="255"/>
                    </a:cubicBezTo>
                    <a:cubicBezTo>
                      <a:pt x="440" y="253"/>
                      <a:pt x="439" y="248"/>
                      <a:pt x="435" y="246"/>
                    </a:cubicBezTo>
                    <a:cubicBezTo>
                      <a:pt x="431" y="244"/>
                      <a:pt x="424" y="243"/>
                      <a:pt x="418" y="243"/>
                    </a:cubicBezTo>
                    <a:cubicBezTo>
                      <a:pt x="412" y="243"/>
                      <a:pt x="409" y="243"/>
                      <a:pt x="400" y="243"/>
                    </a:cubicBezTo>
                    <a:cubicBezTo>
                      <a:pt x="391" y="243"/>
                      <a:pt x="372" y="244"/>
                      <a:pt x="364" y="243"/>
                    </a:cubicBezTo>
                    <a:cubicBezTo>
                      <a:pt x="356" y="242"/>
                      <a:pt x="357" y="243"/>
                      <a:pt x="352" y="239"/>
                    </a:cubicBezTo>
                    <a:cubicBezTo>
                      <a:pt x="347" y="235"/>
                      <a:pt x="334" y="224"/>
                      <a:pt x="331" y="219"/>
                    </a:cubicBezTo>
                    <a:cubicBezTo>
                      <a:pt x="328" y="214"/>
                      <a:pt x="336" y="208"/>
                      <a:pt x="334" y="206"/>
                    </a:cubicBezTo>
                    <a:cubicBezTo>
                      <a:pt x="332" y="204"/>
                      <a:pt x="324" y="208"/>
                      <a:pt x="321" y="206"/>
                    </a:cubicBezTo>
                    <a:cubicBezTo>
                      <a:pt x="318" y="204"/>
                      <a:pt x="316" y="196"/>
                      <a:pt x="312" y="195"/>
                    </a:cubicBezTo>
                    <a:cubicBezTo>
                      <a:pt x="308" y="194"/>
                      <a:pt x="299" y="198"/>
                      <a:pt x="294" y="197"/>
                    </a:cubicBezTo>
                    <a:cubicBezTo>
                      <a:pt x="289" y="196"/>
                      <a:pt x="286" y="192"/>
                      <a:pt x="282" y="191"/>
                    </a:cubicBezTo>
                    <a:cubicBezTo>
                      <a:pt x="278" y="190"/>
                      <a:pt x="272" y="194"/>
                      <a:pt x="270" y="191"/>
                    </a:cubicBezTo>
                    <a:cubicBezTo>
                      <a:pt x="268" y="188"/>
                      <a:pt x="267" y="179"/>
                      <a:pt x="267" y="173"/>
                    </a:cubicBezTo>
                    <a:cubicBezTo>
                      <a:pt x="267" y="167"/>
                      <a:pt x="269" y="160"/>
                      <a:pt x="268" y="155"/>
                    </a:cubicBezTo>
                    <a:cubicBezTo>
                      <a:pt x="267" y="150"/>
                      <a:pt x="264" y="147"/>
                      <a:pt x="261" y="143"/>
                    </a:cubicBezTo>
                    <a:cubicBezTo>
                      <a:pt x="258" y="139"/>
                      <a:pt x="256" y="131"/>
                      <a:pt x="252" y="129"/>
                    </a:cubicBezTo>
                    <a:cubicBezTo>
                      <a:pt x="248" y="127"/>
                      <a:pt x="241" y="131"/>
                      <a:pt x="238" y="129"/>
                    </a:cubicBezTo>
                    <a:cubicBezTo>
                      <a:pt x="235" y="127"/>
                      <a:pt x="234" y="120"/>
                      <a:pt x="232" y="117"/>
                    </a:cubicBezTo>
                    <a:cubicBezTo>
                      <a:pt x="230" y="114"/>
                      <a:pt x="227" y="108"/>
                      <a:pt x="223" y="108"/>
                    </a:cubicBezTo>
                    <a:cubicBezTo>
                      <a:pt x="219" y="108"/>
                      <a:pt x="215" y="117"/>
                      <a:pt x="210" y="120"/>
                    </a:cubicBezTo>
                    <a:cubicBezTo>
                      <a:pt x="205" y="123"/>
                      <a:pt x="194" y="119"/>
                      <a:pt x="192" y="125"/>
                    </a:cubicBezTo>
                    <a:cubicBezTo>
                      <a:pt x="190" y="131"/>
                      <a:pt x="197" y="152"/>
                      <a:pt x="195" y="156"/>
                    </a:cubicBezTo>
                    <a:cubicBezTo>
                      <a:pt x="193" y="160"/>
                      <a:pt x="186" y="150"/>
                      <a:pt x="180" y="149"/>
                    </a:cubicBezTo>
                    <a:cubicBezTo>
                      <a:pt x="174" y="148"/>
                      <a:pt x="165" y="149"/>
                      <a:pt x="160" y="150"/>
                    </a:cubicBezTo>
                    <a:cubicBezTo>
                      <a:pt x="155" y="151"/>
                      <a:pt x="151" y="148"/>
                      <a:pt x="148" y="153"/>
                    </a:cubicBezTo>
                    <a:cubicBezTo>
                      <a:pt x="145" y="158"/>
                      <a:pt x="142" y="171"/>
                      <a:pt x="141" y="179"/>
                    </a:cubicBezTo>
                    <a:cubicBezTo>
                      <a:pt x="140" y="187"/>
                      <a:pt x="146" y="202"/>
                      <a:pt x="145" y="203"/>
                    </a:cubicBezTo>
                    <a:cubicBezTo>
                      <a:pt x="144" y="204"/>
                      <a:pt x="138" y="188"/>
                      <a:pt x="136" y="186"/>
                    </a:cubicBezTo>
                    <a:cubicBezTo>
                      <a:pt x="134" y="184"/>
                      <a:pt x="136" y="188"/>
                      <a:pt x="132" y="189"/>
                    </a:cubicBezTo>
                    <a:cubicBezTo>
                      <a:pt x="128" y="190"/>
                      <a:pt x="115" y="192"/>
                      <a:pt x="111" y="194"/>
                    </a:cubicBezTo>
                    <a:cubicBezTo>
                      <a:pt x="107" y="196"/>
                      <a:pt x="107" y="198"/>
                      <a:pt x="108" y="204"/>
                    </a:cubicBezTo>
                    <a:cubicBezTo>
                      <a:pt x="109" y="210"/>
                      <a:pt x="118" y="228"/>
                      <a:pt x="118" y="233"/>
                    </a:cubicBezTo>
                    <a:cubicBezTo>
                      <a:pt x="118" y="238"/>
                      <a:pt x="109" y="234"/>
                      <a:pt x="109" y="237"/>
                    </a:cubicBezTo>
                    <a:cubicBezTo>
                      <a:pt x="109" y="240"/>
                      <a:pt x="120" y="246"/>
                      <a:pt x="120" y="249"/>
                    </a:cubicBezTo>
                    <a:cubicBezTo>
                      <a:pt x="120" y="252"/>
                      <a:pt x="116" y="256"/>
                      <a:pt x="111" y="258"/>
                    </a:cubicBezTo>
                    <a:cubicBezTo>
                      <a:pt x="106" y="260"/>
                      <a:pt x="96" y="262"/>
                      <a:pt x="91" y="264"/>
                    </a:cubicBezTo>
                    <a:cubicBezTo>
                      <a:pt x="86" y="266"/>
                      <a:pt x="84" y="268"/>
                      <a:pt x="81" y="269"/>
                    </a:cubicBezTo>
                    <a:cubicBezTo>
                      <a:pt x="78" y="270"/>
                      <a:pt x="74" y="271"/>
                      <a:pt x="70" y="272"/>
                    </a:cubicBezTo>
                    <a:cubicBezTo>
                      <a:pt x="66" y="273"/>
                      <a:pt x="61" y="273"/>
                      <a:pt x="57" y="276"/>
                    </a:cubicBezTo>
                    <a:cubicBezTo>
                      <a:pt x="53" y="279"/>
                      <a:pt x="51" y="288"/>
                      <a:pt x="48" y="290"/>
                    </a:cubicBezTo>
                    <a:cubicBezTo>
                      <a:pt x="45" y="292"/>
                      <a:pt x="40" y="287"/>
                      <a:pt x="36" y="287"/>
                    </a:cubicBezTo>
                    <a:cubicBezTo>
                      <a:pt x="32" y="287"/>
                      <a:pt x="30" y="285"/>
                      <a:pt x="25" y="287"/>
                    </a:cubicBezTo>
                    <a:cubicBezTo>
                      <a:pt x="20" y="289"/>
                      <a:pt x="6" y="295"/>
                      <a:pt x="3" y="299"/>
                    </a:cubicBezTo>
                    <a:cubicBezTo>
                      <a:pt x="0" y="303"/>
                      <a:pt x="7" y="307"/>
                      <a:pt x="7" y="311"/>
                    </a:cubicBezTo>
                    <a:cubicBezTo>
                      <a:pt x="7" y="315"/>
                      <a:pt x="2" y="318"/>
                      <a:pt x="4" y="321"/>
                    </a:cubicBezTo>
                    <a:cubicBezTo>
                      <a:pt x="6" y="324"/>
                      <a:pt x="12" y="325"/>
                      <a:pt x="16" y="327"/>
                    </a:cubicBezTo>
                    <a:cubicBezTo>
                      <a:pt x="20" y="329"/>
                      <a:pt x="27" y="330"/>
                      <a:pt x="30" y="335"/>
                    </a:cubicBezTo>
                    <a:cubicBezTo>
                      <a:pt x="33" y="340"/>
                      <a:pt x="33" y="351"/>
                      <a:pt x="37" y="356"/>
                    </a:cubicBezTo>
                    <a:cubicBezTo>
                      <a:pt x="41" y="361"/>
                      <a:pt x="51" y="360"/>
                      <a:pt x="55" y="363"/>
                    </a:cubicBezTo>
                    <a:cubicBezTo>
                      <a:pt x="59" y="366"/>
                      <a:pt x="58" y="373"/>
                      <a:pt x="64" y="374"/>
                    </a:cubicBezTo>
                    <a:cubicBezTo>
                      <a:pt x="70" y="375"/>
                      <a:pt x="84" y="372"/>
                      <a:pt x="89" y="371"/>
                    </a:cubicBezTo>
                    <a:cubicBezTo>
                      <a:pt x="94" y="370"/>
                      <a:pt x="94" y="365"/>
                      <a:pt x="97" y="366"/>
                    </a:cubicBezTo>
                    <a:cubicBezTo>
                      <a:pt x="100" y="367"/>
                      <a:pt x="105" y="375"/>
                      <a:pt x="106" y="380"/>
                    </a:cubicBezTo>
                    <a:cubicBezTo>
                      <a:pt x="107" y="385"/>
                      <a:pt x="105" y="391"/>
                      <a:pt x="103" y="396"/>
                    </a:cubicBezTo>
                    <a:cubicBezTo>
                      <a:pt x="101" y="401"/>
                      <a:pt x="92" y="409"/>
                      <a:pt x="91" y="413"/>
                    </a:cubicBezTo>
                    <a:cubicBezTo>
                      <a:pt x="90" y="417"/>
                      <a:pt x="96" y="416"/>
                      <a:pt x="97" y="419"/>
                    </a:cubicBezTo>
                    <a:cubicBezTo>
                      <a:pt x="98" y="422"/>
                      <a:pt x="101" y="426"/>
                      <a:pt x="99" y="429"/>
                    </a:cubicBezTo>
                    <a:cubicBezTo>
                      <a:pt x="97" y="432"/>
                      <a:pt x="88" y="433"/>
                      <a:pt x="87" y="437"/>
                    </a:cubicBezTo>
                    <a:cubicBezTo>
                      <a:pt x="86" y="441"/>
                      <a:pt x="88" y="448"/>
                      <a:pt x="90" y="452"/>
                    </a:cubicBezTo>
                    <a:cubicBezTo>
                      <a:pt x="92" y="456"/>
                      <a:pt x="94" y="458"/>
                      <a:pt x="99" y="462"/>
                    </a:cubicBezTo>
                    <a:cubicBezTo>
                      <a:pt x="104" y="466"/>
                      <a:pt x="113" y="471"/>
                      <a:pt x="118" y="473"/>
                    </a:cubicBezTo>
                    <a:cubicBezTo>
                      <a:pt x="123" y="475"/>
                      <a:pt x="124" y="472"/>
                      <a:pt x="129" y="474"/>
                    </a:cubicBezTo>
                    <a:cubicBezTo>
                      <a:pt x="134" y="476"/>
                      <a:pt x="136" y="478"/>
                      <a:pt x="148" y="483"/>
                    </a:cubicBezTo>
                    <a:cubicBezTo>
                      <a:pt x="160" y="488"/>
                      <a:pt x="192" y="500"/>
                      <a:pt x="203" y="504"/>
                    </a:cubicBezTo>
                    <a:cubicBezTo>
                      <a:pt x="214" y="508"/>
                      <a:pt x="213" y="510"/>
                      <a:pt x="217" y="510"/>
                    </a:cubicBezTo>
                    <a:cubicBezTo>
                      <a:pt x="221" y="510"/>
                      <a:pt x="222" y="504"/>
                      <a:pt x="227" y="503"/>
                    </a:cubicBezTo>
                    <a:cubicBezTo>
                      <a:pt x="232" y="502"/>
                      <a:pt x="242" y="506"/>
                      <a:pt x="249" y="506"/>
                    </a:cubicBezTo>
                    <a:cubicBezTo>
                      <a:pt x="256" y="506"/>
                      <a:pt x="263" y="504"/>
                      <a:pt x="268" y="506"/>
                    </a:cubicBezTo>
                    <a:cubicBezTo>
                      <a:pt x="273" y="508"/>
                      <a:pt x="274" y="517"/>
                      <a:pt x="279" y="516"/>
                    </a:cubicBezTo>
                    <a:cubicBezTo>
                      <a:pt x="284" y="515"/>
                      <a:pt x="291" y="502"/>
                      <a:pt x="298" y="498"/>
                    </a:cubicBezTo>
                    <a:cubicBezTo>
                      <a:pt x="305" y="494"/>
                      <a:pt x="314" y="494"/>
                      <a:pt x="319" y="492"/>
                    </a:cubicBezTo>
                    <a:cubicBezTo>
                      <a:pt x="324" y="490"/>
                      <a:pt x="324" y="488"/>
                      <a:pt x="328" y="488"/>
                    </a:cubicBezTo>
                    <a:cubicBezTo>
                      <a:pt x="332" y="488"/>
                      <a:pt x="339" y="490"/>
                      <a:pt x="345" y="492"/>
                    </a:cubicBezTo>
                    <a:cubicBezTo>
                      <a:pt x="351" y="494"/>
                      <a:pt x="361" y="494"/>
                      <a:pt x="367" y="498"/>
                    </a:cubicBezTo>
                    <a:cubicBezTo>
                      <a:pt x="373" y="502"/>
                      <a:pt x="378" y="508"/>
                      <a:pt x="381" y="516"/>
                    </a:cubicBezTo>
                    <a:cubicBezTo>
                      <a:pt x="384" y="524"/>
                      <a:pt x="386" y="539"/>
                      <a:pt x="384" y="546"/>
                    </a:cubicBezTo>
                    <a:cubicBezTo>
                      <a:pt x="382" y="553"/>
                      <a:pt x="371" y="556"/>
                      <a:pt x="369" y="561"/>
                    </a:cubicBezTo>
                    <a:cubicBezTo>
                      <a:pt x="367" y="566"/>
                      <a:pt x="367" y="576"/>
                      <a:pt x="369" y="578"/>
                    </a:cubicBezTo>
                    <a:cubicBezTo>
                      <a:pt x="371" y="580"/>
                      <a:pt x="376" y="571"/>
                      <a:pt x="379" y="573"/>
                    </a:cubicBezTo>
                    <a:cubicBezTo>
                      <a:pt x="382" y="575"/>
                      <a:pt x="385" y="586"/>
                      <a:pt x="388" y="590"/>
                    </a:cubicBezTo>
                    <a:cubicBezTo>
                      <a:pt x="391" y="594"/>
                      <a:pt x="391" y="595"/>
                      <a:pt x="394" y="599"/>
                    </a:cubicBezTo>
                    <a:cubicBezTo>
                      <a:pt x="397" y="603"/>
                      <a:pt x="401" y="612"/>
                      <a:pt x="405" y="615"/>
                    </a:cubicBezTo>
                    <a:cubicBezTo>
                      <a:pt x="409" y="618"/>
                      <a:pt x="415" y="618"/>
                      <a:pt x="420" y="615"/>
                    </a:cubicBezTo>
                    <a:cubicBezTo>
                      <a:pt x="425" y="612"/>
                      <a:pt x="431" y="600"/>
                      <a:pt x="435" y="596"/>
                    </a:cubicBezTo>
                    <a:cubicBezTo>
                      <a:pt x="439" y="592"/>
                      <a:pt x="440" y="589"/>
                      <a:pt x="444" y="590"/>
                    </a:cubicBezTo>
                    <a:cubicBezTo>
                      <a:pt x="448" y="591"/>
                      <a:pt x="453" y="600"/>
                      <a:pt x="459" y="600"/>
                    </a:cubicBezTo>
                    <a:cubicBezTo>
                      <a:pt x="465" y="600"/>
                      <a:pt x="474" y="589"/>
                      <a:pt x="480" y="588"/>
                    </a:cubicBezTo>
                    <a:cubicBezTo>
                      <a:pt x="486" y="587"/>
                      <a:pt x="490" y="591"/>
                      <a:pt x="495" y="594"/>
                    </a:cubicBezTo>
                    <a:cubicBezTo>
                      <a:pt x="500" y="597"/>
                      <a:pt x="505" y="604"/>
                      <a:pt x="508" y="608"/>
                    </a:cubicBezTo>
                    <a:cubicBezTo>
                      <a:pt x="511" y="612"/>
                      <a:pt x="511" y="616"/>
                      <a:pt x="514" y="618"/>
                    </a:cubicBezTo>
                    <a:cubicBezTo>
                      <a:pt x="517" y="620"/>
                      <a:pt x="524" y="618"/>
                      <a:pt x="529" y="621"/>
                    </a:cubicBezTo>
                    <a:cubicBezTo>
                      <a:pt x="534" y="624"/>
                      <a:pt x="543" y="633"/>
                      <a:pt x="543" y="638"/>
                    </a:cubicBezTo>
                    <a:cubicBezTo>
                      <a:pt x="543" y="643"/>
                      <a:pt x="533" y="650"/>
                      <a:pt x="531" y="654"/>
                    </a:cubicBezTo>
                    <a:cubicBezTo>
                      <a:pt x="529" y="658"/>
                      <a:pt x="529" y="664"/>
                      <a:pt x="532" y="665"/>
                    </a:cubicBezTo>
                    <a:cubicBezTo>
                      <a:pt x="535" y="666"/>
                      <a:pt x="543" y="663"/>
                      <a:pt x="547" y="663"/>
                    </a:cubicBezTo>
                    <a:cubicBezTo>
                      <a:pt x="551" y="663"/>
                      <a:pt x="552" y="666"/>
                      <a:pt x="555" y="662"/>
                    </a:cubicBezTo>
                    <a:cubicBezTo>
                      <a:pt x="558" y="658"/>
                      <a:pt x="565" y="642"/>
                      <a:pt x="567" y="636"/>
                    </a:cubicBezTo>
                    <a:cubicBezTo>
                      <a:pt x="569" y="630"/>
                      <a:pt x="564" y="627"/>
                      <a:pt x="568" y="624"/>
                    </a:cubicBezTo>
                    <a:cubicBezTo>
                      <a:pt x="572" y="621"/>
                      <a:pt x="584" y="619"/>
                      <a:pt x="589" y="615"/>
                    </a:cubicBezTo>
                    <a:cubicBezTo>
                      <a:pt x="594" y="611"/>
                      <a:pt x="595" y="604"/>
                      <a:pt x="597" y="600"/>
                    </a:cubicBezTo>
                    <a:cubicBezTo>
                      <a:pt x="599" y="596"/>
                      <a:pt x="599" y="589"/>
                      <a:pt x="601" y="590"/>
                    </a:cubicBezTo>
                    <a:cubicBezTo>
                      <a:pt x="603" y="591"/>
                      <a:pt x="603" y="605"/>
                      <a:pt x="607" y="606"/>
                    </a:cubicBezTo>
                    <a:cubicBezTo>
                      <a:pt x="611" y="607"/>
                      <a:pt x="616" y="599"/>
                      <a:pt x="624" y="596"/>
                    </a:cubicBezTo>
                    <a:cubicBezTo>
                      <a:pt x="632" y="593"/>
                      <a:pt x="644" y="592"/>
                      <a:pt x="654" y="585"/>
                    </a:cubicBezTo>
                    <a:cubicBezTo>
                      <a:pt x="664" y="578"/>
                      <a:pt x="677" y="565"/>
                      <a:pt x="684" y="557"/>
                    </a:cubicBezTo>
                    <a:cubicBezTo>
                      <a:pt x="691" y="549"/>
                      <a:pt x="690" y="546"/>
                      <a:pt x="696" y="537"/>
                    </a:cubicBezTo>
                    <a:cubicBezTo>
                      <a:pt x="702" y="528"/>
                      <a:pt x="712" y="515"/>
                      <a:pt x="718" y="503"/>
                    </a:cubicBezTo>
                    <a:cubicBezTo>
                      <a:pt x="724" y="491"/>
                      <a:pt x="735" y="472"/>
                      <a:pt x="733" y="467"/>
                    </a:cubicBezTo>
                    <a:cubicBezTo>
                      <a:pt x="731" y="462"/>
                      <a:pt x="709" y="475"/>
                      <a:pt x="708" y="473"/>
                    </a:cubicBezTo>
                    <a:cubicBezTo>
                      <a:pt x="707" y="471"/>
                      <a:pt x="723" y="461"/>
                      <a:pt x="724" y="456"/>
                    </a:cubicBezTo>
                    <a:cubicBezTo>
                      <a:pt x="725" y="451"/>
                      <a:pt x="718" y="450"/>
                      <a:pt x="715" y="444"/>
                    </a:cubicBezTo>
                    <a:cubicBezTo>
                      <a:pt x="712" y="438"/>
                      <a:pt x="710" y="423"/>
                      <a:pt x="708" y="417"/>
                    </a:cubicBezTo>
                    <a:cubicBezTo>
                      <a:pt x="706" y="411"/>
                      <a:pt x="705" y="411"/>
                      <a:pt x="702" y="407"/>
                    </a:cubicBezTo>
                    <a:cubicBezTo>
                      <a:pt x="699" y="403"/>
                      <a:pt x="690" y="399"/>
                      <a:pt x="690" y="392"/>
                    </a:cubicBezTo>
                    <a:cubicBezTo>
                      <a:pt x="690" y="385"/>
                      <a:pt x="698" y="373"/>
                      <a:pt x="705" y="365"/>
                    </a:cubicBezTo>
                    <a:cubicBezTo>
                      <a:pt x="712" y="357"/>
                      <a:pt x="732" y="350"/>
                      <a:pt x="733" y="345"/>
                    </a:cubicBezTo>
                    <a:cubicBezTo>
                      <a:pt x="734" y="340"/>
                      <a:pt x="719" y="336"/>
                      <a:pt x="714" y="336"/>
                    </a:cubicBezTo>
                    <a:cubicBezTo>
                      <a:pt x="709" y="336"/>
                      <a:pt x="704" y="345"/>
                      <a:pt x="700" y="347"/>
                    </a:cubicBezTo>
                    <a:cubicBezTo>
                      <a:pt x="696" y="349"/>
                      <a:pt x="690" y="354"/>
                      <a:pt x="687" y="351"/>
                    </a:cubicBezTo>
                    <a:cubicBezTo>
                      <a:pt x="684" y="348"/>
                      <a:pt x="685" y="334"/>
                      <a:pt x="682" y="330"/>
                    </a:cubicBezTo>
                    <a:cubicBezTo>
                      <a:pt x="679" y="326"/>
                      <a:pt x="670" y="329"/>
                      <a:pt x="666" y="326"/>
                    </a:cubicBezTo>
                    <a:cubicBezTo>
                      <a:pt x="662" y="323"/>
                      <a:pt x="657" y="316"/>
                      <a:pt x="660" y="314"/>
                    </a:cubicBezTo>
                    <a:cubicBezTo>
                      <a:pt x="663" y="312"/>
                      <a:pt x="677" y="315"/>
                      <a:pt x="684" y="311"/>
                    </a:cubicBezTo>
                    <a:cubicBezTo>
                      <a:pt x="691" y="307"/>
                      <a:pt x="699" y="295"/>
                      <a:pt x="703" y="290"/>
                    </a:cubicBezTo>
                    <a:cubicBezTo>
                      <a:pt x="707" y="285"/>
                      <a:pt x="705" y="283"/>
                      <a:pt x="709" y="281"/>
                    </a:cubicBezTo>
                    <a:cubicBezTo>
                      <a:pt x="713" y="279"/>
                      <a:pt x="726" y="276"/>
                      <a:pt x="729" y="279"/>
                    </a:cubicBezTo>
                    <a:cubicBezTo>
                      <a:pt x="732" y="282"/>
                      <a:pt x="729" y="290"/>
                      <a:pt x="727" y="296"/>
                    </a:cubicBezTo>
                    <a:cubicBezTo>
                      <a:pt x="725" y="302"/>
                      <a:pt x="716" y="316"/>
                      <a:pt x="718" y="317"/>
                    </a:cubicBezTo>
                    <a:cubicBezTo>
                      <a:pt x="720" y="318"/>
                      <a:pt x="736" y="308"/>
                      <a:pt x="741" y="305"/>
                    </a:cubicBezTo>
                    <a:cubicBezTo>
                      <a:pt x="746" y="302"/>
                      <a:pt x="744" y="297"/>
                      <a:pt x="747" y="296"/>
                    </a:cubicBezTo>
                    <a:cubicBezTo>
                      <a:pt x="750" y="295"/>
                      <a:pt x="756" y="297"/>
                      <a:pt x="760" y="296"/>
                    </a:cubicBezTo>
                    <a:cubicBezTo>
                      <a:pt x="764" y="295"/>
                      <a:pt x="766" y="291"/>
                      <a:pt x="769" y="288"/>
                    </a:cubicBezTo>
                    <a:cubicBezTo>
                      <a:pt x="772" y="285"/>
                      <a:pt x="776" y="279"/>
                      <a:pt x="780" y="275"/>
                    </a:cubicBezTo>
                    <a:cubicBezTo>
                      <a:pt x="784" y="271"/>
                      <a:pt x="790" y="266"/>
                      <a:pt x="795" y="264"/>
                    </a:cubicBezTo>
                    <a:cubicBezTo>
                      <a:pt x="800" y="262"/>
                      <a:pt x="806" y="266"/>
                      <a:pt x="810" y="264"/>
                    </a:cubicBezTo>
                    <a:cubicBezTo>
                      <a:pt x="814" y="262"/>
                      <a:pt x="813" y="257"/>
                      <a:pt x="817" y="255"/>
                    </a:cubicBezTo>
                    <a:cubicBezTo>
                      <a:pt x="821" y="253"/>
                      <a:pt x="830" y="254"/>
                      <a:pt x="834" y="251"/>
                    </a:cubicBezTo>
                    <a:cubicBezTo>
                      <a:pt x="838" y="248"/>
                      <a:pt x="837" y="238"/>
                      <a:pt x="841" y="236"/>
                    </a:cubicBezTo>
                    <a:cubicBezTo>
                      <a:pt x="845" y="234"/>
                      <a:pt x="854" y="238"/>
                      <a:pt x="858" y="236"/>
                    </a:cubicBezTo>
                    <a:cubicBezTo>
                      <a:pt x="862" y="234"/>
                      <a:pt x="863" y="231"/>
                      <a:pt x="864" y="227"/>
                    </a:cubicBezTo>
                    <a:cubicBezTo>
                      <a:pt x="865" y="223"/>
                      <a:pt x="863" y="215"/>
                      <a:pt x="864" y="210"/>
                    </a:cubicBezTo>
                    <a:cubicBezTo>
                      <a:pt x="865" y="205"/>
                      <a:pt x="866" y="199"/>
                      <a:pt x="868" y="197"/>
                    </a:cubicBezTo>
                    <a:cubicBezTo>
                      <a:pt x="870" y="195"/>
                      <a:pt x="875" y="195"/>
                      <a:pt x="879" y="195"/>
                    </a:cubicBezTo>
                    <a:cubicBezTo>
                      <a:pt x="883" y="195"/>
                      <a:pt x="890" y="199"/>
                      <a:pt x="895" y="195"/>
                    </a:cubicBezTo>
                    <a:cubicBezTo>
                      <a:pt x="900" y="191"/>
                      <a:pt x="906" y="178"/>
                      <a:pt x="909" y="171"/>
                    </a:cubicBezTo>
                    <a:cubicBezTo>
                      <a:pt x="912" y="164"/>
                      <a:pt x="913" y="160"/>
                      <a:pt x="915" y="153"/>
                    </a:cubicBezTo>
                    <a:cubicBezTo>
                      <a:pt x="917" y="146"/>
                      <a:pt x="926" y="130"/>
                      <a:pt x="922" y="128"/>
                    </a:cubicBezTo>
                    <a:cubicBezTo>
                      <a:pt x="918" y="126"/>
                      <a:pt x="900" y="136"/>
                      <a:pt x="892" y="140"/>
                    </a:cubicBezTo>
                    <a:cubicBezTo>
                      <a:pt x="884" y="144"/>
                      <a:pt x="877" y="152"/>
                      <a:pt x="871" y="150"/>
                    </a:cubicBezTo>
                    <a:cubicBezTo>
                      <a:pt x="865" y="148"/>
                      <a:pt x="861" y="134"/>
                      <a:pt x="858" y="128"/>
                    </a:cubicBezTo>
                    <a:cubicBezTo>
                      <a:pt x="855" y="122"/>
                      <a:pt x="857" y="116"/>
                      <a:pt x="852" y="113"/>
                    </a:cubicBezTo>
                    <a:cubicBezTo>
                      <a:pt x="847" y="110"/>
                      <a:pt x="834" y="112"/>
                      <a:pt x="828" y="107"/>
                    </a:cubicBezTo>
                    <a:cubicBezTo>
                      <a:pt x="822" y="102"/>
                      <a:pt x="818" y="91"/>
                      <a:pt x="814" y="83"/>
                    </a:cubicBezTo>
                    <a:cubicBezTo>
                      <a:pt x="810" y="75"/>
                      <a:pt x="811" y="67"/>
                      <a:pt x="807" y="59"/>
                    </a:cubicBezTo>
                    <a:cubicBezTo>
                      <a:pt x="803" y="51"/>
                      <a:pt x="796" y="43"/>
                      <a:pt x="792" y="35"/>
                    </a:cubicBezTo>
                    <a:cubicBezTo>
                      <a:pt x="788" y="27"/>
                      <a:pt x="790" y="17"/>
                      <a:pt x="783" y="11"/>
                    </a:cubicBezTo>
                    <a:cubicBezTo>
                      <a:pt x="776" y="5"/>
                      <a:pt x="761" y="0"/>
                      <a:pt x="747" y="0"/>
                    </a:cubicBezTo>
                    <a:cubicBezTo>
                      <a:pt x="733" y="0"/>
                      <a:pt x="706" y="7"/>
                      <a:pt x="700" y="14"/>
                    </a:cubicBezTo>
                    <a:cubicBezTo>
                      <a:pt x="694" y="21"/>
                      <a:pt x="708" y="36"/>
                      <a:pt x="708" y="45"/>
                    </a:cubicBezTo>
                    <a:cubicBezTo>
                      <a:pt x="708" y="54"/>
                      <a:pt x="702" y="61"/>
                      <a:pt x="700" y="66"/>
                    </a:cubicBezTo>
                    <a:cubicBezTo>
                      <a:pt x="698" y="71"/>
                      <a:pt x="695" y="71"/>
                      <a:pt x="694" y="74"/>
                    </a:cubicBezTo>
                    <a:cubicBezTo>
                      <a:pt x="693" y="77"/>
                      <a:pt x="694" y="83"/>
                      <a:pt x="691" y="87"/>
                    </a:cubicBezTo>
                    <a:cubicBezTo>
                      <a:pt x="688" y="91"/>
                      <a:pt x="685" y="96"/>
                      <a:pt x="679" y="98"/>
                    </a:cubicBezTo>
                    <a:cubicBezTo>
                      <a:pt x="673" y="100"/>
                      <a:pt x="661" y="100"/>
                      <a:pt x="655" y="101"/>
                    </a:cubicBezTo>
                    <a:cubicBezTo>
                      <a:pt x="649" y="102"/>
                      <a:pt x="643" y="97"/>
                      <a:pt x="640" y="9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3" name="Freeform 135">
                <a:extLst>
                  <a:ext uri="{FF2B5EF4-FFF2-40B4-BE49-F238E27FC236}">
                    <a16:creationId xmlns:a16="http://schemas.microsoft.com/office/drawing/2014/main" id="{2CDE826A-7B4A-47DD-8ACF-795D562549C7}"/>
                  </a:ext>
                </a:extLst>
              </p:cNvPr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gray">
              <a:xfrm>
                <a:off x="6451601" y="2773363"/>
                <a:ext cx="760413" cy="346075"/>
              </a:xfrm>
              <a:custGeom>
                <a:avLst/>
                <a:gdLst>
                  <a:gd name="T0" fmla="*/ 4 w 472"/>
                  <a:gd name="T1" fmla="*/ 66 h 218"/>
                  <a:gd name="T2" fmla="*/ 7 w 472"/>
                  <a:gd name="T3" fmla="*/ 78 h 218"/>
                  <a:gd name="T4" fmla="*/ 28 w 472"/>
                  <a:gd name="T5" fmla="*/ 81 h 218"/>
                  <a:gd name="T6" fmla="*/ 45 w 472"/>
                  <a:gd name="T7" fmla="*/ 113 h 218"/>
                  <a:gd name="T8" fmla="*/ 43 w 472"/>
                  <a:gd name="T9" fmla="*/ 123 h 218"/>
                  <a:gd name="T10" fmla="*/ 40 w 472"/>
                  <a:gd name="T11" fmla="*/ 141 h 218"/>
                  <a:gd name="T12" fmla="*/ 57 w 472"/>
                  <a:gd name="T13" fmla="*/ 147 h 218"/>
                  <a:gd name="T14" fmla="*/ 88 w 472"/>
                  <a:gd name="T15" fmla="*/ 149 h 218"/>
                  <a:gd name="T16" fmla="*/ 103 w 472"/>
                  <a:gd name="T17" fmla="*/ 161 h 218"/>
                  <a:gd name="T18" fmla="*/ 118 w 472"/>
                  <a:gd name="T19" fmla="*/ 185 h 218"/>
                  <a:gd name="T20" fmla="*/ 133 w 472"/>
                  <a:gd name="T21" fmla="*/ 197 h 218"/>
                  <a:gd name="T22" fmla="*/ 156 w 472"/>
                  <a:gd name="T23" fmla="*/ 197 h 218"/>
                  <a:gd name="T24" fmla="*/ 199 w 472"/>
                  <a:gd name="T25" fmla="*/ 197 h 218"/>
                  <a:gd name="T26" fmla="*/ 238 w 472"/>
                  <a:gd name="T27" fmla="*/ 215 h 218"/>
                  <a:gd name="T28" fmla="*/ 252 w 472"/>
                  <a:gd name="T29" fmla="*/ 213 h 218"/>
                  <a:gd name="T30" fmla="*/ 271 w 472"/>
                  <a:gd name="T31" fmla="*/ 204 h 218"/>
                  <a:gd name="T32" fmla="*/ 282 w 472"/>
                  <a:gd name="T33" fmla="*/ 200 h 218"/>
                  <a:gd name="T34" fmla="*/ 297 w 472"/>
                  <a:gd name="T35" fmla="*/ 200 h 218"/>
                  <a:gd name="T36" fmla="*/ 322 w 472"/>
                  <a:gd name="T37" fmla="*/ 195 h 218"/>
                  <a:gd name="T38" fmla="*/ 342 w 472"/>
                  <a:gd name="T39" fmla="*/ 183 h 218"/>
                  <a:gd name="T40" fmla="*/ 349 w 472"/>
                  <a:gd name="T41" fmla="*/ 168 h 218"/>
                  <a:gd name="T42" fmla="*/ 349 w 472"/>
                  <a:gd name="T43" fmla="*/ 150 h 218"/>
                  <a:gd name="T44" fmla="*/ 354 w 472"/>
                  <a:gd name="T45" fmla="*/ 141 h 218"/>
                  <a:gd name="T46" fmla="*/ 385 w 472"/>
                  <a:gd name="T47" fmla="*/ 153 h 218"/>
                  <a:gd name="T48" fmla="*/ 393 w 472"/>
                  <a:gd name="T49" fmla="*/ 144 h 218"/>
                  <a:gd name="T50" fmla="*/ 400 w 472"/>
                  <a:gd name="T51" fmla="*/ 135 h 218"/>
                  <a:gd name="T52" fmla="*/ 417 w 472"/>
                  <a:gd name="T53" fmla="*/ 131 h 218"/>
                  <a:gd name="T54" fmla="*/ 430 w 472"/>
                  <a:gd name="T55" fmla="*/ 113 h 218"/>
                  <a:gd name="T56" fmla="*/ 469 w 472"/>
                  <a:gd name="T57" fmla="*/ 110 h 218"/>
                  <a:gd name="T58" fmla="*/ 451 w 472"/>
                  <a:gd name="T59" fmla="*/ 81 h 218"/>
                  <a:gd name="T60" fmla="*/ 436 w 472"/>
                  <a:gd name="T61" fmla="*/ 90 h 218"/>
                  <a:gd name="T62" fmla="*/ 420 w 472"/>
                  <a:gd name="T63" fmla="*/ 83 h 218"/>
                  <a:gd name="T64" fmla="*/ 412 w 472"/>
                  <a:gd name="T65" fmla="*/ 92 h 218"/>
                  <a:gd name="T66" fmla="*/ 415 w 472"/>
                  <a:gd name="T67" fmla="*/ 78 h 218"/>
                  <a:gd name="T68" fmla="*/ 408 w 472"/>
                  <a:gd name="T69" fmla="*/ 66 h 218"/>
                  <a:gd name="T70" fmla="*/ 418 w 472"/>
                  <a:gd name="T71" fmla="*/ 47 h 218"/>
                  <a:gd name="T72" fmla="*/ 403 w 472"/>
                  <a:gd name="T73" fmla="*/ 47 h 218"/>
                  <a:gd name="T74" fmla="*/ 391 w 472"/>
                  <a:gd name="T75" fmla="*/ 44 h 218"/>
                  <a:gd name="T76" fmla="*/ 352 w 472"/>
                  <a:gd name="T77" fmla="*/ 65 h 218"/>
                  <a:gd name="T78" fmla="*/ 334 w 472"/>
                  <a:gd name="T79" fmla="*/ 66 h 218"/>
                  <a:gd name="T80" fmla="*/ 316 w 472"/>
                  <a:gd name="T81" fmla="*/ 69 h 218"/>
                  <a:gd name="T82" fmla="*/ 303 w 472"/>
                  <a:gd name="T83" fmla="*/ 66 h 218"/>
                  <a:gd name="T84" fmla="*/ 294 w 472"/>
                  <a:gd name="T85" fmla="*/ 56 h 218"/>
                  <a:gd name="T86" fmla="*/ 286 w 472"/>
                  <a:gd name="T87" fmla="*/ 44 h 218"/>
                  <a:gd name="T88" fmla="*/ 267 w 472"/>
                  <a:gd name="T89" fmla="*/ 38 h 218"/>
                  <a:gd name="T90" fmla="*/ 226 w 472"/>
                  <a:gd name="T91" fmla="*/ 41 h 218"/>
                  <a:gd name="T92" fmla="*/ 207 w 472"/>
                  <a:gd name="T93" fmla="*/ 17 h 218"/>
                  <a:gd name="T94" fmla="*/ 162 w 472"/>
                  <a:gd name="T95" fmla="*/ 3 h 218"/>
                  <a:gd name="T96" fmla="*/ 148 w 472"/>
                  <a:gd name="T97" fmla="*/ 35 h 218"/>
                  <a:gd name="T98" fmla="*/ 147 w 472"/>
                  <a:gd name="T99" fmla="*/ 48 h 218"/>
                  <a:gd name="T100" fmla="*/ 142 w 472"/>
                  <a:gd name="T101" fmla="*/ 48 h 218"/>
                  <a:gd name="T102" fmla="*/ 136 w 472"/>
                  <a:gd name="T103" fmla="*/ 56 h 218"/>
                  <a:gd name="T104" fmla="*/ 112 w 472"/>
                  <a:gd name="T105" fmla="*/ 53 h 218"/>
                  <a:gd name="T106" fmla="*/ 100 w 472"/>
                  <a:gd name="T107" fmla="*/ 47 h 218"/>
                  <a:gd name="T108" fmla="*/ 85 w 472"/>
                  <a:gd name="T109" fmla="*/ 36 h 218"/>
                  <a:gd name="T110" fmla="*/ 73 w 472"/>
                  <a:gd name="T111" fmla="*/ 30 h 218"/>
                  <a:gd name="T112" fmla="*/ 55 w 472"/>
                  <a:gd name="T113" fmla="*/ 29 h 218"/>
                  <a:gd name="T114" fmla="*/ 42 w 472"/>
                  <a:gd name="T115" fmla="*/ 37 h 218"/>
                  <a:gd name="T116" fmla="*/ 33 w 472"/>
                  <a:gd name="T117" fmla="*/ 47 h 218"/>
                  <a:gd name="T118" fmla="*/ 16 w 472"/>
                  <a:gd name="T119" fmla="*/ 54 h 218"/>
                  <a:gd name="T120" fmla="*/ 4 w 472"/>
                  <a:gd name="T121" fmla="*/ 6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2" h="218">
                    <a:moveTo>
                      <a:pt x="4" y="66"/>
                    </a:moveTo>
                    <a:cubicBezTo>
                      <a:pt x="0" y="71"/>
                      <a:pt x="3" y="76"/>
                      <a:pt x="7" y="78"/>
                    </a:cubicBezTo>
                    <a:cubicBezTo>
                      <a:pt x="11" y="80"/>
                      <a:pt x="22" y="75"/>
                      <a:pt x="28" y="81"/>
                    </a:cubicBezTo>
                    <a:cubicBezTo>
                      <a:pt x="34" y="87"/>
                      <a:pt x="43" y="106"/>
                      <a:pt x="45" y="113"/>
                    </a:cubicBezTo>
                    <a:cubicBezTo>
                      <a:pt x="47" y="120"/>
                      <a:pt x="44" y="118"/>
                      <a:pt x="43" y="123"/>
                    </a:cubicBezTo>
                    <a:cubicBezTo>
                      <a:pt x="42" y="128"/>
                      <a:pt x="38" y="137"/>
                      <a:pt x="40" y="141"/>
                    </a:cubicBezTo>
                    <a:cubicBezTo>
                      <a:pt x="42" y="145"/>
                      <a:pt x="49" y="146"/>
                      <a:pt x="57" y="147"/>
                    </a:cubicBezTo>
                    <a:cubicBezTo>
                      <a:pt x="65" y="148"/>
                      <a:pt x="80" y="147"/>
                      <a:pt x="88" y="149"/>
                    </a:cubicBezTo>
                    <a:cubicBezTo>
                      <a:pt x="96" y="151"/>
                      <a:pt x="98" y="155"/>
                      <a:pt x="103" y="161"/>
                    </a:cubicBezTo>
                    <a:cubicBezTo>
                      <a:pt x="108" y="167"/>
                      <a:pt x="113" y="179"/>
                      <a:pt x="118" y="185"/>
                    </a:cubicBezTo>
                    <a:cubicBezTo>
                      <a:pt x="123" y="191"/>
                      <a:pt x="127" y="195"/>
                      <a:pt x="133" y="197"/>
                    </a:cubicBezTo>
                    <a:cubicBezTo>
                      <a:pt x="139" y="199"/>
                      <a:pt x="145" y="197"/>
                      <a:pt x="156" y="197"/>
                    </a:cubicBezTo>
                    <a:cubicBezTo>
                      <a:pt x="167" y="197"/>
                      <a:pt x="185" y="194"/>
                      <a:pt x="199" y="197"/>
                    </a:cubicBezTo>
                    <a:cubicBezTo>
                      <a:pt x="213" y="200"/>
                      <a:pt x="229" y="212"/>
                      <a:pt x="238" y="215"/>
                    </a:cubicBezTo>
                    <a:cubicBezTo>
                      <a:pt x="247" y="218"/>
                      <a:pt x="247" y="215"/>
                      <a:pt x="252" y="213"/>
                    </a:cubicBezTo>
                    <a:cubicBezTo>
                      <a:pt x="257" y="211"/>
                      <a:pt x="266" y="206"/>
                      <a:pt x="271" y="204"/>
                    </a:cubicBezTo>
                    <a:cubicBezTo>
                      <a:pt x="276" y="202"/>
                      <a:pt x="278" y="201"/>
                      <a:pt x="282" y="200"/>
                    </a:cubicBezTo>
                    <a:cubicBezTo>
                      <a:pt x="286" y="199"/>
                      <a:pt x="290" y="201"/>
                      <a:pt x="297" y="200"/>
                    </a:cubicBezTo>
                    <a:cubicBezTo>
                      <a:pt x="304" y="199"/>
                      <a:pt x="315" y="198"/>
                      <a:pt x="322" y="195"/>
                    </a:cubicBezTo>
                    <a:cubicBezTo>
                      <a:pt x="329" y="192"/>
                      <a:pt x="338" y="187"/>
                      <a:pt x="342" y="183"/>
                    </a:cubicBezTo>
                    <a:cubicBezTo>
                      <a:pt x="346" y="179"/>
                      <a:pt x="348" y="173"/>
                      <a:pt x="349" y="168"/>
                    </a:cubicBezTo>
                    <a:cubicBezTo>
                      <a:pt x="350" y="163"/>
                      <a:pt x="348" y="154"/>
                      <a:pt x="349" y="150"/>
                    </a:cubicBezTo>
                    <a:cubicBezTo>
                      <a:pt x="350" y="146"/>
                      <a:pt x="348" y="140"/>
                      <a:pt x="354" y="141"/>
                    </a:cubicBezTo>
                    <a:cubicBezTo>
                      <a:pt x="360" y="142"/>
                      <a:pt x="379" y="153"/>
                      <a:pt x="385" y="153"/>
                    </a:cubicBezTo>
                    <a:cubicBezTo>
                      <a:pt x="391" y="153"/>
                      <a:pt x="391" y="147"/>
                      <a:pt x="393" y="144"/>
                    </a:cubicBezTo>
                    <a:cubicBezTo>
                      <a:pt x="395" y="141"/>
                      <a:pt x="396" y="137"/>
                      <a:pt x="400" y="135"/>
                    </a:cubicBezTo>
                    <a:cubicBezTo>
                      <a:pt x="404" y="133"/>
                      <a:pt x="412" y="135"/>
                      <a:pt x="417" y="131"/>
                    </a:cubicBezTo>
                    <a:cubicBezTo>
                      <a:pt x="422" y="127"/>
                      <a:pt x="421" y="116"/>
                      <a:pt x="430" y="113"/>
                    </a:cubicBezTo>
                    <a:cubicBezTo>
                      <a:pt x="439" y="110"/>
                      <a:pt x="466" y="115"/>
                      <a:pt x="469" y="110"/>
                    </a:cubicBezTo>
                    <a:cubicBezTo>
                      <a:pt x="472" y="105"/>
                      <a:pt x="456" y="84"/>
                      <a:pt x="451" y="81"/>
                    </a:cubicBezTo>
                    <a:cubicBezTo>
                      <a:pt x="446" y="78"/>
                      <a:pt x="441" y="90"/>
                      <a:pt x="436" y="90"/>
                    </a:cubicBezTo>
                    <a:cubicBezTo>
                      <a:pt x="431" y="90"/>
                      <a:pt x="424" y="83"/>
                      <a:pt x="420" y="83"/>
                    </a:cubicBezTo>
                    <a:cubicBezTo>
                      <a:pt x="416" y="83"/>
                      <a:pt x="413" y="93"/>
                      <a:pt x="412" y="92"/>
                    </a:cubicBezTo>
                    <a:cubicBezTo>
                      <a:pt x="411" y="91"/>
                      <a:pt x="416" y="82"/>
                      <a:pt x="415" y="78"/>
                    </a:cubicBezTo>
                    <a:cubicBezTo>
                      <a:pt x="414" y="74"/>
                      <a:pt x="408" y="71"/>
                      <a:pt x="408" y="66"/>
                    </a:cubicBezTo>
                    <a:cubicBezTo>
                      <a:pt x="408" y="61"/>
                      <a:pt x="419" y="50"/>
                      <a:pt x="418" y="47"/>
                    </a:cubicBezTo>
                    <a:cubicBezTo>
                      <a:pt x="417" y="44"/>
                      <a:pt x="407" y="47"/>
                      <a:pt x="403" y="47"/>
                    </a:cubicBezTo>
                    <a:cubicBezTo>
                      <a:pt x="399" y="47"/>
                      <a:pt x="399" y="41"/>
                      <a:pt x="391" y="44"/>
                    </a:cubicBezTo>
                    <a:cubicBezTo>
                      <a:pt x="383" y="47"/>
                      <a:pt x="361" y="61"/>
                      <a:pt x="352" y="65"/>
                    </a:cubicBezTo>
                    <a:cubicBezTo>
                      <a:pt x="343" y="69"/>
                      <a:pt x="340" y="65"/>
                      <a:pt x="334" y="66"/>
                    </a:cubicBezTo>
                    <a:cubicBezTo>
                      <a:pt x="328" y="67"/>
                      <a:pt x="321" y="69"/>
                      <a:pt x="316" y="69"/>
                    </a:cubicBezTo>
                    <a:cubicBezTo>
                      <a:pt x="311" y="69"/>
                      <a:pt x="307" y="68"/>
                      <a:pt x="303" y="66"/>
                    </a:cubicBezTo>
                    <a:cubicBezTo>
                      <a:pt x="299" y="64"/>
                      <a:pt x="297" y="60"/>
                      <a:pt x="294" y="56"/>
                    </a:cubicBezTo>
                    <a:cubicBezTo>
                      <a:pt x="291" y="52"/>
                      <a:pt x="290" y="47"/>
                      <a:pt x="286" y="44"/>
                    </a:cubicBezTo>
                    <a:cubicBezTo>
                      <a:pt x="282" y="41"/>
                      <a:pt x="277" y="38"/>
                      <a:pt x="267" y="38"/>
                    </a:cubicBezTo>
                    <a:cubicBezTo>
                      <a:pt x="257" y="38"/>
                      <a:pt x="236" y="44"/>
                      <a:pt x="226" y="41"/>
                    </a:cubicBezTo>
                    <a:cubicBezTo>
                      <a:pt x="216" y="38"/>
                      <a:pt x="218" y="23"/>
                      <a:pt x="207" y="17"/>
                    </a:cubicBezTo>
                    <a:cubicBezTo>
                      <a:pt x="196" y="11"/>
                      <a:pt x="172" y="0"/>
                      <a:pt x="162" y="3"/>
                    </a:cubicBezTo>
                    <a:cubicBezTo>
                      <a:pt x="152" y="6"/>
                      <a:pt x="150" y="28"/>
                      <a:pt x="148" y="35"/>
                    </a:cubicBezTo>
                    <a:cubicBezTo>
                      <a:pt x="146" y="42"/>
                      <a:pt x="148" y="46"/>
                      <a:pt x="147" y="48"/>
                    </a:cubicBezTo>
                    <a:cubicBezTo>
                      <a:pt x="146" y="50"/>
                      <a:pt x="144" y="47"/>
                      <a:pt x="142" y="48"/>
                    </a:cubicBezTo>
                    <a:cubicBezTo>
                      <a:pt x="140" y="49"/>
                      <a:pt x="141" y="55"/>
                      <a:pt x="136" y="56"/>
                    </a:cubicBezTo>
                    <a:cubicBezTo>
                      <a:pt x="131" y="57"/>
                      <a:pt x="118" y="54"/>
                      <a:pt x="112" y="53"/>
                    </a:cubicBezTo>
                    <a:cubicBezTo>
                      <a:pt x="106" y="52"/>
                      <a:pt x="104" y="50"/>
                      <a:pt x="100" y="47"/>
                    </a:cubicBezTo>
                    <a:cubicBezTo>
                      <a:pt x="96" y="44"/>
                      <a:pt x="89" y="39"/>
                      <a:pt x="85" y="36"/>
                    </a:cubicBezTo>
                    <a:cubicBezTo>
                      <a:pt x="81" y="33"/>
                      <a:pt x="78" y="31"/>
                      <a:pt x="73" y="30"/>
                    </a:cubicBezTo>
                    <a:cubicBezTo>
                      <a:pt x="68" y="29"/>
                      <a:pt x="60" y="28"/>
                      <a:pt x="55" y="29"/>
                    </a:cubicBezTo>
                    <a:cubicBezTo>
                      <a:pt x="50" y="30"/>
                      <a:pt x="46" y="34"/>
                      <a:pt x="42" y="37"/>
                    </a:cubicBezTo>
                    <a:cubicBezTo>
                      <a:pt x="38" y="40"/>
                      <a:pt x="37" y="44"/>
                      <a:pt x="33" y="47"/>
                    </a:cubicBezTo>
                    <a:cubicBezTo>
                      <a:pt x="29" y="50"/>
                      <a:pt x="21" y="51"/>
                      <a:pt x="16" y="54"/>
                    </a:cubicBezTo>
                    <a:cubicBezTo>
                      <a:pt x="11" y="57"/>
                      <a:pt x="6" y="64"/>
                      <a:pt x="4" y="6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4" name="Freeform 136">
                <a:extLst>
                  <a:ext uri="{FF2B5EF4-FFF2-40B4-BE49-F238E27FC236}">
                    <a16:creationId xmlns:a16="http://schemas.microsoft.com/office/drawing/2014/main" id="{3685DF1E-0A6F-436F-9B9C-880E7F590EA0}"/>
                  </a:ext>
                </a:extLst>
              </p:cNvPr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gray">
              <a:xfrm>
                <a:off x="6446838" y="3552825"/>
                <a:ext cx="103188" cy="122238"/>
              </a:xfrm>
              <a:custGeom>
                <a:avLst/>
                <a:gdLst>
                  <a:gd name="T0" fmla="*/ 36 w 63"/>
                  <a:gd name="T1" fmla="*/ 73 h 77"/>
                  <a:gd name="T2" fmla="*/ 48 w 63"/>
                  <a:gd name="T3" fmla="*/ 42 h 77"/>
                  <a:gd name="T4" fmla="*/ 63 w 63"/>
                  <a:gd name="T5" fmla="*/ 34 h 77"/>
                  <a:gd name="T6" fmla="*/ 54 w 63"/>
                  <a:gd name="T7" fmla="*/ 21 h 77"/>
                  <a:gd name="T8" fmla="*/ 24 w 63"/>
                  <a:gd name="T9" fmla="*/ 15 h 77"/>
                  <a:gd name="T10" fmla="*/ 6 w 63"/>
                  <a:gd name="T11" fmla="*/ 0 h 77"/>
                  <a:gd name="T12" fmla="*/ 11 w 63"/>
                  <a:gd name="T13" fmla="*/ 10 h 77"/>
                  <a:gd name="T14" fmla="*/ 0 w 63"/>
                  <a:gd name="T15" fmla="*/ 28 h 77"/>
                  <a:gd name="T16" fmla="*/ 11 w 63"/>
                  <a:gd name="T17" fmla="*/ 33 h 77"/>
                  <a:gd name="T18" fmla="*/ 17 w 63"/>
                  <a:gd name="T19" fmla="*/ 67 h 77"/>
                  <a:gd name="T20" fmla="*/ 21 w 63"/>
                  <a:gd name="T21" fmla="*/ 75 h 77"/>
                  <a:gd name="T22" fmla="*/ 33 w 63"/>
                  <a:gd name="T23" fmla="*/ 69 h 77"/>
                  <a:gd name="T24" fmla="*/ 30 w 63"/>
                  <a:gd name="T25" fmla="*/ 73 h 77"/>
                  <a:gd name="T26" fmla="*/ 36 w 63"/>
                  <a:gd name="T27" fmla="*/ 7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77">
                    <a:moveTo>
                      <a:pt x="36" y="73"/>
                    </a:moveTo>
                    <a:cubicBezTo>
                      <a:pt x="39" y="30"/>
                      <a:pt x="32" y="54"/>
                      <a:pt x="48" y="42"/>
                    </a:cubicBezTo>
                    <a:cubicBezTo>
                      <a:pt x="51" y="34"/>
                      <a:pt x="56" y="37"/>
                      <a:pt x="63" y="34"/>
                    </a:cubicBezTo>
                    <a:cubicBezTo>
                      <a:pt x="62" y="26"/>
                      <a:pt x="63" y="22"/>
                      <a:pt x="54" y="21"/>
                    </a:cubicBezTo>
                    <a:cubicBezTo>
                      <a:pt x="44" y="16"/>
                      <a:pt x="36" y="16"/>
                      <a:pt x="24" y="15"/>
                    </a:cubicBezTo>
                    <a:cubicBezTo>
                      <a:pt x="22" y="6"/>
                      <a:pt x="15" y="2"/>
                      <a:pt x="6" y="0"/>
                    </a:cubicBezTo>
                    <a:cubicBezTo>
                      <a:pt x="1" y="7"/>
                      <a:pt x="4" y="9"/>
                      <a:pt x="11" y="10"/>
                    </a:cubicBezTo>
                    <a:cubicBezTo>
                      <a:pt x="9" y="23"/>
                      <a:pt x="10" y="22"/>
                      <a:pt x="0" y="28"/>
                    </a:cubicBezTo>
                    <a:cubicBezTo>
                      <a:pt x="3" y="30"/>
                      <a:pt x="10" y="29"/>
                      <a:pt x="11" y="33"/>
                    </a:cubicBezTo>
                    <a:cubicBezTo>
                      <a:pt x="15" y="44"/>
                      <a:pt x="11" y="56"/>
                      <a:pt x="17" y="67"/>
                    </a:cubicBezTo>
                    <a:cubicBezTo>
                      <a:pt x="17" y="71"/>
                      <a:pt x="18" y="73"/>
                      <a:pt x="21" y="75"/>
                    </a:cubicBezTo>
                    <a:cubicBezTo>
                      <a:pt x="22" y="77"/>
                      <a:pt x="31" y="69"/>
                      <a:pt x="33" y="69"/>
                    </a:cubicBezTo>
                    <a:cubicBezTo>
                      <a:pt x="34" y="69"/>
                      <a:pt x="30" y="72"/>
                      <a:pt x="30" y="73"/>
                    </a:cubicBezTo>
                    <a:cubicBezTo>
                      <a:pt x="30" y="74"/>
                      <a:pt x="35" y="73"/>
                      <a:pt x="36" y="7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5" name="Freeform 137">
                <a:extLst>
                  <a:ext uri="{FF2B5EF4-FFF2-40B4-BE49-F238E27FC236}">
                    <a16:creationId xmlns:a16="http://schemas.microsoft.com/office/drawing/2014/main" id="{3D97D909-009A-4F98-A1E3-E1A98AC34078}"/>
                  </a:ext>
                </a:extLst>
              </p:cNvPr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gray">
              <a:xfrm>
                <a:off x="6473826" y="3494088"/>
                <a:ext cx="76200" cy="46038"/>
              </a:xfrm>
              <a:custGeom>
                <a:avLst/>
                <a:gdLst>
                  <a:gd name="T0" fmla="*/ 4 w 47"/>
                  <a:gd name="T1" fmla="*/ 26 h 29"/>
                  <a:gd name="T2" fmla="*/ 28 w 47"/>
                  <a:gd name="T3" fmla="*/ 26 h 29"/>
                  <a:gd name="T4" fmla="*/ 43 w 47"/>
                  <a:gd name="T5" fmla="*/ 26 h 29"/>
                  <a:gd name="T6" fmla="*/ 46 w 47"/>
                  <a:gd name="T7" fmla="*/ 16 h 29"/>
                  <a:gd name="T8" fmla="*/ 38 w 47"/>
                  <a:gd name="T9" fmla="*/ 16 h 29"/>
                  <a:gd name="T10" fmla="*/ 29 w 47"/>
                  <a:gd name="T11" fmla="*/ 2 h 29"/>
                  <a:gd name="T12" fmla="*/ 16 w 47"/>
                  <a:gd name="T13" fmla="*/ 2 h 29"/>
                  <a:gd name="T14" fmla="*/ 2 w 47"/>
                  <a:gd name="T15" fmla="*/ 10 h 29"/>
                  <a:gd name="T16" fmla="*/ 4 w 47"/>
                  <a:gd name="T17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29">
                    <a:moveTo>
                      <a:pt x="4" y="26"/>
                    </a:moveTo>
                    <a:cubicBezTo>
                      <a:pt x="9" y="29"/>
                      <a:pt x="22" y="26"/>
                      <a:pt x="28" y="26"/>
                    </a:cubicBezTo>
                    <a:cubicBezTo>
                      <a:pt x="34" y="26"/>
                      <a:pt x="40" y="28"/>
                      <a:pt x="43" y="26"/>
                    </a:cubicBezTo>
                    <a:cubicBezTo>
                      <a:pt x="46" y="24"/>
                      <a:pt x="47" y="18"/>
                      <a:pt x="46" y="16"/>
                    </a:cubicBezTo>
                    <a:cubicBezTo>
                      <a:pt x="45" y="14"/>
                      <a:pt x="41" y="18"/>
                      <a:pt x="38" y="16"/>
                    </a:cubicBezTo>
                    <a:cubicBezTo>
                      <a:pt x="35" y="14"/>
                      <a:pt x="33" y="4"/>
                      <a:pt x="29" y="2"/>
                    </a:cubicBezTo>
                    <a:cubicBezTo>
                      <a:pt x="25" y="0"/>
                      <a:pt x="20" y="1"/>
                      <a:pt x="16" y="2"/>
                    </a:cubicBezTo>
                    <a:cubicBezTo>
                      <a:pt x="12" y="3"/>
                      <a:pt x="4" y="6"/>
                      <a:pt x="2" y="10"/>
                    </a:cubicBezTo>
                    <a:cubicBezTo>
                      <a:pt x="0" y="14"/>
                      <a:pt x="4" y="23"/>
                      <a:pt x="4" y="2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6" name="Freeform 138">
                <a:extLst>
                  <a:ext uri="{FF2B5EF4-FFF2-40B4-BE49-F238E27FC236}">
                    <a16:creationId xmlns:a16="http://schemas.microsoft.com/office/drawing/2014/main" id="{68E1F7CA-A15B-4F0A-84FC-1CD633198615}"/>
                  </a:ext>
                </a:extLst>
              </p:cNvPr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gray">
              <a:xfrm>
                <a:off x="6543676" y="3500438"/>
                <a:ext cx="200025" cy="319088"/>
              </a:xfrm>
              <a:custGeom>
                <a:avLst/>
                <a:gdLst>
                  <a:gd name="T0" fmla="*/ 2 w 124"/>
                  <a:gd name="T1" fmla="*/ 106 h 201"/>
                  <a:gd name="T2" fmla="*/ 6 w 124"/>
                  <a:gd name="T3" fmla="*/ 117 h 201"/>
                  <a:gd name="T4" fmla="*/ 24 w 124"/>
                  <a:gd name="T5" fmla="*/ 141 h 201"/>
                  <a:gd name="T6" fmla="*/ 33 w 124"/>
                  <a:gd name="T7" fmla="*/ 153 h 201"/>
                  <a:gd name="T8" fmla="*/ 36 w 124"/>
                  <a:gd name="T9" fmla="*/ 192 h 201"/>
                  <a:gd name="T10" fmla="*/ 65 w 124"/>
                  <a:gd name="T11" fmla="*/ 183 h 201"/>
                  <a:gd name="T12" fmla="*/ 71 w 124"/>
                  <a:gd name="T13" fmla="*/ 175 h 201"/>
                  <a:gd name="T14" fmla="*/ 80 w 124"/>
                  <a:gd name="T15" fmla="*/ 183 h 201"/>
                  <a:gd name="T16" fmla="*/ 86 w 124"/>
                  <a:gd name="T17" fmla="*/ 199 h 201"/>
                  <a:gd name="T18" fmla="*/ 98 w 124"/>
                  <a:gd name="T19" fmla="*/ 195 h 201"/>
                  <a:gd name="T20" fmla="*/ 86 w 124"/>
                  <a:gd name="T21" fmla="*/ 175 h 201"/>
                  <a:gd name="T22" fmla="*/ 81 w 124"/>
                  <a:gd name="T23" fmla="*/ 165 h 201"/>
                  <a:gd name="T24" fmla="*/ 83 w 124"/>
                  <a:gd name="T25" fmla="*/ 145 h 201"/>
                  <a:gd name="T26" fmla="*/ 90 w 124"/>
                  <a:gd name="T27" fmla="*/ 132 h 201"/>
                  <a:gd name="T28" fmla="*/ 105 w 124"/>
                  <a:gd name="T29" fmla="*/ 132 h 201"/>
                  <a:gd name="T30" fmla="*/ 116 w 124"/>
                  <a:gd name="T31" fmla="*/ 123 h 201"/>
                  <a:gd name="T32" fmla="*/ 122 w 124"/>
                  <a:gd name="T33" fmla="*/ 114 h 201"/>
                  <a:gd name="T34" fmla="*/ 105 w 124"/>
                  <a:gd name="T35" fmla="*/ 84 h 201"/>
                  <a:gd name="T36" fmla="*/ 98 w 124"/>
                  <a:gd name="T37" fmla="*/ 70 h 201"/>
                  <a:gd name="T38" fmla="*/ 86 w 124"/>
                  <a:gd name="T39" fmla="*/ 72 h 201"/>
                  <a:gd name="T40" fmla="*/ 83 w 124"/>
                  <a:gd name="T41" fmla="*/ 57 h 201"/>
                  <a:gd name="T42" fmla="*/ 98 w 124"/>
                  <a:gd name="T43" fmla="*/ 40 h 201"/>
                  <a:gd name="T44" fmla="*/ 99 w 124"/>
                  <a:gd name="T45" fmla="*/ 16 h 201"/>
                  <a:gd name="T46" fmla="*/ 89 w 124"/>
                  <a:gd name="T47" fmla="*/ 0 h 201"/>
                  <a:gd name="T48" fmla="*/ 60 w 124"/>
                  <a:gd name="T49" fmla="*/ 19 h 201"/>
                  <a:gd name="T50" fmla="*/ 47 w 124"/>
                  <a:gd name="T51" fmla="*/ 21 h 201"/>
                  <a:gd name="T52" fmla="*/ 47 w 124"/>
                  <a:gd name="T53" fmla="*/ 46 h 201"/>
                  <a:gd name="T54" fmla="*/ 33 w 124"/>
                  <a:gd name="T55" fmla="*/ 75 h 201"/>
                  <a:gd name="T56" fmla="*/ 18 w 124"/>
                  <a:gd name="T57" fmla="*/ 70 h 201"/>
                  <a:gd name="T58" fmla="*/ 21 w 124"/>
                  <a:gd name="T59" fmla="*/ 97 h 201"/>
                  <a:gd name="T60" fmla="*/ 2 w 124"/>
                  <a:gd name="T61" fmla="*/ 106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4" h="201">
                    <a:moveTo>
                      <a:pt x="2" y="106"/>
                    </a:moveTo>
                    <a:cubicBezTo>
                      <a:pt x="0" y="109"/>
                      <a:pt x="2" y="111"/>
                      <a:pt x="6" y="117"/>
                    </a:cubicBezTo>
                    <a:cubicBezTo>
                      <a:pt x="10" y="123"/>
                      <a:pt x="19" y="135"/>
                      <a:pt x="24" y="141"/>
                    </a:cubicBezTo>
                    <a:cubicBezTo>
                      <a:pt x="29" y="147"/>
                      <a:pt x="31" y="145"/>
                      <a:pt x="33" y="153"/>
                    </a:cubicBezTo>
                    <a:cubicBezTo>
                      <a:pt x="35" y="161"/>
                      <a:pt x="31" y="187"/>
                      <a:pt x="36" y="192"/>
                    </a:cubicBezTo>
                    <a:cubicBezTo>
                      <a:pt x="41" y="197"/>
                      <a:pt x="59" y="186"/>
                      <a:pt x="65" y="183"/>
                    </a:cubicBezTo>
                    <a:cubicBezTo>
                      <a:pt x="71" y="180"/>
                      <a:pt x="69" y="175"/>
                      <a:pt x="71" y="175"/>
                    </a:cubicBezTo>
                    <a:cubicBezTo>
                      <a:pt x="73" y="175"/>
                      <a:pt x="77" y="179"/>
                      <a:pt x="80" y="183"/>
                    </a:cubicBezTo>
                    <a:cubicBezTo>
                      <a:pt x="83" y="187"/>
                      <a:pt x="83" y="197"/>
                      <a:pt x="86" y="199"/>
                    </a:cubicBezTo>
                    <a:cubicBezTo>
                      <a:pt x="89" y="201"/>
                      <a:pt x="98" y="199"/>
                      <a:pt x="98" y="195"/>
                    </a:cubicBezTo>
                    <a:cubicBezTo>
                      <a:pt x="98" y="191"/>
                      <a:pt x="89" y="180"/>
                      <a:pt x="86" y="175"/>
                    </a:cubicBezTo>
                    <a:cubicBezTo>
                      <a:pt x="83" y="170"/>
                      <a:pt x="81" y="170"/>
                      <a:pt x="81" y="165"/>
                    </a:cubicBezTo>
                    <a:cubicBezTo>
                      <a:pt x="81" y="160"/>
                      <a:pt x="82" y="150"/>
                      <a:pt x="83" y="145"/>
                    </a:cubicBezTo>
                    <a:cubicBezTo>
                      <a:pt x="84" y="140"/>
                      <a:pt x="86" y="134"/>
                      <a:pt x="90" y="132"/>
                    </a:cubicBezTo>
                    <a:cubicBezTo>
                      <a:pt x="94" y="130"/>
                      <a:pt x="101" y="133"/>
                      <a:pt x="105" y="132"/>
                    </a:cubicBezTo>
                    <a:cubicBezTo>
                      <a:pt x="109" y="131"/>
                      <a:pt x="113" y="126"/>
                      <a:pt x="116" y="123"/>
                    </a:cubicBezTo>
                    <a:cubicBezTo>
                      <a:pt x="119" y="120"/>
                      <a:pt x="124" y="120"/>
                      <a:pt x="122" y="114"/>
                    </a:cubicBezTo>
                    <a:cubicBezTo>
                      <a:pt x="120" y="108"/>
                      <a:pt x="109" y="91"/>
                      <a:pt x="105" y="84"/>
                    </a:cubicBezTo>
                    <a:cubicBezTo>
                      <a:pt x="101" y="77"/>
                      <a:pt x="101" y="72"/>
                      <a:pt x="98" y="70"/>
                    </a:cubicBezTo>
                    <a:cubicBezTo>
                      <a:pt x="95" y="68"/>
                      <a:pt x="88" y="74"/>
                      <a:pt x="86" y="72"/>
                    </a:cubicBezTo>
                    <a:cubicBezTo>
                      <a:pt x="84" y="70"/>
                      <a:pt x="81" y="62"/>
                      <a:pt x="83" y="57"/>
                    </a:cubicBezTo>
                    <a:cubicBezTo>
                      <a:pt x="85" y="52"/>
                      <a:pt x="95" y="47"/>
                      <a:pt x="98" y="40"/>
                    </a:cubicBezTo>
                    <a:cubicBezTo>
                      <a:pt x="101" y="33"/>
                      <a:pt x="100" y="23"/>
                      <a:pt x="99" y="16"/>
                    </a:cubicBezTo>
                    <a:cubicBezTo>
                      <a:pt x="98" y="9"/>
                      <a:pt x="95" y="0"/>
                      <a:pt x="89" y="0"/>
                    </a:cubicBezTo>
                    <a:cubicBezTo>
                      <a:pt x="83" y="0"/>
                      <a:pt x="67" y="16"/>
                      <a:pt x="60" y="19"/>
                    </a:cubicBezTo>
                    <a:cubicBezTo>
                      <a:pt x="53" y="22"/>
                      <a:pt x="49" y="17"/>
                      <a:pt x="47" y="21"/>
                    </a:cubicBezTo>
                    <a:cubicBezTo>
                      <a:pt x="45" y="25"/>
                      <a:pt x="49" y="37"/>
                      <a:pt x="47" y="46"/>
                    </a:cubicBezTo>
                    <a:cubicBezTo>
                      <a:pt x="45" y="55"/>
                      <a:pt x="38" y="71"/>
                      <a:pt x="33" y="75"/>
                    </a:cubicBezTo>
                    <a:cubicBezTo>
                      <a:pt x="28" y="79"/>
                      <a:pt x="20" y="66"/>
                      <a:pt x="18" y="70"/>
                    </a:cubicBezTo>
                    <a:cubicBezTo>
                      <a:pt x="16" y="74"/>
                      <a:pt x="23" y="91"/>
                      <a:pt x="21" y="97"/>
                    </a:cubicBezTo>
                    <a:cubicBezTo>
                      <a:pt x="19" y="103"/>
                      <a:pt x="4" y="103"/>
                      <a:pt x="2" y="10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7" name="Freeform 139">
                <a:extLst>
                  <a:ext uri="{FF2B5EF4-FFF2-40B4-BE49-F238E27FC236}">
                    <a16:creationId xmlns:a16="http://schemas.microsoft.com/office/drawing/2014/main" id="{56D69341-DF9E-4753-9B48-5E53B7B2F02F}"/>
                  </a:ext>
                </a:extLst>
              </p:cNvPr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gray">
              <a:xfrm>
                <a:off x="6248401" y="3967163"/>
                <a:ext cx="49213" cy="90488"/>
              </a:xfrm>
              <a:custGeom>
                <a:avLst/>
                <a:gdLst>
                  <a:gd name="T0" fmla="*/ 6 w 30"/>
                  <a:gd name="T1" fmla="*/ 52 h 57"/>
                  <a:gd name="T2" fmla="*/ 29 w 30"/>
                  <a:gd name="T3" fmla="*/ 43 h 57"/>
                  <a:gd name="T4" fmla="*/ 24 w 30"/>
                  <a:gd name="T5" fmla="*/ 22 h 57"/>
                  <a:gd name="T6" fmla="*/ 17 w 30"/>
                  <a:gd name="T7" fmla="*/ 7 h 57"/>
                  <a:gd name="T8" fmla="*/ 6 w 30"/>
                  <a:gd name="T9" fmla="*/ 3 h 57"/>
                  <a:gd name="T10" fmla="*/ 0 w 30"/>
                  <a:gd name="T11" fmla="*/ 27 h 57"/>
                  <a:gd name="T12" fmla="*/ 2 w 30"/>
                  <a:gd name="T13" fmla="*/ 51 h 57"/>
                  <a:gd name="T14" fmla="*/ 6 w 30"/>
                  <a:gd name="T15" fmla="*/ 5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57">
                    <a:moveTo>
                      <a:pt x="6" y="52"/>
                    </a:moveTo>
                    <a:cubicBezTo>
                      <a:pt x="18" y="57"/>
                      <a:pt x="23" y="53"/>
                      <a:pt x="29" y="43"/>
                    </a:cubicBezTo>
                    <a:cubicBezTo>
                      <a:pt x="30" y="34"/>
                      <a:pt x="29" y="30"/>
                      <a:pt x="24" y="22"/>
                    </a:cubicBezTo>
                    <a:cubicBezTo>
                      <a:pt x="27" y="0"/>
                      <a:pt x="27" y="15"/>
                      <a:pt x="17" y="7"/>
                    </a:cubicBezTo>
                    <a:cubicBezTo>
                      <a:pt x="14" y="1"/>
                      <a:pt x="12" y="0"/>
                      <a:pt x="6" y="3"/>
                    </a:cubicBezTo>
                    <a:cubicBezTo>
                      <a:pt x="1" y="10"/>
                      <a:pt x="3" y="19"/>
                      <a:pt x="0" y="27"/>
                    </a:cubicBezTo>
                    <a:cubicBezTo>
                      <a:pt x="1" y="35"/>
                      <a:pt x="0" y="43"/>
                      <a:pt x="2" y="51"/>
                    </a:cubicBezTo>
                    <a:cubicBezTo>
                      <a:pt x="2" y="52"/>
                      <a:pt x="6" y="53"/>
                      <a:pt x="6" y="5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8" name="Freeform 146">
                <a:extLst>
                  <a:ext uri="{FF2B5EF4-FFF2-40B4-BE49-F238E27FC236}">
                    <a16:creationId xmlns:a16="http://schemas.microsoft.com/office/drawing/2014/main" id="{97AB00C0-2A72-495A-9385-66AE8F03EC3B}"/>
                  </a:ext>
                </a:extLst>
              </p:cNvPr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gray">
              <a:xfrm>
                <a:off x="5978882" y="3257162"/>
                <a:ext cx="706099" cy="778080"/>
              </a:xfrm>
              <a:custGeom>
                <a:avLst/>
                <a:gdLst/>
                <a:ahLst/>
                <a:cxnLst/>
                <a:rect l="l" t="t" r="r" b="b"/>
                <a:pathLst>
                  <a:path w="706099" h="778080">
                    <a:moveTo>
                      <a:pt x="599618" y="738575"/>
                    </a:moveTo>
                    <a:cubicBezTo>
                      <a:pt x="602843" y="757625"/>
                      <a:pt x="604456" y="757625"/>
                      <a:pt x="612519" y="771913"/>
                    </a:cubicBezTo>
                    <a:cubicBezTo>
                      <a:pt x="607681" y="781438"/>
                      <a:pt x="602843" y="778263"/>
                      <a:pt x="593167" y="773501"/>
                    </a:cubicBezTo>
                    <a:cubicBezTo>
                      <a:pt x="596392" y="748100"/>
                      <a:pt x="577040" y="756038"/>
                      <a:pt x="599618" y="738575"/>
                    </a:cubicBezTo>
                    <a:close/>
                    <a:moveTo>
                      <a:pt x="575428" y="711588"/>
                    </a:moveTo>
                    <a:cubicBezTo>
                      <a:pt x="580266" y="713176"/>
                      <a:pt x="585104" y="711588"/>
                      <a:pt x="588329" y="714763"/>
                    </a:cubicBezTo>
                    <a:cubicBezTo>
                      <a:pt x="591554" y="719526"/>
                      <a:pt x="577040" y="725876"/>
                      <a:pt x="573815" y="721113"/>
                    </a:cubicBezTo>
                    <a:cubicBezTo>
                      <a:pt x="572202" y="717938"/>
                      <a:pt x="575428" y="714763"/>
                      <a:pt x="575428" y="711588"/>
                    </a:cubicBezTo>
                    <a:close/>
                    <a:moveTo>
                      <a:pt x="578250" y="683212"/>
                    </a:moveTo>
                    <a:cubicBezTo>
                      <a:pt x="581476" y="684601"/>
                      <a:pt x="582685" y="688569"/>
                      <a:pt x="580266" y="695713"/>
                    </a:cubicBezTo>
                    <a:cubicBezTo>
                      <a:pt x="573815" y="694126"/>
                      <a:pt x="564139" y="686188"/>
                      <a:pt x="564139" y="686188"/>
                    </a:cubicBezTo>
                    <a:cubicBezTo>
                      <a:pt x="569784" y="683013"/>
                      <a:pt x="575025" y="681823"/>
                      <a:pt x="578250" y="683212"/>
                    </a:cubicBezTo>
                    <a:close/>
                    <a:moveTo>
                      <a:pt x="580266" y="616338"/>
                    </a:moveTo>
                    <a:cubicBezTo>
                      <a:pt x="601231" y="630626"/>
                      <a:pt x="610907" y="660788"/>
                      <a:pt x="580266" y="667138"/>
                    </a:cubicBezTo>
                    <a:cubicBezTo>
                      <a:pt x="567364" y="657613"/>
                      <a:pt x="570590" y="648088"/>
                      <a:pt x="573815" y="633801"/>
                    </a:cubicBezTo>
                    <a:cubicBezTo>
                      <a:pt x="568977" y="624276"/>
                      <a:pt x="570590" y="621101"/>
                      <a:pt x="580266" y="616338"/>
                    </a:cubicBezTo>
                    <a:close/>
                    <a:moveTo>
                      <a:pt x="589942" y="592525"/>
                    </a:moveTo>
                    <a:lnTo>
                      <a:pt x="599417" y="597089"/>
                    </a:lnTo>
                    <a:cubicBezTo>
                      <a:pt x="600425" y="598081"/>
                      <a:pt x="600425" y="599669"/>
                      <a:pt x="602844" y="605225"/>
                    </a:cubicBezTo>
                    <a:lnTo>
                      <a:pt x="597426" y="609715"/>
                    </a:lnTo>
                    <a:cubicBezTo>
                      <a:pt x="593571" y="609789"/>
                      <a:pt x="593571" y="598478"/>
                      <a:pt x="589942" y="592525"/>
                    </a:cubicBezTo>
                    <a:close/>
                    <a:moveTo>
                      <a:pt x="483499" y="235374"/>
                    </a:moveTo>
                    <a:cubicBezTo>
                      <a:pt x="488335" y="232147"/>
                      <a:pt x="496372" y="249589"/>
                      <a:pt x="498007" y="262343"/>
                    </a:cubicBezTo>
                    <a:lnTo>
                      <a:pt x="496612" y="281584"/>
                    </a:lnTo>
                    <a:cubicBezTo>
                      <a:pt x="487515" y="281701"/>
                      <a:pt x="478649" y="281924"/>
                      <a:pt x="471855" y="282419"/>
                    </a:cubicBezTo>
                    <a:cubicBezTo>
                      <a:pt x="472068" y="282114"/>
                      <a:pt x="472131" y="281764"/>
                      <a:pt x="472191" y="281398"/>
                    </a:cubicBezTo>
                    <a:cubicBezTo>
                      <a:pt x="473827" y="271871"/>
                      <a:pt x="478663" y="238524"/>
                      <a:pt x="483499" y="235374"/>
                    </a:cubicBezTo>
                    <a:close/>
                    <a:moveTo>
                      <a:pt x="656036" y="216319"/>
                    </a:moveTo>
                    <a:cubicBezTo>
                      <a:pt x="668980" y="219469"/>
                      <a:pt x="704469" y="232147"/>
                      <a:pt x="706033" y="240061"/>
                    </a:cubicBezTo>
                    <a:cubicBezTo>
                      <a:pt x="707669" y="248052"/>
                      <a:pt x="678652" y="259116"/>
                      <a:pt x="670544" y="263880"/>
                    </a:cubicBezTo>
                    <a:cubicBezTo>
                      <a:pt x="662508" y="268644"/>
                      <a:pt x="660872" y="268644"/>
                      <a:pt x="656036" y="271871"/>
                    </a:cubicBezTo>
                    <a:cubicBezTo>
                      <a:pt x="651200" y="275021"/>
                      <a:pt x="639963" y="276635"/>
                      <a:pt x="638327" y="281398"/>
                    </a:cubicBezTo>
                    <a:cubicBezTo>
                      <a:pt x="636691" y="286162"/>
                      <a:pt x="644799" y="295690"/>
                      <a:pt x="643163" y="305217"/>
                    </a:cubicBezTo>
                    <a:cubicBezTo>
                      <a:pt x="641527" y="314745"/>
                      <a:pt x="636691" y="332186"/>
                      <a:pt x="631855" y="340100"/>
                    </a:cubicBezTo>
                    <a:cubicBezTo>
                      <a:pt x="627019" y="348014"/>
                      <a:pt x="620618" y="352778"/>
                      <a:pt x="614146" y="354392"/>
                    </a:cubicBezTo>
                    <a:cubicBezTo>
                      <a:pt x="607674" y="356005"/>
                      <a:pt x="596366" y="340100"/>
                      <a:pt x="594802" y="348014"/>
                    </a:cubicBezTo>
                    <a:cubicBezTo>
                      <a:pt x="593166" y="356005"/>
                      <a:pt x="602838" y="389351"/>
                      <a:pt x="602838" y="400416"/>
                    </a:cubicBezTo>
                    <a:cubicBezTo>
                      <a:pt x="602838" y="411557"/>
                      <a:pt x="596366" y="408407"/>
                      <a:pt x="591530" y="411557"/>
                    </a:cubicBezTo>
                    <a:cubicBezTo>
                      <a:pt x="586694" y="414707"/>
                      <a:pt x="573821" y="419471"/>
                      <a:pt x="570621" y="414707"/>
                    </a:cubicBezTo>
                    <a:cubicBezTo>
                      <a:pt x="567349" y="409943"/>
                      <a:pt x="573821" y="387738"/>
                      <a:pt x="570621" y="382974"/>
                    </a:cubicBezTo>
                    <a:cubicBezTo>
                      <a:pt x="567349" y="378210"/>
                      <a:pt x="556041" y="381361"/>
                      <a:pt x="549640" y="382974"/>
                    </a:cubicBezTo>
                    <a:cubicBezTo>
                      <a:pt x="543169" y="384588"/>
                      <a:pt x="533496" y="397266"/>
                      <a:pt x="530296" y="397266"/>
                    </a:cubicBezTo>
                    <a:cubicBezTo>
                      <a:pt x="527024" y="397266"/>
                      <a:pt x="527024" y="387738"/>
                      <a:pt x="530296" y="381361"/>
                    </a:cubicBezTo>
                    <a:cubicBezTo>
                      <a:pt x="533496" y="375060"/>
                      <a:pt x="544804" y="362306"/>
                      <a:pt x="551205" y="357542"/>
                    </a:cubicBezTo>
                    <a:cubicBezTo>
                      <a:pt x="557677" y="352778"/>
                      <a:pt x="564149" y="352778"/>
                      <a:pt x="567349" y="348014"/>
                    </a:cubicBezTo>
                    <a:cubicBezTo>
                      <a:pt x="570621" y="343250"/>
                      <a:pt x="575457" y="333800"/>
                      <a:pt x="570621" y="329036"/>
                    </a:cubicBezTo>
                    <a:cubicBezTo>
                      <a:pt x="565785" y="324272"/>
                      <a:pt x="548005" y="322659"/>
                      <a:pt x="536697" y="319508"/>
                    </a:cubicBezTo>
                    <a:cubicBezTo>
                      <a:pt x="525460" y="316281"/>
                      <a:pt x="504479" y="319508"/>
                      <a:pt x="498007" y="309981"/>
                    </a:cubicBezTo>
                    <a:cubicBezTo>
                      <a:pt x="494097" y="304225"/>
                      <a:pt x="495509" y="292664"/>
                      <a:pt x="496612" y="281584"/>
                    </a:cubicBezTo>
                    <a:lnTo>
                      <a:pt x="530296" y="281398"/>
                    </a:lnTo>
                    <a:cubicBezTo>
                      <a:pt x="548005" y="281398"/>
                      <a:pt x="564149" y="284549"/>
                      <a:pt x="570621" y="281398"/>
                    </a:cubicBezTo>
                    <a:cubicBezTo>
                      <a:pt x="577022" y="278171"/>
                      <a:pt x="570621" y="268644"/>
                      <a:pt x="570621" y="262343"/>
                    </a:cubicBezTo>
                    <a:cubicBezTo>
                      <a:pt x="570621" y="255966"/>
                      <a:pt x="570621" y="249589"/>
                      <a:pt x="573821" y="244825"/>
                    </a:cubicBezTo>
                    <a:cubicBezTo>
                      <a:pt x="577022" y="240061"/>
                      <a:pt x="580293" y="233761"/>
                      <a:pt x="588330" y="230610"/>
                    </a:cubicBezTo>
                    <a:cubicBezTo>
                      <a:pt x="596366" y="227383"/>
                      <a:pt x="612510" y="222620"/>
                      <a:pt x="623819" y="221083"/>
                    </a:cubicBezTo>
                    <a:cubicBezTo>
                      <a:pt x="635127" y="219469"/>
                      <a:pt x="643163" y="213092"/>
                      <a:pt x="656036" y="216319"/>
                    </a:cubicBezTo>
                    <a:close/>
                    <a:moveTo>
                      <a:pt x="154942" y="0"/>
                    </a:moveTo>
                    <a:cubicBezTo>
                      <a:pt x="155351" y="393"/>
                      <a:pt x="155351" y="1181"/>
                      <a:pt x="157769" y="1949"/>
                    </a:cubicBezTo>
                    <a:lnTo>
                      <a:pt x="178679" y="6713"/>
                    </a:lnTo>
                    <a:cubicBezTo>
                      <a:pt x="185151" y="9940"/>
                      <a:pt x="194823" y="14704"/>
                      <a:pt x="201295" y="19468"/>
                    </a:cubicBezTo>
                    <a:cubicBezTo>
                      <a:pt x="207767" y="24231"/>
                      <a:pt x="210967" y="32146"/>
                      <a:pt x="215803" y="33759"/>
                    </a:cubicBezTo>
                    <a:cubicBezTo>
                      <a:pt x="220639" y="35296"/>
                      <a:pt x="227111" y="32146"/>
                      <a:pt x="235148" y="30532"/>
                    </a:cubicBezTo>
                    <a:cubicBezTo>
                      <a:pt x="243185" y="28995"/>
                      <a:pt x="257693" y="16241"/>
                      <a:pt x="265801" y="21004"/>
                    </a:cubicBezTo>
                    <a:cubicBezTo>
                      <a:pt x="273837" y="25768"/>
                      <a:pt x="280309" y="49587"/>
                      <a:pt x="280309" y="59115"/>
                    </a:cubicBezTo>
                    <a:cubicBezTo>
                      <a:pt x="280309" y="68642"/>
                      <a:pt x="267436" y="70256"/>
                      <a:pt x="264165" y="76556"/>
                    </a:cubicBezTo>
                    <a:cubicBezTo>
                      <a:pt x="260965" y="82933"/>
                      <a:pt x="259329" y="90847"/>
                      <a:pt x="259329" y="97225"/>
                    </a:cubicBezTo>
                    <a:cubicBezTo>
                      <a:pt x="259329" y="103602"/>
                      <a:pt x="270637" y="111516"/>
                      <a:pt x="269001" y="116280"/>
                    </a:cubicBezTo>
                    <a:cubicBezTo>
                      <a:pt x="267436" y="121044"/>
                      <a:pt x="257693" y="121044"/>
                      <a:pt x="254493" y="125807"/>
                    </a:cubicBezTo>
                    <a:cubicBezTo>
                      <a:pt x="251292" y="130571"/>
                      <a:pt x="246456" y="136948"/>
                      <a:pt x="249656" y="144862"/>
                    </a:cubicBezTo>
                    <a:cubicBezTo>
                      <a:pt x="252857" y="152776"/>
                      <a:pt x="262529" y="165454"/>
                      <a:pt x="270637" y="171832"/>
                    </a:cubicBezTo>
                    <a:cubicBezTo>
                      <a:pt x="278673" y="178209"/>
                      <a:pt x="298018" y="176595"/>
                      <a:pt x="299654" y="186123"/>
                    </a:cubicBezTo>
                    <a:cubicBezTo>
                      <a:pt x="301290" y="195650"/>
                      <a:pt x="280309" y="217856"/>
                      <a:pt x="280309" y="225847"/>
                    </a:cubicBezTo>
                    <a:cubicBezTo>
                      <a:pt x="280309" y="233761"/>
                      <a:pt x="293182" y="232147"/>
                      <a:pt x="299654" y="235374"/>
                    </a:cubicBezTo>
                    <a:cubicBezTo>
                      <a:pt x="306126" y="238524"/>
                      <a:pt x="315798" y="243288"/>
                      <a:pt x="322199" y="248052"/>
                    </a:cubicBezTo>
                    <a:cubicBezTo>
                      <a:pt x="328671" y="252816"/>
                      <a:pt x="335143" y="255966"/>
                      <a:pt x="341615" y="259116"/>
                    </a:cubicBezTo>
                    <a:cubicBezTo>
                      <a:pt x="348015" y="262343"/>
                      <a:pt x="357688" y="265493"/>
                      <a:pt x="367360" y="268644"/>
                    </a:cubicBezTo>
                    <a:cubicBezTo>
                      <a:pt x="377032" y="271871"/>
                      <a:pt x="388340" y="279785"/>
                      <a:pt x="396448" y="282935"/>
                    </a:cubicBezTo>
                    <a:cubicBezTo>
                      <a:pt x="404485" y="286162"/>
                      <a:pt x="406120" y="284549"/>
                      <a:pt x="414157" y="286162"/>
                    </a:cubicBezTo>
                    <a:cubicBezTo>
                      <a:pt x="422193" y="287699"/>
                      <a:pt x="441609" y="292463"/>
                      <a:pt x="449646" y="292463"/>
                    </a:cubicBezTo>
                    <a:cubicBezTo>
                      <a:pt x="457682" y="292463"/>
                      <a:pt x="451282" y="284549"/>
                      <a:pt x="464154" y="282935"/>
                    </a:cubicBezTo>
                    <a:cubicBezTo>
                      <a:pt x="466201" y="282691"/>
                      <a:pt x="468820" y="282485"/>
                      <a:pt x="471855" y="282419"/>
                    </a:cubicBezTo>
                    <a:cubicBezTo>
                      <a:pt x="470382" y="290816"/>
                      <a:pt x="467418" y="289616"/>
                      <a:pt x="468990" y="297226"/>
                    </a:cubicBezTo>
                    <a:cubicBezTo>
                      <a:pt x="470626" y="305217"/>
                      <a:pt x="483499" y="319508"/>
                      <a:pt x="483499" y="325809"/>
                    </a:cubicBezTo>
                    <a:cubicBezTo>
                      <a:pt x="483499" y="332186"/>
                      <a:pt x="467355" y="335336"/>
                      <a:pt x="467355" y="338487"/>
                    </a:cubicBezTo>
                    <a:cubicBezTo>
                      <a:pt x="467355" y="341714"/>
                      <a:pt x="481863" y="344864"/>
                      <a:pt x="486699" y="348014"/>
                    </a:cubicBezTo>
                    <a:cubicBezTo>
                      <a:pt x="491535" y="351241"/>
                      <a:pt x="493171" y="352778"/>
                      <a:pt x="493171" y="362306"/>
                    </a:cubicBezTo>
                    <a:cubicBezTo>
                      <a:pt x="493171" y="371833"/>
                      <a:pt x="493171" y="397266"/>
                      <a:pt x="488335" y="405180"/>
                    </a:cubicBezTo>
                    <a:cubicBezTo>
                      <a:pt x="483499" y="413170"/>
                      <a:pt x="465790" y="406793"/>
                      <a:pt x="459318" y="411557"/>
                    </a:cubicBezTo>
                    <a:cubicBezTo>
                      <a:pt x="452846" y="416321"/>
                      <a:pt x="454482" y="432149"/>
                      <a:pt x="448010" y="438526"/>
                    </a:cubicBezTo>
                    <a:cubicBezTo>
                      <a:pt x="441609" y="444903"/>
                      <a:pt x="433502" y="448053"/>
                      <a:pt x="423829" y="454431"/>
                    </a:cubicBezTo>
                    <a:cubicBezTo>
                      <a:pt x="414157" y="460731"/>
                      <a:pt x="393177" y="465495"/>
                      <a:pt x="385140" y="473486"/>
                    </a:cubicBezTo>
                    <a:cubicBezTo>
                      <a:pt x="377032" y="481400"/>
                      <a:pt x="380304" y="492541"/>
                      <a:pt x="372196" y="500455"/>
                    </a:cubicBezTo>
                    <a:cubicBezTo>
                      <a:pt x="364160" y="508369"/>
                      <a:pt x="344815" y="513133"/>
                      <a:pt x="338343" y="521124"/>
                    </a:cubicBezTo>
                    <a:cubicBezTo>
                      <a:pt x="331942" y="529038"/>
                      <a:pt x="336778" y="543329"/>
                      <a:pt x="331942" y="548093"/>
                    </a:cubicBezTo>
                    <a:cubicBezTo>
                      <a:pt x="327106" y="552856"/>
                      <a:pt x="320634" y="544866"/>
                      <a:pt x="312526" y="548093"/>
                    </a:cubicBezTo>
                    <a:cubicBezTo>
                      <a:pt x="304490" y="551243"/>
                      <a:pt x="288346" y="557620"/>
                      <a:pt x="283510" y="567148"/>
                    </a:cubicBezTo>
                    <a:cubicBezTo>
                      <a:pt x="278673" y="576675"/>
                      <a:pt x="283510" y="587740"/>
                      <a:pt x="283510" y="602031"/>
                    </a:cubicBezTo>
                    <a:cubicBezTo>
                      <a:pt x="283510" y="616322"/>
                      <a:pt x="286781" y="636991"/>
                      <a:pt x="283510" y="652819"/>
                    </a:cubicBezTo>
                    <a:cubicBezTo>
                      <a:pt x="280309" y="668724"/>
                      <a:pt x="269001" y="686165"/>
                      <a:pt x="260965" y="700456"/>
                    </a:cubicBezTo>
                    <a:cubicBezTo>
                      <a:pt x="252857" y="714748"/>
                      <a:pt x="244820" y="727426"/>
                      <a:pt x="236784" y="735416"/>
                    </a:cubicBezTo>
                    <a:cubicBezTo>
                      <a:pt x="230703" y="741352"/>
                      <a:pt x="228303" y="756234"/>
                      <a:pt x="220672" y="753936"/>
                    </a:cubicBezTo>
                    <a:lnTo>
                      <a:pt x="210967" y="744944"/>
                    </a:lnTo>
                    <a:cubicBezTo>
                      <a:pt x="194823" y="722662"/>
                      <a:pt x="157769" y="643291"/>
                      <a:pt x="139989" y="597267"/>
                    </a:cubicBezTo>
                    <a:cubicBezTo>
                      <a:pt x="122281" y="551243"/>
                      <a:pt x="112608" y="495691"/>
                      <a:pt x="104501" y="463958"/>
                    </a:cubicBezTo>
                    <a:cubicBezTo>
                      <a:pt x="96464" y="432149"/>
                      <a:pt x="101300" y="414707"/>
                      <a:pt x="94828" y="409943"/>
                    </a:cubicBezTo>
                    <a:cubicBezTo>
                      <a:pt x="88427" y="405180"/>
                      <a:pt x="77119" y="436912"/>
                      <a:pt x="65811" y="438526"/>
                    </a:cubicBezTo>
                    <a:cubicBezTo>
                      <a:pt x="54503" y="440139"/>
                      <a:pt x="28758" y="425848"/>
                      <a:pt x="22286" y="419471"/>
                    </a:cubicBezTo>
                    <a:cubicBezTo>
                      <a:pt x="15814" y="413170"/>
                      <a:pt x="17450" y="402029"/>
                      <a:pt x="22286" y="397266"/>
                    </a:cubicBezTo>
                    <a:cubicBezTo>
                      <a:pt x="27122" y="392502"/>
                      <a:pt x="54503" y="389351"/>
                      <a:pt x="51303" y="387738"/>
                    </a:cubicBezTo>
                    <a:cubicBezTo>
                      <a:pt x="48102" y="386124"/>
                      <a:pt x="12614" y="387738"/>
                      <a:pt x="4506" y="382974"/>
                    </a:cubicBezTo>
                    <a:cubicBezTo>
                      <a:pt x="-3531" y="378210"/>
                      <a:pt x="1306" y="367069"/>
                      <a:pt x="2941" y="362306"/>
                    </a:cubicBezTo>
                    <a:lnTo>
                      <a:pt x="19014" y="349628"/>
                    </a:lnTo>
                    <a:cubicBezTo>
                      <a:pt x="27122" y="348014"/>
                      <a:pt x="44831" y="351241"/>
                      <a:pt x="52939" y="349628"/>
                    </a:cubicBezTo>
                    <a:cubicBezTo>
                      <a:pt x="60975" y="348014"/>
                      <a:pt x="64176" y="343250"/>
                      <a:pt x="65811" y="338487"/>
                    </a:cubicBezTo>
                    <a:lnTo>
                      <a:pt x="65811" y="319508"/>
                    </a:lnTo>
                    <a:cubicBezTo>
                      <a:pt x="64176" y="314745"/>
                      <a:pt x="54503" y="316281"/>
                      <a:pt x="51303" y="311518"/>
                    </a:cubicBezTo>
                    <a:cubicBezTo>
                      <a:pt x="48102" y="306754"/>
                      <a:pt x="46467" y="294076"/>
                      <a:pt x="41631" y="287699"/>
                    </a:cubicBezTo>
                    <a:cubicBezTo>
                      <a:pt x="36794" y="281398"/>
                      <a:pt x="20650" y="273407"/>
                      <a:pt x="22286" y="268644"/>
                    </a:cubicBezTo>
                    <a:cubicBezTo>
                      <a:pt x="23851" y="263880"/>
                      <a:pt x="46467" y="259116"/>
                      <a:pt x="56139" y="257579"/>
                    </a:cubicBezTo>
                    <a:cubicBezTo>
                      <a:pt x="65811" y="255966"/>
                      <a:pt x="77119" y="263880"/>
                      <a:pt x="85156" y="257579"/>
                    </a:cubicBezTo>
                    <a:cubicBezTo>
                      <a:pt x="93264" y="251202"/>
                      <a:pt x="89992" y="233761"/>
                      <a:pt x="99664" y="221083"/>
                    </a:cubicBezTo>
                    <a:cubicBezTo>
                      <a:pt x="109337" y="208328"/>
                      <a:pt x="133518" y="192500"/>
                      <a:pt x="143190" y="178209"/>
                    </a:cubicBezTo>
                    <a:cubicBezTo>
                      <a:pt x="152933" y="163918"/>
                      <a:pt x="164170" y="141712"/>
                      <a:pt x="162606" y="130571"/>
                    </a:cubicBezTo>
                    <a:cubicBezTo>
                      <a:pt x="160970" y="119430"/>
                      <a:pt x="136789" y="124194"/>
                      <a:pt x="130317" y="114666"/>
                    </a:cubicBezTo>
                    <a:cubicBezTo>
                      <a:pt x="123845" y="105139"/>
                      <a:pt x="123845" y="82933"/>
                      <a:pt x="122281" y="76556"/>
                    </a:cubicBezTo>
                    <a:cubicBezTo>
                      <a:pt x="121076" y="71917"/>
                      <a:pt x="117250" y="74110"/>
                      <a:pt x="115809" y="73406"/>
                    </a:cubicBezTo>
                    <a:cubicBezTo>
                      <a:pt x="117444" y="70256"/>
                      <a:pt x="127117" y="57501"/>
                      <a:pt x="128681" y="52737"/>
                    </a:cubicBezTo>
                    <a:cubicBezTo>
                      <a:pt x="130317" y="47974"/>
                      <a:pt x="128681" y="46437"/>
                      <a:pt x="123845" y="43287"/>
                    </a:cubicBezTo>
                    <a:cubicBezTo>
                      <a:pt x="119009" y="40060"/>
                      <a:pt x="102936" y="33759"/>
                      <a:pt x="99664" y="28995"/>
                    </a:cubicBezTo>
                    <a:cubicBezTo>
                      <a:pt x="96464" y="24231"/>
                      <a:pt x="99664" y="14704"/>
                      <a:pt x="104501" y="9940"/>
                    </a:cubicBezTo>
                    <a:cubicBezTo>
                      <a:pt x="109337" y="5176"/>
                      <a:pt x="125481" y="3563"/>
                      <a:pt x="128681" y="1949"/>
                    </a:cubicBezTo>
                    <a:lnTo>
                      <a:pt x="125706" y="4890"/>
                    </a:lnTo>
                    <a:lnTo>
                      <a:pt x="106136" y="9940"/>
                    </a:lnTo>
                    <a:cubicBezTo>
                      <a:pt x="99664" y="13090"/>
                      <a:pt x="106136" y="21004"/>
                      <a:pt x="106136" y="24231"/>
                    </a:cubicBezTo>
                    <a:lnTo>
                      <a:pt x="125706" y="4890"/>
                    </a:lnTo>
                    <a:cubicBezTo>
                      <a:pt x="135262" y="2946"/>
                      <a:pt x="145405" y="1227"/>
                      <a:pt x="149662" y="4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59" name="Freeform 147">
                <a:extLst>
                  <a:ext uri="{FF2B5EF4-FFF2-40B4-BE49-F238E27FC236}">
                    <a16:creationId xmlns:a16="http://schemas.microsoft.com/office/drawing/2014/main" id="{6E980B3C-3EFF-4106-8E4D-EACD64E8107F}"/>
                  </a:ext>
                </a:extLst>
              </p:cNvPr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gray">
              <a:xfrm>
                <a:off x="6667501" y="3700463"/>
                <a:ext cx="201613" cy="363538"/>
              </a:xfrm>
              <a:custGeom>
                <a:avLst/>
                <a:gdLst>
                  <a:gd name="T0" fmla="*/ 65 w 125"/>
                  <a:gd name="T1" fmla="*/ 217 h 229"/>
                  <a:gd name="T2" fmla="*/ 50 w 125"/>
                  <a:gd name="T3" fmla="*/ 208 h 229"/>
                  <a:gd name="T4" fmla="*/ 46 w 125"/>
                  <a:gd name="T5" fmla="*/ 192 h 229"/>
                  <a:gd name="T6" fmla="*/ 43 w 125"/>
                  <a:gd name="T7" fmla="*/ 180 h 229"/>
                  <a:gd name="T8" fmla="*/ 46 w 125"/>
                  <a:gd name="T9" fmla="*/ 168 h 229"/>
                  <a:gd name="T10" fmla="*/ 34 w 125"/>
                  <a:gd name="T11" fmla="*/ 171 h 229"/>
                  <a:gd name="T12" fmla="*/ 28 w 125"/>
                  <a:gd name="T13" fmla="*/ 157 h 229"/>
                  <a:gd name="T14" fmla="*/ 41 w 125"/>
                  <a:gd name="T15" fmla="*/ 142 h 229"/>
                  <a:gd name="T16" fmla="*/ 43 w 125"/>
                  <a:gd name="T17" fmla="*/ 127 h 229"/>
                  <a:gd name="T18" fmla="*/ 44 w 125"/>
                  <a:gd name="T19" fmla="*/ 112 h 229"/>
                  <a:gd name="T20" fmla="*/ 53 w 125"/>
                  <a:gd name="T21" fmla="*/ 108 h 229"/>
                  <a:gd name="T22" fmla="*/ 58 w 125"/>
                  <a:gd name="T23" fmla="*/ 124 h 229"/>
                  <a:gd name="T24" fmla="*/ 71 w 125"/>
                  <a:gd name="T25" fmla="*/ 126 h 229"/>
                  <a:gd name="T26" fmla="*/ 82 w 125"/>
                  <a:gd name="T27" fmla="*/ 139 h 229"/>
                  <a:gd name="T28" fmla="*/ 91 w 125"/>
                  <a:gd name="T29" fmla="*/ 153 h 229"/>
                  <a:gd name="T30" fmla="*/ 101 w 125"/>
                  <a:gd name="T31" fmla="*/ 157 h 229"/>
                  <a:gd name="T32" fmla="*/ 112 w 125"/>
                  <a:gd name="T33" fmla="*/ 159 h 229"/>
                  <a:gd name="T34" fmla="*/ 100 w 125"/>
                  <a:gd name="T35" fmla="*/ 147 h 229"/>
                  <a:gd name="T36" fmla="*/ 83 w 125"/>
                  <a:gd name="T37" fmla="*/ 126 h 229"/>
                  <a:gd name="T38" fmla="*/ 83 w 125"/>
                  <a:gd name="T39" fmla="*/ 100 h 229"/>
                  <a:gd name="T40" fmla="*/ 106 w 125"/>
                  <a:gd name="T41" fmla="*/ 99 h 229"/>
                  <a:gd name="T42" fmla="*/ 122 w 125"/>
                  <a:gd name="T43" fmla="*/ 94 h 229"/>
                  <a:gd name="T44" fmla="*/ 124 w 125"/>
                  <a:gd name="T45" fmla="*/ 73 h 229"/>
                  <a:gd name="T46" fmla="*/ 113 w 125"/>
                  <a:gd name="T47" fmla="*/ 63 h 229"/>
                  <a:gd name="T48" fmla="*/ 115 w 125"/>
                  <a:gd name="T49" fmla="*/ 46 h 229"/>
                  <a:gd name="T50" fmla="*/ 97 w 125"/>
                  <a:gd name="T51" fmla="*/ 33 h 229"/>
                  <a:gd name="T52" fmla="*/ 83 w 125"/>
                  <a:gd name="T53" fmla="*/ 39 h 229"/>
                  <a:gd name="T54" fmla="*/ 68 w 125"/>
                  <a:gd name="T55" fmla="*/ 36 h 229"/>
                  <a:gd name="T56" fmla="*/ 58 w 125"/>
                  <a:gd name="T57" fmla="*/ 46 h 229"/>
                  <a:gd name="T58" fmla="*/ 62 w 125"/>
                  <a:gd name="T59" fmla="*/ 19 h 229"/>
                  <a:gd name="T60" fmla="*/ 50 w 125"/>
                  <a:gd name="T61" fmla="*/ 9 h 229"/>
                  <a:gd name="T62" fmla="*/ 43 w 125"/>
                  <a:gd name="T63" fmla="*/ 0 h 229"/>
                  <a:gd name="T64" fmla="*/ 17 w 125"/>
                  <a:gd name="T65" fmla="*/ 7 h 229"/>
                  <a:gd name="T66" fmla="*/ 5 w 125"/>
                  <a:gd name="T67" fmla="*/ 18 h 229"/>
                  <a:gd name="T68" fmla="*/ 5 w 125"/>
                  <a:gd name="T69" fmla="*/ 37 h 229"/>
                  <a:gd name="T70" fmla="*/ 17 w 125"/>
                  <a:gd name="T71" fmla="*/ 57 h 229"/>
                  <a:gd name="T72" fmla="*/ 16 w 125"/>
                  <a:gd name="T73" fmla="*/ 73 h 229"/>
                  <a:gd name="T74" fmla="*/ 3 w 125"/>
                  <a:gd name="T75" fmla="*/ 63 h 229"/>
                  <a:gd name="T76" fmla="*/ 1 w 125"/>
                  <a:gd name="T77" fmla="*/ 57 h 229"/>
                  <a:gd name="T78" fmla="*/ 7 w 125"/>
                  <a:gd name="T79" fmla="*/ 90 h 229"/>
                  <a:gd name="T80" fmla="*/ 8 w 125"/>
                  <a:gd name="T81" fmla="*/ 100 h 229"/>
                  <a:gd name="T82" fmla="*/ 17 w 125"/>
                  <a:gd name="T83" fmla="*/ 111 h 229"/>
                  <a:gd name="T84" fmla="*/ 5 w 125"/>
                  <a:gd name="T85" fmla="*/ 117 h 229"/>
                  <a:gd name="T86" fmla="*/ 2 w 125"/>
                  <a:gd name="T87" fmla="*/ 124 h 229"/>
                  <a:gd name="T88" fmla="*/ 14 w 125"/>
                  <a:gd name="T89" fmla="*/ 150 h 229"/>
                  <a:gd name="T90" fmla="*/ 14 w 125"/>
                  <a:gd name="T91" fmla="*/ 163 h 229"/>
                  <a:gd name="T92" fmla="*/ 25 w 125"/>
                  <a:gd name="T93" fmla="*/ 192 h 229"/>
                  <a:gd name="T94" fmla="*/ 38 w 125"/>
                  <a:gd name="T95" fmla="*/ 213 h 229"/>
                  <a:gd name="T96" fmla="*/ 58 w 125"/>
                  <a:gd name="T97" fmla="*/ 229 h 229"/>
                  <a:gd name="T98" fmla="*/ 65 w 125"/>
                  <a:gd name="T99" fmla="*/ 217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5" h="229">
                    <a:moveTo>
                      <a:pt x="65" y="217"/>
                    </a:moveTo>
                    <a:cubicBezTo>
                      <a:pt x="64" y="214"/>
                      <a:pt x="53" y="212"/>
                      <a:pt x="50" y="208"/>
                    </a:cubicBezTo>
                    <a:cubicBezTo>
                      <a:pt x="47" y="204"/>
                      <a:pt x="47" y="197"/>
                      <a:pt x="46" y="192"/>
                    </a:cubicBezTo>
                    <a:cubicBezTo>
                      <a:pt x="45" y="187"/>
                      <a:pt x="43" y="184"/>
                      <a:pt x="43" y="180"/>
                    </a:cubicBezTo>
                    <a:cubicBezTo>
                      <a:pt x="43" y="176"/>
                      <a:pt x="47" y="169"/>
                      <a:pt x="46" y="168"/>
                    </a:cubicBezTo>
                    <a:cubicBezTo>
                      <a:pt x="45" y="167"/>
                      <a:pt x="37" y="173"/>
                      <a:pt x="34" y="171"/>
                    </a:cubicBezTo>
                    <a:cubicBezTo>
                      <a:pt x="31" y="169"/>
                      <a:pt x="27" y="162"/>
                      <a:pt x="28" y="157"/>
                    </a:cubicBezTo>
                    <a:cubicBezTo>
                      <a:pt x="29" y="152"/>
                      <a:pt x="39" y="147"/>
                      <a:pt x="41" y="142"/>
                    </a:cubicBezTo>
                    <a:cubicBezTo>
                      <a:pt x="43" y="137"/>
                      <a:pt x="43" y="132"/>
                      <a:pt x="43" y="127"/>
                    </a:cubicBezTo>
                    <a:cubicBezTo>
                      <a:pt x="43" y="122"/>
                      <a:pt x="42" y="115"/>
                      <a:pt x="44" y="112"/>
                    </a:cubicBezTo>
                    <a:cubicBezTo>
                      <a:pt x="46" y="109"/>
                      <a:pt x="51" y="106"/>
                      <a:pt x="53" y="108"/>
                    </a:cubicBezTo>
                    <a:cubicBezTo>
                      <a:pt x="55" y="110"/>
                      <a:pt x="55" y="121"/>
                      <a:pt x="58" y="124"/>
                    </a:cubicBezTo>
                    <a:cubicBezTo>
                      <a:pt x="61" y="127"/>
                      <a:pt x="67" y="124"/>
                      <a:pt x="71" y="126"/>
                    </a:cubicBezTo>
                    <a:cubicBezTo>
                      <a:pt x="75" y="128"/>
                      <a:pt x="79" y="134"/>
                      <a:pt x="82" y="139"/>
                    </a:cubicBezTo>
                    <a:cubicBezTo>
                      <a:pt x="85" y="144"/>
                      <a:pt x="88" y="150"/>
                      <a:pt x="91" y="153"/>
                    </a:cubicBezTo>
                    <a:cubicBezTo>
                      <a:pt x="94" y="156"/>
                      <a:pt x="97" y="156"/>
                      <a:pt x="101" y="157"/>
                    </a:cubicBezTo>
                    <a:cubicBezTo>
                      <a:pt x="105" y="158"/>
                      <a:pt x="112" y="161"/>
                      <a:pt x="112" y="159"/>
                    </a:cubicBezTo>
                    <a:cubicBezTo>
                      <a:pt x="112" y="157"/>
                      <a:pt x="105" y="152"/>
                      <a:pt x="100" y="147"/>
                    </a:cubicBezTo>
                    <a:cubicBezTo>
                      <a:pt x="95" y="142"/>
                      <a:pt x="86" y="134"/>
                      <a:pt x="83" y="126"/>
                    </a:cubicBezTo>
                    <a:cubicBezTo>
                      <a:pt x="80" y="118"/>
                      <a:pt x="79" y="104"/>
                      <a:pt x="83" y="100"/>
                    </a:cubicBezTo>
                    <a:cubicBezTo>
                      <a:pt x="87" y="96"/>
                      <a:pt x="100" y="100"/>
                      <a:pt x="106" y="99"/>
                    </a:cubicBezTo>
                    <a:cubicBezTo>
                      <a:pt x="112" y="98"/>
                      <a:pt x="119" y="98"/>
                      <a:pt x="122" y="94"/>
                    </a:cubicBezTo>
                    <a:cubicBezTo>
                      <a:pt x="125" y="90"/>
                      <a:pt x="125" y="78"/>
                      <a:pt x="124" y="73"/>
                    </a:cubicBezTo>
                    <a:cubicBezTo>
                      <a:pt x="123" y="68"/>
                      <a:pt x="114" y="67"/>
                      <a:pt x="113" y="63"/>
                    </a:cubicBezTo>
                    <a:cubicBezTo>
                      <a:pt x="112" y="59"/>
                      <a:pt x="118" y="51"/>
                      <a:pt x="115" y="46"/>
                    </a:cubicBezTo>
                    <a:cubicBezTo>
                      <a:pt x="112" y="41"/>
                      <a:pt x="102" y="34"/>
                      <a:pt x="97" y="33"/>
                    </a:cubicBezTo>
                    <a:cubicBezTo>
                      <a:pt x="92" y="32"/>
                      <a:pt x="88" y="39"/>
                      <a:pt x="83" y="39"/>
                    </a:cubicBezTo>
                    <a:cubicBezTo>
                      <a:pt x="78" y="39"/>
                      <a:pt x="72" y="35"/>
                      <a:pt x="68" y="36"/>
                    </a:cubicBezTo>
                    <a:cubicBezTo>
                      <a:pt x="64" y="37"/>
                      <a:pt x="59" y="49"/>
                      <a:pt x="58" y="46"/>
                    </a:cubicBezTo>
                    <a:cubicBezTo>
                      <a:pt x="57" y="43"/>
                      <a:pt x="63" y="25"/>
                      <a:pt x="62" y="19"/>
                    </a:cubicBezTo>
                    <a:cubicBezTo>
                      <a:pt x="61" y="13"/>
                      <a:pt x="53" y="12"/>
                      <a:pt x="50" y="9"/>
                    </a:cubicBezTo>
                    <a:cubicBezTo>
                      <a:pt x="47" y="6"/>
                      <a:pt x="48" y="0"/>
                      <a:pt x="43" y="0"/>
                    </a:cubicBezTo>
                    <a:cubicBezTo>
                      <a:pt x="38" y="0"/>
                      <a:pt x="23" y="4"/>
                      <a:pt x="17" y="7"/>
                    </a:cubicBezTo>
                    <a:cubicBezTo>
                      <a:pt x="11" y="10"/>
                      <a:pt x="7" y="13"/>
                      <a:pt x="5" y="18"/>
                    </a:cubicBezTo>
                    <a:cubicBezTo>
                      <a:pt x="3" y="23"/>
                      <a:pt x="3" y="30"/>
                      <a:pt x="5" y="37"/>
                    </a:cubicBezTo>
                    <a:cubicBezTo>
                      <a:pt x="7" y="44"/>
                      <a:pt x="15" y="51"/>
                      <a:pt x="17" y="57"/>
                    </a:cubicBezTo>
                    <a:cubicBezTo>
                      <a:pt x="19" y="63"/>
                      <a:pt x="18" y="72"/>
                      <a:pt x="16" y="73"/>
                    </a:cubicBezTo>
                    <a:cubicBezTo>
                      <a:pt x="14" y="74"/>
                      <a:pt x="5" y="66"/>
                      <a:pt x="3" y="63"/>
                    </a:cubicBezTo>
                    <a:cubicBezTo>
                      <a:pt x="1" y="60"/>
                      <a:pt x="0" y="53"/>
                      <a:pt x="1" y="57"/>
                    </a:cubicBezTo>
                    <a:cubicBezTo>
                      <a:pt x="2" y="61"/>
                      <a:pt x="6" y="83"/>
                      <a:pt x="7" y="90"/>
                    </a:cubicBezTo>
                    <a:cubicBezTo>
                      <a:pt x="8" y="97"/>
                      <a:pt x="6" y="97"/>
                      <a:pt x="8" y="100"/>
                    </a:cubicBezTo>
                    <a:cubicBezTo>
                      <a:pt x="10" y="103"/>
                      <a:pt x="17" y="108"/>
                      <a:pt x="17" y="111"/>
                    </a:cubicBezTo>
                    <a:cubicBezTo>
                      <a:pt x="17" y="114"/>
                      <a:pt x="7" y="115"/>
                      <a:pt x="5" y="117"/>
                    </a:cubicBezTo>
                    <a:cubicBezTo>
                      <a:pt x="3" y="119"/>
                      <a:pt x="1" y="119"/>
                      <a:pt x="2" y="124"/>
                    </a:cubicBezTo>
                    <a:cubicBezTo>
                      <a:pt x="3" y="129"/>
                      <a:pt x="12" y="144"/>
                      <a:pt x="14" y="150"/>
                    </a:cubicBezTo>
                    <a:cubicBezTo>
                      <a:pt x="16" y="156"/>
                      <a:pt x="12" y="156"/>
                      <a:pt x="14" y="163"/>
                    </a:cubicBezTo>
                    <a:cubicBezTo>
                      <a:pt x="16" y="170"/>
                      <a:pt x="21" y="184"/>
                      <a:pt x="25" y="192"/>
                    </a:cubicBezTo>
                    <a:cubicBezTo>
                      <a:pt x="29" y="200"/>
                      <a:pt x="33" y="207"/>
                      <a:pt x="38" y="213"/>
                    </a:cubicBezTo>
                    <a:cubicBezTo>
                      <a:pt x="43" y="219"/>
                      <a:pt x="53" y="229"/>
                      <a:pt x="58" y="229"/>
                    </a:cubicBezTo>
                    <a:cubicBezTo>
                      <a:pt x="63" y="229"/>
                      <a:pt x="66" y="220"/>
                      <a:pt x="65" y="21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0" name="Freeform 148">
                <a:extLst>
                  <a:ext uri="{FF2B5EF4-FFF2-40B4-BE49-F238E27FC236}">
                    <a16:creationId xmlns:a16="http://schemas.microsoft.com/office/drawing/2014/main" id="{9C8BE9B3-7B87-4948-81A2-5A18E14BD74A}"/>
                  </a:ext>
                </a:extLst>
              </p:cNvPr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gray">
              <a:xfrm>
                <a:off x="6789738" y="3622675"/>
                <a:ext cx="176213" cy="373063"/>
              </a:xfrm>
              <a:custGeom>
                <a:avLst/>
                <a:gdLst>
                  <a:gd name="T0" fmla="*/ 33 w 109"/>
                  <a:gd name="T1" fmla="*/ 202 h 235"/>
                  <a:gd name="T2" fmla="*/ 49 w 109"/>
                  <a:gd name="T3" fmla="*/ 187 h 235"/>
                  <a:gd name="T4" fmla="*/ 75 w 109"/>
                  <a:gd name="T5" fmla="*/ 176 h 235"/>
                  <a:gd name="T6" fmla="*/ 75 w 109"/>
                  <a:gd name="T7" fmla="*/ 148 h 235"/>
                  <a:gd name="T8" fmla="*/ 54 w 109"/>
                  <a:gd name="T9" fmla="*/ 143 h 235"/>
                  <a:gd name="T10" fmla="*/ 76 w 109"/>
                  <a:gd name="T11" fmla="*/ 139 h 235"/>
                  <a:gd name="T12" fmla="*/ 64 w 109"/>
                  <a:gd name="T13" fmla="*/ 110 h 235"/>
                  <a:gd name="T14" fmla="*/ 45 w 109"/>
                  <a:gd name="T15" fmla="*/ 86 h 235"/>
                  <a:gd name="T16" fmla="*/ 25 w 109"/>
                  <a:gd name="T17" fmla="*/ 70 h 235"/>
                  <a:gd name="T18" fmla="*/ 39 w 109"/>
                  <a:gd name="T19" fmla="*/ 53 h 235"/>
                  <a:gd name="T20" fmla="*/ 27 w 109"/>
                  <a:gd name="T21" fmla="*/ 45 h 235"/>
                  <a:gd name="T22" fmla="*/ 20 w 109"/>
                  <a:gd name="T23" fmla="*/ 38 h 235"/>
                  <a:gd name="T24" fmla="*/ 6 w 109"/>
                  <a:gd name="T25" fmla="*/ 28 h 235"/>
                  <a:gd name="T26" fmla="*/ 0 w 109"/>
                  <a:gd name="T27" fmla="*/ 16 h 235"/>
                  <a:gd name="T28" fmla="*/ 6 w 109"/>
                  <a:gd name="T29" fmla="*/ 7 h 235"/>
                  <a:gd name="T30" fmla="*/ 19 w 109"/>
                  <a:gd name="T31" fmla="*/ 16 h 235"/>
                  <a:gd name="T32" fmla="*/ 34 w 109"/>
                  <a:gd name="T33" fmla="*/ 10 h 235"/>
                  <a:gd name="T34" fmla="*/ 45 w 109"/>
                  <a:gd name="T35" fmla="*/ 4 h 235"/>
                  <a:gd name="T36" fmla="*/ 81 w 109"/>
                  <a:gd name="T37" fmla="*/ 32 h 235"/>
                  <a:gd name="T38" fmla="*/ 63 w 109"/>
                  <a:gd name="T39" fmla="*/ 49 h 235"/>
                  <a:gd name="T40" fmla="*/ 51 w 109"/>
                  <a:gd name="T41" fmla="*/ 65 h 235"/>
                  <a:gd name="T42" fmla="*/ 55 w 109"/>
                  <a:gd name="T43" fmla="*/ 82 h 235"/>
                  <a:gd name="T44" fmla="*/ 79 w 109"/>
                  <a:gd name="T45" fmla="*/ 110 h 235"/>
                  <a:gd name="T46" fmla="*/ 94 w 109"/>
                  <a:gd name="T47" fmla="*/ 130 h 235"/>
                  <a:gd name="T48" fmla="*/ 105 w 109"/>
                  <a:gd name="T49" fmla="*/ 154 h 235"/>
                  <a:gd name="T50" fmla="*/ 105 w 109"/>
                  <a:gd name="T51" fmla="*/ 193 h 235"/>
                  <a:gd name="T52" fmla="*/ 81 w 109"/>
                  <a:gd name="T53" fmla="*/ 197 h 235"/>
                  <a:gd name="T54" fmla="*/ 64 w 109"/>
                  <a:gd name="T55" fmla="*/ 209 h 235"/>
                  <a:gd name="T56" fmla="*/ 61 w 109"/>
                  <a:gd name="T57" fmla="*/ 221 h 235"/>
                  <a:gd name="T58" fmla="*/ 43 w 109"/>
                  <a:gd name="T59" fmla="*/ 235 h 235"/>
                  <a:gd name="T60" fmla="*/ 36 w 109"/>
                  <a:gd name="T61" fmla="*/ 220 h 235"/>
                  <a:gd name="T62" fmla="*/ 33 w 109"/>
                  <a:gd name="T63" fmla="*/ 20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9" h="235">
                    <a:moveTo>
                      <a:pt x="33" y="202"/>
                    </a:moveTo>
                    <a:cubicBezTo>
                      <a:pt x="35" y="197"/>
                      <a:pt x="42" y="191"/>
                      <a:pt x="49" y="187"/>
                    </a:cubicBezTo>
                    <a:cubicBezTo>
                      <a:pt x="56" y="183"/>
                      <a:pt x="71" y="182"/>
                      <a:pt x="75" y="176"/>
                    </a:cubicBezTo>
                    <a:cubicBezTo>
                      <a:pt x="79" y="170"/>
                      <a:pt x="78" y="153"/>
                      <a:pt x="75" y="148"/>
                    </a:cubicBezTo>
                    <a:cubicBezTo>
                      <a:pt x="72" y="143"/>
                      <a:pt x="54" y="144"/>
                      <a:pt x="54" y="143"/>
                    </a:cubicBezTo>
                    <a:cubicBezTo>
                      <a:pt x="54" y="142"/>
                      <a:pt x="74" y="144"/>
                      <a:pt x="76" y="139"/>
                    </a:cubicBezTo>
                    <a:cubicBezTo>
                      <a:pt x="78" y="134"/>
                      <a:pt x="69" y="119"/>
                      <a:pt x="64" y="110"/>
                    </a:cubicBezTo>
                    <a:cubicBezTo>
                      <a:pt x="59" y="101"/>
                      <a:pt x="51" y="93"/>
                      <a:pt x="45" y="86"/>
                    </a:cubicBezTo>
                    <a:cubicBezTo>
                      <a:pt x="39" y="79"/>
                      <a:pt x="26" y="75"/>
                      <a:pt x="25" y="70"/>
                    </a:cubicBezTo>
                    <a:cubicBezTo>
                      <a:pt x="24" y="65"/>
                      <a:pt x="39" y="57"/>
                      <a:pt x="39" y="53"/>
                    </a:cubicBezTo>
                    <a:cubicBezTo>
                      <a:pt x="39" y="49"/>
                      <a:pt x="30" y="47"/>
                      <a:pt x="27" y="45"/>
                    </a:cubicBezTo>
                    <a:cubicBezTo>
                      <a:pt x="24" y="43"/>
                      <a:pt x="23" y="41"/>
                      <a:pt x="20" y="38"/>
                    </a:cubicBezTo>
                    <a:cubicBezTo>
                      <a:pt x="17" y="35"/>
                      <a:pt x="9" y="32"/>
                      <a:pt x="6" y="28"/>
                    </a:cubicBezTo>
                    <a:cubicBezTo>
                      <a:pt x="3" y="24"/>
                      <a:pt x="0" y="19"/>
                      <a:pt x="0" y="16"/>
                    </a:cubicBezTo>
                    <a:cubicBezTo>
                      <a:pt x="0" y="13"/>
                      <a:pt x="3" y="7"/>
                      <a:pt x="6" y="7"/>
                    </a:cubicBezTo>
                    <a:cubicBezTo>
                      <a:pt x="9" y="7"/>
                      <a:pt x="14" y="15"/>
                      <a:pt x="19" y="16"/>
                    </a:cubicBezTo>
                    <a:cubicBezTo>
                      <a:pt x="24" y="17"/>
                      <a:pt x="30" y="12"/>
                      <a:pt x="34" y="10"/>
                    </a:cubicBezTo>
                    <a:cubicBezTo>
                      <a:pt x="38" y="8"/>
                      <a:pt x="37" y="0"/>
                      <a:pt x="45" y="4"/>
                    </a:cubicBezTo>
                    <a:cubicBezTo>
                      <a:pt x="53" y="8"/>
                      <a:pt x="78" y="25"/>
                      <a:pt x="81" y="32"/>
                    </a:cubicBezTo>
                    <a:cubicBezTo>
                      <a:pt x="84" y="39"/>
                      <a:pt x="68" y="43"/>
                      <a:pt x="63" y="49"/>
                    </a:cubicBezTo>
                    <a:cubicBezTo>
                      <a:pt x="58" y="55"/>
                      <a:pt x="52" y="60"/>
                      <a:pt x="51" y="65"/>
                    </a:cubicBezTo>
                    <a:cubicBezTo>
                      <a:pt x="50" y="70"/>
                      <a:pt x="50" y="75"/>
                      <a:pt x="55" y="82"/>
                    </a:cubicBezTo>
                    <a:cubicBezTo>
                      <a:pt x="60" y="89"/>
                      <a:pt x="72" y="102"/>
                      <a:pt x="79" y="110"/>
                    </a:cubicBezTo>
                    <a:cubicBezTo>
                      <a:pt x="86" y="118"/>
                      <a:pt x="90" y="123"/>
                      <a:pt x="94" y="130"/>
                    </a:cubicBezTo>
                    <a:cubicBezTo>
                      <a:pt x="98" y="137"/>
                      <a:pt x="103" y="144"/>
                      <a:pt x="105" y="154"/>
                    </a:cubicBezTo>
                    <a:cubicBezTo>
                      <a:pt x="107" y="164"/>
                      <a:pt x="109" y="186"/>
                      <a:pt x="105" y="193"/>
                    </a:cubicBezTo>
                    <a:cubicBezTo>
                      <a:pt x="101" y="200"/>
                      <a:pt x="88" y="194"/>
                      <a:pt x="81" y="197"/>
                    </a:cubicBezTo>
                    <a:cubicBezTo>
                      <a:pt x="74" y="200"/>
                      <a:pt x="67" y="205"/>
                      <a:pt x="64" y="209"/>
                    </a:cubicBezTo>
                    <a:cubicBezTo>
                      <a:pt x="61" y="213"/>
                      <a:pt x="65" y="217"/>
                      <a:pt x="61" y="221"/>
                    </a:cubicBezTo>
                    <a:cubicBezTo>
                      <a:pt x="57" y="225"/>
                      <a:pt x="47" y="235"/>
                      <a:pt x="43" y="235"/>
                    </a:cubicBezTo>
                    <a:cubicBezTo>
                      <a:pt x="39" y="235"/>
                      <a:pt x="37" y="225"/>
                      <a:pt x="36" y="220"/>
                    </a:cubicBezTo>
                    <a:cubicBezTo>
                      <a:pt x="35" y="215"/>
                      <a:pt x="31" y="207"/>
                      <a:pt x="33" y="20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1" name="Freeform 154">
                <a:extLst>
                  <a:ext uri="{FF2B5EF4-FFF2-40B4-BE49-F238E27FC236}">
                    <a16:creationId xmlns:a16="http://schemas.microsoft.com/office/drawing/2014/main" id="{A403633E-1F14-406F-8A27-FEBD0F177EC2}"/>
                  </a:ext>
                </a:extLst>
              </p:cNvPr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gray">
              <a:xfrm>
                <a:off x="8318501" y="5086350"/>
                <a:ext cx="290513" cy="414338"/>
              </a:xfrm>
              <a:custGeom>
                <a:avLst/>
                <a:gdLst>
                  <a:gd name="T0" fmla="*/ 36 w 180"/>
                  <a:gd name="T1" fmla="*/ 244 h 261"/>
                  <a:gd name="T2" fmla="*/ 55 w 180"/>
                  <a:gd name="T3" fmla="*/ 237 h 261"/>
                  <a:gd name="T4" fmla="*/ 66 w 180"/>
                  <a:gd name="T5" fmla="*/ 214 h 261"/>
                  <a:gd name="T6" fmla="*/ 81 w 180"/>
                  <a:gd name="T7" fmla="*/ 198 h 261"/>
                  <a:gd name="T8" fmla="*/ 85 w 180"/>
                  <a:gd name="T9" fmla="*/ 186 h 261"/>
                  <a:gd name="T10" fmla="*/ 108 w 180"/>
                  <a:gd name="T11" fmla="*/ 186 h 261"/>
                  <a:gd name="T12" fmla="*/ 96 w 180"/>
                  <a:gd name="T13" fmla="*/ 172 h 261"/>
                  <a:gd name="T14" fmla="*/ 105 w 180"/>
                  <a:gd name="T15" fmla="*/ 156 h 261"/>
                  <a:gd name="T16" fmla="*/ 121 w 180"/>
                  <a:gd name="T17" fmla="*/ 136 h 261"/>
                  <a:gd name="T18" fmla="*/ 129 w 180"/>
                  <a:gd name="T19" fmla="*/ 129 h 261"/>
                  <a:gd name="T20" fmla="*/ 142 w 180"/>
                  <a:gd name="T21" fmla="*/ 135 h 261"/>
                  <a:gd name="T22" fmla="*/ 156 w 180"/>
                  <a:gd name="T23" fmla="*/ 108 h 261"/>
                  <a:gd name="T24" fmla="*/ 162 w 180"/>
                  <a:gd name="T25" fmla="*/ 97 h 261"/>
                  <a:gd name="T26" fmla="*/ 175 w 180"/>
                  <a:gd name="T27" fmla="*/ 82 h 261"/>
                  <a:gd name="T28" fmla="*/ 178 w 180"/>
                  <a:gd name="T29" fmla="*/ 64 h 261"/>
                  <a:gd name="T30" fmla="*/ 162 w 180"/>
                  <a:gd name="T31" fmla="*/ 69 h 261"/>
                  <a:gd name="T32" fmla="*/ 147 w 180"/>
                  <a:gd name="T33" fmla="*/ 60 h 261"/>
                  <a:gd name="T34" fmla="*/ 144 w 180"/>
                  <a:gd name="T35" fmla="*/ 34 h 261"/>
                  <a:gd name="T36" fmla="*/ 135 w 180"/>
                  <a:gd name="T37" fmla="*/ 27 h 261"/>
                  <a:gd name="T38" fmla="*/ 124 w 180"/>
                  <a:gd name="T39" fmla="*/ 19 h 261"/>
                  <a:gd name="T40" fmla="*/ 112 w 180"/>
                  <a:gd name="T41" fmla="*/ 9 h 261"/>
                  <a:gd name="T42" fmla="*/ 100 w 180"/>
                  <a:gd name="T43" fmla="*/ 3 h 261"/>
                  <a:gd name="T44" fmla="*/ 103 w 180"/>
                  <a:gd name="T45" fmla="*/ 27 h 261"/>
                  <a:gd name="T46" fmla="*/ 121 w 180"/>
                  <a:gd name="T47" fmla="*/ 52 h 261"/>
                  <a:gd name="T48" fmla="*/ 130 w 180"/>
                  <a:gd name="T49" fmla="*/ 72 h 261"/>
                  <a:gd name="T50" fmla="*/ 123 w 180"/>
                  <a:gd name="T51" fmla="*/ 84 h 261"/>
                  <a:gd name="T52" fmla="*/ 114 w 180"/>
                  <a:gd name="T53" fmla="*/ 91 h 261"/>
                  <a:gd name="T54" fmla="*/ 136 w 180"/>
                  <a:gd name="T55" fmla="*/ 115 h 261"/>
                  <a:gd name="T56" fmla="*/ 121 w 180"/>
                  <a:gd name="T57" fmla="*/ 132 h 261"/>
                  <a:gd name="T58" fmla="*/ 103 w 180"/>
                  <a:gd name="T59" fmla="*/ 129 h 261"/>
                  <a:gd name="T60" fmla="*/ 99 w 180"/>
                  <a:gd name="T61" fmla="*/ 117 h 261"/>
                  <a:gd name="T62" fmla="*/ 79 w 180"/>
                  <a:gd name="T63" fmla="*/ 129 h 261"/>
                  <a:gd name="T64" fmla="*/ 79 w 180"/>
                  <a:gd name="T65" fmla="*/ 142 h 261"/>
                  <a:gd name="T66" fmla="*/ 75 w 180"/>
                  <a:gd name="T67" fmla="*/ 157 h 261"/>
                  <a:gd name="T68" fmla="*/ 45 w 180"/>
                  <a:gd name="T69" fmla="*/ 186 h 261"/>
                  <a:gd name="T70" fmla="*/ 28 w 180"/>
                  <a:gd name="T71" fmla="*/ 189 h 261"/>
                  <a:gd name="T72" fmla="*/ 4 w 180"/>
                  <a:gd name="T73" fmla="*/ 210 h 261"/>
                  <a:gd name="T74" fmla="*/ 3 w 180"/>
                  <a:gd name="T75" fmla="*/ 229 h 261"/>
                  <a:gd name="T76" fmla="*/ 15 w 180"/>
                  <a:gd name="T77" fmla="*/ 237 h 261"/>
                  <a:gd name="T78" fmla="*/ 19 w 180"/>
                  <a:gd name="T79" fmla="*/ 258 h 261"/>
                  <a:gd name="T80" fmla="*/ 33 w 180"/>
                  <a:gd name="T81" fmla="*/ 256 h 261"/>
                  <a:gd name="T82" fmla="*/ 36 w 180"/>
                  <a:gd name="T83" fmla="*/ 244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0" h="261">
                    <a:moveTo>
                      <a:pt x="36" y="244"/>
                    </a:moveTo>
                    <a:cubicBezTo>
                      <a:pt x="40" y="241"/>
                      <a:pt x="50" y="242"/>
                      <a:pt x="55" y="237"/>
                    </a:cubicBezTo>
                    <a:cubicBezTo>
                      <a:pt x="60" y="232"/>
                      <a:pt x="62" y="220"/>
                      <a:pt x="66" y="214"/>
                    </a:cubicBezTo>
                    <a:cubicBezTo>
                      <a:pt x="70" y="208"/>
                      <a:pt x="78" y="203"/>
                      <a:pt x="81" y="198"/>
                    </a:cubicBezTo>
                    <a:cubicBezTo>
                      <a:pt x="84" y="193"/>
                      <a:pt x="81" y="188"/>
                      <a:pt x="85" y="186"/>
                    </a:cubicBezTo>
                    <a:cubicBezTo>
                      <a:pt x="89" y="184"/>
                      <a:pt x="106" y="188"/>
                      <a:pt x="108" y="186"/>
                    </a:cubicBezTo>
                    <a:cubicBezTo>
                      <a:pt x="110" y="184"/>
                      <a:pt x="97" y="177"/>
                      <a:pt x="96" y="172"/>
                    </a:cubicBezTo>
                    <a:cubicBezTo>
                      <a:pt x="95" y="167"/>
                      <a:pt x="101" y="162"/>
                      <a:pt x="105" y="156"/>
                    </a:cubicBezTo>
                    <a:cubicBezTo>
                      <a:pt x="109" y="150"/>
                      <a:pt x="117" y="141"/>
                      <a:pt x="121" y="136"/>
                    </a:cubicBezTo>
                    <a:cubicBezTo>
                      <a:pt x="125" y="131"/>
                      <a:pt x="126" y="129"/>
                      <a:pt x="129" y="129"/>
                    </a:cubicBezTo>
                    <a:cubicBezTo>
                      <a:pt x="132" y="129"/>
                      <a:pt x="138" y="138"/>
                      <a:pt x="142" y="135"/>
                    </a:cubicBezTo>
                    <a:cubicBezTo>
                      <a:pt x="146" y="132"/>
                      <a:pt x="153" y="114"/>
                      <a:pt x="156" y="108"/>
                    </a:cubicBezTo>
                    <a:cubicBezTo>
                      <a:pt x="159" y="102"/>
                      <a:pt x="159" y="101"/>
                      <a:pt x="162" y="97"/>
                    </a:cubicBezTo>
                    <a:cubicBezTo>
                      <a:pt x="165" y="93"/>
                      <a:pt x="172" y="87"/>
                      <a:pt x="175" y="82"/>
                    </a:cubicBezTo>
                    <a:cubicBezTo>
                      <a:pt x="178" y="77"/>
                      <a:pt x="180" y="66"/>
                      <a:pt x="178" y="64"/>
                    </a:cubicBezTo>
                    <a:cubicBezTo>
                      <a:pt x="176" y="62"/>
                      <a:pt x="167" y="70"/>
                      <a:pt x="162" y="69"/>
                    </a:cubicBezTo>
                    <a:cubicBezTo>
                      <a:pt x="157" y="68"/>
                      <a:pt x="150" y="66"/>
                      <a:pt x="147" y="60"/>
                    </a:cubicBezTo>
                    <a:cubicBezTo>
                      <a:pt x="144" y="54"/>
                      <a:pt x="146" y="39"/>
                      <a:pt x="144" y="34"/>
                    </a:cubicBezTo>
                    <a:cubicBezTo>
                      <a:pt x="142" y="29"/>
                      <a:pt x="138" y="29"/>
                      <a:pt x="135" y="27"/>
                    </a:cubicBezTo>
                    <a:cubicBezTo>
                      <a:pt x="132" y="25"/>
                      <a:pt x="128" y="22"/>
                      <a:pt x="124" y="19"/>
                    </a:cubicBezTo>
                    <a:cubicBezTo>
                      <a:pt x="120" y="16"/>
                      <a:pt x="116" y="12"/>
                      <a:pt x="112" y="9"/>
                    </a:cubicBezTo>
                    <a:cubicBezTo>
                      <a:pt x="108" y="6"/>
                      <a:pt x="101" y="0"/>
                      <a:pt x="100" y="3"/>
                    </a:cubicBezTo>
                    <a:cubicBezTo>
                      <a:pt x="99" y="6"/>
                      <a:pt x="100" y="19"/>
                      <a:pt x="103" y="27"/>
                    </a:cubicBezTo>
                    <a:cubicBezTo>
                      <a:pt x="106" y="35"/>
                      <a:pt x="117" y="45"/>
                      <a:pt x="121" y="52"/>
                    </a:cubicBezTo>
                    <a:cubicBezTo>
                      <a:pt x="125" y="59"/>
                      <a:pt x="130" y="67"/>
                      <a:pt x="130" y="72"/>
                    </a:cubicBezTo>
                    <a:cubicBezTo>
                      <a:pt x="130" y="77"/>
                      <a:pt x="126" y="81"/>
                      <a:pt x="123" y="84"/>
                    </a:cubicBezTo>
                    <a:cubicBezTo>
                      <a:pt x="120" y="87"/>
                      <a:pt x="112" y="86"/>
                      <a:pt x="114" y="91"/>
                    </a:cubicBezTo>
                    <a:cubicBezTo>
                      <a:pt x="116" y="96"/>
                      <a:pt x="135" y="108"/>
                      <a:pt x="136" y="115"/>
                    </a:cubicBezTo>
                    <a:cubicBezTo>
                      <a:pt x="137" y="122"/>
                      <a:pt x="126" y="130"/>
                      <a:pt x="121" y="132"/>
                    </a:cubicBezTo>
                    <a:cubicBezTo>
                      <a:pt x="116" y="134"/>
                      <a:pt x="107" y="131"/>
                      <a:pt x="103" y="129"/>
                    </a:cubicBezTo>
                    <a:cubicBezTo>
                      <a:pt x="99" y="127"/>
                      <a:pt x="103" y="117"/>
                      <a:pt x="99" y="117"/>
                    </a:cubicBezTo>
                    <a:cubicBezTo>
                      <a:pt x="95" y="117"/>
                      <a:pt x="82" y="125"/>
                      <a:pt x="79" y="129"/>
                    </a:cubicBezTo>
                    <a:cubicBezTo>
                      <a:pt x="76" y="133"/>
                      <a:pt x="80" y="137"/>
                      <a:pt x="79" y="142"/>
                    </a:cubicBezTo>
                    <a:cubicBezTo>
                      <a:pt x="78" y="147"/>
                      <a:pt x="81" y="150"/>
                      <a:pt x="75" y="157"/>
                    </a:cubicBezTo>
                    <a:cubicBezTo>
                      <a:pt x="69" y="164"/>
                      <a:pt x="53" y="181"/>
                      <a:pt x="45" y="186"/>
                    </a:cubicBezTo>
                    <a:cubicBezTo>
                      <a:pt x="37" y="191"/>
                      <a:pt x="35" y="185"/>
                      <a:pt x="28" y="189"/>
                    </a:cubicBezTo>
                    <a:cubicBezTo>
                      <a:pt x="21" y="193"/>
                      <a:pt x="8" y="203"/>
                      <a:pt x="4" y="210"/>
                    </a:cubicBezTo>
                    <a:cubicBezTo>
                      <a:pt x="0" y="217"/>
                      <a:pt x="1" y="225"/>
                      <a:pt x="3" y="229"/>
                    </a:cubicBezTo>
                    <a:cubicBezTo>
                      <a:pt x="5" y="233"/>
                      <a:pt x="12" y="232"/>
                      <a:pt x="15" y="237"/>
                    </a:cubicBezTo>
                    <a:cubicBezTo>
                      <a:pt x="18" y="242"/>
                      <a:pt x="16" y="255"/>
                      <a:pt x="19" y="258"/>
                    </a:cubicBezTo>
                    <a:cubicBezTo>
                      <a:pt x="22" y="261"/>
                      <a:pt x="30" y="258"/>
                      <a:pt x="33" y="256"/>
                    </a:cubicBezTo>
                    <a:cubicBezTo>
                      <a:pt x="36" y="254"/>
                      <a:pt x="32" y="247"/>
                      <a:pt x="36" y="24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2" name="Freeform 164">
                <a:extLst>
                  <a:ext uri="{FF2B5EF4-FFF2-40B4-BE49-F238E27FC236}">
                    <a16:creationId xmlns:a16="http://schemas.microsoft.com/office/drawing/2014/main" id="{60778C2D-4204-466B-81AE-5DC399F1E2A9}"/>
                  </a:ext>
                </a:extLst>
              </p:cNvPr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gray">
              <a:xfrm>
                <a:off x="7200900" y="3687763"/>
                <a:ext cx="179388" cy="371381"/>
              </a:xfrm>
              <a:custGeom>
                <a:avLst/>
                <a:gdLst/>
                <a:ahLst/>
                <a:cxnLst/>
                <a:rect l="l" t="t" r="r" b="b"/>
                <a:pathLst>
                  <a:path w="179388" h="371381">
                    <a:moveTo>
                      <a:pt x="84324" y="270723"/>
                    </a:moveTo>
                    <a:lnTo>
                      <a:pt x="84038" y="271462"/>
                    </a:lnTo>
                    <a:cubicBezTo>
                      <a:pt x="78442" y="272731"/>
                      <a:pt x="79725" y="272085"/>
                      <a:pt x="84324" y="270723"/>
                    </a:cubicBezTo>
                    <a:close/>
                    <a:moveTo>
                      <a:pt x="54140" y="47625"/>
                    </a:moveTo>
                    <a:cubicBezTo>
                      <a:pt x="58584" y="47228"/>
                      <a:pt x="62220" y="48418"/>
                      <a:pt x="67877" y="53975"/>
                    </a:cubicBezTo>
                    <a:cubicBezTo>
                      <a:pt x="69493" y="65087"/>
                      <a:pt x="69493" y="74612"/>
                      <a:pt x="64645" y="84137"/>
                    </a:cubicBezTo>
                    <a:cubicBezTo>
                      <a:pt x="72725" y="103187"/>
                      <a:pt x="71109" y="115887"/>
                      <a:pt x="50099" y="120650"/>
                    </a:cubicBezTo>
                    <a:cubicBezTo>
                      <a:pt x="32322" y="142875"/>
                      <a:pt x="48483" y="144462"/>
                      <a:pt x="72725" y="146050"/>
                    </a:cubicBezTo>
                    <a:cubicBezTo>
                      <a:pt x="79190" y="174625"/>
                      <a:pt x="79190" y="168275"/>
                      <a:pt x="117976" y="169862"/>
                    </a:cubicBezTo>
                    <a:cubicBezTo>
                      <a:pt x="113128" y="193675"/>
                      <a:pt x="121208" y="201612"/>
                      <a:pt x="142218" y="211137"/>
                    </a:cubicBezTo>
                    <a:cubicBezTo>
                      <a:pt x="145450" y="236537"/>
                      <a:pt x="148682" y="239712"/>
                      <a:pt x="159995" y="258762"/>
                    </a:cubicBezTo>
                    <a:cubicBezTo>
                      <a:pt x="161611" y="290513"/>
                      <a:pt x="161611" y="303213"/>
                      <a:pt x="179388" y="327025"/>
                    </a:cubicBezTo>
                    <a:cubicBezTo>
                      <a:pt x="156763" y="341313"/>
                      <a:pt x="176156" y="352425"/>
                      <a:pt x="142218" y="355600"/>
                    </a:cubicBezTo>
                    <a:lnTo>
                      <a:pt x="137370" y="371078"/>
                    </a:lnTo>
                    <a:cubicBezTo>
                      <a:pt x="134945" y="372269"/>
                      <a:pt x="130905" y="369888"/>
                      <a:pt x="122824" y="365125"/>
                    </a:cubicBezTo>
                    <a:cubicBezTo>
                      <a:pt x="114744" y="354013"/>
                      <a:pt x="105047" y="346075"/>
                      <a:pt x="98583" y="331788"/>
                    </a:cubicBezTo>
                    <a:cubicBezTo>
                      <a:pt x="98583" y="315913"/>
                      <a:pt x="124441" y="276225"/>
                      <a:pt x="122824" y="266700"/>
                    </a:cubicBezTo>
                    <a:cubicBezTo>
                      <a:pt x="122554" y="260449"/>
                      <a:pt x="94803" y="267516"/>
                      <a:pt x="84324" y="270723"/>
                    </a:cubicBezTo>
                    <a:cubicBezTo>
                      <a:pt x="100983" y="262770"/>
                      <a:pt x="61496" y="226831"/>
                      <a:pt x="69493" y="209550"/>
                    </a:cubicBezTo>
                    <a:cubicBezTo>
                      <a:pt x="59796" y="200025"/>
                      <a:pt x="32322" y="215900"/>
                      <a:pt x="25857" y="212725"/>
                    </a:cubicBezTo>
                    <a:cubicBezTo>
                      <a:pt x="33938" y="207962"/>
                      <a:pt x="40402" y="207962"/>
                      <a:pt x="30706" y="193675"/>
                    </a:cubicBezTo>
                    <a:cubicBezTo>
                      <a:pt x="27474" y="188912"/>
                      <a:pt x="16161" y="182562"/>
                      <a:pt x="16161" y="182562"/>
                    </a:cubicBezTo>
                    <a:cubicBezTo>
                      <a:pt x="21009" y="155575"/>
                      <a:pt x="12929" y="147637"/>
                      <a:pt x="0" y="127000"/>
                    </a:cubicBezTo>
                    <a:cubicBezTo>
                      <a:pt x="4848" y="117475"/>
                      <a:pt x="9696" y="114300"/>
                      <a:pt x="14545" y="106362"/>
                    </a:cubicBezTo>
                    <a:cubicBezTo>
                      <a:pt x="14545" y="93662"/>
                      <a:pt x="12929" y="80962"/>
                      <a:pt x="16161" y="69850"/>
                    </a:cubicBezTo>
                    <a:cubicBezTo>
                      <a:pt x="17777" y="61912"/>
                      <a:pt x="35554" y="60325"/>
                      <a:pt x="35554" y="50800"/>
                    </a:cubicBezTo>
                    <a:cubicBezTo>
                      <a:pt x="44443" y="50006"/>
                      <a:pt x="49695" y="48022"/>
                      <a:pt x="54140" y="47625"/>
                    </a:cubicBezTo>
                    <a:close/>
                    <a:moveTo>
                      <a:pt x="55562" y="0"/>
                    </a:moveTo>
                    <a:cubicBezTo>
                      <a:pt x="60325" y="12700"/>
                      <a:pt x="53975" y="22225"/>
                      <a:pt x="69850" y="26988"/>
                    </a:cubicBezTo>
                    <a:cubicBezTo>
                      <a:pt x="58738" y="41275"/>
                      <a:pt x="53975" y="26988"/>
                      <a:pt x="46037" y="17463"/>
                    </a:cubicBezTo>
                    <a:cubicBezTo>
                      <a:pt x="49212" y="1588"/>
                      <a:pt x="46037" y="7938"/>
                      <a:pt x="55562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3" name="Freeform 166">
                <a:extLst>
                  <a:ext uri="{FF2B5EF4-FFF2-40B4-BE49-F238E27FC236}">
                    <a16:creationId xmlns:a16="http://schemas.microsoft.com/office/drawing/2014/main" id="{05DD786B-C807-4D7D-8A21-AA76F3B59F23}"/>
                  </a:ext>
                </a:extLst>
              </p:cNvPr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gray">
              <a:xfrm>
                <a:off x="7316788" y="3076575"/>
                <a:ext cx="147638" cy="150813"/>
              </a:xfrm>
              <a:custGeom>
                <a:avLst/>
                <a:gdLst>
                  <a:gd name="T0" fmla="*/ 1 w 91"/>
                  <a:gd name="T1" fmla="*/ 61 h 95"/>
                  <a:gd name="T2" fmla="*/ 12 w 91"/>
                  <a:gd name="T3" fmla="*/ 63 h 95"/>
                  <a:gd name="T4" fmla="*/ 9 w 91"/>
                  <a:gd name="T5" fmla="*/ 84 h 95"/>
                  <a:gd name="T6" fmla="*/ 4 w 91"/>
                  <a:gd name="T7" fmla="*/ 94 h 95"/>
                  <a:gd name="T8" fmla="*/ 24 w 91"/>
                  <a:gd name="T9" fmla="*/ 90 h 95"/>
                  <a:gd name="T10" fmla="*/ 51 w 91"/>
                  <a:gd name="T11" fmla="*/ 69 h 95"/>
                  <a:gd name="T12" fmla="*/ 58 w 91"/>
                  <a:gd name="T13" fmla="*/ 52 h 95"/>
                  <a:gd name="T14" fmla="*/ 79 w 91"/>
                  <a:gd name="T15" fmla="*/ 37 h 95"/>
                  <a:gd name="T16" fmla="*/ 91 w 91"/>
                  <a:gd name="T17" fmla="*/ 13 h 95"/>
                  <a:gd name="T18" fmla="*/ 78 w 91"/>
                  <a:gd name="T19" fmla="*/ 1 h 95"/>
                  <a:gd name="T20" fmla="*/ 72 w 91"/>
                  <a:gd name="T21" fmla="*/ 9 h 95"/>
                  <a:gd name="T22" fmla="*/ 55 w 91"/>
                  <a:gd name="T23" fmla="*/ 13 h 95"/>
                  <a:gd name="T24" fmla="*/ 46 w 91"/>
                  <a:gd name="T25" fmla="*/ 24 h 95"/>
                  <a:gd name="T26" fmla="*/ 31 w 91"/>
                  <a:gd name="T27" fmla="*/ 28 h 95"/>
                  <a:gd name="T28" fmla="*/ 6 w 91"/>
                  <a:gd name="T29" fmla="*/ 46 h 95"/>
                  <a:gd name="T30" fmla="*/ 1 w 91"/>
                  <a:gd name="T31" fmla="*/ 6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1" h="95">
                    <a:moveTo>
                      <a:pt x="1" y="61"/>
                    </a:moveTo>
                    <a:cubicBezTo>
                      <a:pt x="2" y="64"/>
                      <a:pt x="11" y="59"/>
                      <a:pt x="12" y="63"/>
                    </a:cubicBezTo>
                    <a:cubicBezTo>
                      <a:pt x="13" y="67"/>
                      <a:pt x="10" y="79"/>
                      <a:pt x="9" y="84"/>
                    </a:cubicBezTo>
                    <a:cubicBezTo>
                      <a:pt x="8" y="89"/>
                      <a:pt x="2" y="93"/>
                      <a:pt x="4" y="94"/>
                    </a:cubicBezTo>
                    <a:cubicBezTo>
                      <a:pt x="6" y="95"/>
                      <a:pt x="16" y="94"/>
                      <a:pt x="24" y="90"/>
                    </a:cubicBezTo>
                    <a:cubicBezTo>
                      <a:pt x="32" y="86"/>
                      <a:pt x="45" y="75"/>
                      <a:pt x="51" y="69"/>
                    </a:cubicBezTo>
                    <a:cubicBezTo>
                      <a:pt x="57" y="63"/>
                      <a:pt x="53" y="57"/>
                      <a:pt x="58" y="52"/>
                    </a:cubicBezTo>
                    <a:cubicBezTo>
                      <a:pt x="63" y="47"/>
                      <a:pt x="74" y="43"/>
                      <a:pt x="79" y="37"/>
                    </a:cubicBezTo>
                    <a:cubicBezTo>
                      <a:pt x="84" y="31"/>
                      <a:pt x="91" y="19"/>
                      <a:pt x="91" y="13"/>
                    </a:cubicBezTo>
                    <a:cubicBezTo>
                      <a:pt x="91" y="7"/>
                      <a:pt x="81" y="2"/>
                      <a:pt x="78" y="1"/>
                    </a:cubicBezTo>
                    <a:cubicBezTo>
                      <a:pt x="75" y="0"/>
                      <a:pt x="76" y="7"/>
                      <a:pt x="72" y="9"/>
                    </a:cubicBezTo>
                    <a:cubicBezTo>
                      <a:pt x="68" y="11"/>
                      <a:pt x="59" y="10"/>
                      <a:pt x="55" y="13"/>
                    </a:cubicBezTo>
                    <a:cubicBezTo>
                      <a:pt x="51" y="16"/>
                      <a:pt x="50" y="21"/>
                      <a:pt x="46" y="24"/>
                    </a:cubicBezTo>
                    <a:cubicBezTo>
                      <a:pt x="42" y="27"/>
                      <a:pt x="38" y="24"/>
                      <a:pt x="31" y="28"/>
                    </a:cubicBezTo>
                    <a:cubicBezTo>
                      <a:pt x="24" y="32"/>
                      <a:pt x="11" y="42"/>
                      <a:pt x="6" y="46"/>
                    </a:cubicBezTo>
                    <a:cubicBezTo>
                      <a:pt x="1" y="50"/>
                      <a:pt x="0" y="58"/>
                      <a:pt x="1" y="6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4" name="Freeform 168">
                <a:extLst>
                  <a:ext uri="{FF2B5EF4-FFF2-40B4-BE49-F238E27FC236}">
                    <a16:creationId xmlns:a16="http://schemas.microsoft.com/office/drawing/2014/main" id="{6217902F-3396-41EE-9E1A-B26C72DB06D0}"/>
                  </a:ext>
                </a:extLst>
              </p:cNvPr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gray">
              <a:xfrm>
                <a:off x="7331076" y="3186113"/>
                <a:ext cx="112713" cy="153988"/>
              </a:xfrm>
              <a:custGeom>
                <a:avLst/>
                <a:gdLst>
                  <a:gd name="T0" fmla="*/ 0 w 69"/>
                  <a:gd name="T1" fmla="*/ 24 h 97"/>
                  <a:gd name="T2" fmla="*/ 24 w 69"/>
                  <a:gd name="T3" fmla="*/ 15 h 97"/>
                  <a:gd name="T4" fmla="*/ 39 w 69"/>
                  <a:gd name="T5" fmla="*/ 0 h 97"/>
                  <a:gd name="T6" fmla="*/ 58 w 69"/>
                  <a:gd name="T7" fmla="*/ 21 h 97"/>
                  <a:gd name="T8" fmla="*/ 69 w 69"/>
                  <a:gd name="T9" fmla="*/ 45 h 97"/>
                  <a:gd name="T10" fmla="*/ 34 w 69"/>
                  <a:gd name="T11" fmla="*/ 87 h 97"/>
                  <a:gd name="T12" fmla="*/ 22 w 69"/>
                  <a:gd name="T13" fmla="*/ 94 h 97"/>
                  <a:gd name="T14" fmla="*/ 21 w 69"/>
                  <a:gd name="T15" fmla="*/ 54 h 97"/>
                  <a:gd name="T16" fmla="*/ 7 w 69"/>
                  <a:gd name="T17" fmla="*/ 30 h 97"/>
                  <a:gd name="T18" fmla="*/ 0 w 69"/>
                  <a:gd name="T19" fmla="*/ 2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97">
                    <a:moveTo>
                      <a:pt x="0" y="24"/>
                    </a:moveTo>
                    <a:cubicBezTo>
                      <a:pt x="19" y="21"/>
                      <a:pt x="11" y="25"/>
                      <a:pt x="24" y="15"/>
                    </a:cubicBezTo>
                    <a:cubicBezTo>
                      <a:pt x="32" y="9"/>
                      <a:pt x="28" y="2"/>
                      <a:pt x="39" y="0"/>
                    </a:cubicBezTo>
                    <a:cubicBezTo>
                      <a:pt x="49" y="2"/>
                      <a:pt x="48" y="16"/>
                      <a:pt x="58" y="21"/>
                    </a:cubicBezTo>
                    <a:cubicBezTo>
                      <a:pt x="64" y="28"/>
                      <a:pt x="64" y="37"/>
                      <a:pt x="69" y="45"/>
                    </a:cubicBezTo>
                    <a:cubicBezTo>
                      <a:pt x="66" y="74"/>
                      <a:pt x="65" y="83"/>
                      <a:pt x="34" y="87"/>
                    </a:cubicBezTo>
                    <a:cubicBezTo>
                      <a:pt x="26" y="91"/>
                      <a:pt x="30" y="97"/>
                      <a:pt x="22" y="94"/>
                    </a:cubicBezTo>
                    <a:cubicBezTo>
                      <a:pt x="20" y="81"/>
                      <a:pt x="13" y="69"/>
                      <a:pt x="21" y="54"/>
                    </a:cubicBezTo>
                    <a:cubicBezTo>
                      <a:pt x="19" y="42"/>
                      <a:pt x="20" y="33"/>
                      <a:pt x="7" y="30"/>
                    </a:cubicBezTo>
                    <a:cubicBezTo>
                      <a:pt x="2" y="26"/>
                      <a:pt x="4" y="28"/>
                      <a:pt x="0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5" name="Freeform 169">
                <a:extLst>
                  <a:ext uri="{FF2B5EF4-FFF2-40B4-BE49-F238E27FC236}">
                    <a16:creationId xmlns:a16="http://schemas.microsoft.com/office/drawing/2014/main" id="{CD2DA777-CD59-44C9-B2C6-561ABC014C15}"/>
                  </a:ext>
                </a:extLst>
              </p:cNvPr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gray">
              <a:xfrm>
                <a:off x="6792913" y="3843338"/>
                <a:ext cx="123825" cy="107950"/>
              </a:xfrm>
              <a:custGeom>
                <a:avLst/>
                <a:gdLst>
                  <a:gd name="T0" fmla="*/ 47 w 77"/>
                  <a:gd name="T1" fmla="*/ 3 h 68"/>
                  <a:gd name="T2" fmla="*/ 76 w 77"/>
                  <a:gd name="T3" fmla="*/ 10 h 68"/>
                  <a:gd name="T4" fmla="*/ 68 w 77"/>
                  <a:gd name="T5" fmla="*/ 37 h 68"/>
                  <a:gd name="T6" fmla="*/ 56 w 77"/>
                  <a:gd name="T7" fmla="*/ 46 h 68"/>
                  <a:gd name="T8" fmla="*/ 44 w 77"/>
                  <a:gd name="T9" fmla="*/ 48 h 68"/>
                  <a:gd name="T10" fmla="*/ 35 w 77"/>
                  <a:gd name="T11" fmla="*/ 61 h 68"/>
                  <a:gd name="T12" fmla="*/ 23 w 77"/>
                  <a:gd name="T13" fmla="*/ 61 h 68"/>
                  <a:gd name="T14" fmla="*/ 8 w 77"/>
                  <a:gd name="T15" fmla="*/ 39 h 68"/>
                  <a:gd name="T16" fmla="*/ 44 w 77"/>
                  <a:gd name="T17" fmla="*/ 7 h 68"/>
                  <a:gd name="T18" fmla="*/ 47 w 77"/>
                  <a:gd name="T19" fmla="*/ 3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68">
                    <a:moveTo>
                      <a:pt x="47" y="3"/>
                    </a:moveTo>
                    <a:cubicBezTo>
                      <a:pt x="57" y="5"/>
                      <a:pt x="67" y="3"/>
                      <a:pt x="76" y="10"/>
                    </a:cubicBezTo>
                    <a:cubicBezTo>
                      <a:pt x="75" y="20"/>
                      <a:pt x="77" y="32"/>
                      <a:pt x="68" y="37"/>
                    </a:cubicBezTo>
                    <a:cubicBezTo>
                      <a:pt x="64" y="43"/>
                      <a:pt x="63" y="45"/>
                      <a:pt x="56" y="46"/>
                    </a:cubicBezTo>
                    <a:cubicBezTo>
                      <a:pt x="52" y="49"/>
                      <a:pt x="47" y="46"/>
                      <a:pt x="44" y="48"/>
                    </a:cubicBezTo>
                    <a:cubicBezTo>
                      <a:pt x="41" y="50"/>
                      <a:pt x="38" y="59"/>
                      <a:pt x="35" y="61"/>
                    </a:cubicBezTo>
                    <a:cubicBezTo>
                      <a:pt x="31" y="68"/>
                      <a:pt x="30" y="65"/>
                      <a:pt x="23" y="61"/>
                    </a:cubicBezTo>
                    <a:cubicBezTo>
                      <a:pt x="18" y="54"/>
                      <a:pt x="13" y="46"/>
                      <a:pt x="8" y="39"/>
                    </a:cubicBezTo>
                    <a:cubicBezTo>
                      <a:pt x="0" y="0"/>
                      <a:pt x="1" y="10"/>
                      <a:pt x="44" y="7"/>
                    </a:cubicBezTo>
                    <a:cubicBezTo>
                      <a:pt x="50" y="4"/>
                      <a:pt x="51" y="5"/>
                      <a:pt x="47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6" name="Freeform 170">
                <a:extLst>
                  <a:ext uri="{FF2B5EF4-FFF2-40B4-BE49-F238E27FC236}">
                    <a16:creationId xmlns:a16="http://schemas.microsoft.com/office/drawing/2014/main" id="{33975D68-F427-45EC-BE15-BC765F737040}"/>
                  </a:ext>
                </a:extLst>
              </p:cNvPr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gray">
              <a:xfrm>
                <a:off x="6727826" y="3652838"/>
                <a:ext cx="185738" cy="201613"/>
              </a:xfrm>
              <a:custGeom>
                <a:avLst/>
                <a:gdLst>
                  <a:gd name="T0" fmla="*/ 11 w 115"/>
                  <a:gd name="T1" fmla="*/ 15 h 127"/>
                  <a:gd name="T2" fmla="*/ 35 w 115"/>
                  <a:gd name="T3" fmla="*/ 6 h 127"/>
                  <a:gd name="T4" fmla="*/ 38 w 115"/>
                  <a:gd name="T5" fmla="*/ 1 h 127"/>
                  <a:gd name="T6" fmla="*/ 44 w 115"/>
                  <a:gd name="T7" fmla="*/ 9 h 127"/>
                  <a:gd name="T8" fmla="*/ 65 w 115"/>
                  <a:gd name="T9" fmla="*/ 22 h 127"/>
                  <a:gd name="T10" fmla="*/ 75 w 115"/>
                  <a:gd name="T11" fmla="*/ 33 h 127"/>
                  <a:gd name="T12" fmla="*/ 63 w 115"/>
                  <a:gd name="T13" fmla="*/ 48 h 127"/>
                  <a:gd name="T14" fmla="*/ 89 w 115"/>
                  <a:gd name="T15" fmla="*/ 70 h 127"/>
                  <a:gd name="T16" fmla="*/ 96 w 115"/>
                  <a:gd name="T17" fmla="*/ 85 h 127"/>
                  <a:gd name="T18" fmla="*/ 108 w 115"/>
                  <a:gd name="T19" fmla="*/ 99 h 127"/>
                  <a:gd name="T20" fmla="*/ 115 w 115"/>
                  <a:gd name="T21" fmla="*/ 111 h 127"/>
                  <a:gd name="T22" fmla="*/ 110 w 115"/>
                  <a:gd name="T23" fmla="*/ 124 h 127"/>
                  <a:gd name="T24" fmla="*/ 90 w 115"/>
                  <a:gd name="T25" fmla="*/ 123 h 127"/>
                  <a:gd name="T26" fmla="*/ 83 w 115"/>
                  <a:gd name="T27" fmla="*/ 103 h 127"/>
                  <a:gd name="T28" fmla="*/ 75 w 115"/>
                  <a:gd name="T29" fmla="*/ 73 h 127"/>
                  <a:gd name="T30" fmla="*/ 59 w 115"/>
                  <a:gd name="T31" fmla="*/ 61 h 127"/>
                  <a:gd name="T32" fmla="*/ 44 w 115"/>
                  <a:gd name="T33" fmla="*/ 69 h 127"/>
                  <a:gd name="T34" fmla="*/ 24 w 115"/>
                  <a:gd name="T35" fmla="*/ 69 h 127"/>
                  <a:gd name="T36" fmla="*/ 27 w 115"/>
                  <a:gd name="T37" fmla="*/ 51 h 127"/>
                  <a:gd name="T38" fmla="*/ 9 w 115"/>
                  <a:gd name="T39" fmla="*/ 36 h 127"/>
                  <a:gd name="T40" fmla="*/ 8 w 115"/>
                  <a:gd name="T41" fmla="*/ 25 h 127"/>
                  <a:gd name="T42" fmla="*/ 11 w 115"/>
                  <a:gd name="T43" fmla="*/ 1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5" h="127">
                    <a:moveTo>
                      <a:pt x="11" y="15"/>
                    </a:moveTo>
                    <a:cubicBezTo>
                      <a:pt x="31" y="11"/>
                      <a:pt x="23" y="8"/>
                      <a:pt x="35" y="6"/>
                    </a:cubicBezTo>
                    <a:cubicBezTo>
                      <a:pt x="36" y="4"/>
                      <a:pt x="36" y="2"/>
                      <a:pt x="38" y="1"/>
                    </a:cubicBezTo>
                    <a:cubicBezTo>
                      <a:pt x="42" y="0"/>
                      <a:pt x="43" y="8"/>
                      <a:pt x="44" y="9"/>
                    </a:cubicBezTo>
                    <a:cubicBezTo>
                      <a:pt x="49" y="16"/>
                      <a:pt x="57" y="20"/>
                      <a:pt x="65" y="22"/>
                    </a:cubicBezTo>
                    <a:cubicBezTo>
                      <a:pt x="71" y="27"/>
                      <a:pt x="74" y="25"/>
                      <a:pt x="75" y="33"/>
                    </a:cubicBezTo>
                    <a:cubicBezTo>
                      <a:pt x="73" y="43"/>
                      <a:pt x="71" y="43"/>
                      <a:pt x="63" y="48"/>
                    </a:cubicBezTo>
                    <a:cubicBezTo>
                      <a:pt x="69" y="59"/>
                      <a:pt x="76" y="67"/>
                      <a:pt x="89" y="70"/>
                    </a:cubicBezTo>
                    <a:cubicBezTo>
                      <a:pt x="94" y="76"/>
                      <a:pt x="93" y="80"/>
                      <a:pt x="96" y="85"/>
                    </a:cubicBezTo>
                    <a:cubicBezTo>
                      <a:pt x="99" y="90"/>
                      <a:pt x="105" y="95"/>
                      <a:pt x="108" y="99"/>
                    </a:cubicBezTo>
                    <a:cubicBezTo>
                      <a:pt x="110" y="103"/>
                      <a:pt x="115" y="107"/>
                      <a:pt x="115" y="111"/>
                    </a:cubicBezTo>
                    <a:cubicBezTo>
                      <a:pt x="115" y="115"/>
                      <a:pt x="114" y="122"/>
                      <a:pt x="110" y="124"/>
                    </a:cubicBezTo>
                    <a:cubicBezTo>
                      <a:pt x="103" y="124"/>
                      <a:pt x="95" y="127"/>
                      <a:pt x="90" y="123"/>
                    </a:cubicBezTo>
                    <a:cubicBezTo>
                      <a:pt x="81" y="117"/>
                      <a:pt x="94" y="108"/>
                      <a:pt x="83" y="103"/>
                    </a:cubicBezTo>
                    <a:cubicBezTo>
                      <a:pt x="74" y="91"/>
                      <a:pt x="80" y="92"/>
                      <a:pt x="75" y="73"/>
                    </a:cubicBezTo>
                    <a:cubicBezTo>
                      <a:pt x="74" y="68"/>
                      <a:pt x="63" y="64"/>
                      <a:pt x="59" y="61"/>
                    </a:cubicBezTo>
                    <a:cubicBezTo>
                      <a:pt x="54" y="60"/>
                      <a:pt x="50" y="68"/>
                      <a:pt x="44" y="69"/>
                    </a:cubicBezTo>
                    <a:cubicBezTo>
                      <a:pt x="38" y="70"/>
                      <a:pt x="27" y="72"/>
                      <a:pt x="24" y="69"/>
                    </a:cubicBezTo>
                    <a:cubicBezTo>
                      <a:pt x="17" y="68"/>
                      <a:pt x="29" y="56"/>
                      <a:pt x="27" y="51"/>
                    </a:cubicBezTo>
                    <a:cubicBezTo>
                      <a:pt x="25" y="46"/>
                      <a:pt x="12" y="40"/>
                      <a:pt x="9" y="36"/>
                    </a:cubicBezTo>
                    <a:cubicBezTo>
                      <a:pt x="5" y="30"/>
                      <a:pt x="0" y="28"/>
                      <a:pt x="8" y="25"/>
                    </a:cubicBezTo>
                    <a:cubicBezTo>
                      <a:pt x="9" y="18"/>
                      <a:pt x="8" y="21"/>
                      <a:pt x="11" y="1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7" name="Freeform 171">
                <a:extLst>
                  <a:ext uri="{FF2B5EF4-FFF2-40B4-BE49-F238E27FC236}">
                    <a16:creationId xmlns:a16="http://schemas.microsoft.com/office/drawing/2014/main" id="{C371DBF5-7887-4717-ACFC-2E3684A3E8FD}"/>
                  </a:ext>
                </a:extLst>
              </p:cNvPr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gray">
              <a:xfrm>
                <a:off x="7069138" y="4079875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14 w 17"/>
                  <a:gd name="T3" fmla="*/ 13 h 18"/>
                  <a:gd name="T4" fmla="*/ 6 w 17"/>
                  <a:gd name="T5" fmla="*/ 3 h 18"/>
                  <a:gd name="T6" fmla="*/ 0 w 17"/>
                  <a:gd name="T7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cubicBezTo>
                      <a:pt x="3" y="18"/>
                      <a:pt x="6" y="18"/>
                      <a:pt x="14" y="13"/>
                    </a:cubicBezTo>
                    <a:cubicBezTo>
                      <a:pt x="17" y="3"/>
                      <a:pt x="17" y="0"/>
                      <a:pt x="6" y="3"/>
                    </a:cubicBezTo>
                    <a:cubicBezTo>
                      <a:pt x="2" y="10"/>
                      <a:pt x="4" y="9"/>
                      <a:pt x="0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8" name="Freeform 172">
                <a:extLst>
                  <a:ext uri="{FF2B5EF4-FFF2-40B4-BE49-F238E27FC236}">
                    <a16:creationId xmlns:a16="http://schemas.microsoft.com/office/drawing/2014/main" id="{53E7FA6E-1B57-475F-B365-047ED1384A81}"/>
                  </a:ext>
                </a:extLst>
              </p:cNvPr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gray">
              <a:xfrm>
                <a:off x="7189788" y="3581400"/>
                <a:ext cx="80963" cy="92075"/>
              </a:xfrm>
              <a:custGeom>
                <a:avLst/>
                <a:gdLst>
                  <a:gd name="T0" fmla="*/ 4 w 50"/>
                  <a:gd name="T1" fmla="*/ 24 h 58"/>
                  <a:gd name="T2" fmla="*/ 16 w 50"/>
                  <a:gd name="T3" fmla="*/ 22 h 58"/>
                  <a:gd name="T4" fmla="*/ 22 w 50"/>
                  <a:gd name="T5" fmla="*/ 12 h 58"/>
                  <a:gd name="T6" fmla="*/ 37 w 50"/>
                  <a:gd name="T7" fmla="*/ 0 h 58"/>
                  <a:gd name="T8" fmla="*/ 38 w 50"/>
                  <a:gd name="T9" fmla="*/ 22 h 58"/>
                  <a:gd name="T10" fmla="*/ 25 w 50"/>
                  <a:gd name="T11" fmla="*/ 39 h 58"/>
                  <a:gd name="T12" fmla="*/ 17 w 50"/>
                  <a:gd name="T13" fmla="*/ 46 h 58"/>
                  <a:gd name="T14" fmla="*/ 4 w 50"/>
                  <a:gd name="T15" fmla="*/ 30 h 58"/>
                  <a:gd name="T16" fmla="*/ 4 w 50"/>
                  <a:gd name="T17" fmla="*/ 2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58">
                    <a:moveTo>
                      <a:pt x="4" y="24"/>
                    </a:moveTo>
                    <a:cubicBezTo>
                      <a:pt x="8" y="23"/>
                      <a:pt x="13" y="25"/>
                      <a:pt x="16" y="22"/>
                    </a:cubicBezTo>
                    <a:cubicBezTo>
                      <a:pt x="32" y="8"/>
                      <a:pt x="6" y="15"/>
                      <a:pt x="22" y="12"/>
                    </a:cubicBezTo>
                    <a:cubicBezTo>
                      <a:pt x="29" y="7"/>
                      <a:pt x="28" y="2"/>
                      <a:pt x="37" y="0"/>
                    </a:cubicBezTo>
                    <a:cubicBezTo>
                      <a:pt x="50" y="2"/>
                      <a:pt x="44" y="14"/>
                      <a:pt x="38" y="22"/>
                    </a:cubicBezTo>
                    <a:cubicBezTo>
                      <a:pt x="34" y="40"/>
                      <a:pt x="40" y="36"/>
                      <a:pt x="25" y="39"/>
                    </a:cubicBezTo>
                    <a:cubicBezTo>
                      <a:pt x="24" y="45"/>
                      <a:pt x="22" y="58"/>
                      <a:pt x="17" y="46"/>
                    </a:cubicBezTo>
                    <a:cubicBezTo>
                      <a:pt x="15" y="37"/>
                      <a:pt x="11" y="35"/>
                      <a:pt x="4" y="30"/>
                    </a:cubicBezTo>
                    <a:cubicBezTo>
                      <a:pt x="2" y="24"/>
                      <a:pt x="0" y="26"/>
                      <a:pt x="4" y="2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69" name="Freeform 205">
                <a:extLst>
                  <a:ext uri="{FF2B5EF4-FFF2-40B4-BE49-F238E27FC236}">
                    <a16:creationId xmlns:a16="http://schemas.microsoft.com/office/drawing/2014/main" id="{5600FD67-1014-4256-A18D-A869BDA8316F}"/>
                  </a:ext>
                </a:extLst>
              </p:cNvPr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gray">
              <a:xfrm>
                <a:off x="8030093" y="4440238"/>
                <a:ext cx="49867" cy="38100"/>
              </a:xfrm>
              <a:custGeom>
                <a:avLst/>
                <a:gdLst>
                  <a:gd name="T0" fmla="*/ 1 w 31"/>
                  <a:gd name="T1" fmla="*/ 0 h 24"/>
                  <a:gd name="T2" fmla="*/ 12 w 31"/>
                  <a:gd name="T3" fmla="*/ 3 h 24"/>
                  <a:gd name="T4" fmla="*/ 31 w 31"/>
                  <a:gd name="T5" fmla="*/ 14 h 24"/>
                  <a:gd name="T6" fmla="*/ 3 w 31"/>
                  <a:gd name="T7" fmla="*/ 14 h 24"/>
                  <a:gd name="T8" fmla="*/ 1 w 31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4">
                    <a:moveTo>
                      <a:pt x="1" y="0"/>
                    </a:moveTo>
                    <a:cubicBezTo>
                      <a:pt x="5" y="1"/>
                      <a:pt x="9" y="1"/>
                      <a:pt x="12" y="3"/>
                    </a:cubicBezTo>
                    <a:cubicBezTo>
                      <a:pt x="25" y="11"/>
                      <a:pt x="8" y="10"/>
                      <a:pt x="31" y="14"/>
                    </a:cubicBezTo>
                    <a:cubicBezTo>
                      <a:pt x="24" y="24"/>
                      <a:pt x="12" y="16"/>
                      <a:pt x="3" y="14"/>
                    </a:cubicBezTo>
                    <a:cubicBezTo>
                      <a:pt x="0" y="7"/>
                      <a:pt x="4" y="7"/>
                      <a:pt x="1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0" name="Freeform 206">
                <a:extLst>
                  <a:ext uri="{FF2B5EF4-FFF2-40B4-BE49-F238E27FC236}">
                    <a16:creationId xmlns:a16="http://schemas.microsoft.com/office/drawing/2014/main" id="{CEFE657D-14B0-4E3B-88DD-B1728447F99F}"/>
                  </a:ext>
                </a:extLst>
              </p:cNvPr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gray">
              <a:xfrm>
                <a:off x="7748588" y="4256088"/>
                <a:ext cx="236464" cy="201613"/>
              </a:xfrm>
              <a:custGeom>
                <a:avLst/>
                <a:gdLst>
                  <a:gd name="T0" fmla="*/ 0 w 123"/>
                  <a:gd name="T1" fmla="*/ 80 h 106"/>
                  <a:gd name="T2" fmla="*/ 0 w 123"/>
                  <a:gd name="T3" fmla="*/ 33 h 106"/>
                  <a:gd name="T4" fmla="*/ 0 w 123"/>
                  <a:gd name="T5" fmla="*/ 0 h 106"/>
                  <a:gd name="T6" fmla="*/ 32 w 123"/>
                  <a:gd name="T7" fmla="*/ 9 h 106"/>
                  <a:gd name="T8" fmla="*/ 57 w 123"/>
                  <a:gd name="T9" fmla="*/ 25 h 106"/>
                  <a:gd name="T10" fmla="*/ 57 w 123"/>
                  <a:gd name="T11" fmla="*/ 33 h 106"/>
                  <a:gd name="T12" fmla="*/ 88 w 123"/>
                  <a:gd name="T13" fmla="*/ 49 h 106"/>
                  <a:gd name="T14" fmla="*/ 72 w 123"/>
                  <a:gd name="T15" fmla="*/ 57 h 106"/>
                  <a:gd name="T16" fmla="*/ 81 w 123"/>
                  <a:gd name="T17" fmla="*/ 57 h 106"/>
                  <a:gd name="T18" fmla="*/ 88 w 123"/>
                  <a:gd name="T19" fmla="*/ 65 h 106"/>
                  <a:gd name="T20" fmla="*/ 97 w 123"/>
                  <a:gd name="T21" fmla="*/ 80 h 106"/>
                  <a:gd name="T22" fmla="*/ 104 w 123"/>
                  <a:gd name="T23" fmla="*/ 80 h 106"/>
                  <a:gd name="T24" fmla="*/ 104 w 123"/>
                  <a:gd name="T25" fmla="*/ 90 h 106"/>
                  <a:gd name="T26" fmla="*/ 122 w 123"/>
                  <a:gd name="T27" fmla="*/ 99 h 106"/>
                  <a:gd name="T28" fmla="*/ 122 w 123"/>
                  <a:gd name="T29" fmla="*/ 105 h 106"/>
                  <a:gd name="T30" fmla="*/ 81 w 123"/>
                  <a:gd name="T31" fmla="*/ 99 h 106"/>
                  <a:gd name="T32" fmla="*/ 63 w 123"/>
                  <a:gd name="T33" fmla="*/ 65 h 106"/>
                  <a:gd name="T34" fmla="*/ 47 w 123"/>
                  <a:gd name="T35" fmla="*/ 65 h 106"/>
                  <a:gd name="T36" fmla="*/ 40 w 123"/>
                  <a:gd name="T37" fmla="*/ 65 h 106"/>
                  <a:gd name="T38" fmla="*/ 23 w 123"/>
                  <a:gd name="T39" fmla="*/ 74 h 106"/>
                  <a:gd name="T40" fmla="*/ 32 w 123"/>
                  <a:gd name="T41" fmla="*/ 80 h 106"/>
                  <a:gd name="T42" fmla="*/ 15 w 123"/>
                  <a:gd name="T43" fmla="*/ 80 h 106"/>
                  <a:gd name="T44" fmla="*/ 0 w 123"/>
                  <a:gd name="T4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23" h="106">
                    <a:moveTo>
                      <a:pt x="0" y="8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2" y="9"/>
                    </a:lnTo>
                    <a:lnTo>
                      <a:pt x="57" y="25"/>
                    </a:lnTo>
                    <a:lnTo>
                      <a:pt x="57" y="33"/>
                    </a:lnTo>
                    <a:lnTo>
                      <a:pt x="88" y="49"/>
                    </a:lnTo>
                    <a:lnTo>
                      <a:pt x="72" y="57"/>
                    </a:lnTo>
                    <a:lnTo>
                      <a:pt x="81" y="57"/>
                    </a:lnTo>
                    <a:lnTo>
                      <a:pt x="88" y="65"/>
                    </a:lnTo>
                    <a:lnTo>
                      <a:pt x="97" y="80"/>
                    </a:lnTo>
                    <a:lnTo>
                      <a:pt x="104" y="80"/>
                    </a:lnTo>
                    <a:lnTo>
                      <a:pt x="104" y="90"/>
                    </a:lnTo>
                    <a:lnTo>
                      <a:pt x="122" y="99"/>
                    </a:lnTo>
                    <a:lnTo>
                      <a:pt x="122" y="105"/>
                    </a:lnTo>
                    <a:lnTo>
                      <a:pt x="81" y="99"/>
                    </a:lnTo>
                    <a:lnTo>
                      <a:pt x="63" y="65"/>
                    </a:lnTo>
                    <a:lnTo>
                      <a:pt x="47" y="65"/>
                    </a:lnTo>
                    <a:lnTo>
                      <a:pt x="40" y="65"/>
                    </a:lnTo>
                    <a:lnTo>
                      <a:pt x="23" y="74"/>
                    </a:lnTo>
                    <a:lnTo>
                      <a:pt x="32" y="80"/>
                    </a:lnTo>
                    <a:lnTo>
                      <a:pt x="15" y="80"/>
                    </a:lnTo>
                    <a:lnTo>
                      <a:pt x="0" y="8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1" name="Freeform 207">
                <a:extLst>
                  <a:ext uri="{FF2B5EF4-FFF2-40B4-BE49-F238E27FC236}">
                    <a16:creationId xmlns:a16="http://schemas.microsoft.com/office/drawing/2014/main" id="{ADC8B080-E079-4A2A-9ACA-CDA1A376EF10}"/>
                  </a:ext>
                </a:extLst>
              </p:cNvPr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gray">
              <a:xfrm>
                <a:off x="7919099" y="4286251"/>
                <a:ext cx="109385" cy="63500"/>
              </a:xfrm>
              <a:custGeom>
                <a:avLst/>
                <a:gdLst>
                  <a:gd name="T0" fmla="*/ 0 w 57"/>
                  <a:gd name="T1" fmla="*/ 16 h 33"/>
                  <a:gd name="T2" fmla="*/ 16 w 57"/>
                  <a:gd name="T3" fmla="*/ 32 h 33"/>
                  <a:gd name="T4" fmla="*/ 34 w 57"/>
                  <a:gd name="T5" fmla="*/ 32 h 33"/>
                  <a:gd name="T6" fmla="*/ 49 w 57"/>
                  <a:gd name="T7" fmla="*/ 23 h 33"/>
                  <a:gd name="T8" fmla="*/ 56 w 57"/>
                  <a:gd name="T9" fmla="*/ 8 h 33"/>
                  <a:gd name="T10" fmla="*/ 56 w 57"/>
                  <a:gd name="T11" fmla="*/ 0 h 33"/>
                  <a:gd name="T12" fmla="*/ 49 w 57"/>
                  <a:gd name="T13" fmla="*/ 0 h 33"/>
                  <a:gd name="T14" fmla="*/ 49 w 57"/>
                  <a:gd name="T15" fmla="*/ 16 h 33"/>
                  <a:gd name="T16" fmla="*/ 41 w 57"/>
                  <a:gd name="T17" fmla="*/ 16 h 33"/>
                  <a:gd name="T18" fmla="*/ 34 w 57"/>
                  <a:gd name="T19" fmla="*/ 16 h 33"/>
                  <a:gd name="T20" fmla="*/ 0 w 57"/>
                  <a:gd name="T21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" h="33">
                    <a:moveTo>
                      <a:pt x="0" y="16"/>
                    </a:moveTo>
                    <a:lnTo>
                      <a:pt x="16" y="32"/>
                    </a:lnTo>
                    <a:lnTo>
                      <a:pt x="34" y="32"/>
                    </a:lnTo>
                    <a:lnTo>
                      <a:pt x="49" y="23"/>
                    </a:lnTo>
                    <a:lnTo>
                      <a:pt x="56" y="8"/>
                    </a:lnTo>
                    <a:lnTo>
                      <a:pt x="56" y="0"/>
                    </a:lnTo>
                    <a:lnTo>
                      <a:pt x="49" y="0"/>
                    </a:lnTo>
                    <a:lnTo>
                      <a:pt x="49" y="16"/>
                    </a:lnTo>
                    <a:lnTo>
                      <a:pt x="41" y="16"/>
                    </a:lnTo>
                    <a:lnTo>
                      <a:pt x="34" y="16"/>
                    </a:lnTo>
                    <a:lnTo>
                      <a:pt x="0" y="16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2" name="Freeform 208">
                <a:extLst>
                  <a:ext uri="{FF2B5EF4-FFF2-40B4-BE49-F238E27FC236}">
                    <a16:creationId xmlns:a16="http://schemas.microsoft.com/office/drawing/2014/main" id="{EB4D2D3A-171C-4A69-B6DA-5E4DD0A9E10F}"/>
                  </a:ext>
                </a:extLst>
              </p:cNvPr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gray">
              <a:xfrm>
                <a:off x="7997921" y="4273551"/>
                <a:ext cx="48258" cy="31750"/>
              </a:xfrm>
              <a:custGeom>
                <a:avLst/>
                <a:gdLst>
                  <a:gd name="T0" fmla="*/ 0 w 25"/>
                  <a:gd name="T1" fmla="*/ 0 h 17"/>
                  <a:gd name="T2" fmla="*/ 15 w 25"/>
                  <a:gd name="T3" fmla="*/ 8 h 17"/>
                  <a:gd name="T4" fmla="*/ 24 w 25"/>
                  <a:gd name="T5" fmla="*/ 16 h 17"/>
                  <a:gd name="T6" fmla="*/ 24 w 25"/>
                  <a:gd name="T7" fmla="*/ 8 h 17"/>
                  <a:gd name="T8" fmla="*/ 0 w 2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7">
                    <a:moveTo>
                      <a:pt x="0" y="0"/>
                    </a:moveTo>
                    <a:lnTo>
                      <a:pt x="15" y="8"/>
                    </a:lnTo>
                    <a:lnTo>
                      <a:pt x="24" y="16"/>
                    </a:lnTo>
                    <a:lnTo>
                      <a:pt x="24" y="8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3" name="Freeform 209">
                <a:extLst>
                  <a:ext uri="{FF2B5EF4-FFF2-40B4-BE49-F238E27FC236}">
                    <a16:creationId xmlns:a16="http://schemas.microsoft.com/office/drawing/2014/main" id="{AB7EEFEA-3EB4-4486-9BD6-E294E49F6B71}"/>
                  </a:ext>
                </a:extLst>
              </p:cNvPr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gray">
              <a:xfrm>
                <a:off x="8091219" y="4318001"/>
                <a:ext cx="35389" cy="46038"/>
              </a:xfrm>
              <a:custGeom>
                <a:avLst/>
                <a:gdLst>
                  <a:gd name="T0" fmla="*/ 0 w 18"/>
                  <a:gd name="T1" fmla="*/ 0 h 25"/>
                  <a:gd name="T2" fmla="*/ 8 w 18"/>
                  <a:gd name="T3" fmla="*/ 24 h 25"/>
                  <a:gd name="T4" fmla="*/ 17 w 18"/>
                  <a:gd name="T5" fmla="*/ 16 h 25"/>
                  <a:gd name="T6" fmla="*/ 0 w 18"/>
                  <a:gd name="T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5">
                    <a:moveTo>
                      <a:pt x="0" y="0"/>
                    </a:moveTo>
                    <a:lnTo>
                      <a:pt x="8" y="24"/>
                    </a:lnTo>
                    <a:lnTo>
                      <a:pt x="17" y="16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4" name="Freeform 210">
                <a:extLst>
                  <a:ext uri="{FF2B5EF4-FFF2-40B4-BE49-F238E27FC236}">
                    <a16:creationId xmlns:a16="http://schemas.microsoft.com/office/drawing/2014/main" id="{5B550758-E20F-4307-9EEC-BADB5943EE29}"/>
                  </a:ext>
                </a:extLst>
              </p:cNvPr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gray">
              <a:xfrm>
                <a:off x="8200604" y="4406901"/>
                <a:ext cx="32172" cy="31750"/>
              </a:xfrm>
              <a:custGeom>
                <a:avLst/>
                <a:gdLst>
                  <a:gd name="T0" fmla="*/ 0 w 17"/>
                  <a:gd name="T1" fmla="*/ 0 h 17"/>
                  <a:gd name="T2" fmla="*/ 0 w 17"/>
                  <a:gd name="T3" fmla="*/ 16 h 17"/>
                  <a:gd name="T4" fmla="*/ 16 w 17"/>
                  <a:gd name="T5" fmla="*/ 16 h 17"/>
                  <a:gd name="T6" fmla="*/ 0 w 17"/>
                  <a:gd name="T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7">
                    <a:moveTo>
                      <a:pt x="0" y="0"/>
                    </a:moveTo>
                    <a:lnTo>
                      <a:pt x="0" y="16"/>
                    </a:lnTo>
                    <a:lnTo>
                      <a:pt x="16" y="16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5" name="Freeform 213">
                <a:extLst>
                  <a:ext uri="{FF2B5EF4-FFF2-40B4-BE49-F238E27FC236}">
                    <a16:creationId xmlns:a16="http://schemas.microsoft.com/office/drawing/2014/main" id="{F8094B7D-D151-4278-97D1-F7DE9DB00C18}"/>
                  </a:ext>
                </a:extLst>
              </p:cNvPr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gray">
              <a:xfrm>
                <a:off x="6742113" y="4021138"/>
                <a:ext cx="471173" cy="137842"/>
              </a:xfrm>
              <a:custGeom>
                <a:avLst/>
                <a:gdLst/>
                <a:ahLst/>
                <a:cxnLst/>
                <a:rect l="l" t="t" r="r" b="b"/>
                <a:pathLst>
                  <a:path w="471173" h="137842">
                    <a:moveTo>
                      <a:pt x="406205" y="0"/>
                    </a:moveTo>
                    <a:lnTo>
                      <a:pt x="423398" y="16764"/>
                    </a:lnTo>
                    <a:lnTo>
                      <a:pt x="423398" y="33528"/>
                    </a:lnTo>
                    <a:lnTo>
                      <a:pt x="471173" y="46562"/>
                    </a:lnTo>
                    <a:lnTo>
                      <a:pt x="436787" y="46562"/>
                    </a:lnTo>
                    <a:lnTo>
                      <a:pt x="452053" y="63326"/>
                    </a:lnTo>
                    <a:lnTo>
                      <a:pt x="436787" y="63326"/>
                    </a:lnTo>
                    <a:lnTo>
                      <a:pt x="392841" y="63326"/>
                    </a:lnTo>
                    <a:lnTo>
                      <a:pt x="346993" y="121078"/>
                    </a:lnTo>
                    <a:lnTo>
                      <a:pt x="329800" y="137842"/>
                    </a:lnTo>
                    <a:lnTo>
                      <a:pt x="299218" y="121078"/>
                    </a:lnTo>
                    <a:lnTo>
                      <a:pt x="282025" y="137842"/>
                    </a:lnTo>
                    <a:lnTo>
                      <a:pt x="251468" y="137842"/>
                    </a:lnTo>
                    <a:lnTo>
                      <a:pt x="222813" y="121078"/>
                    </a:lnTo>
                    <a:lnTo>
                      <a:pt x="270563" y="121078"/>
                    </a:lnTo>
                    <a:lnTo>
                      <a:pt x="270563" y="93138"/>
                    </a:lnTo>
                    <a:lnTo>
                      <a:pt x="299218" y="93138"/>
                    </a:lnTo>
                    <a:lnTo>
                      <a:pt x="329800" y="63326"/>
                    </a:lnTo>
                    <a:lnTo>
                      <a:pt x="346993" y="63326"/>
                    </a:lnTo>
                    <a:lnTo>
                      <a:pt x="358455" y="63326"/>
                    </a:lnTo>
                    <a:lnTo>
                      <a:pt x="375648" y="46562"/>
                    </a:lnTo>
                    <a:lnTo>
                      <a:pt x="358455" y="46562"/>
                    </a:lnTo>
                    <a:lnTo>
                      <a:pt x="375648" y="33528"/>
                    </a:lnTo>
                    <a:close/>
                    <a:moveTo>
                      <a:pt x="0" y="0"/>
                    </a:moveTo>
                    <a:lnTo>
                      <a:pt x="17728" y="16764"/>
                    </a:lnTo>
                    <a:lnTo>
                      <a:pt x="35457" y="33528"/>
                    </a:lnTo>
                    <a:lnTo>
                      <a:pt x="47275" y="16764"/>
                    </a:lnTo>
                    <a:lnTo>
                      <a:pt x="84701" y="46562"/>
                    </a:lnTo>
                    <a:lnTo>
                      <a:pt x="84701" y="93138"/>
                    </a:lnTo>
                    <a:lnTo>
                      <a:pt x="96520" y="137842"/>
                    </a:lnTo>
                    <a:lnTo>
                      <a:pt x="84701" y="137842"/>
                    </a:lnTo>
                    <a:lnTo>
                      <a:pt x="35457" y="93138"/>
                    </a:lnTo>
                    <a:lnTo>
                      <a:pt x="0" y="63326"/>
                    </a:lnTo>
                    <a:lnTo>
                      <a:pt x="0" y="1676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6" name="Freeform 215">
                <a:extLst>
                  <a:ext uri="{FF2B5EF4-FFF2-40B4-BE49-F238E27FC236}">
                    <a16:creationId xmlns:a16="http://schemas.microsoft.com/office/drawing/2014/main" id="{452A3574-609D-4C8B-B89D-6E9D8FC4C643}"/>
                  </a:ext>
                </a:extLst>
              </p:cNvPr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gray">
              <a:xfrm>
                <a:off x="7073104" y="4067176"/>
                <a:ext cx="48438" cy="31750"/>
              </a:xfrm>
              <a:custGeom>
                <a:avLst/>
                <a:gdLst>
                  <a:gd name="T0" fmla="*/ 0 w 25"/>
                  <a:gd name="T1" fmla="*/ 16 h 17"/>
                  <a:gd name="T2" fmla="*/ 9 w 25"/>
                  <a:gd name="T3" fmla="*/ 16 h 17"/>
                  <a:gd name="T4" fmla="*/ 15 w 25"/>
                  <a:gd name="T5" fmla="*/ 16 h 17"/>
                  <a:gd name="T6" fmla="*/ 24 w 25"/>
                  <a:gd name="T7" fmla="*/ 0 h 17"/>
                  <a:gd name="T8" fmla="*/ 15 w 25"/>
                  <a:gd name="T9" fmla="*/ 0 h 17"/>
                  <a:gd name="T10" fmla="*/ 0 w 25"/>
                  <a:gd name="T11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7">
                    <a:moveTo>
                      <a:pt x="0" y="16"/>
                    </a:moveTo>
                    <a:lnTo>
                      <a:pt x="9" y="16"/>
                    </a:lnTo>
                    <a:lnTo>
                      <a:pt x="15" y="16"/>
                    </a:lnTo>
                    <a:lnTo>
                      <a:pt x="24" y="0"/>
                    </a:lnTo>
                    <a:lnTo>
                      <a:pt x="15" y="0"/>
                    </a:lnTo>
                    <a:lnTo>
                      <a:pt x="0" y="16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77" name="Oval 216">
                <a:extLst>
                  <a:ext uri="{FF2B5EF4-FFF2-40B4-BE49-F238E27FC236}">
                    <a16:creationId xmlns:a16="http://schemas.microsoft.com/office/drawing/2014/main" id="{D69ABE89-2250-42E6-8806-11BDAFB7272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61"/>
                </p:custDataLst>
              </p:nvPr>
            </p:nvSpPr>
            <p:spPr bwMode="gray">
              <a:xfrm>
                <a:off x="6809926" y="4129088"/>
                <a:ext cx="27448" cy="26988"/>
              </a:xfrm>
              <a:prstGeom prst="ellipse">
                <a:avLst/>
              </a:pr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grpSp>
            <p:nvGrpSpPr>
              <p:cNvPr id="378" name="Group 233">
                <a:extLst>
                  <a:ext uri="{FF2B5EF4-FFF2-40B4-BE49-F238E27FC236}">
                    <a16:creationId xmlns:a16="http://schemas.microsoft.com/office/drawing/2014/main" id="{76F9B972-48A3-45CD-B98B-C398E085659C}"/>
                  </a:ext>
                </a:extLst>
              </p:cNvPr>
              <p:cNvGrpSpPr>
                <a:grpSpLocks/>
              </p:cNvGrpSpPr>
              <p:nvPr>
                <p:custDataLst>
                  <p:tags r:id="rId162"/>
                </p:custDataLst>
              </p:nvPr>
            </p:nvGrpSpPr>
            <p:grpSpPr bwMode="auto">
              <a:xfrm>
                <a:off x="5432426" y="2643188"/>
                <a:ext cx="1014413" cy="495300"/>
                <a:chOff x="3419" y="1862"/>
                <a:chExt cx="629" cy="312"/>
              </a:xfrm>
              <a:grpFill/>
            </p:grpSpPr>
            <p:sp>
              <p:nvSpPr>
                <p:cNvPr id="432" name="Freeform 234">
                  <a:extLst>
                    <a:ext uri="{FF2B5EF4-FFF2-40B4-BE49-F238E27FC236}">
                      <a16:creationId xmlns:a16="http://schemas.microsoft.com/office/drawing/2014/main" id="{68F4A9AD-5EDD-4EFE-9707-A5A8CAA6CFE9}"/>
                    </a:ext>
                  </a:extLst>
                </p:cNvPr>
                <p:cNvSpPr>
                  <a:spLocks/>
                </p:cNvSpPr>
                <p:nvPr>
                  <p:custDataLst>
                    <p:tags r:id="rId210"/>
                  </p:custDataLst>
                </p:nvPr>
              </p:nvSpPr>
              <p:spPr bwMode="gray">
                <a:xfrm>
                  <a:off x="3692" y="1862"/>
                  <a:ext cx="356" cy="312"/>
                </a:xfrm>
                <a:custGeom>
                  <a:avLst/>
                  <a:gdLst>
                    <a:gd name="T0" fmla="*/ 0 w 356"/>
                    <a:gd name="T1" fmla="*/ 25 h 312"/>
                    <a:gd name="T2" fmla="*/ 75 w 356"/>
                    <a:gd name="T3" fmla="*/ 0 h 312"/>
                    <a:gd name="T4" fmla="*/ 99 w 356"/>
                    <a:gd name="T5" fmla="*/ 27 h 312"/>
                    <a:gd name="T6" fmla="*/ 114 w 356"/>
                    <a:gd name="T7" fmla="*/ 12 h 312"/>
                    <a:gd name="T8" fmla="*/ 154 w 356"/>
                    <a:gd name="T9" fmla="*/ 40 h 312"/>
                    <a:gd name="T10" fmla="*/ 160 w 356"/>
                    <a:gd name="T11" fmla="*/ 42 h 312"/>
                    <a:gd name="T12" fmla="*/ 187 w 356"/>
                    <a:gd name="T13" fmla="*/ 30 h 312"/>
                    <a:gd name="T14" fmla="*/ 191 w 356"/>
                    <a:gd name="T15" fmla="*/ 28 h 312"/>
                    <a:gd name="T16" fmla="*/ 196 w 356"/>
                    <a:gd name="T17" fmla="*/ 42 h 312"/>
                    <a:gd name="T18" fmla="*/ 214 w 356"/>
                    <a:gd name="T19" fmla="*/ 54 h 312"/>
                    <a:gd name="T20" fmla="*/ 226 w 356"/>
                    <a:gd name="T21" fmla="*/ 70 h 312"/>
                    <a:gd name="T22" fmla="*/ 233 w 356"/>
                    <a:gd name="T23" fmla="*/ 85 h 312"/>
                    <a:gd name="T24" fmla="*/ 232 w 356"/>
                    <a:gd name="T25" fmla="*/ 100 h 312"/>
                    <a:gd name="T26" fmla="*/ 236 w 356"/>
                    <a:gd name="T27" fmla="*/ 103 h 312"/>
                    <a:gd name="T28" fmla="*/ 248 w 356"/>
                    <a:gd name="T29" fmla="*/ 108 h 312"/>
                    <a:gd name="T30" fmla="*/ 265 w 356"/>
                    <a:gd name="T31" fmla="*/ 105 h 312"/>
                    <a:gd name="T32" fmla="*/ 277 w 356"/>
                    <a:gd name="T33" fmla="*/ 112 h 312"/>
                    <a:gd name="T34" fmla="*/ 287 w 356"/>
                    <a:gd name="T35" fmla="*/ 108 h 312"/>
                    <a:gd name="T36" fmla="*/ 302 w 356"/>
                    <a:gd name="T37" fmla="*/ 114 h 312"/>
                    <a:gd name="T38" fmla="*/ 320 w 356"/>
                    <a:gd name="T39" fmla="*/ 130 h 312"/>
                    <a:gd name="T40" fmla="*/ 353 w 356"/>
                    <a:gd name="T41" fmla="*/ 138 h 312"/>
                    <a:gd name="T42" fmla="*/ 340 w 356"/>
                    <a:gd name="T43" fmla="*/ 152 h 312"/>
                    <a:gd name="T44" fmla="*/ 329 w 356"/>
                    <a:gd name="T45" fmla="*/ 157 h 312"/>
                    <a:gd name="T46" fmla="*/ 328 w 356"/>
                    <a:gd name="T47" fmla="*/ 175 h 312"/>
                    <a:gd name="T48" fmla="*/ 323 w 356"/>
                    <a:gd name="T49" fmla="*/ 195 h 312"/>
                    <a:gd name="T50" fmla="*/ 319 w 356"/>
                    <a:gd name="T51" fmla="*/ 192 h 312"/>
                    <a:gd name="T52" fmla="*/ 305 w 356"/>
                    <a:gd name="T53" fmla="*/ 183 h 312"/>
                    <a:gd name="T54" fmla="*/ 281 w 356"/>
                    <a:gd name="T55" fmla="*/ 195 h 312"/>
                    <a:gd name="T56" fmla="*/ 274 w 356"/>
                    <a:gd name="T57" fmla="*/ 214 h 312"/>
                    <a:gd name="T58" fmla="*/ 278 w 356"/>
                    <a:gd name="T59" fmla="*/ 234 h 312"/>
                    <a:gd name="T60" fmla="*/ 268 w 356"/>
                    <a:gd name="T61" fmla="*/ 226 h 312"/>
                    <a:gd name="T62" fmla="*/ 241 w 356"/>
                    <a:gd name="T63" fmla="*/ 232 h 312"/>
                    <a:gd name="T64" fmla="*/ 247 w 356"/>
                    <a:gd name="T65" fmla="*/ 261 h 312"/>
                    <a:gd name="T66" fmla="*/ 245 w 356"/>
                    <a:gd name="T67" fmla="*/ 274 h 312"/>
                    <a:gd name="T68" fmla="*/ 254 w 356"/>
                    <a:gd name="T69" fmla="*/ 283 h 312"/>
                    <a:gd name="T70" fmla="*/ 242 w 356"/>
                    <a:gd name="T71" fmla="*/ 287 h 312"/>
                    <a:gd name="T72" fmla="*/ 196 w 356"/>
                    <a:gd name="T73" fmla="*/ 309 h 312"/>
                    <a:gd name="T74" fmla="*/ 208 w 356"/>
                    <a:gd name="T75" fmla="*/ 282 h 312"/>
                    <a:gd name="T76" fmla="*/ 172 w 356"/>
                    <a:gd name="T77" fmla="*/ 279 h 312"/>
                    <a:gd name="T78" fmla="*/ 144 w 356"/>
                    <a:gd name="T79" fmla="*/ 270 h 312"/>
                    <a:gd name="T80" fmla="*/ 124 w 356"/>
                    <a:gd name="T81" fmla="*/ 283 h 312"/>
                    <a:gd name="T82" fmla="*/ 109 w 356"/>
                    <a:gd name="T83" fmla="*/ 279 h 312"/>
                    <a:gd name="T84" fmla="*/ 79 w 356"/>
                    <a:gd name="T85" fmla="*/ 292 h 312"/>
                    <a:gd name="T86" fmla="*/ 51 w 356"/>
                    <a:gd name="T87" fmla="*/ 312 h 3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56" h="312">
                      <a:moveTo>
                        <a:pt x="0" y="25"/>
                      </a:moveTo>
                      <a:cubicBezTo>
                        <a:pt x="10" y="28"/>
                        <a:pt x="59" y="0"/>
                        <a:pt x="75" y="0"/>
                      </a:cubicBezTo>
                      <a:cubicBezTo>
                        <a:pt x="91" y="0"/>
                        <a:pt x="92" y="25"/>
                        <a:pt x="99" y="27"/>
                      </a:cubicBezTo>
                      <a:cubicBezTo>
                        <a:pt x="106" y="29"/>
                        <a:pt x="105" y="10"/>
                        <a:pt x="114" y="12"/>
                      </a:cubicBezTo>
                      <a:cubicBezTo>
                        <a:pt x="123" y="14"/>
                        <a:pt x="146" y="35"/>
                        <a:pt x="154" y="40"/>
                      </a:cubicBezTo>
                      <a:cubicBezTo>
                        <a:pt x="162" y="45"/>
                        <a:pt x="155" y="44"/>
                        <a:pt x="160" y="42"/>
                      </a:cubicBezTo>
                      <a:cubicBezTo>
                        <a:pt x="166" y="32"/>
                        <a:pt x="176" y="31"/>
                        <a:pt x="187" y="30"/>
                      </a:cubicBezTo>
                      <a:cubicBezTo>
                        <a:pt x="188" y="29"/>
                        <a:pt x="190" y="27"/>
                        <a:pt x="191" y="28"/>
                      </a:cubicBezTo>
                      <a:cubicBezTo>
                        <a:pt x="194" y="29"/>
                        <a:pt x="195" y="41"/>
                        <a:pt x="196" y="42"/>
                      </a:cubicBezTo>
                      <a:cubicBezTo>
                        <a:pt x="198" y="46"/>
                        <a:pt x="210" y="52"/>
                        <a:pt x="214" y="54"/>
                      </a:cubicBezTo>
                      <a:cubicBezTo>
                        <a:pt x="218" y="60"/>
                        <a:pt x="222" y="64"/>
                        <a:pt x="226" y="70"/>
                      </a:cubicBezTo>
                      <a:cubicBezTo>
                        <a:pt x="228" y="76"/>
                        <a:pt x="232" y="80"/>
                        <a:pt x="233" y="85"/>
                      </a:cubicBezTo>
                      <a:cubicBezTo>
                        <a:pt x="234" y="90"/>
                        <a:pt x="231" y="97"/>
                        <a:pt x="232" y="100"/>
                      </a:cubicBezTo>
                      <a:cubicBezTo>
                        <a:pt x="233" y="106"/>
                        <a:pt x="233" y="102"/>
                        <a:pt x="236" y="103"/>
                      </a:cubicBezTo>
                      <a:cubicBezTo>
                        <a:pt x="239" y="104"/>
                        <a:pt x="243" y="108"/>
                        <a:pt x="248" y="108"/>
                      </a:cubicBezTo>
                      <a:cubicBezTo>
                        <a:pt x="254" y="104"/>
                        <a:pt x="258" y="106"/>
                        <a:pt x="265" y="105"/>
                      </a:cubicBezTo>
                      <a:cubicBezTo>
                        <a:pt x="269" y="110"/>
                        <a:pt x="271" y="111"/>
                        <a:pt x="277" y="112"/>
                      </a:cubicBezTo>
                      <a:cubicBezTo>
                        <a:pt x="281" y="111"/>
                        <a:pt x="283" y="108"/>
                        <a:pt x="287" y="108"/>
                      </a:cubicBezTo>
                      <a:cubicBezTo>
                        <a:pt x="291" y="108"/>
                        <a:pt x="299" y="111"/>
                        <a:pt x="302" y="114"/>
                      </a:cubicBezTo>
                      <a:cubicBezTo>
                        <a:pt x="306" y="120"/>
                        <a:pt x="314" y="127"/>
                        <a:pt x="320" y="130"/>
                      </a:cubicBezTo>
                      <a:cubicBezTo>
                        <a:pt x="329" y="141"/>
                        <a:pt x="338" y="136"/>
                        <a:pt x="353" y="138"/>
                      </a:cubicBezTo>
                      <a:cubicBezTo>
                        <a:pt x="356" y="142"/>
                        <a:pt x="344" y="149"/>
                        <a:pt x="340" y="152"/>
                      </a:cubicBezTo>
                      <a:cubicBezTo>
                        <a:pt x="336" y="155"/>
                        <a:pt x="331" y="153"/>
                        <a:pt x="329" y="157"/>
                      </a:cubicBezTo>
                      <a:cubicBezTo>
                        <a:pt x="325" y="162"/>
                        <a:pt x="329" y="169"/>
                        <a:pt x="328" y="175"/>
                      </a:cubicBezTo>
                      <a:cubicBezTo>
                        <a:pt x="327" y="181"/>
                        <a:pt x="324" y="192"/>
                        <a:pt x="323" y="195"/>
                      </a:cubicBezTo>
                      <a:cubicBezTo>
                        <a:pt x="323" y="197"/>
                        <a:pt x="320" y="193"/>
                        <a:pt x="319" y="192"/>
                      </a:cubicBezTo>
                      <a:cubicBezTo>
                        <a:pt x="314" y="189"/>
                        <a:pt x="310" y="186"/>
                        <a:pt x="305" y="183"/>
                      </a:cubicBezTo>
                      <a:cubicBezTo>
                        <a:pt x="287" y="186"/>
                        <a:pt x="286" y="182"/>
                        <a:pt x="281" y="195"/>
                      </a:cubicBezTo>
                      <a:cubicBezTo>
                        <a:pt x="277" y="200"/>
                        <a:pt x="275" y="207"/>
                        <a:pt x="274" y="214"/>
                      </a:cubicBezTo>
                      <a:cubicBezTo>
                        <a:pt x="274" y="220"/>
                        <a:pt x="279" y="232"/>
                        <a:pt x="278" y="234"/>
                      </a:cubicBezTo>
                      <a:cubicBezTo>
                        <a:pt x="274" y="230"/>
                        <a:pt x="273" y="229"/>
                        <a:pt x="268" y="226"/>
                      </a:cubicBezTo>
                      <a:cubicBezTo>
                        <a:pt x="263" y="226"/>
                        <a:pt x="244" y="226"/>
                        <a:pt x="241" y="232"/>
                      </a:cubicBezTo>
                      <a:cubicBezTo>
                        <a:pt x="238" y="238"/>
                        <a:pt x="246" y="254"/>
                        <a:pt x="247" y="261"/>
                      </a:cubicBezTo>
                      <a:cubicBezTo>
                        <a:pt x="246" y="265"/>
                        <a:pt x="244" y="270"/>
                        <a:pt x="245" y="274"/>
                      </a:cubicBezTo>
                      <a:cubicBezTo>
                        <a:pt x="246" y="278"/>
                        <a:pt x="254" y="283"/>
                        <a:pt x="254" y="283"/>
                      </a:cubicBezTo>
                      <a:cubicBezTo>
                        <a:pt x="254" y="285"/>
                        <a:pt x="248" y="284"/>
                        <a:pt x="242" y="287"/>
                      </a:cubicBezTo>
                      <a:cubicBezTo>
                        <a:pt x="232" y="291"/>
                        <a:pt x="202" y="310"/>
                        <a:pt x="196" y="309"/>
                      </a:cubicBezTo>
                      <a:cubicBezTo>
                        <a:pt x="190" y="308"/>
                        <a:pt x="212" y="287"/>
                        <a:pt x="208" y="282"/>
                      </a:cubicBezTo>
                      <a:cubicBezTo>
                        <a:pt x="204" y="277"/>
                        <a:pt x="183" y="281"/>
                        <a:pt x="172" y="279"/>
                      </a:cubicBezTo>
                      <a:cubicBezTo>
                        <a:pt x="161" y="277"/>
                        <a:pt x="152" y="269"/>
                        <a:pt x="144" y="270"/>
                      </a:cubicBezTo>
                      <a:cubicBezTo>
                        <a:pt x="136" y="271"/>
                        <a:pt x="130" y="282"/>
                        <a:pt x="124" y="283"/>
                      </a:cubicBezTo>
                      <a:cubicBezTo>
                        <a:pt x="118" y="284"/>
                        <a:pt x="116" y="278"/>
                        <a:pt x="109" y="279"/>
                      </a:cubicBezTo>
                      <a:cubicBezTo>
                        <a:pt x="102" y="280"/>
                        <a:pt x="89" y="287"/>
                        <a:pt x="79" y="292"/>
                      </a:cubicBezTo>
                      <a:cubicBezTo>
                        <a:pt x="69" y="297"/>
                        <a:pt x="57" y="308"/>
                        <a:pt x="51" y="312"/>
                      </a:cubicBezTo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33" name="Freeform 235">
                  <a:extLst>
                    <a:ext uri="{FF2B5EF4-FFF2-40B4-BE49-F238E27FC236}">
                      <a16:creationId xmlns:a16="http://schemas.microsoft.com/office/drawing/2014/main" id="{8952F701-C49D-4713-B20E-4FBC67518BC7}"/>
                    </a:ext>
                  </a:extLst>
                </p:cNvPr>
                <p:cNvSpPr>
                  <a:spLocks/>
                </p:cNvSpPr>
                <p:nvPr>
                  <p:custDataLst>
                    <p:tags r:id="rId211"/>
                  </p:custDataLst>
                </p:nvPr>
              </p:nvSpPr>
              <p:spPr bwMode="gray">
                <a:xfrm>
                  <a:off x="3419" y="1864"/>
                  <a:ext cx="339" cy="308"/>
                </a:xfrm>
                <a:custGeom>
                  <a:avLst/>
                  <a:gdLst>
                    <a:gd name="T0" fmla="*/ 339 w 339"/>
                    <a:gd name="T1" fmla="*/ 0 h 308"/>
                    <a:gd name="T2" fmla="*/ 273 w 339"/>
                    <a:gd name="T3" fmla="*/ 23 h 308"/>
                    <a:gd name="T4" fmla="*/ 252 w 339"/>
                    <a:gd name="T5" fmla="*/ 31 h 308"/>
                    <a:gd name="T6" fmla="*/ 233 w 339"/>
                    <a:gd name="T7" fmla="*/ 34 h 308"/>
                    <a:gd name="T8" fmla="*/ 226 w 339"/>
                    <a:gd name="T9" fmla="*/ 55 h 308"/>
                    <a:gd name="T10" fmla="*/ 216 w 339"/>
                    <a:gd name="T11" fmla="*/ 74 h 308"/>
                    <a:gd name="T12" fmla="*/ 221 w 339"/>
                    <a:gd name="T13" fmla="*/ 92 h 308"/>
                    <a:gd name="T14" fmla="*/ 228 w 339"/>
                    <a:gd name="T15" fmla="*/ 103 h 308"/>
                    <a:gd name="T16" fmla="*/ 221 w 339"/>
                    <a:gd name="T17" fmla="*/ 112 h 308"/>
                    <a:gd name="T18" fmla="*/ 194 w 339"/>
                    <a:gd name="T19" fmla="*/ 109 h 308"/>
                    <a:gd name="T20" fmla="*/ 180 w 339"/>
                    <a:gd name="T21" fmla="*/ 101 h 308"/>
                    <a:gd name="T22" fmla="*/ 164 w 339"/>
                    <a:gd name="T23" fmla="*/ 100 h 308"/>
                    <a:gd name="T24" fmla="*/ 147 w 339"/>
                    <a:gd name="T25" fmla="*/ 110 h 308"/>
                    <a:gd name="T26" fmla="*/ 101 w 339"/>
                    <a:gd name="T27" fmla="*/ 86 h 308"/>
                    <a:gd name="T28" fmla="*/ 66 w 339"/>
                    <a:gd name="T29" fmla="*/ 88 h 308"/>
                    <a:gd name="T30" fmla="*/ 54 w 339"/>
                    <a:gd name="T31" fmla="*/ 97 h 308"/>
                    <a:gd name="T32" fmla="*/ 36 w 339"/>
                    <a:gd name="T33" fmla="*/ 116 h 308"/>
                    <a:gd name="T34" fmla="*/ 23 w 339"/>
                    <a:gd name="T35" fmla="*/ 118 h 308"/>
                    <a:gd name="T36" fmla="*/ 12 w 339"/>
                    <a:gd name="T37" fmla="*/ 142 h 308"/>
                    <a:gd name="T38" fmla="*/ 5 w 339"/>
                    <a:gd name="T39" fmla="*/ 155 h 308"/>
                    <a:gd name="T40" fmla="*/ 12 w 339"/>
                    <a:gd name="T41" fmla="*/ 173 h 308"/>
                    <a:gd name="T42" fmla="*/ 26 w 339"/>
                    <a:gd name="T43" fmla="*/ 181 h 308"/>
                    <a:gd name="T44" fmla="*/ 41 w 339"/>
                    <a:gd name="T45" fmla="*/ 202 h 308"/>
                    <a:gd name="T46" fmla="*/ 47 w 339"/>
                    <a:gd name="T47" fmla="*/ 211 h 308"/>
                    <a:gd name="T48" fmla="*/ 48 w 339"/>
                    <a:gd name="T49" fmla="*/ 206 h 308"/>
                    <a:gd name="T50" fmla="*/ 57 w 339"/>
                    <a:gd name="T51" fmla="*/ 200 h 308"/>
                    <a:gd name="T52" fmla="*/ 89 w 339"/>
                    <a:gd name="T53" fmla="*/ 197 h 308"/>
                    <a:gd name="T54" fmla="*/ 108 w 339"/>
                    <a:gd name="T55" fmla="*/ 211 h 308"/>
                    <a:gd name="T56" fmla="*/ 108 w 339"/>
                    <a:gd name="T57" fmla="*/ 221 h 308"/>
                    <a:gd name="T58" fmla="*/ 125 w 339"/>
                    <a:gd name="T59" fmla="*/ 227 h 308"/>
                    <a:gd name="T60" fmla="*/ 113 w 339"/>
                    <a:gd name="T61" fmla="*/ 247 h 308"/>
                    <a:gd name="T62" fmla="*/ 99 w 339"/>
                    <a:gd name="T63" fmla="*/ 233 h 308"/>
                    <a:gd name="T64" fmla="*/ 87 w 339"/>
                    <a:gd name="T65" fmla="*/ 238 h 308"/>
                    <a:gd name="T66" fmla="*/ 74 w 339"/>
                    <a:gd name="T67" fmla="*/ 248 h 308"/>
                    <a:gd name="T68" fmla="*/ 77 w 339"/>
                    <a:gd name="T69" fmla="*/ 265 h 308"/>
                    <a:gd name="T70" fmla="*/ 87 w 339"/>
                    <a:gd name="T71" fmla="*/ 279 h 308"/>
                    <a:gd name="T72" fmla="*/ 102 w 339"/>
                    <a:gd name="T73" fmla="*/ 295 h 308"/>
                    <a:gd name="T74" fmla="*/ 134 w 339"/>
                    <a:gd name="T75" fmla="*/ 293 h 308"/>
                    <a:gd name="T76" fmla="*/ 152 w 339"/>
                    <a:gd name="T77" fmla="*/ 302 h 308"/>
                    <a:gd name="T78" fmla="*/ 153 w 339"/>
                    <a:gd name="T79" fmla="*/ 242 h 308"/>
                    <a:gd name="T80" fmla="*/ 170 w 339"/>
                    <a:gd name="T81" fmla="*/ 235 h 308"/>
                    <a:gd name="T82" fmla="*/ 188 w 339"/>
                    <a:gd name="T83" fmla="*/ 226 h 308"/>
                    <a:gd name="T84" fmla="*/ 206 w 339"/>
                    <a:gd name="T85" fmla="*/ 230 h 308"/>
                    <a:gd name="T86" fmla="*/ 230 w 339"/>
                    <a:gd name="T87" fmla="*/ 253 h 308"/>
                    <a:gd name="T88" fmla="*/ 254 w 339"/>
                    <a:gd name="T89" fmla="*/ 269 h 308"/>
                    <a:gd name="T90" fmla="*/ 287 w 339"/>
                    <a:gd name="T91" fmla="*/ 269 h 308"/>
                    <a:gd name="T92" fmla="*/ 303 w 339"/>
                    <a:gd name="T93" fmla="*/ 287 h 308"/>
                    <a:gd name="T94" fmla="*/ 321 w 339"/>
                    <a:gd name="T95" fmla="*/ 308 h 3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39" h="308">
                      <a:moveTo>
                        <a:pt x="339" y="0"/>
                      </a:moveTo>
                      <a:cubicBezTo>
                        <a:pt x="328" y="3"/>
                        <a:pt x="287" y="18"/>
                        <a:pt x="273" y="23"/>
                      </a:cubicBezTo>
                      <a:cubicBezTo>
                        <a:pt x="262" y="26"/>
                        <a:pt x="259" y="29"/>
                        <a:pt x="252" y="31"/>
                      </a:cubicBezTo>
                      <a:cubicBezTo>
                        <a:pt x="245" y="33"/>
                        <a:pt x="237" y="30"/>
                        <a:pt x="233" y="34"/>
                      </a:cubicBezTo>
                      <a:cubicBezTo>
                        <a:pt x="225" y="39"/>
                        <a:pt x="229" y="48"/>
                        <a:pt x="226" y="55"/>
                      </a:cubicBezTo>
                      <a:cubicBezTo>
                        <a:pt x="223" y="62"/>
                        <a:pt x="217" y="68"/>
                        <a:pt x="216" y="74"/>
                      </a:cubicBezTo>
                      <a:cubicBezTo>
                        <a:pt x="211" y="82"/>
                        <a:pt x="216" y="85"/>
                        <a:pt x="221" y="92"/>
                      </a:cubicBezTo>
                      <a:cubicBezTo>
                        <a:pt x="223" y="101"/>
                        <a:pt x="226" y="94"/>
                        <a:pt x="228" y="103"/>
                      </a:cubicBezTo>
                      <a:cubicBezTo>
                        <a:pt x="227" y="105"/>
                        <a:pt x="225" y="112"/>
                        <a:pt x="221" y="112"/>
                      </a:cubicBezTo>
                      <a:cubicBezTo>
                        <a:pt x="212" y="112"/>
                        <a:pt x="194" y="109"/>
                        <a:pt x="194" y="109"/>
                      </a:cubicBezTo>
                      <a:cubicBezTo>
                        <a:pt x="189" y="107"/>
                        <a:pt x="185" y="104"/>
                        <a:pt x="180" y="101"/>
                      </a:cubicBezTo>
                      <a:cubicBezTo>
                        <a:pt x="175" y="100"/>
                        <a:pt x="169" y="99"/>
                        <a:pt x="164" y="100"/>
                      </a:cubicBezTo>
                      <a:cubicBezTo>
                        <a:pt x="159" y="101"/>
                        <a:pt x="157" y="112"/>
                        <a:pt x="147" y="110"/>
                      </a:cubicBezTo>
                      <a:cubicBezTo>
                        <a:pt x="133" y="108"/>
                        <a:pt x="114" y="90"/>
                        <a:pt x="101" y="86"/>
                      </a:cubicBezTo>
                      <a:cubicBezTo>
                        <a:pt x="88" y="82"/>
                        <a:pt x="74" y="86"/>
                        <a:pt x="66" y="88"/>
                      </a:cubicBezTo>
                      <a:cubicBezTo>
                        <a:pt x="62" y="93"/>
                        <a:pt x="59" y="94"/>
                        <a:pt x="54" y="97"/>
                      </a:cubicBezTo>
                      <a:cubicBezTo>
                        <a:pt x="53" y="105"/>
                        <a:pt x="43" y="112"/>
                        <a:pt x="36" y="116"/>
                      </a:cubicBezTo>
                      <a:cubicBezTo>
                        <a:pt x="35" y="127"/>
                        <a:pt x="32" y="122"/>
                        <a:pt x="23" y="118"/>
                      </a:cubicBezTo>
                      <a:cubicBezTo>
                        <a:pt x="17" y="112"/>
                        <a:pt x="18" y="136"/>
                        <a:pt x="12" y="142"/>
                      </a:cubicBezTo>
                      <a:cubicBezTo>
                        <a:pt x="11" y="149"/>
                        <a:pt x="10" y="151"/>
                        <a:pt x="5" y="155"/>
                      </a:cubicBezTo>
                      <a:cubicBezTo>
                        <a:pt x="0" y="164"/>
                        <a:pt x="2" y="172"/>
                        <a:pt x="12" y="173"/>
                      </a:cubicBezTo>
                      <a:cubicBezTo>
                        <a:pt x="17" y="175"/>
                        <a:pt x="21" y="178"/>
                        <a:pt x="26" y="181"/>
                      </a:cubicBezTo>
                      <a:cubicBezTo>
                        <a:pt x="32" y="189"/>
                        <a:pt x="31" y="198"/>
                        <a:pt x="41" y="202"/>
                      </a:cubicBezTo>
                      <a:cubicBezTo>
                        <a:pt x="41" y="204"/>
                        <a:pt x="41" y="213"/>
                        <a:pt x="47" y="211"/>
                      </a:cubicBezTo>
                      <a:cubicBezTo>
                        <a:pt x="49" y="210"/>
                        <a:pt x="47" y="207"/>
                        <a:pt x="48" y="206"/>
                      </a:cubicBezTo>
                      <a:cubicBezTo>
                        <a:pt x="50" y="203"/>
                        <a:pt x="54" y="201"/>
                        <a:pt x="57" y="200"/>
                      </a:cubicBezTo>
                      <a:cubicBezTo>
                        <a:pt x="67" y="196"/>
                        <a:pt x="78" y="198"/>
                        <a:pt x="89" y="197"/>
                      </a:cubicBezTo>
                      <a:cubicBezTo>
                        <a:pt x="103" y="195"/>
                        <a:pt x="102" y="200"/>
                        <a:pt x="108" y="211"/>
                      </a:cubicBezTo>
                      <a:cubicBezTo>
                        <a:pt x="113" y="214"/>
                        <a:pt x="105" y="218"/>
                        <a:pt x="108" y="221"/>
                      </a:cubicBezTo>
                      <a:cubicBezTo>
                        <a:pt x="111" y="224"/>
                        <a:pt x="124" y="223"/>
                        <a:pt x="125" y="227"/>
                      </a:cubicBezTo>
                      <a:cubicBezTo>
                        <a:pt x="123" y="236"/>
                        <a:pt x="121" y="243"/>
                        <a:pt x="113" y="247"/>
                      </a:cubicBezTo>
                      <a:cubicBezTo>
                        <a:pt x="106" y="243"/>
                        <a:pt x="108" y="236"/>
                        <a:pt x="99" y="233"/>
                      </a:cubicBezTo>
                      <a:cubicBezTo>
                        <a:pt x="78" y="238"/>
                        <a:pt x="95" y="228"/>
                        <a:pt x="87" y="238"/>
                      </a:cubicBezTo>
                      <a:cubicBezTo>
                        <a:pt x="85" y="241"/>
                        <a:pt x="74" y="248"/>
                        <a:pt x="74" y="248"/>
                      </a:cubicBezTo>
                      <a:cubicBezTo>
                        <a:pt x="70" y="255"/>
                        <a:pt x="66" y="263"/>
                        <a:pt x="77" y="265"/>
                      </a:cubicBezTo>
                      <a:cubicBezTo>
                        <a:pt x="79" y="270"/>
                        <a:pt x="83" y="274"/>
                        <a:pt x="87" y="279"/>
                      </a:cubicBezTo>
                      <a:cubicBezTo>
                        <a:pt x="91" y="284"/>
                        <a:pt x="94" y="293"/>
                        <a:pt x="102" y="295"/>
                      </a:cubicBezTo>
                      <a:cubicBezTo>
                        <a:pt x="113" y="290"/>
                        <a:pt x="120" y="292"/>
                        <a:pt x="134" y="293"/>
                      </a:cubicBezTo>
                      <a:cubicBezTo>
                        <a:pt x="140" y="296"/>
                        <a:pt x="146" y="298"/>
                        <a:pt x="152" y="302"/>
                      </a:cubicBezTo>
                      <a:cubicBezTo>
                        <a:pt x="156" y="293"/>
                        <a:pt x="150" y="253"/>
                        <a:pt x="153" y="242"/>
                      </a:cubicBezTo>
                      <a:cubicBezTo>
                        <a:pt x="156" y="231"/>
                        <a:pt x="164" y="238"/>
                        <a:pt x="170" y="235"/>
                      </a:cubicBezTo>
                      <a:cubicBezTo>
                        <a:pt x="176" y="231"/>
                        <a:pt x="181" y="227"/>
                        <a:pt x="188" y="226"/>
                      </a:cubicBezTo>
                      <a:cubicBezTo>
                        <a:pt x="194" y="227"/>
                        <a:pt x="200" y="229"/>
                        <a:pt x="206" y="230"/>
                      </a:cubicBezTo>
                      <a:cubicBezTo>
                        <a:pt x="217" y="238"/>
                        <a:pt x="214" y="250"/>
                        <a:pt x="230" y="253"/>
                      </a:cubicBezTo>
                      <a:cubicBezTo>
                        <a:pt x="238" y="258"/>
                        <a:pt x="245" y="267"/>
                        <a:pt x="254" y="269"/>
                      </a:cubicBezTo>
                      <a:cubicBezTo>
                        <a:pt x="263" y="272"/>
                        <a:pt x="279" y="266"/>
                        <a:pt x="287" y="269"/>
                      </a:cubicBezTo>
                      <a:cubicBezTo>
                        <a:pt x="295" y="274"/>
                        <a:pt x="295" y="282"/>
                        <a:pt x="303" y="287"/>
                      </a:cubicBezTo>
                      <a:cubicBezTo>
                        <a:pt x="304" y="300"/>
                        <a:pt x="310" y="301"/>
                        <a:pt x="321" y="308"/>
                      </a:cubicBezTo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</p:grpSp>
          <p:sp>
            <p:nvSpPr>
              <p:cNvPr id="379" name="Freeform 236">
                <a:extLst>
                  <a:ext uri="{FF2B5EF4-FFF2-40B4-BE49-F238E27FC236}">
                    <a16:creationId xmlns:a16="http://schemas.microsoft.com/office/drawing/2014/main" id="{E90ED106-6ABD-4407-BDE4-57F4EFAA63BA}"/>
                  </a:ext>
                </a:extLst>
              </p:cNvPr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gray">
              <a:xfrm>
                <a:off x="3895726" y="1398588"/>
                <a:ext cx="31750" cy="33338"/>
              </a:xfrm>
              <a:custGeom>
                <a:avLst/>
                <a:gdLst>
                  <a:gd name="T0" fmla="*/ 0 w 17"/>
                  <a:gd name="T1" fmla="*/ 0 h 18"/>
                  <a:gd name="T2" fmla="*/ 0 w 17"/>
                  <a:gd name="T3" fmla="*/ 17 h 18"/>
                  <a:gd name="T4" fmla="*/ 16 w 17"/>
                  <a:gd name="T5" fmla="*/ 17 h 18"/>
                  <a:gd name="T6" fmla="*/ 0 w 17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0"/>
                    </a:moveTo>
                    <a:lnTo>
                      <a:pt x="0" y="17"/>
                    </a:lnTo>
                    <a:lnTo>
                      <a:pt x="16" y="17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0" name="Freeform 237">
                <a:extLst>
                  <a:ext uri="{FF2B5EF4-FFF2-40B4-BE49-F238E27FC236}">
                    <a16:creationId xmlns:a16="http://schemas.microsoft.com/office/drawing/2014/main" id="{96012562-D773-4745-BD64-D3C1B7262B75}"/>
                  </a:ext>
                </a:extLst>
              </p:cNvPr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gray">
              <a:xfrm>
                <a:off x="3895726" y="1398588"/>
                <a:ext cx="31750" cy="33338"/>
              </a:xfrm>
              <a:custGeom>
                <a:avLst/>
                <a:gdLst>
                  <a:gd name="T0" fmla="*/ 0 w 17"/>
                  <a:gd name="T1" fmla="*/ 0 h 18"/>
                  <a:gd name="T2" fmla="*/ 0 w 17"/>
                  <a:gd name="T3" fmla="*/ 17 h 18"/>
                  <a:gd name="T4" fmla="*/ 16 w 17"/>
                  <a:gd name="T5" fmla="*/ 17 h 18"/>
                  <a:gd name="T6" fmla="*/ 0 w 17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0"/>
                    </a:moveTo>
                    <a:lnTo>
                      <a:pt x="0" y="17"/>
                    </a:lnTo>
                    <a:lnTo>
                      <a:pt x="16" y="17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1" name="Freeform 311">
                <a:extLst>
                  <a:ext uri="{FF2B5EF4-FFF2-40B4-BE49-F238E27FC236}">
                    <a16:creationId xmlns:a16="http://schemas.microsoft.com/office/drawing/2014/main" id="{02F61C9C-460A-45F7-B495-237485326694}"/>
                  </a:ext>
                </a:extLst>
              </p:cNvPr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gray">
              <a:xfrm>
                <a:off x="3740151" y="2073276"/>
                <a:ext cx="273050" cy="179388"/>
              </a:xfrm>
              <a:custGeom>
                <a:avLst/>
                <a:gdLst>
                  <a:gd name="T0" fmla="*/ 32 w 169"/>
                  <a:gd name="T1" fmla="*/ 1 h 113"/>
                  <a:gd name="T2" fmla="*/ 50 w 169"/>
                  <a:gd name="T3" fmla="*/ 17 h 113"/>
                  <a:gd name="T4" fmla="*/ 60 w 169"/>
                  <a:gd name="T5" fmla="*/ 31 h 113"/>
                  <a:gd name="T6" fmla="*/ 72 w 169"/>
                  <a:gd name="T7" fmla="*/ 25 h 113"/>
                  <a:gd name="T8" fmla="*/ 114 w 169"/>
                  <a:gd name="T9" fmla="*/ 13 h 113"/>
                  <a:gd name="T10" fmla="*/ 152 w 169"/>
                  <a:gd name="T11" fmla="*/ 11 h 113"/>
                  <a:gd name="T12" fmla="*/ 148 w 169"/>
                  <a:gd name="T13" fmla="*/ 23 h 113"/>
                  <a:gd name="T14" fmla="*/ 166 w 169"/>
                  <a:gd name="T15" fmla="*/ 45 h 113"/>
                  <a:gd name="T16" fmla="*/ 158 w 169"/>
                  <a:gd name="T17" fmla="*/ 67 h 113"/>
                  <a:gd name="T18" fmla="*/ 134 w 169"/>
                  <a:gd name="T19" fmla="*/ 87 h 113"/>
                  <a:gd name="T20" fmla="*/ 116 w 169"/>
                  <a:gd name="T21" fmla="*/ 95 h 113"/>
                  <a:gd name="T22" fmla="*/ 112 w 169"/>
                  <a:gd name="T23" fmla="*/ 107 h 113"/>
                  <a:gd name="T24" fmla="*/ 94 w 169"/>
                  <a:gd name="T25" fmla="*/ 113 h 113"/>
                  <a:gd name="T26" fmla="*/ 54 w 169"/>
                  <a:gd name="T27" fmla="*/ 97 h 113"/>
                  <a:gd name="T28" fmla="*/ 24 w 169"/>
                  <a:gd name="T29" fmla="*/ 107 h 113"/>
                  <a:gd name="T30" fmla="*/ 38 w 169"/>
                  <a:gd name="T31" fmla="*/ 85 h 113"/>
                  <a:gd name="T32" fmla="*/ 16 w 169"/>
                  <a:gd name="T33" fmla="*/ 69 h 113"/>
                  <a:gd name="T34" fmla="*/ 2 w 169"/>
                  <a:gd name="T35" fmla="*/ 55 h 113"/>
                  <a:gd name="T36" fmla="*/ 26 w 169"/>
                  <a:gd name="T37" fmla="*/ 53 h 113"/>
                  <a:gd name="T38" fmla="*/ 24 w 169"/>
                  <a:gd name="T39" fmla="*/ 47 h 113"/>
                  <a:gd name="T40" fmla="*/ 0 w 169"/>
                  <a:gd name="T41" fmla="*/ 41 h 113"/>
                  <a:gd name="T42" fmla="*/ 4 w 169"/>
                  <a:gd name="T43" fmla="*/ 29 h 113"/>
                  <a:gd name="T44" fmla="*/ 16 w 169"/>
                  <a:gd name="T45" fmla="*/ 21 h 113"/>
                  <a:gd name="T46" fmla="*/ 28 w 169"/>
                  <a:gd name="T47" fmla="*/ 5 h 113"/>
                  <a:gd name="T48" fmla="*/ 32 w 169"/>
                  <a:gd name="T49" fmla="*/ 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9" h="113">
                    <a:moveTo>
                      <a:pt x="32" y="1"/>
                    </a:moveTo>
                    <a:cubicBezTo>
                      <a:pt x="35" y="6"/>
                      <a:pt x="45" y="15"/>
                      <a:pt x="50" y="17"/>
                    </a:cubicBezTo>
                    <a:cubicBezTo>
                      <a:pt x="53" y="45"/>
                      <a:pt x="50" y="43"/>
                      <a:pt x="60" y="31"/>
                    </a:cubicBezTo>
                    <a:cubicBezTo>
                      <a:pt x="63" y="27"/>
                      <a:pt x="68" y="26"/>
                      <a:pt x="72" y="25"/>
                    </a:cubicBezTo>
                    <a:cubicBezTo>
                      <a:pt x="81" y="11"/>
                      <a:pt x="99" y="14"/>
                      <a:pt x="114" y="13"/>
                    </a:cubicBezTo>
                    <a:cubicBezTo>
                      <a:pt x="126" y="5"/>
                      <a:pt x="131" y="0"/>
                      <a:pt x="152" y="11"/>
                    </a:cubicBezTo>
                    <a:cubicBezTo>
                      <a:pt x="156" y="13"/>
                      <a:pt x="148" y="23"/>
                      <a:pt x="148" y="23"/>
                    </a:cubicBezTo>
                    <a:cubicBezTo>
                      <a:pt x="157" y="29"/>
                      <a:pt x="158" y="37"/>
                      <a:pt x="166" y="45"/>
                    </a:cubicBezTo>
                    <a:cubicBezTo>
                      <a:pt x="169" y="54"/>
                      <a:pt x="168" y="64"/>
                      <a:pt x="158" y="67"/>
                    </a:cubicBezTo>
                    <a:cubicBezTo>
                      <a:pt x="147" y="84"/>
                      <a:pt x="161" y="84"/>
                      <a:pt x="134" y="87"/>
                    </a:cubicBezTo>
                    <a:cubicBezTo>
                      <a:pt x="127" y="89"/>
                      <a:pt x="123" y="93"/>
                      <a:pt x="116" y="95"/>
                    </a:cubicBezTo>
                    <a:cubicBezTo>
                      <a:pt x="115" y="99"/>
                      <a:pt x="113" y="103"/>
                      <a:pt x="112" y="107"/>
                    </a:cubicBezTo>
                    <a:cubicBezTo>
                      <a:pt x="110" y="113"/>
                      <a:pt x="94" y="113"/>
                      <a:pt x="94" y="113"/>
                    </a:cubicBezTo>
                    <a:cubicBezTo>
                      <a:pt x="77" y="111"/>
                      <a:pt x="69" y="102"/>
                      <a:pt x="54" y="97"/>
                    </a:cubicBezTo>
                    <a:cubicBezTo>
                      <a:pt x="26" y="100"/>
                      <a:pt x="41" y="101"/>
                      <a:pt x="24" y="107"/>
                    </a:cubicBezTo>
                    <a:cubicBezTo>
                      <a:pt x="21" y="98"/>
                      <a:pt x="32" y="93"/>
                      <a:pt x="38" y="85"/>
                    </a:cubicBezTo>
                    <a:cubicBezTo>
                      <a:pt x="28" y="79"/>
                      <a:pt x="29" y="72"/>
                      <a:pt x="16" y="69"/>
                    </a:cubicBezTo>
                    <a:cubicBezTo>
                      <a:pt x="9" y="64"/>
                      <a:pt x="9" y="60"/>
                      <a:pt x="2" y="55"/>
                    </a:cubicBezTo>
                    <a:cubicBezTo>
                      <a:pt x="10" y="54"/>
                      <a:pt x="18" y="56"/>
                      <a:pt x="26" y="53"/>
                    </a:cubicBezTo>
                    <a:cubicBezTo>
                      <a:pt x="28" y="52"/>
                      <a:pt x="26" y="48"/>
                      <a:pt x="24" y="47"/>
                    </a:cubicBezTo>
                    <a:cubicBezTo>
                      <a:pt x="17" y="43"/>
                      <a:pt x="0" y="41"/>
                      <a:pt x="0" y="41"/>
                    </a:cubicBezTo>
                    <a:cubicBezTo>
                      <a:pt x="1" y="37"/>
                      <a:pt x="0" y="31"/>
                      <a:pt x="4" y="29"/>
                    </a:cubicBezTo>
                    <a:cubicBezTo>
                      <a:pt x="8" y="26"/>
                      <a:pt x="16" y="21"/>
                      <a:pt x="16" y="21"/>
                    </a:cubicBezTo>
                    <a:cubicBezTo>
                      <a:pt x="19" y="13"/>
                      <a:pt x="21" y="10"/>
                      <a:pt x="28" y="5"/>
                    </a:cubicBezTo>
                    <a:cubicBezTo>
                      <a:pt x="38" y="8"/>
                      <a:pt x="38" y="9"/>
                      <a:pt x="32" y="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2" name="Freeform 312">
                <a:extLst>
                  <a:ext uri="{FF2B5EF4-FFF2-40B4-BE49-F238E27FC236}">
                    <a16:creationId xmlns:a16="http://schemas.microsoft.com/office/drawing/2014/main" id="{6B95E2C6-B9A0-4C8E-8594-5F7439E8FA65}"/>
                  </a:ext>
                </a:extLst>
              </p:cNvPr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gray">
              <a:xfrm>
                <a:off x="2681288" y="1274763"/>
                <a:ext cx="1211263" cy="1139825"/>
              </a:xfrm>
              <a:custGeom>
                <a:avLst/>
                <a:gdLst>
                  <a:gd name="T0" fmla="*/ 188 w 763"/>
                  <a:gd name="T1" fmla="*/ 119 h 718"/>
                  <a:gd name="T2" fmla="*/ 209 w 763"/>
                  <a:gd name="T3" fmla="*/ 172 h 718"/>
                  <a:gd name="T4" fmla="*/ 210 w 763"/>
                  <a:gd name="T5" fmla="*/ 248 h 718"/>
                  <a:gd name="T6" fmla="*/ 228 w 763"/>
                  <a:gd name="T7" fmla="*/ 287 h 718"/>
                  <a:gd name="T8" fmla="*/ 248 w 763"/>
                  <a:gd name="T9" fmla="*/ 299 h 718"/>
                  <a:gd name="T10" fmla="*/ 276 w 763"/>
                  <a:gd name="T11" fmla="*/ 324 h 718"/>
                  <a:gd name="T12" fmla="*/ 222 w 763"/>
                  <a:gd name="T13" fmla="*/ 332 h 718"/>
                  <a:gd name="T14" fmla="*/ 238 w 763"/>
                  <a:gd name="T15" fmla="*/ 380 h 718"/>
                  <a:gd name="T16" fmla="*/ 276 w 763"/>
                  <a:gd name="T17" fmla="*/ 354 h 718"/>
                  <a:gd name="T18" fmla="*/ 276 w 763"/>
                  <a:gd name="T19" fmla="*/ 410 h 718"/>
                  <a:gd name="T20" fmla="*/ 237 w 763"/>
                  <a:gd name="T21" fmla="*/ 427 h 718"/>
                  <a:gd name="T22" fmla="*/ 256 w 763"/>
                  <a:gd name="T23" fmla="*/ 525 h 718"/>
                  <a:gd name="T24" fmla="*/ 303 w 763"/>
                  <a:gd name="T25" fmla="*/ 669 h 718"/>
                  <a:gd name="T26" fmla="*/ 353 w 763"/>
                  <a:gd name="T27" fmla="*/ 690 h 718"/>
                  <a:gd name="T28" fmla="*/ 392 w 763"/>
                  <a:gd name="T29" fmla="*/ 707 h 718"/>
                  <a:gd name="T30" fmla="*/ 411 w 763"/>
                  <a:gd name="T31" fmla="*/ 629 h 718"/>
                  <a:gd name="T32" fmla="*/ 440 w 763"/>
                  <a:gd name="T33" fmla="*/ 559 h 718"/>
                  <a:gd name="T34" fmla="*/ 442 w 763"/>
                  <a:gd name="T35" fmla="*/ 542 h 718"/>
                  <a:gd name="T36" fmla="*/ 486 w 763"/>
                  <a:gd name="T37" fmla="*/ 525 h 718"/>
                  <a:gd name="T38" fmla="*/ 591 w 763"/>
                  <a:gd name="T39" fmla="*/ 429 h 718"/>
                  <a:gd name="T40" fmla="*/ 698 w 763"/>
                  <a:gd name="T41" fmla="*/ 361 h 718"/>
                  <a:gd name="T42" fmla="*/ 672 w 763"/>
                  <a:gd name="T43" fmla="*/ 337 h 718"/>
                  <a:gd name="T44" fmla="*/ 670 w 763"/>
                  <a:gd name="T45" fmla="*/ 315 h 718"/>
                  <a:gd name="T46" fmla="*/ 679 w 763"/>
                  <a:gd name="T47" fmla="*/ 284 h 718"/>
                  <a:gd name="T48" fmla="*/ 697 w 763"/>
                  <a:gd name="T49" fmla="*/ 337 h 718"/>
                  <a:gd name="T50" fmla="*/ 722 w 763"/>
                  <a:gd name="T51" fmla="*/ 283 h 718"/>
                  <a:gd name="T52" fmla="*/ 720 w 763"/>
                  <a:gd name="T53" fmla="*/ 248 h 718"/>
                  <a:gd name="T54" fmla="*/ 698 w 763"/>
                  <a:gd name="T55" fmla="*/ 200 h 718"/>
                  <a:gd name="T56" fmla="*/ 737 w 763"/>
                  <a:gd name="T57" fmla="*/ 159 h 718"/>
                  <a:gd name="T58" fmla="*/ 756 w 763"/>
                  <a:gd name="T59" fmla="*/ 143 h 718"/>
                  <a:gd name="T60" fmla="*/ 746 w 763"/>
                  <a:gd name="T61" fmla="*/ 112 h 718"/>
                  <a:gd name="T62" fmla="*/ 751 w 763"/>
                  <a:gd name="T63" fmla="*/ 65 h 718"/>
                  <a:gd name="T64" fmla="*/ 727 w 763"/>
                  <a:gd name="T65" fmla="*/ 19 h 718"/>
                  <a:gd name="T66" fmla="*/ 4 w 763"/>
                  <a:gd name="T67" fmla="*/ 0 h 718"/>
                  <a:gd name="T68" fmla="*/ 4 w 763"/>
                  <a:gd name="T69" fmla="*/ 33 h 718"/>
                  <a:gd name="T70" fmla="*/ 57 w 763"/>
                  <a:gd name="T71" fmla="*/ 30 h 718"/>
                  <a:gd name="T72" fmla="*/ 172 w 763"/>
                  <a:gd name="T73" fmla="*/ 61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3" h="718">
                    <a:moveTo>
                      <a:pt x="172" y="71"/>
                    </a:moveTo>
                    <a:lnTo>
                      <a:pt x="188" y="119"/>
                    </a:lnTo>
                    <a:lnTo>
                      <a:pt x="191" y="150"/>
                    </a:lnTo>
                    <a:lnTo>
                      <a:pt x="209" y="172"/>
                    </a:lnTo>
                    <a:lnTo>
                      <a:pt x="203" y="230"/>
                    </a:lnTo>
                    <a:lnTo>
                      <a:pt x="210" y="248"/>
                    </a:lnTo>
                    <a:lnTo>
                      <a:pt x="210" y="290"/>
                    </a:lnTo>
                    <a:lnTo>
                      <a:pt x="228" y="287"/>
                    </a:lnTo>
                    <a:lnTo>
                      <a:pt x="237" y="265"/>
                    </a:lnTo>
                    <a:lnTo>
                      <a:pt x="248" y="299"/>
                    </a:lnTo>
                    <a:lnTo>
                      <a:pt x="266" y="305"/>
                    </a:lnTo>
                    <a:lnTo>
                      <a:pt x="276" y="324"/>
                    </a:lnTo>
                    <a:lnTo>
                      <a:pt x="231" y="314"/>
                    </a:lnTo>
                    <a:lnTo>
                      <a:pt x="222" y="332"/>
                    </a:lnTo>
                    <a:lnTo>
                      <a:pt x="220" y="361"/>
                    </a:lnTo>
                    <a:lnTo>
                      <a:pt x="238" y="380"/>
                    </a:lnTo>
                    <a:lnTo>
                      <a:pt x="257" y="373"/>
                    </a:lnTo>
                    <a:lnTo>
                      <a:pt x="276" y="354"/>
                    </a:lnTo>
                    <a:lnTo>
                      <a:pt x="287" y="380"/>
                    </a:lnTo>
                    <a:lnTo>
                      <a:pt x="276" y="410"/>
                    </a:lnTo>
                    <a:lnTo>
                      <a:pt x="260" y="410"/>
                    </a:lnTo>
                    <a:lnTo>
                      <a:pt x="237" y="427"/>
                    </a:lnTo>
                    <a:lnTo>
                      <a:pt x="238" y="510"/>
                    </a:lnTo>
                    <a:lnTo>
                      <a:pt x="256" y="525"/>
                    </a:lnTo>
                    <a:lnTo>
                      <a:pt x="268" y="575"/>
                    </a:lnTo>
                    <a:lnTo>
                      <a:pt x="303" y="669"/>
                    </a:lnTo>
                    <a:lnTo>
                      <a:pt x="324" y="690"/>
                    </a:lnTo>
                    <a:lnTo>
                      <a:pt x="353" y="690"/>
                    </a:lnTo>
                    <a:lnTo>
                      <a:pt x="381" y="718"/>
                    </a:lnTo>
                    <a:lnTo>
                      <a:pt x="392" y="707"/>
                    </a:lnTo>
                    <a:lnTo>
                      <a:pt x="411" y="646"/>
                    </a:lnTo>
                    <a:lnTo>
                      <a:pt x="411" y="629"/>
                    </a:lnTo>
                    <a:lnTo>
                      <a:pt x="430" y="603"/>
                    </a:lnTo>
                    <a:lnTo>
                      <a:pt x="440" y="559"/>
                    </a:lnTo>
                    <a:lnTo>
                      <a:pt x="430" y="545"/>
                    </a:lnTo>
                    <a:lnTo>
                      <a:pt x="442" y="542"/>
                    </a:lnTo>
                    <a:lnTo>
                      <a:pt x="446" y="523"/>
                    </a:lnTo>
                    <a:lnTo>
                      <a:pt x="486" y="525"/>
                    </a:lnTo>
                    <a:lnTo>
                      <a:pt x="574" y="427"/>
                    </a:lnTo>
                    <a:lnTo>
                      <a:pt x="591" y="429"/>
                    </a:lnTo>
                    <a:lnTo>
                      <a:pt x="635" y="408"/>
                    </a:lnTo>
                    <a:lnTo>
                      <a:pt x="698" y="361"/>
                    </a:lnTo>
                    <a:lnTo>
                      <a:pt x="709" y="343"/>
                    </a:lnTo>
                    <a:lnTo>
                      <a:pt x="672" y="337"/>
                    </a:lnTo>
                    <a:lnTo>
                      <a:pt x="647" y="343"/>
                    </a:lnTo>
                    <a:lnTo>
                      <a:pt x="670" y="315"/>
                    </a:lnTo>
                    <a:lnTo>
                      <a:pt x="661" y="293"/>
                    </a:lnTo>
                    <a:lnTo>
                      <a:pt x="679" y="284"/>
                    </a:lnTo>
                    <a:lnTo>
                      <a:pt x="688" y="326"/>
                    </a:lnTo>
                    <a:lnTo>
                      <a:pt x="697" y="337"/>
                    </a:lnTo>
                    <a:lnTo>
                      <a:pt x="720" y="326"/>
                    </a:lnTo>
                    <a:lnTo>
                      <a:pt x="722" y="283"/>
                    </a:lnTo>
                    <a:lnTo>
                      <a:pt x="678" y="230"/>
                    </a:lnTo>
                    <a:lnTo>
                      <a:pt x="720" y="248"/>
                    </a:lnTo>
                    <a:lnTo>
                      <a:pt x="720" y="208"/>
                    </a:lnTo>
                    <a:lnTo>
                      <a:pt x="698" y="200"/>
                    </a:lnTo>
                    <a:lnTo>
                      <a:pt x="737" y="178"/>
                    </a:lnTo>
                    <a:lnTo>
                      <a:pt x="737" y="159"/>
                    </a:lnTo>
                    <a:lnTo>
                      <a:pt x="726" y="152"/>
                    </a:lnTo>
                    <a:lnTo>
                      <a:pt x="756" y="143"/>
                    </a:lnTo>
                    <a:lnTo>
                      <a:pt x="763" y="115"/>
                    </a:lnTo>
                    <a:lnTo>
                      <a:pt x="746" y="112"/>
                    </a:lnTo>
                    <a:lnTo>
                      <a:pt x="757" y="87"/>
                    </a:lnTo>
                    <a:lnTo>
                      <a:pt x="751" y="65"/>
                    </a:lnTo>
                    <a:lnTo>
                      <a:pt x="747" y="33"/>
                    </a:lnTo>
                    <a:lnTo>
                      <a:pt x="727" y="19"/>
                    </a:lnTo>
                    <a:lnTo>
                      <a:pt x="727" y="3"/>
                    </a:lnTo>
                    <a:lnTo>
                      <a:pt x="4" y="0"/>
                    </a:lnTo>
                    <a:lnTo>
                      <a:pt x="0" y="15"/>
                    </a:lnTo>
                    <a:lnTo>
                      <a:pt x="4" y="33"/>
                    </a:lnTo>
                    <a:lnTo>
                      <a:pt x="49" y="42"/>
                    </a:lnTo>
                    <a:lnTo>
                      <a:pt x="57" y="30"/>
                    </a:lnTo>
                    <a:lnTo>
                      <a:pt x="118" y="34"/>
                    </a:lnTo>
                    <a:lnTo>
                      <a:pt x="172" y="61"/>
                    </a:lnTo>
                    <a:lnTo>
                      <a:pt x="172" y="7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3" name="Freeform 320">
                <a:extLst>
                  <a:ext uri="{FF2B5EF4-FFF2-40B4-BE49-F238E27FC236}">
                    <a16:creationId xmlns:a16="http://schemas.microsoft.com/office/drawing/2014/main" id="{D44AC702-D944-4E9C-BD8C-33B918DB6E5E}"/>
                  </a:ext>
                </a:extLst>
              </p:cNvPr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gray">
              <a:xfrm>
                <a:off x="4113213" y="3079750"/>
                <a:ext cx="79375" cy="171450"/>
              </a:xfrm>
              <a:custGeom>
                <a:avLst/>
                <a:gdLst>
                  <a:gd name="T0" fmla="*/ 9 w 50"/>
                  <a:gd name="T1" fmla="*/ 0 h 111"/>
                  <a:gd name="T2" fmla="*/ 25 w 50"/>
                  <a:gd name="T3" fmla="*/ 17 h 111"/>
                  <a:gd name="T4" fmla="*/ 46 w 50"/>
                  <a:gd name="T5" fmla="*/ 20 h 111"/>
                  <a:gd name="T6" fmla="*/ 46 w 50"/>
                  <a:gd name="T7" fmla="*/ 33 h 111"/>
                  <a:gd name="T8" fmla="*/ 40 w 50"/>
                  <a:gd name="T9" fmla="*/ 47 h 111"/>
                  <a:gd name="T10" fmla="*/ 28 w 50"/>
                  <a:gd name="T11" fmla="*/ 111 h 111"/>
                  <a:gd name="T12" fmla="*/ 4 w 50"/>
                  <a:gd name="T13" fmla="*/ 86 h 111"/>
                  <a:gd name="T14" fmla="*/ 9 w 50"/>
                  <a:gd name="T15" fmla="*/ 63 h 111"/>
                  <a:gd name="T16" fmla="*/ 7 w 50"/>
                  <a:gd name="T17" fmla="*/ 12 h 111"/>
                  <a:gd name="T18" fmla="*/ 9 w 50"/>
                  <a:gd name="T1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111">
                    <a:moveTo>
                      <a:pt x="9" y="0"/>
                    </a:moveTo>
                    <a:cubicBezTo>
                      <a:pt x="12" y="1"/>
                      <a:pt x="19" y="14"/>
                      <a:pt x="25" y="17"/>
                    </a:cubicBezTo>
                    <a:cubicBezTo>
                      <a:pt x="31" y="20"/>
                      <a:pt x="42" y="17"/>
                      <a:pt x="46" y="20"/>
                    </a:cubicBezTo>
                    <a:cubicBezTo>
                      <a:pt x="50" y="25"/>
                      <a:pt x="49" y="27"/>
                      <a:pt x="46" y="33"/>
                    </a:cubicBezTo>
                    <a:cubicBezTo>
                      <a:pt x="45" y="39"/>
                      <a:pt x="43" y="42"/>
                      <a:pt x="40" y="47"/>
                    </a:cubicBezTo>
                    <a:cubicBezTo>
                      <a:pt x="38" y="68"/>
                      <a:pt x="41" y="93"/>
                      <a:pt x="28" y="111"/>
                    </a:cubicBezTo>
                    <a:cubicBezTo>
                      <a:pt x="3" y="109"/>
                      <a:pt x="16" y="103"/>
                      <a:pt x="4" y="86"/>
                    </a:cubicBezTo>
                    <a:cubicBezTo>
                      <a:pt x="2" y="77"/>
                      <a:pt x="0" y="68"/>
                      <a:pt x="9" y="63"/>
                    </a:cubicBezTo>
                    <a:cubicBezTo>
                      <a:pt x="10" y="41"/>
                      <a:pt x="15" y="31"/>
                      <a:pt x="7" y="12"/>
                    </a:cubicBezTo>
                    <a:cubicBezTo>
                      <a:pt x="8" y="8"/>
                      <a:pt x="9" y="0"/>
                      <a:pt x="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4" name="Freeform 331">
                <a:extLst>
                  <a:ext uri="{FF2B5EF4-FFF2-40B4-BE49-F238E27FC236}">
                    <a16:creationId xmlns:a16="http://schemas.microsoft.com/office/drawing/2014/main" id="{FADF0333-7A01-465A-A090-028227D6FE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64376" y="4445423"/>
                <a:ext cx="929381" cy="826665"/>
              </a:xfrm>
              <a:custGeom>
                <a:avLst/>
                <a:gdLst/>
                <a:ahLst/>
                <a:cxnLst/>
                <a:rect l="l" t="t" r="r" b="b"/>
                <a:pathLst>
                  <a:path w="929381" h="826665">
                    <a:moveTo>
                      <a:pt x="693000" y="752264"/>
                    </a:moveTo>
                    <a:cubicBezTo>
                      <a:pt x="698193" y="754675"/>
                      <a:pt x="703711" y="759498"/>
                      <a:pt x="709229" y="760531"/>
                    </a:cubicBezTo>
                    <a:cubicBezTo>
                      <a:pt x="711826" y="761909"/>
                      <a:pt x="717993" y="762598"/>
                      <a:pt x="717993" y="762598"/>
                    </a:cubicBezTo>
                    <a:cubicBezTo>
                      <a:pt x="721239" y="764320"/>
                      <a:pt x="725459" y="763975"/>
                      <a:pt x="729029" y="764664"/>
                    </a:cubicBezTo>
                    <a:cubicBezTo>
                      <a:pt x="734547" y="767075"/>
                      <a:pt x="739741" y="765353"/>
                      <a:pt x="746233" y="765353"/>
                    </a:cubicBezTo>
                    <a:cubicBezTo>
                      <a:pt x="747856" y="764320"/>
                      <a:pt x="749154" y="763631"/>
                      <a:pt x="751102" y="763287"/>
                    </a:cubicBezTo>
                    <a:cubicBezTo>
                      <a:pt x="753049" y="761564"/>
                      <a:pt x="756295" y="759842"/>
                      <a:pt x="758892" y="759153"/>
                    </a:cubicBezTo>
                    <a:cubicBezTo>
                      <a:pt x="762138" y="757431"/>
                      <a:pt x="766033" y="758120"/>
                      <a:pt x="769603" y="758464"/>
                    </a:cubicBezTo>
                    <a:cubicBezTo>
                      <a:pt x="770577" y="763287"/>
                      <a:pt x="771226" y="768109"/>
                      <a:pt x="768954" y="772931"/>
                    </a:cubicBezTo>
                    <a:cubicBezTo>
                      <a:pt x="768305" y="776720"/>
                      <a:pt x="768305" y="780509"/>
                      <a:pt x="767007" y="783954"/>
                    </a:cubicBezTo>
                    <a:cubicBezTo>
                      <a:pt x="766682" y="786709"/>
                      <a:pt x="765059" y="788776"/>
                      <a:pt x="763111" y="790498"/>
                    </a:cubicBezTo>
                    <a:cubicBezTo>
                      <a:pt x="761813" y="792909"/>
                      <a:pt x="761489" y="795320"/>
                      <a:pt x="760190" y="797731"/>
                    </a:cubicBezTo>
                    <a:cubicBezTo>
                      <a:pt x="759866" y="799798"/>
                      <a:pt x="758892" y="800832"/>
                      <a:pt x="758243" y="802554"/>
                    </a:cubicBezTo>
                    <a:cubicBezTo>
                      <a:pt x="757593" y="805654"/>
                      <a:pt x="758892" y="809443"/>
                      <a:pt x="755321" y="810132"/>
                    </a:cubicBezTo>
                    <a:cubicBezTo>
                      <a:pt x="752238" y="811337"/>
                      <a:pt x="750777" y="810993"/>
                      <a:pt x="745584" y="811854"/>
                    </a:cubicBezTo>
                    <a:lnTo>
                      <a:pt x="740390" y="815987"/>
                    </a:lnTo>
                    <a:cubicBezTo>
                      <a:pt x="739416" y="817021"/>
                      <a:pt x="739416" y="816676"/>
                      <a:pt x="737793" y="818054"/>
                    </a:cubicBezTo>
                    <a:cubicBezTo>
                      <a:pt x="736170" y="819432"/>
                      <a:pt x="735521" y="822187"/>
                      <a:pt x="733574" y="823565"/>
                    </a:cubicBezTo>
                    <a:cubicBezTo>
                      <a:pt x="732600" y="825632"/>
                      <a:pt x="732275" y="826321"/>
                      <a:pt x="730003" y="826665"/>
                    </a:cubicBezTo>
                    <a:cubicBezTo>
                      <a:pt x="719292" y="826321"/>
                      <a:pt x="720915" y="826665"/>
                      <a:pt x="714423" y="822532"/>
                    </a:cubicBezTo>
                    <a:cubicBezTo>
                      <a:pt x="712800" y="820121"/>
                      <a:pt x="711826" y="818743"/>
                      <a:pt x="709554" y="817365"/>
                    </a:cubicBezTo>
                    <a:cubicBezTo>
                      <a:pt x="707931" y="814954"/>
                      <a:pt x="707606" y="813576"/>
                      <a:pt x="704685" y="812887"/>
                    </a:cubicBezTo>
                    <a:cubicBezTo>
                      <a:pt x="702088" y="810821"/>
                      <a:pt x="699167" y="806343"/>
                      <a:pt x="697869" y="802898"/>
                    </a:cubicBezTo>
                    <a:cubicBezTo>
                      <a:pt x="697544" y="799454"/>
                      <a:pt x="696570" y="794976"/>
                      <a:pt x="700465" y="794287"/>
                    </a:cubicBezTo>
                    <a:cubicBezTo>
                      <a:pt x="702413" y="793254"/>
                      <a:pt x="701764" y="792220"/>
                      <a:pt x="700790" y="790154"/>
                    </a:cubicBezTo>
                    <a:cubicBezTo>
                      <a:pt x="700465" y="787742"/>
                      <a:pt x="699167" y="785676"/>
                      <a:pt x="697544" y="783954"/>
                    </a:cubicBezTo>
                    <a:cubicBezTo>
                      <a:pt x="696570" y="781542"/>
                      <a:pt x="695272" y="779820"/>
                      <a:pt x="693974" y="777753"/>
                    </a:cubicBezTo>
                    <a:cubicBezTo>
                      <a:pt x="693649" y="775342"/>
                      <a:pt x="693000" y="774998"/>
                      <a:pt x="691052" y="773964"/>
                    </a:cubicBezTo>
                    <a:cubicBezTo>
                      <a:pt x="690728" y="771553"/>
                      <a:pt x="690403" y="770864"/>
                      <a:pt x="688780" y="769487"/>
                    </a:cubicBezTo>
                    <a:cubicBezTo>
                      <a:pt x="687806" y="767075"/>
                      <a:pt x="687482" y="764664"/>
                      <a:pt x="687157" y="762253"/>
                    </a:cubicBezTo>
                    <a:cubicBezTo>
                      <a:pt x="687806" y="758464"/>
                      <a:pt x="687157" y="756053"/>
                      <a:pt x="689754" y="753986"/>
                    </a:cubicBezTo>
                    <a:cubicBezTo>
                      <a:pt x="691052" y="751575"/>
                      <a:pt x="690079" y="752264"/>
                      <a:pt x="693000" y="752264"/>
                    </a:cubicBezTo>
                    <a:close/>
                    <a:moveTo>
                      <a:pt x="0" y="395067"/>
                    </a:moveTo>
                    <a:cubicBezTo>
                      <a:pt x="1288" y="397374"/>
                      <a:pt x="2497" y="399746"/>
                      <a:pt x="3037" y="402446"/>
                    </a:cubicBezTo>
                    <a:cubicBezTo>
                      <a:pt x="891" y="400845"/>
                      <a:pt x="184" y="395849"/>
                      <a:pt x="0" y="395067"/>
                    </a:cubicBezTo>
                    <a:close/>
                    <a:moveTo>
                      <a:pt x="681395" y="757"/>
                    </a:moveTo>
                    <a:cubicBezTo>
                      <a:pt x="682613" y="-1224"/>
                      <a:pt x="686183" y="671"/>
                      <a:pt x="694623" y="6526"/>
                    </a:cubicBezTo>
                    <a:cubicBezTo>
                      <a:pt x="698193" y="12382"/>
                      <a:pt x="697869" y="15826"/>
                      <a:pt x="704036" y="18237"/>
                    </a:cubicBezTo>
                    <a:cubicBezTo>
                      <a:pt x="705984" y="38216"/>
                      <a:pt x="704036" y="29604"/>
                      <a:pt x="708905" y="44760"/>
                    </a:cubicBezTo>
                    <a:cubicBezTo>
                      <a:pt x="710528" y="49582"/>
                      <a:pt x="713449" y="59572"/>
                      <a:pt x="713449" y="59572"/>
                    </a:cubicBezTo>
                    <a:cubicBezTo>
                      <a:pt x="715072" y="70938"/>
                      <a:pt x="713774" y="91606"/>
                      <a:pt x="725784" y="96083"/>
                    </a:cubicBezTo>
                    <a:cubicBezTo>
                      <a:pt x="736820" y="91950"/>
                      <a:pt x="731951" y="88161"/>
                      <a:pt x="740065" y="90917"/>
                    </a:cubicBezTo>
                    <a:cubicBezTo>
                      <a:pt x="743636" y="97117"/>
                      <a:pt x="747206" y="96428"/>
                      <a:pt x="750777" y="102628"/>
                    </a:cubicBezTo>
                    <a:cubicBezTo>
                      <a:pt x="751426" y="108484"/>
                      <a:pt x="751426" y="114684"/>
                      <a:pt x="752400" y="120539"/>
                    </a:cubicBezTo>
                    <a:cubicBezTo>
                      <a:pt x="753049" y="123984"/>
                      <a:pt x="755646" y="130529"/>
                      <a:pt x="755646" y="130529"/>
                    </a:cubicBezTo>
                    <a:cubicBezTo>
                      <a:pt x="756295" y="136384"/>
                      <a:pt x="758892" y="146718"/>
                      <a:pt x="760839" y="152573"/>
                    </a:cubicBezTo>
                    <a:cubicBezTo>
                      <a:pt x="762787" y="158429"/>
                      <a:pt x="766357" y="162907"/>
                      <a:pt x="767980" y="167040"/>
                    </a:cubicBezTo>
                    <a:cubicBezTo>
                      <a:pt x="768954" y="170485"/>
                      <a:pt x="771226" y="173585"/>
                      <a:pt x="771226" y="177029"/>
                    </a:cubicBezTo>
                    <a:cubicBezTo>
                      <a:pt x="771551" y="187363"/>
                      <a:pt x="770577" y="198041"/>
                      <a:pt x="772524" y="208374"/>
                    </a:cubicBezTo>
                    <a:cubicBezTo>
                      <a:pt x="772849" y="210441"/>
                      <a:pt x="775770" y="210441"/>
                      <a:pt x="777393" y="211475"/>
                    </a:cubicBezTo>
                    <a:cubicBezTo>
                      <a:pt x="784859" y="216641"/>
                      <a:pt x="792649" y="218708"/>
                      <a:pt x="800764" y="221464"/>
                    </a:cubicBezTo>
                    <a:cubicBezTo>
                      <a:pt x="803685" y="223875"/>
                      <a:pt x="807580" y="225253"/>
                      <a:pt x="810177" y="228008"/>
                    </a:cubicBezTo>
                    <a:lnTo>
                      <a:pt x="813098" y="233132"/>
                    </a:lnTo>
                    <a:cubicBezTo>
                      <a:pt x="812855" y="233433"/>
                      <a:pt x="812936" y="233175"/>
                      <a:pt x="817967" y="234897"/>
                    </a:cubicBezTo>
                    <a:cubicBezTo>
                      <a:pt x="821538" y="240753"/>
                      <a:pt x="824134" y="242820"/>
                      <a:pt x="830302" y="244542"/>
                    </a:cubicBezTo>
                    <a:cubicBezTo>
                      <a:pt x="837118" y="249709"/>
                      <a:pt x="834521" y="251431"/>
                      <a:pt x="830302" y="257975"/>
                    </a:cubicBezTo>
                    <a:cubicBezTo>
                      <a:pt x="834846" y="262798"/>
                      <a:pt x="837442" y="267620"/>
                      <a:pt x="842636" y="271065"/>
                    </a:cubicBezTo>
                    <a:cubicBezTo>
                      <a:pt x="843610" y="282087"/>
                      <a:pt x="840364" y="293798"/>
                      <a:pt x="850426" y="297587"/>
                    </a:cubicBezTo>
                    <a:cubicBezTo>
                      <a:pt x="859190" y="294487"/>
                      <a:pt x="862761" y="299999"/>
                      <a:pt x="870875" y="302410"/>
                    </a:cubicBezTo>
                    <a:cubicBezTo>
                      <a:pt x="875744" y="305165"/>
                      <a:pt x="869901" y="315499"/>
                      <a:pt x="876718" y="325488"/>
                    </a:cubicBezTo>
                    <a:cubicBezTo>
                      <a:pt x="883534" y="335477"/>
                      <a:pt x="904957" y="354422"/>
                      <a:pt x="911449" y="362000"/>
                    </a:cubicBezTo>
                    <a:cubicBezTo>
                      <a:pt x="917616" y="369233"/>
                      <a:pt x="912423" y="360966"/>
                      <a:pt x="915020" y="370955"/>
                    </a:cubicBezTo>
                    <a:cubicBezTo>
                      <a:pt x="917941" y="370267"/>
                      <a:pt x="928328" y="356488"/>
                      <a:pt x="929301" y="358211"/>
                    </a:cubicBezTo>
                    <a:cubicBezTo>
                      <a:pt x="930275" y="359933"/>
                      <a:pt x="922160" y="371300"/>
                      <a:pt x="920538" y="381289"/>
                    </a:cubicBezTo>
                    <a:cubicBezTo>
                      <a:pt x="918915" y="391278"/>
                      <a:pt x="918590" y="406089"/>
                      <a:pt x="919564" y="417456"/>
                    </a:cubicBezTo>
                    <a:cubicBezTo>
                      <a:pt x="920538" y="428823"/>
                      <a:pt x="926380" y="437090"/>
                      <a:pt x="925406" y="450179"/>
                    </a:cubicBezTo>
                    <a:cubicBezTo>
                      <a:pt x="924108" y="463268"/>
                      <a:pt x="914046" y="483247"/>
                      <a:pt x="912747" y="495991"/>
                    </a:cubicBezTo>
                    <a:cubicBezTo>
                      <a:pt x="908528" y="509425"/>
                      <a:pt x="903983" y="523547"/>
                      <a:pt x="900413" y="530781"/>
                    </a:cubicBezTo>
                    <a:cubicBezTo>
                      <a:pt x="897816" y="534225"/>
                      <a:pt x="893921" y="535948"/>
                      <a:pt x="891000" y="539048"/>
                    </a:cubicBezTo>
                    <a:cubicBezTo>
                      <a:pt x="888728" y="545592"/>
                      <a:pt x="890675" y="551103"/>
                      <a:pt x="884833" y="553515"/>
                    </a:cubicBezTo>
                    <a:cubicBezTo>
                      <a:pt x="880613" y="560059"/>
                      <a:pt x="871849" y="562126"/>
                      <a:pt x="867629" y="568670"/>
                    </a:cubicBezTo>
                    <a:cubicBezTo>
                      <a:pt x="865357" y="576248"/>
                      <a:pt x="863734" y="576248"/>
                      <a:pt x="857242" y="578660"/>
                    </a:cubicBezTo>
                    <a:cubicBezTo>
                      <a:pt x="854321" y="582104"/>
                      <a:pt x="854970" y="587271"/>
                      <a:pt x="852698" y="592093"/>
                    </a:cubicBezTo>
                    <a:cubicBezTo>
                      <a:pt x="850426" y="596915"/>
                      <a:pt x="847505" y="601738"/>
                      <a:pt x="844259" y="606905"/>
                    </a:cubicBezTo>
                    <a:cubicBezTo>
                      <a:pt x="841987" y="614138"/>
                      <a:pt x="841013" y="620683"/>
                      <a:pt x="833547" y="623438"/>
                    </a:cubicBezTo>
                    <a:cubicBezTo>
                      <a:pt x="830626" y="627572"/>
                      <a:pt x="828354" y="623094"/>
                      <a:pt x="825757" y="631705"/>
                    </a:cubicBezTo>
                    <a:cubicBezTo>
                      <a:pt x="823810" y="639627"/>
                      <a:pt x="823161" y="667528"/>
                      <a:pt x="817967" y="676139"/>
                    </a:cubicBezTo>
                    <a:cubicBezTo>
                      <a:pt x="816020" y="684062"/>
                      <a:pt x="798167" y="683717"/>
                      <a:pt x="794597" y="684406"/>
                    </a:cubicBezTo>
                    <a:cubicBezTo>
                      <a:pt x="787131" y="686817"/>
                      <a:pt x="777069" y="684062"/>
                      <a:pt x="769603" y="686817"/>
                    </a:cubicBezTo>
                    <a:cubicBezTo>
                      <a:pt x="762138" y="689573"/>
                      <a:pt x="755321" y="697151"/>
                      <a:pt x="749154" y="700940"/>
                    </a:cubicBezTo>
                    <a:cubicBezTo>
                      <a:pt x="741688" y="706451"/>
                      <a:pt x="742662" y="707140"/>
                      <a:pt x="732924" y="710584"/>
                    </a:cubicBezTo>
                    <a:cubicBezTo>
                      <a:pt x="727731" y="710929"/>
                      <a:pt x="722862" y="706106"/>
                      <a:pt x="717993" y="702662"/>
                    </a:cubicBezTo>
                    <a:lnTo>
                      <a:pt x="710406" y="693921"/>
                    </a:lnTo>
                    <a:cubicBezTo>
                      <a:pt x="709310" y="692759"/>
                      <a:pt x="708418" y="692328"/>
                      <a:pt x="704036" y="689573"/>
                    </a:cubicBezTo>
                    <a:cubicBezTo>
                      <a:pt x="698031" y="691360"/>
                      <a:pt x="704360" y="689487"/>
                      <a:pt x="694623" y="694395"/>
                    </a:cubicBezTo>
                    <a:cubicBezTo>
                      <a:pt x="688131" y="697495"/>
                      <a:pt x="672550" y="706795"/>
                      <a:pt x="665085" y="707484"/>
                    </a:cubicBezTo>
                    <a:cubicBezTo>
                      <a:pt x="655347" y="705418"/>
                      <a:pt x="660540" y="707484"/>
                      <a:pt x="649504" y="699217"/>
                    </a:cubicBezTo>
                    <a:cubicBezTo>
                      <a:pt x="639442" y="696117"/>
                      <a:pt x="646583" y="697840"/>
                      <a:pt x="627757" y="696117"/>
                    </a:cubicBezTo>
                    <a:cubicBezTo>
                      <a:pt x="621914" y="691640"/>
                      <a:pt x="615747" y="690262"/>
                      <a:pt x="608931" y="687851"/>
                    </a:cubicBezTo>
                    <a:cubicBezTo>
                      <a:pt x="602439" y="683028"/>
                      <a:pt x="600816" y="675106"/>
                      <a:pt x="593350" y="673039"/>
                    </a:cubicBezTo>
                    <a:lnTo>
                      <a:pt x="590683" y="668637"/>
                    </a:lnTo>
                    <a:cubicBezTo>
                      <a:pt x="589496" y="666602"/>
                      <a:pt x="592052" y="669509"/>
                      <a:pt x="592052" y="657883"/>
                    </a:cubicBezTo>
                    <a:cubicBezTo>
                      <a:pt x="592052" y="646516"/>
                      <a:pt x="582963" y="633772"/>
                      <a:pt x="573226" y="629983"/>
                    </a:cubicBezTo>
                    <a:cubicBezTo>
                      <a:pt x="572252" y="628260"/>
                      <a:pt x="571927" y="625505"/>
                      <a:pt x="569980" y="624816"/>
                    </a:cubicBezTo>
                    <a:cubicBezTo>
                      <a:pt x="566085" y="623094"/>
                      <a:pt x="561216" y="630672"/>
                      <a:pt x="557645" y="628260"/>
                    </a:cubicBezTo>
                    <a:cubicBezTo>
                      <a:pt x="555049" y="626538"/>
                      <a:pt x="561865" y="617583"/>
                      <a:pt x="565436" y="615171"/>
                    </a:cubicBezTo>
                    <a:cubicBezTo>
                      <a:pt x="564137" y="606905"/>
                      <a:pt x="561865" y="602771"/>
                      <a:pt x="559268" y="595193"/>
                    </a:cubicBezTo>
                    <a:cubicBezTo>
                      <a:pt x="558295" y="596915"/>
                      <a:pt x="557321" y="598638"/>
                      <a:pt x="556022" y="600015"/>
                    </a:cubicBezTo>
                    <a:cubicBezTo>
                      <a:pt x="554724" y="601049"/>
                      <a:pt x="552452" y="600360"/>
                      <a:pt x="551478" y="601738"/>
                    </a:cubicBezTo>
                    <a:cubicBezTo>
                      <a:pt x="544013" y="610005"/>
                      <a:pt x="556347" y="604838"/>
                      <a:pt x="545311" y="608282"/>
                    </a:cubicBezTo>
                    <a:lnTo>
                      <a:pt x="543688" y="616549"/>
                    </a:lnTo>
                    <a:lnTo>
                      <a:pt x="532693" y="617927"/>
                    </a:lnTo>
                    <a:cubicBezTo>
                      <a:pt x="530948" y="616377"/>
                      <a:pt x="530542" y="613277"/>
                      <a:pt x="529731" y="610005"/>
                    </a:cubicBezTo>
                    <a:cubicBezTo>
                      <a:pt x="534275" y="608282"/>
                      <a:pt x="541091" y="611382"/>
                      <a:pt x="543688" y="606905"/>
                    </a:cubicBezTo>
                    <a:cubicBezTo>
                      <a:pt x="546934" y="603804"/>
                      <a:pt x="543039" y="599327"/>
                      <a:pt x="545636" y="591749"/>
                    </a:cubicBezTo>
                    <a:cubicBezTo>
                      <a:pt x="547259" y="586582"/>
                      <a:pt x="552127" y="581071"/>
                      <a:pt x="554400" y="576248"/>
                    </a:cubicBezTo>
                    <a:lnTo>
                      <a:pt x="559268" y="562126"/>
                    </a:lnTo>
                    <a:lnTo>
                      <a:pt x="556469" y="552352"/>
                    </a:lnTo>
                    <a:cubicBezTo>
                      <a:pt x="555860" y="551706"/>
                      <a:pt x="554887" y="553515"/>
                      <a:pt x="551478" y="557304"/>
                    </a:cubicBezTo>
                    <a:lnTo>
                      <a:pt x="548800" y="566044"/>
                    </a:lnTo>
                    <a:cubicBezTo>
                      <a:pt x="548232" y="567206"/>
                      <a:pt x="547259" y="567637"/>
                      <a:pt x="543688" y="570393"/>
                    </a:cubicBezTo>
                    <a:cubicBezTo>
                      <a:pt x="541091" y="577626"/>
                      <a:pt x="538495" y="576937"/>
                      <a:pt x="532652" y="580382"/>
                    </a:cubicBezTo>
                    <a:cubicBezTo>
                      <a:pt x="529406" y="582448"/>
                      <a:pt x="523239" y="586926"/>
                      <a:pt x="523239" y="586926"/>
                    </a:cubicBezTo>
                    <a:cubicBezTo>
                      <a:pt x="516422" y="597604"/>
                      <a:pt x="518045" y="596915"/>
                      <a:pt x="507659" y="600015"/>
                    </a:cubicBezTo>
                    <a:cubicBezTo>
                      <a:pt x="503114" y="608282"/>
                      <a:pt x="500193" y="608627"/>
                      <a:pt x="493701" y="601738"/>
                    </a:cubicBezTo>
                    <a:cubicBezTo>
                      <a:pt x="490780" y="587615"/>
                      <a:pt x="490780" y="572115"/>
                      <a:pt x="476498" y="566948"/>
                    </a:cubicBezTo>
                    <a:cubicBezTo>
                      <a:pt x="471304" y="561437"/>
                      <a:pt x="468059" y="559715"/>
                      <a:pt x="470331" y="552137"/>
                    </a:cubicBezTo>
                    <a:cubicBezTo>
                      <a:pt x="466760" y="541803"/>
                      <a:pt x="470655" y="548348"/>
                      <a:pt x="453127" y="545592"/>
                    </a:cubicBezTo>
                    <a:cubicBezTo>
                      <a:pt x="447934" y="543870"/>
                      <a:pt x="445013" y="538703"/>
                      <a:pt x="439819" y="537325"/>
                    </a:cubicBezTo>
                    <a:cubicBezTo>
                      <a:pt x="434626" y="535948"/>
                      <a:pt x="426836" y="539392"/>
                      <a:pt x="421967" y="537325"/>
                    </a:cubicBezTo>
                    <a:cubicBezTo>
                      <a:pt x="419045" y="532503"/>
                      <a:pt x="409632" y="525614"/>
                      <a:pt x="409632" y="525614"/>
                    </a:cubicBezTo>
                    <a:cubicBezTo>
                      <a:pt x="390482" y="526303"/>
                      <a:pt x="369708" y="521136"/>
                      <a:pt x="351855" y="529059"/>
                    </a:cubicBezTo>
                    <a:cubicBezTo>
                      <a:pt x="348609" y="530436"/>
                      <a:pt x="346337" y="534225"/>
                      <a:pt x="342767" y="535603"/>
                    </a:cubicBezTo>
                    <a:cubicBezTo>
                      <a:pt x="339521" y="536636"/>
                      <a:pt x="336600" y="538014"/>
                      <a:pt x="333354" y="539048"/>
                    </a:cubicBezTo>
                    <a:cubicBezTo>
                      <a:pt x="320046" y="543870"/>
                      <a:pt x="291157" y="545592"/>
                      <a:pt x="291157" y="545592"/>
                    </a:cubicBezTo>
                    <a:cubicBezTo>
                      <a:pt x="283367" y="548348"/>
                      <a:pt x="273954" y="550415"/>
                      <a:pt x="267462" y="555926"/>
                    </a:cubicBezTo>
                    <a:cubicBezTo>
                      <a:pt x="259347" y="560059"/>
                      <a:pt x="249934" y="558337"/>
                      <a:pt x="243767" y="563159"/>
                    </a:cubicBezTo>
                    <a:cubicBezTo>
                      <a:pt x="242469" y="565226"/>
                      <a:pt x="234029" y="583137"/>
                      <a:pt x="230459" y="585204"/>
                    </a:cubicBezTo>
                    <a:cubicBezTo>
                      <a:pt x="214878" y="588993"/>
                      <a:pt x="167813" y="583137"/>
                      <a:pt x="149311" y="585204"/>
                    </a:cubicBezTo>
                    <a:cubicBezTo>
                      <a:pt x="132757" y="585893"/>
                      <a:pt x="136003" y="596227"/>
                      <a:pt x="131134" y="598293"/>
                    </a:cubicBezTo>
                    <a:cubicBezTo>
                      <a:pt x="126265" y="600360"/>
                      <a:pt x="124967" y="596227"/>
                      <a:pt x="119773" y="598638"/>
                    </a:cubicBezTo>
                    <a:cubicBezTo>
                      <a:pt x="114255" y="599671"/>
                      <a:pt x="109062" y="611038"/>
                      <a:pt x="99649" y="613449"/>
                    </a:cubicBezTo>
                    <a:cubicBezTo>
                      <a:pt x="90236" y="615860"/>
                      <a:pt x="72059" y="614827"/>
                      <a:pt x="63619" y="613449"/>
                    </a:cubicBezTo>
                    <a:cubicBezTo>
                      <a:pt x="53233" y="605871"/>
                      <a:pt x="58101" y="608282"/>
                      <a:pt x="49662" y="605182"/>
                    </a:cubicBezTo>
                    <a:cubicBezTo>
                      <a:pt x="45442" y="597604"/>
                      <a:pt x="42521" y="596915"/>
                      <a:pt x="34082" y="595193"/>
                    </a:cubicBezTo>
                    <a:cubicBezTo>
                      <a:pt x="33108" y="592093"/>
                      <a:pt x="28564" y="583482"/>
                      <a:pt x="32459" y="580382"/>
                    </a:cubicBezTo>
                    <a:cubicBezTo>
                      <a:pt x="36678" y="577282"/>
                      <a:pt x="42196" y="576593"/>
                      <a:pt x="46741" y="573837"/>
                    </a:cubicBezTo>
                    <a:lnTo>
                      <a:pt x="51285" y="563848"/>
                    </a:lnTo>
                    <a:cubicBezTo>
                      <a:pt x="50960" y="560404"/>
                      <a:pt x="48039" y="553859"/>
                      <a:pt x="48039" y="553859"/>
                    </a:cubicBezTo>
                    <a:cubicBezTo>
                      <a:pt x="50960" y="545592"/>
                      <a:pt x="52583" y="537325"/>
                      <a:pt x="49662" y="529059"/>
                    </a:cubicBezTo>
                    <a:cubicBezTo>
                      <a:pt x="47390" y="522514"/>
                      <a:pt x="45118" y="519069"/>
                      <a:pt x="40249" y="514247"/>
                    </a:cubicBezTo>
                    <a:cubicBezTo>
                      <a:pt x="39275" y="510803"/>
                      <a:pt x="36678" y="507703"/>
                      <a:pt x="35705" y="504258"/>
                    </a:cubicBezTo>
                    <a:cubicBezTo>
                      <a:pt x="32783" y="491169"/>
                      <a:pt x="35055" y="477391"/>
                      <a:pt x="31160" y="464646"/>
                    </a:cubicBezTo>
                    <a:cubicBezTo>
                      <a:pt x="28888" y="456724"/>
                      <a:pt x="22721" y="452246"/>
                      <a:pt x="20124" y="444668"/>
                    </a:cubicBezTo>
                    <a:cubicBezTo>
                      <a:pt x="17852" y="437435"/>
                      <a:pt x="16554" y="431234"/>
                      <a:pt x="12334" y="425034"/>
                    </a:cubicBezTo>
                    <a:lnTo>
                      <a:pt x="3037" y="402446"/>
                    </a:lnTo>
                    <a:cubicBezTo>
                      <a:pt x="4102" y="404212"/>
                      <a:pt x="6140" y="403876"/>
                      <a:pt x="9088" y="398512"/>
                    </a:cubicBezTo>
                    <a:cubicBezTo>
                      <a:pt x="10711" y="395756"/>
                      <a:pt x="8115" y="391967"/>
                      <a:pt x="7790" y="388522"/>
                    </a:cubicBezTo>
                    <a:cubicBezTo>
                      <a:pt x="11584" y="383571"/>
                      <a:pt x="12497" y="393000"/>
                      <a:pt x="13957" y="395067"/>
                    </a:cubicBezTo>
                    <a:cubicBezTo>
                      <a:pt x="14931" y="396445"/>
                      <a:pt x="16878" y="396100"/>
                      <a:pt x="18501" y="396789"/>
                    </a:cubicBezTo>
                    <a:cubicBezTo>
                      <a:pt x="28888" y="393000"/>
                      <a:pt x="23370" y="382667"/>
                      <a:pt x="18501" y="375433"/>
                    </a:cubicBezTo>
                    <a:cubicBezTo>
                      <a:pt x="16229" y="368544"/>
                      <a:pt x="13308" y="369233"/>
                      <a:pt x="7790" y="365444"/>
                    </a:cubicBezTo>
                    <a:cubicBezTo>
                      <a:pt x="7141" y="363722"/>
                      <a:pt x="6492" y="362000"/>
                      <a:pt x="6167" y="360277"/>
                    </a:cubicBezTo>
                    <a:cubicBezTo>
                      <a:pt x="5518" y="358211"/>
                      <a:pt x="5193" y="355800"/>
                      <a:pt x="4544" y="353733"/>
                    </a:cubicBezTo>
                    <a:cubicBezTo>
                      <a:pt x="3570" y="350288"/>
                      <a:pt x="1298" y="343744"/>
                      <a:pt x="1298" y="343744"/>
                    </a:cubicBezTo>
                    <a:cubicBezTo>
                      <a:pt x="2596" y="333066"/>
                      <a:pt x="5842" y="329277"/>
                      <a:pt x="11036" y="321010"/>
                    </a:cubicBezTo>
                    <a:cubicBezTo>
                      <a:pt x="13957" y="309988"/>
                      <a:pt x="8764" y="285187"/>
                      <a:pt x="20124" y="281054"/>
                    </a:cubicBezTo>
                    <a:cubicBezTo>
                      <a:pt x="17528" y="289665"/>
                      <a:pt x="12334" y="297243"/>
                      <a:pt x="23370" y="301032"/>
                    </a:cubicBezTo>
                    <a:cubicBezTo>
                      <a:pt x="29537" y="290009"/>
                      <a:pt x="33757" y="284154"/>
                      <a:pt x="44469" y="276576"/>
                    </a:cubicBezTo>
                    <a:cubicBezTo>
                      <a:pt x="49662" y="271065"/>
                      <a:pt x="51285" y="270376"/>
                      <a:pt x="54531" y="267965"/>
                    </a:cubicBezTo>
                    <a:cubicBezTo>
                      <a:pt x="57777" y="265898"/>
                      <a:pt x="63619" y="261076"/>
                      <a:pt x="63619" y="261076"/>
                    </a:cubicBezTo>
                    <a:cubicBezTo>
                      <a:pt x="65892" y="254531"/>
                      <a:pt x="70436" y="255564"/>
                      <a:pt x="76603" y="253842"/>
                    </a:cubicBezTo>
                    <a:cubicBezTo>
                      <a:pt x="83744" y="248331"/>
                      <a:pt x="88288" y="248331"/>
                      <a:pt x="96403" y="251431"/>
                    </a:cubicBezTo>
                    <a:cubicBezTo>
                      <a:pt x="99973" y="250742"/>
                      <a:pt x="103869" y="250742"/>
                      <a:pt x="107439" y="249709"/>
                    </a:cubicBezTo>
                    <a:cubicBezTo>
                      <a:pt x="109062" y="249020"/>
                      <a:pt x="110685" y="247642"/>
                      <a:pt x="111983" y="246264"/>
                    </a:cubicBezTo>
                    <a:cubicBezTo>
                      <a:pt x="113282" y="244886"/>
                      <a:pt x="113606" y="242131"/>
                      <a:pt x="115229" y="241442"/>
                    </a:cubicBezTo>
                    <a:cubicBezTo>
                      <a:pt x="120098" y="239720"/>
                      <a:pt x="125616" y="240408"/>
                      <a:pt x="130810" y="239720"/>
                    </a:cubicBezTo>
                    <a:cubicBezTo>
                      <a:pt x="136003" y="238342"/>
                      <a:pt x="140223" y="236275"/>
                      <a:pt x="146714" y="235242"/>
                    </a:cubicBezTo>
                    <a:cubicBezTo>
                      <a:pt x="153206" y="234208"/>
                      <a:pt x="163269" y="235242"/>
                      <a:pt x="169760" y="233175"/>
                    </a:cubicBezTo>
                    <a:cubicBezTo>
                      <a:pt x="178849" y="230419"/>
                      <a:pt x="181121" y="226975"/>
                      <a:pt x="185341" y="223186"/>
                    </a:cubicBezTo>
                    <a:cubicBezTo>
                      <a:pt x="190534" y="219397"/>
                      <a:pt x="192482" y="216297"/>
                      <a:pt x="194754" y="210097"/>
                    </a:cubicBezTo>
                    <a:cubicBezTo>
                      <a:pt x="198324" y="206308"/>
                      <a:pt x="198973" y="198730"/>
                      <a:pt x="202219" y="195285"/>
                    </a:cubicBezTo>
                    <a:cubicBezTo>
                      <a:pt x="205465" y="191841"/>
                      <a:pt x="213580" y="194596"/>
                      <a:pt x="214878" y="190119"/>
                    </a:cubicBezTo>
                    <a:cubicBezTo>
                      <a:pt x="216501" y="186330"/>
                      <a:pt x="209360" y="172896"/>
                      <a:pt x="210659" y="167385"/>
                    </a:cubicBezTo>
                    <a:cubicBezTo>
                      <a:pt x="211957" y="161874"/>
                      <a:pt x="218773" y="158429"/>
                      <a:pt x="222669" y="157051"/>
                    </a:cubicBezTo>
                    <a:lnTo>
                      <a:pt x="228389" y="147751"/>
                    </a:lnTo>
                    <a:cubicBezTo>
                      <a:pt x="230378" y="148354"/>
                      <a:pt x="232406" y="152229"/>
                      <a:pt x="234354" y="158085"/>
                    </a:cubicBezTo>
                    <a:cubicBezTo>
                      <a:pt x="235977" y="162907"/>
                      <a:pt x="240521" y="170485"/>
                      <a:pt x="242144" y="175307"/>
                    </a:cubicBezTo>
                    <a:cubicBezTo>
                      <a:pt x="244741" y="177718"/>
                      <a:pt x="244741" y="173240"/>
                      <a:pt x="246039" y="171174"/>
                    </a:cubicBezTo>
                    <a:cubicBezTo>
                      <a:pt x="247337" y="169107"/>
                      <a:pt x="249934" y="167040"/>
                      <a:pt x="249285" y="163596"/>
                    </a:cubicBezTo>
                    <a:cubicBezTo>
                      <a:pt x="254478" y="154985"/>
                      <a:pt x="249609" y="154985"/>
                      <a:pt x="242793" y="150507"/>
                    </a:cubicBezTo>
                    <a:lnTo>
                      <a:pt x="244391" y="143935"/>
                    </a:lnTo>
                    <a:cubicBezTo>
                      <a:pt x="245471" y="141142"/>
                      <a:pt x="246688" y="147407"/>
                      <a:pt x="263242" y="142240"/>
                    </a:cubicBezTo>
                    <a:cubicBezTo>
                      <a:pt x="268111" y="140862"/>
                      <a:pt x="269409" y="127428"/>
                      <a:pt x="269409" y="127428"/>
                    </a:cubicBezTo>
                    <a:lnTo>
                      <a:pt x="266164" y="122262"/>
                    </a:lnTo>
                    <a:cubicBezTo>
                      <a:pt x="267787" y="119851"/>
                      <a:pt x="271357" y="121573"/>
                      <a:pt x="273954" y="120539"/>
                    </a:cubicBezTo>
                    <a:cubicBezTo>
                      <a:pt x="275577" y="119851"/>
                      <a:pt x="277200" y="118473"/>
                      <a:pt x="278823" y="117439"/>
                    </a:cubicBezTo>
                    <a:cubicBezTo>
                      <a:pt x="280121" y="116750"/>
                      <a:pt x="281744" y="116406"/>
                      <a:pt x="283367" y="115717"/>
                    </a:cubicBezTo>
                    <a:cubicBezTo>
                      <a:pt x="284665" y="111584"/>
                      <a:pt x="284341" y="106417"/>
                      <a:pt x="286613" y="102628"/>
                    </a:cubicBezTo>
                    <a:cubicBezTo>
                      <a:pt x="288560" y="99528"/>
                      <a:pt x="293105" y="99528"/>
                      <a:pt x="296026" y="97461"/>
                    </a:cubicBezTo>
                    <a:cubicBezTo>
                      <a:pt x="298298" y="88850"/>
                      <a:pt x="304465" y="88505"/>
                      <a:pt x="311606" y="86094"/>
                    </a:cubicBezTo>
                    <a:cubicBezTo>
                      <a:pt x="314528" y="85061"/>
                      <a:pt x="320695" y="82650"/>
                      <a:pt x="320695" y="82650"/>
                    </a:cubicBezTo>
                    <a:cubicBezTo>
                      <a:pt x="325564" y="75416"/>
                      <a:pt x="324265" y="79894"/>
                      <a:pt x="331406" y="82650"/>
                    </a:cubicBezTo>
                    <a:cubicBezTo>
                      <a:pt x="339196" y="94361"/>
                      <a:pt x="351531" y="101250"/>
                      <a:pt x="364514" y="105728"/>
                    </a:cubicBezTo>
                    <a:cubicBezTo>
                      <a:pt x="372305" y="109517"/>
                      <a:pt x="381068" y="108828"/>
                      <a:pt x="384314" y="106072"/>
                    </a:cubicBezTo>
                    <a:cubicBezTo>
                      <a:pt x="387236" y="104350"/>
                      <a:pt x="382042" y="97806"/>
                      <a:pt x="382042" y="95050"/>
                    </a:cubicBezTo>
                    <a:cubicBezTo>
                      <a:pt x="382042" y="92294"/>
                      <a:pt x="383341" y="90917"/>
                      <a:pt x="384639" y="89194"/>
                    </a:cubicBezTo>
                    <a:cubicBezTo>
                      <a:pt x="385937" y="85750"/>
                      <a:pt x="385937" y="87472"/>
                      <a:pt x="389183" y="84372"/>
                    </a:cubicBezTo>
                    <a:lnTo>
                      <a:pt x="393727" y="73350"/>
                    </a:lnTo>
                    <a:cubicBezTo>
                      <a:pt x="396000" y="71283"/>
                      <a:pt x="401518" y="73350"/>
                      <a:pt x="403465" y="70938"/>
                    </a:cubicBezTo>
                    <a:lnTo>
                      <a:pt x="398840" y="61035"/>
                    </a:lnTo>
                    <a:cubicBezTo>
                      <a:pt x="398272" y="59658"/>
                      <a:pt x="399732" y="59399"/>
                      <a:pt x="406386" y="57849"/>
                    </a:cubicBezTo>
                    <a:cubicBezTo>
                      <a:pt x="409632" y="52683"/>
                      <a:pt x="415800" y="44760"/>
                      <a:pt x="420668" y="43038"/>
                    </a:cubicBezTo>
                    <a:cubicBezTo>
                      <a:pt x="422941" y="39249"/>
                      <a:pt x="422616" y="37182"/>
                      <a:pt x="427809" y="37871"/>
                    </a:cubicBezTo>
                    <a:lnTo>
                      <a:pt x="435600" y="42005"/>
                    </a:lnTo>
                    <a:cubicBezTo>
                      <a:pt x="442416" y="41316"/>
                      <a:pt x="453777" y="41316"/>
                      <a:pt x="459619" y="37871"/>
                    </a:cubicBezTo>
                    <a:cubicBezTo>
                      <a:pt x="462216" y="36149"/>
                      <a:pt x="460268" y="30638"/>
                      <a:pt x="457996" y="28227"/>
                    </a:cubicBezTo>
                    <a:cubicBezTo>
                      <a:pt x="455724" y="25815"/>
                      <a:pt x="451829" y="27193"/>
                      <a:pt x="448583" y="26504"/>
                    </a:cubicBezTo>
                    <a:lnTo>
                      <a:pt x="441630" y="20170"/>
                    </a:lnTo>
                    <a:cubicBezTo>
                      <a:pt x="438784" y="15762"/>
                      <a:pt x="447122" y="16343"/>
                      <a:pt x="456373" y="14793"/>
                    </a:cubicBezTo>
                    <a:cubicBezTo>
                      <a:pt x="461242" y="15826"/>
                      <a:pt x="467085" y="14793"/>
                      <a:pt x="470331" y="18237"/>
                    </a:cubicBezTo>
                    <a:cubicBezTo>
                      <a:pt x="472786" y="24179"/>
                      <a:pt x="466517" y="21079"/>
                      <a:pt x="476498" y="26504"/>
                    </a:cubicBezTo>
                    <a:cubicBezTo>
                      <a:pt x="481691" y="28571"/>
                      <a:pt x="489482" y="35804"/>
                      <a:pt x="498895" y="36838"/>
                    </a:cubicBezTo>
                    <a:cubicBezTo>
                      <a:pt x="506360" y="38905"/>
                      <a:pt x="515124" y="40627"/>
                      <a:pt x="520642" y="39938"/>
                    </a:cubicBezTo>
                    <a:cubicBezTo>
                      <a:pt x="526160" y="39249"/>
                      <a:pt x="529082" y="33738"/>
                      <a:pt x="532652" y="33049"/>
                    </a:cubicBezTo>
                    <a:cubicBezTo>
                      <a:pt x="536223" y="31671"/>
                      <a:pt x="537845" y="35460"/>
                      <a:pt x="541741" y="35804"/>
                    </a:cubicBezTo>
                    <a:cubicBezTo>
                      <a:pt x="545636" y="36149"/>
                      <a:pt x="554075" y="32360"/>
                      <a:pt x="556022" y="34771"/>
                    </a:cubicBezTo>
                    <a:cubicBezTo>
                      <a:pt x="559918" y="37527"/>
                      <a:pt x="555049" y="44760"/>
                      <a:pt x="554400" y="49582"/>
                    </a:cubicBezTo>
                    <a:cubicBezTo>
                      <a:pt x="553101" y="57849"/>
                      <a:pt x="551478" y="64738"/>
                      <a:pt x="545311" y="69561"/>
                    </a:cubicBezTo>
                    <a:lnTo>
                      <a:pt x="546822" y="76428"/>
                    </a:lnTo>
                    <a:cubicBezTo>
                      <a:pt x="548253" y="80045"/>
                      <a:pt x="549774" y="76105"/>
                      <a:pt x="554400" y="84372"/>
                    </a:cubicBezTo>
                    <a:cubicBezTo>
                      <a:pt x="554075" y="87817"/>
                      <a:pt x="555373" y="91950"/>
                      <a:pt x="553101" y="94361"/>
                    </a:cubicBezTo>
                    <a:cubicBezTo>
                      <a:pt x="546609" y="101250"/>
                      <a:pt x="545960" y="88161"/>
                      <a:pt x="545311" y="87472"/>
                    </a:cubicBezTo>
                    <a:cubicBezTo>
                      <a:pt x="544013" y="85750"/>
                      <a:pt x="542065" y="85405"/>
                      <a:pt x="540442" y="84372"/>
                    </a:cubicBezTo>
                    <a:cubicBezTo>
                      <a:pt x="535898" y="89194"/>
                      <a:pt x="531354" y="90917"/>
                      <a:pt x="529731" y="97461"/>
                    </a:cubicBezTo>
                    <a:cubicBezTo>
                      <a:pt x="528108" y="100906"/>
                      <a:pt x="524213" y="103661"/>
                      <a:pt x="524537" y="106417"/>
                    </a:cubicBezTo>
                    <a:cubicBezTo>
                      <a:pt x="524862" y="109173"/>
                      <a:pt x="527459" y="110895"/>
                      <a:pt x="531029" y="113995"/>
                    </a:cubicBezTo>
                    <a:cubicBezTo>
                      <a:pt x="532652" y="120195"/>
                      <a:pt x="545311" y="125706"/>
                      <a:pt x="545311" y="125706"/>
                    </a:cubicBezTo>
                    <a:cubicBezTo>
                      <a:pt x="550829" y="130184"/>
                      <a:pt x="555049" y="132940"/>
                      <a:pt x="565436" y="137418"/>
                    </a:cubicBezTo>
                    <a:cubicBezTo>
                      <a:pt x="572901" y="142240"/>
                      <a:pt x="582963" y="150507"/>
                      <a:pt x="590429" y="153951"/>
                    </a:cubicBezTo>
                    <a:cubicBezTo>
                      <a:pt x="597895" y="157396"/>
                      <a:pt x="606983" y="156362"/>
                      <a:pt x="610554" y="158774"/>
                    </a:cubicBezTo>
                    <a:cubicBezTo>
                      <a:pt x="611852" y="159807"/>
                      <a:pt x="610878" y="166696"/>
                      <a:pt x="612177" y="168074"/>
                    </a:cubicBezTo>
                    <a:cubicBezTo>
                      <a:pt x="614449" y="170485"/>
                      <a:pt x="616721" y="167040"/>
                      <a:pt x="618344" y="170140"/>
                    </a:cubicBezTo>
                    <a:cubicBezTo>
                      <a:pt x="621265" y="175996"/>
                      <a:pt x="621265" y="174963"/>
                      <a:pt x="626134" y="178407"/>
                    </a:cubicBezTo>
                    <a:cubicBezTo>
                      <a:pt x="637170" y="177718"/>
                      <a:pt x="647557" y="181507"/>
                      <a:pt x="651127" y="170140"/>
                    </a:cubicBezTo>
                    <a:cubicBezTo>
                      <a:pt x="652426" y="160496"/>
                      <a:pt x="655347" y="150162"/>
                      <a:pt x="660865" y="142240"/>
                    </a:cubicBezTo>
                    <a:cubicBezTo>
                      <a:pt x="664111" y="128117"/>
                      <a:pt x="664760" y="137073"/>
                      <a:pt x="667357" y="113306"/>
                    </a:cubicBezTo>
                    <a:cubicBezTo>
                      <a:pt x="668006" y="107106"/>
                      <a:pt x="666708" y="100906"/>
                      <a:pt x="666708" y="100906"/>
                    </a:cubicBezTo>
                    <a:cubicBezTo>
                      <a:pt x="668980" y="68527"/>
                      <a:pt x="665734" y="85061"/>
                      <a:pt x="669954" y="70938"/>
                    </a:cubicBezTo>
                    <a:cubicBezTo>
                      <a:pt x="671252" y="66116"/>
                      <a:pt x="674498" y="56127"/>
                      <a:pt x="674498" y="56127"/>
                    </a:cubicBezTo>
                    <a:cubicBezTo>
                      <a:pt x="675147" y="48549"/>
                      <a:pt x="674822" y="40627"/>
                      <a:pt x="676121" y="33049"/>
                    </a:cubicBezTo>
                    <a:cubicBezTo>
                      <a:pt x="677095" y="27882"/>
                      <a:pt x="682288" y="18237"/>
                      <a:pt x="682288" y="18237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5" name="Freeform 339">
                <a:extLst>
                  <a:ext uri="{FF2B5EF4-FFF2-40B4-BE49-F238E27FC236}">
                    <a16:creationId xmlns:a16="http://schemas.microsoft.com/office/drawing/2014/main" id="{A2DFB1E3-200C-4206-B339-24FEFEAD28D4}"/>
                  </a:ext>
                </a:extLst>
              </p:cNvPr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gray">
              <a:xfrm>
                <a:off x="7436423" y="2984730"/>
                <a:ext cx="366140" cy="446343"/>
              </a:xfrm>
              <a:custGeom>
                <a:avLst/>
                <a:gdLst/>
                <a:ahLst/>
                <a:cxnLst/>
                <a:rect l="l" t="t" r="r" b="b"/>
                <a:pathLst>
                  <a:path w="366140" h="446343">
                    <a:moveTo>
                      <a:pt x="278678" y="132903"/>
                    </a:moveTo>
                    <a:cubicBezTo>
                      <a:pt x="281307" y="132784"/>
                      <a:pt x="283589" y="133643"/>
                      <a:pt x="285177" y="135934"/>
                    </a:cubicBezTo>
                    <a:cubicBezTo>
                      <a:pt x="291527" y="145098"/>
                      <a:pt x="294702" y="187863"/>
                      <a:pt x="296289" y="203136"/>
                    </a:cubicBezTo>
                    <a:cubicBezTo>
                      <a:pt x="297877" y="218409"/>
                      <a:pt x="299464" y="215354"/>
                      <a:pt x="296289" y="224518"/>
                    </a:cubicBezTo>
                    <a:cubicBezTo>
                      <a:pt x="293114" y="233682"/>
                      <a:pt x="286764" y="242846"/>
                      <a:pt x="282002" y="256592"/>
                    </a:cubicBezTo>
                    <a:cubicBezTo>
                      <a:pt x="275652" y="270338"/>
                      <a:pt x="269302" y="299356"/>
                      <a:pt x="262952" y="310048"/>
                    </a:cubicBezTo>
                    <a:cubicBezTo>
                      <a:pt x="256602" y="320739"/>
                      <a:pt x="250252" y="316157"/>
                      <a:pt x="243902" y="320739"/>
                    </a:cubicBezTo>
                    <a:cubicBezTo>
                      <a:pt x="237552" y="325321"/>
                      <a:pt x="228027" y="332957"/>
                      <a:pt x="226439" y="337539"/>
                    </a:cubicBezTo>
                    <a:cubicBezTo>
                      <a:pt x="224852" y="342121"/>
                      <a:pt x="239139" y="352812"/>
                      <a:pt x="235964" y="352812"/>
                    </a:cubicBezTo>
                    <a:cubicBezTo>
                      <a:pt x="232789" y="352812"/>
                      <a:pt x="218502" y="337539"/>
                      <a:pt x="210564" y="334485"/>
                    </a:cubicBezTo>
                    <a:cubicBezTo>
                      <a:pt x="202627" y="331430"/>
                      <a:pt x="189927" y="331430"/>
                      <a:pt x="183577" y="332957"/>
                    </a:cubicBezTo>
                    <a:cubicBezTo>
                      <a:pt x="177227" y="334485"/>
                      <a:pt x="172464" y="340594"/>
                      <a:pt x="167702" y="346703"/>
                    </a:cubicBezTo>
                    <a:cubicBezTo>
                      <a:pt x="162939" y="352812"/>
                      <a:pt x="161352" y="363504"/>
                      <a:pt x="155002" y="366558"/>
                    </a:cubicBezTo>
                    <a:cubicBezTo>
                      <a:pt x="148652" y="369613"/>
                      <a:pt x="137539" y="369613"/>
                      <a:pt x="129602" y="369613"/>
                    </a:cubicBezTo>
                    <a:cubicBezTo>
                      <a:pt x="121664" y="369613"/>
                      <a:pt x="113727" y="363504"/>
                      <a:pt x="105789" y="365031"/>
                    </a:cubicBezTo>
                    <a:cubicBezTo>
                      <a:pt x="97852" y="366558"/>
                      <a:pt x="93089" y="374195"/>
                      <a:pt x="85152" y="380304"/>
                    </a:cubicBezTo>
                    <a:cubicBezTo>
                      <a:pt x="77214" y="386413"/>
                      <a:pt x="62927" y="392523"/>
                      <a:pt x="56577" y="401686"/>
                    </a:cubicBezTo>
                    <a:cubicBezTo>
                      <a:pt x="50227" y="412378"/>
                      <a:pt x="50227" y="442924"/>
                      <a:pt x="42289" y="445979"/>
                    </a:cubicBezTo>
                    <a:cubicBezTo>
                      <a:pt x="34352" y="449033"/>
                      <a:pt x="10539" y="432233"/>
                      <a:pt x="4189" y="420014"/>
                    </a:cubicBezTo>
                    <a:cubicBezTo>
                      <a:pt x="-2161" y="407796"/>
                      <a:pt x="-573" y="386413"/>
                      <a:pt x="4189" y="374195"/>
                    </a:cubicBezTo>
                    <a:cubicBezTo>
                      <a:pt x="8952" y="361976"/>
                      <a:pt x="23239" y="351285"/>
                      <a:pt x="32764" y="343649"/>
                    </a:cubicBezTo>
                    <a:cubicBezTo>
                      <a:pt x="42289" y="336012"/>
                      <a:pt x="53402" y="337539"/>
                      <a:pt x="61339" y="332957"/>
                    </a:cubicBezTo>
                    <a:cubicBezTo>
                      <a:pt x="69277" y="328375"/>
                      <a:pt x="70864" y="314630"/>
                      <a:pt x="85152" y="311575"/>
                    </a:cubicBezTo>
                    <a:cubicBezTo>
                      <a:pt x="97852" y="308520"/>
                      <a:pt x="135952" y="314630"/>
                      <a:pt x="150239" y="310048"/>
                    </a:cubicBezTo>
                    <a:cubicBezTo>
                      <a:pt x="164527" y="305466"/>
                      <a:pt x="170877" y="294775"/>
                      <a:pt x="174052" y="288665"/>
                    </a:cubicBezTo>
                    <a:cubicBezTo>
                      <a:pt x="177227" y="281029"/>
                      <a:pt x="167702" y="264228"/>
                      <a:pt x="174052" y="261174"/>
                    </a:cubicBezTo>
                    <a:cubicBezTo>
                      <a:pt x="180402" y="258119"/>
                      <a:pt x="199452" y="270338"/>
                      <a:pt x="207389" y="267283"/>
                    </a:cubicBezTo>
                    <a:cubicBezTo>
                      <a:pt x="215327" y="264228"/>
                      <a:pt x="213739" y="244373"/>
                      <a:pt x="220089" y="238264"/>
                    </a:cubicBezTo>
                    <a:cubicBezTo>
                      <a:pt x="226439" y="232155"/>
                      <a:pt x="240727" y="242846"/>
                      <a:pt x="245489" y="233682"/>
                    </a:cubicBezTo>
                    <a:cubicBezTo>
                      <a:pt x="250252" y="224518"/>
                      <a:pt x="247077" y="198554"/>
                      <a:pt x="248664" y="184808"/>
                    </a:cubicBezTo>
                    <a:cubicBezTo>
                      <a:pt x="250252" y="172590"/>
                      <a:pt x="248664" y="155789"/>
                      <a:pt x="255014" y="148153"/>
                    </a:cubicBezTo>
                    <a:cubicBezTo>
                      <a:pt x="259777" y="142425"/>
                      <a:pt x="270790" y="133261"/>
                      <a:pt x="278678" y="132903"/>
                    </a:cubicBezTo>
                    <a:close/>
                    <a:moveTo>
                      <a:pt x="266560" y="2495"/>
                    </a:moveTo>
                    <a:lnTo>
                      <a:pt x="264539" y="2723"/>
                    </a:lnTo>
                    <a:cubicBezTo>
                      <a:pt x="263055" y="2723"/>
                      <a:pt x="264193" y="2574"/>
                      <a:pt x="266560" y="2495"/>
                    </a:cubicBezTo>
                    <a:close/>
                    <a:moveTo>
                      <a:pt x="285177" y="425"/>
                    </a:moveTo>
                    <a:cubicBezTo>
                      <a:pt x="294702" y="-341"/>
                      <a:pt x="305021" y="-341"/>
                      <a:pt x="310577" y="2723"/>
                    </a:cubicBezTo>
                    <a:cubicBezTo>
                      <a:pt x="321690" y="8852"/>
                      <a:pt x="324865" y="34898"/>
                      <a:pt x="334390" y="41027"/>
                    </a:cubicBezTo>
                    <a:cubicBezTo>
                      <a:pt x="343915" y="47155"/>
                      <a:pt x="361377" y="33366"/>
                      <a:pt x="366140" y="36430"/>
                    </a:cubicBezTo>
                    <a:cubicBezTo>
                      <a:pt x="370902" y="39494"/>
                      <a:pt x="370902" y="53284"/>
                      <a:pt x="366140" y="60944"/>
                    </a:cubicBezTo>
                    <a:cubicBezTo>
                      <a:pt x="361377" y="68605"/>
                      <a:pt x="347090" y="77798"/>
                      <a:pt x="339152" y="83926"/>
                    </a:cubicBezTo>
                    <a:cubicBezTo>
                      <a:pt x="331215" y="90055"/>
                      <a:pt x="329627" y="97715"/>
                      <a:pt x="320102" y="97715"/>
                    </a:cubicBezTo>
                    <a:cubicBezTo>
                      <a:pt x="310577" y="97715"/>
                      <a:pt x="283589" y="85458"/>
                      <a:pt x="277239" y="88523"/>
                    </a:cubicBezTo>
                    <a:cubicBezTo>
                      <a:pt x="272477" y="91587"/>
                      <a:pt x="285177" y="106908"/>
                      <a:pt x="280414" y="113037"/>
                    </a:cubicBezTo>
                    <a:cubicBezTo>
                      <a:pt x="275652" y="119165"/>
                      <a:pt x="258189" y="128358"/>
                      <a:pt x="250252" y="125294"/>
                    </a:cubicBezTo>
                    <a:cubicBezTo>
                      <a:pt x="242314" y="122229"/>
                      <a:pt x="232789" y="105376"/>
                      <a:pt x="234377" y="94651"/>
                    </a:cubicBezTo>
                    <a:cubicBezTo>
                      <a:pt x="235964" y="83926"/>
                      <a:pt x="255014" y="74733"/>
                      <a:pt x="262952" y="62476"/>
                    </a:cubicBezTo>
                    <a:cubicBezTo>
                      <a:pt x="270889" y="50219"/>
                      <a:pt x="278827" y="31834"/>
                      <a:pt x="282002" y="22641"/>
                    </a:cubicBezTo>
                    <a:cubicBezTo>
                      <a:pt x="285177" y="13448"/>
                      <a:pt x="288352" y="7320"/>
                      <a:pt x="285177" y="4256"/>
                    </a:cubicBezTo>
                    <a:cubicBezTo>
                      <a:pt x="282992" y="2147"/>
                      <a:pt x="271782" y="2215"/>
                      <a:pt x="266560" y="2495"/>
                    </a:cubicBezTo>
                    <a:cubicBezTo>
                      <a:pt x="270296" y="2164"/>
                      <a:pt x="277477" y="1044"/>
                      <a:pt x="285177" y="42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6" name="Freeform 404">
                <a:extLst>
                  <a:ext uri="{FF2B5EF4-FFF2-40B4-BE49-F238E27FC236}">
                    <a16:creationId xmlns:a16="http://schemas.microsoft.com/office/drawing/2014/main" id="{758439A6-9433-44F2-BC89-A302E6D067FD}"/>
                  </a:ext>
                </a:extLst>
              </p:cNvPr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gray">
              <a:xfrm>
                <a:off x="2578101" y="3917950"/>
                <a:ext cx="323850" cy="254000"/>
              </a:xfrm>
              <a:custGeom>
                <a:avLst/>
                <a:gdLst>
                  <a:gd name="T0" fmla="*/ 18 w 200"/>
                  <a:gd name="T1" fmla="*/ 4 h 160"/>
                  <a:gd name="T2" fmla="*/ 16 w 200"/>
                  <a:gd name="T3" fmla="*/ 25 h 160"/>
                  <a:gd name="T4" fmla="*/ 30 w 200"/>
                  <a:gd name="T5" fmla="*/ 36 h 160"/>
                  <a:gd name="T6" fmla="*/ 31 w 200"/>
                  <a:gd name="T7" fmla="*/ 13 h 160"/>
                  <a:gd name="T8" fmla="*/ 51 w 200"/>
                  <a:gd name="T9" fmla="*/ 9 h 160"/>
                  <a:gd name="T10" fmla="*/ 69 w 200"/>
                  <a:gd name="T11" fmla="*/ 3 h 160"/>
                  <a:gd name="T12" fmla="*/ 93 w 200"/>
                  <a:gd name="T13" fmla="*/ 16 h 160"/>
                  <a:gd name="T14" fmla="*/ 117 w 200"/>
                  <a:gd name="T15" fmla="*/ 21 h 160"/>
                  <a:gd name="T16" fmla="*/ 133 w 200"/>
                  <a:gd name="T17" fmla="*/ 12 h 160"/>
                  <a:gd name="T18" fmla="*/ 154 w 200"/>
                  <a:gd name="T19" fmla="*/ 18 h 160"/>
                  <a:gd name="T20" fmla="*/ 174 w 200"/>
                  <a:gd name="T21" fmla="*/ 27 h 160"/>
                  <a:gd name="T22" fmla="*/ 186 w 200"/>
                  <a:gd name="T23" fmla="*/ 37 h 160"/>
                  <a:gd name="T24" fmla="*/ 189 w 200"/>
                  <a:gd name="T25" fmla="*/ 57 h 160"/>
                  <a:gd name="T26" fmla="*/ 181 w 200"/>
                  <a:gd name="T27" fmla="*/ 72 h 160"/>
                  <a:gd name="T28" fmla="*/ 178 w 200"/>
                  <a:gd name="T29" fmla="*/ 87 h 160"/>
                  <a:gd name="T30" fmla="*/ 175 w 200"/>
                  <a:gd name="T31" fmla="*/ 100 h 160"/>
                  <a:gd name="T32" fmla="*/ 162 w 200"/>
                  <a:gd name="T33" fmla="*/ 115 h 160"/>
                  <a:gd name="T34" fmla="*/ 135 w 200"/>
                  <a:gd name="T35" fmla="*/ 120 h 160"/>
                  <a:gd name="T36" fmla="*/ 135 w 200"/>
                  <a:gd name="T37" fmla="*/ 135 h 160"/>
                  <a:gd name="T38" fmla="*/ 129 w 200"/>
                  <a:gd name="T39" fmla="*/ 151 h 160"/>
                  <a:gd name="T40" fmla="*/ 124 w 200"/>
                  <a:gd name="T41" fmla="*/ 157 h 160"/>
                  <a:gd name="T42" fmla="*/ 106 w 200"/>
                  <a:gd name="T43" fmla="*/ 159 h 160"/>
                  <a:gd name="T44" fmla="*/ 82 w 200"/>
                  <a:gd name="T45" fmla="*/ 148 h 160"/>
                  <a:gd name="T46" fmla="*/ 84 w 200"/>
                  <a:gd name="T47" fmla="*/ 136 h 160"/>
                  <a:gd name="T48" fmla="*/ 82 w 200"/>
                  <a:gd name="T49" fmla="*/ 87 h 160"/>
                  <a:gd name="T50" fmla="*/ 61 w 200"/>
                  <a:gd name="T51" fmla="*/ 82 h 160"/>
                  <a:gd name="T52" fmla="*/ 43 w 200"/>
                  <a:gd name="T53" fmla="*/ 73 h 160"/>
                  <a:gd name="T54" fmla="*/ 30 w 200"/>
                  <a:gd name="T55" fmla="*/ 63 h 160"/>
                  <a:gd name="T56" fmla="*/ 18 w 200"/>
                  <a:gd name="T57" fmla="*/ 57 h 160"/>
                  <a:gd name="T58" fmla="*/ 6 w 200"/>
                  <a:gd name="T59" fmla="*/ 37 h 160"/>
                  <a:gd name="T60" fmla="*/ 0 w 200"/>
                  <a:gd name="T61" fmla="*/ 22 h 160"/>
                  <a:gd name="T62" fmla="*/ 15 w 200"/>
                  <a:gd name="T63" fmla="*/ 6 h 160"/>
                  <a:gd name="T64" fmla="*/ 24 w 200"/>
                  <a:gd name="T65" fmla="*/ 1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0" h="160">
                    <a:moveTo>
                      <a:pt x="18" y="4"/>
                    </a:moveTo>
                    <a:cubicBezTo>
                      <a:pt x="23" y="12"/>
                      <a:pt x="31" y="23"/>
                      <a:pt x="16" y="25"/>
                    </a:cubicBezTo>
                    <a:cubicBezTo>
                      <a:pt x="13" y="39"/>
                      <a:pt x="15" y="37"/>
                      <a:pt x="30" y="36"/>
                    </a:cubicBezTo>
                    <a:cubicBezTo>
                      <a:pt x="30" y="28"/>
                      <a:pt x="27" y="20"/>
                      <a:pt x="31" y="13"/>
                    </a:cubicBezTo>
                    <a:cubicBezTo>
                      <a:pt x="35" y="7"/>
                      <a:pt x="51" y="9"/>
                      <a:pt x="51" y="9"/>
                    </a:cubicBezTo>
                    <a:cubicBezTo>
                      <a:pt x="59" y="3"/>
                      <a:pt x="57" y="0"/>
                      <a:pt x="69" y="3"/>
                    </a:cubicBezTo>
                    <a:cubicBezTo>
                      <a:pt x="71" y="22"/>
                      <a:pt x="73" y="18"/>
                      <a:pt x="93" y="16"/>
                    </a:cubicBezTo>
                    <a:cubicBezTo>
                      <a:pt x="111" y="20"/>
                      <a:pt x="103" y="18"/>
                      <a:pt x="117" y="21"/>
                    </a:cubicBezTo>
                    <a:cubicBezTo>
                      <a:pt x="127" y="19"/>
                      <a:pt x="126" y="17"/>
                      <a:pt x="133" y="12"/>
                    </a:cubicBezTo>
                    <a:cubicBezTo>
                      <a:pt x="143" y="13"/>
                      <a:pt x="147" y="12"/>
                      <a:pt x="154" y="18"/>
                    </a:cubicBezTo>
                    <a:cubicBezTo>
                      <a:pt x="158" y="26"/>
                      <a:pt x="166" y="25"/>
                      <a:pt x="174" y="27"/>
                    </a:cubicBezTo>
                    <a:cubicBezTo>
                      <a:pt x="175" y="35"/>
                      <a:pt x="178" y="36"/>
                      <a:pt x="186" y="37"/>
                    </a:cubicBezTo>
                    <a:cubicBezTo>
                      <a:pt x="196" y="42"/>
                      <a:pt x="200" y="55"/>
                      <a:pt x="189" y="57"/>
                    </a:cubicBezTo>
                    <a:cubicBezTo>
                      <a:pt x="188" y="75"/>
                      <a:pt x="189" y="62"/>
                      <a:pt x="181" y="72"/>
                    </a:cubicBezTo>
                    <a:cubicBezTo>
                      <a:pt x="179" y="77"/>
                      <a:pt x="179" y="82"/>
                      <a:pt x="178" y="87"/>
                    </a:cubicBezTo>
                    <a:cubicBezTo>
                      <a:pt x="177" y="92"/>
                      <a:pt x="178" y="95"/>
                      <a:pt x="175" y="100"/>
                    </a:cubicBezTo>
                    <a:cubicBezTo>
                      <a:pt x="172" y="105"/>
                      <a:pt x="169" y="112"/>
                      <a:pt x="162" y="115"/>
                    </a:cubicBezTo>
                    <a:cubicBezTo>
                      <a:pt x="152" y="115"/>
                      <a:pt x="146" y="116"/>
                      <a:pt x="135" y="120"/>
                    </a:cubicBezTo>
                    <a:cubicBezTo>
                      <a:pt x="136" y="126"/>
                      <a:pt x="132" y="129"/>
                      <a:pt x="135" y="135"/>
                    </a:cubicBezTo>
                    <a:cubicBezTo>
                      <a:pt x="134" y="140"/>
                      <a:pt x="131" y="148"/>
                      <a:pt x="129" y="151"/>
                    </a:cubicBezTo>
                    <a:cubicBezTo>
                      <a:pt x="127" y="154"/>
                      <a:pt x="128" y="156"/>
                      <a:pt x="124" y="157"/>
                    </a:cubicBezTo>
                    <a:cubicBezTo>
                      <a:pt x="120" y="158"/>
                      <a:pt x="113" y="160"/>
                      <a:pt x="106" y="159"/>
                    </a:cubicBezTo>
                    <a:cubicBezTo>
                      <a:pt x="99" y="158"/>
                      <a:pt x="86" y="152"/>
                      <a:pt x="82" y="148"/>
                    </a:cubicBezTo>
                    <a:cubicBezTo>
                      <a:pt x="78" y="144"/>
                      <a:pt x="84" y="146"/>
                      <a:pt x="84" y="136"/>
                    </a:cubicBezTo>
                    <a:cubicBezTo>
                      <a:pt x="81" y="125"/>
                      <a:pt x="86" y="96"/>
                      <a:pt x="82" y="87"/>
                    </a:cubicBezTo>
                    <a:cubicBezTo>
                      <a:pt x="78" y="78"/>
                      <a:pt x="67" y="84"/>
                      <a:pt x="61" y="82"/>
                    </a:cubicBezTo>
                    <a:cubicBezTo>
                      <a:pt x="55" y="78"/>
                      <a:pt x="49" y="77"/>
                      <a:pt x="43" y="73"/>
                    </a:cubicBezTo>
                    <a:cubicBezTo>
                      <a:pt x="37" y="69"/>
                      <a:pt x="37" y="64"/>
                      <a:pt x="30" y="63"/>
                    </a:cubicBezTo>
                    <a:cubicBezTo>
                      <a:pt x="23" y="60"/>
                      <a:pt x="25" y="61"/>
                      <a:pt x="18" y="57"/>
                    </a:cubicBezTo>
                    <a:cubicBezTo>
                      <a:pt x="15" y="52"/>
                      <a:pt x="11" y="40"/>
                      <a:pt x="6" y="37"/>
                    </a:cubicBezTo>
                    <a:cubicBezTo>
                      <a:pt x="3" y="32"/>
                      <a:pt x="1" y="28"/>
                      <a:pt x="0" y="22"/>
                    </a:cubicBezTo>
                    <a:cubicBezTo>
                      <a:pt x="2" y="13"/>
                      <a:pt x="6" y="8"/>
                      <a:pt x="15" y="6"/>
                    </a:cubicBezTo>
                    <a:cubicBezTo>
                      <a:pt x="16" y="16"/>
                      <a:pt x="14" y="13"/>
                      <a:pt x="24" y="13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7" name="Freeform 405">
                <a:extLst>
                  <a:ext uri="{FF2B5EF4-FFF2-40B4-BE49-F238E27FC236}">
                    <a16:creationId xmlns:a16="http://schemas.microsoft.com/office/drawing/2014/main" id="{126EB8B8-897A-4B48-B5E3-919096996C92}"/>
                  </a:ext>
                </a:extLst>
              </p:cNvPr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gray">
              <a:xfrm>
                <a:off x="3005138" y="4038600"/>
                <a:ext cx="104775" cy="96838"/>
              </a:xfrm>
              <a:custGeom>
                <a:avLst/>
                <a:gdLst>
                  <a:gd name="T0" fmla="*/ 15 w 65"/>
                  <a:gd name="T1" fmla="*/ 56 h 61"/>
                  <a:gd name="T2" fmla="*/ 57 w 65"/>
                  <a:gd name="T3" fmla="*/ 45 h 61"/>
                  <a:gd name="T4" fmla="*/ 36 w 65"/>
                  <a:gd name="T5" fmla="*/ 12 h 61"/>
                  <a:gd name="T6" fmla="*/ 15 w 65"/>
                  <a:gd name="T7" fmla="*/ 56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" h="61">
                    <a:moveTo>
                      <a:pt x="15" y="56"/>
                    </a:moveTo>
                    <a:cubicBezTo>
                      <a:pt x="56" y="54"/>
                      <a:pt x="36" y="61"/>
                      <a:pt x="57" y="45"/>
                    </a:cubicBezTo>
                    <a:cubicBezTo>
                      <a:pt x="65" y="29"/>
                      <a:pt x="46" y="20"/>
                      <a:pt x="36" y="12"/>
                    </a:cubicBezTo>
                    <a:cubicBezTo>
                      <a:pt x="0" y="16"/>
                      <a:pt x="15" y="0"/>
                      <a:pt x="15" y="5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8" name="Freeform 406">
                <a:extLst>
                  <a:ext uri="{FF2B5EF4-FFF2-40B4-BE49-F238E27FC236}">
                    <a16:creationId xmlns:a16="http://schemas.microsoft.com/office/drawing/2014/main" id="{74083130-6238-4D30-8663-CF0155EF7BFE}"/>
                  </a:ext>
                </a:extLst>
              </p:cNvPr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gray">
              <a:xfrm>
                <a:off x="2938463" y="4048125"/>
                <a:ext cx="93663" cy="100013"/>
              </a:xfrm>
              <a:custGeom>
                <a:avLst/>
                <a:gdLst>
                  <a:gd name="T0" fmla="*/ 9 w 57"/>
                  <a:gd name="T1" fmla="*/ 0 h 63"/>
                  <a:gd name="T2" fmla="*/ 36 w 57"/>
                  <a:gd name="T3" fmla="*/ 5 h 63"/>
                  <a:gd name="T4" fmla="*/ 51 w 57"/>
                  <a:gd name="T5" fmla="*/ 8 h 63"/>
                  <a:gd name="T6" fmla="*/ 57 w 57"/>
                  <a:gd name="T7" fmla="*/ 35 h 63"/>
                  <a:gd name="T8" fmla="*/ 29 w 57"/>
                  <a:gd name="T9" fmla="*/ 54 h 63"/>
                  <a:gd name="T10" fmla="*/ 17 w 57"/>
                  <a:gd name="T11" fmla="*/ 54 h 63"/>
                  <a:gd name="T12" fmla="*/ 8 w 57"/>
                  <a:gd name="T13" fmla="*/ 39 h 63"/>
                  <a:gd name="T14" fmla="*/ 3 w 57"/>
                  <a:gd name="T15" fmla="*/ 38 h 63"/>
                  <a:gd name="T16" fmla="*/ 14 w 57"/>
                  <a:gd name="T17" fmla="*/ 17 h 63"/>
                  <a:gd name="T18" fmla="*/ 9 w 57"/>
                  <a:gd name="T1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63">
                    <a:moveTo>
                      <a:pt x="9" y="0"/>
                    </a:moveTo>
                    <a:cubicBezTo>
                      <a:pt x="22" y="1"/>
                      <a:pt x="26" y="2"/>
                      <a:pt x="36" y="5"/>
                    </a:cubicBezTo>
                    <a:cubicBezTo>
                      <a:pt x="41" y="6"/>
                      <a:pt x="51" y="8"/>
                      <a:pt x="51" y="8"/>
                    </a:cubicBezTo>
                    <a:cubicBezTo>
                      <a:pt x="57" y="16"/>
                      <a:pt x="55" y="26"/>
                      <a:pt x="57" y="35"/>
                    </a:cubicBezTo>
                    <a:cubicBezTo>
                      <a:pt x="55" y="55"/>
                      <a:pt x="49" y="53"/>
                      <a:pt x="29" y="54"/>
                    </a:cubicBezTo>
                    <a:cubicBezTo>
                      <a:pt x="24" y="63"/>
                      <a:pt x="27" y="55"/>
                      <a:pt x="17" y="54"/>
                    </a:cubicBezTo>
                    <a:cubicBezTo>
                      <a:pt x="17" y="47"/>
                      <a:pt x="10" y="45"/>
                      <a:pt x="8" y="39"/>
                    </a:cubicBezTo>
                    <a:cubicBezTo>
                      <a:pt x="8" y="37"/>
                      <a:pt x="4" y="40"/>
                      <a:pt x="3" y="38"/>
                    </a:cubicBezTo>
                    <a:cubicBezTo>
                      <a:pt x="0" y="29"/>
                      <a:pt x="15" y="24"/>
                      <a:pt x="14" y="17"/>
                    </a:cubicBezTo>
                    <a:cubicBezTo>
                      <a:pt x="13" y="11"/>
                      <a:pt x="11" y="6"/>
                      <a:pt x="9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89" name="Freeform 407">
                <a:extLst>
                  <a:ext uri="{FF2B5EF4-FFF2-40B4-BE49-F238E27FC236}">
                    <a16:creationId xmlns:a16="http://schemas.microsoft.com/office/drawing/2014/main" id="{14B436BC-D9CA-4ED9-8EA8-25DE59C18561}"/>
                  </a:ext>
                </a:extLst>
              </p:cNvPr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gray">
              <a:xfrm>
                <a:off x="2849563" y="3978275"/>
                <a:ext cx="122238" cy="184150"/>
              </a:xfrm>
              <a:custGeom>
                <a:avLst/>
                <a:gdLst>
                  <a:gd name="T0" fmla="*/ 24 w 76"/>
                  <a:gd name="T1" fmla="*/ 13 h 116"/>
                  <a:gd name="T2" fmla="*/ 13 w 76"/>
                  <a:gd name="T3" fmla="*/ 35 h 116"/>
                  <a:gd name="T4" fmla="*/ 13 w 76"/>
                  <a:gd name="T5" fmla="*/ 67 h 116"/>
                  <a:gd name="T6" fmla="*/ 22 w 76"/>
                  <a:gd name="T7" fmla="*/ 70 h 116"/>
                  <a:gd name="T8" fmla="*/ 24 w 76"/>
                  <a:gd name="T9" fmla="*/ 83 h 116"/>
                  <a:gd name="T10" fmla="*/ 30 w 76"/>
                  <a:gd name="T11" fmla="*/ 97 h 116"/>
                  <a:gd name="T12" fmla="*/ 36 w 76"/>
                  <a:gd name="T13" fmla="*/ 110 h 116"/>
                  <a:gd name="T14" fmla="*/ 45 w 76"/>
                  <a:gd name="T15" fmla="*/ 115 h 116"/>
                  <a:gd name="T16" fmla="*/ 63 w 76"/>
                  <a:gd name="T17" fmla="*/ 110 h 116"/>
                  <a:gd name="T18" fmla="*/ 70 w 76"/>
                  <a:gd name="T19" fmla="*/ 101 h 116"/>
                  <a:gd name="T20" fmla="*/ 61 w 76"/>
                  <a:gd name="T21" fmla="*/ 82 h 116"/>
                  <a:gd name="T22" fmla="*/ 66 w 76"/>
                  <a:gd name="T23" fmla="*/ 65 h 116"/>
                  <a:gd name="T24" fmla="*/ 49 w 76"/>
                  <a:gd name="T25" fmla="*/ 28 h 116"/>
                  <a:gd name="T26" fmla="*/ 33 w 76"/>
                  <a:gd name="T27" fmla="*/ 13 h 116"/>
                  <a:gd name="T28" fmla="*/ 21 w 76"/>
                  <a:gd name="T29" fmla="*/ 2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116">
                    <a:moveTo>
                      <a:pt x="24" y="13"/>
                    </a:moveTo>
                    <a:cubicBezTo>
                      <a:pt x="20" y="21"/>
                      <a:pt x="20" y="31"/>
                      <a:pt x="13" y="35"/>
                    </a:cubicBezTo>
                    <a:cubicBezTo>
                      <a:pt x="7" y="45"/>
                      <a:pt x="0" y="63"/>
                      <a:pt x="13" y="67"/>
                    </a:cubicBezTo>
                    <a:cubicBezTo>
                      <a:pt x="18" y="70"/>
                      <a:pt x="19" y="65"/>
                      <a:pt x="22" y="70"/>
                    </a:cubicBezTo>
                    <a:cubicBezTo>
                      <a:pt x="20" y="75"/>
                      <a:pt x="27" y="78"/>
                      <a:pt x="24" y="83"/>
                    </a:cubicBezTo>
                    <a:cubicBezTo>
                      <a:pt x="25" y="88"/>
                      <a:pt x="28" y="93"/>
                      <a:pt x="30" y="97"/>
                    </a:cubicBezTo>
                    <a:cubicBezTo>
                      <a:pt x="32" y="101"/>
                      <a:pt x="33" y="107"/>
                      <a:pt x="36" y="110"/>
                    </a:cubicBezTo>
                    <a:cubicBezTo>
                      <a:pt x="37" y="116"/>
                      <a:pt x="39" y="112"/>
                      <a:pt x="45" y="115"/>
                    </a:cubicBezTo>
                    <a:cubicBezTo>
                      <a:pt x="54" y="113"/>
                      <a:pt x="56" y="113"/>
                      <a:pt x="63" y="110"/>
                    </a:cubicBezTo>
                    <a:cubicBezTo>
                      <a:pt x="66" y="106"/>
                      <a:pt x="67" y="105"/>
                      <a:pt x="70" y="101"/>
                    </a:cubicBezTo>
                    <a:cubicBezTo>
                      <a:pt x="72" y="93"/>
                      <a:pt x="68" y="87"/>
                      <a:pt x="61" y="82"/>
                    </a:cubicBezTo>
                    <a:cubicBezTo>
                      <a:pt x="57" y="75"/>
                      <a:pt x="59" y="70"/>
                      <a:pt x="66" y="65"/>
                    </a:cubicBezTo>
                    <a:cubicBezTo>
                      <a:pt x="76" y="49"/>
                      <a:pt x="63" y="36"/>
                      <a:pt x="49" y="28"/>
                    </a:cubicBezTo>
                    <a:cubicBezTo>
                      <a:pt x="45" y="21"/>
                      <a:pt x="40" y="18"/>
                      <a:pt x="33" y="13"/>
                    </a:cubicBezTo>
                    <a:cubicBezTo>
                      <a:pt x="25" y="0"/>
                      <a:pt x="26" y="18"/>
                      <a:pt x="21" y="23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0" name="Freeform 408">
                <a:extLst>
                  <a:ext uri="{FF2B5EF4-FFF2-40B4-BE49-F238E27FC236}">
                    <a16:creationId xmlns:a16="http://schemas.microsoft.com/office/drawing/2014/main" id="{30FD1FDC-E599-476D-B93A-C74EECC724C0}"/>
                  </a:ext>
                </a:extLst>
              </p:cNvPr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gray">
              <a:xfrm>
                <a:off x="2371726" y="3959225"/>
                <a:ext cx="111125" cy="61913"/>
              </a:xfrm>
              <a:custGeom>
                <a:avLst/>
                <a:gdLst>
                  <a:gd name="T0" fmla="*/ 10 w 67"/>
                  <a:gd name="T1" fmla="*/ 16 h 39"/>
                  <a:gd name="T2" fmla="*/ 30 w 67"/>
                  <a:gd name="T3" fmla="*/ 2 h 39"/>
                  <a:gd name="T4" fmla="*/ 45 w 67"/>
                  <a:gd name="T5" fmla="*/ 4 h 39"/>
                  <a:gd name="T6" fmla="*/ 58 w 67"/>
                  <a:gd name="T7" fmla="*/ 13 h 39"/>
                  <a:gd name="T8" fmla="*/ 67 w 67"/>
                  <a:gd name="T9" fmla="*/ 20 h 39"/>
                  <a:gd name="T10" fmla="*/ 58 w 67"/>
                  <a:gd name="T11" fmla="*/ 34 h 39"/>
                  <a:gd name="T12" fmla="*/ 39 w 67"/>
                  <a:gd name="T13" fmla="*/ 17 h 39"/>
                  <a:gd name="T14" fmla="*/ 22 w 67"/>
                  <a:gd name="T15" fmla="*/ 25 h 39"/>
                  <a:gd name="T16" fmla="*/ 22 w 67"/>
                  <a:gd name="T17" fmla="*/ 37 h 39"/>
                  <a:gd name="T18" fmla="*/ 3 w 67"/>
                  <a:gd name="T19" fmla="*/ 35 h 39"/>
                  <a:gd name="T20" fmla="*/ 6 w 67"/>
                  <a:gd name="T21" fmla="*/ 19 h 39"/>
                  <a:gd name="T22" fmla="*/ 10 w 67"/>
                  <a:gd name="T23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39">
                    <a:moveTo>
                      <a:pt x="10" y="16"/>
                    </a:moveTo>
                    <a:cubicBezTo>
                      <a:pt x="13" y="10"/>
                      <a:pt x="24" y="4"/>
                      <a:pt x="30" y="2"/>
                    </a:cubicBezTo>
                    <a:cubicBezTo>
                      <a:pt x="36" y="0"/>
                      <a:pt x="40" y="2"/>
                      <a:pt x="45" y="4"/>
                    </a:cubicBezTo>
                    <a:cubicBezTo>
                      <a:pt x="50" y="6"/>
                      <a:pt x="54" y="10"/>
                      <a:pt x="58" y="13"/>
                    </a:cubicBezTo>
                    <a:cubicBezTo>
                      <a:pt x="62" y="16"/>
                      <a:pt x="67" y="17"/>
                      <a:pt x="67" y="20"/>
                    </a:cubicBezTo>
                    <a:cubicBezTo>
                      <a:pt x="67" y="23"/>
                      <a:pt x="63" y="34"/>
                      <a:pt x="58" y="34"/>
                    </a:cubicBezTo>
                    <a:cubicBezTo>
                      <a:pt x="53" y="34"/>
                      <a:pt x="45" y="18"/>
                      <a:pt x="39" y="17"/>
                    </a:cubicBezTo>
                    <a:cubicBezTo>
                      <a:pt x="33" y="16"/>
                      <a:pt x="25" y="22"/>
                      <a:pt x="22" y="25"/>
                    </a:cubicBezTo>
                    <a:cubicBezTo>
                      <a:pt x="19" y="28"/>
                      <a:pt x="25" y="35"/>
                      <a:pt x="22" y="37"/>
                    </a:cubicBezTo>
                    <a:cubicBezTo>
                      <a:pt x="19" y="39"/>
                      <a:pt x="6" y="38"/>
                      <a:pt x="3" y="35"/>
                    </a:cubicBezTo>
                    <a:cubicBezTo>
                      <a:pt x="0" y="32"/>
                      <a:pt x="5" y="22"/>
                      <a:pt x="6" y="19"/>
                    </a:cubicBezTo>
                    <a:cubicBezTo>
                      <a:pt x="7" y="16"/>
                      <a:pt x="9" y="17"/>
                      <a:pt x="10" y="1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2" name="Freeform 409">
                <a:extLst>
                  <a:ext uri="{FF2B5EF4-FFF2-40B4-BE49-F238E27FC236}">
                    <a16:creationId xmlns:a16="http://schemas.microsoft.com/office/drawing/2014/main" id="{C7803931-647C-4787-BD8A-0FB2D84ADE21}"/>
                  </a:ext>
                </a:extLst>
              </p:cNvPr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gray">
              <a:xfrm>
                <a:off x="2430463" y="3911600"/>
                <a:ext cx="285750" cy="349250"/>
              </a:xfrm>
              <a:custGeom>
                <a:avLst/>
                <a:gdLst>
                  <a:gd name="T0" fmla="*/ 34 w 177"/>
                  <a:gd name="T1" fmla="*/ 55 h 220"/>
                  <a:gd name="T2" fmla="*/ 52 w 177"/>
                  <a:gd name="T3" fmla="*/ 41 h 220"/>
                  <a:gd name="T4" fmla="*/ 85 w 177"/>
                  <a:gd name="T5" fmla="*/ 10 h 220"/>
                  <a:gd name="T6" fmla="*/ 101 w 177"/>
                  <a:gd name="T7" fmla="*/ 4 h 220"/>
                  <a:gd name="T8" fmla="*/ 97 w 177"/>
                  <a:gd name="T9" fmla="*/ 32 h 220"/>
                  <a:gd name="T10" fmla="*/ 110 w 177"/>
                  <a:gd name="T11" fmla="*/ 58 h 220"/>
                  <a:gd name="T12" fmla="*/ 111 w 177"/>
                  <a:gd name="T13" fmla="*/ 67 h 220"/>
                  <a:gd name="T14" fmla="*/ 124 w 177"/>
                  <a:gd name="T15" fmla="*/ 68 h 220"/>
                  <a:gd name="T16" fmla="*/ 152 w 177"/>
                  <a:gd name="T17" fmla="*/ 88 h 220"/>
                  <a:gd name="T18" fmla="*/ 172 w 177"/>
                  <a:gd name="T19" fmla="*/ 85 h 220"/>
                  <a:gd name="T20" fmla="*/ 172 w 177"/>
                  <a:gd name="T21" fmla="*/ 152 h 220"/>
                  <a:gd name="T22" fmla="*/ 143 w 177"/>
                  <a:gd name="T23" fmla="*/ 158 h 220"/>
                  <a:gd name="T24" fmla="*/ 142 w 177"/>
                  <a:gd name="T25" fmla="*/ 184 h 220"/>
                  <a:gd name="T26" fmla="*/ 124 w 177"/>
                  <a:gd name="T27" fmla="*/ 215 h 220"/>
                  <a:gd name="T28" fmla="*/ 100 w 177"/>
                  <a:gd name="T29" fmla="*/ 215 h 220"/>
                  <a:gd name="T30" fmla="*/ 88 w 177"/>
                  <a:gd name="T31" fmla="*/ 205 h 220"/>
                  <a:gd name="T32" fmla="*/ 65 w 177"/>
                  <a:gd name="T33" fmla="*/ 184 h 220"/>
                  <a:gd name="T34" fmla="*/ 44 w 177"/>
                  <a:gd name="T35" fmla="*/ 175 h 220"/>
                  <a:gd name="T36" fmla="*/ 32 w 177"/>
                  <a:gd name="T37" fmla="*/ 166 h 220"/>
                  <a:gd name="T38" fmla="*/ 5 w 177"/>
                  <a:gd name="T39" fmla="*/ 160 h 220"/>
                  <a:gd name="T40" fmla="*/ 10 w 177"/>
                  <a:gd name="T41" fmla="*/ 143 h 220"/>
                  <a:gd name="T42" fmla="*/ 22 w 177"/>
                  <a:gd name="T43" fmla="*/ 127 h 220"/>
                  <a:gd name="T44" fmla="*/ 31 w 177"/>
                  <a:gd name="T45" fmla="*/ 107 h 220"/>
                  <a:gd name="T46" fmla="*/ 29 w 177"/>
                  <a:gd name="T47" fmla="*/ 91 h 220"/>
                  <a:gd name="T48" fmla="*/ 28 w 177"/>
                  <a:gd name="T49" fmla="*/ 61 h 220"/>
                  <a:gd name="T50" fmla="*/ 34 w 177"/>
                  <a:gd name="T51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7" h="220">
                    <a:moveTo>
                      <a:pt x="34" y="55"/>
                    </a:moveTo>
                    <a:cubicBezTo>
                      <a:pt x="41" y="52"/>
                      <a:pt x="45" y="45"/>
                      <a:pt x="52" y="41"/>
                    </a:cubicBezTo>
                    <a:cubicBezTo>
                      <a:pt x="57" y="10"/>
                      <a:pt x="56" y="16"/>
                      <a:pt x="85" y="10"/>
                    </a:cubicBezTo>
                    <a:cubicBezTo>
                      <a:pt x="93" y="4"/>
                      <a:pt x="99" y="0"/>
                      <a:pt x="101" y="4"/>
                    </a:cubicBezTo>
                    <a:cubicBezTo>
                      <a:pt x="96" y="14"/>
                      <a:pt x="107" y="27"/>
                      <a:pt x="97" y="32"/>
                    </a:cubicBezTo>
                    <a:cubicBezTo>
                      <a:pt x="92" y="41"/>
                      <a:pt x="107" y="49"/>
                      <a:pt x="110" y="58"/>
                    </a:cubicBezTo>
                    <a:cubicBezTo>
                      <a:pt x="118" y="68"/>
                      <a:pt x="109" y="65"/>
                      <a:pt x="111" y="67"/>
                    </a:cubicBezTo>
                    <a:cubicBezTo>
                      <a:pt x="113" y="69"/>
                      <a:pt x="117" y="65"/>
                      <a:pt x="124" y="68"/>
                    </a:cubicBezTo>
                    <a:cubicBezTo>
                      <a:pt x="132" y="72"/>
                      <a:pt x="144" y="86"/>
                      <a:pt x="152" y="88"/>
                    </a:cubicBezTo>
                    <a:cubicBezTo>
                      <a:pt x="159" y="89"/>
                      <a:pt x="172" y="85"/>
                      <a:pt x="172" y="85"/>
                    </a:cubicBezTo>
                    <a:cubicBezTo>
                      <a:pt x="176" y="96"/>
                      <a:pt x="177" y="140"/>
                      <a:pt x="172" y="152"/>
                    </a:cubicBezTo>
                    <a:cubicBezTo>
                      <a:pt x="167" y="164"/>
                      <a:pt x="148" y="153"/>
                      <a:pt x="143" y="158"/>
                    </a:cubicBezTo>
                    <a:cubicBezTo>
                      <a:pt x="142" y="170"/>
                      <a:pt x="135" y="173"/>
                      <a:pt x="142" y="184"/>
                    </a:cubicBezTo>
                    <a:cubicBezTo>
                      <a:pt x="140" y="213"/>
                      <a:pt x="148" y="219"/>
                      <a:pt x="124" y="215"/>
                    </a:cubicBezTo>
                    <a:cubicBezTo>
                      <a:pt x="117" y="211"/>
                      <a:pt x="100" y="215"/>
                      <a:pt x="100" y="215"/>
                    </a:cubicBezTo>
                    <a:cubicBezTo>
                      <a:pt x="91" y="220"/>
                      <a:pt x="95" y="210"/>
                      <a:pt x="88" y="205"/>
                    </a:cubicBezTo>
                    <a:cubicBezTo>
                      <a:pt x="85" y="197"/>
                      <a:pt x="72" y="188"/>
                      <a:pt x="65" y="184"/>
                    </a:cubicBezTo>
                    <a:cubicBezTo>
                      <a:pt x="61" y="177"/>
                      <a:pt x="52" y="177"/>
                      <a:pt x="44" y="175"/>
                    </a:cubicBezTo>
                    <a:cubicBezTo>
                      <a:pt x="39" y="171"/>
                      <a:pt x="39" y="167"/>
                      <a:pt x="32" y="166"/>
                    </a:cubicBezTo>
                    <a:cubicBezTo>
                      <a:pt x="24" y="162"/>
                      <a:pt x="14" y="162"/>
                      <a:pt x="5" y="160"/>
                    </a:cubicBezTo>
                    <a:cubicBezTo>
                      <a:pt x="3" y="151"/>
                      <a:pt x="0" y="148"/>
                      <a:pt x="10" y="143"/>
                    </a:cubicBezTo>
                    <a:cubicBezTo>
                      <a:pt x="14" y="137"/>
                      <a:pt x="19" y="134"/>
                      <a:pt x="22" y="127"/>
                    </a:cubicBezTo>
                    <a:cubicBezTo>
                      <a:pt x="23" y="120"/>
                      <a:pt x="28" y="114"/>
                      <a:pt x="31" y="107"/>
                    </a:cubicBezTo>
                    <a:cubicBezTo>
                      <a:pt x="32" y="101"/>
                      <a:pt x="32" y="97"/>
                      <a:pt x="29" y="91"/>
                    </a:cubicBezTo>
                    <a:cubicBezTo>
                      <a:pt x="28" y="82"/>
                      <a:pt x="25" y="70"/>
                      <a:pt x="28" y="61"/>
                    </a:cubicBezTo>
                    <a:cubicBezTo>
                      <a:pt x="29" y="58"/>
                      <a:pt x="35" y="52"/>
                      <a:pt x="34" y="5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3" name="Freeform 410">
                <a:extLst>
                  <a:ext uri="{FF2B5EF4-FFF2-40B4-BE49-F238E27FC236}">
                    <a16:creationId xmlns:a16="http://schemas.microsoft.com/office/drawing/2014/main" id="{DF205219-B96C-46A1-A2EC-9863F03DB331}"/>
                  </a:ext>
                </a:extLst>
              </p:cNvPr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gray">
              <a:xfrm>
                <a:off x="2651126" y="4413250"/>
                <a:ext cx="300038" cy="320675"/>
              </a:xfrm>
              <a:custGeom>
                <a:avLst/>
                <a:gdLst>
                  <a:gd name="T0" fmla="*/ 0 w 185"/>
                  <a:gd name="T1" fmla="*/ 25 h 203"/>
                  <a:gd name="T2" fmla="*/ 26 w 185"/>
                  <a:gd name="T3" fmla="*/ 21 h 203"/>
                  <a:gd name="T4" fmla="*/ 41 w 185"/>
                  <a:gd name="T5" fmla="*/ 18 h 203"/>
                  <a:gd name="T6" fmla="*/ 46 w 185"/>
                  <a:gd name="T7" fmla="*/ 13 h 203"/>
                  <a:gd name="T8" fmla="*/ 60 w 185"/>
                  <a:gd name="T9" fmla="*/ 3 h 203"/>
                  <a:gd name="T10" fmla="*/ 71 w 185"/>
                  <a:gd name="T11" fmla="*/ 33 h 203"/>
                  <a:gd name="T12" fmla="*/ 86 w 185"/>
                  <a:gd name="T13" fmla="*/ 52 h 203"/>
                  <a:gd name="T14" fmla="*/ 105 w 185"/>
                  <a:gd name="T15" fmla="*/ 61 h 203"/>
                  <a:gd name="T16" fmla="*/ 123 w 185"/>
                  <a:gd name="T17" fmla="*/ 61 h 203"/>
                  <a:gd name="T18" fmla="*/ 138 w 185"/>
                  <a:gd name="T19" fmla="*/ 69 h 203"/>
                  <a:gd name="T20" fmla="*/ 143 w 185"/>
                  <a:gd name="T21" fmla="*/ 99 h 203"/>
                  <a:gd name="T22" fmla="*/ 161 w 185"/>
                  <a:gd name="T23" fmla="*/ 102 h 203"/>
                  <a:gd name="T24" fmla="*/ 170 w 185"/>
                  <a:gd name="T25" fmla="*/ 106 h 203"/>
                  <a:gd name="T26" fmla="*/ 183 w 185"/>
                  <a:gd name="T27" fmla="*/ 133 h 203"/>
                  <a:gd name="T28" fmla="*/ 174 w 185"/>
                  <a:gd name="T29" fmla="*/ 160 h 203"/>
                  <a:gd name="T30" fmla="*/ 119 w 185"/>
                  <a:gd name="T31" fmla="*/ 163 h 203"/>
                  <a:gd name="T32" fmla="*/ 101 w 185"/>
                  <a:gd name="T33" fmla="*/ 198 h 203"/>
                  <a:gd name="T34" fmla="*/ 79 w 185"/>
                  <a:gd name="T35" fmla="*/ 196 h 203"/>
                  <a:gd name="T36" fmla="*/ 58 w 185"/>
                  <a:gd name="T37" fmla="*/ 195 h 203"/>
                  <a:gd name="T38" fmla="*/ 44 w 185"/>
                  <a:gd name="T39" fmla="*/ 196 h 203"/>
                  <a:gd name="T40" fmla="*/ 21 w 185"/>
                  <a:gd name="T41" fmla="*/ 186 h 203"/>
                  <a:gd name="T42" fmla="*/ 17 w 185"/>
                  <a:gd name="T43" fmla="*/ 172 h 203"/>
                  <a:gd name="T44" fmla="*/ 15 w 185"/>
                  <a:gd name="T45" fmla="*/ 137 h 203"/>
                  <a:gd name="T46" fmla="*/ 9 w 185"/>
                  <a:gd name="T47" fmla="*/ 117 h 203"/>
                  <a:gd name="T48" fmla="*/ 12 w 185"/>
                  <a:gd name="T49" fmla="*/ 91 h 203"/>
                  <a:gd name="T50" fmla="*/ 15 w 185"/>
                  <a:gd name="T51" fmla="*/ 66 h 203"/>
                  <a:gd name="T52" fmla="*/ 15 w 185"/>
                  <a:gd name="T53" fmla="*/ 45 h 203"/>
                  <a:gd name="T54" fmla="*/ 8 w 185"/>
                  <a:gd name="T55" fmla="*/ 3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5" h="203">
                    <a:moveTo>
                      <a:pt x="0" y="25"/>
                    </a:moveTo>
                    <a:cubicBezTo>
                      <a:pt x="11" y="24"/>
                      <a:pt x="16" y="23"/>
                      <a:pt x="26" y="21"/>
                    </a:cubicBezTo>
                    <a:cubicBezTo>
                      <a:pt x="31" y="20"/>
                      <a:pt x="41" y="18"/>
                      <a:pt x="41" y="18"/>
                    </a:cubicBezTo>
                    <a:cubicBezTo>
                      <a:pt x="44" y="17"/>
                      <a:pt x="43" y="15"/>
                      <a:pt x="46" y="13"/>
                    </a:cubicBezTo>
                    <a:cubicBezTo>
                      <a:pt x="49" y="11"/>
                      <a:pt x="56" y="0"/>
                      <a:pt x="60" y="3"/>
                    </a:cubicBezTo>
                    <a:cubicBezTo>
                      <a:pt x="64" y="6"/>
                      <a:pt x="67" y="25"/>
                      <a:pt x="71" y="33"/>
                    </a:cubicBezTo>
                    <a:cubicBezTo>
                      <a:pt x="75" y="41"/>
                      <a:pt x="80" y="47"/>
                      <a:pt x="86" y="52"/>
                    </a:cubicBezTo>
                    <a:cubicBezTo>
                      <a:pt x="95" y="57"/>
                      <a:pt x="95" y="60"/>
                      <a:pt x="105" y="61"/>
                    </a:cubicBezTo>
                    <a:cubicBezTo>
                      <a:pt x="111" y="63"/>
                      <a:pt x="118" y="60"/>
                      <a:pt x="123" y="61"/>
                    </a:cubicBezTo>
                    <a:cubicBezTo>
                      <a:pt x="128" y="62"/>
                      <a:pt x="135" y="63"/>
                      <a:pt x="138" y="69"/>
                    </a:cubicBezTo>
                    <a:cubicBezTo>
                      <a:pt x="142" y="76"/>
                      <a:pt x="136" y="96"/>
                      <a:pt x="143" y="99"/>
                    </a:cubicBezTo>
                    <a:cubicBezTo>
                      <a:pt x="149" y="101"/>
                      <a:pt x="161" y="102"/>
                      <a:pt x="161" y="102"/>
                    </a:cubicBezTo>
                    <a:cubicBezTo>
                      <a:pt x="164" y="104"/>
                      <a:pt x="168" y="104"/>
                      <a:pt x="170" y="106"/>
                    </a:cubicBezTo>
                    <a:cubicBezTo>
                      <a:pt x="174" y="111"/>
                      <a:pt x="182" y="124"/>
                      <a:pt x="183" y="133"/>
                    </a:cubicBezTo>
                    <a:cubicBezTo>
                      <a:pt x="184" y="142"/>
                      <a:pt x="185" y="155"/>
                      <a:pt x="174" y="160"/>
                    </a:cubicBezTo>
                    <a:cubicBezTo>
                      <a:pt x="158" y="159"/>
                      <a:pt x="132" y="153"/>
                      <a:pt x="119" y="163"/>
                    </a:cubicBezTo>
                    <a:cubicBezTo>
                      <a:pt x="114" y="176"/>
                      <a:pt x="114" y="192"/>
                      <a:pt x="101" y="198"/>
                    </a:cubicBezTo>
                    <a:cubicBezTo>
                      <a:pt x="94" y="203"/>
                      <a:pt x="88" y="196"/>
                      <a:pt x="79" y="196"/>
                    </a:cubicBezTo>
                    <a:cubicBezTo>
                      <a:pt x="72" y="196"/>
                      <a:pt x="64" y="195"/>
                      <a:pt x="58" y="195"/>
                    </a:cubicBezTo>
                    <a:cubicBezTo>
                      <a:pt x="52" y="195"/>
                      <a:pt x="50" y="197"/>
                      <a:pt x="44" y="196"/>
                    </a:cubicBezTo>
                    <a:cubicBezTo>
                      <a:pt x="34" y="194"/>
                      <a:pt x="26" y="190"/>
                      <a:pt x="21" y="186"/>
                    </a:cubicBezTo>
                    <a:cubicBezTo>
                      <a:pt x="20" y="181"/>
                      <a:pt x="18" y="177"/>
                      <a:pt x="17" y="172"/>
                    </a:cubicBezTo>
                    <a:cubicBezTo>
                      <a:pt x="16" y="164"/>
                      <a:pt x="16" y="146"/>
                      <a:pt x="15" y="137"/>
                    </a:cubicBezTo>
                    <a:cubicBezTo>
                      <a:pt x="14" y="128"/>
                      <a:pt x="9" y="125"/>
                      <a:pt x="9" y="117"/>
                    </a:cubicBezTo>
                    <a:cubicBezTo>
                      <a:pt x="8" y="105"/>
                      <a:pt x="11" y="99"/>
                      <a:pt x="12" y="91"/>
                    </a:cubicBezTo>
                    <a:cubicBezTo>
                      <a:pt x="13" y="83"/>
                      <a:pt x="15" y="74"/>
                      <a:pt x="15" y="66"/>
                    </a:cubicBezTo>
                    <a:cubicBezTo>
                      <a:pt x="15" y="54"/>
                      <a:pt x="16" y="51"/>
                      <a:pt x="15" y="45"/>
                    </a:cubicBezTo>
                    <a:cubicBezTo>
                      <a:pt x="14" y="39"/>
                      <a:pt x="9" y="34"/>
                      <a:pt x="8" y="31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4" name="Freeform 411">
                <a:extLst>
                  <a:ext uri="{FF2B5EF4-FFF2-40B4-BE49-F238E27FC236}">
                    <a16:creationId xmlns:a16="http://schemas.microsoft.com/office/drawing/2014/main" id="{4BD01845-CA73-4D3D-A9F5-EE3CD996AC18}"/>
                  </a:ext>
                </a:extLst>
              </p:cNvPr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gray">
              <a:xfrm>
                <a:off x="2560638" y="4084638"/>
                <a:ext cx="946150" cy="957263"/>
              </a:xfrm>
              <a:custGeom>
                <a:avLst/>
                <a:gdLst>
                  <a:gd name="T0" fmla="*/ 313 w 584"/>
                  <a:gd name="T1" fmla="*/ 582 h 604"/>
                  <a:gd name="T2" fmla="*/ 346 w 584"/>
                  <a:gd name="T3" fmla="*/ 550 h 604"/>
                  <a:gd name="T4" fmla="*/ 376 w 584"/>
                  <a:gd name="T5" fmla="*/ 502 h 604"/>
                  <a:gd name="T6" fmla="*/ 400 w 584"/>
                  <a:gd name="T7" fmla="*/ 442 h 604"/>
                  <a:gd name="T8" fmla="*/ 445 w 584"/>
                  <a:gd name="T9" fmla="*/ 418 h 604"/>
                  <a:gd name="T10" fmla="*/ 487 w 584"/>
                  <a:gd name="T11" fmla="*/ 399 h 604"/>
                  <a:gd name="T12" fmla="*/ 508 w 584"/>
                  <a:gd name="T13" fmla="*/ 345 h 604"/>
                  <a:gd name="T14" fmla="*/ 518 w 584"/>
                  <a:gd name="T15" fmla="*/ 315 h 604"/>
                  <a:gd name="T16" fmla="*/ 550 w 584"/>
                  <a:gd name="T17" fmla="*/ 235 h 604"/>
                  <a:gd name="T18" fmla="*/ 575 w 584"/>
                  <a:gd name="T19" fmla="*/ 189 h 604"/>
                  <a:gd name="T20" fmla="*/ 515 w 584"/>
                  <a:gd name="T21" fmla="*/ 123 h 604"/>
                  <a:gd name="T22" fmla="*/ 446 w 584"/>
                  <a:gd name="T23" fmla="*/ 105 h 604"/>
                  <a:gd name="T24" fmla="*/ 371 w 584"/>
                  <a:gd name="T25" fmla="*/ 75 h 604"/>
                  <a:gd name="T26" fmla="*/ 346 w 584"/>
                  <a:gd name="T27" fmla="*/ 45 h 604"/>
                  <a:gd name="T28" fmla="*/ 331 w 584"/>
                  <a:gd name="T29" fmla="*/ 10 h 604"/>
                  <a:gd name="T30" fmla="*/ 305 w 584"/>
                  <a:gd name="T31" fmla="*/ 27 h 604"/>
                  <a:gd name="T32" fmla="*/ 274 w 584"/>
                  <a:gd name="T33" fmla="*/ 28 h 604"/>
                  <a:gd name="T34" fmla="*/ 238 w 584"/>
                  <a:gd name="T35" fmla="*/ 43 h 604"/>
                  <a:gd name="T36" fmla="*/ 208 w 584"/>
                  <a:gd name="T37" fmla="*/ 33 h 604"/>
                  <a:gd name="T38" fmla="*/ 191 w 584"/>
                  <a:gd name="T39" fmla="*/ 0 h 604"/>
                  <a:gd name="T40" fmla="*/ 143 w 584"/>
                  <a:gd name="T41" fmla="*/ 12 h 604"/>
                  <a:gd name="T42" fmla="*/ 140 w 584"/>
                  <a:gd name="T43" fmla="*/ 45 h 604"/>
                  <a:gd name="T44" fmla="*/ 113 w 584"/>
                  <a:gd name="T45" fmla="*/ 55 h 604"/>
                  <a:gd name="T46" fmla="*/ 59 w 584"/>
                  <a:gd name="T47" fmla="*/ 54 h 604"/>
                  <a:gd name="T48" fmla="*/ 56 w 584"/>
                  <a:gd name="T49" fmla="*/ 121 h 604"/>
                  <a:gd name="T50" fmla="*/ 17 w 584"/>
                  <a:gd name="T51" fmla="*/ 141 h 604"/>
                  <a:gd name="T52" fmla="*/ 4 w 584"/>
                  <a:gd name="T53" fmla="*/ 177 h 604"/>
                  <a:gd name="T54" fmla="*/ 31 w 584"/>
                  <a:gd name="T55" fmla="*/ 216 h 604"/>
                  <a:gd name="T56" fmla="*/ 91 w 584"/>
                  <a:gd name="T57" fmla="*/ 229 h 604"/>
                  <a:gd name="T58" fmla="*/ 121 w 584"/>
                  <a:gd name="T59" fmla="*/ 216 h 604"/>
                  <a:gd name="T60" fmla="*/ 157 w 584"/>
                  <a:gd name="T61" fmla="*/ 267 h 604"/>
                  <a:gd name="T62" fmla="*/ 184 w 584"/>
                  <a:gd name="T63" fmla="*/ 268 h 604"/>
                  <a:gd name="T64" fmla="*/ 221 w 584"/>
                  <a:gd name="T65" fmla="*/ 312 h 604"/>
                  <a:gd name="T66" fmla="*/ 235 w 584"/>
                  <a:gd name="T67" fmla="*/ 330 h 604"/>
                  <a:gd name="T68" fmla="*/ 232 w 584"/>
                  <a:gd name="T69" fmla="*/ 369 h 604"/>
                  <a:gd name="T70" fmla="*/ 275 w 584"/>
                  <a:gd name="T71" fmla="*/ 412 h 604"/>
                  <a:gd name="T72" fmla="*/ 281 w 584"/>
                  <a:gd name="T73" fmla="*/ 430 h 604"/>
                  <a:gd name="T74" fmla="*/ 298 w 584"/>
                  <a:gd name="T75" fmla="*/ 450 h 604"/>
                  <a:gd name="T76" fmla="*/ 256 w 584"/>
                  <a:gd name="T77" fmla="*/ 517 h 604"/>
                  <a:gd name="T78" fmla="*/ 289 w 584"/>
                  <a:gd name="T79" fmla="*/ 56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84" h="604">
                    <a:moveTo>
                      <a:pt x="305" y="604"/>
                    </a:moveTo>
                    <a:cubicBezTo>
                      <a:pt x="310" y="598"/>
                      <a:pt x="310" y="589"/>
                      <a:pt x="313" y="582"/>
                    </a:cubicBezTo>
                    <a:cubicBezTo>
                      <a:pt x="315" y="571"/>
                      <a:pt x="324" y="571"/>
                      <a:pt x="334" y="570"/>
                    </a:cubicBezTo>
                    <a:cubicBezTo>
                      <a:pt x="341" y="565"/>
                      <a:pt x="341" y="557"/>
                      <a:pt x="346" y="550"/>
                    </a:cubicBezTo>
                    <a:cubicBezTo>
                      <a:pt x="346" y="543"/>
                      <a:pt x="349" y="541"/>
                      <a:pt x="350" y="534"/>
                    </a:cubicBezTo>
                    <a:cubicBezTo>
                      <a:pt x="352" y="519"/>
                      <a:pt x="371" y="515"/>
                      <a:pt x="376" y="502"/>
                    </a:cubicBezTo>
                    <a:cubicBezTo>
                      <a:pt x="374" y="482"/>
                      <a:pt x="372" y="466"/>
                      <a:pt x="388" y="453"/>
                    </a:cubicBezTo>
                    <a:cubicBezTo>
                      <a:pt x="391" y="447"/>
                      <a:pt x="394" y="445"/>
                      <a:pt x="400" y="442"/>
                    </a:cubicBezTo>
                    <a:cubicBezTo>
                      <a:pt x="405" y="437"/>
                      <a:pt x="415" y="433"/>
                      <a:pt x="422" y="429"/>
                    </a:cubicBezTo>
                    <a:cubicBezTo>
                      <a:pt x="429" y="425"/>
                      <a:pt x="437" y="419"/>
                      <a:pt x="445" y="418"/>
                    </a:cubicBezTo>
                    <a:cubicBezTo>
                      <a:pt x="453" y="417"/>
                      <a:pt x="462" y="428"/>
                      <a:pt x="469" y="424"/>
                    </a:cubicBezTo>
                    <a:cubicBezTo>
                      <a:pt x="471" y="413"/>
                      <a:pt x="478" y="405"/>
                      <a:pt x="487" y="399"/>
                    </a:cubicBezTo>
                    <a:cubicBezTo>
                      <a:pt x="490" y="394"/>
                      <a:pt x="493" y="391"/>
                      <a:pt x="494" y="385"/>
                    </a:cubicBezTo>
                    <a:cubicBezTo>
                      <a:pt x="496" y="368"/>
                      <a:pt x="494" y="355"/>
                      <a:pt x="508" y="345"/>
                    </a:cubicBezTo>
                    <a:cubicBezTo>
                      <a:pt x="510" y="336"/>
                      <a:pt x="516" y="332"/>
                      <a:pt x="523" y="328"/>
                    </a:cubicBezTo>
                    <a:cubicBezTo>
                      <a:pt x="528" y="321"/>
                      <a:pt x="522" y="321"/>
                      <a:pt x="518" y="315"/>
                    </a:cubicBezTo>
                    <a:cubicBezTo>
                      <a:pt x="515" y="298"/>
                      <a:pt x="507" y="272"/>
                      <a:pt x="523" y="262"/>
                    </a:cubicBezTo>
                    <a:cubicBezTo>
                      <a:pt x="532" y="249"/>
                      <a:pt x="535" y="244"/>
                      <a:pt x="550" y="235"/>
                    </a:cubicBezTo>
                    <a:cubicBezTo>
                      <a:pt x="553" y="231"/>
                      <a:pt x="556" y="226"/>
                      <a:pt x="559" y="222"/>
                    </a:cubicBezTo>
                    <a:cubicBezTo>
                      <a:pt x="560" y="214"/>
                      <a:pt x="565" y="191"/>
                      <a:pt x="575" y="189"/>
                    </a:cubicBezTo>
                    <a:cubicBezTo>
                      <a:pt x="584" y="174"/>
                      <a:pt x="576" y="151"/>
                      <a:pt x="556" y="145"/>
                    </a:cubicBezTo>
                    <a:cubicBezTo>
                      <a:pt x="542" y="137"/>
                      <a:pt x="531" y="126"/>
                      <a:pt x="515" y="123"/>
                    </a:cubicBezTo>
                    <a:cubicBezTo>
                      <a:pt x="492" y="111"/>
                      <a:pt x="498" y="112"/>
                      <a:pt x="460" y="111"/>
                    </a:cubicBezTo>
                    <a:cubicBezTo>
                      <a:pt x="455" y="109"/>
                      <a:pt x="452" y="106"/>
                      <a:pt x="446" y="105"/>
                    </a:cubicBezTo>
                    <a:cubicBezTo>
                      <a:pt x="440" y="102"/>
                      <a:pt x="435" y="97"/>
                      <a:pt x="428" y="96"/>
                    </a:cubicBezTo>
                    <a:cubicBezTo>
                      <a:pt x="413" y="77"/>
                      <a:pt x="397" y="76"/>
                      <a:pt x="371" y="75"/>
                    </a:cubicBezTo>
                    <a:cubicBezTo>
                      <a:pt x="363" y="69"/>
                      <a:pt x="358" y="67"/>
                      <a:pt x="353" y="57"/>
                    </a:cubicBezTo>
                    <a:cubicBezTo>
                      <a:pt x="352" y="51"/>
                      <a:pt x="351" y="49"/>
                      <a:pt x="346" y="45"/>
                    </a:cubicBezTo>
                    <a:cubicBezTo>
                      <a:pt x="343" y="37"/>
                      <a:pt x="336" y="32"/>
                      <a:pt x="332" y="24"/>
                    </a:cubicBezTo>
                    <a:cubicBezTo>
                      <a:pt x="332" y="19"/>
                      <a:pt x="333" y="14"/>
                      <a:pt x="331" y="10"/>
                    </a:cubicBezTo>
                    <a:cubicBezTo>
                      <a:pt x="331" y="9"/>
                      <a:pt x="326" y="19"/>
                      <a:pt x="326" y="19"/>
                    </a:cubicBezTo>
                    <a:cubicBezTo>
                      <a:pt x="323" y="25"/>
                      <a:pt x="311" y="24"/>
                      <a:pt x="305" y="27"/>
                    </a:cubicBezTo>
                    <a:cubicBezTo>
                      <a:pt x="299" y="29"/>
                      <a:pt x="294" y="27"/>
                      <a:pt x="289" y="27"/>
                    </a:cubicBezTo>
                    <a:cubicBezTo>
                      <a:pt x="284" y="27"/>
                      <a:pt x="281" y="27"/>
                      <a:pt x="274" y="28"/>
                    </a:cubicBezTo>
                    <a:cubicBezTo>
                      <a:pt x="267" y="29"/>
                      <a:pt x="254" y="34"/>
                      <a:pt x="248" y="36"/>
                    </a:cubicBezTo>
                    <a:cubicBezTo>
                      <a:pt x="243" y="40"/>
                      <a:pt x="244" y="42"/>
                      <a:pt x="238" y="43"/>
                    </a:cubicBezTo>
                    <a:cubicBezTo>
                      <a:pt x="233" y="45"/>
                      <a:pt x="225" y="49"/>
                      <a:pt x="220" y="51"/>
                    </a:cubicBezTo>
                    <a:cubicBezTo>
                      <a:pt x="214" y="45"/>
                      <a:pt x="215" y="38"/>
                      <a:pt x="208" y="33"/>
                    </a:cubicBezTo>
                    <a:cubicBezTo>
                      <a:pt x="205" y="26"/>
                      <a:pt x="208" y="17"/>
                      <a:pt x="205" y="12"/>
                    </a:cubicBezTo>
                    <a:cubicBezTo>
                      <a:pt x="202" y="7"/>
                      <a:pt x="196" y="1"/>
                      <a:pt x="191" y="0"/>
                    </a:cubicBezTo>
                    <a:cubicBezTo>
                      <a:pt x="184" y="1"/>
                      <a:pt x="182" y="4"/>
                      <a:pt x="176" y="7"/>
                    </a:cubicBezTo>
                    <a:cubicBezTo>
                      <a:pt x="166" y="11"/>
                      <a:pt x="152" y="11"/>
                      <a:pt x="143" y="12"/>
                    </a:cubicBezTo>
                    <a:cubicBezTo>
                      <a:pt x="137" y="15"/>
                      <a:pt x="143" y="25"/>
                      <a:pt x="143" y="30"/>
                    </a:cubicBezTo>
                    <a:cubicBezTo>
                      <a:pt x="143" y="35"/>
                      <a:pt x="142" y="41"/>
                      <a:pt x="140" y="45"/>
                    </a:cubicBezTo>
                    <a:cubicBezTo>
                      <a:pt x="138" y="49"/>
                      <a:pt x="132" y="50"/>
                      <a:pt x="128" y="52"/>
                    </a:cubicBezTo>
                    <a:cubicBezTo>
                      <a:pt x="122" y="57"/>
                      <a:pt x="120" y="57"/>
                      <a:pt x="113" y="55"/>
                    </a:cubicBezTo>
                    <a:cubicBezTo>
                      <a:pt x="108" y="51"/>
                      <a:pt x="103" y="49"/>
                      <a:pt x="98" y="46"/>
                    </a:cubicBezTo>
                    <a:cubicBezTo>
                      <a:pt x="66" y="48"/>
                      <a:pt x="75" y="44"/>
                      <a:pt x="59" y="54"/>
                    </a:cubicBezTo>
                    <a:cubicBezTo>
                      <a:pt x="53" y="61"/>
                      <a:pt x="59" y="77"/>
                      <a:pt x="59" y="88"/>
                    </a:cubicBezTo>
                    <a:cubicBezTo>
                      <a:pt x="59" y="99"/>
                      <a:pt x="60" y="114"/>
                      <a:pt x="56" y="121"/>
                    </a:cubicBezTo>
                    <a:cubicBezTo>
                      <a:pt x="53" y="136"/>
                      <a:pt x="40" y="129"/>
                      <a:pt x="35" y="133"/>
                    </a:cubicBezTo>
                    <a:cubicBezTo>
                      <a:pt x="29" y="136"/>
                      <a:pt x="21" y="137"/>
                      <a:pt x="17" y="141"/>
                    </a:cubicBezTo>
                    <a:cubicBezTo>
                      <a:pt x="13" y="146"/>
                      <a:pt x="11" y="150"/>
                      <a:pt x="10" y="156"/>
                    </a:cubicBezTo>
                    <a:cubicBezTo>
                      <a:pt x="8" y="162"/>
                      <a:pt x="5" y="170"/>
                      <a:pt x="4" y="177"/>
                    </a:cubicBezTo>
                    <a:cubicBezTo>
                      <a:pt x="3" y="183"/>
                      <a:pt x="0" y="193"/>
                      <a:pt x="5" y="199"/>
                    </a:cubicBezTo>
                    <a:cubicBezTo>
                      <a:pt x="9" y="205"/>
                      <a:pt x="23" y="211"/>
                      <a:pt x="31" y="216"/>
                    </a:cubicBezTo>
                    <a:cubicBezTo>
                      <a:pt x="38" y="221"/>
                      <a:pt x="44" y="229"/>
                      <a:pt x="53" y="231"/>
                    </a:cubicBezTo>
                    <a:cubicBezTo>
                      <a:pt x="64" y="230"/>
                      <a:pt x="81" y="231"/>
                      <a:pt x="91" y="229"/>
                    </a:cubicBezTo>
                    <a:cubicBezTo>
                      <a:pt x="100" y="224"/>
                      <a:pt x="99" y="214"/>
                      <a:pt x="109" y="213"/>
                    </a:cubicBezTo>
                    <a:cubicBezTo>
                      <a:pt x="111" y="213"/>
                      <a:pt x="119" y="212"/>
                      <a:pt x="121" y="216"/>
                    </a:cubicBezTo>
                    <a:cubicBezTo>
                      <a:pt x="127" y="226"/>
                      <a:pt x="125" y="245"/>
                      <a:pt x="136" y="252"/>
                    </a:cubicBezTo>
                    <a:cubicBezTo>
                      <a:pt x="141" y="260"/>
                      <a:pt x="151" y="264"/>
                      <a:pt x="157" y="267"/>
                    </a:cubicBezTo>
                    <a:cubicBezTo>
                      <a:pt x="163" y="270"/>
                      <a:pt x="168" y="268"/>
                      <a:pt x="172" y="268"/>
                    </a:cubicBezTo>
                    <a:cubicBezTo>
                      <a:pt x="176" y="270"/>
                      <a:pt x="180" y="266"/>
                      <a:pt x="184" y="268"/>
                    </a:cubicBezTo>
                    <a:cubicBezTo>
                      <a:pt x="188" y="270"/>
                      <a:pt x="193" y="277"/>
                      <a:pt x="193" y="277"/>
                    </a:cubicBezTo>
                    <a:cubicBezTo>
                      <a:pt x="195" y="313"/>
                      <a:pt x="189" y="309"/>
                      <a:pt x="221" y="312"/>
                    </a:cubicBezTo>
                    <a:cubicBezTo>
                      <a:pt x="228" y="320"/>
                      <a:pt x="230" y="321"/>
                      <a:pt x="232" y="324"/>
                    </a:cubicBezTo>
                    <a:cubicBezTo>
                      <a:pt x="234" y="327"/>
                      <a:pt x="234" y="324"/>
                      <a:pt x="235" y="330"/>
                    </a:cubicBezTo>
                    <a:cubicBezTo>
                      <a:pt x="238" y="337"/>
                      <a:pt x="236" y="352"/>
                      <a:pt x="236" y="358"/>
                    </a:cubicBezTo>
                    <a:cubicBezTo>
                      <a:pt x="236" y="364"/>
                      <a:pt x="231" y="361"/>
                      <a:pt x="232" y="369"/>
                    </a:cubicBezTo>
                    <a:cubicBezTo>
                      <a:pt x="234" y="400"/>
                      <a:pt x="224" y="406"/>
                      <a:pt x="245" y="409"/>
                    </a:cubicBezTo>
                    <a:cubicBezTo>
                      <a:pt x="254" y="413"/>
                      <a:pt x="266" y="407"/>
                      <a:pt x="275" y="412"/>
                    </a:cubicBezTo>
                    <a:cubicBezTo>
                      <a:pt x="279" y="415"/>
                      <a:pt x="275" y="422"/>
                      <a:pt x="277" y="427"/>
                    </a:cubicBezTo>
                    <a:cubicBezTo>
                      <a:pt x="278" y="429"/>
                      <a:pt x="279" y="429"/>
                      <a:pt x="281" y="430"/>
                    </a:cubicBezTo>
                    <a:cubicBezTo>
                      <a:pt x="284" y="431"/>
                      <a:pt x="286" y="431"/>
                      <a:pt x="289" y="432"/>
                    </a:cubicBezTo>
                    <a:cubicBezTo>
                      <a:pt x="290" y="435"/>
                      <a:pt x="298" y="442"/>
                      <a:pt x="298" y="450"/>
                    </a:cubicBezTo>
                    <a:cubicBezTo>
                      <a:pt x="298" y="458"/>
                      <a:pt x="294" y="467"/>
                      <a:pt x="287" y="478"/>
                    </a:cubicBezTo>
                    <a:cubicBezTo>
                      <a:pt x="281" y="486"/>
                      <a:pt x="264" y="506"/>
                      <a:pt x="256" y="517"/>
                    </a:cubicBezTo>
                    <a:cubicBezTo>
                      <a:pt x="255" y="523"/>
                      <a:pt x="250" y="526"/>
                      <a:pt x="253" y="532"/>
                    </a:cubicBezTo>
                    <a:cubicBezTo>
                      <a:pt x="254" y="535"/>
                      <a:pt x="284" y="561"/>
                      <a:pt x="289" y="564"/>
                    </a:cubicBezTo>
                    <a:cubicBezTo>
                      <a:pt x="293" y="569"/>
                      <a:pt x="298" y="572"/>
                      <a:pt x="302" y="577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5" name="Freeform 412">
                <a:extLst>
                  <a:ext uri="{FF2B5EF4-FFF2-40B4-BE49-F238E27FC236}">
                    <a16:creationId xmlns:a16="http://schemas.microsoft.com/office/drawing/2014/main" id="{3E93814E-30AC-4C26-878A-72B6886BA1B0}"/>
                  </a:ext>
                </a:extLst>
              </p:cNvPr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gray">
              <a:xfrm>
                <a:off x="2370138" y="4186238"/>
                <a:ext cx="307975" cy="444500"/>
              </a:xfrm>
              <a:custGeom>
                <a:avLst/>
                <a:gdLst>
                  <a:gd name="T0" fmla="*/ 20 w 189"/>
                  <a:gd name="T1" fmla="*/ 66 h 280"/>
                  <a:gd name="T2" fmla="*/ 17 w 189"/>
                  <a:gd name="T3" fmla="*/ 98 h 280"/>
                  <a:gd name="T4" fmla="*/ 31 w 189"/>
                  <a:gd name="T5" fmla="*/ 113 h 280"/>
                  <a:gd name="T6" fmla="*/ 40 w 189"/>
                  <a:gd name="T7" fmla="*/ 126 h 280"/>
                  <a:gd name="T8" fmla="*/ 52 w 189"/>
                  <a:gd name="T9" fmla="*/ 156 h 280"/>
                  <a:gd name="T10" fmla="*/ 58 w 189"/>
                  <a:gd name="T11" fmla="*/ 177 h 280"/>
                  <a:gd name="T12" fmla="*/ 79 w 189"/>
                  <a:gd name="T13" fmla="*/ 195 h 280"/>
                  <a:gd name="T14" fmla="*/ 85 w 189"/>
                  <a:gd name="T15" fmla="*/ 213 h 280"/>
                  <a:gd name="T16" fmla="*/ 109 w 189"/>
                  <a:gd name="T17" fmla="*/ 240 h 280"/>
                  <a:gd name="T18" fmla="*/ 124 w 189"/>
                  <a:gd name="T19" fmla="*/ 246 h 280"/>
                  <a:gd name="T20" fmla="*/ 148 w 189"/>
                  <a:gd name="T21" fmla="*/ 258 h 280"/>
                  <a:gd name="T22" fmla="*/ 163 w 189"/>
                  <a:gd name="T23" fmla="*/ 270 h 280"/>
                  <a:gd name="T24" fmla="*/ 182 w 189"/>
                  <a:gd name="T25" fmla="*/ 255 h 280"/>
                  <a:gd name="T26" fmla="*/ 187 w 189"/>
                  <a:gd name="T27" fmla="*/ 185 h 280"/>
                  <a:gd name="T28" fmla="*/ 167 w 189"/>
                  <a:gd name="T29" fmla="*/ 168 h 280"/>
                  <a:gd name="T30" fmla="*/ 142 w 189"/>
                  <a:gd name="T31" fmla="*/ 150 h 280"/>
                  <a:gd name="T32" fmla="*/ 130 w 189"/>
                  <a:gd name="T33" fmla="*/ 143 h 280"/>
                  <a:gd name="T34" fmla="*/ 119 w 189"/>
                  <a:gd name="T35" fmla="*/ 129 h 280"/>
                  <a:gd name="T36" fmla="*/ 127 w 189"/>
                  <a:gd name="T37" fmla="*/ 96 h 280"/>
                  <a:gd name="T38" fmla="*/ 142 w 189"/>
                  <a:gd name="T39" fmla="*/ 74 h 280"/>
                  <a:gd name="T40" fmla="*/ 163 w 189"/>
                  <a:gd name="T41" fmla="*/ 68 h 280"/>
                  <a:gd name="T42" fmla="*/ 175 w 189"/>
                  <a:gd name="T43" fmla="*/ 53 h 280"/>
                  <a:gd name="T44" fmla="*/ 136 w 189"/>
                  <a:gd name="T45" fmla="*/ 42 h 280"/>
                  <a:gd name="T46" fmla="*/ 104 w 189"/>
                  <a:gd name="T47" fmla="*/ 12 h 280"/>
                  <a:gd name="T48" fmla="*/ 82 w 189"/>
                  <a:gd name="T49" fmla="*/ 0 h 280"/>
                  <a:gd name="T50" fmla="*/ 94 w 189"/>
                  <a:gd name="T51" fmla="*/ 21 h 280"/>
                  <a:gd name="T52" fmla="*/ 80 w 189"/>
                  <a:gd name="T53" fmla="*/ 39 h 280"/>
                  <a:gd name="T54" fmla="*/ 62 w 189"/>
                  <a:gd name="T55" fmla="*/ 44 h 280"/>
                  <a:gd name="T56" fmla="*/ 50 w 189"/>
                  <a:gd name="T57" fmla="*/ 54 h 280"/>
                  <a:gd name="T58" fmla="*/ 38 w 189"/>
                  <a:gd name="T59" fmla="*/ 78 h 280"/>
                  <a:gd name="T60" fmla="*/ 14 w 189"/>
                  <a:gd name="T61" fmla="*/ 66 h 280"/>
                  <a:gd name="T62" fmla="*/ 20 w 189"/>
                  <a:gd name="T63" fmla="*/ 66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9" h="280">
                    <a:moveTo>
                      <a:pt x="20" y="66"/>
                    </a:moveTo>
                    <a:cubicBezTo>
                      <a:pt x="0" y="56"/>
                      <a:pt x="6" y="92"/>
                      <a:pt x="17" y="98"/>
                    </a:cubicBezTo>
                    <a:cubicBezTo>
                      <a:pt x="21" y="103"/>
                      <a:pt x="26" y="110"/>
                      <a:pt x="31" y="113"/>
                    </a:cubicBezTo>
                    <a:cubicBezTo>
                      <a:pt x="39" y="123"/>
                      <a:pt x="36" y="119"/>
                      <a:pt x="40" y="126"/>
                    </a:cubicBezTo>
                    <a:cubicBezTo>
                      <a:pt x="42" y="138"/>
                      <a:pt x="43" y="147"/>
                      <a:pt x="52" y="156"/>
                    </a:cubicBezTo>
                    <a:cubicBezTo>
                      <a:pt x="53" y="166"/>
                      <a:pt x="52" y="170"/>
                      <a:pt x="58" y="177"/>
                    </a:cubicBezTo>
                    <a:cubicBezTo>
                      <a:pt x="60" y="190"/>
                      <a:pt x="66" y="193"/>
                      <a:pt x="79" y="195"/>
                    </a:cubicBezTo>
                    <a:cubicBezTo>
                      <a:pt x="80" y="201"/>
                      <a:pt x="82" y="207"/>
                      <a:pt x="85" y="213"/>
                    </a:cubicBezTo>
                    <a:cubicBezTo>
                      <a:pt x="87" y="227"/>
                      <a:pt x="95" y="237"/>
                      <a:pt x="109" y="240"/>
                    </a:cubicBezTo>
                    <a:cubicBezTo>
                      <a:pt x="114" y="244"/>
                      <a:pt x="118" y="245"/>
                      <a:pt x="124" y="246"/>
                    </a:cubicBezTo>
                    <a:cubicBezTo>
                      <a:pt x="130" y="251"/>
                      <a:pt x="140" y="256"/>
                      <a:pt x="148" y="258"/>
                    </a:cubicBezTo>
                    <a:cubicBezTo>
                      <a:pt x="155" y="263"/>
                      <a:pt x="154" y="268"/>
                      <a:pt x="163" y="270"/>
                    </a:cubicBezTo>
                    <a:cubicBezTo>
                      <a:pt x="176" y="280"/>
                      <a:pt x="180" y="265"/>
                      <a:pt x="182" y="255"/>
                    </a:cubicBezTo>
                    <a:cubicBezTo>
                      <a:pt x="186" y="241"/>
                      <a:pt x="189" y="199"/>
                      <a:pt x="187" y="185"/>
                    </a:cubicBezTo>
                    <a:cubicBezTo>
                      <a:pt x="185" y="171"/>
                      <a:pt x="174" y="174"/>
                      <a:pt x="167" y="168"/>
                    </a:cubicBezTo>
                    <a:cubicBezTo>
                      <a:pt x="160" y="151"/>
                      <a:pt x="150" y="157"/>
                      <a:pt x="142" y="150"/>
                    </a:cubicBezTo>
                    <a:cubicBezTo>
                      <a:pt x="136" y="145"/>
                      <a:pt x="134" y="146"/>
                      <a:pt x="130" y="143"/>
                    </a:cubicBezTo>
                    <a:cubicBezTo>
                      <a:pt x="126" y="140"/>
                      <a:pt x="119" y="137"/>
                      <a:pt x="119" y="129"/>
                    </a:cubicBezTo>
                    <a:cubicBezTo>
                      <a:pt x="117" y="115"/>
                      <a:pt x="120" y="108"/>
                      <a:pt x="127" y="96"/>
                    </a:cubicBezTo>
                    <a:cubicBezTo>
                      <a:pt x="128" y="83"/>
                      <a:pt x="128" y="76"/>
                      <a:pt x="142" y="74"/>
                    </a:cubicBezTo>
                    <a:cubicBezTo>
                      <a:pt x="149" y="72"/>
                      <a:pt x="156" y="69"/>
                      <a:pt x="163" y="68"/>
                    </a:cubicBezTo>
                    <a:cubicBezTo>
                      <a:pt x="169" y="65"/>
                      <a:pt x="172" y="59"/>
                      <a:pt x="175" y="53"/>
                    </a:cubicBezTo>
                    <a:cubicBezTo>
                      <a:pt x="169" y="38"/>
                      <a:pt x="149" y="43"/>
                      <a:pt x="136" y="42"/>
                    </a:cubicBezTo>
                    <a:cubicBezTo>
                      <a:pt x="124" y="35"/>
                      <a:pt x="117" y="20"/>
                      <a:pt x="104" y="12"/>
                    </a:cubicBezTo>
                    <a:cubicBezTo>
                      <a:pt x="100" y="7"/>
                      <a:pt x="87" y="4"/>
                      <a:pt x="82" y="0"/>
                    </a:cubicBezTo>
                    <a:cubicBezTo>
                      <a:pt x="79" y="2"/>
                      <a:pt x="94" y="15"/>
                      <a:pt x="94" y="21"/>
                    </a:cubicBezTo>
                    <a:cubicBezTo>
                      <a:pt x="94" y="27"/>
                      <a:pt x="85" y="35"/>
                      <a:pt x="80" y="39"/>
                    </a:cubicBezTo>
                    <a:cubicBezTo>
                      <a:pt x="74" y="42"/>
                      <a:pt x="68" y="42"/>
                      <a:pt x="62" y="44"/>
                    </a:cubicBezTo>
                    <a:cubicBezTo>
                      <a:pt x="57" y="47"/>
                      <a:pt x="55" y="51"/>
                      <a:pt x="50" y="54"/>
                    </a:cubicBezTo>
                    <a:cubicBezTo>
                      <a:pt x="48" y="62"/>
                      <a:pt x="45" y="77"/>
                      <a:pt x="38" y="78"/>
                    </a:cubicBezTo>
                    <a:cubicBezTo>
                      <a:pt x="35" y="77"/>
                      <a:pt x="14" y="67"/>
                      <a:pt x="14" y="66"/>
                    </a:cubicBezTo>
                    <a:cubicBezTo>
                      <a:pt x="15" y="64"/>
                      <a:pt x="18" y="66"/>
                      <a:pt x="20" y="66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6" name="Freeform 413">
                <a:extLst>
                  <a:ext uri="{FF2B5EF4-FFF2-40B4-BE49-F238E27FC236}">
                    <a16:creationId xmlns:a16="http://schemas.microsoft.com/office/drawing/2014/main" id="{1499D81E-02A7-4E5F-975C-FA413380A171}"/>
                  </a:ext>
                </a:extLst>
              </p:cNvPr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gray">
              <a:xfrm>
                <a:off x="2382838" y="4167188"/>
                <a:ext cx="134938" cy="147638"/>
              </a:xfrm>
              <a:custGeom>
                <a:avLst/>
                <a:gdLst>
                  <a:gd name="T0" fmla="*/ 30 w 84"/>
                  <a:gd name="T1" fmla="*/ 0 h 94"/>
                  <a:gd name="T2" fmla="*/ 12 w 84"/>
                  <a:gd name="T3" fmla="*/ 18 h 94"/>
                  <a:gd name="T4" fmla="*/ 4 w 84"/>
                  <a:gd name="T5" fmla="*/ 38 h 94"/>
                  <a:gd name="T6" fmla="*/ 19 w 84"/>
                  <a:gd name="T7" fmla="*/ 51 h 94"/>
                  <a:gd name="T8" fmla="*/ 16 w 84"/>
                  <a:gd name="T9" fmla="*/ 74 h 94"/>
                  <a:gd name="T10" fmla="*/ 19 w 84"/>
                  <a:gd name="T11" fmla="*/ 84 h 94"/>
                  <a:gd name="T12" fmla="*/ 36 w 84"/>
                  <a:gd name="T13" fmla="*/ 87 h 94"/>
                  <a:gd name="T14" fmla="*/ 42 w 84"/>
                  <a:gd name="T15" fmla="*/ 72 h 94"/>
                  <a:gd name="T16" fmla="*/ 72 w 84"/>
                  <a:gd name="T17" fmla="*/ 50 h 94"/>
                  <a:gd name="T18" fmla="*/ 84 w 84"/>
                  <a:gd name="T19" fmla="*/ 35 h 94"/>
                  <a:gd name="T20" fmla="*/ 51 w 84"/>
                  <a:gd name="T21" fmla="*/ 0 h 94"/>
                  <a:gd name="T22" fmla="*/ 30 w 84"/>
                  <a:gd name="T2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4" h="94">
                    <a:moveTo>
                      <a:pt x="30" y="0"/>
                    </a:moveTo>
                    <a:cubicBezTo>
                      <a:pt x="20" y="4"/>
                      <a:pt x="20" y="12"/>
                      <a:pt x="12" y="18"/>
                    </a:cubicBezTo>
                    <a:cubicBezTo>
                      <a:pt x="9" y="25"/>
                      <a:pt x="7" y="31"/>
                      <a:pt x="4" y="38"/>
                    </a:cubicBezTo>
                    <a:cubicBezTo>
                      <a:pt x="0" y="61"/>
                      <a:pt x="4" y="62"/>
                      <a:pt x="19" y="51"/>
                    </a:cubicBezTo>
                    <a:cubicBezTo>
                      <a:pt x="22" y="59"/>
                      <a:pt x="20" y="67"/>
                      <a:pt x="16" y="74"/>
                    </a:cubicBezTo>
                    <a:cubicBezTo>
                      <a:pt x="14" y="84"/>
                      <a:pt x="12" y="79"/>
                      <a:pt x="19" y="84"/>
                    </a:cubicBezTo>
                    <a:cubicBezTo>
                      <a:pt x="21" y="89"/>
                      <a:pt x="27" y="94"/>
                      <a:pt x="36" y="87"/>
                    </a:cubicBezTo>
                    <a:cubicBezTo>
                      <a:pt x="37" y="87"/>
                      <a:pt x="41" y="74"/>
                      <a:pt x="42" y="72"/>
                    </a:cubicBezTo>
                    <a:cubicBezTo>
                      <a:pt x="49" y="62"/>
                      <a:pt x="60" y="52"/>
                      <a:pt x="72" y="50"/>
                    </a:cubicBezTo>
                    <a:cubicBezTo>
                      <a:pt x="79" y="47"/>
                      <a:pt x="80" y="41"/>
                      <a:pt x="84" y="35"/>
                    </a:cubicBezTo>
                    <a:cubicBezTo>
                      <a:pt x="81" y="17"/>
                      <a:pt x="66" y="8"/>
                      <a:pt x="51" y="0"/>
                    </a:cubicBezTo>
                    <a:cubicBezTo>
                      <a:pt x="47" y="1"/>
                      <a:pt x="32" y="6"/>
                      <a:pt x="30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7" name="Freeform 414">
                <a:extLst>
                  <a:ext uri="{FF2B5EF4-FFF2-40B4-BE49-F238E27FC236}">
                    <a16:creationId xmlns:a16="http://schemas.microsoft.com/office/drawing/2014/main" id="{B7255441-9124-491C-AB17-70E69631EE56}"/>
                  </a:ext>
                </a:extLst>
              </p:cNvPr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gray">
              <a:xfrm>
                <a:off x="2930526" y="4922838"/>
                <a:ext cx="131763" cy="134938"/>
              </a:xfrm>
              <a:custGeom>
                <a:avLst/>
                <a:gdLst>
                  <a:gd name="T0" fmla="*/ 23 w 82"/>
                  <a:gd name="T1" fmla="*/ 0 h 84"/>
                  <a:gd name="T2" fmla="*/ 59 w 82"/>
                  <a:gd name="T3" fmla="*/ 30 h 84"/>
                  <a:gd name="T4" fmla="*/ 67 w 82"/>
                  <a:gd name="T5" fmla="*/ 38 h 84"/>
                  <a:gd name="T6" fmla="*/ 76 w 82"/>
                  <a:gd name="T7" fmla="*/ 51 h 84"/>
                  <a:gd name="T8" fmla="*/ 58 w 82"/>
                  <a:gd name="T9" fmla="*/ 84 h 84"/>
                  <a:gd name="T10" fmla="*/ 26 w 82"/>
                  <a:gd name="T11" fmla="*/ 83 h 84"/>
                  <a:gd name="T12" fmla="*/ 5 w 82"/>
                  <a:gd name="T13" fmla="*/ 74 h 84"/>
                  <a:gd name="T14" fmla="*/ 2 w 82"/>
                  <a:gd name="T15" fmla="*/ 48 h 84"/>
                  <a:gd name="T16" fmla="*/ 4 w 82"/>
                  <a:gd name="T17" fmla="*/ 20 h 84"/>
                  <a:gd name="T18" fmla="*/ 23 w 82"/>
                  <a:gd name="T1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2" h="84">
                    <a:moveTo>
                      <a:pt x="23" y="0"/>
                    </a:moveTo>
                    <a:cubicBezTo>
                      <a:pt x="31" y="10"/>
                      <a:pt x="48" y="23"/>
                      <a:pt x="59" y="30"/>
                    </a:cubicBezTo>
                    <a:cubicBezTo>
                      <a:pt x="64" y="36"/>
                      <a:pt x="61" y="34"/>
                      <a:pt x="67" y="38"/>
                    </a:cubicBezTo>
                    <a:cubicBezTo>
                      <a:pt x="71" y="45"/>
                      <a:pt x="72" y="44"/>
                      <a:pt x="76" y="51"/>
                    </a:cubicBezTo>
                    <a:cubicBezTo>
                      <a:pt x="80" y="77"/>
                      <a:pt x="82" y="82"/>
                      <a:pt x="58" y="84"/>
                    </a:cubicBezTo>
                    <a:cubicBezTo>
                      <a:pt x="47" y="84"/>
                      <a:pt x="37" y="84"/>
                      <a:pt x="26" y="83"/>
                    </a:cubicBezTo>
                    <a:cubicBezTo>
                      <a:pt x="19" y="82"/>
                      <a:pt x="13" y="75"/>
                      <a:pt x="5" y="74"/>
                    </a:cubicBezTo>
                    <a:cubicBezTo>
                      <a:pt x="0" y="67"/>
                      <a:pt x="2" y="57"/>
                      <a:pt x="2" y="48"/>
                    </a:cubicBezTo>
                    <a:cubicBezTo>
                      <a:pt x="2" y="39"/>
                      <a:pt x="1" y="28"/>
                      <a:pt x="4" y="20"/>
                    </a:cubicBezTo>
                    <a:cubicBezTo>
                      <a:pt x="7" y="12"/>
                      <a:pt x="20" y="4"/>
                      <a:pt x="23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8" name="Freeform 416">
                <a:extLst>
                  <a:ext uri="{FF2B5EF4-FFF2-40B4-BE49-F238E27FC236}">
                    <a16:creationId xmlns:a16="http://schemas.microsoft.com/office/drawing/2014/main" id="{2CE4510C-15E4-4841-A0B3-A82CE562FDD0}"/>
                  </a:ext>
                </a:extLst>
              </p:cNvPr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gray">
              <a:xfrm>
                <a:off x="2116138" y="3754438"/>
                <a:ext cx="92075" cy="109538"/>
              </a:xfrm>
              <a:custGeom>
                <a:avLst/>
                <a:gdLst>
                  <a:gd name="T0" fmla="*/ 1 w 57"/>
                  <a:gd name="T1" fmla="*/ 58 h 69"/>
                  <a:gd name="T2" fmla="*/ 15 w 57"/>
                  <a:gd name="T3" fmla="*/ 68 h 69"/>
                  <a:gd name="T4" fmla="*/ 34 w 57"/>
                  <a:gd name="T5" fmla="*/ 65 h 69"/>
                  <a:gd name="T6" fmla="*/ 52 w 57"/>
                  <a:gd name="T7" fmla="*/ 49 h 69"/>
                  <a:gd name="T8" fmla="*/ 46 w 57"/>
                  <a:gd name="T9" fmla="*/ 40 h 69"/>
                  <a:gd name="T10" fmla="*/ 52 w 57"/>
                  <a:gd name="T11" fmla="*/ 20 h 69"/>
                  <a:gd name="T12" fmla="*/ 57 w 57"/>
                  <a:gd name="T13" fmla="*/ 2 h 69"/>
                  <a:gd name="T14" fmla="*/ 49 w 57"/>
                  <a:gd name="T15" fmla="*/ 7 h 69"/>
                  <a:gd name="T16" fmla="*/ 25 w 57"/>
                  <a:gd name="T17" fmla="*/ 7 h 69"/>
                  <a:gd name="T18" fmla="*/ 27 w 57"/>
                  <a:gd name="T19" fmla="*/ 22 h 69"/>
                  <a:gd name="T20" fmla="*/ 37 w 57"/>
                  <a:gd name="T21" fmla="*/ 34 h 69"/>
                  <a:gd name="T22" fmla="*/ 15 w 57"/>
                  <a:gd name="T23" fmla="*/ 35 h 69"/>
                  <a:gd name="T24" fmla="*/ 6 w 57"/>
                  <a:gd name="T25" fmla="*/ 46 h 69"/>
                  <a:gd name="T26" fmla="*/ 1 w 57"/>
                  <a:gd name="T27" fmla="*/ 5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69">
                    <a:moveTo>
                      <a:pt x="1" y="58"/>
                    </a:moveTo>
                    <a:cubicBezTo>
                      <a:pt x="2" y="62"/>
                      <a:pt x="10" y="67"/>
                      <a:pt x="15" y="68"/>
                    </a:cubicBezTo>
                    <a:cubicBezTo>
                      <a:pt x="20" y="69"/>
                      <a:pt x="28" y="68"/>
                      <a:pt x="34" y="65"/>
                    </a:cubicBezTo>
                    <a:cubicBezTo>
                      <a:pt x="40" y="62"/>
                      <a:pt x="50" y="53"/>
                      <a:pt x="52" y="49"/>
                    </a:cubicBezTo>
                    <a:cubicBezTo>
                      <a:pt x="54" y="45"/>
                      <a:pt x="46" y="45"/>
                      <a:pt x="46" y="40"/>
                    </a:cubicBezTo>
                    <a:cubicBezTo>
                      <a:pt x="46" y="35"/>
                      <a:pt x="50" y="26"/>
                      <a:pt x="52" y="20"/>
                    </a:cubicBezTo>
                    <a:cubicBezTo>
                      <a:pt x="54" y="14"/>
                      <a:pt x="57" y="4"/>
                      <a:pt x="57" y="2"/>
                    </a:cubicBezTo>
                    <a:cubicBezTo>
                      <a:pt x="57" y="0"/>
                      <a:pt x="54" y="6"/>
                      <a:pt x="49" y="7"/>
                    </a:cubicBezTo>
                    <a:cubicBezTo>
                      <a:pt x="44" y="8"/>
                      <a:pt x="29" y="5"/>
                      <a:pt x="25" y="7"/>
                    </a:cubicBezTo>
                    <a:cubicBezTo>
                      <a:pt x="21" y="9"/>
                      <a:pt x="25" y="18"/>
                      <a:pt x="27" y="22"/>
                    </a:cubicBezTo>
                    <a:cubicBezTo>
                      <a:pt x="29" y="26"/>
                      <a:pt x="39" y="32"/>
                      <a:pt x="37" y="34"/>
                    </a:cubicBezTo>
                    <a:cubicBezTo>
                      <a:pt x="35" y="36"/>
                      <a:pt x="20" y="33"/>
                      <a:pt x="15" y="35"/>
                    </a:cubicBezTo>
                    <a:cubicBezTo>
                      <a:pt x="10" y="37"/>
                      <a:pt x="8" y="42"/>
                      <a:pt x="6" y="46"/>
                    </a:cubicBezTo>
                    <a:cubicBezTo>
                      <a:pt x="4" y="50"/>
                      <a:pt x="0" y="54"/>
                      <a:pt x="1" y="58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399" name="Freeform 417">
                <a:extLst>
                  <a:ext uri="{FF2B5EF4-FFF2-40B4-BE49-F238E27FC236}">
                    <a16:creationId xmlns:a16="http://schemas.microsoft.com/office/drawing/2014/main" id="{FFDC09DA-4476-47C8-A6D7-A1945F15D6E1}"/>
                  </a:ext>
                </a:extLst>
              </p:cNvPr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gray">
              <a:xfrm>
                <a:off x="2193926" y="3798888"/>
                <a:ext cx="144463" cy="84138"/>
              </a:xfrm>
              <a:custGeom>
                <a:avLst/>
                <a:gdLst>
                  <a:gd name="T0" fmla="*/ 3 w 89"/>
                  <a:gd name="T1" fmla="*/ 34 h 53"/>
                  <a:gd name="T2" fmla="*/ 18 w 89"/>
                  <a:gd name="T3" fmla="*/ 42 h 53"/>
                  <a:gd name="T4" fmla="*/ 25 w 89"/>
                  <a:gd name="T5" fmla="*/ 52 h 53"/>
                  <a:gd name="T6" fmla="*/ 46 w 89"/>
                  <a:gd name="T7" fmla="*/ 39 h 53"/>
                  <a:gd name="T8" fmla="*/ 66 w 89"/>
                  <a:gd name="T9" fmla="*/ 30 h 53"/>
                  <a:gd name="T10" fmla="*/ 87 w 89"/>
                  <a:gd name="T11" fmla="*/ 28 h 53"/>
                  <a:gd name="T12" fmla="*/ 78 w 89"/>
                  <a:gd name="T13" fmla="*/ 7 h 53"/>
                  <a:gd name="T14" fmla="*/ 63 w 89"/>
                  <a:gd name="T15" fmla="*/ 7 h 53"/>
                  <a:gd name="T16" fmla="*/ 40 w 89"/>
                  <a:gd name="T17" fmla="*/ 1 h 53"/>
                  <a:gd name="T18" fmla="*/ 24 w 89"/>
                  <a:gd name="T19" fmla="*/ 12 h 53"/>
                  <a:gd name="T20" fmla="*/ 9 w 89"/>
                  <a:gd name="T21" fmla="*/ 12 h 53"/>
                  <a:gd name="T22" fmla="*/ 1 w 89"/>
                  <a:gd name="T23" fmla="*/ 22 h 53"/>
                  <a:gd name="T24" fmla="*/ 3 w 89"/>
                  <a:gd name="T25" fmla="*/ 34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" h="53">
                    <a:moveTo>
                      <a:pt x="3" y="34"/>
                    </a:moveTo>
                    <a:cubicBezTo>
                      <a:pt x="6" y="37"/>
                      <a:pt x="14" y="39"/>
                      <a:pt x="18" y="42"/>
                    </a:cubicBezTo>
                    <a:cubicBezTo>
                      <a:pt x="22" y="45"/>
                      <a:pt x="20" y="53"/>
                      <a:pt x="25" y="52"/>
                    </a:cubicBezTo>
                    <a:cubicBezTo>
                      <a:pt x="30" y="51"/>
                      <a:pt x="39" y="43"/>
                      <a:pt x="46" y="39"/>
                    </a:cubicBezTo>
                    <a:cubicBezTo>
                      <a:pt x="53" y="35"/>
                      <a:pt x="59" y="32"/>
                      <a:pt x="66" y="30"/>
                    </a:cubicBezTo>
                    <a:cubicBezTo>
                      <a:pt x="73" y="28"/>
                      <a:pt x="85" y="32"/>
                      <a:pt x="87" y="28"/>
                    </a:cubicBezTo>
                    <a:cubicBezTo>
                      <a:pt x="89" y="24"/>
                      <a:pt x="82" y="10"/>
                      <a:pt x="78" y="7"/>
                    </a:cubicBezTo>
                    <a:cubicBezTo>
                      <a:pt x="74" y="4"/>
                      <a:pt x="69" y="8"/>
                      <a:pt x="63" y="7"/>
                    </a:cubicBezTo>
                    <a:cubicBezTo>
                      <a:pt x="57" y="6"/>
                      <a:pt x="46" y="0"/>
                      <a:pt x="40" y="1"/>
                    </a:cubicBezTo>
                    <a:cubicBezTo>
                      <a:pt x="34" y="2"/>
                      <a:pt x="29" y="10"/>
                      <a:pt x="24" y="12"/>
                    </a:cubicBezTo>
                    <a:cubicBezTo>
                      <a:pt x="19" y="14"/>
                      <a:pt x="13" y="10"/>
                      <a:pt x="9" y="12"/>
                    </a:cubicBezTo>
                    <a:cubicBezTo>
                      <a:pt x="5" y="14"/>
                      <a:pt x="2" y="18"/>
                      <a:pt x="1" y="22"/>
                    </a:cubicBezTo>
                    <a:cubicBezTo>
                      <a:pt x="0" y="26"/>
                      <a:pt x="1" y="30"/>
                      <a:pt x="3" y="3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0" name="Freeform 418">
                <a:extLst>
                  <a:ext uri="{FF2B5EF4-FFF2-40B4-BE49-F238E27FC236}">
                    <a16:creationId xmlns:a16="http://schemas.microsoft.com/office/drawing/2014/main" id="{72AA007F-E04D-42A3-97A9-ACE1074886FA}"/>
                  </a:ext>
                </a:extLst>
              </p:cNvPr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gray">
              <a:xfrm>
                <a:off x="2157413" y="3851275"/>
                <a:ext cx="80963" cy="53975"/>
              </a:xfrm>
              <a:custGeom>
                <a:avLst/>
                <a:gdLst>
                  <a:gd name="T0" fmla="*/ 13 w 50"/>
                  <a:gd name="T1" fmla="*/ 0 h 34"/>
                  <a:gd name="T2" fmla="*/ 1 w 50"/>
                  <a:gd name="T3" fmla="*/ 16 h 34"/>
                  <a:gd name="T4" fmla="*/ 10 w 50"/>
                  <a:gd name="T5" fmla="*/ 24 h 34"/>
                  <a:gd name="T6" fmla="*/ 32 w 50"/>
                  <a:gd name="T7" fmla="*/ 27 h 34"/>
                  <a:gd name="T8" fmla="*/ 44 w 50"/>
                  <a:gd name="T9" fmla="*/ 33 h 34"/>
                  <a:gd name="T10" fmla="*/ 49 w 50"/>
                  <a:gd name="T11" fmla="*/ 22 h 34"/>
                  <a:gd name="T12" fmla="*/ 38 w 50"/>
                  <a:gd name="T13" fmla="*/ 12 h 34"/>
                  <a:gd name="T14" fmla="*/ 31 w 50"/>
                  <a:gd name="T15" fmla="*/ 3 h 34"/>
                  <a:gd name="T16" fmla="*/ 15 w 50"/>
                  <a:gd name="T17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34">
                    <a:moveTo>
                      <a:pt x="13" y="0"/>
                    </a:moveTo>
                    <a:cubicBezTo>
                      <a:pt x="11" y="3"/>
                      <a:pt x="2" y="12"/>
                      <a:pt x="1" y="16"/>
                    </a:cubicBezTo>
                    <a:cubicBezTo>
                      <a:pt x="0" y="20"/>
                      <a:pt x="5" y="22"/>
                      <a:pt x="10" y="24"/>
                    </a:cubicBezTo>
                    <a:cubicBezTo>
                      <a:pt x="15" y="26"/>
                      <a:pt x="26" y="26"/>
                      <a:pt x="32" y="27"/>
                    </a:cubicBezTo>
                    <a:cubicBezTo>
                      <a:pt x="38" y="28"/>
                      <a:pt x="41" y="34"/>
                      <a:pt x="44" y="33"/>
                    </a:cubicBezTo>
                    <a:cubicBezTo>
                      <a:pt x="47" y="32"/>
                      <a:pt x="50" y="26"/>
                      <a:pt x="49" y="22"/>
                    </a:cubicBezTo>
                    <a:cubicBezTo>
                      <a:pt x="48" y="18"/>
                      <a:pt x="41" y="15"/>
                      <a:pt x="38" y="12"/>
                    </a:cubicBezTo>
                    <a:cubicBezTo>
                      <a:pt x="35" y="9"/>
                      <a:pt x="35" y="5"/>
                      <a:pt x="31" y="3"/>
                    </a:cubicBezTo>
                    <a:cubicBezTo>
                      <a:pt x="27" y="1"/>
                      <a:pt x="18" y="2"/>
                      <a:pt x="15" y="1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1" name="Freeform 419">
                <a:extLst>
                  <a:ext uri="{FF2B5EF4-FFF2-40B4-BE49-F238E27FC236}">
                    <a16:creationId xmlns:a16="http://schemas.microsoft.com/office/drawing/2014/main" id="{50A80755-530C-44FF-A649-C223713FF87D}"/>
                  </a:ext>
                </a:extLst>
              </p:cNvPr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gray">
              <a:xfrm>
                <a:off x="2228851" y="3840163"/>
                <a:ext cx="109538" cy="106363"/>
              </a:xfrm>
              <a:custGeom>
                <a:avLst/>
                <a:gdLst>
                  <a:gd name="T0" fmla="*/ 3 w 67"/>
                  <a:gd name="T1" fmla="*/ 35 h 67"/>
                  <a:gd name="T2" fmla="*/ 18 w 67"/>
                  <a:gd name="T3" fmla="*/ 50 h 67"/>
                  <a:gd name="T4" fmla="*/ 26 w 67"/>
                  <a:gd name="T5" fmla="*/ 58 h 67"/>
                  <a:gd name="T6" fmla="*/ 26 w 67"/>
                  <a:gd name="T7" fmla="*/ 55 h 67"/>
                  <a:gd name="T8" fmla="*/ 42 w 67"/>
                  <a:gd name="T9" fmla="*/ 65 h 67"/>
                  <a:gd name="T10" fmla="*/ 60 w 67"/>
                  <a:gd name="T11" fmla="*/ 59 h 67"/>
                  <a:gd name="T12" fmla="*/ 62 w 67"/>
                  <a:gd name="T13" fmla="*/ 16 h 67"/>
                  <a:gd name="T14" fmla="*/ 62 w 67"/>
                  <a:gd name="T15" fmla="*/ 1 h 67"/>
                  <a:gd name="T16" fmla="*/ 33 w 67"/>
                  <a:gd name="T17" fmla="*/ 8 h 67"/>
                  <a:gd name="T18" fmla="*/ 3 w 67"/>
                  <a:gd name="T19" fmla="*/ 3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67">
                    <a:moveTo>
                      <a:pt x="3" y="35"/>
                    </a:moveTo>
                    <a:cubicBezTo>
                      <a:pt x="0" y="42"/>
                      <a:pt x="14" y="46"/>
                      <a:pt x="18" y="50"/>
                    </a:cubicBezTo>
                    <a:cubicBezTo>
                      <a:pt x="22" y="54"/>
                      <a:pt x="25" y="57"/>
                      <a:pt x="26" y="58"/>
                    </a:cubicBezTo>
                    <a:cubicBezTo>
                      <a:pt x="27" y="59"/>
                      <a:pt x="23" y="54"/>
                      <a:pt x="26" y="55"/>
                    </a:cubicBezTo>
                    <a:cubicBezTo>
                      <a:pt x="29" y="56"/>
                      <a:pt x="36" y="64"/>
                      <a:pt x="42" y="65"/>
                    </a:cubicBezTo>
                    <a:cubicBezTo>
                      <a:pt x="48" y="66"/>
                      <a:pt x="57" y="67"/>
                      <a:pt x="60" y="59"/>
                    </a:cubicBezTo>
                    <a:cubicBezTo>
                      <a:pt x="63" y="51"/>
                      <a:pt x="62" y="26"/>
                      <a:pt x="62" y="16"/>
                    </a:cubicBezTo>
                    <a:cubicBezTo>
                      <a:pt x="62" y="6"/>
                      <a:pt x="67" y="2"/>
                      <a:pt x="62" y="1"/>
                    </a:cubicBezTo>
                    <a:cubicBezTo>
                      <a:pt x="57" y="0"/>
                      <a:pt x="43" y="3"/>
                      <a:pt x="33" y="8"/>
                    </a:cubicBezTo>
                    <a:cubicBezTo>
                      <a:pt x="23" y="13"/>
                      <a:pt x="6" y="28"/>
                      <a:pt x="3" y="3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2" name="Freeform 420">
                <a:extLst>
                  <a:ext uri="{FF2B5EF4-FFF2-40B4-BE49-F238E27FC236}">
                    <a16:creationId xmlns:a16="http://schemas.microsoft.com/office/drawing/2014/main" id="{38908533-A6BC-461B-9CAA-8E27B153C03F}"/>
                  </a:ext>
                </a:extLst>
              </p:cNvPr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gray">
              <a:xfrm>
                <a:off x="2297113" y="3633788"/>
                <a:ext cx="247650" cy="87313"/>
              </a:xfrm>
              <a:custGeom>
                <a:avLst/>
                <a:gdLst>
                  <a:gd name="T0" fmla="*/ 0 w 152"/>
                  <a:gd name="T1" fmla="*/ 19 h 56"/>
                  <a:gd name="T2" fmla="*/ 12 w 152"/>
                  <a:gd name="T3" fmla="*/ 9 h 56"/>
                  <a:gd name="T4" fmla="*/ 23 w 152"/>
                  <a:gd name="T5" fmla="*/ 0 h 56"/>
                  <a:gd name="T6" fmla="*/ 92 w 152"/>
                  <a:gd name="T7" fmla="*/ 4 h 56"/>
                  <a:gd name="T8" fmla="*/ 110 w 152"/>
                  <a:gd name="T9" fmla="*/ 13 h 56"/>
                  <a:gd name="T10" fmla="*/ 128 w 152"/>
                  <a:gd name="T11" fmla="*/ 21 h 56"/>
                  <a:gd name="T12" fmla="*/ 143 w 152"/>
                  <a:gd name="T13" fmla="*/ 31 h 56"/>
                  <a:gd name="T14" fmla="*/ 152 w 152"/>
                  <a:gd name="T15" fmla="*/ 43 h 56"/>
                  <a:gd name="T16" fmla="*/ 143 w 152"/>
                  <a:gd name="T17" fmla="*/ 54 h 56"/>
                  <a:gd name="T18" fmla="*/ 93 w 152"/>
                  <a:gd name="T19" fmla="*/ 45 h 56"/>
                  <a:gd name="T20" fmla="*/ 51 w 152"/>
                  <a:gd name="T21" fmla="*/ 18 h 56"/>
                  <a:gd name="T22" fmla="*/ 24 w 152"/>
                  <a:gd name="T23" fmla="*/ 28 h 56"/>
                  <a:gd name="T24" fmla="*/ 15 w 152"/>
                  <a:gd name="T25" fmla="*/ 16 h 56"/>
                  <a:gd name="T26" fmla="*/ 0 w 152"/>
                  <a:gd name="T27" fmla="*/ 1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2" h="56">
                    <a:moveTo>
                      <a:pt x="0" y="19"/>
                    </a:moveTo>
                    <a:cubicBezTo>
                      <a:pt x="5" y="16"/>
                      <a:pt x="7" y="12"/>
                      <a:pt x="12" y="9"/>
                    </a:cubicBezTo>
                    <a:cubicBezTo>
                      <a:pt x="15" y="3"/>
                      <a:pt x="16" y="1"/>
                      <a:pt x="23" y="0"/>
                    </a:cubicBezTo>
                    <a:cubicBezTo>
                      <a:pt x="57" y="1"/>
                      <a:pt x="66" y="2"/>
                      <a:pt x="92" y="4"/>
                    </a:cubicBezTo>
                    <a:cubicBezTo>
                      <a:pt x="98" y="7"/>
                      <a:pt x="104" y="9"/>
                      <a:pt x="110" y="13"/>
                    </a:cubicBezTo>
                    <a:cubicBezTo>
                      <a:pt x="115" y="20"/>
                      <a:pt x="120" y="18"/>
                      <a:pt x="128" y="21"/>
                    </a:cubicBezTo>
                    <a:cubicBezTo>
                      <a:pt x="129" y="29"/>
                      <a:pt x="135" y="29"/>
                      <a:pt x="143" y="31"/>
                    </a:cubicBezTo>
                    <a:cubicBezTo>
                      <a:pt x="148" y="35"/>
                      <a:pt x="149" y="38"/>
                      <a:pt x="152" y="43"/>
                    </a:cubicBezTo>
                    <a:cubicBezTo>
                      <a:pt x="149" y="48"/>
                      <a:pt x="148" y="51"/>
                      <a:pt x="143" y="54"/>
                    </a:cubicBezTo>
                    <a:cubicBezTo>
                      <a:pt x="113" y="52"/>
                      <a:pt x="112" y="56"/>
                      <a:pt x="93" y="45"/>
                    </a:cubicBezTo>
                    <a:cubicBezTo>
                      <a:pt x="89" y="38"/>
                      <a:pt x="61" y="20"/>
                      <a:pt x="51" y="18"/>
                    </a:cubicBezTo>
                    <a:cubicBezTo>
                      <a:pt x="27" y="20"/>
                      <a:pt x="39" y="25"/>
                      <a:pt x="24" y="28"/>
                    </a:cubicBezTo>
                    <a:cubicBezTo>
                      <a:pt x="19" y="24"/>
                      <a:pt x="17" y="22"/>
                      <a:pt x="15" y="16"/>
                    </a:cubicBezTo>
                    <a:cubicBezTo>
                      <a:pt x="11" y="18"/>
                      <a:pt x="3" y="22"/>
                      <a:pt x="0" y="1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3" name="Freeform 421">
                <a:extLst>
                  <a:ext uri="{FF2B5EF4-FFF2-40B4-BE49-F238E27FC236}">
                    <a16:creationId xmlns:a16="http://schemas.microsoft.com/office/drawing/2014/main" id="{37B4CBDC-0669-4EDA-B631-BF3B7459092D}"/>
                  </a:ext>
                </a:extLst>
              </p:cNvPr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gray">
              <a:xfrm>
                <a:off x="2432051" y="3527425"/>
                <a:ext cx="195263" cy="158750"/>
              </a:xfrm>
              <a:custGeom>
                <a:avLst/>
                <a:gdLst>
                  <a:gd name="T0" fmla="*/ 3 w 121"/>
                  <a:gd name="T1" fmla="*/ 3 h 100"/>
                  <a:gd name="T2" fmla="*/ 27 w 121"/>
                  <a:gd name="T3" fmla="*/ 1 h 100"/>
                  <a:gd name="T4" fmla="*/ 34 w 121"/>
                  <a:gd name="T5" fmla="*/ 12 h 100"/>
                  <a:gd name="T6" fmla="*/ 31 w 121"/>
                  <a:gd name="T7" fmla="*/ 34 h 100"/>
                  <a:gd name="T8" fmla="*/ 40 w 121"/>
                  <a:gd name="T9" fmla="*/ 33 h 100"/>
                  <a:gd name="T10" fmla="*/ 45 w 121"/>
                  <a:gd name="T11" fmla="*/ 51 h 100"/>
                  <a:gd name="T12" fmla="*/ 63 w 121"/>
                  <a:gd name="T13" fmla="*/ 57 h 100"/>
                  <a:gd name="T14" fmla="*/ 81 w 121"/>
                  <a:gd name="T15" fmla="*/ 55 h 100"/>
                  <a:gd name="T16" fmla="*/ 76 w 121"/>
                  <a:gd name="T17" fmla="*/ 54 h 100"/>
                  <a:gd name="T18" fmla="*/ 93 w 121"/>
                  <a:gd name="T19" fmla="*/ 76 h 100"/>
                  <a:gd name="T20" fmla="*/ 115 w 121"/>
                  <a:gd name="T21" fmla="*/ 87 h 100"/>
                  <a:gd name="T22" fmla="*/ 109 w 121"/>
                  <a:gd name="T23" fmla="*/ 99 h 100"/>
                  <a:gd name="T24" fmla="*/ 85 w 121"/>
                  <a:gd name="T25" fmla="*/ 76 h 100"/>
                  <a:gd name="T26" fmla="*/ 73 w 121"/>
                  <a:gd name="T27" fmla="*/ 81 h 100"/>
                  <a:gd name="T28" fmla="*/ 42 w 121"/>
                  <a:gd name="T29" fmla="*/ 61 h 100"/>
                  <a:gd name="T30" fmla="*/ 31 w 121"/>
                  <a:gd name="T31" fmla="*/ 43 h 100"/>
                  <a:gd name="T32" fmla="*/ 21 w 121"/>
                  <a:gd name="T33" fmla="*/ 66 h 100"/>
                  <a:gd name="T34" fmla="*/ 9 w 121"/>
                  <a:gd name="T35" fmla="*/ 54 h 100"/>
                  <a:gd name="T36" fmla="*/ 16 w 121"/>
                  <a:gd name="T37" fmla="*/ 28 h 100"/>
                  <a:gd name="T38" fmla="*/ 0 w 121"/>
                  <a:gd name="T39" fmla="*/ 13 h 100"/>
                  <a:gd name="T40" fmla="*/ 3 w 121"/>
                  <a:gd name="T41" fmla="*/ 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1" h="100">
                    <a:moveTo>
                      <a:pt x="3" y="3"/>
                    </a:moveTo>
                    <a:cubicBezTo>
                      <a:pt x="12" y="2"/>
                      <a:pt x="18" y="0"/>
                      <a:pt x="27" y="1"/>
                    </a:cubicBezTo>
                    <a:cubicBezTo>
                      <a:pt x="32" y="7"/>
                      <a:pt x="37" y="4"/>
                      <a:pt x="34" y="12"/>
                    </a:cubicBezTo>
                    <a:cubicBezTo>
                      <a:pt x="32" y="23"/>
                      <a:pt x="30" y="20"/>
                      <a:pt x="31" y="34"/>
                    </a:cubicBezTo>
                    <a:cubicBezTo>
                      <a:pt x="34" y="34"/>
                      <a:pt x="37" y="33"/>
                      <a:pt x="40" y="33"/>
                    </a:cubicBezTo>
                    <a:cubicBezTo>
                      <a:pt x="54" y="33"/>
                      <a:pt x="58" y="45"/>
                      <a:pt x="45" y="51"/>
                    </a:cubicBezTo>
                    <a:cubicBezTo>
                      <a:pt x="51" y="54"/>
                      <a:pt x="57" y="55"/>
                      <a:pt x="63" y="57"/>
                    </a:cubicBezTo>
                    <a:cubicBezTo>
                      <a:pt x="69" y="56"/>
                      <a:pt x="75" y="56"/>
                      <a:pt x="81" y="55"/>
                    </a:cubicBezTo>
                    <a:cubicBezTo>
                      <a:pt x="83" y="55"/>
                      <a:pt x="77" y="52"/>
                      <a:pt x="76" y="54"/>
                    </a:cubicBezTo>
                    <a:cubicBezTo>
                      <a:pt x="71" y="63"/>
                      <a:pt x="84" y="75"/>
                      <a:pt x="93" y="76"/>
                    </a:cubicBezTo>
                    <a:cubicBezTo>
                      <a:pt x="97" y="83"/>
                      <a:pt x="107" y="83"/>
                      <a:pt x="115" y="87"/>
                    </a:cubicBezTo>
                    <a:cubicBezTo>
                      <a:pt x="121" y="95"/>
                      <a:pt x="120" y="100"/>
                      <a:pt x="109" y="99"/>
                    </a:cubicBezTo>
                    <a:cubicBezTo>
                      <a:pt x="99" y="94"/>
                      <a:pt x="95" y="82"/>
                      <a:pt x="85" y="76"/>
                    </a:cubicBezTo>
                    <a:cubicBezTo>
                      <a:pt x="76" y="79"/>
                      <a:pt x="82" y="86"/>
                      <a:pt x="73" y="81"/>
                    </a:cubicBezTo>
                    <a:cubicBezTo>
                      <a:pt x="65" y="68"/>
                      <a:pt x="56" y="63"/>
                      <a:pt x="42" y="61"/>
                    </a:cubicBezTo>
                    <a:cubicBezTo>
                      <a:pt x="38" y="55"/>
                      <a:pt x="34" y="50"/>
                      <a:pt x="31" y="43"/>
                    </a:cubicBezTo>
                    <a:cubicBezTo>
                      <a:pt x="21" y="46"/>
                      <a:pt x="23" y="55"/>
                      <a:pt x="21" y="66"/>
                    </a:cubicBezTo>
                    <a:cubicBezTo>
                      <a:pt x="18" y="61"/>
                      <a:pt x="9" y="54"/>
                      <a:pt x="9" y="54"/>
                    </a:cubicBezTo>
                    <a:cubicBezTo>
                      <a:pt x="5" y="44"/>
                      <a:pt x="8" y="34"/>
                      <a:pt x="16" y="28"/>
                    </a:cubicBezTo>
                    <a:cubicBezTo>
                      <a:pt x="15" y="14"/>
                      <a:pt x="13" y="16"/>
                      <a:pt x="0" y="13"/>
                    </a:cubicBezTo>
                    <a:cubicBezTo>
                      <a:pt x="1" y="5"/>
                      <a:pt x="0" y="8"/>
                      <a:pt x="3" y="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4" name="Freeform 422">
                <a:extLst>
                  <a:ext uri="{FF2B5EF4-FFF2-40B4-BE49-F238E27FC236}">
                    <a16:creationId xmlns:a16="http://schemas.microsoft.com/office/drawing/2014/main" id="{90C10206-C13F-46F1-A4B7-1E68450C14C3}"/>
                  </a:ext>
                </a:extLst>
              </p:cNvPr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gray">
              <a:xfrm>
                <a:off x="2454276" y="3748088"/>
                <a:ext cx="68263" cy="17463"/>
              </a:xfrm>
              <a:custGeom>
                <a:avLst/>
                <a:gdLst>
                  <a:gd name="T0" fmla="*/ 2 w 43"/>
                  <a:gd name="T1" fmla="*/ 5 h 11"/>
                  <a:gd name="T2" fmla="*/ 22 w 43"/>
                  <a:gd name="T3" fmla="*/ 2 h 11"/>
                  <a:gd name="T4" fmla="*/ 5 w 43"/>
                  <a:gd name="T5" fmla="*/ 6 h 11"/>
                  <a:gd name="T6" fmla="*/ 2 w 43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11">
                    <a:moveTo>
                      <a:pt x="2" y="5"/>
                    </a:moveTo>
                    <a:cubicBezTo>
                      <a:pt x="11" y="0"/>
                      <a:pt x="10" y="0"/>
                      <a:pt x="22" y="2"/>
                    </a:cubicBezTo>
                    <a:cubicBezTo>
                      <a:pt x="34" y="11"/>
                      <a:pt x="43" y="9"/>
                      <a:pt x="5" y="6"/>
                    </a:cubicBezTo>
                    <a:cubicBezTo>
                      <a:pt x="0" y="3"/>
                      <a:pt x="0" y="2"/>
                      <a:pt x="2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5" name="Freeform 423">
                <a:extLst>
                  <a:ext uri="{FF2B5EF4-FFF2-40B4-BE49-F238E27FC236}">
                    <a16:creationId xmlns:a16="http://schemas.microsoft.com/office/drawing/2014/main" id="{73A1AF1C-9809-4007-B708-093815A2750A}"/>
                  </a:ext>
                </a:extLst>
              </p:cNvPr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gray">
              <a:xfrm>
                <a:off x="2605088" y="3705225"/>
                <a:ext cx="103188" cy="65088"/>
              </a:xfrm>
              <a:custGeom>
                <a:avLst/>
                <a:gdLst>
                  <a:gd name="T0" fmla="*/ 2 w 64"/>
                  <a:gd name="T1" fmla="*/ 3 h 41"/>
                  <a:gd name="T2" fmla="*/ 1 w 64"/>
                  <a:gd name="T3" fmla="*/ 18 h 41"/>
                  <a:gd name="T4" fmla="*/ 11 w 64"/>
                  <a:gd name="T5" fmla="*/ 38 h 41"/>
                  <a:gd name="T6" fmla="*/ 56 w 64"/>
                  <a:gd name="T7" fmla="*/ 36 h 41"/>
                  <a:gd name="T8" fmla="*/ 59 w 64"/>
                  <a:gd name="T9" fmla="*/ 32 h 41"/>
                  <a:gd name="T10" fmla="*/ 32 w 64"/>
                  <a:gd name="T11" fmla="*/ 5 h 41"/>
                  <a:gd name="T12" fmla="*/ 8 w 64"/>
                  <a:gd name="T13" fmla="*/ 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41">
                    <a:moveTo>
                      <a:pt x="2" y="3"/>
                    </a:moveTo>
                    <a:cubicBezTo>
                      <a:pt x="2" y="5"/>
                      <a:pt x="0" y="12"/>
                      <a:pt x="1" y="18"/>
                    </a:cubicBezTo>
                    <a:cubicBezTo>
                      <a:pt x="2" y="24"/>
                      <a:pt x="2" y="35"/>
                      <a:pt x="11" y="38"/>
                    </a:cubicBezTo>
                    <a:cubicBezTo>
                      <a:pt x="20" y="41"/>
                      <a:pt x="45" y="36"/>
                      <a:pt x="56" y="36"/>
                    </a:cubicBezTo>
                    <a:cubicBezTo>
                      <a:pt x="64" y="35"/>
                      <a:pt x="63" y="37"/>
                      <a:pt x="59" y="32"/>
                    </a:cubicBezTo>
                    <a:cubicBezTo>
                      <a:pt x="47" y="29"/>
                      <a:pt x="40" y="10"/>
                      <a:pt x="32" y="5"/>
                    </a:cubicBezTo>
                    <a:cubicBezTo>
                      <a:pt x="24" y="0"/>
                      <a:pt x="13" y="3"/>
                      <a:pt x="8" y="2"/>
                    </a:cubicBez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6" name="Freeform 424">
                <a:extLst>
                  <a:ext uri="{FF2B5EF4-FFF2-40B4-BE49-F238E27FC236}">
                    <a16:creationId xmlns:a16="http://schemas.microsoft.com/office/drawing/2014/main" id="{0CE5883A-213C-492A-B229-77B8A24D7DC7}"/>
                  </a:ext>
                </a:extLst>
              </p:cNvPr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gray">
              <a:xfrm>
                <a:off x="2506663" y="4613275"/>
                <a:ext cx="279400" cy="1181100"/>
              </a:xfrm>
              <a:custGeom>
                <a:avLst/>
                <a:gdLst>
                  <a:gd name="T0" fmla="*/ 80 w 172"/>
                  <a:gd name="T1" fmla="*/ 87 h 745"/>
                  <a:gd name="T2" fmla="*/ 71 w 172"/>
                  <a:gd name="T3" fmla="*/ 169 h 745"/>
                  <a:gd name="T4" fmla="*/ 65 w 172"/>
                  <a:gd name="T5" fmla="*/ 184 h 745"/>
                  <a:gd name="T6" fmla="*/ 65 w 172"/>
                  <a:gd name="T7" fmla="*/ 217 h 745"/>
                  <a:gd name="T8" fmla="*/ 53 w 172"/>
                  <a:gd name="T9" fmla="*/ 291 h 745"/>
                  <a:gd name="T10" fmla="*/ 34 w 172"/>
                  <a:gd name="T11" fmla="*/ 330 h 745"/>
                  <a:gd name="T12" fmla="*/ 40 w 172"/>
                  <a:gd name="T13" fmla="*/ 370 h 745"/>
                  <a:gd name="T14" fmla="*/ 28 w 172"/>
                  <a:gd name="T15" fmla="*/ 408 h 745"/>
                  <a:gd name="T16" fmla="*/ 8 w 172"/>
                  <a:gd name="T17" fmla="*/ 523 h 745"/>
                  <a:gd name="T18" fmla="*/ 11 w 172"/>
                  <a:gd name="T19" fmla="*/ 616 h 745"/>
                  <a:gd name="T20" fmla="*/ 28 w 172"/>
                  <a:gd name="T21" fmla="*/ 679 h 745"/>
                  <a:gd name="T22" fmla="*/ 52 w 172"/>
                  <a:gd name="T23" fmla="*/ 702 h 745"/>
                  <a:gd name="T24" fmla="*/ 89 w 172"/>
                  <a:gd name="T25" fmla="*/ 721 h 745"/>
                  <a:gd name="T26" fmla="*/ 121 w 172"/>
                  <a:gd name="T27" fmla="*/ 745 h 745"/>
                  <a:gd name="T28" fmla="*/ 151 w 172"/>
                  <a:gd name="T29" fmla="*/ 715 h 745"/>
                  <a:gd name="T30" fmla="*/ 172 w 172"/>
                  <a:gd name="T31" fmla="*/ 711 h 745"/>
                  <a:gd name="T32" fmla="*/ 124 w 172"/>
                  <a:gd name="T33" fmla="*/ 703 h 745"/>
                  <a:gd name="T34" fmla="*/ 98 w 172"/>
                  <a:gd name="T35" fmla="*/ 693 h 745"/>
                  <a:gd name="T36" fmla="*/ 71 w 172"/>
                  <a:gd name="T37" fmla="*/ 651 h 745"/>
                  <a:gd name="T38" fmla="*/ 56 w 172"/>
                  <a:gd name="T39" fmla="*/ 630 h 745"/>
                  <a:gd name="T40" fmla="*/ 43 w 172"/>
                  <a:gd name="T41" fmla="*/ 600 h 745"/>
                  <a:gd name="T42" fmla="*/ 52 w 172"/>
                  <a:gd name="T43" fmla="*/ 570 h 745"/>
                  <a:gd name="T44" fmla="*/ 58 w 172"/>
                  <a:gd name="T45" fmla="*/ 541 h 745"/>
                  <a:gd name="T46" fmla="*/ 70 w 172"/>
                  <a:gd name="T47" fmla="*/ 484 h 745"/>
                  <a:gd name="T48" fmla="*/ 67 w 172"/>
                  <a:gd name="T49" fmla="*/ 456 h 745"/>
                  <a:gd name="T50" fmla="*/ 56 w 172"/>
                  <a:gd name="T51" fmla="*/ 426 h 745"/>
                  <a:gd name="T52" fmla="*/ 62 w 172"/>
                  <a:gd name="T53" fmla="*/ 394 h 745"/>
                  <a:gd name="T54" fmla="*/ 73 w 172"/>
                  <a:gd name="T55" fmla="*/ 342 h 745"/>
                  <a:gd name="T56" fmla="*/ 88 w 172"/>
                  <a:gd name="T57" fmla="*/ 300 h 745"/>
                  <a:gd name="T58" fmla="*/ 89 w 172"/>
                  <a:gd name="T59" fmla="*/ 256 h 745"/>
                  <a:gd name="T60" fmla="*/ 91 w 172"/>
                  <a:gd name="T61" fmla="*/ 186 h 745"/>
                  <a:gd name="T62" fmla="*/ 115 w 172"/>
                  <a:gd name="T63" fmla="*/ 153 h 745"/>
                  <a:gd name="T64" fmla="*/ 116 w 172"/>
                  <a:gd name="T65" fmla="*/ 117 h 745"/>
                  <a:gd name="T66" fmla="*/ 128 w 172"/>
                  <a:gd name="T67" fmla="*/ 96 h 745"/>
                  <a:gd name="T68" fmla="*/ 128 w 172"/>
                  <a:gd name="T69" fmla="*/ 72 h 745"/>
                  <a:gd name="T70" fmla="*/ 103 w 172"/>
                  <a:gd name="T71" fmla="*/ 34 h 745"/>
                  <a:gd name="T72" fmla="*/ 97 w 172"/>
                  <a:gd name="T73" fmla="*/ 0 h 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72" h="745">
                    <a:moveTo>
                      <a:pt x="85" y="10"/>
                    </a:moveTo>
                    <a:cubicBezTo>
                      <a:pt x="84" y="40"/>
                      <a:pt x="98" y="63"/>
                      <a:pt x="80" y="87"/>
                    </a:cubicBezTo>
                    <a:cubicBezTo>
                      <a:pt x="81" y="103"/>
                      <a:pt x="83" y="134"/>
                      <a:pt x="77" y="150"/>
                    </a:cubicBezTo>
                    <a:cubicBezTo>
                      <a:pt x="76" y="156"/>
                      <a:pt x="74" y="163"/>
                      <a:pt x="71" y="169"/>
                    </a:cubicBezTo>
                    <a:cubicBezTo>
                      <a:pt x="71" y="174"/>
                      <a:pt x="73" y="183"/>
                      <a:pt x="71" y="187"/>
                    </a:cubicBezTo>
                    <a:cubicBezTo>
                      <a:pt x="70" y="189"/>
                      <a:pt x="65" y="182"/>
                      <a:pt x="65" y="184"/>
                    </a:cubicBezTo>
                    <a:cubicBezTo>
                      <a:pt x="63" y="193"/>
                      <a:pt x="65" y="202"/>
                      <a:pt x="64" y="211"/>
                    </a:cubicBezTo>
                    <a:cubicBezTo>
                      <a:pt x="64" y="213"/>
                      <a:pt x="66" y="215"/>
                      <a:pt x="65" y="217"/>
                    </a:cubicBezTo>
                    <a:cubicBezTo>
                      <a:pt x="67" y="229"/>
                      <a:pt x="77" y="253"/>
                      <a:pt x="61" y="261"/>
                    </a:cubicBezTo>
                    <a:cubicBezTo>
                      <a:pt x="56" y="270"/>
                      <a:pt x="57" y="281"/>
                      <a:pt x="53" y="291"/>
                    </a:cubicBezTo>
                    <a:cubicBezTo>
                      <a:pt x="52" y="300"/>
                      <a:pt x="48" y="315"/>
                      <a:pt x="41" y="319"/>
                    </a:cubicBezTo>
                    <a:cubicBezTo>
                      <a:pt x="40" y="325"/>
                      <a:pt x="40" y="327"/>
                      <a:pt x="34" y="330"/>
                    </a:cubicBezTo>
                    <a:cubicBezTo>
                      <a:pt x="31" y="335"/>
                      <a:pt x="40" y="346"/>
                      <a:pt x="37" y="351"/>
                    </a:cubicBezTo>
                    <a:cubicBezTo>
                      <a:pt x="35" y="362"/>
                      <a:pt x="35" y="361"/>
                      <a:pt x="40" y="370"/>
                    </a:cubicBezTo>
                    <a:cubicBezTo>
                      <a:pt x="40" y="375"/>
                      <a:pt x="45" y="375"/>
                      <a:pt x="43" y="381"/>
                    </a:cubicBezTo>
                    <a:cubicBezTo>
                      <a:pt x="41" y="387"/>
                      <a:pt x="33" y="392"/>
                      <a:pt x="28" y="408"/>
                    </a:cubicBezTo>
                    <a:cubicBezTo>
                      <a:pt x="14" y="426"/>
                      <a:pt x="29" y="458"/>
                      <a:pt x="14" y="478"/>
                    </a:cubicBezTo>
                    <a:cubicBezTo>
                      <a:pt x="11" y="493"/>
                      <a:pt x="11" y="508"/>
                      <a:pt x="8" y="523"/>
                    </a:cubicBezTo>
                    <a:cubicBezTo>
                      <a:pt x="7" y="537"/>
                      <a:pt x="8" y="552"/>
                      <a:pt x="2" y="565"/>
                    </a:cubicBezTo>
                    <a:cubicBezTo>
                      <a:pt x="3" y="584"/>
                      <a:pt x="0" y="601"/>
                      <a:pt x="11" y="616"/>
                    </a:cubicBezTo>
                    <a:cubicBezTo>
                      <a:pt x="12" y="625"/>
                      <a:pt x="8" y="646"/>
                      <a:pt x="19" y="651"/>
                    </a:cubicBezTo>
                    <a:cubicBezTo>
                      <a:pt x="26" y="661"/>
                      <a:pt x="17" y="672"/>
                      <a:pt x="28" y="679"/>
                    </a:cubicBezTo>
                    <a:cubicBezTo>
                      <a:pt x="31" y="684"/>
                      <a:pt x="34" y="688"/>
                      <a:pt x="37" y="693"/>
                    </a:cubicBezTo>
                    <a:cubicBezTo>
                      <a:pt x="40" y="698"/>
                      <a:pt x="46" y="698"/>
                      <a:pt x="52" y="702"/>
                    </a:cubicBezTo>
                    <a:cubicBezTo>
                      <a:pt x="58" y="706"/>
                      <a:pt x="70" y="712"/>
                      <a:pt x="76" y="715"/>
                    </a:cubicBezTo>
                    <a:cubicBezTo>
                      <a:pt x="81" y="717"/>
                      <a:pt x="85" y="718"/>
                      <a:pt x="89" y="721"/>
                    </a:cubicBezTo>
                    <a:cubicBezTo>
                      <a:pt x="92" y="727"/>
                      <a:pt x="98" y="732"/>
                      <a:pt x="104" y="735"/>
                    </a:cubicBezTo>
                    <a:cubicBezTo>
                      <a:pt x="107" y="742"/>
                      <a:pt x="114" y="744"/>
                      <a:pt x="121" y="745"/>
                    </a:cubicBezTo>
                    <a:cubicBezTo>
                      <a:pt x="130" y="744"/>
                      <a:pt x="135" y="745"/>
                      <a:pt x="137" y="736"/>
                    </a:cubicBezTo>
                    <a:cubicBezTo>
                      <a:pt x="124" y="719"/>
                      <a:pt x="141" y="716"/>
                      <a:pt x="151" y="715"/>
                    </a:cubicBezTo>
                    <a:cubicBezTo>
                      <a:pt x="156" y="711"/>
                      <a:pt x="163" y="713"/>
                      <a:pt x="166" y="712"/>
                    </a:cubicBezTo>
                    <a:cubicBezTo>
                      <a:pt x="168" y="711"/>
                      <a:pt x="170" y="711"/>
                      <a:pt x="172" y="711"/>
                    </a:cubicBezTo>
                    <a:cubicBezTo>
                      <a:pt x="168" y="710"/>
                      <a:pt x="150" y="706"/>
                      <a:pt x="142" y="705"/>
                    </a:cubicBezTo>
                    <a:cubicBezTo>
                      <a:pt x="134" y="704"/>
                      <a:pt x="130" y="703"/>
                      <a:pt x="124" y="703"/>
                    </a:cubicBezTo>
                    <a:cubicBezTo>
                      <a:pt x="119" y="702"/>
                      <a:pt x="111" y="705"/>
                      <a:pt x="107" y="703"/>
                    </a:cubicBezTo>
                    <a:cubicBezTo>
                      <a:pt x="103" y="701"/>
                      <a:pt x="100" y="697"/>
                      <a:pt x="98" y="693"/>
                    </a:cubicBezTo>
                    <a:cubicBezTo>
                      <a:pt x="92" y="689"/>
                      <a:pt x="96" y="688"/>
                      <a:pt x="92" y="681"/>
                    </a:cubicBezTo>
                    <a:cubicBezTo>
                      <a:pt x="88" y="674"/>
                      <a:pt x="77" y="658"/>
                      <a:pt x="71" y="651"/>
                    </a:cubicBezTo>
                    <a:cubicBezTo>
                      <a:pt x="57" y="648"/>
                      <a:pt x="61" y="650"/>
                      <a:pt x="56" y="639"/>
                    </a:cubicBezTo>
                    <a:cubicBezTo>
                      <a:pt x="53" y="634"/>
                      <a:pt x="55" y="634"/>
                      <a:pt x="56" y="630"/>
                    </a:cubicBezTo>
                    <a:cubicBezTo>
                      <a:pt x="57" y="626"/>
                      <a:pt x="63" y="617"/>
                      <a:pt x="61" y="612"/>
                    </a:cubicBezTo>
                    <a:cubicBezTo>
                      <a:pt x="57" y="605"/>
                      <a:pt x="51" y="601"/>
                      <a:pt x="43" y="600"/>
                    </a:cubicBezTo>
                    <a:cubicBezTo>
                      <a:pt x="40" y="596"/>
                      <a:pt x="40" y="593"/>
                      <a:pt x="41" y="588"/>
                    </a:cubicBezTo>
                    <a:cubicBezTo>
                      <a:pt x="42" y="583"/>
                      <a:pt x="50" y="575"/>
                      <a:pt x="52" y="570"/>
                    </a:cubicBezTo>
                    <a:cubicBezTo>
                      <a:pt x="54" y="562"/>
                      <a:pt x="51" y="560"/>
                      <a:pt x="52" y="555"/>
                    </a:cubicBezTo>
                    <a:cubicBezTo>
                      <a:pt x="53" y="550"/>
                      <a:pt x="55" y="549"/>
                      <a:pt x="58" y="541"/>
                    </a:cubicBezTo>
                    <a:cubicBezTo>
                      <a:pt x="60" y="532"/>
                      <a:pt x="66" y="513"/>
                      <a:pt x="68" y="504"/>
                    </a:cubicBezTo>
                    <a:cubicBezTo>
                      <a:pt x="70" y="495"/>
                      <a:pt x="70" y="490"/>
                      <a:pt x="70" y="484"/>
                    </a:cubicBezTo>
                    <a:cubicBezTo>
                      <a:pt x="71" y="478"/>
                      <a:pt x="70" y="472"/>
                      <a:pt x="71" y="466"/>
                    </a:cubicBezTo>
                    <a:cubicBezTo>
                      <a:pt x="63" y="456"/>
                      <a:pt x="71" y="463"/>
                      <a:pt x="67" y="456"/>
                    </a:cubicBezTo>
                    <a:cubicBezTo>
                      <a:pt x="66" y="452"/>
                      <a:pt x="60" y="447"/>
                      <a:pt x="58" y="442"/>
                    </a:cubicBezTo>
                    <a:cubicBezTo>
                      <a:pt x="56" y="437"/>
                      <a:pt x="56" y="431"/>
                      <a:pt x="56" y="426"/>
                    </a:cubicBezTo>
                    <a:cubicBezTo>
                      <a:pt x="55" y="420"/>
                      <a:pt x="55" y="416"/>
                      <a:pt x="58" y="411"/>
                    </a:cubicBezTo>
                    <a:cubicBezTo>
                      <a:pt x="58" y="406"/>
                      <a:pt x="60" y="399"/>
                      <a:pt x="62" y="394"/>
                    </a:cubicBezTo>
                    <a:cubicBezTo>
                      <a:pt x="64" y="389"/>
                      <a:pt x="66" y="387"/>
                      <a:pt x="68" y="378"/>
                    </a:cubicBezTo>
                    <a:cubicBezTo>
                      <a:pt x="69" y="365"/>
                      <a:pt x="71" y="354"/>
                      <a:pt x="73" y="342"/>
                    </a:cubicBezTo>
                    <a:cubicBezTo>
                      <a:pt x="75" y="332"/>
                      <a:pt x="73" y="325"/>
                      <a:pt x="76" y="318"/>
                    </a:cubicBezTo>
                    <a:cubicBezTo>
                      <a:pt x="78" y="311"/>
                      <a:pt x="85" y="307"/>
                      <a:pt x="88" y="300"/>
                    </a:cubicBezTo>
                    <a:cubicBezTo>
                      <a:pt x="90" y="291"/>
                      <a:pt x="95" y="281"/>
                      <a:pt x="95" y="274"/>
                    </a:cubicBezTo>
                    <a:cubicBezTo>
                      <a:pt x="95" y="267"/>
                      <a:pt x="90" y="265"/>
                      <a:pt x="89" y="256"/>
                    </a:cubicBezTo>
                    <a:cubicBezTo>
                      <a:pt x="88" y="247"/>
                      <a:pt x="86" y="234"/>
                      <a:pt x="86" y="222"/>
                    </a:cubicBezTo>
                    <a:cubicBezTo>
                      <a:pt x="87" y="211"/>
                      <a:pt x="86" y="197"/>
                      <a:pt x="91" y="186"/>
                    </a:cubicBezTo>
                    <a:cubicBezTo>
                      <a:pt x="93" y="177"/>
                      <a:pt x="99" y="170"/>
                      <a:pt x="106" y="166"/>
                    </a:cubicBezTo>
                    <a:cubicBezTo>
                      <a:pt x="109" y="162"/>
                      <a:pt x="112" y="157"/>
                      <a:pt x="115" y="153"/>
                    </a:cubicBezTo>
                    <a:cubicBezTo>
                      <a:pt x="116" y="148"/>
                      <a:pt x="113" y="141"/>
                      <a:pt x="113" y="135"/>
                    </a:cubicBezTo>
                    <a:cubicBezTo>
                      <a:pt x="113" y="129"/>
                      <a:pt x="114" y="123"/>
                      <a:pt x="116" y="117"/>
                    </a:cubicBezTo>
                    <a:cubicBezTo>
                      <a:pt x="118" y="111"/>
                      <a:pt x="122" y="103"/>
                      <a:pt x="124" y="100"/>
                    </a:cubicBezTo>
                    <a:cubicBezTo>
                      <a:pt x="125" y="99"/>
                      <a:pt x="127" y="98"/>
                      <a:pt x="128" y="96"/>
                    </a:cubicBezTo>
                    <a:cubicBezTo>
                      <a:pt x="133" y="79"/>
                      <a:pt x="148" y="64"/>
                      <a:pt x="136" y="73"/>
                    </a:cubicBezTo>
                    <a:cubicBezTo>
                      <a:pt x="130" y="69"/>
                      <a:pt x="131" y="78"/>
                      <a:pt x="128" y="72"/>
                    </a:cubicBezTo>
                    <a:cubicBezTo>
                      <a:pt x="127" y="66"/>
                      <a:pt x="114" y="67"/>
                      <a:pt x="110" y="61"/>
                    </a:cubicBezTo>
                    <a:cubicBezTo>
                      <a:pt x="106" y="55"/>
                      <a:pt x="104" y="42"/>
                      <a:pt x="103" y="34"/>
                    </a:cubicBezTo>
                    <a:cubicBezTo>
                      <a:pt x="102" y="26"/>
                      <a:pt x="107" y="21"/>
                      <a:pt x="106" y="15"/>
                    </a:cubicBezTo>
                    <a:cubicBezTo>
                      <a:pt x="103" y="8"/>
                      <a:pt x="105" y="1"/>
                      <a:pt x="97" y="0"/>
                    </a:cubicBezTo>
                    <a:cubicBezTo>
                      <a:pt x="90" y="3"/>
                      <a:pt x="81" y="8"/>
                      <a:pt x="85" y="1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grpSp>
            <p:nvGrpSpPr>
              <p:cNvPr id="407" name="Group 426">
                <a:extLst>
                  <a:ext uri="{FF2B5EF4-FFF2-40B4-BE49-F238E27FC236}">
                    <a16:creationId xmlns:a16="http://schemas.microsoft.com/office/drawing/2014/main" id="{3A4A0F01-E5C2-4BA3-8BA6-475306D739C7}"/>
                  </a:ext>
                </a:extLst>
              </p:cNvPr>
              <p:cNvGrpSpPr>
                <a:grpSpLocks/>
              </p:cNvGrpSpPr>
              <p:nvPr>
                <p:custDataLst>
                  <p:tags r:id="rId189"/>
                </p:custDataLst>
              </p:nvPr>
            </p:nvGrpSpPr>
            <p:grpSpPr bwMode="auto">
              <a:xfrm>
                <a:off x="2805034" y="3762375"/>
                <a:ext cx="107950" cy="174625"/>
                <a:chOff x="4714" y="2568"/>
                <a:chExt cx="67" cy="110"/>
              </a:xfrm>
              <a:grpFill/>
            </p:grpSpPr>
            <p:sp>
              <p:nvSpPr>
                <p:cNvPr id="426" name="Freeform 427">
                  <a:extLst>
                    <a:ext uri="{FF2B5EF4-FFF2-40B4-BE49-F238E27FC236}">
                      <a16:creationId xmlns:a16="http://schemas.microsoft.com/office/drawing/2014/main" id="{EE3BB955-A3DC-4D13-BC7F-0A901046CA34}"/>
                    </a:ext>
                  </a:extLst>
                </p:cNvPr>
                <p:cNvSpPr>
                  <a:spLocks/>
                </p:cNvSpPr>
                <p:nvPr>
                  <p:custDataLst>
                    <p:tags r:id="rId204"/>
                  </p:custDataLst>
                </p:nvPr>
              </p:nvSpPr>
              <p:spPr bwMode="gray">
                <a:xfrm>
                  <a:off x="4751" y="2668"/>
                  <a:ext cx="17" cy="10"/>
                </a:xfrm>
                <a:custGeom>
                  <a:avLst/>
                  <a:gdLst>
                    <a:gd name="T0" fmla="*/ 0 w 17"/>
                    <a:gd name="T1" fmla="*/ 1 h 10"/>
                    <a:gd name="T2" fmla="*/ 9 w 17"/>
                    <a:gd name="T3" fmla="*/ 2 h 10"/>
                    <a:gd name="T4" fmla="*/ 0 w 17"/>
                    <a:gd name="T5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7" h="10">
                      <a:moveTo>
                        <a:pt x="0" y="1"/>
                      </a:moveTo>
                      <a:cubicBezTo>
                        <a:pt x="3" y="1"/>
                        <a:pt x="7" y="0"/>
                        <a:pt x="9" y="2"/>
                      </a:cubicBezTo>
                      <a:cubicBezTo>
                        <a:pt x="17" y="8"/>
                        <a:pt x="4" y="10"/>
                        <a:pt x="0" y="1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27" name="Freeform 428">
                  <a:extLst>
                    <a:ext uri="{FF2B5EF4-FFF2-40B4-BE49-F238E27FC236}">
                      <a16:creationId xmlns:a16="http://schemas.microsoft.com/office/drawing/2014/main" id="{2EA03CCF-D5A6-4C2F-BD59-9A0E2CFDEA1A}"/>
                    </a:ext>
                  </a:extLst>
                </p:cNvPr>
                <p:cNvSpPr>
                  <a:spLocks/>
                </p:cNvSpPr>
                <p:nvPr>
                  <p:custDataLst>
                    <p:tags r:id="rId205"/>
                  </p:custDataLst>
                </p:nvPr>
              </p:nvSpPr>
              <p:spPr bwMode="gray">
                <a:xfrm>
                  <a:off x="4765" y="2640"/>
                  <a:ext cx="16" cy="6"/>
                </a:xfrm>
                <a:custGeom>
                  <a:avLst/>
                  <a:gdLst>
                    <a:gd name="T0" fmla="*/ 4 w 16"/>
                    <a:gd name="T1" fmla="*/ 0 h 6"/>
                    <a:gd name="T2" fmla="*/ 13 w 16"/>
                    <a:gd name="T3" fmla="*/ 2 h 6"/>
                    <a:gd name="T4" fmla="*/ 1 w 16"/>
                    <a:gd name="T5" fmla="*/ 3 h 6"/>
                    <a:gd name="T6" fmla="*/ 4 w 16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6">
                      <a:moveTo>
                        <a:pt x="4" y="0"/>
                      </a:moveTo>
                      <a:cubicBezTo>
                        <a:pt x="7" y="1"/>
                        <a:pt x="11" y="0"/>
                        <a:pt x="13" y="2"/>
                      </a:cubicBezTo>
                      <a:cubicBezTo>
                        <a:pt x="16" y="5"/>
                        <a:pt x="4" y="6"/>
                        <a:pt x="1" y="3"/>
                      </a:cubicBezTo>
                      <a:cubicBezTo>
                        <a:pt x="0" y="2"/>
                        <a:pt x="3" y="1"/>
                        <a:pt x="4" y="0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28" name="Freeform 429">
                  <a:extLst>
                    <a:ext uri="{FF2B5EF4-FFF2-40B4-BE49-F238E27FC236}">
                      <a16:creationId xmlns:a16="http://schemas.microsoft.com/office/drawing/2014/main" id="{18E075B2-BB09-45DD-AB9A-7C09016E6964}"/>
                    </a:ext>
                  </a:extLst>
                </p:cNvPr>
                <p:cNvSpPr>
                  <a:spLocks/>
                </p:cNvSpPr>
                <p:nvPr>
                  <p:custDataLst>
                    <p:tags r:id="rId206"/>
                  </p:custDataLst>
                </p:nvPr>
              </p:nvSpPr>
              <p:spPr bwMode="gray">
                <a:xfrm>
                  <a:off x="4742" y="2645"/>
                  <a:ext cx="12" cy="7"/>
                </a:xfrm>
                <a:custGeom>
                  <a:avLst/>
                  <a:gdLst>
                    <a:gd name="T0" fmla="*/ 6 w 12"/>
                    <a:gd name="T1" fmla="*/ 3 h 7"/>
                    <a:gd name="T2" fmla="*/ 2 w 12"/>
                    <a:gd name="T3" fmla="*/ 6 h 7"/>
                    <a:gd name="T4" fmla="*/ 11 w 12"/>
                    <a:gd name="T5" fmla="*/ 4 h 7"/>
                    <a:gd name="T6" fmla="*/ 8 w 12"/>
                    <a:gd name="T7" fmla="*/ 0 h 7"/>
                    <a:gd name="T8" fmla="*/ 6 w 12"/>
                    <a:gd name="T9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7">
                      <a:moveTo>
                        <a:pt x="6" y="3"/>
                      </a:moveTo>
                      <a:cubicBezTo>
                        <a:pt x="5" y="4"/>
                        <a:pt x="0" y="6"/>
                        <a:pt x="2" y="6"/>
                      </a:cubicBezTo>
                      <a:cubicBezTo>
                        <a:pt x="5" y="7"/>
                        <a:pt x="9" y="6"/>
                        <a:pt x="11" y="4"/>
                      </a:cubicBezTo>
                      <a:cubicBezTo>
                        <a:pt x="12" y="3"/>
                        <a:pt x="10" y="0"/>
                        <a:pt x="8" y="0"/>
                      </a:cubicBezTo>
                      <a:cubicBezTo>
                        <a:pt x="7" y="0"/>
                        <a:pt x="7" y="2"/>
                        <a:pt x="6" y="3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29" name="Freeform 430">
                  <a:extLst>
                    <a:ext uri="{FF2B5EF4-FFF2-40B4-BE49-F238E27FC236}">
                      <a16:creationId xmlns:a16="http://schemas.microsoft.com/office/drawing/2014/main" id="{05CA6B04-144B-4FA4-9262-BE9F7782F9BA}"/>
                    </a:ext>
                  </a:extLst>
                </p:cNvPr>
                <p:cNvSpPr>
                  <a:spLocks/>
                </p:cNvSpPr>
                <p:nvPr>
                  <p:custDataLst>
                    <p:tags r:id="rId207"/>
                  </p:custDataLst>
                </p:nvPr>
              </p:nvSpPr>
              <p:spPr bwMode="gray">
                <a:xfrm>
                  <a:off x="4733" y="2652"/>
                  <a:ext cx="13" cy="14"/>
                </a:xfrm>
                <a:custGeom>
                  <a:avLst/>
                  <a:gdLst>
                    <a:gd name="T0" fmla="*/ 5 w 13"/>
                    <a:gd name="T1" fmla="*/ 6 h 14"/>
                    <a:gd name="T2" fmla="*/ 9 w 13"/>
                    <a:gd name="T3" fmla="*/ 14 h 14"/>
                    <a:gd name="T4" fmla="*/ 5 w 13"/>
                    <a:gd name="T5" fmla="*/ 6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4">
                      <a:moveTo>
                        <a:pt x="5" y="6"/>
                      </a:moveTo>
                      <a:cubicBezTo>
                        <a:pt x="13" y="0"/>
                        <a:pt x="11" y="9"/>
                        <a:pt x="9" y="14"/>
                      </a:cubicBezTo>
                      <a:cubicBezTo>
                        <a:pt x="0" y="11"/>
                        <a:pt x="1" y="14"/>
                        <a:pt x="5" y="6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30" name="Freeform 431">
                  <a:extLst>
                    <a:ext uri="{FF2B5EF4-FFF2-40B4-BE49-F238E27FC236}">
                      <a16:creationId xmlns:a16="http://schemas.microsoft.com/office/drawing/2014/main" id="{8794C7E9-114B-4DA0-AD1C-E82D2DC4FC36}"/>
                    </a:ext>
                  </a:extLst>
                </p:cNvPr>
                <p:cNvSpPr>
                  <a:spLocks/>
                </p:cNvSpPr>
                <p:nvPr>
                  <p:custDataLst>
                    <p:tags r:id="rId208"/>
                  </p:custDataLst>
                </p:nvPr>
              </p:nvSpPr>
              <p:spPr bwMode="gray">
                <a:xfrm>
                  <a:off x="4714" y="2568"/>
                  <a:ext cx="33" cy="25"/>
                </a:xfrm>
                <a:custGeom>
                  <a:avLst/>
                  <a:gdLst>
                    <a:gd name="T0" fmla="*/ 3 w 33"/>
                    <a:gd name="T1" fmla="*/ 2 h 25"/>
                    <a:gd name="T2" fmla="*/ 15 w 33"/>
                    <a:gd name="T3" fmla="*/ 3 h 25"/>
                    <a:gd name="T4" fmla="*/ 21 w 33"/>
                    <a:gd name="T5" fmla="*/ 12 h 25"/>
                    <a:gd name="T6" fmla="*/ 33 w 33"/>
                    <a:gd name="T7" fmla="*/ 5 h 25"/>
                    <a:gd name="T8" fmla="*/ 21 w 33"/>
                    <a:gd name="T9" fmla="*/ 21 h 25"/>
                    <a:gd name="T10" fmla="*/ 7 w 33"/>
                    <a:gd name="T11" fmla="*/ 15 h 25"/>
                    <a:gd name="T12" fmla="*/ 3 w 33"/>
                    <a:gd name="T13" fmla="*/ 2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3" h="25">
                      <a:moveTo>
                        <a:pt x="3" y="2"/>
                      </a:moveTo>
                      <a:cubicBezTo>
                        <a:pt x="7" y="2"/>
                        <a:pt x="12" y="0"/>
                        <a:pt x="15" y="3"/>
                      </a:cubicBezTo>
                      <a:cubicBezTo>
                        <a:pt x="25" y="12"/>
                        <a:pt x="8" y="17"/>
                        <a:pt x="21" y="12"/>
                      </a:cubicBezTo>
                      <a:cubicBezTo>
                        <a:pt x="22" y="3"/>
                        <a:pt x="25" y="2"/>
                        <a:pt x="33" y="5"/>
                      </a:cubicBezTo>
                      <a:cubicBezTo>
                        <a:pt x="29" y="25"/>
                        <a:pt x="24" y="6"/>
                        <a:pt x="21" y="21"/>
                      </a:cubicBezTo>
                      <a:cubicBezTo>
                        <a:pt x="15" y="20"/>
                        <a:pt x="12" y="17"/>
                        <a:pt x="7" y="15"/>
                      </a:cubicBezTo>
                      <a:cubicBezTo>
                        <a:pt x="2" y="10"/>
                        <a:pt x="0" y="8"/>
                        <a:pt x="3" y="2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431" name="Freeform 432">
                  <a:extLst>
                    <a:ext uri="{FF2B5EF4-FFF2-40B4-BE49-F238E27FC236}">
                      <a16:creationId xmlns:a16="http://schemas.microsoft.com/office/drawing/2014/main" id="{C00E6EF3-C869-45DA-B0C6-781A6314415B}"/>
                    </a:ext>
                  </a:extLst>
                </p:cNvPr>
                <p:cNvSpPr>
                  <a:spLocks/>
                </p:cNvSpPr>
                <p:nvPr>
                  <p:custDataLst>
                    <p:tags r:id="rId209"/>
                  </p:custDataLst>
                </p:nvPr>
              </p:nvSpPr>
              <p:spPr bwMode="gray">
                <a:xfrm>
                  <a:off x="4745" y="2589"/>
                  <a:ext cx="20" cy="48"/>
                </a:xfrm>
                <a:custGeom>
                  <a:avLst/>
                  <a:gdLst>
                    <a:gd name="T0" fmla="*/ 6 w 20"/>
                    <a:gd name="T1" fmla="*/ 0 h 48"/>
                    <a:gd name="T2" fmla="*/ 5 w 20"/>
                    <a:gd name="T3" fmla="*/ 12 h 48"/>
                    <a:gd name="T4" fmla="*/ 9 w 20"/>
                    <a:gd name="T5" fmla="*/ 48 h 48"/>
                    <a:gd name="T6" fmla="*/ 12 w 20"/>
                    <a:gd name="T7" fmla="*/ 32 h 48"/>
                    <a:gd name="T8" fmla="*/ 6 w 20"/>
                    <a:gd name="T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48">
                      <a:moveTo>
                        <a:pt x="6" y="0"/>
                      </a:moveTo>
                      <a:cubicBezTo>
                        <a:pt x="0" y="3"/>
                        <a:pt x="2" y="6"/>
                        <a:pt x="5" y="12"/>
                      </a:cubicBezTo>
                      <a:cubicBezTo>
                        <a:pt x="7" y="26"/>
                        <a:pt x="8" y="33"/>
                        <a:pt x="9" y="48"/>
                      </a:cubicBezTo>
                      <a:cubicBezTo>
                        <a:pt x="20" y="46"/>
                        <a:pt x="17" y="39"/>
                        <a:pt x="12" y="32"/>
                      </a:cubicBezTo>
                      <a:cubicBezTo>
                        <a:pt x="14" y="12"/>
                        <a:pt x="18" y="12"/>
                        <a:pt x="6" y="0"/>
                      </a:cubicBezTo>
                      <a:close/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30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endParaRPr>
                </a:p>
              </p:txBody>
            </p:sp>
          </p:grpSp>
          <p:sp>
            <p:nvSpPr>
              <p:cNvPr id="408" name="Freeform 433">
                <a:extLst>
                  <a:ext uri="{FF2B5EF4-FFF2-40B4-BE49-F238E27FC236}">
                    <a16:creationId xmlns:a16="http://schemas.microsoft.com/office/drawing/2014/main" id="{C896BF85-F694-462D-B3B9-31DB6FB552B9}"/>
                  </a:ext>
                </a:extLst>
              </p:cNvPr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gray">
              <a:xfrm>
                <a:off x="1519238" y="3368675"/>
                <a:ext cx="730250" cy="466725"/>
              </a:xfrm>
              <a:custGeom>
                <a:avLst/>
                <a:gdLst>
                  <a:gd name="T0" fmla="*/ 9 w 451"/>
                  <a:gd name="T1" fmla="*/ 30 h 295"/>
                  <a:gd name="T2" fmla="*/ 44 w 451"/>
                  <a:gd name="T3" fmla="*/ 74 h 295"/>
                  <a:gd name="T4" fmla="*/ 65 w 451"/>
                  <a:gd name="T5" fmla="*/ 116 h 295"/>
                  <a:gd name="T6" fmla="*/ 81 w 451"/>
                  <a:gd name="T7" fmla="*/ 149 h 295"/>
                  <a:gd name="T8" fmla="*/ 105 w 451"/>
                  <a:gd name="T9" fmla="*/ 170 h 295"/>
                  <a:gd name="T10" fmla="*/ 95 w 451"/>
                  <a:gd name="T11" fmla="*/ 129 h 295"/>
                  <a:gd name="T12" fmla="*/ 66 w 451"/>
                  <a:gd name="T13" fmla="*/ 83 h 295"/>
                  <a:gd name="T14" fmla="*/ 44 w 451"/>
                  <a:gd name="T15" fmla="*/ 51 h 295"/>
                  <a:gd name="T16" fmla="*/ 35 w 451"/>
                  <a:gd name="T17" fmla="*/ 20 h 295"/>
                  <a:gd name="T18" fmla="*/ 65 w 451"/>
                  <a:gd name="T19" fmla="*/ 45 h 295"/>
                  <a:gd name="T20" fmla="*/ 120 w 451"/>
                  <a:gd name="T21" fmla="*/ 116 h 295"/>
                  <a:gd name="T22" fmla="*/ 152 w 451"/>
                  <a:gd name="T23" fmla="*/ 156 h 295"/>
                  <a:gd name="T24" fmla="*/ 171 w 451"/>
                  <a:gd name="T25" fmla="*/ 213 h 295"/>
                  <a:gd name="T26" fmla="*/ 201 w 451"/>
                  <a:gd name="T27" fmla="*/ 237 h 295"/>
                  <a:gd name="T28" fmla="*/ 273 w 451"/>
                  <a:gd name="T29" fmla="*/ 276 h 295"/>
                  <a:gd name="T30" fmla="*/ 327 w 451"/>
                  <a:gd name="T31" fmla="*/ 279 h 295"/>
                  <a:gd name="T32" fmla="*/ 371 w 451"/>
                  <a:gd name="T33" fmla="*/ 294 h 295"/>
                  <a:gd name="T34" fmla="*/ 398 w 451"/>
                  <a:gd name="T35" fmla="*/ 279 h 295"/>
                  <a:gd name="T36" fmla="*/ 387 w 451"/>
                  <a:gd name="T37" fmla="*/ 257 h 295"/>
                  <a:gd name="T38" fmla="*/ 413 w 451"/>
                  <a:gd name="T39" fmla="*/ 251 h 295"/>
                  <a:gd name="T40" fmla="*/ 450 w 451"/>
                  <a:gd name="T41" fmla="*/ 195 h 295"/>
                  <a:gd name="T42" fmla="*/ 411 w 451"/>
                  <a:gd name="T43" fmla="*/ 198 h 295"/>
                  <a:gd name="T44" fmla="*/ 396 w 451"/>
                  <a:gd name="T45" fmla="*/ 221 h 295"/>
                  <a:gd name="T46" fmla="*/ 348 w 451"/>
                  <a:gd name="T47" fmla="*/ 242 h 295"/>
                  <a:gd name="T48" fmla="*/ 315 w 451"/>
                  <a:gd name="T49" fmla="*/ 233 h 295"/>
                  <a:gd name="T50" fmla="*/ 285 w 451"/>
                  <a:gd name="T51" fmla="*/ 167 h 295"/>
                  <a:gd name="T52" fmla="*/ 272 w 451"/>
                  <a:gd name="T53" fmla="*/ 117 h 295"/>
                  <a:gd name="T54" fmla="*/ 249 w 451"/>
                  <a:gd name="T55" fmla="*/ 74 h 295"/>
                  <a:gd name="T56" fmla="*/ 212 w 451"/>
                  <a:gd name="T57" fmla="*/ 65 h 295"/>
                  <a:gd name="T58" fmla="*/ 147 w 451"/>
                  <a:gd name="T59" fmla="*/ 18 h 295"/>
                  <a:gd name="T60" fmla="*/ 116 w 451"/>
                  <a:gd name="T61" fmla="*/ 30 h 295"/>
                  <a:gd name="T62" fmla="*/ 63 w 451"/>
                  <a:gd name="T63" fmla="*/ 21 h 295"/>
                  <a:gd name="T64" fmla="*/ 5 w 451"/>
                  <a:gd name="T65" fmla="*/ 9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1" h="295">
                    <a:moveTo>
                      <a:pt x="5" y="9"/>
                    </a:moveTo>
                    <a:cubicBezTo>
                      <a:pt x="0" y="13"/>
                      <a:pt x="5" y="22"/>
                      <a:pt x="9" y="30"/>
                    </a:cubicBezTo>
                    <a:cubicBezTo>
                      <a:pt x="13" y="38"/>
                      <a:pt x="21" y="50"/>
                      <a:pt x="27" y="57"/>
                    </a:cubicBezTo>
                    <a:cubicBezTo>
                      <a:pt x="33" y="64"/>
                      <a:pt x="41" y="68"/>
                      <a:pt x="44" y="74"/>
                    </a:cubicBezTo>
                    <a:cubicBezTo>
                      <a:pt x="47" y="80"/>
                      <a:pt x="41" y="88"/>
                      <a:pt x="44" y="95"/>
                    </a:cubicBezTo>
                    <a:cubicBezTo>
                      <a:pt x="47" y="102"/>
                      <a:pt x="60" y="110"/>
                      <a:pt x="65" y="116"/>
                    </a:cubicBezTo>
                    <a:cubicBezTo>
                      <a:pt x="70" y="122"/>
                      <a:pt x="72" y="129"/>
                      <a:pt x="75" y="134"/>
                    </a:cubicBezTo>
                    <a:cubicBezTo>
                      <a:pt x="78" y="139"/>
                      <a:pt x="77" y="146"/>
                      <a:pt x="81" y="149"/>
                    </a:cubicBezTo>
                    <a:cubicBezTo>
                      <a:pt x="85" y="152"/>
                      <a:pt x="97" y="150"/>
                      <a:pt x="101" y="153"/>
                    </a:cubicBezTo>
                    <a:cubicBezTo>
                      <a:pt x="105" y="156"/>
                      <a:pt x="103" y="169"/>
                      <a:pt x="105" y="170"/>
                    </a:cubicBezTo>
                    <a:cubicBezTo>
                      <a:pt x="107" y="171"/>
                      <a:pt x="115" y="166"/>
                      <a:pt x="113" y="159"/>
                    </a:cubicBezTo>
                    <a:cubicBezTo>
                      <a:pt x="111" y="152"/>
                      <a:pt x="101" y="138"/>
                      <a:pt x="95" y="129"/>
                    </a:cubicBezTo>
                    <a:cubicBezTo>
                      <a:pt x="89" y="120"/>
                      <a:pt x="82" y="110"/>
                      <a:pt x="77" y="102"/>
                    </a:cubicBezTo>
                    <a:cubicBezTo>
                      <a:pt x="72" y="94"/>
                      <a:pt x="70" y="90"/>
                      <a:pt x="66" y="83"/>
                    </a:cubicBezTo>
                    <a:cubicBezTo>
                      <a:pt x="62" y="76"/>
                      <a:pt x="57" y="67"/>
                      <a:pt x="53" y="62"/>
                    </a:cubicBezTo>
                    <a:cubicBezTo>
                      <a:pt x="49" y="57"/>
                      <a:pt x="47" y="56"/>
                      <a:pt x="44" y="51"/>
                    </a:cubicBezTo>
                    <a:cubicBezTo>
                      <a:pt x="41" y="46"/>
                      <a:pt x="36" y="38"/>
                      <a:pt x="35" y="33"/>
                    </a:cubicBezTo>
                    <a:cubicBezTo>
                      <a:pt x="34" y="28"/>
                      <a:pt x="31" y="21"/>
                      <a:pt x="35" y="20"/>
                    </a:cubicBezTo>
                    <a:cubicBezTo>
                      <a:pt x="39" y="19"/>
                      <a:pt x="54" y="25"/>
                      <a:pt x="59" y="29"/>
                    </a:cubicBezTo>
                    <a:cubicBezTo>
                      <a:pt x="64" y="33"/>
                      <a:pt x="61" y="37"/>
                      <a:pt x="65" y="45"/>
                    </a:cubicBezTo>
                    <a:cubicBezTo>
                      <a:pt x="69" y="53"/>
                      <a:pt x="75" y="68"/>
                      <a:pt x="84" y="80"/>
                    </a:cubicBezTo>
                    <a:cubicBezTo>
                      <a:pt x="93" y="92"/>
                      <a:pt x="114" y="108"/>
                      <a:pt x="120" y="116"/>
                    </a:cubicBezTo>
                    <a:cubicBezTo>
                      <a:pt x="126" y="124"/>
                      <a:pt x="114" y="122"/>
                      <a:pt x="119" y="129"/>
                    </a:cubicBezTo>
                    <a:cubicBezTo>
                      <a:pt x="124" y="136"/>
                      <a:pt x="142" y="145"/>
                      <a:pt x="152" y="156"/>
                    </a:cubicBezTo>
                    <a:cubicBezTo>
                      <a:pt x="162" y="167"/>
                      <a:pt x="174" y="189"/>
                      <a:pt x="177" y="198"/>
                    </a:cubicBezTo>
                    <a:cubicBezTo>
                      <a:pt x="180" y="207"/>
                      <a:pt x="170" y="207"/>
                      <a:pt x="171" y="213"/>
                    </a:cubicBezTo>
                    <a:cubicBezTo>
                      <a:pt x="172" y="219"/>
                      <a:pt x="181" y="233"/>
                      <a:pt x="186" y="237"/>
                    </a:cubicBezTo>
                    <a:cubicBezTo>
                      <a:pt x="191" y="241"/>
                      <a:pt x="194" y="235"/>
                      <a:pt x="201" y="237"/>
                    </a:cubicBezTo>
                    <a:cubicBezTo>
                      <a:pt x="208" y="239"/>
                      <a:pt x="216" y="246"/>
                      <a:pt x="228" y="252"/>
                    </a:cubicBezTo>
                    <a:cubicBezTo>
                      <a:pt x="240" y="258"/>
                      <a:pt x="260" y="271"/>
                      <a:pt x="273" y="276"/>
                    </a:cubicBezTo>
                    <a:cubicBezTo>
                      <a:pt x="286" y="281"/>
                      <a:pt x="296" y="281"/>
                      <a:pt x="305" y="281"/>
                    </a:cubicBezTo>
                    <a:cubicBezTo>
                      <a:pt x="314" y="281"/>
                      <a:pt x="320" y="279"/>
                      <a:pt x="327" y="279"/>
                    </a:cubicBezTo>
                    <a:cubicBezTo>
                      <a:pt x="334" y="279"/>
                      <a:pt x="343" y="279"/>
                      <a:pt x="350" y="282"/>
                    </a:cubicBezTo>
                    <a:cubicBezTo>
                      <a:pt x="357" y="285"/>
                      <a:pt x="366" y="295"/>
                      <a:pt x="371" y="294"/>
                    </a:cubicBezTo>
                    <a:cubicBezTo>
                      <a:pt x="376" y="293"/>
                      <a:pt x="376" y="281"/>
                      <a:pt x="380" y="279"/>
                    </a:cubicBezTo>
                    <a:cubicBezTo>
                      <a:pt x="384" y="277"/>
                      <a:pt x="393" y="279"/>
                      <a:pt x="398" y="279"/>
                    </a:cubicBezTo>
                    <a:cubicBezTo>
                      <a:pt x="403" y="279"/>
                      <a:pt x="410" y="279"/>
                      <a:pt x="408" y="276"/>
                    </a:cubicBezTo>
                    <a:cubicBezTo>
                      <a:pt x="406" y="273"/>
                      <a:pt x="389" y="261"/>
                      <a:pt x="387" y="257"/>
                    </a:cubicBezTo>
                    <a:cubicBezTo>
                      <a:pt x="385" y="253"/>
                      <a:pt x="391" y="253"/>
                      <a:pt x="395" y="252"/>
                    </a:cubicBezTo>
                    <a:cubicBezTo>
                      <a:pt x="399" y="251"/>
                      <a:pt x="407" y="252"/>
                      <a:pt x="413" y="251"/>
                    </a:cubicBezTo>
                    <a:cubicBezTo>
                      <a:pt x="419" y="250"/>
                      <a:pt x="425" y="252"/>
                      <a:pt x="431" y="243"/>
                    </a:cubicBezTo>
                    <a:cubicBezTo>
                      <a:pt x="437" y="234"/>
                      <a:pt x="451" y="204"/>
                      <a:pt x="450" y="195"/>
                    </a:cubicBezTo>
                    <a:cubicBezTo>
                      <a:pt x="449" y="186"/>
                      <a:pt x="431" y="191"/>
                      <a:pt x="425" y="191"/>
                    </a:cubicBezTo>
                    <a:cubicBezTo>
                      <a:pt x="419" y="191"/>
                      <a:pt x="415" y="197"/>
                      <a:pt x="411" y="198"/>
                    </a:cubicBezTo>
                    <a:cubicBezTo>
                      <a:pt x="407" y="199"/>
                      <a:pt x="401" y="194"/>
                      <a:pt x="399" y="198"/>
                    </a:cubicBezTo>
                    <a:cubicBezTo>
                      <a:pt x="397" y="202"/>
                      <a:pt x="399" y="215"/>
                      <a:pt x="396" y="221"/>
                    </a:cubicBezTo>
                    <a:cubicBezTo>
                      <a:pt x="393" y="227"/>
                      <a:pt x="391" y="233"/>
                      <a:pt x="383" y="237"/>
                    </a:cubicBezTo>
                    <a:cubicBezTo>
                      <a:pt x="375" y="241"/>
                      <a:pt x="355" y="241"/>
                      <a:pt x="348" y="242"/>
                    </a:cubicBezTo>
                    <a:cubicBezTo>
                      <a:pt x="341" y="243"/>
                      <a:pt x="343" y="244"/>
                      <a:pt x="338" y="243"/>
                    </a:cubicBezTo>
                    <a:cubicBezTo>
                      <a:pt x="333" y="242"/>
                      <a:pt x="321" y="240"/>
                      <a:pt x="315" y="233"/>
                    </a:cubicBezTo>
                    <a:cubicBezTo>
                      <a:pt x="309" y="226"/>
                      <a:pt x="304" y="211"/>
                      <a:pt x="299" y="200"/>
                    </a:cubicBezTo>
                    <a:cubicBezTo>
                      <a:pt x="294" y="189"/>
                      <a:pt x="286" y="181"/>
                      <a:pt x="285" y="167"/>
                    </a:cubicBezTo>
                    <a:cubicBezTo>
                      <a:pt x="284" y="153"/>
                      <a:pt x="292" y="125"/>
                      <a:pt x="290" y="117"/>
                    </a:cubicBezTo>
                    <a:cubicBezTo>
                      <a:pt x="288" y="109"/>
                      <a:pt x="277" y="119"/>
                      <a:pt x="272" y="117"/>
                    </a:cubicBezTo>
                    <a:cubicBezTo>
                      <a:pt x="267" y="115"/>
                      <a:pt x="262" y="112"/>
                      <a:pt x="258" y="105"/>
                    </a:cubicBezTo>
                    <a:cubicBezTo>
                      <a:pt x="254" y="98"/>
                      <a:pt x="256" y="82"/>
                      <a:pt x="249" y="74"/>
                    </a:cubicBezTo>
                    <a:cubicBezTo>
                      <a:pt x="242" y="66"/>
                      <a:pt x="219" y="55"/>
                      <a:pt x="213" y="54"/>
                    </a:cubicBezTo>
                    <a:cubicBezTo>
                      <a:pt x="207" y="53"/>
                      <a:pt x="216" y="65"/>
                      <a:pt x="212" y="65"/>
                    </a:cubicBezTo>
                    <a:cubicBezTo>
                      <a:pt x="208" y="65"/>
                      <a:pt x="200" y="61"/>
                      <a:pt x="189" y="53"/>
                    </a:cubicBezTo>
                    <a:cubicBezTo>
                      <a:pt x="178" y="45"/>
                      <a:pt x="156" y="23"/>
                      <a:pt x="147" y="18"/>
                    </a:cubicBezTo>
                    <a:cubicBezTo>
                      <a:pt x="138" y="13"/>
                      <a:pt x="140" y="18"/>
                      <a:pt x="135" y="20"/>
                    </a:cubicBezTo>
                    <a:cubicBezTo>
                      <a:pt x="130" y="22"/>
                      <a:pt x="123" y="28"/>
                      <a:pt x="116" y="30"/>
                    </a:cubicBezTo>
                    <a:cubicBezTo>
                      <a:pt x="109" y="32"/>
                      <a:pt x="104" y="35"/>
                      <a:pt x="95" y="33"/>
                    </a:cubicBezTo>
                    <a:cubicBezTo>
                      <a:pt x="86" y="31"/>
                      <a:pt x="73" y="26"/>
                      <a:pt x="63" y="21"/>
                    </a:cubicBezTo>
                    <a:cubicBezTo>
                      <a:pt x="53" y="16"/>
                      <a:pt x="45" y="4"/>
                      <a:pt x="35" y="2"/>
                    </a:cubicBezTo>
                    <a:cubicBezTo>
                      <a:pt x="25" y="0"/>
                      <a:pt x="11" y="8"/>
                      <a:pt x="5" y="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09" name="Freeform 434">
                <a:extLst>
                  <a:ext uri="{FF2B5EF4-FFF2-40B4-BE49-F238E27FC236}">
                    <a16:creationId xmlns:a16="http://schemas.microsoft.com/office/drawing/2014/main" id="{7FA00D96-5CAB-42E2-8058-6330FCD1BE4A}"/>
                  </a:ext>
                </a:extLst>
              </p:cNvPr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gray">
              <a:xfrm>
                <a:off x="2824163" y="4659313"/>
                <a:ext cx="222250" cy="203200"/>
              </a:xfrm>
              <a:custGeom>
                <a:avLst/>
                <a:gdLst>
                  <a:gd name="T0" fmla="*/ 0 w 137"/>
                  <a:gd name="T1" fmla="*/ 43 h 128"/>
                  <a:gd name="T2" fmla="*/ 6 w 137"/>
                  <a:gd name="T3" fmla="*/ 28 h 128"/>
                  <a:gd name="T4" fmla="*/ 12 w 137"/>
                  <a:gd name="T5" fmla="*/ 10 h 128"/>
                  <a:gd name="T6" fmla="*/ 24 w 137"/>
                  <a:gd name="T7" fmla="*/ 4 h 128"/>
                  <a:gd name="T8" fmla="*/ 35 w 137"/>
                  <a:gd name="T9" fmla="*/ 2 h 128"/>
                  <a:gd name="T10" fmla="*/ 69 w 137"/>
                  <a:gd name="T11" fmla="*/ 5 h 128"/>
                  <a:gd name="T12" fmla="*/ 69 w 137"/>
                  <a:gd name="T13" fmla="*/ 19 h 128"/>
                  <a:gd name="T14" fmla="*/ 70 w 137"/>
                  <a:gd name="T15" fmla="*/ 41 h 128"/>
                  <a:gd name="T16" fmla="*/ 94 w 137"/>
                  <a:gd name="T17" fmla="*/ 47 h 128"/>
                  <a:gd name="T18" fmla="*/ 114 w 137"/>
                  <a:gd name="T19" fmla="*/ 49 h 128"/>
                  <a:gd name="T20" fmla="*/ 115 w 137"/>
                  <a:gd name="T21" fmla="*/ 65 h 128"/>
                  <a:gd name="T22" fmla="*/ 132 w 137"/>
                  <a:gd name="T23" fmla="*/ 76 h 128"/>
                  <a:gd name="T24" fmla="*/ 136 w 137"/>
                  <a:gd name="T25" fmla="*/ 92 h 128"/>
                  <a:gd name="T26" fmla="*/ 126 w 137"/>
                  <a:gd name="T27" fmla="*/ 110 h 128"/>
                  <a:gd name="T28" fmla="*/ 115 w 137"/>
                  <a:gd name="T29" fmla="*/ 127 h 128"/>
                  <a:gd name="T30" fmla="*/ 70 w 137"/>
                  <a:gd name="T31" fmla="*/ 119 h 128"/>
                  <a:gd name="T32" fmla="*/ 76 w 137"/>
                  <a:gd name="T33" fmla="*/ 103 h 128"/>
                  <a:gd name="T34" fmla="*/ 57 w 137"/>
                  <a:gd name="T35" fmla="*/ 86 h 128"/>
                  <a:gd name="T36" fmla="*/ 39 w 137"/>
                  <a:gd name="T37" fmla="*/ 73 h 128"/>
                  <a:gd name="T38" fmla="*/ 15 w 137"/>
                  <a:gd name="T39" fmla="*/ 53 h 128"/>
                  <a:gd name="T40" fmla="*/ 0 w 137"/>
                  <a:gd name="T41" fmla="*/ 4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7" h="128">
                    <a:moveTo>
                      <a:pt x="0" y="43"/>
                    </a:moveTo>
                    <a:cubicBezTo>
                      <a:pt x="1" y="38"/>
                      <a:pt x="6" y="28"/>
                      <a:pt x="6" y="28"/>
                    </a:cubicBezTo>
                    <a:cubicBezTo>
                      <a:pt x="8" y="23"/>
                      <a:pt x="9" y="14"/>
                      <a:pt x="12" y="10"/>
                    </a:cubicBezTo>
                    <a:cubicBezTo>
                      <a:pt x="15" y="6"/>
                      <a:pt x="20" y="5"/>
                      <a:pt x="24" y="4"/>
                    </a:cubicBezTo>
                    <a:cubicBezTo>
                      <a:pt x="29" y="0"/>
                      <a:pt x="28" y="2"/>
                      <a:pt x="35" y="2"/>
                    </a:cubicBezTo>
                    <a:cubicBezTo>
                      <a:pt x="42" y="2"/>
                      <a:pt x="63" y="2"/>
                      <a:pt x="69" y="5"/>
                    </a:cubicBezTo>
                    <a:cubicBezTo>
                      <a:pt x="75" y="8"/>
                      <a:pt x="69" y="13"/>
                      <a:pt x="69" y="19"/>
                    </a:cubicBezTo>
                    <a:cubicBezTo>
                      <a:pt x="69" y="25"/>
                      <a:pt x="66" y="36"/>
                      <a:pt x="70" y="41"/>
                    </a:cubicBezTo>
                    <a:cubicBezTo>
                      <a:pt x="74" y="49"/>
                      <a:pt x="87" y="45"/>
                      <a:pt x="94" y="47"/>
                    </a:cubicBezTo>
                    <a:cubicBezTo>
                      <a:pt x="101" y="48"/>
                      <a:pt x="110" y="46"/>
                      <a:pt x="114" y="49"/>
                    </a:cubicBezTo>
                    <a:cubicBezTo>
                      <a:pt x="118" y="51"/>
                      <a:pt x="112" y="61"/>
                      <a:pt x="115" y="65"/>
                    </a:cubicBezTo>
                    <a:cubicBezTo>
                      <a:pt x="118" y="69"/>
                      <a:pt x="129" y="72"/>
                      <a:pt x="132" y="76"/>
                    </a:cubicBezTo>
                    <a:cubicBezTo>
                      <a:pt x="135" y="80"/>
                      <a:pt x="137" y="86"/>
                      <a:pt x="136" y="92"/>
                    </a:cubicBezTo>
                    <a:cubicBezTo>
                      <a:pt x="135" y="98"/>
                      <a:pt x="129" y="104"/>
                      <a:pt x="126" y="110"/>
                    </a:cubicBezTo>
                    <a:cubicBezTo>
                      <a:pt x="123" y="116"/>
                      <a:pt x="124" y="125"/>
                      <a:pt x="115" y="127"/>
                    </a:cubicBezTo>
                    <a:cubicBezTo>
                      <a:pt x="87" y="126"/>
                      <a:pt x="86" y="128"/>
                      <a:pt x="70" y="119"/>
                    </a:cubicBezTo>
                    <a:cubicBezTo>
                      <a:pt x="63" y="115"/>
                      <a:pt x="78" y="108"/>
                      <a:pt x="76" y="103"/>
                    </a:cubicBezTo>
                    <a:cubicBezTo>
                      <a:pt x="74" y="98"/>
                      <a:pt x="63" y="91"/>
                      <a:pt x="57" y="86"/>
                    </a:cubicBezTo>
                    <a:cubicBezTo>
                      <a:pt x="53" y="77"/>
                      <a:pt x="50" y="75"/>
                      <a:pt x="39" y="73"/>
                    </a:cubicBezTo>
                    <a:cubicBezTo>
                      <a:pt x="33" y="67"/>
                      <a:pt x="21" y="58"/>
                      <a:pt x="15" y="53"/>
                    </a:cubicBezTo>
                    <a:cubicBezTo>
                      <a:pt x="9" y="48"/>
                      <a:pt x="3" y="45"/>
                      <a:pt x="0" y="4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0" name="Freeform 435">
                <a:extLst>
                  <a:ext uri="{FF2B5EF4-FFF2-40B4-BE49-F238E27FC236}">
                    <a16:creationId xmlns:a16="http://schemas.microsoft.com/office/drawing/2014/main" id="{243334AF-8B6B-4EEF-A2D6-DD6732E5D8E3}"/>
                  </a:ext>
                </a:extLst>
              </p:cNvPr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gray">
              <a:xfrm>
                <a:off x="2187576" y="3762375"/>
                <a:ext cx="28575" cy="61913"/>
              </a:xfrm>
              <a:custGeom>
                <a:avLst/>
                <a:gdLst>
                  <a:gd name="T0" fmla="*/ 14 w 19"/>
                  <a:gd name="T1" fmla="*/ 0 h 38"/>
                  <a:gd name="T2" fmla="*/ 19 w 19"/>
                  <a:gd name="T3" fmla="*/ 32 h 38"/>
                  <a:gd name="T4" fmla="*/ 5 w 19"/>
                  <a:gd name="T5" fmla="*/ 38 h 38"/>
                  <a:gd name="T6" fmla="*/ 4 w 19"/>
                  <a:gd name="T7" fmla="*/ 23 h 38"/>
                  <a:gd name="T8" fmla="*/ 10 w 19"/>
                  <a:gd name="T9" fmla="*/ 9 h 38"/>
                  <a:gd name="T10" fmla="*/ 14 w 19"/>
                  <a:gd name="T1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38">
                    <a:moveTo>
                      <a:pt x="14" y="0"/>
                    </a:moveTo>
                    <a:cubicBezTo>
                      <a:pt x="18" y="22"/>
                      <a:pt x="16" y="11"/>
                      <a:pt x="19" y="32"/>
                    </a:cubicBezTo>
                    <a:cubicBezTo>
                      <a:pt x="13" y="33"/>
                      <a:pt x="10" y="36"/>
                      <a:pt x="5" y="38"/>
                    </a:cubicBezTo>
                    <a:cubicBezTo>
                      <a:pt x="0" y="32"/>
                      <a:pt x="1" y="30"/>
                      <a:pt x="4" y="23"/>
                    </a:cubicBezTo>
                    <a:cubicBezTo>
                      <a:pt x="5" y="17"/>
                      <a:pt x="7" y="14"/>
                      <a:pt x="10" y="9"/>
                    </a:cubicBezTo>
                    <a:cubicBezTo>
                      <a:pt x="11" y="2"/>
                      <a:pt x="10" y="4"/>
                      <a:pt x="14" y="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1" name="Freeform 436">
                <a:extLst>
                  <a:ext uri="{FF2B5EF4-FFF2-40B4-BE49-F238E27FC236}">
                    <a16:creationId xmlns:a16="http://schemas.microsoft.com/office/drawing/2014/main" id="{B759F3B6-BFBC-4F51-B4B8-A005F7A3B220}"/>
                  </a:ext>
                </a:extLst>
              </p:cNvPr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gray">
              <a:xfrm>
                <a:off x="2274888" y="3925888"/>
                <a:ext cx="107950" cy="93663"/>
              </a:xfrm>
              <a:custGeom>
                <a:avLst/>
                <a:gdLst>
                  <a:gd name="T0" fmla="*/ 5 w 68"/>
                  <a:gd name="T1" fmla="*/ 4 h 58"/>
                  <a:gd name="T2" fmla="*/ 14 w 68"/>
                  <a:gd name="T3" fmla="*/ 15 h 58"/>
                  <a:gd name="T4" fmla="*/ 23 w 68"/>
                  <a:gd name="T5" fmla="*/ 31 h 58"/>
                  <a:gd name="T6" fmla="*/ 33 w 68"/>
                  <a:gd name="T7" fmla="*/ 36 h 58"/>
                  <a:gd name="T8" fmla="*/ 60 w 68"/>
                  <a:gd name="T9" fmla="*/ 51 h 58"/>
                  <a:gd name="T10" fmla="*/ 68 w 68"/>
                  <a:gd name="T11" fmla="*/ 43 h 58"/>
                  <a:gd name="T12" fmla="*/ 51 w 68"/>
                  <a:gd name="T13" fmla="*/ 33 h 58"/>
                  <a:gd name="T14" fmla="*/ 39 w 68"/>
                  <a:gd name="T15" fmla="*/ 24 h 58"/>
                  <a:gd name="T16" fmla="*/ 38 w 68"/>
                  <a:gd name="T17" fmla="*/ 16 h 58"/>
                  <a:gd name="T18" fmla="*/ 5 w 68"/>
                  <a:gd name="T19" fmla="*/ 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58">
                    <a:moveTo>
                      <a:pt x="5" y="4"/>
                    </a:moveTo>
                    <a:cubicBezTo>
                      <a:pt x="0" y="3"/>
                      <a:pt x="11" y="11"/>
                      <a:pt x="14" y="15"/>
                    </a:cubicBezTo>
                    <a:cubicBezTo>
                      <a:pt x="17" y="19"/>
                      <a:pt x="20" y="28"/>
                      <a:pt x="23" y="31"/>
                    </a:cubicBezTo>
                    <a:cubicBezTo>
                      <a:pt x="28" y="33"/>
                      <a:pt x="29" y="33"/>
                      <a:pt x="33" y="36"/>
                    </a:cubicBezTo>
                    <a:cubicBezTo>
                      <a:pt x="36" y="45"/>
                      <a:pt x="52" y="48"/>
                      <a:pt x="60" y="51"/>
                    </a:cubicBezTo>
                    <a:cubicBezTo>
                      <a:pt x="65" y="58"/>
                      <a:pt x="65" y="49"/>
                      <a:pt x="68" y="43"/>
                    </a:cubicBezTo>
                    <a:cubicBezTo>
                      <a:pt x="61" y="39"/>
                      <a:pt x="59" y="35"/>
                      <a:pt x="51" y="33"/>
                    </a:cubicBezTo>
                    <a:cubicBezTo>
                      <a:pt x="47" y="30"/>
                      <a:pt x="41" y="27"/>
                      <a:pt x="39" y="24"/>
                    </a:cubicBezTo>
                    <a:cubicBezTo>
                      <a:pt x="37" y="21"/>
                      <a:pt x="44" y="19"/>
                      <a:pt x="38" y="16"/>
                    </a:cubicBezTo>
                    <a:cubicBezTo>
                      <a:pt x="30" y="0"/>
                      <a:pt x="16" y="15"/>
                      <a:pt x="5" y="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2" name="Freeform 437">
                <a:extLst>
                  <a:ext uri="{FF2B5EF4-FFF2-40B4-BE49-F238E27FC236}">
                    <a16:creationId xmlns:a16="http://schemas.microsoft.com/office/drawing/2014/main" id="{820C7F93-0448-4F4D-B66E-9FC23D1F9986}"/>
                  </a:ext>
                </a:extLst>
              </p:cNvPr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gray">
              <a:xfrm>
                <a:off x="2559051" y="3703638"/>
                <a:ext cx="60325" cy="68263"/>
              </a:xfrm>
              <a:custGeom>
                <a:avLst/>
                <a:gdLst>
                  <a:gd name="T0" fmla="*/ 15 w 69"/>
                  <a:gd name="T1" fmla="*/ 0 h 43"/>
                  <a:gd name="T2" fmla="*/ 22 w 69"/>
                  <a:gd name="T3" fmla="*/ 12 h 43"/>
                  <a:gd name="T4" fmla="*/ 16 w 69"/>
                  <a:gd name="T5" fmla="*/ 27 h 43"/>
                  <a:gd name="T6" fmla="*/ 0 w 69"/>
                  <a:gd name="T7" fmla="*/ 28 h 43"/>
                  <a:gd name="T8" fmla="*/ 7 w 69"/>
                  <a:gd name="T9" fmla="*/ 37 h 43"/>
                  <a:gd name="T10" fmla="*/ 31 w 69"/>
                  <a:gd name="T11" fmla="*/ 34 h 43"/>
                  <a:gd name="T12" fmla="*/ 46 w 69"/>
                  <a:gd name="T13" fmla="*/ 43 h 43"/>
                  <a:gd name="T14" fmla="*/ 69 w 69"/>
                  <a:gd name="T15" fmla="*/ 37 h 43"/>
                  <a:gd name="T16" fmla="*/ 54 w 69"/>
                  <a:gd name="T17" fmla="*/ 16 h 43"/>
                  <a:gd name="T18" fmla="*/ 60 w 69"/>
                  <a:gd name="T19" fmla="*/ 1 h 43"/>
                  <a:gd name="T20" fmla="*/ 40 w 69"/>
                  <a:gd name="T21" fmla="*/ 4 h 43"/>
                  <a:gd name="T22" fmla="*/ 25 w 69"/>
                  <a:gd name="T23" fmla="*/ 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" h="43">
                    <a:moveTo>
                      <a:pt x="15" y="0"/>
                    </a:moveTo>
                    <a:lnTo>
                      <a:pt x="22" y="12"/>
                    </a:lnTo>
                    <a:lnTo>
                      <a:pt x="16" y="27"/>
                    </a:lnTo>
                    <a:lnTo>
                      <a:pt x="0" y="28"/>
                    </a:lnTo>
                    <a:lnTo>
                      <a:pt x="7" y="37"/>
                    </a:lnTo>
                    <a:lnTo>
                      <a:pt x="31" y="34"/>
                    </a:lnTo>
                    <a:lnTo>
                      <a:pt x="46" y="43"/>
                    </a:lnTo>
                    <a:lnTo>
                      <a:pt x="69" y="37"/>
                    </a:lnTo>
                    <a:lnTo>
                      <a:pt x="54" y="16"/>
                    </a:lnTo>
                    <a:lnTo>
                      <a:pt x="60" y="1"/>
                    </a:lnTo>
                    <a:lnTo>
                      <a:pt x="40" y="4"/>
                    </a:lnTo>
                    <a:lnTo>
                      <a:pt x="25" y="4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3" name="Freeform 438">
                <a:extLst>
                  <a:ext uri="{FF2B5EF4-FFF2-40B4-BE49-F238E27FC236}">
                    <a16:creationId xmlns:a16="http://schemas.microsoft.com/office/drawing/2014/main" id="{6B928B4A-BDEE-4079-A653-9ECF40902F3C}"/>
                  </a:ext>
                </a:extLst>
              </p:cNvPr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gray">
              <a:xfrm>
                <a:off x="2717801" y="3744913"/>
                <a:ext cx="73025" cy="22225"/>
              </a:xfrm>
              <a:custGeom>
                <a:avLst/>
                <a:gdLst>
                  <a:gd name="T0" fmla="*/ 0 w 45"/>
                  <a:gd name="T1" fmla="*/ 8 h 15"/>
                  <a:gd name="T2" fmla="*/ 24 w 45"/>
                  <a:gd name="T3" fmla="*/ 8 h 15"/>
                  <a:gd name="T4" fmla="*/ 43 w 45"/>
                  <a:gd name="T5" fmla="*/ 0 h 15"/>
                  <a:gd name="T6" fmla="*/ 45 w 45"/>
                  <a:gd name="T7" fmla="*/ 14 h 15"/>
                  <a:gd name="T8" fmla="*/ 21 w 45"/>
                  <a:gd name="T9" fmla="*/ 15 h 15"/>
                  <a:gd name="T10" fmla="*/ 0 w 45"/>
                  <a:gd name="T11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" h="15">
                    <a:moveTo>
                      <a:pt x="0" y="8"/>
                    </a:moveTo>
                    <a:lnTo>
                      <a:pt x="24" y="8"/>
                    </a:lnTo>
                    <a:lnTo>
                      <a:pt x="43" y="0"/>
                    </a:lnTo>
                    <a:lnTo>
                      <a:pt x="45" y="14"/>
                    </a:lnTo>
                    <a:lnTo>
                      <a:pt x="21" y="15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4" name="Freeform 490">
                <a:extLst>
                  <a:ext uri="{FF2B5EF4-FFF2-40B4-BE49-F238E27FC236}">
                    <a16:creationId xmlns:a16="http://schemas.microsoft.com/office/drawing/2014/main" id="{901CFAFE-D1E1-4C89-A8A1-DAB8105891D9}"/>
                  </a:ext>
                </a:extLst>
              </p:cNvPr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gray">
              <a:xfrm>
                <a:off x="4649788" y="3636963"/>
                <a:ext cx="260350" cy="382588"/>
              </a:xfrm>
              <a:custGeom>
                <a:avLst/>
                <a:gdLst>
                  <a:gd name="T0" fmla="*/ 140 w 160"/>
                  <a:gd name="T1" fmla="*/ 182 h 236"/>
                  <a:gd name="T2" fmla="*/ 137 w 160"/>
                  <a:gd name="T3" fmla="*/ 164 h 236"/>
                  <a:gd name="T4" fmla="*/ 131 w 160"/>
                  <a:gd name="T5" fmla="*/ 154 h 236"/>
                  <a:gd name="T6" fmla="*/ 137 w 160"/>
                  <a:gd name="T7" fmla="*/ 136 h 236"/>
                  <a:gd name="T8" fmla="*/ 158 w 160"/>
                  <a:gd name="T9" fmla="*/ 106 h 236"/>
                  <a:gd name="T10" fmla="*/ 158 w 160"/>
                  <a:gd name="T11" fmla="*/ 63 h 236"/>
                  <a:gd name="T12" fmla="*/ 143 w 160"/>
                  <a:gd name="T13" fmla="*/ 49 h 236"/>
                  <a:gd name="T14" fmla="*/ 125 w 160"/>
                  <a:gd name="T15" fmla="*/ 39 h 236"/>
                  <a:gd name="T16" fmla="*/ 107 w 160"/>
                  <a:gd name="T17" fmla="*/ 30 h 236"/>
                  <a:gd name="T18" fmla="*/ 92 w 160"/>
                  <a:gd name="T19" fmla="*/ 26 h 236"/>
                  <a:gd name="T20" fmla="*/ 77 w 160"/>
                  <a:gd name="T21" fmla="*/ 8 h 236"/>
                  <a:gd name="T22" fmla="*/ 65 w 160"/>
                  <a:gd name="T23" fmla="*/ 7 h 236"/>
                  <a:gd name="T24" fmla="*/ 50 w 160"/>
                  <a:gd name="T25" fmla="*/ 4 h 236"/>
                  <a:gd name="T26" fmla="*/ 26 w 160"/>
                  <a:gd name="T27" fmla="*/ 2 h 236"/>
                  <a:gd name="T28" fmla="*/ 31 w 160"/>
                  <a:gd name="T29" fmla="*/ 17 h 236"/>
                  <a:gd name="T30" fmla="*/ 40 w 160"/>
                  <a:gd name="T31" fmla="*/ 51 h 236"/>
                  <a:gd name="T32" fmla="*/ 34 w 160"/>
                  <a:gd name="T33" fmla="*/ 93 h 236"/>
                  <a:gd name="T34" fmla="*/ 21 w 160"/>
                  <a:gd name="T35" fmla="*/ 116 h 236"/>
                  <a:gd name="T36" fmla="*/ 5 w 160"/>
                  <a:gd name="T37" fmla="*/ 131 h 236"/>
                  <a:gd name="T38" fmla="*/ 13 w 160"/>
                  <a:gd name="T39" fmla="*/ 158 h 236"/>
                  <a:gd name="T40" fmla="*/ 28 w 160"/>
                  <a:gd name="T41" fmla="*/ 188 h 236"/>
                  <a:gd name="T42" fmla="*/ 29 w 160"/>
                  <a:gd name="T43" fmla="*/ 197 h 236"/>
                  <a:gd name="T44" fmla="*/ 14 w 160"/>
                  <a:gd name="T45" fmla="*/ 205 h 236"/>
                  <a:gd name="T46" fmla="*/ 26 w 160"/>
                  <a:gd name="T47" fmla="*/ 217 h 236"/>
                  <a:gd name="T48" fmla="*/ 43 w 160"/>
                  <a:gd name="T49" fmla="*/ 232 h 236"/>
                  <a:gd name="T50" fmla="*/ 67 w 160"/>
                  <a:gd name="T51" fmla="*/ 235 h 236"/>
                  <a:gd name="T52" fmla="*/ 83 w 160"/>
                  <a:gd name="T53" fmla="*/ 228 h 236"/>
                  <a:gd name="T54" fmla="*/ 98 w 160"/>
                  <a:gd name="T55" fmla="*/ 214 h 236"/>
                  <a:gd name="T56" fmla="*/ 115 w 160"/>
                  <a:gd name="T57" fmla="*/ 205 h 236"/>
                  <a:gd name="T58" fmla="*/ 121 w 160"/>
                  <a:gd name="T59" fmla="*/ 197 h 236"/>
                  <a:gd name="T60" fmla="*/ 142 w 160"/>
                  <a:gd name="T61" fmla="*/ 185 h 236"/>
                  <a:gd name="T62" fmla="*/ 140 w 160"/>
                  <a:gd name="T63" fmla="*/ 182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36">
                    <a:moveTo>
                      <a:pt x="140" y="182"/>
                    </a:moveTo>
                    <a:cubicBezTo>
                      <a:pt x="140" y="178"/>
                      <a:pt x="138" y="169"/>
                      <a:pt x="137" y="164"/>
                    </a:cubicBezTo>
                    <a:cubicBezTo>
                      <a:pt x="136" y="159"/>
                      <a:pt x="131" y="159"/>
                      <a:pt x="131" y="154"/>
                    </a:cubicBezTo>
                    <a:cubicBezTo>
                      <a:pt x="133" y="149"/>
                      <a:pt x="137" y="136"/>
                      <a:pt x="137" y="136"/>
                    </a:cubicBezTo>
                    <a:cubicBezTo>
                      <a:pt x="145" y="123"/>
                      <a:pt x="140" y="110"/>
                      <a:pt x="158" y="106"/>
                    </a:cubicBezTo>
                    <a:cubicBezTo>
                      <a:pt x="160" y="93"/>
                      <a:pt x="160" y="72"/>
                      <a:pt x="158" y="63"/>
                    </a:cubicBezTo>
                    <a:cubicBezTo>
                      <a:pt x="156" y="54"/>
                      <a:pt x="148" y="53"/>
                      <a:pt x="143" y="49"/>
                    </a:cubicBezTo>
                    <a:cubicBezTo>
                      <a:pt x="138" y="42"/>
                      <a:pt x="133" y="40"/>
                      <a:pt x="125" y="39"/>
                    </a:cubicBezTo>
                    <a:cubicBezTo>
                      <a:pt x="118" y="36"/>
                      <a:pt x="114" y="31"/>
                      <a:pt x="107" y="30"/>
                    </a:cubicBezTo>
                    <a:cubicBezTo>
                      <a:pt x="103" y="28"/>
                      <a:pt x="99" y="30"/>
                      <a:pt x="92" y="26"/>
                    </a:cubicBezTo>
                    <a:cubicBezTo>
                      <a:pt x="87" y="22"/>
                      <a:pt x="81" y="11"/>
                      <a:pt x="77" y="8"/>
                    </a:cubicBezTo>
                    <a:cubicBezTo>
                      <a:pt x="73" y="5"/>
                      <a:pt x="69" y="8"/>
                      <a:pt x="65" y="7"/>
                    </a:cubicBezTo>
                    <a:cubicBezTo>
                      <a:pt x="60" y="5"/>
                      <a:pt x="54" y="7"/>
                      <a:pt x="50" y="4"/>
                    </a:cubicBezTo>
                    <a:cubicBezTo>
                      <a:pt x="41" y="4"/>
                      <a:pt x="34" y="0"/>
                      <a:pt x="26" y="2"/>
                    </a:cubicBezTo>
                    <a:cubicBezTo>
                      <a:pt x="22" y="3"/>
                      <a:pt x="25" y="16"/>
                      <a:pt x="31" y="17"/>
                    </a:cubicBezTo>
                    <a:cubicBezTo>
                      <a:pt x="37" y="27"/>
                      <a:pt x="36" y="40"/>
                      <a:pt x="40" y="51"/>
                    </a:cubicBezTo>
                    <a:cubicBezTo>
                      <a:pt x="43" y="69"/>
                      <a:pt x="45" y="79"/>
                      <a:pt x="34" y="93"/>
                    </a:cubicBezTo>
                    <a:cubicBezTo>
                      <a:pt x="31" y="104"/>
                      <a:pt x="26" y="110"/>
                      <a:pt x="21" y="116"/>
                    </a:cubicBezTo>
                    <a:cubicBezTo>
                      <a:pt x="16" y="122"/>
                      <a:pt x="6" y="124"/>
                      <a:pt x="5" y="131"/>
                    </a:cubicBezTo>
                    <a:cubicBezTo>
                      <a:pt x="3" y="142"/>
                      <a:pt x="0" y="156"/>
                      <a:pt x="13" y="158"/>
                    </a:cubicBezTo>
                    <a:cubicBezTo>
                      <a:pt x="14" y="170"/>
                      <a:pt x="21" y="179"/>
                      <a:pt x="28" y="188"/>
                    </a:cubicBezTo>
                    <a:cubicBezTo>
                      <a:pt x="29" y="195"/>
                      <a:pt x="38" y="195"/>
                      <a:pt x="29" y="197"/>
                    </a:cubicBezTo>
                    <a:cubicBezTo>
                      <a:pt x="23" y="200"/>
                      <a:pt x="18" y="199"/>
                      <a:pt x="14" y="205"/>
                    </a:cubicBezTo>
                    <a:cubicBezTo>
                      <a:pt x="16" y="210"/>
                      <a:pt x="21" y="213"/>
                      <a:pt x="26" y="217"/>
                    </a:cubicBezTo>
                    <a:cubicBezTo>
                      <a:pt x="32" y="226"/>
                      <a:pt x="32" y="231"/>
                      <a:pt x="43" y="232"/>
                    </a:cubicBezTo>
                    <a:cubicBezTo>
                      <a:pt x="50" y="235"/>
                      <a:pt x="60" y="236"/>
                      <a:pt x="67" y="235"/>
                    </a:cubicBezTo>
                    <a:cubicBezTo>
                      <a:pt x="74" y="234"/>
                      <a:pt x="78" y="232"/>
                      <a:pt x="83" y="228"/>
                    </a:cubicBezTo>
                    <a:cubicBezTo>
                      <a:pt x="86" y="219"/>
                      <a:pt x="91" y="219"/>
                      <a:pt x="98" y="214"/>
                    </a:cubicBezTo>
                    <a:cubicBezTo>
                      <a:pt x="102" y="207"/>
                      <a:pt x="107" y="206"/>
                      <a:pt x="115" y="205"/>
                    </a:cubicBezTo>
                    <a:cubicBezTo>
                      <a:pt x="125" y="197"/>
                      <a:pt x="113" y="207"/>
                      <a:pt x="121" y="197"/>
                    </a:cubicBezTo>
                    <a:cubicBezTo>
                      <a:pt x="125" y="192"/>
                      <a:pt x="138" y="187"/>
                      <a:pt x="142" y="185"/>
                    </a:cubicBezTo>
                    <a:cubicBezTo>
                      <a:pt x="143" y="184"/>
                      <a:pt x="141" y="183"/>
                      <a:pt x="140" y="182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5" name="Freeform 491">
                <a:extLst>
                  <a:ext uri="{FF2B5EF4-FFF2-40B4-BE49-F238E27FC236}">
                    <a16:creationId xmlns:a16="http://schemas.microsoft.com/office/drawing/2014/main" id="{94539252-E1E3-4C2C-B511-590CFE3263E2}"/>
                  </a:ext>
                </a:extLst>
              </p:cNvPr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gray">
              <a:xfrm>
                <a:off x="5129213" y="3846513"/>
                <a:ext cx="350838" cy="265113"/>
              </a:xfrm>
              <a:custGeom>
                <a:avLst/>
                <a:gdLst>
                  <a:gd name="T0" fmla="*/ 46 w 216"/>
                  <a:gd name="T1" fmla="*/ 5 h 164"/>
                  <a:gd name="T2" fmla="*/ 68 w 216"/>
                  <a:gd name="T3" fmla="*/ 6 h 164"/>
                  <a:gd name="T4" fmla="*/ 87 w 216"/>
                  <a:gd name="T5" fmla="*/ 6 h 164"/>
                  <a:gd name="T6" fmla="*/ 113 w 216"/>
                  <a:gd name="T7" fmla="*/ 6 h 164"/>
                  <a:gd name="T8" fmla="*/ 124 w 216"/>
                  <a:gd name="T9" fmla="*/ 9 h 164"/>
                  <a:gd name="T10" fmla="*/ 129 w 216"/>
                  <a:gd name="T11" fmla="*/ 24 h 164"/>
                  <a:gd name="T12" fmla="*/ 122 w 216"/>
                  <a:gd name="T13" fmla="*/ 27 h 164"/>
                  <a:gd name="T14" fmla="*/ 124 w 216"/>
                  <a:gd name="T15" fmla="*/ 39 h 164"/>
                  <a:gd name="T16" fmla="*/ 153 w 216"/>
                  <a:gd name="T17" fmla="*/ 64 h 164"/>
                  <a:gd name="T18" fmla="*/ 170 w 216"/>
                  <a:gd name="T19" fmla="*/ 82 h 164"/>
                  <a:gd name="T20" fmla="*/ 182 w 216"/>
                  <a:gd name="T21" fmla="*/ 85 h 164"/>
                  <a:gd name="T22" fmla="*/ 200 w 216"/>
                  <a:gd name="T23" fmla="*/ 94 h 164"/>
                  <a:gd name="T24" fmla="*/ 215 w 216"/>
                  <a:gd name="T25" fmla="*/ 103 h 164"/>
                  <a:gd name="T26" fmla="*/ 198 w 216"/>
                  <a:gd name="T27" fmla="*/ 120 h 164"/>
                  <a:gd name="T28" fmla="*/ 186 w 216"/>
                  <a:gd name="T29" fmla="*/ 133 h 164"/>
                  <a:gd name="T30" fmla="*/ 168 w 216"/>
                  <a:gd name="T31" fmla="*/ 143 h 164"/>
                  <a:gd name="T32" fmla="*/ 132 w 216"/>
                  <a:gd name="T33" fmla="*/ 146 h 164"/>
                  <a:gd name="T34" fmla="*/ 107 w 216"/>
                  <a:gd name="T35" fmla="*/ 161 h 164"/>
                  <a:gd name="T36" fmla="*/ 87 w 216"/>
                  <a:gd name="T37" fmla="*/ 162 h 164"/>
                  <a:gd name="T38" fmla="*/ 65 w 216"/>
                  <a:gd name="T39" fmla="*/ 162 h 164"/>
                  <a:gd name="T40" fmla="*/ 48 w 216"/>
                  <a:gd name="T41" fmla="*/ 148 h 164"/>
                  <a:gd name="T42" fmla="*/ 42 w 216"/>
                  <a:gd name="T43" fmla="*/ 144 h 164"/>
                  <a:gd name="T44" fmla="*/ 24 w 216"/>
                  <a:gd name="T45" fmla="*/ 127 h 164"/>
                  <a:gd name="T46" fmla="*/ 18 w 216"/>
                  <a:gd name="T47" fmla="*/ 113 h 164"/>
                  <a:gd name="T48" fmla="*/ 2 w 216"/>
                  <a:gd name="T49" fmla="*/ 99 h 164"/>
                  <a:gd name="T50" fmla="*/ 4 w 216"/>
                  <a:gd name="T51" fmla="*/ 92 h 164"/>
                  <a:gd name="T52" fmla="*/ 14 w 216"/>
                  <a:gd name="T53" fmla="*/ 83 h 164"/>
                  <a:gd name="T54" fmla="*/ 16 w 216"/>
                  <a:gd name="T55" fmla="*/ 60 h 164"/>
                  <a:gd name="T56" fmla="*/ 28 w 216"/>
                  <a:gd name="T57" fmla="*/ 42 h 164"/>
                  <a:gd name="T58" fmla="*/ 41 w 216"/>
                  <a:gd name="T59" fmla="*/ 31 h 164"/>
                  <a:gd name="T60" fmla="*/ 46 w 216"/>
                  <a:gd name="T61" fmla="*/ 5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16" h="164">
                    <a:moveTo>
                      <a:pt x="46" y="5"/>
                    </a:moveTo>
                    <a:cubicBezTo>
                      <a:pt x="50" y="0"/>
                      <a:pt x="61" y="6"/>
                      <a:pt x="68" y="6"/>
                    </a:cubicBezTo>
                    <a:cubicBezTo>
                      <a:pt x="75" y="6"/>
                      <a:pt x="80" y="6"/>
                      <a:pt x="87" y="6"/>
                    </a:cubicBezTo>
                    <a:cubicBezTo>
                      <a:pt x="94" y="6"/>
                      <a:pt x="107" y="6"/>
                      <a:pt x="113" y="6"/>
                    </a:cubicBezTo>
                    <a:cubicBezTo>
                      <a:pt x="117" y="8"/>
                      <a:pt x="121" y="5"/>
                      <a:pt x="124" y="9"/>
                    </a:cubicBezTo>
                    <a:cubicBezTo>
                      <a:pt x="126" y="11"/>
                      <a:pt x="130" y="21"/>
                      <a:pt x="129" y="24"/>
                    </a:cubicBezTo>
                    <a:cubicBezTo>
                      <a:pt x="129" y="27"/>
                      <a:pt x="123" y="25"/>
                      <a:pt x="122" y="27"/>
                    </a:cubicBezTo>
                    <a:cubicBezTo>
                      <a:pt x="121" y="28"/>
                      <a:pt x="119" y="33"/>
                      <a:pt x="124" y="39"/>
                    </a:cubicBezTo>
                    <a:cubicBezTo>
                      <a:pt x="129" y="45"/>
                      <a:pt x="145" y="57"/>
                      <a:pt x="153" y="64"/>
                    </a:cubicBezTo>
                    <a:cubicBezTo>
                      <a:pt x="156" y="69"/>
                      <a:pt x="164" y="78"/>
                      <a:pt x="170" y="82"/>
                    </a:cubicBezTo>
                    <a:cubicBezTo>
                      <a:pt x="174" y="83"/>
                      <a:pt x="182" y="85"/>
                      <a:pt x="182" y="85"/>
                    </a:cubicBezTo>
                    <a:cubicBezTo>
                      <a:pt x="186" y="88"/>
                      <a:pt x="196" y="91"/>
                      <a:pt x="200" y="94"/>
                    </a:cubicBezTo>
                    <a:cubicBezTo>
                      <a:pt x="205" y="97"/>
                      <a:pt x="215" y="99"/>
                      <a:pt x="215" y="103"/>
                    </a:cubicBezTo>
                    <a:cubicBezTo>
                      <a:pt x="216" y="108"/>
                      <a:pt x="203" y="115"/>
                      <a:pt x="198" y="120"/>
                    </a:cubicBezTo>
                    <a:cubicBezTo>
                      <a:pt x="193" y="125"/>
                      <a:pt x="191" y="129"/>
                      <a:pt x="186" y="133"/>
                    </a:cubicBezTo>
                    <a:cubicBezTo>
                      <a:pt x="178" y="138"/>
                      <a:pt x="177" y="141"/>
                      <a:pt x="168" y="143"/>
                    </a:cubicBezTo>
                    <a:cubicBezTo>
                      <a:pt x="159" y="145"/>
                      <a:pt x="142" y="143"/>
                      <a:pt x="132" y="146"/>
                    </a:cubicBezTo>
                    <a:cubicBezTo>
                      <a:pt x="122" y="156"/>
                      <a:pt x="123" y="159"/>
                      <a:pt x="107" y="161"/>
                    </a:cubicBezTo>
                    <a:cubicBezTo>
                      <a:pt x="100" y="164"/>
                      <a:pt x="94" y="162"/>
                      <a:pt x="87" y="162"/>
                    </a:cubicBezTo>
                    <a:cubicBezTo>
                      <a:pt x="80" y="162"/>
                      <a:pt x="71" y="164"/>
                      <a:pt x="65" y="162"/>
                    </a:cubicBezTo>
                    <a:cubicBezTo>
                      <a:pt x="54" y="158"/>
                      <a:pt x="62" y="157"/>
                      <a:pt x="48" y="148"/>
                    </a:cubicBezTo>
                    <a:cubicBezTo>
                      <a:pt x="46" y="147"/>
                      <a:pt x="42" y="144"/>
                      <a:pt x="42" y="144"/>
                    </a:cubicBezTo>
                    <a:cubicBezTo>
                      <a:pt x="38" y="141"/>
                      <a:pt x="29" y="133"/>
                      <a:pt x="24" y="127"/>
                    </a:cubicBezTo>
                    <a:cubicBezTo>
                      <a:pt x="20" y="122"/>
                      <a:pt x="22" y="118"/>
                      <a:pt x="18" y="113"/>
                    </a:cubicBezTo>
                    <a:cubicBezTo>
                      <a:pt x="15" y="109"/>
                      <a:pt x="2" y="99"/>
                      <a:pt x="2" y="99"/>
                    </a:cubicBezTo>
                    <a:cubicBezTo>
                      <a:pt x="0" y="95"/>
                      <a:pt x="2" y="95"/>
                      <a:pt x="4" y="92"/>
                    </a:cubicBezTo>
                    <a:cubicBezTo>
                      <a:pt x="6" y="89"/>
                      <a:pt x="12" y="88"/>
                      <a:pt x="14" y="83"/>
                    </a:cubicBezTo>
                    <a:cubicBezTo>
                      <a:pt x="17" y="76"/>
                      <a:pt x="11" y="67"/>
                      <a:pt x="16" y="60"/>
                    </a:cubicBezTo>
                    <a:cubicBezTo>
                      <a:pt x="18" y="56"/>
                      <a:pt x="25" y="45"/>
                      <a:pt x="28" y="42"/>
                    </a:cubicBezTo>
                    <a:cubicBezTo>
                      <a:pt x="31" y="39"/>
                      <a:pt x="41" y="31"/>
                      <a:pt x="41" y="31"/>
                    </a:cubicBezTo>
                    <a:cubicBezTo>
                      <a:pt x="44" y="24"/>
                      <a:pt x="50" y="13"/>
                      <a:pt x="46" y="5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6" name="Freeform 492">
                <a:extLst>
                  <a:ext uri="{FF2B5EF4-FFF2-40B4-BE49-F238E27FC236}">
                    <a16:creationId xmlns:a16="http://schemas.microsoft.com/office/drawing/2014/main" id="{522BEDCF-818A-4885-B168-E6BFB3B99B8E}"/>
                  </a:ext>
                </a:extLst>
              </p:cNvPr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gray">
              <a:xfrm>
                <a:off x="4683126" y="3930650"/>
                <a:ext cx="306388" cy="193675"/>
              </a:xfrm>
              <a:custGeom>
                <a:avLst/>
                <a:gdLst>
                  <a:gd name="T0" fmla="*/ 11 w 188"/>
                  <a:gd name="T1" fmla="*/ 49 h 119"/>
                  <a:gd name="T2" fmla="*/ 47 w 188"/>
                  <a:gd name="T3" fmla="*/ 52 h 119"/>
                  <a:gd name="T4" fmla="*/ 65 w 188"/>
                  <a:gd name="T5" fmla="*/ 40 h 119"/>
                  <a:gd name="T6" fmla="*/ 97 w 188"/>
                  <a:gd name="T7" fmla="*/ 17 h 119"/>
                  <a:gd name="T8" fmla="*/ 121 w 188"/>
                  <a:gd name="T9" fmla="*/ 0 h 119"/>
                  <a:gd name="T10" fmla="*/ 130 w 188"/>
                  <a:gd name="T11" fmla="*/ 14 h 119"/>
                  <a:gd name="T12" fmla="*/ 136 w 188"/>
                  <a:gd name="T13" fmla="*/ 29 h 119"/>
                  <a:gd name="T14" fmla="*/ 144 w 188"/>
                  <a:gd name="T15" fmla="*/ 41 h 119"/>
                  <a:gd name="T16" fmla="*/ 156 w 188"/>
                  <a:gd name="T17" fmla="*/ 48 h 119"/>
                  <a:gd name="T18" fmla="*/ 164 w 188"/>
                  <a:gd name="T19" fmla="*/ 59 h 119"/>
                  <a:gd name="T20" fmla="*/ 180 w 188"/>
                  <a:gd name="T21" fmla="*/ 77 h 119"/>
                  <a:gd name="T22" fmla="*/ 188 w 188"/>
                  <a:gd name="T23" fmla="*/ 87 h 119"/>
                  <a:gd name="T24" fmla="*/ 169 w 188"/>
                  <a:gd name="T25" fmla="*/ 88 h 119"/>
                  <a:gd name="T26" fmla="*/ 152 w 188"/>
                  <a:gd name="T27" fmla="*/ 93 h 119"/>
                  <a:gd name="T28" fmla="*/ 136 w 188"/>
                  <a:gd name="T29" fmla="*/ 91 h 119"/>
                  <a:gd name="T30" fmla="*/ 106 w 188"/>
                  <a:gd name="T31" fmla="*/ 102 h 119"/>
                  <a:gd name="T32" fmla="*/ 86 w 188"/>
                  <a:gd name="T33" fmla="*/ 96 h 119"/>
                  <a:gd name="T34" fmla="*/ 68 w 188"/>
                  <a:gd name="T35" fmla="*/ 91 h 119"/>
                  <a:gd name="T36" fmla="*/ 55 w 188"/>
                  <a:gd name="T37" fmla="*/ 110 h 119"/>
                  <a:gd name="T38" fmla="*/ 34 w 188"/>
                  <a:gd name="T39" fmla="*/ 110 h 119"/>
                  <a:gd name="T40" fmla="*/ 19 w 188"/>
                  <a:gd name="T41" fmla="*/ 116 h 119"/>
                  <a:gd name="T42" fmla="*/ 7 w 188"/>
                  <a:gd name="T43" fmla="*/ 91 h 119"/>
                  <a:gd name="T44" fmla="*/ 10 w 188"/>
                  <a:gd name="T45" fmla="*/ 58 h 119"/>
                  <a:gd name="T46" fmla="*/ 11 w 188"/>
                  <a:gd name="T47" fmla="*/ 4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8" h="119">
                    <a:moveTo>
                      <a:pt x="11" y="49"/>
                    </a:moveTo>
                    <a:cubicBezTo>
                      <a:pt x="16" y="48"/>
                      <a:pt x="38" y="53"/>
                      <a:pt x="47" y="52"/>
                    </a:cubicBezTo>
                    <a:cubicBezTo>
                      <a:pt x="56" y="51"/>
                      <a:pt x="62" y="43"/>
                      <a:pt x="65" y="40"/>
                    </a:cubicBezTo>
                    <a:cubicBezTo>
                      <a:pt x="73" y="34"/>
                      <a:pt x="88" y="23"/>
                      <a:pt x="97" y="17"/>
                    </a:cubicBezTo>
                    <a:cubicBezTo>
                      <a:pt x="98" y="10"/>
                      <a:pt x="114" y="3"/>
                      <a:pt x="121" y="0"/>
                    </a:cubicBezTo>
                    <a:cubicBezTo>
                      <a:pt x="124" y="5"/>
                      <a:pt x="127" y="9"/>
                      <a:pt x="130" y="14"/>
                    </a:cubicBezTo>
                    <a:cubicBezTo>
                      <a:pt x="133" y="19"/>
                      <a:pt x="132" y="24"/>
                      <a:pt x="136" y="29"/>
                    </a:cubicBezTo>
                    <a:cubicBezTo>
                      <a:pt x="138" y="33"/>
                      <a:pt x="141" y="38"/>
                      <a:pt x="144" y="41"/>
                    </a:cubicBezTo>
                    <a:cubicBezTo>
                      <a:pt x="147" y="45"/>
                      <a:pt x="153" y="45"/>
                      <a:pt x="156" y="48"/>
                    </a:cubicBezTo>
                    <a:cubicBezTo>
                      <a:pt x="159" y="51"/>
                      <a:pt x="160" y="54"/>
                      <a:pt x="164" y="59"/>
                    </a:cubicBezTo>
                    <a:cubicBezTo>
                      <a:pt x="170" y="65"/>
                      <a:pt x="171" y="75"/>
                      <a:pt x="180" y="77"/>
                    </a:cubicBezTo>
                    <a:cubicBezTo>
                      <a:pt x="181" y="83"/>
                      <a:pt x="187" y="81"/>
                      <a:pt x="188" y="87"/>
                    </a:cubicBezTo>
                    <a:cubicBezTo>
                      <a:pt x="187" y="90"/>
                      <a:pt x="175" y="87"/>
                      <a:pt x="169" y="88"/>
                    </a:cubicBezTo>
                    <a:cubicBezTo>
                      <a:pt x="163" y="89"/>
                      <a:pt x="157" y="93"/>
                      <a:pt x="152" y="93"/>
                    </a:cubicBezTo>
                    <a:cubicBezTo>
                      <a:pt x="143" y="95"/>
                      <a:pt x="143" y="89"/>
                      <a:pt x="136" y="91"/>
                    </a:cubicBezTo>
                    <a:cubicBezTo>
                      <a:pt x="128" y="93"/>
                      <a:pt x="114" y="101"/>
                      <a:pt x="106" y="102"/>
                    </a:cubicBezTo>
                    <a:cubicBezTo>
                      <a:pt x="96" y="109"/>
                      <a:pt x="96" y="98"/>
                      <a:pt x="86" y="96"/>
                    </a:cubicBezTo>
                    <a:cubicBezTo>
                      <a:pt x="79" y="91"/>
                      <a:pt x="78" y="90"/>
                      <a:pt x="68" y="91"/>
                    </a:cubicBezTo>
                    <a:cubicBezTo>
                      <a:pt x="63" y="92"/>
                      <a:pt x="63" y="106"/>
                      <a:pt x="55" y="110"/>
                    </a:cubicBezTo>
                    <a:cubicBezTo>
                      <a:pt x="49" y="113"/>
                      <a:pt x="40" y="109"/>
                      <a:pt x="34" y="110"/>
                    </a:cubicBezTo>
                    <a:cubicBezTo>
                      <a:pt x="28" y="111"/>
                      <a:pt x="23" y="119"/>
                      <a:pt x="19" y="116"/>
                    </a:cubicBezTo>
                    <a:cubicBezTo>
                      <a:pt x="0" y="113"/>
                      <a:pt x="16" y="103"/>
                      <a:pt x="7" y="91"/>
                    </a:cubicBezTo>
                    <a:cubicBezTo>
                      <a:pt x="4" y="76"/>
                      <a:pt x="1" y="69"/>
                      <a:pt x="10" y="58"/>
                    </a:cubicBezTo>
                    <a:cubicBezTo>
                      <a:pt x="11" y="50"/>
                      <a:pt x="11" y="53"/>
                      <a:pt x="11" y="49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7" name="Freeform 494">
                <a:extLst>
                  <a:ext uri="{FF2B5EF4-FFF2-40B4-BE49-F238E27FC236}">
                    <a16:creationId xmlns:a16="http://schemas.microsoft.com/office/drawing/2014/main" id="{7ABA36C6-4E4E-4FAE-9579-9205F8CBCDA5}"/>
                  </a:ext>
                </a:extLst>
              </p:cNvPr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gray">
              <a:xfrm>
                <a:off x="4867276" y="3659188"/>
                <a:ext cx="379413" cy="328613"/>
              </a:xfrm>
              <a:custGeom>
                <a:avLst/>
                <a:gdLst>
                  <a:gd name="T0" fmla="*/ 12 w 234"/>
                  <a:gd name="T1" fmla="*/ 101 h 203"/>
                  <a:gd name="T2" fmla="*/ 24 w 234"/>
                  <a:gd name="T3" fmla="*/ 87 h 203"/>
                  <a:gd name="T4" fmla="*/ 26 w 234"/>
                  <a:gd name="T5" fmla="*/ 36 h 203"/>
                  <a:gd name="T6" fmla="*/ 41 w 234"/>
                  <a:gd name="T7" fmla="*/ 37 h 203"/>
                  <a:gd name="T8" fmla="*/ 40 w 234"/>
                  <a:gd name="T9" fmla="*/ 7 h 203"/>
                  <a:gd name="T10" fmla="*/ 152 w 234"/>
                  <a:gd name="T11" fmla="*/ 7 h 203"/>
                  <a:gd name="T12" fmla="*/ 181 w 234"/>
                  <a:gd name="T13" fmla="*/ 8 h 203"/>
                  <a:gd name="T14" fmla="*/ 209 w 234"/>
                  <a:gd name="T15" fmla="*/ 0 h 203"/>
                  <a:gd name="T16" fmla="*/ 216 w 234"/>
                  <a:gd name="T17" fmla="*/ 8 h 203"/>
                  <a:gd name="T18" fmla="*/ 218 w 234"/>
                  <a:gd name="T19" fmla="*/ 13 h 203"/>
                  <a:gd name="T20" fmla="*/ 220 w 234"/>
                  <a:gd name="T21" fmla="*/ 22 h 203"/>
                  <a:gd name="T22" fmla="*/ 221 w 234"/>
                  <a:gd name="T23" fmla="*/ 36 h 203"/>
                  <a:gd name="T24" fmla="*/ 234 w 234"/>
                  <a:gd name="T25" fmla="*/ 60 h 203"/>
                  <a:gd name="T26" fmla="*/ 224 w 234"/>
                  <a:gd name="T27" fmla="*/ 78 h 203"/>
                  <a:gd name="T28" fmla="*/ 213 w 234"/>
                  <a:gd name="T29" fmla="*/ 93 h 203"/>
                  <a:gd name="T30" fmla="*/ 211 w 234"/>
                  <a:gd name="T31" fmla="*/ 106 h 203"/>
                  <a:gd name="T32" fmla="*/ 209 w 234"/>
                  <a:gd name="T33" fmla="*/ 112 h 203"/>
                  <a:gd name="T34" fmla="*/ 207 w 234"/>
                  <a:gd name="T35" fmla="*/ 136 h 203"/>
                  <a:gd name="T36" fmla="*/ 199 w 234"/>
                  <a:gd name="T37" fmla="*/ 146 h 203"/>
                  <a:gd name="T38" fmla="*/ 192 w 234"/>
                  <a:gd name="T39" fmla="*/ 157 h 203"/>
                  <a:gd name="T40" fmla="*/ 189 w 234"/>
                  <a:gd name="T41" fmla="*/ 160 h 203"/>
                  <a:gd name="T42" fmla="*/ 181 w 234"/>
                  <a:gd name="T43" fmla="*/ 174 h 203"/>
                  <a:gd name="T44" fmla="*/ 176 w 234"/>
                  <a:gd name="T45" fmla="*/ 190 h 203"/>
                  <a:gd name="T46" fmla="*/ 173 w 234"/>
                  <a:gd name="T47" fmla="*/ 187 h 203"/>
                  <a:gd name="T48" fmla="*/ 162 w 234"/>
                  <a:gd name="T49" fmla="*/ 163 h 203"/>
                  <a:gd name="T50" fmla="*/ 156 w 234"/>
                  <a:gd name="T51" fmla="*/ 156 h 203"/>
                  <a:gd name="T52" fmla="*/ 152 w 234"/>
                  <a:gd name="T53" fmla="*/ 160 h 203"/>
                  <a:gd name="T54" fmla="*/ 145 w 234"/>
                  <a:gd name="T55" fmla="*/ 177 h 203"/>
                  <a:gd name="T56" fmla="*/ 129 w 234"/>
                  <a:gd name="T57" fmla="*/ 189 h 203"/>
                  <a:gd name="T58" fmla="*/ 116 w 234"/>
                  <a:gd name="T59" fmla="*/ 179 h 203"/>
                  <a:gd name="T60" fmla="*/ 106 w 234"/>
                  <a:gd name="T61" fmla="*/ 187 h 203"/>
                  <a:gd name="T62" fmla="*/ 93 w 234"/>
                  <a:gd name="T63" fmla="*/ 193 h 203"/>
                  <a:gd name="T64" fmla="*/ 86 w 234"/>
                  <a:gd name="T65" fmla="*/ 194 h 203"/>
                  <a:gd name="T66" fmla="*/ 63 w 234"/>
                  <a:gd name="T67" fmla="*/ 191 h 203"/>
                  <a:gd name="T68" fmla="*/ 53 w 234"/>
                  <a:gd name="T69" fmla="*/ 179 h 203"/>
                  <a:gd name="T70" fmla="*/ 39 w 234"/>
                  <a:gd name="T71" fmla="*/ 183 h 203"/>
                  <a:gd name="T72" fmla="*/ 36 w 234"/>
                  <a:gd name="T73" fmla="*/ 194 h 203"/>
                  <a:gd name="T74" fmla="*/ 29 w 234"/>
                  <a:gd name="T75" fmla="*/ 203 h 203"/>
                  <a:gd name="T76" fmla="*/ 21 w 234"/>
                  <a:gd name="T77" fmla="*/ 193 h 203"/>
                  <a:gd name="T78" fmla="*/ 13 w 234"/>
                  <a:gd name="T79" fmla="*/ 177 h 203"/>
                  <a:gd name="T80" fmla="*/ 4 w 234"/>
                  <a:gd name="T81" fmla="*/ 159 h 203"/>
                  <a:gd name="T82" fmla="*/ 0 w 234"/>
                  <a:gd name="T83" fmla="*/ 140 h 203"/>
                  <a:gd name="T84" fmla="*/ 4 w 234"/>
                  <a:gd name="T85" fmla="*/ 125 h 203"/>
                  <a:gd name="T86" fmla="*/ 10 w 234"/>
                  <a:gd name="T87" fmla="*/ 115 h 203"/>
                  <a:gd name="T88" fmla="*/ 9 w 234"/>
                  <a:gd name="T89" fmla="*/ 111 h 203"/>
                  <a:gd name="T90" fmla="*/ 12 w 234"/>
                  <a:gd name="T91" fmla="*/ 10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4" h="203">
                    <a:moveTo>
                      <a:pt x="12" y="101"/>
                    </a:moveTo>
                    <a:lnTo>
                      <a:pt x="24" y="87"/>
                    </a:lnTo>
                    <a:lnTo>
                      <a:pt x="26" y="36"/>
                    </a:lnTo>
                    <a:lnTo>
                      <a:pt x="41" y="37"/>
                    </a:lnTo>
                    <a:lnTo>
                      <a:pt x="40" y="7"/>
                    </a:lnTo>
                    <a:lnTo>
                      <a:pt x="152" y="7"/>
                    </a:lnTo>
                    <a:lnTo>
                      <a:pt x="181" y="8"/>
                    </a:lnTo>
                    <a:lnTo>
                      <a:pt x="209" y="0"/>
                    </a:lnTo>
                    <a:cubicBezTo>
                      <a:pt x="213" y="2"/>
                      <a:pt x="214" y="6"/>
                      <a:pt x="216" y="8"/>
                    </a:cubicBezTo>
                    <a:cubicBezTo>
                      <a:pt x="217" y="10"/>
                      <a:pt x="217" y="12"/>
                      <a:pt x="218" y="13"/>
                    </a:cubicBezTo>
                    <a:cubicBezTo>
                      <a:pt x="218" y="16"/>
                      <a:pt x="219" y="19"/>
                      <a:pt x="220" y="22"/>
                    </a:cubicBezTo>
                    <a:cubicBezTo>
                      <a:pt x="221" y="26"/>
                      <a:pt x="219" y="30"/>
                      <a:pt x="221" y="36"/>
                    </a:cubicBezTo>
                    <a:cubicBezTo>
                      <a:pt x="224" y="43"/>
                      <a:pt x="233" y="53"/>
                      <a:pt x="234" y="60"/>
                    </a:cubicBezTo>
                    <a:cubicBezTo>
                      <a:pt x="234" y="67"/>
                      <a:pt x="227" y="74"/>
                      <a:pt x="224" y="78"/>
                    </a:cubicBezTo>
                    <a:cubicBezTo>
                      <a:pt x="221" y="83"/>
                      <a:pt x="215" y="89"/>
                      <a:pt x="213" y="93"/>
                    </a:cubicBezTo>
                    <a:cubicBezTo>
                      <a:pt x="211" y="97"/>
                      <a:pt x="214" y="101"/>
                      <a:pt x="211" y="106"/>
                    </a:cubicBezTo>
                    <a:cubicBezTo>
                      <a:pt x="210" y="108"/>
                      <a:pt x="210" y="110"/>
                      <a:pt x="209" y="112"/>
                    </a:cubicBezTo>
                    <a:cubicBezTo>
                      <a:pt x="211" y="117"/>
                      <a:pt x="213" y="132"/>
                      <a:pt x="207" y="136"/>
                    </a:cubicBezTo>
                    <a:cubicBezTo>
                      <a:pt x="204" y="143"/>
                      <a:pt x="209" y="145"/>
                      <a:pt x="199" y="146"/>
                    </a:cubicBezTo>
                    <a:cubicBezTo>
                      <a:pt x="197" y="149"/>
                      <a:pt x="194" y="155"/>
                      <a:pt x="192" y="157"/>
                    </a:cubicBezTo>
                    <a:cubicBezTo>
                      <a:pt x="191" y="158"/>
                      <a:pt x="189" y="160"/>
                      <a:pt x="189" y="160"/>
                    </a:cubicBezTo>
                    <a:cubicBezTo>
                      <a:pt x="187" y="163"/>
                      <a:pt x="183" y="171"/>
                      <a:pt x="181" y="174"/>
                    </a:cubicBezTo>
                    <a:cubicBezTo>
                      <a:pt x="179" y="179"/>
                      <a:pt x="177" y="188"/>
                      <a:pt x="176" y="190"/>
                    </a:cubicBezTo>
                    <a:cubicBezTo>
                      <a:pt x="175" y="191"/>
                      <a:pt x="174" y="189"/>
                      <a:pt x="173" y="187"/>
                    </a:cubicBezTo>
                    <a:cubicBezTo>
                      <a:pt x="171" y="183"/>
                      <a:pt x="165" y="168"/>
                      <a:pt x="162" y="163"/>
                    </a:cubicBezTo>
                    <a:cubicBezTo>
                      <a:pt x="160" y="160"/>
                      <a:pt x="158" y="157"/>
                      <a:pt x="156" y="156"/>
                    </a:cubicBezTo>
                    <a:cubicBezTo>
                      <a:pt x="155" y="157"/>
                      <a:pt x="154" y="157"/>
                      <a:pt x="152" y="160"/>
                    </a:cubicBezTo>
                    <a:lnTo>
                      <a:pt x="145" y="177"/>
                    </a:lnTo>
                    <a:lnTo>
                      <a:pt x="129" y="189"/>
                    </a:lnTo>
                    <a:lnTo>
                      <a:pt x="116" y="179"/>
                    </a:lnTo>
                    <a:cubicBezTo>
                      <a:pt x="112" y="179"/>
                      <a:pt x="109" y="185"/>
                      <a:pt x="106" y="187"/>
                    </a:cubicBezTo>
                    <a:cubicBezTo>
                      <a:pt x="102" y="189"/>
                      <a:pt x="96" y="192"/>
                      <a:pt x="93" y="193"/>
                    </a:cubicBezTo>
                    <a:cubicBezTo>
                      <a:pt x="91" y="194"/>
                      <a:pt x="89" y="194"/>
                      <a:pt x="86" y="194"/>
                    </a:cubicBezTo>
                    <a:cubicBezTo>
                      <a:pt x="83" y="186"/>
                      <a:pt x="69" y="191"/>
                      <a:pt x="63" y="191"/>
                    </a:cubicBezTo>
                    <a:cubicBezTo>
                      <a:pt x="61" y="187"/>
                      <a:pt x="57" y="181"/>
                      <a:pt x="53" y="179"/>
                    </a:cubicBezTo>
                    <a:cubicBezTo>
                      <a:pt x="36" y="179"/>
                      <a:pt x="46" y="178"/>
                      <a:pt x="39" y="183"/>
                    </a:cubicBezTo>
                    <a:cubicBezTo>
                      <a:pt x="37" y="187"/>
                      <a:pt x="37" y="190"/>
                      <a:pt x="36" y="194"/>
                    </a:cubicBezTo>
                    <a:cubicBezTo>
                      <a:pt x="35" y="197"/>
                      <a:pt x="32" y="201"/>
                      <a:pt x="29" y="203"/>
                    </a:cubicBezTo>
                    <a:cubicBezTo>
                      <a:pt x="27" y="203"/>
                      <a:pt x="23" y="196"/>
                      <a:pt x="21" y="193"/>
                    </a:cubicBezTo>
                    <a:cubicBezTo>
                      <a:pt x="18" y="189"/>
                      <a:pt x="16" y="183"/>
                      <a:pt x="13" y="177"/>
                    </a:cubicBezTo>
                    <a:cubicBezTo>
                      <a:pt x="10" y="173"/>
                      <a:pt x="6" y="165"/>
                      <a:pt x="4" y="159"/>
                    </a:cubicBezTo>
                    <a:cubicBezTo>
                      <a:pt x="3" y="155"/>
                      <a:pt x="0" y="146"/>
                      <a:pt x="0" y="140"/>
                    </a:cubicBezTo>
                    <a:cubicBezTo>
                      <a:pt x="0" y="134"/>
                      <a:pt x="2" y="129"/>
                      <a:pt x="4" y="125"/>
                    </a:cubicBezTo>
                    <a:cubicBezTo>
                      <a:pt x="0" y="120"/>
                      <a:pt x="5" y="116"/>
                      <a:pt x="10" y="115"/>
                    </a:cubicBezTo>
                    <a:cubicBezTo>
                      <a:pt x="9" y="114"/>
                      <a:pt x="7" y="113"/>
                      <a:pt x="9" y="111"/>
                    </a:cubicBezTo>
                    <a:cubicBezTo>
                      <a:pt x="10" y="106"/>
                      <a:pt x="9" y="113"/>
                      <a:pt x="12" y="101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8" name="Freeform 493">
                <a:extLst>
                  <a:ext uri="{FF2B5EF4-FFF2-40B4-BE49-F238E27FC236}">
                    <a16:creationId xmlns:a16="http://schemas.microsoft.com/office/drawing/2014/main" id="{42FAEEFA-A316-484A-A646-63C3573C8F1A}"/>
                  </a:ext>
                </a:extLst>
              </p:cNvPr>
              <p:cNvSpPr>
                <a:spLocks/>
              </p:cNvSpPr>
              <p:nvPr>
                <p:custDataLst>
                  <p:tags r:id="rId200"/>
                </p:custDataLst>
              </p:nvPr>
            </p:nvSpPr>
            <p:spPr bwMode="gray">
              <a:xfrm>
                <a:off x="4913313" y="3903663"/>
                <a:ext cx="285750" cy="204788"/>
              </a:xfrm>
              <a:custGeom>
                <a:avLst/>
                <a:gdLst>
                  <a:gd name="T0" fmla="*/ 177 w 177"/>
                  <a:gd name="T1" fmla="*/ 113 h 126"/>
                  <a:gd name="T2" fmla="*/ 151 w 177"/>
                  <a:gd name="T3" fmla="*/ 111 h 126"/>
                  <a:gd name="T4" fmla="*/ 142 w 177"/>
                  <a:gd name="T5" fmla="*/ 117 h 126"/>
                  <a:gd name="T6" fmla="*/ 134 w 177"/>
                  <a:gd name="T7" fmla="*/ 123 h 126"/>
                  <a:gd name="T8" fmla="*/ 127 w 177"/>
                  <a:gd name="T9" fmla="*/ 122 h 126"/>
                  <a:gd name="T10" fmla="*/ 113 w 177"/>
                  <a:gd name="T11" fmla="*/ 122 h 126"/>
                  <a:gd name="T12" fmla="*/ 110 w 177"/>
                  <a:gd name="T13" fmla="*/ 126 h 126"/>
                  <a:gd name="T14" fmla="*/ 94 w 177"/>
                  <a:gd name="T15" fmla="*/ 125 h 126"/>
                  <a:gd name="T16" fmla="*/ 87 w 177"/>
                  <a:gd name="T17" fmla="*/ 118 h 126"/>
                  <a:gd name="T18" fmla="*/ 74 w 177"/>
                  <a:gd name="T19" fmla="*/ 113 h 126"/>
                  <a:gd name="T20" fmla="*/ 63 w 177"/>
                  <a:gd name="T21" fmla="*/ 115 h 126"/>
                  <a:gd name="T22" fmla="*/ 50 w 177"/>
                  <a:gd name="T23" fmla="*/ 107 h 126"/>
                  <a:gd name="T24" fmla="*/ 49 w 177"/>
                  <a:gd name="T25" fmla="*/ 105 h 126"/>
                  <a:gd name="T26" fmla="*/ 45 w 177"/>
                  <a:gd name="T27" fmla="*/ 102 h 126"/>
                  <a:gd name="T28" fmla="*/ 32 w 177"/>
                  <a:gd name="T29" fmla="*/ 87 h 126"/>
                  <a:gd name="T30" fmla="*/ 29 w 177"/>
                  <a:gd name="T31" fmla="*/ 81 h 126"/>
                  <a:gd name="T32" fmla="*/ 18 w 177"/>
                  <a:gd name="T33" fmla="*/ 73 h 126"/>
                  <a:gd name="T34" fmla="*/ 12 w 177"/>
                  <a:gd name="T35" fmla="*/ 63 h 126"/>
                  <a:gd name="T36" fmla="*/ 3 w 177"/>
                  <a:gd name="T37" fmla="*/ 59 h 126"/>
                  <a:gd name="T38" fmla="*/ 0 w 177"/>
                  <a:gd name="T39" fmla="*/ 57 h 126"/>
                  <a:gd name="T40" fmla="*/ 4 w 177"/>
                  <a:gd name="T41" fmla="*/ 49 h 126"/>
                  <a:gd name="T42" fmla="*/ 9 w 177"/>
                  <a:gd name="T43" fmla="*/ 35 h 126"/>
                  <a:gd name="T44" fmla="*/ 13 w 177"/>
                  <a:gd name="T45" fmla="*/ 30 h 126"/>
                  <a:gd name="T46" fmla="*/ 25 w 177"/>
                  <a:gd name="T47" fmla="*/ 28 h 126"/>
                  <a:gd name="T48" fmla="*/ 35 w 177"/>
                  <a:gd name="T49" fmla="*/ 37 h 126"/>
                  <a:gd name="T50" fmla="*/ 44 w 177"/>
                  <a:gd name="T51" fmla="*/ 38 h 126"/>
                  <a:gd name="T52" fmla="*/ 59 w 177"/>
                  <a:gd name="T53" fmla="*/ 42 h 126"/>
                  <a:gd name="T54" fmla="*/ 69 w 177"/>
                  <a:gd name="T55" fmla="*/ 41 h 126"/>
                  <a:gd name="T56" fmla="*/ 70 w 177"/>
                  <a:gd name="T57" fmla="*/ 39 h 126"/>
                  <a:gd name="T58" fmla="*/ 81 w 177"/>
                  <a:gd name="T59" fmla="*/ 31 h 126"/>
                  <a:gd name="T60" fmla="*/ 87 w 177"/>
                  <a:gd name="T61" fmla="*/ 27 h 126"/>
                  <a:gd name="T62" fmla="*/ 101 w 177"/>
                  <a:gd name="T63" fmla="*/ 37 h 126"/>
                  <a:gd name="T64" fmla="*/ 107 w 177"/>
                  <a:gd name="T65" fmla="*/ 37 h 126"/>
                  <a:gd name="T66" fmla="*/ 116 w 177"/>
                  <a:gd name="T67" fmla="*/ 26 h 126"/>
                  <a:gd name="T68" fmla="*/ 123 w 177"/>
                  <a:gd name="T69" fmla="*/ 20 h 126"/>
                  <a:gd name="T70" fmla="*/ 124 w 177"/>
                  <a:gd name="T71" fmla="*/ 8 h 126"/>
                  <a:gd name="T72" fmla="*/ 119 w 177"/>
                  <a:gd name="T73" fmla="*/ 4 h 126"/>
                  <a:gd name="T74" fmla="*/ 130 w 177"/>
                  <a:gd name="T75" fmla="*/ 0 h 126"/>
                  <a:gd name="T76" fmla="*/ 134 w 177"/>
                  <a:gd name="T77" fmla="*/ 15 h 126"/>
                  <a:gd name="T78" fmla="*/ 141 w 177"/>
                  <a:gd name="T79" fmla="*/ 25 h 126"/>
                  <a:gd name="T80" fmla="*/ 147 w 177"/>
                  <a:gd name="T81" fmla="*/ 41 h 126"/>
                  <a:gd name="T82" fmla="*/ 144 w 177"/>
                  <a:gd name="T83" fmla="*/ 54 h 126"/>
                  <a:gd name="T84" fmla="*/ 136 w 177"/>
                  <a:gd name="T85" fmla="*/ 56 h 126"/>
                  <a:gd name="T86" fmla="*/ 132 w 177"/>
                  <a:gd name="T87" fmla="*/ 63 h 126"/>
                  <a:gd name="T88" fmla="*/ 140 w 177"/>
                  <a:gd name="T89" fmla="*/ 66 h 126"/>
                  <a:gd name="T90" fmla="*/ 153 w 177"/>
                  <a:gd name="T91" fmla="*/ 80 h 126"/>
                  <a:gd name="T92" fmla="*/ 159 w 177"/>
                  <a:gd name="T93" fmla="*/ 85 h 126"/>
                  <a:gd name="T94" fmla="*/ 164 w 177"/>
                  <a:gd name="T95" fmla="*/ 98 h 126"/>
                  <a:gd name="T96" fmla="*/ 166 w 177"/>
                  <a:gd name="T97" fmla="*/ 101 h 126"/>
                  <a:gd name="T98" fmla="*/ 177 w 177"/>
                  <a:gd name="T99" fmla="*/ 11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7" h="126">
                    <a:moveTo>
                      <a:pt x="177" y="113"/>
                    </a:moveTo>
                    <a:lnTo>
                      <a:pt x="151" y="111"/>
                    </a:lnTo>
                    <a:cubicBezTo>
                      <a:pt x="148" y="114"/>
                      <a:pt x="145" y="115"/>
                      <a:pt x="142" y="117"/>
                    </a:cubicBezTo>
                    <a:cubicBezTo>
                      <a:pt x="141" y="121"/>
                      <a:pt x="137" y="122"/>
                      <a:pt x="134" y="123"/>
                    </a:cubicBezTo>
                    <a:cubicBezTo>
                      <a:pt x="131" y="121"/>
                      <a:pt x="130" y="122"/>
                      <a:pt x="127" y="122"/>
                    </a:cubicBezTo>
                    <a:cubicBezTo>
                      <a:pt x="124" y="122"/>
                      <a:pt x="116" y="121"/>
                      <a:pt x="113" y="122"/>
                    </a:cubicBezTo>
                    <a:cubicBezTo>
                      <a:pt x="111" y="122"/>
                      <a:pt x="110" y="123"/>
                      <a:pt x="110" y="126"/>
                    </a:cubicBezTo>
                    <a:cubicBezTo>
                      <a:pt x="107" y="126"/>
                      <a:pt x="98" y="126"/>
                      <a:pt x="94" y="125"/>
                    </a:cubicBezTo>
                    <a:cubicBezTo>
                      <a:pt x="94" y="123"/>
                      <a:pt x="89" y="118"/>
                      <a:pt x="87" y="118"/>
                    </a:cubicBezTo>
                    <a:cubicBezTo>
                      <a:pt x="84" y="116"/>
                      <a:pt x="76" y="114"/>
                      <a:pt x="74" y="113"/>
                    </a:cubicBezTo>
                    <a:cubicBezTo>
                      <a:pt x="70" y="112"/>
                      <a:pt x="66" y="115"/>
                      <a:pt x="63" y="115"/>
                    </a:cubicBezTo>
                    <a:cubicBezTo>
                      <a:pt x="59" y="114"/>
                      <a:pt x="52" y="109"/>
                      <a:pt x="50" y="107"/>
                    </a:cubicBezTo>
                    <a:cubicBezTo>
                      <a:pt x="50" y="106"/>
                      <a:pt x="50" y="106"/>
                      <a:pt x="49" y="105"/>
                    </a:cubicBezTo>
                    <a:cubicBezTo>
                      <a:pt x="48" y="105"/>
                      <a:pt x="47" y="104"/>
                      <a:pt x="45" y="102"/>
                    </a:cubicBezTo>
                    <a:cubicBezTo>
                      <a:pt x="42" y="99"/>
                      <a:pt x="35" y="90"/>
                      <a:pt x="32" y="87"/>
                    </a:cubicBezTo>
                    <a:cubicBezTo>
                      <a:pt x="30" y="84"/>
                      <a:pt x="33" y="81"/>
                      <a:pt x="29" y="81"/>
                    </a:cubicBezTo>
                    <a:cubicBezTo>
                      <a:pt x="27" y="79"/>
                      <a:pt x="20" y="75"/>
                      <a:pt x="18" y="73"/>
                    </a:cubicBezTo>
                    <a:cubicBezTo>
                      <a:pt x="15" y="70"/>
                      <a:pt x="14" y="65"/>
                      <a:pt x="12" y="63"/>
                    </a:cubicBezTo>
                    <a:cubicBezTo>
                      <a:pt x="7" y="61"/>
                      <a:pt x="9" y="60"/>
                      <a:pt x="3" y="59"/>
                    </a:cubicBezTo>
                    <a:cubicBezTo>
                      <a:pt x="2" y="58"/>
                      <a:pt x="0" y="59"/>
                      <a:pt x="0" y="57"/>
                    </a:cubicBezTo>
                    <a:cubicBezTo>
                      <a:pt x="0" y="53"/>
                      <a:pt x="1" y="50"/>
                      <a:pt x="4" y="49"/>
                    </a:cubicBezTo>
                    <a:cubicBezTo>
                      <a:pt x="6" y="45"/>
                      <a:pt x="8" y="38"/>
                      <a:pt x="9" y="35"/>
                    </a:cubicBezTo>
                    <a:cubicBezTo>
                      <a:pt x="10" y="32"/>
                      <a:pt x="11" y="32"/>
                      <a:pt x="13" y="30"/>
                    </a:cubicBezTo>
                    <a:cubicBezTo>
                      <a:pt x="16" y="26"/>
                      <a:pt x="18" y="28"/>
                      <a:pt x="25" y="28"/>
                    </a:cubicBezTo>
                    <a:cubicBezTo>
                      <a:pt x="29" y="29"/>
                      <a:pt x="32" y="35"/>
                      <a:pt x="35" y="37"/>
                    </a:cubicBezTo>
                    <a:cubicBezTo>
                      <a:pt x="35" y="42"/>
                      <a:pt x="39" y="39"/>
                      <a:pt x="44" y="38"/>
                    </a:cubicBezTo>
                    <a:cubicBezTo>
                      <a:pt x="48" y="39"/>
                      <a:pt x="55" y="42"/>
                      <a:pt x="59" y="42"/>
                    </a:cubicBezTo>
                    <a:cubicBezTo>
                      <a:pt x="62" y="42"/>
                      <a:pt x="66" y="43"/>
                      <a:pt x="69" y="41"/>
                    </a:cubicBezTo>
                    <a:cubicBezTo>
                      <a:pt x="70" y="40"/>
                      <a:pt x="69" y="39"/>
                      <a:pt x="70" y="39"/>
                    </a:cubicBezTo>
                    <a:cubicBezTo>
                      <a:pt x="72" y="37"/>
                      <a:pt x="78" y="33"/>
                      <a:pt x="81" y="31"/>
                    </a:cubicBezTo>
                    <a:cubicBezTo>
                      <a:pt x="83" y="30"/>
                      <a:pt x="87" y="27"/>
                      <a:pt x="87" y="27"/>
                    </a:cubicBezTo>
                    <a:lnTo>
                      <a:pt x="101" y="37"/>
                    </a:lnTo>
                    <a:lnTo>
                      <a:pt x="107" y="37"/>
                    </a:lnTo>
                    <a:lnTo>
                      <a:pt x="116" y="26"/>
                    </a:lnTo>
                    <a:lnTo>
                      <a:pt x="123" y="20"/>
                    </a:lnTo>
                    <a:lnTo>
                      <a:pt x="124" y="8"/>
                    </a:lnTo>
                    <a:lnTo>
                      <a:pt x="119" y="4"/>
                    </a:lnTo>
                    <a:cubicBezTo>
                      <a:pt x="129" y="4"/>
                      <a:pt x="129" y="6"/>
                      <a:pt x="130" y="0"/>
                    </a:cubicBezTo>
                    <a:cubicBezTo>
                      <a:pt x="136" y="1"/>
                      <a:pt x="132" y="10"/>
                      <a:pt x="134" y="15"/>
                    </a:cubicBezTo>
                    <a:cubicBezTo>
                      <a:pt x="135" y="20"/>
                      <a:pt x="135" y="24"/>
                      <a:pt x="141" y="25"/>
                    </a:cubicBezTo>
                    <a:cubicBezTo>
                      <a:pt x="143" y="29"/>
                      <a:pt x="147" y="36"/>
                      <a:pt x="147" y="41"/>
                    </a:cubicBezTo>
                    <a:cubicBezTo>
                      <a:pt x="147" y="48"/>
                      <a:pt x="151" y="53"/>
                      <a:pt x="144" y="54"/>
                    </a:cubicBezTo>
                    <a:cubicBezTo>
                      <a:pt x="142" y="58"/>
                      <a:pt x="140" y="56"/>
                      <a:pt x="136" y="56"/>
                    </a:cubicBezTo>
                    <a:cubicBezTo>
                      <a:pt x="132" y="57"/>
                      <a:pt x="132" y="59"/>
                      <a:pt x="132" y="63"/>
                    </a:cubicBezTo>
                    <a:cubicBezTo>
                      <a:pt x="133" y="69"/>
                      <a:pt x="131" y="66"/>
                      <a:pt x="140" y="66"/>
                    </a:cubicBezTo>
                    <a:cubicBezTo>
                      <a:pt x="143" y="69"/>
                      <a:pt x="150" y="77"/>
                      <a:pt x="153" y="80"/>
                    </a:cubicBezTo>
                    <a:cubicBezTo>
                      <a:pt x="154" y="82"/>
                      <a:pt x="157" y="82"/>
                      <a:pt x="159" y="85"/>
                    </a:cubicBezTo>
                    <a:cubicBezTo>
                      <a:pt x="161" y="88"/>
                      <a:pt x="163" y="95"/>
                      <a:pt x="164" y="98"/>
                    </a:cubicBezTo>
                    <a:cubicBezTo>
                      <a:pt x="164" y="99"/>
                      <a:pt x="164" y="101"/>
                      <a:pt x="166" y="101"/>
                    </a:cubicBezTo>
                    <a:cubicBezTo>
                      <a:pt x="175" y="102"/>
                      <a:pt x="177" y="113"/>
                      <a:pt x="177" y="11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19" name="Freeform 15">
                <a:extLst>
                  <a:ext uri="{FF2B5EF4-FFF2-40B4-BE49-F238E27FC236}">
                    <a16:creationId xmlns:a16="http://schemas.microsoft.com/office/drawing/2014/main" id="{897B3E32-C3DD-4C8E-934C-6D103DF0A7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2977" y="1398587"/>
                <a:ext cx="2128837" cy="1720851"/>
              </a:xfrm>
              <a:custGeom>
                <a:avLst/>
                <a:gdLst>
                  <a:gd name="T0" fmla="*/ 332 w 1304"/>
                  <a:gd name="T1" fmla="*/ 24 h 1052"/>
                  <a:gd name="T2" fmla="*/ 186 w 1304"/>
                  <a:gd name="T3" fmla="*/ 848 h 1052"/>
                  <a:gd name="T4" fmla="*/ 1284 w 1304"/>
                  <a:gd name="T5" fmla="*/ 886 h 1052"/>
                  <a:gd name="T6" fmla="*/ 1244 w 1304"/>
                  <a:gd name="T7" fmla="*/ 788 h 1052"/>
                  <a:gd name="T8" fmla="*/ 1182 w 1304"/>
                  <a:gd name="T9" fmla="*/ 736 h 1052"/>
                  <a:gd name="T10" fmla="*/ 1112 w 1304"/>
                  <a:gd name="T11" fmla="*/ 650 h 1052"/>
                  <a:gd name="T12" fmla="*/ 1052 w 1304"/>
                  <a:gd name="T13" fmla="*/ 618 h 1052"/>
                  <a:gd name="T14" fmla="*/ 930 w 1304"/>
                  <a:gd name="T15" fmla="*/ 546 h 1052"/>
                  <a:gd name="T16" fmla="*/ 906 w 1304"/>
                  <a:gd name="T17" fmla="*/ 762 h 1052"/>
                  <a:gd name="T18" fmla="*/ 744 w 1304"/>
                  <a:gd name="T19" fmla="*/ 694 h 1052"/>
                  <a:gd name="T20" fmla="*/ 750 w 1304"/>
                  <a:gd name="T21" fmla="*/ 514 h 1052"/>
                  <a:gd name="T22" fmla="*/ 790 w 1304"/>
                  <a:gd name="T23" fmla="*/ 506 h 1052"/>
                  <a:gd name="T24" fmla="*/ 870 w 1304"/>
                  <a:gd name="T25" fmla="*/ 482 h 1052"/>
                  <a:gd name="T26" fmla="*/ 872 w 1304"/>
                  <a:gd name="T27" fmla="*/ 294 h 1052"/>
                  <a:gd name="T28" fmla="*/ 916 w 1304"/>
                  <a:gd name="T29" fmla="*/ 252 h 1052"/>
                  <a:gd name="T30" fmla="*/ 988 w 1304"/>
                  <a:gd name="T31" fmla="*/ 414 h 1052"/>
                  <a:gd name="T32" fmla="*/ 952 w 1304"/>
                  <a:gd name="T33" fmla="*/ 488 h 1052"/>
                  <a:gd name="T34" fmla="*/ 1072 w 1304"/>
                  <a:gd name="T35" fmla="*/ 554 h 1052"/>
                  <a:gd name="T36" fmla="*/ 1114 w 1304"/>
                  <a:gd name="T37" fmla="*/ 500 h 1052"/>
                  <a:gd name="T38" fmla="*/ 1132 w 1304"/>
                  <a:gd name="T39" fmla="*/ 392 h 1052"/>
                  <a:gd name="T40" fmla="*/ 1028 w 1304"/>
                  <a:gd name="T41" fmla="*/ 256 h 1052"/>
                  <a:gd name="T42" fmla="*/ 962 w 1304"/>
                  <a:gd name="T43" fmla="*/ 198 h 1052"/>
                  <a:gd name="T44" fmla="*/ 920 w 1304"/>
                  <a:gd name="T45" fmla="*/ 192 h 1052"/>
                  <a:gd name="T46" fmla="*/ 820 w 1304"/>
                  <a:gd name="T47" fmla="*/ 142 h 1052"/>
                  <a:gd name="T48" fmla="*/ 824 w 1304"/>
                  <a:gd name="T49" fmla="*/ 98 h 1052"/>
                  <a:gd name="T50" fmla="*/ 794 w 1304"/>
                  <a:gd name="T51" fmla="*/ 270 h 1052"/>
                  <a:gd name="T52" fmla="*/ 764 w 1304"/>
                  <a:gd name="T53" fmla="*/ 304 h 1052"/>
                  <a:gd name="T54" fmla="*/ 658 w 1304"/>
                  <a:gd name="T55" fmla="*/ 266 h 1052"/>
                  <a:gd name="T56" fmla="*/ 626 w 1304"/>
                  <a:gd name="T57" fmla="*/ 330 h 1052"/>
                  <a:gd name="T58" fmla="*/ 478 w 1304"/>
                  <a:gd name="T59" fmla="*/ 382 h 1052"/>
                  <a:gd name="T60" fmla="*/ 418 w 1304"/>
                  <a:gd name="T61" fmla="*/ 346 h 1052"/>
                  <a:gd name="T62" fmla="*/ 580 w 1304"/>
                  <a:gd name="T63" fmla="*/ 320 h 1052"/>
                  <a:gd name="T64" fmla="*/ 538 w 1304"/>
                  <a:gd name="T65" fmla="*/ 106 h 1052"/>
                  <a:gd name="T66" fmla="*/ 448 w 1304"/>
                  <a:gd name="T67" fmla="*/ 166 h 1052"/>
                  <a:gd name="T68" fmla="*/ 380 w 1304"/>
                  <a:gd name="T69" fmla="*/ 114 h 1052"/>
                  <a:gd name="T70" fmla="*/ 242 w 1304"/>
                  <a:gd name="T71" fmla="*/ 86 h 1052"/>
                  <a:gd name="T72" fmla="*/ 276 w 1304"/>
                  <a:gd name="T73" fmla="*/ 228 h 1052"/>
                  <a:gd name="T74" fmla="*/ 334 w 1304"/>
                  <a:gd name="T75" fmla="*/ 172 h 1052"/>
                  <a:gd name="T76" fmla="*/ 392 w 1304"/>
                  <a:gd name="T77" fmla="*/ 252 h 1052"/>
                  <a:gd name="T78" fmla="*/ 402 w 1304"/>
                  <a:gd name="T79" fmla="*/ 316 h 1052"/>
                  <a:gd name="T80" fmla="*/ 228 w 1304"/>
                  <a:gd name="T81" fmla="*/ 266 h 1052"/>
                  <a:gd name="T82" fmla="*/ 152 w 1304"/>
                  <a:gd name="T83" fmla="*/ 306 h 1052"/>
                  <a:gd name="T84" fmla="*/ 18 w 1304"/>
                  <a:gd name="T85" fmla="*/ 288 h 1052"/>
                  <a:gd name="T86" fmla="*/ 112 w 1304"/>
                  <a:gd name="T87" fmla="*/ 756 h 1052"/>
                  <a:gd name="T88" fmla="*/ 702 w 1304"/>
                  <a:gd name="T89" fmla="*/ 912 h 1052"/>
                  <a:gd name="T90" fmla="*/ 834 w 1304"/>
                  <a:gd name="T91" fmla="*/ 948 h 1052"/>
                  <a:gd name="T92" fmla="*/ 858 w 1304"/>
                  <a:gd name="T93" fmla="*/ 1038 h 1052"/>
                  <a:gd name="T94" fmla="*/ 1076 w 1304"/>
                  <a:gd name="T95" fmla="*/ 932 h 1052"/>
                  <a:gd name="T96" fmla="*/ 1194 w 1304"/>
                  <a:gd name="T97" fmla="*/ 936 h 1052"/>
                  <a:gd name="T98" fmla="*/ 1102 w 1304"/>
                  <a:gd name="T99" fmla="*/ 910 h 1052"/>
                  <a:gd name="T100" fmla="*/ 1134 w 1304"/>
                  <a:gd name="T101" fmla="*/ 872 h 1052"/>
                  <a:gd name="T102" fmla="*/ 1194 w 1304"/>
                  <a:gd name="T103" fmla="*/ 920 h 1052"/>
                  <a:gd name="T104" fmla="*/ 772 w 1304"/>
                  <a:gd name="T105" fmla="*/ 446 h 1052"/>
                  <a:gd name="T106" fmla="*/ 126 w 1304"/>
                  <a:gd name="T107" fmla="*/ 772 h 1052"/>
                  <a:gd name="T108" fmla="*/ 588 w 1304"/>
                  <a:gd name="T109" fmla="*/ 154 h 1052"/>
                  <a:gd name="T110" fmla="*/ 654 w 1304"/>
                  <a:gd name="T111" fmla="*/ 204 h 1052"/>
                  <a:gd name="T112" fmla="*/ 674 w 1304"/>
                  <a:gd name="T113" fmla="*/ 90 h 1052"/>
                  <a:gd name="T114" fmla="*/ 740 w 1304"/>
                  <a:gd name="T115" fmla="*/ 118 h 1052"/>
                  <a:gd name="T116" fmla="*/ 948 w 1304"/>
                  <a:gd name="T117" fmla="*/ 140 h 1052"/>
                  <a:gd name="T118" fmla="*/ 972 w 1304"/>
                  <a:gd name="T119" fmla="*/ 352 h 1052"/>
                  <a:gd name="T120" fmla="*/ 870 w 1304"/>
                  <a:gd name="T121" fmla="*/ 536 h 1052"/>
                  <a:gd name="T122" fmla="*/ 898 w 1304"/>
                  <a:gd name="T123" fmla="*/ 644 h 1052"/>
                  <a:gd name="T124" fmla="*/ 1160 w 1304"/>
                  <a:gd name="T125" fmla="*/ 892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04" h="1052">
                    <a:moveTo>
                      <a:pt x="650" y="32"/>
                    </a:moveTo>
                    <a:lnTo>
                      <a:pt x="650" y="32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98" y="54"/>
                    </a:lnTo>
                    <a:lnTo>
                      <a:pt x="698" y="54"/>
                    </a:lnTo>
                    <a:lnTo>
                      <a:pt x="700" y="54"/>
                    </a:lnTo>
                    <a:lnTo>
                      <a:pt x="700" y="54"/>
                    </a:lnTo>
                    <a:lnTo>
                      <a:pt x="702" y="50"/>
                    </a:lnTo>
                    <a:lnTo>
                      <a:pt x="702" y="22"/>
                    </a:lnTo>
                    <a:lnTo>
                      <a:pt x="702" y="22"/>
                    </a:lnTo>
                    <a:lnTo>
                      <a:pt x="700" y="20"/>
                    </a:lnTo>
                    <a:lnTo>
                      <a:pt x="680" y="2"/>
                    </a:lnTo>
                    <a:lnTo>
                      <a:pt x="680" y="2"/>
                    </a:lnTo>
                    <a:lnTo>
                      <a:pt x="678" y="0"/>
                    </a:lnTo>
                    <a:lnTo>
                      <a:pt x="670" y="0"/>
                    </a:lnTo>
                    <a:lnTo>
                      <a:pt x="670" y="0"/>
                    </a:lnTo>
                    <a:lnTo>
                      <a:pt x="668" y="2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48" y="30"/>
                    </a:lnTo>
                    <a:lnTo>
                      <a:pt x="648" y="30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50" y="32"/>
                    </a:lnTo>
                    <a:lnTo>
                      <a:pt x="650" y="32"/>
                    </a:lnTo>
                    <a:close/>
                    <a:moveTo>
                      <a:pt x="718" y="54"/>
                    </a:moveTo>
                    <a:lnTo>
                      <a:pt x="802" y="72"/>
                    </a:lnTo>
                    <a:lnTo>
                      <a:pt x="802" y="72"/>
                    </a:lnTo>
                    <a:lnTo>
                      <a:pt x="802" y="72"/>
                    </a:lnTo>
                    <a:lnTo>
                      <a:pt x="832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52" y="54"/>
                    </a:lnTo>
                    <a:lnTo>
                      <a:pt x="870" y="62"/>
                    </a:lnTo>
                    <a:lnTo>
                      <a:pt x="870" y="62"/>
                    </a:lnTo>
                    <a:lnTo>
                      <a:pt x="874" y="62"/>
                    </a:lnTo>
                    <a:lnTo>
                      <a:pt x="900" y="52"/>
                    </a:lnTo>
                    <a:lnTo>
                      <a:pt x="900" y="52"/>
                    </a:lnTo>
                    <a:lnTo>
                      <a:pt x="902" y="50"/>
                    </a:lnTo>
                    <a:lnTo>
                      <a:pt x="908" y="10"/>
                    </a:lnTo>
                    <a:lnTo>
                      <a:pt x="908" y="10"/>
                    </a:lnTo>
                    <a:lnTo>
                      <a:pt x="908" y="8"/>
                    </a:lnTo>
                    <a:lnTo>
                      <a:pt x="908" y="8"/>
                    </a:lnTo>
                    <a:lnTo>
                      <a:pt x="906" y="6"/>
                    </a:lnTo>
                    <a:lnTo>
                      <a:pt x="718" y="4"/>
                    </a:lnTo>
                    <a:lnTo>
                      <a:pt x="718" y="4"/>
                    </a:lnTo>
                    <a:lnTo>
                      <a:pt x="714" y="6"/>
                    </a:lnTo>
                    <a:lnTo>
                      <a:pt x="714" y="8"/>
                    </a:lnTo>
                    <a:lnTo>
                      <a:pt x="714" y="8"/>
                    </a:lnTo>
                    <a:lnTo>
                      <a:pt x="714" y="10"/>
                    </a:lnTo>
                    <a:lnTo>
                      <a:pt x="716" y="50"/>
                    </a:lnTo>
                    <a:lnTo>
                      <a:pt x="716" y="50"/>
                    </a:lnTo>
                    <a:lnTo>
                      <a:pt x="718" y="54"/>
                    </a:lnTo>
                    <a:lnTo>
                      <a:pt x="718" y="54"/>
                    </a:lnTo>
                    <a:close/>
                    <a:moveTo>
                      <a:pt x="592" y="34"/>
                    </a:moveTo>
                    <a:lnTo>
                      <a:pt x="592" y="34"/>
                    </a:lnTo>
                    <a:lnTo>
                      <a:pt x="594" y="34"/>
                    </a:lnTo>
                    <a:lnTo>
                      <a:pt x="622" y="34"/>
                    </a:lnTo>
                    <a:lnTo>
                      <a:pt x="622" y="34"/>
                    </a:lnTo>
                    <a:lnTo>
                      <a:pt x="624" y="32"/>
                    </a:lnTo>
                    <a:lnTo>
                      <a:pt x="634" y="12"/>
                    </a:lnTo>
                    <a:lnTo>
                      <a:pt x="634" y="12"/>
                    </a:lnTo>
                    <a:lnTo>
                      <a:pt x="636" y="10"/>
                    </a:lnTo>
                    <a:lnTo>
                      <a:pt x="636" y="10"/>
                    </a:lnTo>
                    <a:lnTo>
                      <a:pt x="636" y="8"/>
                    </a:lnTo>
                    <a:lnTo>
                      <a:pt x="636" y="8"/>
                    </a:lnTo>
                    <a:lnTo>
                      <a:pt x="636" y="6"/>
                    </a:lnTo>
                    <a:lnTo>
                      <a:pt x="634" y="6"/>
                    </a:lnTo>
                    <a:lnTo>
                      <a:pt x="634" y="6"/>
                    </a:lnTo>
                    <a:lnTo>
                      <a:pt x="632" y="6"/>
                    </a:lnTo>
                    <a:lnTo>
                      <a:pt x="630" y="6"/>
                    </a:lnTo>
                    <a:lnTo>
                      <a:pt x="630" y="6"/>
                    </a:lnTo>
                    <a:lnTo>
                      <a:pt x="556" y="4"/>
                    </a:lnTo>
                    <a:lnTo>
                      <a:pt x="556" y="4"/>
                    </a:lnTo>
                    <a:lnTo>
                      <a:pt x="552" y="6"/>
                    </a:lnTo>
                    <a:lnTo>
                      <a:pt x="552" y="6"/>
                    </a:lnTo>
                    <a:lnTo>
                      <a:pt x="552" y="8"/>
                    </a:lnTo>
                    <a:lnTo>
                      <a:pt x="554" y="10"/>
                    </a:lnTo>
                    <a:lnTo>
                      <a:pt x="592" y="34"/>
                    </a:lnTo>
                    <a:close/>
                    <a:moveTo>
                      <a:pt x="330" y="22"/>
                    </a:moveTo>
                    <a:lnTo>
                      <a:pt x="330" y="22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72" y="34"/>
                    </a:lnTo>
                    <a:lnTo>
                      <a:pt x="372" y="34"/>
                    </a:lnTo>
                    <a:lnTo>
                      <a:pt x="374" y="32"/>
                    </a:lnTo>
                    <a:lnTo>
                      <a:pt x="382" y="26"/>
                    </a:lnTo>
                    <a:lnTo>
                      <a:pt x="398" y="38"/>
                    </a:lnTo>
                    <a:lnTo>
                      <a:pt x="382" y="48"/>
                    </a:lnTo>
                    <a:lnTo>
                      <a:pt x="382" y="48"/>
                    </a:lnTo>
                    <a:lnTo>
                      <a:pt x="380" y="50"/>
                    </a:lnTo>
                    <a:lnTo>
                      <a:pt x="380" y="50"/>
                    </a:lnTo>
                    <a:lnTo>
                      <a:pt x="380" y="52"/>
                    </a:lnTo>
                    <a:lnTo>
                      <a:pt x="390" y="62"/>
                    </a:lnTo>
                    <a:lnTo>
                      <a:pt x="390" y="62"/>
                    </a:lnTo>
                    <a:lnTo>
                      <a:pt x="390" y="62"/>
                    </a:lnTo>
                    <a:lnTo>
                      <a:pt x="410" y="72"/>
                    </a:lnTo>
                    <a:lnTo>
                      <a:pt x="410" y="72"/>
                    </a:lnTo>
                    <a:lnTo>
                      <a:pt x="412" y="72"/>
                    </a:lnTo>
                    <a:lnTo>
                      <a:pt x="460" y="34"/>
                    </a:lnTo>
                    <a:lnTo>
                      <a:pt x="506" y="34"/>
                    </a:lnTo>
                    <a:lnTo>
                      <a:pt x="506" y="34"/>
                    </a:lnTo>
                    <a:lnTo>
                      <a:pt x="508" y="32"/>
                    </a:lnTo>
                    <a:lnTo>
                      <a:pt x="510" y="30"/>
                    </a:lnTo>
                    <a:lnTo>
                      <a:pt x="512" y="8"/>
                    </a:lnTo>
                    <a:lnTo>
                      <a:pt x="512" y="8"/>
                    </a:lnTo>
                    <a:lnTo>
                      <a:pt x="512" y="6"/>
                    </a:lnTo>
                    <a:lnTo>
                      <a:pt x="512" y="6"/>
                    </a:lnTo>
                    <a:lnTo>
                      <a:pt x="510" y="4"/>
                    </a:lnTo>
                    <a:lnTo>
                      <a:pt x="340" y="4"/>
                    </a:lnTo>
                    <a:lnTo>
                      <a:pt x="340" y="4"/>
                    </a:lnTo>
                    <a:lnTo>
                      <a:pt x="338" y="6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close/>
                    <a:moveTo>
                      <a:pt x="292" y="926"/>
                    </a:moveTo>
                    <a:lnTo>
                      <a:pt x="290" y="922"/>
                    </a:lnTo>
                    <a:lnTo>
                      <a:pt x="288" y="918"/>
                    </a:lnTo>
                    <a:lnTo>
                      <a:pt x="286" y="914"/>
                    </a:lnTo>
                    <a:lnTo>
                      <a:pt x="282" y="910"/>
                    </a:lnTo>
                    <a:lnTo>
                      <a:pt x="280" y="908"/>
                    </a:lnTo>
                    <a:lnTo>
                      <a:pt x="274" y="902"/>
                    </a:lnTo>
                    <a:lnTo>
                      <a:pt x="268" y="896"/>
                    </a:lnTo>
                    <a:lnTo>
                      <a:pt x="264" y="892"/>
                    </a:lnTo>
                    <a:lnTo>
                      <a:pt x="260" y="888"/>
                    </a:lnTo>
                    <a:lnTo>
                      <a:pt x="260" y="888"/>
                    </a:lnTo>
                    <a:lnTo>
                      <a:pt x="258" y="884"/>
                    </a:lnTo>
                    <a:lnTo>
                      <a:pt x="256" y="882"/>
                    </a:lnTo>
                    <a:lnTo>
                      <a:pt x="256" y="878"/>
                    </a:lnTo>
                    <a:lnTo>
                      <a:pt x="256" y="876"/>
                    </a:lnTo>
                    <a:lnTo>
                      <a:pt x="256" y="874"/>
                    </a:lnTo>
                    <a:lnTo>
                      <a:pt x="256" y="872"/>
                    </a:lnTo>
                    <a:lnTo>
                      <a:pt x="256" y="872"/>
                    </a:lnTo>
                    <a:lnTo>
                      <a:pt x="254" y="870"/>
                    </a:lnTo>
                    <a:lnTo>
                      <a:pt x="254" y="868"/>
                    </a:lnTo>
                    <a:lnTo>
                      <a:pt x="248" y="868"/>
                    </a:lnTo>
                    <a:lnTo>
                      <a:pt x="244" y="866"/>
                    </a:lnTo>
                    <a:lnTo>
                      <a:pt x="240" y="864"/>
                    </a:lnTo>
                    <a:lnTo>
                      <a:pt x="236" y="862"/>
                    </a:lnTo>
                    <a:lnTo>
                      <a:pt x="228" y="860"/>
                    </a:lnTo>
                    <a:lnTo>
                      <a:pt x="222" y="854"/>
                    </a:lnTo>
                    <a:lnTo>
                      <a:pt x="216" y="850"/>
                    </a:lnTo>
                    <a:lnTo>
                      <a:pt x="212" y="848"/>
                    </a:lnTo>
                    <a:lnTo>
                      <a:pt x="208" y="848"/>
                    </a:lnTo>
                    <a:lnTo>
                      <a:pt x="204" y="846"/>
                    </a:lnTo>
                    <a:lnTo>
                      <a:pt x="200" y="846"/>
                    </a:lnTo>
                    <a:lnTo>
                      <a:pt x="194" y="844"/>
                    </a:lnTo>
                    <a:lnTo>
                      <a:pt x="188" y="846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6" y="848"/>
                    </a:lnTo>
                    <a:lnTo>
                      <a:pt x="186" y="848"/>
                    </a:lnTo>
                    <a:lnTo>
                      <a:pt x="186" y="848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2"/>
                    </a:lnTo>
                    <a:lnTo>
                      <a:pt x="188" y="856"/>
                    </a:lnTo>
                    <a:lnTo>
                      <a:pt x="190" y="860"/>
                    </a:lnTo>
                    <a:lnTo>
                      <a:pt x="192" y="864"/>
                    </a:lnTo>
                    <a:lnTo>
                      <a:pt x="194" y="866"/>
                    </a:lnTo>
                    <a:lnTo>
                      <a:pt x="194" y="866"/>
                    </a:lnTo>
                    <a:lnTo>
                      <a:pt x="194" y="866"/>
                    </a:lnTo>
                    <a:lnTo>
                      <a:pt x="198" y="870"/>
                    </a:lnTo>
                    <a:lnTo>
                      <a:pt x="204" y="874"/>
                    </a:lnTo>
                    <a:lnTo>
                      <a:pt x="210" y="878"/>
                    </a:lnTo>
                    <a:lnTo>
                      <a:pt x="214" y="882"/>
                    </a:lnTo>
                    <a:lnTo>
                      <a:pt x="214" y="882"/>
                    </a:lnTo>
                    <a:lnTo>
                      <a:pt x="218" y="886"/>
                    </a:lnTo>
                    <a:lnTo>
                      <a:pt x="218" y="888"/>
                    </a:lnTo>
                    <a:lnTo>
                      <a:pt x="220" y="892"/>
                    </a:lnTo>
                    <a:lnTo>
                      <a:pt x="220" y="894"/>
                    </a:lnTo>
                    <a:lnTo>
                      <a:pt x="222" y="896"/>
                    </a:lnTo>
                    <a:lnTo>
                      <a:pt x="222" y="898"/>
                    </a:lnTo>
                    <a:lnTo>
                      <a:pt x="222" y="900"/>
                    </a:lnTo>
                    <a:lnTo>
                      <a:pt x="222" y="900"/>
                    </a:lnTo>
                    <a:lnTo>
                      <a:pt x="222" y="902"/>
                    </a:lnTo>
                    <a:lnTo>
                      <a:pt x="222" y="902"/>
                    </a:lnTo>
                    <a:lnTo>
                      <a:pt x="226" y="902"/>
                    </a:lnTo>
                    <a:lnTo>
                      <a:pt x="228" y="902"/>
                    </a:lnTo>
                    <a:lnTo>
                      <a:pt x="232" y="900"/>
                    </a:lnTo>
                    <a:lnTo>
                      <a:pt x="234" y="900"/>
                    </a:lnTo>
                    <a:lnTo>
                      <a:pt x="234" y="900"/>
                    </a:lnTo>
                    <a:lnTo>
                      <a:pt x="234" y="900"/>
                    </a:lnTo>
                    <a:lnTo>
                      <a:pt x="236" y="902"/>
                    </a:lnTo>
                    <a:lnTo>
                      <a:pt x="240" y="908"/>
                    </a:lnTo>
                    <a:lnTo>
                      <a:pt x="244" y="916"/>
                    </a:lnTo>
                    <a:lnTo>
                      <a:pt x="252" y="922"/>
                    </a:lnTo>
                    <a:lnTo>
                      <a:pt x="252" y="922"/>
                    </a:lnTo>
                    <a:lnTo>
                      <a:pt x="252" y="924"/>
                    </a:lnTo>
                    <a:lnTo>
                      <a:pt x="258" y="928"/>
                    </a:lnTo>
                    <a:lnTo>
                      <a:pt x="258" y="928"/>
                    </a:lnTo>
                    <a:lnTo>
                      <a:pt x="258" y="928"/>
                    </a:lnTo>
                    <a:lnTo>
                      <a:pt x="266" y="932"/>
                    </a:lnTo>
                    <a:lnTo>
                      <a:pt x="266" y="932"/>
                    </a:lnTo>
                    <a:lnTo>
                      <a:pt x="266" y="932"/>
                    </a:lnTo>
                    <a:lnTo>
                      <a:pt x="274" y="934"/>
                    </a:lnTo>
                    <a:lnTo>
                      <a:pt x="274" y="934"/>
                    </a:lnTo>
                    <a:lnTo>
                      <a:pt x="274" y="934"/>
                    </a:lnTo>
                    <a:lnTo>
                      <a:pt x="282" y="936"/>
                    </a:lnTo>
                    <a:lnTo>
                      <a:pt x="284" y="936"/>
                    </a:lnTo>
                    <a:lnTo>
                      <a:pt x="292" y="936"/>
                    </a:lnTo>
                    <a:lnTo>
                      <a:pt x="292" y="936"/>
                    </a:lnTo>
                    <a:lnTo>
                      <a:pt x="294" y="934"/>
                    </a:lnTo>
                    <a:lnTo>
                      <a:pt x="294" y="934"/>
                    </a:lnTo>
                    <a:lnTo>
                      <a:pt x="294" y="932"/>
                    </a:lnTo>
                    <a:lnTo>
                      <a:pt x="292" y="926"/>
                    </a:lnTo>
                    <a:close/>
                    <a:moveTo>
                      <a:pt x="1304" y="932"/>
                    </a:moveTo>
                    <a:lnTo>
                      <a:pt x="1302" y="928"/>
                    </a:lnTo>
                    <a:lnTo>
                      <a:pt x="1302" y="930"/>
                    </a:lnTo>
                    <a:lnTo>
                      <a:pt x="1302" y="926"/>
                    </a:lnTo>
                    <a:lnTo>
                      <a:pt x="1300" y="924"/>
                    </a:lnTo>
                    <a:lnTo>
                      <a:pt x="1300" y="922"/>
                    </a:lnTo>
                    <a:lnTo>
                      <a:pt x="1300" y="922"/>
                    </a:lnTo>
                    <a:lnTo>
                      <a:pt x="1300" y="920"/>
                    </a:lnTo>
                    <a:lnTo>
                      <a:pt x="1300" y="918"/>
                    </a:lnTo>
                    <a:lnTo>
                      <a:pt x="1300" y="918"/>
                    </a:lnTo>
                    <a:lnTo>
                      <a:pt x="1298" y="918"/>
                    </a:lnTo>
                    <a:lnTo>
                      <a:pt x="1298" y="916"/>
                    </a:lnTo>
                    <a:lnTo>
                      <a:pt x="1298" y="916"/>
                    </a:lnTo>
                    <a:lnTo>
                      <a:pt x="1296" y="916"/>
                    </a:lnTo>
                    <a:lnTo>
                      <a:pt x="1296" y="916"/>
                    </a:lnTo>
                    <a:lnTo>
                      <a:pt x="1296" y="914"/>
                    </a:lnTo>
                    <a:lnTo>
                      <a:pt x="1298" y="910"/>
                    </a:lnTo>
                    <a:lnTo>
                      <a:pt x="1298" y="908"/>
                    </a:lnTo>
                    <a:lnTo>
                      <a:pt x="1298" y="908"/>
                    </a:lnTo>
                    <a:lnTo>
                      <a:pt x="1298" y="906"/>
                    </a:lnTo>
                    <a:lnTo>
                      <a:pt x="1298" y="906"/>
                    </a:lnTo>
                    <a:lnTo>
                      <a:pt x="1298" y="904"/>
                    </a:lnTo>
                    <a:lnTo>
                      <a:pt x="1298" y="902"/>
                    </a:lnTo>
                    <a:lnTo>
                      <a:pt x="1298" y="902"/>
                    </a:lnTo>
                    <a:lnTo>
                      <a:pt x="1296" y="902"/>
                    </a:lnTo>
                    <a:lnTo>
                      <a:pt x="1294" y="900"/>
                    </a:lnTo>
                    <a:lnTo>
                      <a:pt x="1294" y="900"/>
                    </a:lnTo>
                    <a:lnTo>
                      <a:pt x="1294" y="898"/>
                    </a:lnTo>
                    <a:lnTo>
                      <a:pt x="1292" y="898"/>
                    </a:lnTo>
                    <a:lnTo>
                      <a:pt x="1292" y="898"/>
                    </a:lnTo>
                    <a:lnTo>
                      <a:pt x="1290" y="898"/>
                    </a:lnTo>
                    <a:lnTo>
                      <a:pt x="1288" y="898"/>
                    </a:lnTo>
                    <a:lnTo>
                      <a:pt x="1288" y="898"/>
                    </a:lnTo>
                    <a:lnTo>
                      <a:pt x="1288" y="896"/>
                    </a:lnTo>
                    <a:lnTo>
                      <a:pt x="1286" y="892"/>
                    </a:lnTo>
                    <a:lnTo>
                      <a:pt x="1286" y="888"/>
                    </a:lnTo>
                    <a:lnTo>
                      <a:pt x="1284" y="886"/>
                    </a:lnTo>
                    <a:lnTo>
                      <a:pt x="1284" y="886"/>
                    </a:lnTo>
                    <a:lnTo>
                      <a:pt x="1284" y="884"/>
                    </a:lnTo>
                    <a:lnTo>
                      <a:pt x="1282" y="882"/>
                    </a:lnTo>
                    <a:lnTo>
                      <a:pt x="1282" y="882"/>
                    </a:lnTo>
                    <a:lnTo>
                      <a:pt x="1282" y="882"/>
                    </a:lnTo>
                    <a:lnTo>
                      <a:pt x="1280" y="880"/>
                    </a:lnTo>
                    <a:lnTo>
                      <a:pt x="1280" y="880"/>
                    </a:lnTo>
                    <a:lnTo>
                      <a:pt x="1280" y="880"/>
                    </a:lnTo>
                    <a:lnTo>
                      <a:pt x="1276" y="878"/>
                    </a:lnTo>
                    <a:lnTo>
                      <a:pt x="1276" y="878"/>
                    </a:lnTo>
                    <a:lnTo>
                      <a:pt x="1274" y="878"/>
                    </a:lnTo>
                    <a:lnTo>
                      <a:pt x="1270" y="878"/>
                    </a:lnTo>
                    <a:lnTo>
                      <a:pt x="1266" y="880"/>
                    </a:lnTo>
                    <a:lnTo>
                      <a:pt x="1262" y="880"/>
                    </a:lnTo>
                    <a:lnTo>
                      <a:pt x="1260" y="880"/>
                    </a:lnTo>
                    <a:lnTo>
                      <a:pt x="1260" y="880"/>
                    </a:lnTo>
                    <a:lnTo>
                      <a:pt x="1258" y="876"/>
                    </a:lnTo>
                    <a:lnTo>
                      <a:pt x="1258" y="876"/>
                    </a:lnTo>
                    <a:lnTo>
                      <a:pt x="1258" y="876"/>
                    </a:lnTo>
                    <a:lnTo>
                      <a:pt x="1258" y="874"/>
                    </a:lnTo>
                    <a:lnTo>
                      <a:pt x="1258" y="874"/>
                    </a:lnTo>
                    <a:lnTo>
                      <a:pt x="1258" y="874"/>
                    </a:lnTo>
                    <a:lnTo>
                      <a:pt x="1256" y="872"/>
                    </a:lnTo>
                    <a:lnTo>
                      <a:pt x="1256" y="872"/>
                    </a:lnTo>
                    <a:lnTo>
                      <a:pt x="1256" y="872"/>
                    </a:lnTo>
                    <a:lnTo>
                      <a:pt x="1252" y="870"/>
                    </a:lnTo>
                    <a:lnTo>
                      <a:pt x="1250" y="870"/>
                    </a:lnTo>
                    <a:lnTo>
                      <a:pt x="1250" y="868"/>
                    </a:lnTo>
                    <a:lnTo>
                      <a:pt x="1250" y="868"/>
                    </a:lnTo>
                    <a:lnTo>
                      <a:pt x="1248" y="866"/>
                    </a:lnTo>
                    <a:lnTo>
                      <a:pt x="1248" y="866"/>
                    </a:lnTo>
                    <a:lnTo>
                      <a:pt x="1248" y="866"/>
                    </a:lnTo>
                    <a:lnTo>
                      <a:pt x="1248" y="864"/>
                    </a:lnTo>
                    <a:lnTo>
                      <a:pt x="1248" y="864"/>
                    </a:lnTo>
                    <a:lnTo>
                      <a:pt x="1248" y="864"/>
                    </a:lnTo>
                    <a:lnTo>
                      <a:pt x="1246" y="864"/>
                    </a:lnTo>
                    <a:lnTo>
                      <a:pt x="1246" y="864"/>
                    </a:lnTo>
                    <a:lnTo>
                      <a:pt x="1250" y="862"/>
                    </a:lnTo>
                    <a:lnTo>
                      <a:pt x="1252" y="862"/>
                    </a:lnTo>
                    <a:lnTo>
                      <a:pt x="1254" y="862"/>
                    </a:lnTo>
                    <a:lnTo>
                      <a:pt x="1254" y="862"/>
                    </a:lnTo>
                    <a:lnTo>
                      <a:pt x="1254" y="862"/>
                    </a:lnTo>
                    <a:lnTo>
                      <a:pt x="1256" y="860"/>
                    </a:lnTo>
                    <a:lnTo>
                      <a:pt x="1258" y="858"/>
                    </a:lnTo>
                    <a:lnTo>
                      <a:pt x="1258" y="854"/>
                    </a:lnTo>
                    <a:lnTo>
                      <a:pt x="1260" y="850"/>
                    </a:lnTo>
                    <a:lnTo>
                      <a:pt x="1260" y="844"/>
                    </a:lnTo>
                    <a:lnTo>
                      <a:pt x="1260" y="842"/>
                    </a:lnTo>
                    <a:lnTo>
                      <a:pt x="1262" y="840"/>
                    </a:lnTo>
                    <a:lnTo>
                      <a:pt x="1262" y="840"/>
                    </a:lnTo>
                    <a:lnTo>
                      <a:pt x="1262" y="838"/>
                    </a:lnTo>
                    <a:lnTo>
                      <a:pt x="1262" y="834"/>
                    </a:lnTo>
                    <a:lnTo>
                      <a:pt x="1260" y="832"/>
                    </a:lnTo>
                    <a:lnTo>
                      <a:pt x="1260" y="828"/>
                    </a:lnTo>
                    <a:lnTo>
                      <a:pt x="1260" y="826"/>
                    </a:lnTo>
                    <a:lnTo>
                      <a:pt x="1260" y="824"/>
                    </a:lnTo>
                    <a:lnTo>
                      <a:pt x="1260" y="824"/>
                    </a:lnTo>
                    <a:lnTo>
                      <a:pt x="1258" y="824"/>
                    </a:lnTo>
                    <a:lnTo>
                      <a:pt x="1258" y="824"/>
                    </a:lnTo>
                    <a:lnTo>
                      <a:pt x="1258" y="824"/>
                    </a:lnTo>
                    <a:lnTo>
                      <a:pt x="1258" y="822"/>
                    </a:lnTo>
                    <a:lnTo>
                      <a:pt x="1256" y="822"/>
                    </a:lnTo>
                    <a:lnTo>
                      <a:pt x="1256" y="822"/>
                    </a:lnTo>
                    <a:lnTo>
                      <a:pt x="1256" y="822"/>
                    </a:lnTo>
                    <a:lnTo>
                      <a:pt x="1254" y="820"/>
                    </a:lnTo>
                    <a:lnTo>
                      <a:pt x="1254" y="820"/>
                    </a:lnTo>
                    <a:lnTo>
                      <a:pt x="1254" y="818"/>
                    </a:lnTo>
                    <a:lnTo>
                      <a:pt x="1254" y="820"/>
                    </a:lnTo>
                    <a:lnTo>
                      <a:pt x="1252" y="818"/>
                    </a:lnTo>
                    <a:lnTo>
                      <a:pt x="1252" y="816"/>
                    </a:lnTo>
                    <a:lnTo>
                      <a:pt x="1250" y="816"/>
                    </a:lnTo>
                    <a:lnTo>
                      <a:pt x="1250" y="814"/>
                    </a:lnTo>
                    <a:lnTo>
                      <a:pt x="1250" y="812"/>
                    </a:lnTo>
                    <a:lnTo>
                      <a:pt x="1250" y="812"/>
                    </a:lnTo>
                    <a:lnTo>
                      <a:pt x="1250" y="812"/>
                    </a:lnTo>
                    <a:lnTo>
                      <a:pt x="1250" y="810"/>
                    </a:lnTo>
                    <a:lnTo>
                      <a:pt x="1252" y="806"/>
                    </a:lnTo>
                    <a:lnTo>
                      <a:pt x="1252" y="802"/>
                    </a:lnTo>
                    <a:lnTo>
                      <a:pt x="1252" y="798"/>
                    </a:lnTo>
                    <a:lnTo>
                      <a:pt x="1252" y="798"/>
                    </a:lnTo>
                    <a:lnTo>
                      <a:pt x="1252" y="796"/>
                    </a:lnTo>
                    <a:lnTo>
                      <a:pt x="1252" y="794"/>
                    </a:lnTo>
                    <a:lnTo>
                      <a:pt x="1252" y="794"/>
                    </a:lnTo>
                    <a:lnTo>
                      <a:pt x="1252" y="792"/>
                    </a:lnTo>
                    <a:lnTo>
                      <a:pt x="1250" y="790"/>
                    </a:lnTo>
                    <a:lnTo>
                      <a:pt x="1250" y="790"/>
                    </a:lnTo>
                    <a:lnTo>
                      <a:pt x="1250" y="790"/>
                    </a:lnTo>
                    <a:lnTo>
                      <a:pt x="1248" y="788"/>
                    </a:lnTo>
                    <a:lnTo>
                      <a:pt x="1248" y="788"/>
                    </a:lnTo>
                    <a:lnTo>
                      <a:pt x="1248" y="788"/>
                    </a:lnTo>
                    <a:lnTo>
                      <a:pt x="1244" y="788"/>
                    </a:lnTo>
                    <a:lnTo>
                      <a:pt x="1244" y="788"/>
                    </a:lnTo>
                    <a:lnTo>
                      <a:pt x="1244" y="788"/>
                    </a:lnTo>
                    <a:lnTo>
                      <a:pt x="1242" y="786"/>
                    </a:lnTo>
                    <a:lnTo>
                      <a:pt x="1236" y="786"/>
                    </a:lnTo>
                    <a:lnTo>
                      <a:pt x="1234" y="786"/>
                    </a:lnTo>
                    <a:lnTo>
                      <a:pt x="1234" y="786"/>
                    </a:lnTo>
                    <a:lnTo>
                      <a:pt x="1232" y="786"/>
                    </a:lnTo>
                    <a:lnTo>
                      <a:pt x="1232" y="786"/>
                    </a:lnTo>
                    <a:lnTo>
                      <a:pt x="1232" y="784"/>
                    </a:lnTo>
                    <a:lnTo>
                      <a:pt x="1230" y="782"/>
                    </a:lnTo>
                    <a:lnTo>
                      <a:pt x="1228" y="780"/>
                    </a:lnTo>
                    <a:lnTo>
                      <a:pt x="1228" y="780"/>
                    </a:lnTo>
                    <a:lnTo>
                      <a:pt x="1228" y="778"/>
                    </a:lnTo>
                    <a:lnTo>
                      <a:pt x="1228" y="778"/>
                    </a:lnTo>
                    <a:lnTo>
                      <a:pt x="1228" y="778"/>
                    </a:lnTo>
                    <a:lnTo>
                      <a:pt x="1226" y="776"/>
                    </a:lnTo>
                    <a:lnTo>
                      <a:pt x="1224" y="776"/>
                    </a:lnTo>
                    <a:lnTo>
                      <a:pt x="1224" y="776"/>
                    </a:lnTo>
                    <a:lnTo>
                      <a:pt x="1224" y="776"/>
                    </a:lnTo>
                    <a:lnTo>
                      <a:pt x="1220" y="776"/>
                    </a:lnTo>
                    <a:lnTo>
                      <a:pt x="1220" y="776"/>
                    </a:lnTo>
                    <a:lnTo>
                      <a:pt x="1220" y="776"/>
                    </a:lnTo>
                    <a:lnTo>
                      <a:pt x="1216" y="778"/>
                    </a:lnTo>
                    <a:lnTo>
                      <a:pt x="1216" y="778"/>
                    </a:lnTo>
                    <a:lnTo>
                      <a:pt x="1216" y="778"/>
                    </a:lnTo>
                    <a:lnTo>
                      <a:pt x="1212" y="780"/>
                    </a:lnTo>
                    <a:lnTo>
                      <a:pt x="1208" y="784"/>
                    </a:lnTo>
                    <a:lnTo>
                      <a:pt x="1204" y="788"/>
                    </a:lnTo>
                    <a:lnTo>
                      <a:pt x="1198" y="790"/>
                    </a:lnTo>
                    <a:lnTo>
                      <a:pt x="1194" y="794"/>
                    </a:lnTo>
                    <a:lnTo>
                      <a:pt x="1190" y="796"/>
                    </a:lnTo>
                    <a:lnTo>
                      <a:pt x="1188" y="798"/>
                    </a:lnTo>
                    <a:lnTo>
                      <a:pt x="1186" y="798"/>
                    </a:lnTo>
                    <a:lnTo>
                      <a:pt x="1184" y="798"/>
                    </a:lnTo>
                    <a:lnTo>
                      <a:pt x="1182" y="798"/>
                    </a:lnTo>
                    <a:lnTo>
                      <a:pt x="1180" y="798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4"/>
                    </a:lnTo>
                    <a:lnTo>
                      <a:pt x="1182" y="790"/>
                    </a:lnTo>
                    <a:lnTo>
                      <a:pt x="1186" y="788"/>
                    </a:lnTo>
                    <a:lnTo>
                      <a:pt x="1188" y="784"/>
                    </a:lnTo>
                    <a:lnTo>
                      <a:pt x="1192" y="782"/>
                    </a:lnTo>
                    <a:lnTo>
                      <a:pt x="1196" y="778"/>
                    </a:lnTo>
                    <a:lnTo>
                      <a:pt x="1200" y="776"/>
                    </a:lnTo>
                    <a:lnTo>
                      <a:pt x="1202" y="774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14" y="772"/>
                    </a:lnTo>
                    <a:lnTo>
                      <a:pt x="1216" y="772"/>
                    </a:lnTo>
                    <a:lnTo>
                      <a:pt x="1220" y="772"/>
                    </a:lnTo>
                    <a:lnTo>
                      <a:pt x="1220" y="772"/>
                    </a:lnTo>
                    <a:lnTo>
                      <a:pt x="1220" y="772"/>
                    </a:lnTo>
                    <a:lnTo>
                      <a:pt x="1222" y="772"/>
                    </a:lnTo>
                    <a:lnTo>
                      <a:pt x="1222" y="772"/>
                    </a:lnTo>
                    <a:lnTo>
                      <a:pt x="1224" y="770"/>
                    </a:lnTo>
                    <a:lnTo>
                      <a:pt x="1224" y="770"/>
                    </a:lnTo>
                    <a:lnTo>
                      <a:pt x="1224" y="770"/>
                    </a:lnTo>
                    <a:lnTo>
                      <a:pt x="1224" y="766"/>
                    </a:lnTo>
                    <a:lnTo>
                      <a:pt x="1224" y="766"/>
                    </a:lnTo>
                    <a:lnTo>
                      <a:pt x="1224" y="766"/>
                    </a:lnTo>
                    <a:lnTo>
                      <a:pt x="1224" y="764"/>
                    </a:lnTo>
                    <a:lnTo>
                      <a:pt x="1222" y="764"/>
                    </a:lnTo>
                    <a:lnTo>
                      <a:pt x="1222" y="764"/>
                    </a:lnTo>
                    <a:lnTo>
                      <a:pt x="1222" y="764"/>
                    </a:lnTo>
                    <a:lnTo>
                      <a:pt x="1220" y="762"/>
                    </a:lnTo>
                    <a:lnTo>
                      <a:pt x="1216" y="760"/>
                    </a:lnTo>
                    <a:lnTo>
                      <a:pt x="1214" y="758"/>
                    </a:lnTo>
                    <a:lnTo>
                      <a:pt x="1206" y="756"/>
                    </a:lnTo>
                    <a:lnTo>
                      <a:pt x="1202" y="754"/>
                    </a:lnTo>
                    <a:lnTo>
                      <a:pt x="1198" y="754"/>
                    </a:lnTo>
                    <a:lnTo>
                      <a:pt x="1196" y="754"/>
                    </a:lnTo>
                    <a:lnTo>
                      <a:pt x="1192" y="752"/>
                    </a:lnTo>
                    <a:lnTo>
                      <a:pt x="1188" y="752"/>
                    </a:lnTo>
                    <a:lnTo>
                      <a:pt x="1184" y="752"/>
                    </a:lnTo>
                    <a:lnTo>
                      <a:pt x="1184" y="752"/>
                    </a:lnTo>
                    <a:lnTo>
                      <a:pt x="1182" y="752"/>
                    </a:lnTo>
                    <a:lnTo>
                      <a:pt x="1182" y="752"/>
                    </a:lnTo>
                    <a:lnTo>
                      <a:pt x="1182" y="750"/>
                    </a:lnTo>
                    <a:lnTo>
                      <a:pt x="1182" y="748"/>
                    </a:lnTo>
                    <a:lnTo>
                      <a:pt x="1184" y="746"/>
                    </a:lnTo>
                    <a:lnTo>
                      <a:pt x="1184" y="744"/>
                    </a:lnTo>
                    <a:lnTo>
                      <a:pt x="1184" y="742"/>
                    </a:lnTo>
                    <a:lnTo>
                      <a:pt x="1184" y="742"/>
                    </a:lnTo>
                    <a:lnTo>
                      <a:pt x="1184" y="742"/>
                    </a:lnTo>
                    <a:lnTo>
                      <a:pt x="1184" y="740"/>
                    </a:lnTo>
                    <a:lnTo>
                      <a:pt x="1184" y="740"/>
                    </a:lnTo>
                    <a:lnTo>
                      <a:pt x="1184" y="740"/>
                    </a:lnTo>
                    <a:lnTo>
                      <a:pt x="1182" y="738"/>
                    </a:lnTo>
                    <a:lnTo>
                      <a:pt x="1182" y="738"/>
                    </a:lnTo>
                    <a:lnTo>
                      <a:pt x="1182" y="736"/>
                    </a:lnTo>
                    <a:lnTo>
                      <a:pt x="1180" y="736"/>
                    </a:lnTo>
                    <a:lnTo>
                      <a:pt x="1180" y="736"/>
                    </a:lnTo>
                    <a:lnTo>
                      <a:pt x="1180" y="734"/>
                    </a:lnTo>
                    <a:lnTo>
                      <a:pt x="1178" y="734"/>
                    </a:lnTo>
                    <a:lnTo>
                      <a:pt x="1178" y="734"/>
                    </a:lnTo>
                    <a:lnTo>
                      <a:pt x="1178" y="734"/>
                    </a:lnTo>
                    <a:lnTo>
                      <a:pt x="1174" y="732"/>
                    </a:lnTo>
                    <a:lnTo>
                      <a:pt x="1172" y="732"/>
                    </a:lnTo>
                    <a:lnTo>
                      <a:pt x="1170" y="730"/>
                    </a:lnTo>
                    <a:lnTo>
                      <a:pt x="1168" y="730"/>
                    </a:lnTo>
                    <a:lnTo>
                      <a:pt x="1168" y="728"/>
                    </a:lnTo>
                    <a:lnTo>
                      <a:pt x="1166" y="726"/>
                    </a:lnTo>
                    <a:lnTo>
                      <a:pt x="1164" y="722"/>
                    </a:lnTo>
                    <a:lnTo>
                      <a:pt x="1160" y="718"/>
                    </a:lnTo>
                    <a:lnTo>
                      <a:pt x="1158" y="714"/>
                    </a:lnTo>
                    <a:lnTo>
                      <a:pt x="1156" y="710"/>
                    </a:lnTo>
                    <a:lnTo>
                      <a:pt x="1154" y="706"/>
                    </a:lnTo>
                    <a:lnTo>
                      <a:pt x="1154" y="704"/>
                    </a:lnTo>
                    <a:lnTo>
                      <a:pt x="1154" y="704"/>
                    </a:lnTo>
                    <a:lnTo>
                      <a:pt x="1156" y="704"/>
                    </a:lnTo>
                    <a:lnTo>
                      <a:pt x="1158" y="706"/>
                    </a:lnTo>
                    <a:lnTo>
                      <a:pt x="1158" y="706"/>
                    </a:lnTo>
                    <a:lnTo>
                      <a:pt x="1158" y="706"/>
                    </a:lnTo>
                    <a:lnTo>
                      <a:pt x="1160" y="706"/>
                    </a:lnTo>
                    <a:lnTo>
                      <a:pt x="1160" y="706"/>
                    </a:lnTo>
                    <a:lnTo>
                      <a:pt x="1162" y="706"/>
                    </a:lnTo>
                    <a:lnTo>
                      <a:pt x="1162" y="704"/>
                    </a:lnTo>
                    <a:lnTo>
                      <a:pt x="1162" y="702"/>
                    </a:lnTo>
                    <a:lnTo>
                      <a:pt x="1162" y="702"/>
                    </a:lnTo>
                    <a:lnTo>
                      <a:pt x="1162" y="700"/>
                    </a:lnTo>
                    <a:lnTo>
                      <a:pt x="1162" y="698"/>
                    </a:lnTo>
                    <a:lnTo>
                      <a:pt x="1160" y="696"/>
                    </a:lnTo>
                    <a:lnTo>
                      <a:pt x="1158" y="692"/>
                    </a:lnTo>
                    <a:lnTo>
                      <a:pt x="1156" y="690"/>
                    </a:lnTo>
                    <a:lnTo>
                      <a:pt x="1150" y="682"/>
                    </a:lnTo>
                    <a:lnTo>
                      <a:pt x="1148" y="678"/>
                    </a:lnTo>
                    <a:lnTo>
                      <a:pt x="1146" y="676"/>
                    </a:lnTo>
                    <a:lnTo>
                      <a:pt x="1142" y="670"/>
                    </a:lnTo>
                    <a:lnTo>
                      <a:pt x="1138" y="666"/>
                    </a:lnTo>
                    <a:lnTo>
                      <a:pt x="1136" y="666"/>
                    </a:lnTo>
                    <a:lnTo>
                      <a:pt x="1136" y="664"/>
                    </a:lnTo>
                    <a:lnTo>
                      <a:pt x="1136" y="664"/>
                    </a:lnTo>
                    <a:lnTo>
                      <a:pt x="1136" y="662"/>
                    </a:lnTo>
                    <a:lnTo>
                      <a:pt x="1136" y="662"/>
                    </a:lnTo>
                    <a:lnTo>
                      <a:pt x="1136" y="662"/>
                    </a:lnTo>
                    <a:lnTo>
                      <a:pt x="1138" y="662"/>
                    </a:lnTo>
                    <a:lnTo>
                      <a:pt x="1140" y="660"/>
                    </a:lnTo>
                    <a:lnTo>
                      <a:pt x="1140" y="660"/>
                    </a:lnTo>
                    <a:lnTo>
                      <a:pt x="1140" y="660"/>
                    </a:lnTo>
                    <a:lnTo>
                      <a:pt x="1142" y="660"/>
                    </a:lnTo>
                    <a:lnTo>
                      <a:pt x="1142" y="660"/>
                    </a:lnTo>
                    <a:lnTo>
                      <a:pt x="1142" y="658"/>
                    </a:lnTo>
                    <a:lnTo>
                      <a:pt x="1144" y="658"/>
                    </a:lnTo>
                    <a:lnTo>
                      <a:pt x="1144" y="658"/>
                    </a:lnTo>
                    <a:lnTo>
                      <a:pt x="1144" y="656"/>
                    </a:lnTo>
                    <a:lnTo>
                      <a:pt x="1144" y="654"/>
                    </a:lnTo>
                    <a:lnTo>
                      <a:pt x="1144" y="654"/>
                    </a:lnTo>
                    <a:lnTo>
                      <a:pt x="1144" y="654"/>
                    </a:lnTo>
                    <a:lnTo>
                      <a:pt x="1144" y="652"/>
                    </a:lnTo>
                    <a:lnTo>
                      <a:pt x="1142" y="648"/>
                    </a:lnTo>
                    <a:lnTo>
                      <a:pt x="1140" y="644"/>
                    </a:lnTo>
                    <a:lnTo>
                      <a:pt x="1138" y="642"/>
                    </a:lnTo>
                    <a:lnTo>
                      <a:pt x="1136" y="638"/>
                    </a:lnTo>
                    <a:lnTo>
                      <a:pt x="1134" y="634"/>
                    </a:lnTo>
                    <a:lnTo>
                      <a:pt x="1132" y="632"/>
                    </a:lnTo>
                    <a:lnTo>
                      <a:pt x="1130" y="630"/>
                    </a:lnTo>
                    <a:lnTo>
                      <a:pt x="1128" y="628"/>
                    </a:lnTo>
                    <a:lnTo>
                      <a:pt x="1128" y="628"/>
                    </a:lnTo>
                    <a:lnTo>
                      <a:pt x="1128" y="628"/>
                    </a:lnTo>
                    <a:lnTo>
                      <a:pt x="1126" y="628"/>
                    </a:lnTo>
                    <a:lnTo>
                      <a:pt x="1126" y="628"/>
                    </a:lnTo>
                    <a:lnTo>
                      <a:pt x="1126" y="626"/>
                    </a:lnTo>
                    <a:lnTo>
                      <a:pt x="1122" y="626"/>
                    </a:lnTo>
                    <a:lnTo>
                      <a:pt x="1122" y="626"/>
                    </a:lnTo>
                    <a:lnTo>
                      <a:pt x="1122" y="626"/>
                    </a:lnTo>
                    <a:lnTo>
                      <a:pt x="1118" y="626"/>
                    </a:lnTo>
                    <a:lnTo>
                      <a:pt x="1118" y="626"/>
                    </a:lnTo>
                    <a:lnTo>
                      <a:pt x="1118" y="626"/>
                    </a:lnTo>
                    <a:lnTo>
                      <a:pt x="1116" y="628"/>
                    </a:lnTo>
                    <a:lnTo>
                      <a:pt x="1116" y="628"/>
                    </a:lnTo>
                    <a:lnTo>
                      <a:pt x="1114" y="630"/>
                    </a:lnTo>
                    <a:lnTo>
                      <a:pt x="1114" y="632"/>
                    </a:lnTo>
                    <a:lnTo>
                      <a:pt x="1114" y="632"/>
                    </a:lnTo>
                    <a:lnTo>
                      <a:pt x="1114" y="632"/>
                    </a:lnTo>
                    <a:lnTo>
                      <a:pt x="1114" y="634"/>
                    </a:lnTo>
                    <a:lnTo>
                      <a:pt x="1114" y="638"/>
                    </a:lnTo>
                    <a:lnTo>
                      <a:pt x="1114" y="640"/>
                    </a:lnTo>
                    <a:lnTo>
                      <a:pt x="1114" y="644"/>
                    </a:lnTo>
                    <a:lnTo>
                      <a:pt x="1114" y="646"/>
                    </a:lnTo>
                    <a:lnTo>
                      <a:pt x="1114" y="648"/>
                    </a:lnTo>
                    <a:lnTo>
                      <a:pt x="1114" y="648"/>
                    </a:lnTo>
                    <a:lnTo>
                      <a:pt x="1112" y="650"/>
                    </a:lnTo>
                    <a:lnTo>
                      <a:pt x="1112" y="650"/>
                    </a:lnTo>
                    <a:lnTo>
                      <a:pt x="1108" y="652"/>
                    </a:lnTo>
                    <a:lnTo>
                      <a:pt x="1106" y="652"/>
                    </a:lnTo>
                    <a:lnTo>
                      <a:pt x="1106" y="652"/>
                    </a:lnTo>
                    <a:lnTo>
                      <a:pt x="1104" y="652"/>
                    </a:lnTo>
                    <a:lnTo>
                      <a:pt x="1104" y="652"/>
                    </a:lnTo>
                    <a:lnTo>
                      <a:pt x="1104" y="652"/>
                    </a:lnTo>
                    <a:lnTo>
                      <a:pt x="1102" y="654"/>
                    </a:lnTo>
                    <a:lnTo>
                      <a:pt x="1102" y="654"/>
                    </a:lnTo>
                    <a:lnTo>
                      <a:pt x="1102" y="654"/>
                    </a:lnTo>
                    <a:lnTo>
                      <a:pt x="1102" y="656"/>
                    </a:lnTo>
                    <a:lnTo>
                      <a:pt x="1100" y="656"/>
                    </a:lnTo>
                    <a:lnTo>
                      <a:pt x="1100" y="656"/>
                    </a:lnTo>
                    <a:lnTo>
                      <a:pt x="1100" y="658"/>
                    </a:lnTo>
                    <a:lnTo>
                      <a:pt x="1100" y="658"/>
                    </a:lnTo>
                    <a:lnTo>
                      <a:pt x="1100" y="658"/>
                    </a:lnTo>
                    <a:lnTo>
                      <a:pt x="1098" y="656"/>
                    </a:lnTo>
                    <a:lnTo>
                      <a:pt x="1098" y="656"/>
                    </a:lnTo>
                    <a:lnTo>
                      <a:pt x="1098" y="656"/>
                    </a:lnTo>
                    <a:lnTo>
                      <a:pt x="1096" y="656"/>
                    </a:lnTo>
                    <a:lnTo>
                      <a:pt x="1096" y="656"/>
                    </a:lnTo>
                    <a:lnTo>
                      <a:pt x="1096" y="658"/>
                    </a:lnTo>
                    <a:lnTo>
                      <a:pt x="1094" y="658"/>
                    </a:lnTo>
                    <a:lnTo>
                      <a:pt x="1094" y="658"/>
                    </a:lnTo>
                    <a:lnTo>
                      <a:pt x="1094" y="658"/>
                    </a:lnTo>
                    <a:lnTo>
                      <a:pt x="1090" y="660"/>
                    </a:lnTo>
                    <a:lnTo>
                      <a:pt x="1086" y="664"/>
                    </a:lnTo>
                    <a:lnTo>
                      <a:pt x="1084" y="666"/>
                    </a:lnTo>
                    <a:lnTo>
                      <a:pt x="1082" y="668"/>
                    </a:lnTo>
                    <a:lnTo>
                      <a:pt x="1082" y="668"/>
                    </a:lnTo>
                    <a:lnTo>
                      <a:pt x="1082" y="668"/>
                    </a:lnTo>
                    <a:lnTo>
                      <a:pt x="1080" y="668"/>
                    </a:lnTo>
                    <a:lnTo>
                      <a:pt x="1078" y="672"/>
                    </a:lnTo>
                    <a:lnTo>
                      <a:pt x="1078" y="672"/>
                    </a:lnTo>
                    <a:lnTo>
                      <a:pt x="1078" y="674"/>
                    </a:lnTo>
                    <a:lnTo>
                      <a:pt x="1076" y="674"/>
                    </a:lnTo>
                    <a:lnTo>
                      <a:pt x="1074" y="674"/>
                    </a:lnTo>
                    <a:lnTo>
                      <a:pt x="1072" y="676"/>
                    </a:lnTo>
                    <a:lnTo>
                      <a:pt x="1068" y="676"/>
                    </a:lnTo>
                    <a:lnTo>
                      <a:pt x="1064" y="678"/>
                    </a:lnTo>
                    <a:lnTo>
                      <a:pt x="1060" y="678"/>
                    </a:lnTo>
                    <a:lnTo>
                      <a:pt x="1060" y="678"/>
                    </a:lnTo>
                    <a:lnTo>
                      <a:pt x="1060" y="678"/>
                    </a:lnTo>
                    <a:lnTo>
                      <a:pt x="1062" y="676"/>
                    </a:lnTo>
                    <a:lnTo>
                      <a:pt x="1062" y="676"/>
                    </a:lnTo>
                    <a:lnTo>
                      <a:pt x="1062" y="676"/>
                    </a:lnTo>
                    <a:lnTo>
                      <a:pt x="1062" y="674"/>
                    </a:lnTo>
                    <a:lnTo>
                      <a:pt x="1064" y="670"/>
                    </a:lnTo>
                    <a:lnTo>
                      <a:pt x="1064" y="668"/>
                    </a:lnTo>
                    <a:lnTo>
                      <a:pt x="1064" y="664"/>
                    </a:lnTo>
                    <a:lnTo>
                      <a:pt x="1064" y="660"/>
                    </a:lnTo>
                    <a:lnTo>
                      <a:pt x="1064" y="658"/>
                    </a:lnTo>
                    <a:lnTo>
                      <a:pt x="1064" y="654"/>
                    </a:lnTo>
                    <a:lnTo>
                      <a:pt x="1064" y="654"/>
                    </a:lnTo>
                    <a:lnTo>
                      <a:pt x="1064" y="654"/>
                    </a:lnTo>
                    <a:lnTo>
                      <a:pt x="1064" y="652"/>
                    </a:lnTo>
                    <a:lnTo>
                      <a:pt x="1064" y="652"/>
                    </a:lnTo>
                    <a:lnTo>
                      <a:pt x="1062" y="652"/>
                    </a:lnTo>
                    <a:lnTo>
                      <a:pt x="1062" y="650"/>
                    </a:lnTo>
                    <a:lnTo>
                      <a:pt x="1062" y="650"/>
                    </a:lnTo>
                    <a:lnTo>
                      <a:pt x="1060" y="650"/>
                    </a:lnTo>
                    <a:lnTo>
                      <a:pt x="1058" y="650"/>
                    </a:lnTo>
                    <a:lnTo>
                      <a:pt x="1058" y="650"/>
                    </a:lnTo>
                    <a:lnTo>
                      <a:pt x="1058" y="650"/>
                    </a:lnTo>
                    <a:lnTo>
                      <a:pt x="1056" y="652"/>
                    </a:lnTo>
                    <a:lnTo>
                      <a:pt x="1056" y="652"/>
                    </a:lnTo>
                    <a:lnTo>
                      <a:pt x="1056" y="652"/>
                    </a:lnTo>
                    <a:lnTo>
                      <a:pt x="1054" y="652"/>
                    </a:lnTo>
                    <a:lnTo>
                      <a:pt x="1052" y="656"/>
                    </a:lnTo>
                    <a:lnTo>
                      <a:pt x="1050" y="656"/>
                    </a:lnTo>
                    <a:lnTo>
                      <a:pt x="1050" y="656"/>
                    </a:lnTo>
                    <a:lnTo>
                      <a:pt x="1048" y="656"/>
                    </a:lnTo>
                    <a:lnTo>
                      <a:pt x="1046" y="658"/>
                    </a:lnTo>
                    <a:lnTo>
                      <a:pt x="1044" y="658"/>
                    </a:lnTo>
                    <a:lnTo>
                      <a:pt x="1042" y="658"/>
                    </a:lnTo>
                    <a:lnTo>
                      <a:pt x="1042" y="658"/>
                    </a:lnTo>
                    <a:lnTo>
                      <a:pt x="1042" y="656"/>
                    </a:lnTo>
                    <a:lnTo>
                      <a:pt x="1042" y="654"/>
                    </a:lnTo>
                    <a:lnTo>
                      <a:pt x="1044" y="652"/>
                    </a:lnTo>
                    <a:lnTo>
                      <a:pt x="1046" y="648"/>
                    </a:lnTo>
                    <a:lnTo>
                      <a:pt x="1050" y="642"/>
                    </a:lnTo>
                    <a:lnTo>
                      <a:pt x="1050" y="638"/>
                    </a:lnTo>
                    <a:lnTo>
                      <a:pt x="1052" y="636"/>
                    </a:lnTo>
                    <a:lnTo>
                      <a:pt x="1054" y="630"/>
                    </a:lnTo>
                    <a:lnTo>
                      <a:pt x="1054" y="624"/>
                    </a:lnTo>
                    <a:lnTo>
                      <a:pt x="1054" y="624"/>
                    </a:lnTo>
                    <a:lnTo>
                      <a:pt x="1054" y="624"/>
                    </a:lnTo>
                    <a:lnTo>
                      <a:pt x="1054" y="620"/>
                    </a:lnTo>
                    <a:lnTo>
                      <a:pt x="1054" y="620"/>
                    </a:lnTo>
                    <a:lnTo>
                      <a:pt x="1054" y="620"/>
                    </a:lnTo>
                    <a:lnTo>
                      <a:pt x="1052" y="618"/>
                    </a:lnTo>
                    <a:lnTo>
                      <a:pt x="1052" y="618"/>
                    </a:lnTo>
                    <a:lnTo>
                      <a:pt x="1052" y="618"/>
                    </a:lnTo>
                    <a:lnTo>
                      <a:pt x="1052" y="616"/>
                    </a:lnTo>
                    <a:lnTo>
                      <a:pt x="1052" y="616"/>
                    </a:lnTo>
                    <a:lnTo>
                      <a:pt x="1050" y="614"/>
                    </a:lnTo>
                    <a:lnTo>
                      <a:pt x="1050" y="614"/>
                    </a:lnTo>
                    <a:lnTo>
                      <a:pt x="1050" y="614"/>
                    </a:lnTo>
                    <a:lnTo>
                      <a:pt x="1048" y="612"/>
                    </a:lnTo>
                    <a:lnTo>
                      <a:pt x="1046" y="612"/>
                    </a:lnTo>
                    <a:lnTo>
                      <a:pt x="1046" y="612"/>
                    </a:lnTo>
                    <a:lnTo>
                      <a:pt x="1046" y="612"/>
                    </a:lnTo>
                    <a:lnTo>
                      <a:pt x="1042" y="612"/>
                    </a:lnTo>
                    <a:lnTo>
                      <a:pt x="1040" y="612"/>
                    </a:lnTo>
                    <a:lnTo>
                      <a:pt x="1040" y="610"/>
                    </a:lnTo>
                    <a:lnTo>
                      <a:pt x="1044" y="610"/>
                    </a:lnTo>
                    <a:lnTo>
                      <a:pt x="1046" y="608"/>
                    </a:lnTo>
                    <a:lnTo>
                      <a:pt x="1046" y="608"/>
                    </a:lnTo>
                    <a:lnTo>
                      <a:pt x="1046" y="608"/>
                    </a:lnTo>
                    <a:lnTo>
                      <a:pt x="1048" y="608"/>
                    </a:lnTo>
                    <a:lnTo>
                      <a:pt x="1048" y="608"/>
                    </a:lnTo>
                    <a:lnTo>
                      <a:pt x="1048" y="606"/>
                    </a:lnTo>
                    <a:lnTo>
                      <a:pt x="1050" y="604"/>
                    </a:lnTo>
                    <a:lnTo>
                      <a:pt x="1050" y="604"/>
                    </a:lnTo>
                    <a:lnTo>
                      <a:pt x="1050" y="604"/>
                    </a:lnTo>
                    <a:lnTo>
                      <a:pt x="1052" y="600"/>
                    </a:lnTo>
                    <a:lnTo>
                      <a:pt x="1052" y="600"/>
                    </a:lnTo>
                    <a:lnTo>
                      <a:pt x="1052" y="600"/>
                    </a:lnTo>
                    <a:lnTo>
                      <a:pt x="1052" y="596"/>
                    </a:lnTo>
                    <a:lnTo>
                      <a:pt x="1052" y="596"/>
                    </a:lnTo>
                    <a:lnTo>
                      <a:pt x="1050" y="596"/>
                    </a:lnTo>
                    <a:lnTo>
                      <a:pt x="1050" y="594"/>
                    </a:lnTo>
                    <a:lnTo>
                      <a:pt x="1050" y="594"/>
                    </a:lnTo>
                    <a:lnTo>
                      <a:pt x="1048" y="592"/>
                    </a:lnTo>
                    <a:lnTo>
                      <a:pt x="1048" y="592"/>
                    </a:lnTo>
                    <a:lnTo>
                      <a:pt x="1046" y="592"/>
                    </a:lnTo>
                    <a:lnTo>
                      <a:pt x="1042" y="592"/>
                    </a:lnTo>
                    <a:lnTo>
                      <a:pt x="1036" y="590"/>
                    </a:lnTo>
                    <a:lnTo>
                      <a:pt x="1032" y="590"/>
                    </a:lnTo>
                    <a:lnTo>
                      <a:pt x="1030" y="590"/>
                    </a:lnTo>
                    <a:lnTo>
                      <a:pt x="1026" y="588"/>
                    </a:lnTo>
                    <a:lnTo>
                      <a:pt x="1022" y="588"/>
                    </a:lnTo>
                    <a:lnTo>
                      <a:pt x="1020" y="586"/>
                    </a:lnTo>
                    <a:lnTo>
                      <a:pt x="1018" y="584"/>
                    </a:lnTo>
                    <a:lnTo>
                      <a:pt x="1016" y="582"/>
                    </a:lnTo>
                    <a:lnTo>
                      <a:pt x="1014" y="580"/>
                    </a:lnTo>
                    <a:lnTo>
                      <a:pt x="1012" y="576"/>
                    </a:lnTo>
                    <a:lnTo>
                      <a:pt x="1008" y="572"/>
                    </a:lnTo>
                    <a:lnTo>
                      <a:pt x="1006" y="568"/>
                    </a:lnTo>
                    <a:lnTo>
                      <a:pt x="1004" y="564"/>
                    </a:lnTo>
                    <a:lnTo>
                      <a:pt x="1002" y="562"/>
                    </a:lnTo>
                    <a:lnTo>
                      <a:pt x="1000" y="558"/>
                    </a:lnTo>
                    <a:lnTo>
                      <a:pt x="998" y="556"/>
                    </a:lnTo>
                    <a:lnTo>
                      <a:pt x="996" y="554"/>
                    </a:lnTo>
                    <a:lnTo>
                      <a:pt x="994" y="552"/>
                    </a:lnTo>
                    <a:lnTo>
                      <a:pt x="994" y="552"/>
                    </a:lnTo>
                    <a:lnTo>
                      <a:pt x="994" y="552"/>
                    </a:lnTo>
                    <a:lnTo>
                      <a:pt x="990" y="550"/>
                    </a:lnTo>
                    <a:lnTo>
                      <a:pt x="990" y="550"/>
                    </a:lnTo>
                    <a:lnTo>
                      <a:pt x="990" y="550"/>
                    </a:lnTo>
                    <a:lnTo>
                      <a:pt x="988" y="550"/>
                    </a:lnTo>
                    <a:lnTo>
                      <a:pt x="988" y="550"/>
                    </a:lnTo>
                    <a:lnTo>
                      <a:pt x="988" y="550"/>
                    </a:lnTo>
                    <a:lnTo>
                      <a:pt x="986" y="550"/>
                    </a:lnTo>
                    <a:lnTo>
                      <a:pt x="986" y="550"/>
                    </a:lnTo>
                    <a:lnTo>
                      <a:pt x="986" y="550"/>
                    </a:lnTo>
                    <a:lnTo>
                      <a:pt x="984" y="550"/>
                    </a:lnTo>
                    <a:lnTo>
                      <a:pt x="984" y="550"/>
                    </a:lnTo>
                    <a:lnTo>
                      <a:pt x="984" y="550"/>
                    </a:lnTo>
                    <a:lnTo>
                      <a:pt x="980" y="550"/>
                    </a:lnTo>
                    <a:lnTo>
                      <a:pt x="978" y="552"/>
                    </a:lnTo>
                    <a:lnTo>
                      <a:pt x="976" y="552"/>
                    </a:lnTo>
                    <a:lnTo>
                      <a:pt x="974" y="552"/>
                    </a:lnTo>
                    <a:lnTo>
                      <a:pt x="972" y="552"/>
                    </a:lnTo>
                    <a:lnTo>
                      <a:pt x="966" y="552"/>
                    </a:lnTo>
                    <a:lnTo>
                      <a:pt x="962" y="552"/>
                    </a:lnTo>
                    <a:lnTo>
                      <a:pt x="958" y="552"/>
                    </a:lnTo>
                    <a:lnTo>
                      <a:pt x="956" y="552"/>
                    </a:lnTo>
                    <a:lnTo>
                      <a:pt x="952" y="550"/>
                    </a:lnTo>
                    <a:lnTo>
                      <a:pt x="950" y="548"/>
                    </a:lnTo>
                    <a:lnTo>
                      <a:pt x="946" y="546"/>
                    </a:lnTo>
                    <a:lnTo>
                      <a:pt x="944" y="546"/>
                    </a:lnTo>
                    <a:lnTo>
                      <a:pt x="940" y="544"/>
                    </a:lnTo>
                    <a:lnTo>
                      <a:pt x="940" y="544"/>
                    </a:lnTo>
                    <a:lnTo>
                      <a:pt x="940" y="544"/>
                    </a:lnTo>
                    <a:lnTo>
                      <a:pt x="938" y="544"/>
                    </a:lnTo>
                    <a:lnTo>
                      <a:pt x="938" y="544"/>
                    </a:lnTo>
                    <a:lnTo>
                      <a:pt x="936" y="544"/>
                    </a:lnTo>
                    <a:lnTo>
                      <a:pt x="934" y="544"/>
                    </a:lnTo>
                    <a:lnTo>
                      <a:pt x="934" y="544"/>
                    </a:lnTo>
                    <a:lnTo>
                      <a:pt x="932" y="544"/>
                    </a:lnTo>
                    <a:lnTo>
                      <a:pt x="930" y="546"/>
                    </a:lnTo>
                    <a:lnTo>
                      <a:pt x="930" y="546"/>
                    </a:lnTo>
                    <a:lnTo>
                      <a:pt x="930" y="546"/>
                    </a:lnTo>
                    <a:lnTo>
                      <a:pt x="928" y="550"/>
                    </a:lnTo>
                    <a:lnTo>
                      <a:pt x="928" y="552"/>
                    </a:lnTo>
                    <a:lnTo>
                      <a:pt x="926" y="556"/>
                    </a:lnTo>
                    <a:lnTo>
                      <a:pt x="924" y="564"/>
                    </a:lnTo>
                    <a:lnTo>
                      <a:pt x="924" y="568"/>
                    </a:lnTo>
                    <a:lnTo>
                      <a:pt x="922" y="572"/>
                    </a:lnTo>
                    <a:lnTo>
                      <a:pt x="924" y="576"/>
                    </a:lnTo>
                    <a:lnTo>
                      <a:pt x="924" y="576"/>
                    </a:lnTo>
                    <a:lnTo>
                      <a:pt x="924" y="576"/>
                    </a:lnTo>
                    <a:lnTo>
                      <a:pt x="924" y="578"/>
                    </a:lnTo>
                    <a:lnTo>
                      <a:pt x="924" y="578"/>
                    </a:lnTo>
                    <a:lnTo>
                      <a:pt x="924" y="578"/>
                    </a:lnTo>
                    <a:lnTo>
                      <a:pt x="926" y="584"/>
                    </a:lnTo>
                    <a:lnTo>
                      <a:pt x="928" y="590"/>
                    </a:lnTo>
                    <a:lnTo>
                      <a:pt x="930" y="592"/>
                    </a:lnTo>
                    <a:lnTo>
                      <a:pt x="930" y="594"/>
                    </a:lnTo>
                    <a:lnTo>
                      <a:pt x="932" y="600"/>
                    </a:lnTo>
                    <a:lnTo>
                      <a:pt x="934" y="606"/>
                    </a:lnTo>
                    <a:lnTo>
                      <a:pt x="934" y="612"/>
                    </a:lnTo>
                    <a:lnTo>
                      <a:pt x="934" y="618"/>
                    </a:lnTo>
                    <a:lnTo>
                      <a:pt x="934" y="624"/>
                    </a:lnTo>
                    <a:lnTo>
                      <a:pt x="932" y="630"/>
                    </a:lnTo>
                    <a:lnTo>
                      <a:pt x="930" y="636"/>
                    </a:lnTo>
                    <a:lnTo>
                      <a:pt x="928" y="642"/>
                    </a:lnTo>
                    <a:lnTo>
                      <a:pt x="928" y="644"/>
                    </a:lnTo>
                    <a:lnTo>
                      <a:pt x="926" y="646"/>
                    </a:lnTo>
                    <a:lnTo>
                      <a:pt x="924" y="650"/>
                    </a:lnTo>
                    <a:lnTo>
                      <a:pt x="922" y="652"/>
                    </a:lnTo>
                    <a:lnTo>
                      <a:pt x="922" y="652"/>
                    </a:lnTo>
                    <a:lnTo>
                      <a:pt x="922" y="654"/>
                    </a:lnTo>
                    <a:lnTo>
                      <a:pt x="922" y="656"/>
                    </a:lnTo>
                    <a:lnTo>
                      <a:pt x="922" y="656"/>
                    </a:lnTo>
                    <a:lnTo>
                      <a:pt x="920" y="656"/>
                    </a:lnTo>
                    <a:lnTo>
                      <a:pt x="920" y="660"/>
                    </a:lnTo>
                    <a:lnTo>
                      <a:pt x="920" y="660"/>
                    </a:lnTo>
                    <a:lnTo>
                      <a:pt x="922" y="660"/>
                    </a:lnTo>
                    <a:lnTo>
                      <a:pt x="922" y="664"/>
                    </a:lnTo>
                    <a:lnTo>
                      <a:pt x="922" y="664"/>
                    </a:lnTo>
                    <a:lnTo>
                      <a:pt x="922" y="664"/>
                    </a:lnTo>
                    <a:lnTo>
                      <a:pt x="924" y="666"/>
                    </a:lnTo>
                    <a:lnTo>
                      <a:pt x="924" y="666"/>
                    </a:lnTo>
                    <a:lnTo>
                      <a:pt x="924" y="666"/>
                    </a:lnTo>
                    <a:lnTo>
                      <a:pt x="924" y="668"/>
                    </a:lnTo>
                    <a:lnTo>
                      <a:pt x="924" y="668"/>
                    </a:lnTo>
                    <a:lnTo>
                      <a:pt x="926" y="668"/>
                    </a:lnTo>
                    <a:lnTo>
                      <a:pt x="928" y="670"/>
                    </a:lnTo>
                    <a:lnTo>
                      <a:pt x="934" y="674"/>
                    </a:lnTo>
                    <a:lnTo>
                      <a:pt x="938" y="676"/>
                    </a:lnTo>
                    <a:lnTo>
                      <a:pt x="944" y="680"/>
                    </a:lnTo>
                    <a:lnTo>
                      <a:pt x="948" y="682"/>
                    </a:lnTo>
                    <a:lnTo>
                      <a:pt x="950" y="686"/>
                    </a:lnTo>
                    <a:lnTo>
                      <a:pt x="950" y="688"/>
                    </a:lnTo>
                    <a:lnTo>
                      <a:pt x="952" y="690"/>
                    </a:lnTo>
                    <a:lnTo>
                      <a:pt x="952" y="692"/>
                    </a:lnTo>
                    <a:lnTo>
                      <a:pt x="952" y="694"/>
                    </a:lnTo>
                    <a:lnTo>
                      <a:pt x="952" y="702"/>
                    </a:lnTo>
                    <a:lnTo>
                      <a:pt x="952" y="708"/>
                    </a:lnTo>
                    <a:lnTo>
                      <a:pt x="950" y="716"/>
                    </a:lnTo>
                    <a:lnTo>
                      <a:pt x="948" y="724"/>
                    </a:lnTo>
                    <a:lnTo>
                      <a:pt x="946" y="730"/>
                    </a:lnTo>
                    <a:lnTo>
                      <a:pt x="944" y="736"/>
                    </a:lnTo>
                    <a:lnTo>
                      <a:pt x="944" y="738"/>
                    </a:lnTo>
                    <a:lnTo>
                      <a:pt x="942" y="740"/>
                    </a:lnTo>
                    <a:lnTo>
                      <a:pt x="942" y="744"/>
                    </a:lnTo>
                    <a:lnTo>
                      <a:pt x="940" y="746"/>
                    </a:lnTo>
                    <a:lnTo>
                      <a:pt x="936" y="748"/>
                    </a:lnTo>
                    <a:lnTo>
                      <a:pt x="934" y="748"/>
                    </a:lnTo>
                    <a:lnTo>
                      <a:pt x="932" y="750"/>
                    </a:lnTo>
                    <a:lnTo>
                      <a:pt x="930" y="750"/>
                    </a:lnTo>
                    <a:lnTo>
                      <a:pt x="926" y="750"/>
                    </a:lnTo>
                    <a:lnTo>
                      <a:pt x="924" y="750"/>
                    </a:lnTo>
                    <a:lnTo>
                      <a:pt x="922" y="752"/>
                    </a:lnTo>
                    <a:lnTo>
                      <a:pt x="920" y="750"/>
                    </a:lnTo>
                    <a:lnTo>
                      <a:pt x="920" y="750"/>
                    </a:lnTo>
                    <a:lnTo>
                      <a:pt x="916" y="750"/>
                    </a:lnTo>
                    <a:lnTo>
                      <a:pt x="914" y="750"/>
                    </a:lnTo>
                    <a:lnTo>
                      <a:pt x="914" y="750"/>
                    </a:lnTo>
                    <a:lnTo>
                      <a:pt x="914" y="750"/>
                    </a:lnTo>
                    <a:lnTo>
                      <a:pt x="912" y="750"/>
                    </a:lnTo>
                    <a:lnTo>
                      <a:pt x="912" y="750"/>
                    </a:lnTo>
                    <a:lnTo>
                      <a:pt x="912" y="750"/>
                    </a:lnTo>
                    <a:lnTo>
                      <a:pt x="910" y="750"/>
                    </a:lnTo>
                    <a:lnTo>
                      <a:pt x="910" y="750"/>
                    </a:lnTo>
                    <a:lnTo>
                      <a:pt x="908" y="752"/>
                    </a:lnTo>
                    <a:lnTo>
                      <a:pt x="908" y="752"/>
                    </a:lnTo>
                    <a:lnTo>
                      <a:pt x="908" y="752"/>
                    </a:lnTo>
                    <a:lnTo>
                      <a:pt x="908" y="754"/>
                    </a:lnTo>
                    <a:lnTo>
                      <a:pt x="906" y="756"/>
                    </a:lnTo>
                    <a:lnTo>
                      <a:pt x="906" y="756"/>
                    </a:lnTo>
                    <a:lnTo>
                      <a:pt x="906" y="756"/>
                    </a:lnTo>
                    <a:lnTo>
                      <a:pt x="906" y="758"/>
                    </a:lnTo>
                    <a:lnTo>
                      <a:pt x="906" y="762"/>
                    </a:lnTo>
                    <a:lnTo>
                      <a:pt x="908" y="766"/>
                    </a:lnTo>
                    <a:lnTo>
                      <a:pt x="908" y="774"/>
                    </a:lnTo>
                    <a:lnTo>
                      <a:pt x="910" y="778"/>
                    </a:lnTo>
                    <a:lnTo>
                      <a:pt x="910" y="782"/>
                    </a:lnTo>
                    <a:lnTo>
                      <a:pt x="912" y="786"/>
                    </a:lnTo>
                    <a:lnTo>
                      <a:pt x="912" y="790"/>
                    </a:lnTo>
                    <a:lnTo>
                      <a:pt x="916" y="798"/>
                    </a:lnTo>
                    <a:lnTo>
                      <a:pt x="918" y="806"/>
                    </a:lnTo>
                    <a:lnTo>
                      <a:pt x="920" y="810"/>
                    </a:lnTo>
                    <a:lnTo>
                      <a:pt x="920" y="812"/>
                    </a:lnTo>
                    <a:lnTo>
                      <a:pt x="920" y="816"/>
                    </a:lnTo>
                    <a:lnTo>
                      <a:pt x="920" y="818"/>
                    </a:lnTo>
                    <a:lnTo>
                      <a:pt x="920" y="824"/>
                    </a:lnTo>
                    <a:lnTo>
                      <a:pt x="918" y="828"/>
                    </a:lnTo>
                    <a:lnTo>
                      <a:pt x="916" y="832"/>
                    </a:lnTo>
                    <a:lnTo>
                      <a:pt x="914" y="836"/>
                    </a:lnTo>
                    <a:lnTo>
                      <a:pt x="914" y="840"/>
                    </a:lnTo>
                    <a:lnTo>
                      <a:pt x="912" y="842"/>
                    </a:lnTo>
                    <a:lnTo>
                      <a:pt x="912" y="844"/>
                    </a:lnTo>
                    <a:lnTo>
                      <a:pt x="912" y="844"/>
                    </a:lnTo>
                    <a:lnTo>
                      <a:pt x="910" y="844"/>
                    </a:lnTo>
                    <a:lnTo>
                      <a:pt x="908" y="846"/>
                    </a:lnTo>
                    <a:lnTo>
                      <a:pt x="904" y="846"/>
                    </a:lnTo>
                    <a:lnTo>
                      <a:pt x="900" y="846"/>
                    </a:lnTo>
                    <a:lnTo>
                      <a:pt x="900" y="844"/>
                    </a:lnTo>
                    <a:lnTo>
                      <a:pt x="898" y="844"/>
                    </a:lnTo>
                    <a:lnTo>
                      <a:pt x="894" y="842"/>
                    </a:lnTo>
                    <a:lnTo>
                      <a:pt x="892" y="838"/>
                    </a:lnTo>
                    <a:lnTo>
                      <a:pt x="888" y="834"/>
                    </a:lnTo>
                    <a:lnTo>
                      <a:pt x="886" y="830"/>
                    </a:lnTo>
                    <a:lnTo>
                      <a:pt x="884" y="828"/>
                    </a:lnTo>
                    <a:lnTo>
                      <a:pt x="880" y="826"/>
                    </a:lnTo>
                    <a:lnTo>
                      <a:pt x="876" y="820"/>
                    </a:lnTo>
                    <a:lnTo>
                      <a:pt x="874" y="818"/>
                    </a:lnTo>
                    <a:lnTo>
                      <a:pt x="872" y="816"/>
                    </a:lnTo>
                    <a:lnTo>
                      <a:pt x="870" y="812"/>
                    </a:lnTo>
                    <a:lnTo>
                      <a:pt x="870" y="810"/>
                    </a:lnTo>
                    <a:lnTo>
                      <a:pt x="868" y="804"/>
                    </a:lnTo>
                    <a:lnTo>
                      <a:pt x="868" y="798"/>
                    </a:lnTo>
                    <a:lnTo>
                      <a:pt x="868" y="792"/>
                    </a:lnTo>
                    <a:lnTo>
                      <a:pt x="866" y="786"/>
                    </a:lnTo>
                    <a:lnTo>
                      <a:pt x="866" y="778"/>
                    </a:lnTo>
                    <a:lnTo>
                      <a:pt x="866" y="772"/>
                    </a:lnTo>
                    <a:lnTo>
                      <a:pt x="866" y="766"/>
                    </a:lnTo>
                    <a:lnTo>
                      <a:pt x="866" y="762"/>
                    </a:lnTo>
                    <a:lnTo>
                      <a:pt x="864" y="758"/>
                    </a:lnTo>
                    <a:lnTo>
                      <a:pt x="864" y="756"/>
                    </a:lnTo>
                    <a:lnTo>
                      <a:pt x="864" y="754"/>
                    </a:lnTo>
                    <a:lnTo>
                      <a:pt x="864" y="752"/>
                    </a:lnTo>
                    <a:lnTo>
                      <a:pt x="864" y="752"/>
                    </a:lnTo>
                    <a:lnTo>
                      <a:pt x="864" y="752"/>
                    </a:lnTo>
                    <a:lnTo>
                      <a:pt x="864" y="750"/>
                    </a:lnTo>
                    <a:lnTo>
                      <a:pt x="864" y="750"/>
                    </a:lnTo>
                    <a:lnTo>
                      <a:pt x="864" y="750"/>
                    </a:lnTo>
                    <a:lnTo>
                      <a:pt x="862" y="748"/>
                    </a:lnTo>
                    <a:lnTo>
                      <a:pt x="862" y="748"/>
                    </a:lnTo>
                    <a:lnTo>
                      <a:pt x="862" y="748"/>
                    </a:lnTo>
                    <a:lnTo>
                      <a:pt x="860" y="746"/>
                    </a:lnTo>
                    <a:lnTo>
                      <a:pt x="858" y="746"/>
                    </a:lnTo>
                    <a:lnTo>
                      <a:pt x="858" y="746"/>
                    </a:lnTo>
                    <a:lnTo>
                      <a:pt x="858" y="744"/>
                    </a:lnTo>
                    <a:lnTo>
                      <a:pt x="854" y="744"/>
                    </a:lnTo>
                    <a:lnTo>
                      <a:pt x="854" y="744"/>
                    </a:lnTo>
                    <a:lnTo>
                      <a:pt x="854" y="744"/>
                    </a:lnTo>
                    <a:lnTo>
                      <a:pt x="848" y="742"/>
                    </a:lnTo>
                    <a:lnTo>
                      <a:pt x="844" y="742"/>
                    </a:lnTo>
                    <a:lnTo>
                      <a:pt x="838" y="742"/>
                    </a:lnTo>
                    <a:lnTo>
                      <a:pt x="832" y="740"/>
                    </a:lnTo>
                    <a:lnTo>
                      <a:pt x="824" y="740"/>
                    </a:lnTo>
                    <a:lnTo>
                      <a:pt x="820" y="738"/>
                    </a:lnTo>
                    <a:lnTo>
                      <a:pt x="814" y="738"/>
                    </a:lnTo>
                    <a:lnTo>
                      <a:pt x="810" y="734"/>
                    </a:lnTo>
                    <a:lnTo>
                      <a:pt x="804" y="730"/>
                    </a:lnTo>
                    <a:lnTo>
                      <a:pt x="798" y="726"/>
                    </a:lnTo>
                    <a:lnTo>
                      <a:pt x="794" y="722"/>
                    </a:lnTo>
                    <a:lnTo>
                      <a:pt x="788" y="718"/>
                    </a:lnTo>
                    <a:lnTo>
                      <a:pt x="784" y="714"/>
                    </a:lnTo>
                    <a:lnTo>
                      <a:pt x="780" y="710"/>
                    </a:lnTo>
                    <a:lnTo>
                      <a:pt x="776" y="708"/>
                    </a:lnTo>
                    <a:lnTo>
                      <a:pt x="772" y="706"/>
                    </a:lnTo>
                    <a:lnTo>
                      <a:pt x="768" y="704"/>
                    </a:lnTo>
                    <a:lnTo>
                      <a:pt x="764" y="704"/>
                    </a:lnTo>
                    <a:lnTo>
                      <a:pt x="762" y="702"/>
                    </a:lnTo>
                    <a:lnTo>
                      <a:pt x="756" y="702"/>
                    </a:lnTo>
                    <a:lnTo>
                      <a:pt x="754" y="702"/>
                    </a:lnTo>
                    <a:lnTo>
                      <a:pt x="752" y="700"/>
                    </a:lnTo>
                    <a:lnTo>
                      <a:pt x="750" y="700"/>
                    </a:lnTo>
                    <a:lnTo>
                      <a:pt x="748" y="698"/>
                    </a:lnTo>
                    <a:lnTo>
                      <a:pt x="746" y="696"/>
                    </a:lnTo>
                    <a:lnTo>
                      <a:pt x="744" y="694"/>
                    </a:lnTo>
                    <a:lnTo>
                      <a:pt x="744" y="694"/>
                    </a:lnTo>
                    <a:lnTo>
                      <a:pt x="744" y="694"/>
                    </a:lnTo>
                    <a:lnTo>
                      <a:pt x="742" y="694"/>
                    </a:lnTo>
                    <a:lnTo>
                      <a:pt x="742" y="694"/>
                    </a:lnTo>
                    <a:lnTo>
                      <a:pt x="742" y="692"/>
                    </a:lnTo>
                    <a:lnTo>
                      <a:pt x="740" y="692"/>
                    </a:lnTo>
                    <a:lnTo>
                      <a:pt x="740" y="692"/>
                    </a:lnTo>
                    <a:lnTo>
                      <a:pt x="738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4" y="694"/>
                    </a:lnTo>
                    <a:lnTo>
                      <a:pt x="734" y="694"/>
                    </a:lnTo>
                    <a:lnTo>
                      <a:pt x="734" y="694"/>
                    </a:lnTo>
                    <a:lnTo>
                      <a:pt x="732" y="694"/>
                    </a:lnTo>
                    <a:lnTo>
                      <a:pt x="730" y="696"/>
                    </a:lnTo>
                    <a:lnTo>
                      <a:pt x="726" y="698"/>
                    </a:lnTo>
                    <a:lnTo>
                      <a:pt x="726" y="698"/>
                    </a:lnTo>
                    <a:lnTo>
                      <a:pt x="724" y="698"/>
                    </a:lnTo>
                    <a:lnTo>
                      <a:pt x="724" y="698"/>
                    </a:lnTo>
                    <a:lnTo>
                      <a:pt x="724" y="698"/>
                    </a:lnTo>
                    <a:lnTo>
                      <a:pt x="722" y="696"/>
                    </a:lnTo>
                    <a:lnTo>
                      <a:pt x="722" y="692"/>
                    </a:lnTo>
                    <a:lnTo>
                      <a:pt x="720" y="690"/>
                    </a:lnTo>
                    <a:lnTo>
                      <a:pt x="718" y="682"/>
                    </a:lnTo>
                    <a:lnTo>
                      <a:pt x="716" y="680"/>
                    </a:lnTo>
                    <a:lnTo>
                      <a:pt x="714" y="676"/>
                    </a:lnTo>
                    <a:lnTo>
                      <a:pt x="714" y="674"/>
                    </a:lnTo>
                    <a:lnTo>
                      <a:pt x="714" y="670"/>
                    </a:lnTo>
                    <a:lnTo>
                      <a:pt x="712" y="664"/>
                    </a:lnTo>
                    <a:lnTo>
                      <a:pt x="712" y="660"/>
                    </a:lnTo>
                    <a:lnTo>
                      <a:pt x="710" y="658"/>
                    </a:lnTo>
                    <a:lnTo>
                      <a:pt x="710" y="658"/>
                    </a:lnTo>
                    <a:lnTo>
                      <a:pt x="710" y="658"/>
                    </a:lnTo>
                    <a:lnTo>
                      <a:pt x="710" y="654"/>
                    </a:lnTo>
                    <a:lnTo>
                      <a:pt x="710" y="654"/>
                    </a:lnTo>
                    <a:lnTo>
                      <a:pt x="710" y="654"/>
                    </a:lnTo>
                    <a:lnTo>
                      <a:pt x="708" y="652"/>
                    </a:lnTo>
                    <a:lnTo>
                      <a:pt x="708" y="652"/>
                    </a:lnTo>
                    <a:lnTo>
                      <a:pt x="706" y="652"/>
                    </a:lnTo>
                    <a:lnTo>
                      <a:pt x="704" y="650"/>
                    </a:lnTo>
                    <a:lnTo>
                      <a:pt x="704" y="650"/>
                    </a:lnTo>
                    <a:lnTo>
                      <a:pt x="704" y="650"/>
                    </a:lnTo>
                    <a:lnTo>
                      <a:pt x="700" y="650"/>
                    </a:lnTo>
                    <a:lnTo>
                      <a:pt x="700" y="650"/>
                    </a:lnTo>
                    <a:lnTo>
                      <a:pt x="700" y="650"/>
                    </a:lnTo>
                    <a:lnTo>
                      <a:pt x="698" y="650"/>
                    </a:lnTo>
                    <a:lnTo>
                      <a:pt x="694" y="652"/>
                    </a:lnTo>
                    <a:lnTo>
                      <a:pt x="692" y="652"/>
                    </a:lnTo>
                    <a:lnTo>
                      <a:pt x="690" y="652"/>
                    </a:lnTo>
                    <a:lnTo>
                      <a:pt x="688" y="650"/>
                    </a:lnTo>
                    <a:lnTo>
                      <a:pt x="688" y="650"/>
                    </a:lnTo>
                    <a:lnTo>
                      <a:pt x="688" y="650"/>
                    </a:lnTo>
                    <a:lnTo>
                      <a:pt x="686" y="646"/>
                    </a:lnTo>
                    <a:lnTo>
                      <a:pt x="686" y="642"/>
                    </a:lnTo>
                    <a:lnTo>
                      <a:pt x="686" y="638"/>
                    </a:lnTo>
                    <a:lnTo>
                      <a:pt x="686" y="632"/>
                    </a:lnTo>
                    <a:lnTo>
                      <a:pt x="686" y="626"/>
                    </a:lnTo>
                    <a:lnTo>
                      <a:pt x="686" y="620"/>
                    </a:lnTo>
                    <a:lnTo>
                      <a:pt x="686" y="614"/>
                    </a:lnTo>
                    <a:lnTo>
                      <a:pt x="688" y="608"/>
                    </a:lnTo>
                    <a:lnTo>
                      <a:pt x="688" y="602"/>
                    </a:lnTo>
                    <a:lnTo>
                      <a:pt x="690" y="596"/>
                    </a:lnTo>
                    <a:lnTo>
                      <a:pt x="694" y="590"/>
                    </a:lnTo>
                    <a:lnTo>
                      <a:pt x="696" y="584"/>
                    </a:lnTo>
                    <a:lnTo>
                      <a:pt x="702" y="572"/>
                    </a:lnTo>
                    <a:lnTo>
                      <a:pt x="704" y="566"/>
                    </a:lnTo>
                    <a:lnTo>
                      <a:pt x="708" y="562"/>
                    </a:lnTo>
                    <a:lnTo>
                      <a:pt x="710" y="558"/>
                    </a:lnTo>
                    <a:lnTo>
                      <a:pt x="714" y="554"/>
                    </a:lnTo>
                    <a:lnTo>
                      <a:pt x="722" y="546"/>
                    </a:lnTo>
                    <a:lnTo>
                      <a:pt x="728" y="538"/>
                    </a:lnTo>
                    <a:lnTo>
                      <a:pt x="732" y="536"/>
                    </a:lnTo>
                    <a:lnTo>
                      <a:pt x="734" y="534"/>
                    </a:lnTo>
                    <a:lnTo>
                      <a:pt x="738" y="532"/>
                    </a:lnTo>
                    <a:lnTo>
                      <a:pt x="740" y="530"/>
                    </a:lnTo>
                    <a:lnTo>
                      <a:pt x="742" y="530"/>
                    </a:lnTo>
                    <a:lnTo>
                      <a:pt x="744" y="530"/>
                    </a:lnTo>
                    <a:lnTo>
                      <a:pt x="744" y="528"/>
                    </a:lnTo>
                    <a:lnTo>
                      <a:pt x="746" y="528"/>
                    </a:lnTo>
                    <a:lnTo>
                      <a:pt x="746" y="528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50" y="524"/>
                    </a:lnTo>
                    <a:lnTo>
                      <a:pt x="750" y="524"/>
                    </a:lnTo>
                    <a:lnTo>
                      <a:pt x="750" y="522"/>
                    </a:lnTo>
                    <a:lnTo>
                      <a:pt x="750" y="520"/>
                    </a:lnTo>
                    <a:lnTo>
                      <a:pt x="750" y="520"/>
                    </a:lnTo>
                    <a:lnTo>
                      <a:pt x="750" y="518"/>
                    </a:lnTo>
                    <a:lnTo>
                      <a:pt x="750" y="516"/>
                    </a:lnTo>
                    <a:lnTo>
                      <a:pt x="750" y="514"/>
                    </a:lnTo>
                    <a:lnTo>
                      <a:pt x="750" y="514"/>
                    </a:lnTo>
                    <a:lnTo>
                      <a:pt x="748" y="514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0"/>
                    </a:lnTo>
                    <a:lnTo>
                      <a:pt x="748" y="510"/>
                    </a:lnTo>
                    <a:lnTo>
                      <a:pt x="748" y="510"/>
                    </a:lnTo>
                    <a:lnTo>
                      <a:pt x="750" y="510"/>
                    </a:lnTo>
                    <a:lnTo>
                      <a:pt x="750" y="508"/>
                    </a:lnTo>
                    <a:lnTo>
                      <a:pt x="750" y="508"/>
                    </a:lnTo>
                    <a:lnTo>
                      <a:pt x="752" y="506"/>
                    </a:lnTo>
                    <a:lnTo>
                      <a:pt x="752" y="504"/>
                    </a:lnTo>
                    <a:lnTo>
                      <a:pt x="754" y="500"/>
                    </a:lnTo>
                    <a:lnTo>
                      <a:pt x="754" y="496"/>
                    </a:lnTo>
                    <a:lnTo>
                      <a:pt x="756" y="494"/>
                    </a:lnTo>
                    <a:lnTo>
                      <a:pt x="756" y="492"/>
                    </a:lnTo>
                    <a:lnTo>
                      <a:pt x="756" y="492"/>
                    </a:lnTo>
                    <a:lnTo>
                      <a:pt x="758" y="492"/>
                    </a:lnTo>
                    <a:lnTo>
                      <a:pt x="760" y="494"/>
                    </a:lnTo>
                    <a:lnTo>
                      <a:pt x="760" y="496"/>
                    </a:lnTo>
                    <a:lnTo>
                      <a:pt x="760" y="496"/>
                    </a:lnTo>
                    <a:lnTo>
                      <a:pt x="762" y="496"/>
                    </a:lnTo>
                    <a:lnTo>
                      <a:pt x="764" y="496"/>
                    </a:lnTo>
                    <a:lnTo>
                      <a:pt x="764" y="496"/>
                    </a:lnTo>
                    <a:lnTo>
                      <a:pt x="764" y="496"/>
                    </a:lnTo>
                    <a:lnTo>
                      <a:pt x="766" y="496"/>
                    </a:lnTo>
                    <a:lnTo>
                      <a:pt x="766" y="496"/>
                    </a:lnTo>
                    <a:lnTo>
                      <a:pt x="768" y="496"/>
                    </a:lnTo>
                    <a:lnTo>
                      <a:pt x="768" y="496"/>
                    </a:lnTo>
                    <a:lnTo>
                      <a:pt x="768" y="496"/>
                    </a:lnTo>
                    <a:lnTo>
                      <a:pt x="770" y="496"/>
                    </a:lnTo>
                    <a:lnTo>
                      <a:pt x="770" y="496"/>
                    </a:lnTo>
                    <a:lnTo>
                      <a:pt x="774" y="492"/>
                    </a:lnTo>
                    <a:lnTo>
                      <a:pt x="778" y="490"/>
                    </a:lnTo>
                    <a:lnTo>
                      <a:pt x="782" y="484"/>
                    </a:lnTo>
                    <a:lnTo>
                      <a:pt x="786" y="480"/>
                    </a:lnTo>
                    <a:lnTo>
                      <a:pt x="790" y="476"/>
                    </a:lnTo>
                    <a:lnTo>
                      <a:pt x="794" y="470"/>
                    </a:lnTo>
                    <a:lnTo>
                      <a:pt x="794" y="468"/>
                    </a:lnTo>
                    <a:lnTo>
                      <a:pt x="796" y="466"/>
                    </a:lnTo>
                    <a:lnTo>
                      <a:pt x="796" y="466"/>
                    </a:lnTo>
                    <a:lnTo>
                      <a:pt x="796" y="466"/>
                    </a:lnTo>
                    <a:lnTo>
                      <a:pt x="796" y="464"/>
                    </a:lnTo>
                    <a:lnTo>
                      <a:pt x="796" y="464"/>
                    </a:lnTo>
                    <a:lnTo>
                      <a:pt x="796" y="464"/>
                    </a:lnTo>
                    <a:lnTo>
                      <a:pt x="798" y="462"/>
                    </a:lnTo>
                    <a:lnTo>
                      <a:pt x="798" y="462"/>
                    </a:lnTo>
                    <a:lnTo>
                      <a:pt x="798" y="460"/>
                    </a:lnTo>
                    <a:lnTo>
                      <a:pt x="796" y="460"/>
                    </a:lnTo>
                    <a:lnTo>
                      <a:pt x="796" y="460"/>
                    </a:lnTo>
                    <a:lnTo>
                      <a:pt x="796" y="458"/>
                    </a:lnTo>
                    <a:lnTo>
                      <a:pt x="796" y="458"/>
                    </a:lnTo>
                    <a:lnTo>
                      <a:pt x="796" y="458"/>
                    </a:lnTo>
                    <a:lnTo>
                      <a:pt x="796" y="456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2" y="454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6" y="452"/>
                    </a:lnTo>
                    <a:lnTo>
                      <a:pt x="796" y="452"/>
                    </a:lnTo>
                    <a:lnTo>
                      <a:pt x="796" y="450"/>
                    </a:lnTo>
                    <a:lnTo>
                      <a:pt x="798" y="448"/>
                    </a:lnTo>
                    <a:lnTo>
                      <a:pt x="798" y="446"/>
                    </a:lnTo>
                    <a:lnTo>
                      <a:pt x="800" y="442"/>
                    </a:lnTo>
                    <a:lnTo>
                      <a:pt x="802" y="440"/>
                    </a:lnTo>
                    <a:lnTo>
                      <a:pt x="802" y="442"/>
                    </a:lnTo>
                    <a:lnTo>
                      <a:pt x="802" y="442"/>
                    </a:lnTo>
                    <a:lnTo>
                      <a:pt x="802" y="444"/>
                    </a:lnTo>
                    <a:lnTo>
                      <a:pt x="802" y="444"/>
                    </a:lnTo>
                    <a:lnTo>
                      <a:pt x="802" y="446"/>
                    </a:lnTo>
                    <a:lnTo>
                      <a:pt x="802" y="452"/>
                    </a:lnTo>
                    <a:lnTo>
                      <a:pt x="804" y="460"/>
                    </a:lnTo>
                    <a:lnTo>
                      <a:pt x="804" y="468"/>
                    </a:lnTo>
                    <a:lnTo>
                      <a:pt x="804" y="474"/>
                    </a:lnTo>
                    <a:lnTo>
                      <a:pt x="804" y="482"/>
                    </a:lnTo>
                    <a:lnTo>
                      <a:pt x="804" y="484"/>
                    </a:lnTo>
                    <a:lnTo>
                      <a:pt x="802" y="488"/>
                    </a:lnTo>
                    <a:lnTo>
                      <a:pt x="800" y="490"/>
                    </a:lnTo>
                    <a:lnTo>
                      <a:pt x="798" y="494"/>
                    </a:lnTo>
                    <a:lnTo>
                      <a:pt x="796" y="496"/>
                    </a:lnTo>
                    <a:lnTo>
                      <a:pt x="794" y="498"/>
                    </a:lnTo>
                    <a:lnTo>
                      <a:pt x="794" y="498"/>
                    </a:lnTo>
                    <a:lnTo>
                      <a:pt x="794" y="498"/>
                    </a:lnTo>
                    <a:lnTo>
                      <a:pt x="792" y="502"/>
                    </a:lnTo>
                    <a:lnTo>
                      <a:pt x="792" y="502"/>
                    </a:lnTo>
                    <a:lnTo>
                      <a:pt x="790" y="504"/>
                    </a:lnTo>
                    <a:lnTo>
                      <a:pt x="790" y="506"/>
                    </a:lnTo>
                    <a:lnTo>
                      <a:pt x="790" y="506"/>
                    </a:lnTo>
                    <a:lnTo>
                      <a:pt x="790" y="506"/>
                    </a:lnTo>
                    <a:lnTo>
                      <a:pt x="788" y="508"/>
                    </a:lnTo>
                    <a:lnTo>
                      <a:pt x="788" y="508"/>
                    </a:lnTo>
                    <a:lnTo>
                      <a:pt x="790" y="510"/>
                    </a:lnTo>
                    <a:lnTo>
                      <a:pt x="790" y="510"/>
                    </a:lnTo>
                    <a:lnTo>
                      <a:pt x="790" y="510"/>
                    </a:lnTo>
                    <a:lnTo>
                      <a:pt x="790" y="512"/>
                    </a:lnTo>
                    <a:lnTo>
                      <a:pt x="792" y="512"/>
                    </a:lnTo>
                    <a:lnTo>
                      <a:pt x="792" y="512"/>
                    </a:lnTo>
                    <a:lnTo>
                      <a:pt x="792" y="512"/>
                    </a:lnTo>
                    <a:lnTo>
                      <a:pt x="794" y="514"/>
                    </a:lnTo>
                    <a:lnTo>
                      <a:pt x="794" y="514"/>
                    </a:lnTo>
                    <a:lnTo>
                      <a:pt x="796" y="514"/>
                    </a:lnTo>
                    <a:lnTo>
                      <a:pt x="800" y="514"/>
                    </a:lnTo>
                    <a:lnTo>
                      <a:pt x="802" y="512"/>
                    </a:lnTo>
                    <a:lnTo>
                      <a:pt x="806" y="512"/>
                    </a:lnTo>
                    <a:lnTo>
                      <a:pt x="808" y="512"/>
                    </a:lnTo>
                    <a:lnTo>
                      <a:pt x="810" y="512"/>
                    </a:lnTo>
                    <a:lnTo>
                      <a:pt x="810" y="512"/>
                    </a:lnTo>
                    <a:lnTo>
                      <a:pt x="812" y="512"/>
                    </a:lnTo>
                    <a:lnTo>
                      <a:pt x="812" y="514"/>
                    </a:lnTo>
                    <a:lnTo>
                      <a:pt x="812" y="516"/>
                    </a:lnTo>
                    <a:lnTo>
                      <a:pt x="814" y="518"/>
                    </a:lnTo>
                    <a:lnTo>
                      <a:pt x="814" y="520"/>
                    </a:lnTo>
                    <a:lnTo>
                      <a:pt x="814" y="524"/>
                    </a:lnTo>
                    <a:lnTo>
                      <a:pt x="814" y="524"/>
                    </a:lnTo>
                    <a:lnTo>
                      <a:pt x="816" y="526"/>
                    </a:lnTo>
                    <a:lnTo>
                      <a:pt x="818" y="526"/>
                    </a:lnTo>
                    <a:lnTo>
                      <a:pt x="820" y="526"/>
                    </a:lnTo>
                    <a:lnTo>
                      <a:pt x="824" y="526"/>
                    </a:lnTo>
                    <a:lnTo>
                      <a:pt x="828" y="524"/>
                    </a:lnTo>
                    <a:lnTo>
                      <a:pt x="834" y="522"/>
                    </a:lnTo>
                    <a:lnTo>
                      <a:pt x="836" y="522"/>
                    </a:lnTo>
                    <a:lnTo>
                      <a:pt x="840" y="520"/>
                    </a:lnTo>
                    <a:lnTo>
                      <a:pt x="840" y="520"/>
                    </a:lnTo>
                    <a:lnTo>
                      <a:pt x="840" y="520"/>
                    </a:lnTo>
                    <a:lnTo>
                      <a:pt x="844" y="514"/>
                    </a:lnTo>
                    <a:lnTo>
                      <a:pt x="850" y="506"/>
                    </a:lnTo>
                    <a:lnTo>
                      <a:pt x="850" y="506"/>
                    </a:lnTo>
                    <a:lnTo>
                      <a:pt x="850" y="504"/>
                    </a:lnTo>
                    <a:lnTo>
                      <a:pt x="850" y="502"/>
                    </a:lnTo>
                    <a:lnTo>
                      <a:pt x="850" y="500"/>
                    </a:lnTo>
                    <a:lnTo>
                      <a:pt x="850" y="500"/>
                    </a:lnTo>
                    <a:lnTo>
                      <a:pt x="850" y="500"/>
                    </a:lnTo>
                    <a:lnTo>
                      <a:pt x="852" y="502"/>
                    </a:lnTo>
                    <a:lnTo>
                      <a:pt x="854" y="504"/>
                    </a:lnTo>
                    <a:lnTo>
                      <a:pt x="856" y="504"/>
                    </a:lnTo>
                    <a:lnTo>
                      <a:pt x="860" y="508"/>
                    </a:lnTo>
                    <a:lnTo>
                      <a:pt x="862" y="510"/>
                    </a:lnTo>
                    <a:lnTo>
                      <a:pt x="866" y="512"/>
                    </a:lnTo>
                    <a:lnTo>
                      <a:pt x="868" y="514"/>
                    </a:lnTo>
                    <a:lnTo>
                      <a:pt x="868" y="514"/>
                    </a:lnTo>
                    <a:lnTo>
                      <a:pt x="870" y="514"/>
                    </a:lnTo>
                    <a:lnTo>
                      <a:pt x="872" y="514"/>
                    </a:lnTo>
                    <a:lnTo>
                      <a:pt x="872" y="514"/>
                    </a:lnTo>
                    <a:lnTo>
                      <a:pt x="874" y="514"/>
                    </a:lnTo>
                    <a:lnTo>
                      <a:pt x="878" y="514"/>
                    </a:lnTo>
                    <a:lnTo>
                      <a:pt x="882" y="514"/>
                    </a:lnTo>
                    <a:lnTo>
                      <a:pt x="886" y="514"/>
                    </a:lnTo>
                    <a:lnTo>
                      <a:pt x="886" y="514"/>
                    </a:lnTo>
                    <a:lnTo>
                      <a:pt x="886" y="514"/>
                    </a:lnTo>
                    <a:lnTo>
                      <a:pt x="890" y="514"/>
                    </a:lnTo>
                    <a:lnTo>
                      <a:pt x="890" y="514"/>
                    </a:lnTo>
                    <a:lnTo>
                      <a:pt x="890" y="514"/>
                    </a:lnTo>
                    <a:lnTo>
                      <a:pt x="892" y="512"/>
                    </a:lnTo>
                    <a:lnTo>
                      <a:pt x="892" y="512"/>
                    </a:lnTo>
                    <a:lnTo>
                      <a:pt x="894" y="512"/>
                    </a:lnTo>
                    <a:lnTo>
                      <a:pt x="894" y="510"/>
                    </a:lnTo>
                    <a:lnTo>
                      <a:pt x="894" y="510"/>
                    </a:lnTo>
                    <a:lnTo>
                      <a:pt x="896" y="510"/>
                    </a:lnTo>
                    <a:lnTo>
                      <a:pt x="896" y="508"/>
                    </a:lnTo>
                    <a:lnTo>
                      <a:pt x="896" y="508"/>
                    </a:lnTo>
                    <a:lnTo>
                      <a:pt x="896" y="506"/>
                    </a:lnTo>
                    <a:lnTo>
                      <a:pt x="894" y="506"/>
                    </a:lnTo>
                    <a:lnTo>
                      <a:pt x="894" y="506"/>
                    </a:lnTo>
                    <a:lnTo>
                      <a:pt x="894" y="504"/>
                    </a:lnTo>
                    <a:lnTo>
                      <a:pt x="894" y="504"/>
                    </a:lnTo>
                    <a:lnTo>
                      <a:pt x="894" y="504"/>
                    </a:lnTo>
                    <a:lnTo>
                      <a:pt x="892" y="502"/>
                    </a:lnTo>
                    <a:lnTo>
                      <a:pt x="892" y="502"/>
                    </a:lnTo>
                    <a:lnTo>
                      <a:pt x="890" y="500"/>
                    </a:lnTo>
                    <a:lnTo>
                      <a:pt x="886" y="498"/>
                    </a:lnTo>
                    <a:lnTo>
                      <a:pt x="882" y="494"/>
                    </a:lnTo>
                    <a:lnTo>
                      <a:pt x="878" y="492"/>
                    </a:lnTo>
                    <a:lnTo>
                      <a:pt x="876" y="490"/>
                    </a:lnTo>
                    <a:lnTo>
                      <a:pt x="874" y="490"/>
                    </a:lnTo>
                    <a:lnTo>
                      <a:pt x="872" y="490"/>
                    </a:lnTo>
                    <a:lnTo>
                      <a:pt x="872" y="488"/>
                    </a:lnTo>
                    <a:lnTo>
                      <a:pt x="870" y="486"/>
                    </a:lnTo>
                    <a:lnTo>
                      <a:pt x="870" y="486"/>
                    </a:lnTo>
                    <a:lnTo>
                      <a:pt x="870" y="484"/>
                    </a:lnTo>
                    <a:lnTo>
                      <a:pt x="870" y="482"/>
                    </a:lnTo>
                    <a:lnTo>
                      <a:pt x="868" y="478"/>
                    </a:lnTo>
                    <a:lnTo>
                      <a:pt x="868" y="476"/>
                    </a:lnTo>
                    <a:lnTo>
                      <a:pt x="868" y="472"/>
                    </a:lnTo>
                    <a:lnTo>
                      <a:pt x="868" y="472"/>
                    </a:lnTo>
                    <a:lnTo>
                      <a:pt x="866" y="472"/>
                    </a:lnTo>
                    <a:lnTo>
                      <a:pt x="864" y="470"/>
                    </a:lnTo>
                    <a:lnTo>
                      <a:pt x="864" y="470"/>
                    </a:lnTo>
                    <a:lnTo>
                      <a:pt x="864" y="470"/>
                    </a:lnTo>
                    <a:lnTo>
                      <a:pt x="862" y="468"/>
                    </a:lnTo>
                    <a:lnTo>
                      <a:pt x="860" y="468"/>
                    </a:lnTo>
                    <a:lnTo>
                      <a:pt x="858" y="466"/>
                    </a:lnTo>
                    <a:lnTo>
                      <a:pt x="856" y="464"/>
                    </a:lnTo>
                    <a:lnTo>
                      <a:pt x="854" y="460"/>
                    </a:lnTo>
                    <a:lnTo>
                      <a:pt x="852" y="456"/>
                    </a:lnTo>
                    <a:lnTo>
                      <a:pt x="852" y="456"/>
                    </a:lnTo>
                    <a:lnTo>
                      <a:pt x="852" y="456"/>
                    </a:lnTo>
                    <a:lnTo>
                      <a:pt x="848" y="454"/>
                    </a:lnTo>
                    <a:lnTo>
                      <a:pt x="848" y="454"/>
                    </a:lnTo>
                    <a:lnTo>
                      <a:pt x="848" y="454"/>
                    </a:lnTo>
                    <a:lnTo>
                      <a:pt x="844" y="450"/>
                    </a:lnTo>
                    <a:lnTo>
                      <a:pt x="840" y="448"/>
                    </a:lnTo>
                    <a:lnTo>
                      <a:pt x="840" y="448"/>
                    </a:lnTo>
                    <a:lnTo>
                      <a:pt x="840" y="448"/>
                    </a:lnTo>
                    <a:lnTo>
                      <a:pt x="842" y="448"/>
                    </a:lnTo>
                    <a:lnTo>
                      <a:pt x="844" y="446"/>
                    </a:lnTo>
                    <a:lnTo>
                      <a:pt x="844" y="446"/>
                    </a:lnTo>
                    <a:lnTo>
                      <a:pt x="846" y="446"/>
                    </a:lnTo>
                    <a:lnTo>
                      <a:pt x="848" y="446"/>
                    </a:lnTo>
                    <a:lnTo>
                      <a:pt x="848" y="446"/>
                    </a:lnTo>
                    <a:lnTo>
                      <a:pt x="848" y="444"/>
                    </a:lnTo>
                    <a:lnTo>
                      <a:pt x="850" y="442"/>
                    </a:lnTo>
                    <a:lnTo>
                      <a:pt x="850" y="442"/>
                    </a:lnTo>
                    <a:lnTo>
                      <a:pt x="850" y="442"/>
                    </a:lnTo>
                    <a:lnTo>
                      <a:pt x="852" y="440"/>
                    </a:lnTo>
                    <a:lnTo>
                      <a:pt x="852" y="440"/>
                    </a:lnTo>
                    <a:lnTo>
                      <a:pt x="852" y="438"/>
                    </a:lnTo>
                    <a:lnTo>
                      <a:pt x="854" y="430"/>
                    </a:lnTo>
                    <a:lnTo>
                      <a:pt x="854" y="422"/>
                    </a:lnTo>
                    <a:lnTo>
                      <a:pt x="854" y="414"/>
                    </a:lnTo>
                    <a:lnTo>
                      <a:pt x="854" y="414"/>
                    </a:lnTo>
                    <a:lnTo>
                      <a:pt x="854" y="414"/>
                    </a:lnTo>
                    <a:lnTo>
                      <a:pt x="852" y="410"/>
                    </a:lnTo>
                    <a:lnTo>
                      <a:pt x="852" y="410"/>
                    </a:lnTo>
                    <a:lnTo>
                      <a:pt x="852" y="410"/>
                    </a:lnTo>
                    <a:lnTo>
                      <a:pt x="854" y="408"/>
                    </a:lnTo>
                    <a:lnTo>
                      <a:pt x="854" y="408"/>
                    </a:lnTo>
                    <a:lnTo>
                      <a:pt x="856" y="408"/>
                    </a:lnTo>
                    <a:lnTo>
                      <a:pt x="858" y="406"/>
                    </a:lnTo>
                    <a:lnTo>
                      <a:pt x="862" y="404"/>
                    </a:lnTo>
                    <a:lnTo>
                      <a:pt x="866" y="400"/>
                    </a:lnTo>
                    <a:lnTo>
                      <a:pt x="870" y="396"/>
                    </a:lnTo>
                    <a:lnTo>
                      <a:pt x="874" y="392"/>
                    </a:lnTo>
                    <a:lnTo>
                      <a:pt x="878" y="388"/>
                    </a:lnTo>
                    <a:lnTo>
                      <a:pt x="882" y="384"/>
                    </a:lnTo>
                    <a:lnTo>
                      <a:pt x="882" y="384"/>
                    </a:lnTo>
                    <a:lnTo>
                      <a:pt x="882" y="384"/>
                    </a:lnTo>
                    <a:lnTo>
                      <a:pt x="882" y="382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78"/>
                    </a:lnTo>
                    <a:lnTo>
                      <a:pt x="884" y="378"/>
                    </a:lnTo>
                    <a:lnTo>
                      <a:pt x="884" y="378"/>
                    </a:lnTo>
                    <a:lnTo>
                      <a:pt x="884" y="376"/>
                    </a:lnTo>
                    <a:lnTo>
                      <a:pt x="882" y="374"/>
                    </a:lnTo>
                    <a:lnTo>
                      <a:pt x="882" y="374"/>
                    </a:lnTo>
                    <a:lnTo>
                      <a:pt x="882" y="372"/>
                    </a:lnTo>
                    <a:lnTo>
                      <a:pt x="880" y="370"/>
                    </a:lnTo>
                    <a:lnTo>
                      <a:pt x="878" y="366"/>
                    </a:lnTo>
                    <a:lnTo>
                      <a:pt x="874" y="364"/>
                    </a:lnTo>
                    <a:lnTo>
                      <a:pt x="872" y="360"/>
                    </a:lnTo>
                    <a:lnTo>
                      <a:pt x="872" y="358"/>
                    </a:lnTo>
                    <a:lnTo>
                      <a:pt x="872" y="356"/>
                    </a:lnTo>
                    <a:lnTo>
                      <a:pt x="872" y="354"/>
                    </a:lnTo>
                    <a:lnTo>
                      <a:pt x="872" y="350"/>
                    </a:lnTo>
                    <a:lnTo>
                      <a:pt x="874" y="348"/>
                    </a:lnTo>
                    <a:lnTo>
                      <a:pt x="876" y="344"/>
                    </a:lnTo>
                    <a:lnTo>
                      <a:pt x="878" y="338"/>
                    </a:lnTo>
                    <a:lnTo>
                      <a:pt x="880" y="334"/>
                    </a:lnTo>
                    <a:lnTo>
                      <a:pt x="880" y="332"/>
                    </a:lnTo>
                    <a:lnTo>
                      <a:pt x="880" y="328"/>
                    </a:lnTo>
                    <a:lnTo>
                      <a:pt x="880" y="324"/>
                    </a:lnTo>
                    <a:lnTo>
                      <a:pt x="880" y="316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78" y="302"/>
                    </a:lnTo>
                    <a:lnTo>
                      <a:pt x="876" y="298"/>
                    </a:lnTo>
                    <a:lnTo>
                      <a:pt x="876" y="298"/>
                    </a:lnTo>
                    <a:lnTo>
                      <a:pt x="876" y="298"/>
                    </a:lnTo>
                    <a:lnTo>
                      <a:pt x="872" y="294"/>
                    </a:lnTo>
                    <a:lnTo>
                      <a:pt x="872" y="294"/>
                    </a:lnTo>
                    <a:lnTo>
                      <a:pt x="872" y="294"/>
                    </a:lnTo>
                    <a:lnTo>
                      <a:pt x="870" y="292"/>
                    </a:lnTo>
                    <a:lnTo>
                      <a:pt x="868" y="290"/>
                    </a:lnTo>
                    <a:lnTo>
                      <a:pt x="864" y="288"/>
                    </a:lnTo>
                    <a:lnTo>
                      <a:pt x="862" y="286"/>
                    </a:lnTo>
                    <a:lnTo>
                      <a:pt x="858" y="284"/>
                    </a:lnTo>
                    <a:lnTo>
                      <a:pt x="854" y="282"/>
                    </a:lnTo>
                    <a:lnTo>
                      <a:pt x="848" y="280"/>
                    </a:lnTo>
                    <a:lnTo>
                      <a:pt x="842" y="278"/>
                    </a:lnTo>
                    <a:lnTo>
                      <a:pt x="848" y="278"/>
                    </a:lnTo>
                    <a:lnTo>
                      <a:pt x="856" y="278"/>
                    </a:lnTo>
                    <a:lnTo>
                      <a:pt x="856" y="278"/>
                    </a:lnTo>
                    <a:lnTo>
                      <a:pt x="860" y="276"/>
                    </a:lnTo>
                    <a:lnTo>
                      <a:pt x="860" y="276"/>
                    </a:lnTo>
                    <a:lnTo>
                      <a:pt x="858" y="272"/>
                    </a:lnTo>
                    <a:lnTo>
                      <a:pt x="854" y="270"/>
                    </a:lnTo>
                    <a:lnTo>
                      <a:pt x="852" y="270"/>
                    </a:lnTo>
                    <a:lnTo>
                      <a:pt x="852" y="268"/>
                    </a:lnTo>
                    <a:lnTo>
                      <a:pt x="850" y="266"/>
                    </a:lnTo>
                    <a:lnTo>
                      <a:pt x="850" y="266"/>
                    </a:lnTo>
                    <a:lnTo>
                      <a:pt x="852" y="266"/>
                    </a:lnTo>
                    <a:lnTo>
                      <a:pt x="852" y="264"/>
                    </a:lnTo>
                    <a:lnTo>
                      <a:pt x="854" y="264"/>
                    </a:lnTo>
                    <a:lnTo>
                      <a:pt x="858" y="264"/>
                    </a:lnTo>
                    <a:lnTo>
                      <a:pt x="864" y="266"/>
                    </a:lnTo>
                    <a:lnTo>
                      <a:pt x="874" y="268"/>
                    </a:lnTo>
                    <a:lnTo>
                      <a:pt x="876" y="268"/>
                    </a:lnTo>
                    <a:lnTo>
                      <a:pt x="876" y="268"/>
                    </a:lnTo>
                    <a:lnTo>
                      <a:pt x="87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84" y="270"/>
                    </a:lnTo>
                    <a:lnTo>
                      <a:pt x="886" y="270"/>
                    </a:lnTo>
                    <a:lnTo>
                      <a:pt x="894" y="270"/>
                    </a:lnTo>
                    <a:lnTo>
                      <a:pt x="896" y="270"/>
                    </a:lnTo>
                    <a:lnTo>
                      <a:pt x="898" y="270"/>
                    </a:lnTo>
                    <a:lnTo>
                      <a:pt x="898" y="270"/>
                    </a:lnTo>
                    <a:lnTo>
                      <a:pt x="900" y="274"/>
                    </a:lnTo>
                    <a:lnTo>
                      <a:pt x="902" y="278"/>
                    </a:lnTo>
                    <a:lnTo>
                      <a:pt x="902" y="278"/>
                    </a:lnTo>
                    <a:lnTo>
                      <a:pt x="902" y="280"/>
                    </a:lnTo>
                    <a:lnTo>
                      <a:pt x="902" y="282"/>
                    </a:lnTo>
                    <a:lnTo>
                      <a:pt x="902" y="282"/>
                    </a:lnTo>
                    <a:lnTo>
                      <a:pt x="904" y="282"/>
                    </a:lnTo>
                    <a:lnTo>
                      <a:pt x="906" y="284"/>
                    </a:lnTo>
                    <a:lnTo>
                      <a:pt x="906" y="284"/>
                    </a:lnTo>
                    <a:lnTo>
                      <a:pt x="906" y="284"/>
                    </a:lnTo>
                    <a:lnTo>
                      <a:pt x="908" y="286"/>
                    </a:lnTo>
                    <a:lnTo>
                      <a:pt x="908" y="286"/>
                    </a:lnTo>
                    <a:lnTo>
                      <a:pt x="908" y="286"/>
                    </a:lnTo>
                    <a:lnTo>
                      <a:pt x="912" y="286"/>
                    </a:lnTo>
                    <a:lnTo>
                      <a:pt x="912" y="286"/>
                    </a:lnTo>
                    <a:lnTo>
                      <a:pt x="914" y="286"/>
                    </a:lnTo>
                    <a:lnTo>
                      <a:pt x="914" y="286"/>
                    </a:lnTo>
                    <a:lnTo>
                      <a:pt x="916" y="286"/>
                    </a:lnTo>
                    <a:lnTo>
                      <a:pt x="918" y="286"/>
                    </a:lnTo>
                    <a:lnTo>
                      <a:pt x="918" y="286"/>
                    </a:lnTo>
                    <a:lnTo>
                      <a:pt x="920" y="286"/>
                    </a:lnTo>
                    <a:lnTo>
                      <a:pt x="922" y="284"/>
                    </a:lnTo>
                    <a:lnTo>
                      <a:pt x="922" y="284"/>
                    </a:lnTo>
                    <a:lnTo>
                      <a:pt x="922" y="284"/>
                    </a:lnTo>
                    <a:lnTo>
                      <a:pt x="922" y="282"/>
                    </a:lnTo>
                    <a:lnTo>
                      <a:pt x="922" y="282"/>
                    </a:lnTo>
                    <a:lnTo>
                      <a:pt x="924" y="282"/>
                    </a:lnTo>
                    <a:lnTo>
                      <a:pt x="924" y="280"/>
                    </a:lnTo>
                    <a:lnTo>
                      <a:pt x="924" y="280"/>
                    </a:lnTo>
                    <a:lnTo>
                      <a:pt x="924" y="278"/>
                    </a:lnTo>
                    <a:lnTo>
                      <a:pt x="924" y="278"/>
                    </a:lnTo>
                    <a:lnTo>
                      <a:pt x="924" y="278"/>
                    </a:lnTo>
                    <a:lnTo>
                      <a:pt x="922" y="276"/>
                    </a:lnTo>
                    <a:lnTo>
                      <a:pt x="922" y="276"/>
                    </a:lnTo>
                    <a:lnTo>
                      <a:pt x="922" y="276"/>
                    </a:lnTo>
                    <a:lnTo>
                      <a:pt x="922" y="274"/>
                    </a:lnTo>
                    <a:lnTo>
                      <a:pt x="920" y="274"/>
                    </a:lnTo>
                    <a:lnTo>
                      <a:pt x="920" y="274"/>
                    </a:lnTo>
                    <a:lnTo>
                      <a:pt x="918" y="272"/>
                    </a:lnTo>
                    <a:lnTo>
                      <a:pt x="916" y="272"/>
                    </a:lnTo>
                    <a:lnTo>
                      <a:pt x="912" y="270"/>
                    </a:lnTo>
                    <a:lnTo>
                      <a:pt x="908" y="270"/>
                    </a:lnTo>
                    <a:lnTo>
                      <a:pt x="908" y="270"/>
                    </a:lnTo>
                    <a:lnTo>
                      <a:pt x="906" y="266"/>
                    </a:lnTo>
                    <a:lnTo>
                      <a:pt x="906" y="262"/>
                    </a:lnTo>
                    <a:lnTo>
                      <a:pt x="906" y="258"/>
                    </a:lnTo>
                    <a:lnTo>
                      <a:pt x="906" y="256"/>
                    </a:lnTo>
                    <a:lnTo>
                      <a:pt x="906" y="254"/>
                    </a:lnTo>
                    <a:lnTo>
                      <a:pt x="908" y="252"/>
                    </a:lnTo>
                    <a:lnTo>
                      <a:pt x="910" y="250"/>
                    </a:lnTo>
                    <a:lnTo>
                      <a:pt x="912" y="250"/>
                    </a:lnTo>
                    <a:lnTo>
                      <a:pt x="914" y="250"/>
                    </a:lnTo>
                    <a:lnTo>
                      <a:pt x="916" y="252"/>
                    </a:lnTo>
                    <a:lnTo>
                      <a:pt x="916" y="252"/>
                    </a:lnTo>
                    <a:lnTo>
                      <a:pt x="918" y="254"/>
                    </a:lnTo>
                    <a:lnTo>
                      <a:pt x="918" y="256"/>
                    </a:lnTo>
                    <a:lnTo>
                      <a:pt x="920" y="260"/>
                    </a:lnTo>
                    <a:lnTo>
                      <a:pt x="922" y="262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8" y="268"/>
                    </a:lnTo>
                    <a:lnTo>
                      <a:pt x="930" y="272"/>
                    </a:lnTo>
                    <a:lnTo>
                      <a:pt x="932" y="274"/>
                    </a:lnTo>
                    <a:lnTo>
                      <a:pt x="934" y="276"/>
                    </a:lnTo>
                    <a:lnTo>
                      <a:pt x="934" y="276"/>
                    </a:lnTo>
                    <a:lnTo>
                      <a:pt x="934" y="276"/>
                    </a:lnTo>
                    <a:lnTo>
                      <a:pt x="936" y="278"/>
                    </a:lnTo>
                    <a:lnTo>
                      <a:pt x="936" y="278"/>
                    </a:lnTo>
                    <a:lnTo>
                      <a:pt x="936" y="278"/>
                    </a:lnTo>
                    <a:lnTo>
                      <a:pt x="938" y="278"/>
                    </a:lnTo>
                    <a:lnTo>
                      <a:pt x="938" y="278"/>
                    </a:lnTo>
                    <a:lnTo>
                      <a:pt x="938" y="278"/>
                    </a:lnTo>
                    <a:lnTo>
                      <a:pt x="942" y="278"/>
                    </a:lnTo>
                    <a:lnTo>
                      <a:pt x="944" y="278"/>
                    </a:lnTo>
                    <a:lnTo>
                      <a:pt x="946" y="278"/>
                    </a:lnTo>
                    <a:lnTo>
                      <a:pt x="948" y="278"/>
                    </a:lnTo>
                    <a:lnTo>
                      <a:pt x="948" y="278"/>
                    </a:lnTo>
                    <a:lnTo>
                      <a:pt x="950" y="286"/>
                    </a:lnTo>
                    <a:lnTo>
                      <a:pt x="954" y="296"/>
                    </a:lnTo>
                    <a:lnTo>
                      <a:pt x="956" y="302"/>
                    </a:lnTo>
                    <a:lnTo>
                      <a:pt x="958" y="306"/>
                    </a:lnTo>
                    <a:lnTo>
                      <a:pt x="960" y="312"/>
                    </a:lnTo>
                    <a:lnTo>
                      <a:pt x="964" y="316"/>
                    </a:lnTo>
                    <a:lnTo>
                      <a:pt x="964" y="318"/>
                    </a:lnTo>
                    <a:lnTo>
                      <a:pt x="964" y="318"/>
                    </a:lnTo>
                    <a:lnTo>
                      <a:pt x="964" y="318"/>
                    </a:lnTo>
                    <a:lnTo>
                      <a:pt x="966" y="320"/>
                    </a:lnTo>
                    <a:lnTo>
                      <a:pt x="966" y="320"/>
                    </a:lnTo>
                    <a:lnTo>
                      <a:pt x="966" y="320"/>
                    </a:lnTo>
                    <a:lnTo>
                      <a:pt x="966" y="322"/>
                    </a:lnTo>
                    <a:lnTo>
                      <a:pt x="966" y="322"/>
                    </a:lnTo>
                    <a:lnTo>
                      <a:pt x="966" y="322"/>
                    </a:lnTo>
                    <a:lnTo>
                      <a:pt x="968" y="324"/>
                    </a:lnTo>
                    <a:lnTo>
                      <a:pt x="968" y="324"/>
                    </a:lnTo>
                    <a:lnTo>
                      <a:pt x="968" y="324"/>
                    </a:lnTo>
                    <a:lnTo>
                      <a:pt x="972" y="324"/>
                    </a:lnTo>
                    <a:lnTo>
                      <a:pt x="972" y="324"/>
                    </a:lnTo>
                    <a:lnTo>
                      <a:pt x="972" y="324"/>
                    </a:lnTo>
                    <a:lnTo>
                      <a:pt x="974" y="326"/>
                    </a:lnTo>
                    <a:lnTo>
                      <a:pt x="978" y="326"/>
                    </a:lnTo>
                    <a:lnTo>
                      <a:pt x="980" y="326"/>
                    </a:lnTo>
                    <a:lnTo>
                      <a:pt x="982" y="326"/>
                    </a:lnTo>
                    <a:lnTo>
                      <a:pt x="986" y="328"/>
                    </a:lnTo>
                    <a:lnTo>
                      <a:pt x="988" y="328"/>
                    </a:lnTo>
                    <a:lnTo>
                      <a:pt x="990" y="328"/>
                    </a:lnTo>
                    <a:lnTo>
                      <a:pt x="990" y="328"/>
                    </a:lnTo>
                    <a:lnTo>
                      <a:pt x="992" y="332"/>
                    </a:lnTo>
                    <a:lnTo>
                      <a:pt x="994" y="338"/>
                    </a:lnTo>
                    <a:lnTo>
                      <a:pt x="996" y="344"/>
                    </a:lnTo>
                    <a:lnTo>
                      <a:pt x="998" y="348"/>
                    </a:lnTo>
                    <a:lnTo>
                      <a:pt x="1000" y="352"/>
                    </a:lnTo>
                    <a:lnTo>
                      <a:pt x="1000" y="352"/>
                    </a:lnTo>
                    <a:lnTo>
                      <a:pt x="1000" y="352"/>
                    </a:lnTo>
                    <a:lnTo>
                      <a:pt x="1000" y="354"/>
                    </a:lnTo>
                    <a:lnTo>
                      <a:pt x="1000" y="354"/>
                    </a:lnTo>
                    <a:lnTo>
                      <a:pt x="1000" y="354"/>
                    </a:lnTo>
                    <a:lnTo>
                      <a:pt x="1002" y="356"/>
                    </a:lnTo>
                    <a:lnTo>
                      <a:pt x="1004" y="358"/>
                    </a:lnTo>
                    <a:lnTo>
                      <a:pt x="1006" y="360"/>
                    </a:lnTo>
                    <a:lnTo>
                      <a:pt x="1008" y="362"/>
                    </a:lnTo>
                    <a:lnTo>
                      <a:pt x="1010" y="362"/>
                    </a:lnTo>
                    <a:lnTo>
                      <a:pt x="1010" y="364"/>
                    </a:lnTo>
                    <a:lnTo>
                      <a:pt x="1010" y="374"/>
                    </a:lnTo>
                    <a:lnTo>
                      <a:pt x="1010" y="380"/>
                    </a:lnTo>
                    <a:lnTo>
                      <a:pt x="1008" y="384"/>
                    </a:lnTo>
                    <a:lnTo>
                      <a:pt x="1006" y="388"/>
                    </a:lnTo>
                    <a:lnTo>
                      <a:pt x="1004" y="392"/>
                    </a:lnTo>
                    <a:lnTo>
                      <a:pt x="1002" y="396"/>
                    </a:lnTo>
                    <a:lnTo>
                      <a:pt x="998" y="400"/>
                    </a:lnTo>
                    <a:lnTo>
                      <a:pt x="998" y="400"/>
                    </a:lnTo>
                    <a:lnTo>
                      <a:pt x="998" y="400"/>
                    </a:lnTo>
                    <a:lnTo>
                      <a:pt x="996" y="402"/>
                    </a:lnTo>
                    <a:lnTo>
                      <a:pt x="994" y="404"/>
                    </a:lnTo>
                    <a:lnTo>
                      <a:pt x="992" y="406"/>
                    </a:lnTo>
                    <a:lnTo>
                      <a:pt x="992" y="406"/>
                    </a:lnTo>
                    <a:lnTo>
                      <a:pt x="992" y="408"/>
                    </a:lnTo>
                    <a:lnTo>
                      <a:pt x="990" y="408"/>
                    </a:lnTo>
                    <a:lnTo>
                      <a:pt x="990" y="410"/>
                    </a:lnTo>
                    <a:lnTo>
                      <a:pt x="988" y="412"/>
                    </a:lnTo>
                    <a:lnTo>
                      <a:pt x="988" y="414"/>
                    </a:lnTo>
                    <a:lnTo>
                      <a:pt x="988" y="414"/>
                    </a:lnTo>
                    <a:lnTo>
                      <a:pt x="986" y="414"/>
                    </a:lnTo>
                    <a:lnTo>
                      <a:pt x="986" y="418"/>
                    </a:lnTo>
                    <a:lnTo>
                      <a:pt x="986" y="420"/>
                    </a:lnTo>
                    <a:lnTo>
                      <a:pt x="986" y="422"/>
                    </a:lnTo>
                    <a:lnTo>
                      <a:pt x="984" y="424"/>
                    </a:lnTo>
                    <a:lnTo>
                      <a:pt x="984" y="426"/>
                    </a:lnTo>
                    <a:lnTo>
                      <a:pt x="984" y="428"/>
                    </a:lnTo>
                    <a:lnTo>
                      <a:pt x="984" y="428"/>
                    </a:lnTo>
                    <a:lnTo>
                      <a:pt x="984" y="428"/>
                    </a:lnTo>
                    <a:lnTo>
                      <a:pt x="984" y="430"/>
                    </a:lnTo>
                    <a:lnTo>
                      <a:pt x="984" y="430"/>
                    </a:lnTo>
                    <a:lnTo>
                      <a:pt x="984" y="432"/>
                    </a:lnTo>
                    <a:lnTo>
                      <a:pt x="984" y="436"/>
                    </a:lnTo>
                    <a:lnTo>
                      <a:pt x="984" y="436"/>
                    </a:lnTo>
                    <a:lnTo>
                      <a:pt x="984" y="438"/>
                    </a:lnTo>
                    <a:lnTo>
                      <a:pt x="984" y="442"/>
                    </a:lnTo>
                    <a:lnTo>
                      <a:pt x="984" y="444"/>
                    </a:lnTo>
                    <a:lnTo>
                      <a:pt x="984" y="446"/>
                    </a:lnTo>
                    <a:lnTo>
                      <a:pt x="984" y="448"/>
                    </a:lnTo>
                    <a:lnTo>
                      <a:pt x="984" y="450"/>
                    </a:lnTo>
                    <a:lnTo>
                      <a:pt x="984" y="450"/>
                    </a:lnTo>
                    <a:lnTo>
                      <a:pt x="984" y="450"/>
                    </a:lnTo>
                    <a:lnTo>
                      <a:pt x="982" y="450"/>
                    </a:lnTo>
                    <a:lnTo>
                      <a:pt x="980" y="452"/>
                    </a:lnTo>
                    <a:lnTo>
                      <a:pt x="978" y="452"/>
                    </a:lnTo>
                    <a:lnTo>
                      <a:pt x="974" y="452"/>
                    </a:lnTo>
                    <a:lnTo>
                      <a:pt x="972" y="454"/>
                    </a:lnTo>
                    <a:lnTo>
                      <a:pt x="964" y="452"/>
                    </a:lnTo>
                    <a:lnTo>
                      <a:pt x="956" y="452"/>
                    </a:lnTo>
                    <a:lnTo>
                      <a:pt x="954" y="452"/>
                    </a:lnTo>
                    <a:lnTo>
                      <a:pt x="950" y="452"/>
                    </a:lnTo>
                    <a:lnTo>
                      <a:pt x="946" y="450"/>
                    </a:lnTo>
                    <a:lnTo>
                      <a:pt x="944" y="448"/>
                    </a:lnTo>
                    <a:lnTo>
                      <a:pt x="944" y="448"/>
                    </a:lnTo>
                    <a:lnTo>
                      <a:pt x="940" y="448"/>
                    </a:lnTo>
                    <a:lnTo>
                      <a:pt x="938" y="450"/>
                    </a:lnTo>
                    <a:lnTo>
                      <a:pt x="934" y="452"/>
                    </a:lnTo>
                    <a:lnTo>
                      <a:pt x="932" y="454"/>
                    </a:lnTo>
                    <a:lnTo>
                      <a:pt x="928" y="454"/>
                    </a:lnTo>
                    <a:lnTo>
                      <a:pt x="926" y="456"/>
                    </a:lnTo>
                    <a:lnTo>
                      <a:pt x="924" y="456"/>
                    </a:lnTo>
                    <a:lnTo>
                      <a:pt x="920" y="456"/>
                    </a:lnTo>
                    <a:lnTo>
                      <a:pt x="920" y="456"/>
                    </a:lnTo>
                    <a:lnTo>
                      <a:pt x="920" y="456"/>
                    </a:lnTo>
                    <a:lnTo>
                      <a:pt x="918" y="458"/>
                    </a:lnTo>
                    <a:lnTo>
                      <a:pt x="918" y="458"/>
                    </a:lnTo>
                    <a:lnTo>
                      <a:pt x="918" y="458"/>
                    </a:lnTo>
                    <a:lnTo>
                      <a:pt x="918" y="460"/>
                    </a:lnTo>
                    <a:lnTo>
                      <a:pt x="918" y="460"/>
                    </a:lnTo>
                    <a:lnTo>
                      <a:pt x="916" y="460"/>
                    </a:lnTo>
                    <a:lnTo>
                      <a:pt x="916" y="462"/>
                    </a:lnTo>
                    <a:lnTo>
                      <a:pt x="916" y="462"/>
                    </a:lnTo>
                    <a:lnTo>
                      <a:pt x="916" y="462"/>
                    </a:lnTo>
                    <a:lnTo>
                      <a:pt x="916" y="464"/>
                    </a:lnTo>
                    <a:lnTo>
                      <a:pt x="916" y="464"/>
                    </a:lnTo>
                    <a:lnTo>
                      <a:pt x="916" y="464"/>
                    </a:lnTo>
                    <a:lnTo>
                      <a:pt x="916" y="468"/>
                    </a:lnTo>
                    <a:lnTo>
                      <a:pt x="916" y="470"/>
                    </a:lnTo>
                    <a:lnTo>
                      <a:pt x="916" y="470"/>
                    </a:lnTo>
                    <a:lnTo>
                      <a:pt x="916" y="472"/>
                    </a:lnTo>
                    <a:lnTo>
                      <a:pt x="916" y="472"/>
                    </a:lnTo>
                    <a:lnTo>
                      <a:pt x="916" y="472"/>
                    </a:lnTo>
                    <a:lnTo>
                      <a:pt x="918" y="474"/>
                    </a:lnTo>
                    <a:lnTo>
                      <a:pt x="918" y="474"/>
                    </a:lnTo>
                    <a:lnTo>
                      <a:pt x="918" y="476"/>
                    </a:lnTo>
                    <a:lnTo>
                      <a:pt x="918" y="476"/>
                    </a:lnTo>
                    <a:lnTo>
                      <a:pt x="918" y="476"/>
                    </a:lnTo>
                    <a:lnTo>
                      <a:pt x="920" y="476"/>
                    </a:lnTo>
                    <a:lnTo>
                      <a:pt x="922" y="476"/>
                    </a:lnTo>
                    <a:lnTo>
                      <a:pt x="924" y="476"/>
                    </a:lnTo>
                    <a:lnTo>
                      <a:pt x="926" y="476"/>
                    </a:lnTo>
                    <a:lnTo>
                      <a:pt x="928" y="476"/>
                    </a:lnTo>
                    <a:lnTo>
                      <a:pt x="928" y="478"/>
                    </a:lnTo>
                    <a:lnTo>
                      <a:pt x="928" y="480"/>
                    </a:lnTo>
                    <a:lnTo>
                      <a:pt x="928" y="480"/>
                    </a:lnTo>
                    <a:lnTo>
                      <a:pt x="928" y="482"/>
                    </a:lnTo>
                    <a:lnTo>
                      <a:pt x="930" y="482"/>
                    </a:lnTo>
                    <a:lnTo>
                      <a:pt x="930" y="482"/>
                    </a:lnTo>
                    <a:lnTo>
                      <a:pt x="930" y="484"/>
                    </a:lnTo>
                    <a:lnTo>
                      <a:pt x="932" y="484"/>
                    </a:lnTo>
                    <a:lnTo>
                      <a:pt x="932" y="484"/>
                    </a:lnTo>
                    <a:lnTo>
                      <a:pt x="932" y="486"/>
                    </a:lnTo>
                    <a:lnTo>
                      <a:pt x="934" y="486"/>
                    </a:lnTo>
                    <a:lnTo>
                      <a:pt x="934" y="486"/>
                    </a:lnTo>
                    <a:lnTo>
                      <a:pt x="934" y="486"/>
                    </a:lnTo>
                    <a:lnTo>
                      <a:pt x="936" y="486"/>
                    </a:lnTo>
                    <a:lnTo>
                      <a:pt x="938" y="488"/>
                    </a:lnTo>
                    <a:lnTo>
                      <a:pt x="942" y="488"/>
                    </a:lnTo>
                    <a:lnTo>
                      <a:pt x="942" y="488"/>
                    </a:lnTo>
                    <a:lnTo>
                      <a:pt x="944" y="488"/>
                    </a:lnTo>
                    <a:lnTo>
                      <a:pt x="948" y="488"/>
                    </a:lnTo>
                    <a:lnTo>
                      <a:pt x="952" y="488"/>
                    </a:lnTo>
                    <a:lnTo>
                      <a:pt x="956" y="486"/>
                    </a:lnTo>
                    <a:lnTo>
                      <a:pt x="956" y="486"/>
                    </a:lnTo>
                    <a:lnTo>
                      <a:pt x="956" y="486"/>
                    </a:lnTo>
                    <a:lnTo>
                      <a:pt x="960" y="486"/>
                    </a:lnTo>
                    <a:lnTo>
                      <a:pt x="964" y="484"/>
                    </a:lnTo>
                    <a:lnTo>
                      <a:pt x="964" y="484"/>
                    </a:lnTo>
                    <a:lnTo>
                      <a:pt x="964" y="484"/>
                    </a:lnTo>
                    <a:lnTo>
                      <a:pt x="966" y="484"/>
                    </a:lnTo>
                    <a:lnTo>
                      <a:pt x="966" y="484"/>
                    </a:lnTo>
                    <a:lnTo>
                      <a:pt x="966" y="482"/>
                    </a:lnTo>
                    <a:lnTo>
                      <a:pt x="966" y="482"/>
                    </a:lnTo>
                    <a:lnTo>
                      <a:pt x="966" y="482"/>
                    </a:lnTo>
                    <a:lnTo>
                      <a:pt x="968" y="480"/>
                    </a:lnTo>
                    <a:lnTo>
                      <a:pt x="968" y="480"/>
                    </a:lnTo>
                    <a:lnTo>
                      <a:pt x="968" y="478"/>
                    </a:lnTo>
                    <a:lnTo>
                      <a:pt x="968" y="478"/>
                    </a:lnTo>
                    <a:lnTo>
                      <a:pt x="970" y="476"/>
                    </a:lnTo>
                    <a:lnTo>
                      <a:pt x="972" y="476"/>
                    </a:lnTo>
                    <a:lnTo>
                      <a:pt x="972" y="476"/>
                    </a:lnTo>
                    <a:lnTo>
                      <a:pt x="976" y="476"/>
                    </a:lnTo>
                    <a:lnTo>
                      <a:pt x="980" y="476"/>
                    </a:lnTo>
                    <a:lnTo>
                      <a:pt x="982" y="476"/>
                    </a:lnTo>
                    <a:lnTo>
                      <a:pt x="986" y="476"/>
                    </a:lnTo>
                    <a:lnTo>
                      <a:pt x="988" y="476"/>
                    </a:lnTo>
                    <a:lnTo>
                      <a:pt x="990" y="478"/>
                    </a:lnTo>
                    <a:lnTo>
                      <a:pt x="992" y="480"/>
                    </a:lnTo>
                    <a:lnTo>
                      <a:pt x="992" y="482"/>
                    </a:lnTo>
                    <a:lnTo>
                      <a:pt x="994" y="484"/>
                    </a:lnTo>
                    <a:lnTo>
                      <a:pt x="994" y="488"/>
                    </a:lnTo>
                    <a:lnTo>
                      <a:pt x="994" y="488"/>
                    </a:lnTo>
                    <a:lnTo>
                      <a:pt x="994" y="488"/>
                    </a:lnTo>
                    <a:lnTo>
                      <a:pt x="996" y="490"/>
                    </a:lnTo>
                    <a:lnTo>
                      <a:pt x="996" y="490"/>
                    </a:lnTo>
                    <a:lnTo>
                      <a:pt x="996" y="490"/>
                    </a:lnTo>
                    <a:lnTo>
                      <a:pt x="996" y="492"/>
                    </a:lnTo>
                    <a:lnTo>
                      <a:pt x="996" y="492"/>
                    </a:lnTo>
                    <a:lnTo>
                      <a:pt x="998" y="494"/>
                    </a:lnTo>
                    <a:lnTo>
                      <a:pt x="1002" y="496"/>
                    </a:lnTo>
                    <a:lnTo>
                      <a:pt x="1004" y="498"/>
                    </a:lnTo>
                    <a:lnTo>
                      <a:pt x="1006" y="500"/>
                    </a:lnTo>
                    <a:lnTo>
                      <a:pt x="1008" y="502"/>
                    </a:lnTo>
                    <a:lnTo>
                      <a:pt x="1010" y="506"/>
                    </a:lnTo>
                    <a:lnTo>
                      <a:pt x="1012" y="508"/>
                    </a:lnTo>
                    <a:lnTo>
                      <a:pt x="1014" y="510"/>
                    </a:lnTo>
                    <a:lnTo>
                      <a:pt x="1018" y="516"/>
                    </a:lnTo>
                    <a:lnTo>
                      <a:pt x="1024" y="518"/>
                    </a:lnTo>
                    <a:lnTo>
                      <a:pt x="1024" y="520"/>
                    </a:lnTo>
                    <a:lnTo>
                      <a:pt x="1024" y="522"/>
                    </a:lnTo>
                    <a:lnTo>
                      <a:pt x="1024" y="522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6"/>
                    </a:lnTo>
                    <a:lnTo>
                      <a:pt x="1024" y="528"/>
                    </a:lnTo>
                    <a:lnTo>
                      <a:pt x="1024" y="528"/>
                    </a:lnTo>
                    <a:lnTo>
                      <a:pt x="1026" y="528"/>
                    </a:lnTo>
                    <a:lnTo>
                      <a:pt x="1028" y="528"/>
                    </a:lnTo>
                    <a:lnTo>
                      <a:pt x="1028" y="528"/>
                    </a:lnTo>
                    <a:lnTo>
                      <a:pt x="1028" y="530"/>
                    </a:lnTo>
                    <a:lnTo>
                      <a:pt x="1028" y="530"/>
                    </a:lnTo>
                    <a:lnTo>
                      <a:pt x="1030" y="530"/>
                    </a:lnTo>
                    <a:lnTo>
                      <a:pt x="1034" y="532"/>
                    </a:lnTo>
                    <a:lnTo>
                      <a:pt x="1038" y="534"/>
                    </a:lnTo>
                    <a:lnTo>
                      <a:pt x="1044" y="534"/>
                    </a:lnTo>
                    <a:lnTo>
                      <a:pt x="1046" y="536"/>
                    </a:lnTo>
                    <a:lnTo>
                      <a:pt x="1050" y="540"/>
                    </a:lnTo>
                    <a:lnTo>
                      <a:pt x="1050" y="540"/>
                    </a:lnTo>
                    <a:lnTo>
                      <a:pt x="1050" y="540"/>
                    </a:lnTo>
                    <a:lnTo>
                      <a:pt x="1052" y="542"/>
                    </a:lnTo>
                    <a:lnTo>
                      <a:pt x="1052" y="542"/>
                    </a:lnTo>
                    <a:lnTo>
                      <a:pt x="1052" y="542"/>
                    </a:lnTo>
                    <a:lnTo>
                      <a:pt x="1056" y="544"/>
                    </a:lnTo>
                    <a:lnTo>
                      <a:pt x="1056" y="544"/>
                    </a:lnTo>
                    <a:lnTo>
                      <a:pt x="1056" y="544"/>
                    </a:lnTo>
                    <a:lnTo>
                      <a:pt x="1058" y="544"/>
                    </a:lnTo>
                    <a:lnTo>
                      <a:pt x="1058" y="544"/>
                    </a:lnTo>
                    <a:lnTo>
                      <a:pt x="1060" y="546"/>
                    </a:lnTo>
                    <a:lnTo>
                      <a:pt x="1060" y="548"/>
                    </a:lnTo>
                    <a:lnTo>
                      <a:pt x="1062" y="548"/>
                    </a:lnTo>
                    <a:lnTo>
                      <a:pt x="1062" y="548"/>
                    </a:lnTo>
                    <a:lnTo>
                      <a:pt x="1062" y="550"/>
                    </a:lnTo>
                    <a:lnTo>
                      <a:pt x="1064" y="550"/>
                    </a:lnTo>
                    <a:lnTo>
                      <a:pt x="1064" y="550"/>
                    </a:lnTo>
                    <a:lnTo>
                      <a:pt x="1064" y="550"/>
                    </a:lnTo>
                    <a:lnTo>
                      <a:pt x="1066" y="552"/>
                    </a:lnTo>
                    <a:lnTo>
                      <a:pt x="1066" y="552"/>
                    </a:lnTo>
                    <a:lnTo>
                      <a:pt x="1066" y="552"/>
                    </a:lnTo>
                    <a:lnTo>
                      <a:pt x="1068" y="552"/>
                    </a:lnTo>
                    <a:lnTo>
                      <a:pt x="1070" y="552"/>
                    </a:lnTo>
                    <a:lnTo>
                      <a:pt x="1072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6" y="554"/>
                    </a:lnTo>
                    <a:lnTo>
                      <a:pt x="1076" y="554"/>
                    </a:lnTo>
                    <a:lnTo>
                      <a:pt x="1076" y="554"/>
                    </a:lnTo>
                    <a:lnTo>
                      <a:pt x="1078" y="556"/>
                    </a:lnTo>
                    <a:lnTo>
                      <a:pt x="1082" y="556"/>
                    </a:lnTo>
                    <a:lnTo>
                      <a:pt x="1086" y="556"/>
                    </a:lnTo>
                    <a:lnTo>
                      <a:pt x="1088" y="556"/>
                    </a:lnTo>
                    <a:lnTo>
                      <a:pt x="1090" y="558"/>
                    </a:lnTo>
                    <a:lnTo>
                      <a:pt x="1092" y="558"/>
                    </a:lnTo>
                    <a:lnTo>
                      <a:pt x="1094" y="558"/>
                    </a:lnTo>
                    <a:lnTo>
                      <a:pt x="1094" y="558"/>
                    </a:lnTo>
                    <a:lnTo>
                      <a:pt x="1094" y="558"/>
                    </a:lnTo>
                    <a:lnTo>
                      <a:pt x="1096" y="558"/>
                    </a:lnTo>
                    <a:lnTo>
                      <a:pt x="1096" y="558"/>
                    </a:lnTo>
                    <a:lnTo>
                      <a:pt x="1096" y="558"/>
                    </a:lnTo>
                    <a:lnTo>
                      <a:pt x="1098" y="556"/>
                    </a:lnTo>
                    <a:lnTo>
                      <a:pt x="1098" y="556"/>
                    </a:lnTo>
                    <a:lnTo>
                      <a:pt x="1098" y="554"/>
                    </a:lnTo>
                    <a:lnTo>
                      <a:pt x="1098" y="554"/>
                    </a:lnTo>
                    <a:lnTo>
                      <a:pt x="1098" y="554"/>
                    </a:lnTo>
                    <a:lnTo>
                      <a:pt x="1098" y="552"/>
                    </a:lnTo>
                    <a:lnTo>
                      <a:pt x="1096" y="550"/>
                    </a:lnTo>
                    <a:lnTo>
                      <a:pt x="1094" y="550"/>
                    </a:lnTo>
                    <a:lnTo>
                      <a:pt x="1092" y="548"/>
                    </a:lnTo>
                    <a:lnTo>
                      <a:pt x="1088" y="544"/>
                    </a:lnTo>
                    <a:lnTo>
                      <a:pt x="1084" y="540"/>
                    </a:lnTo>
                    <a:lnTo>
                      <a:pt x="1080" y="536"/>
                    </a:lnTo>
                    <a:lnTo>
                      <a:pt x="1076" y="534"/>
                    </a:lnTo>
                    <a:lnTo>
                      <a:pt x="1074" y="532"/>
                    </a:lnTo>
                    <a:lnTo>
                      <a:pt x="1074" y="530"/>
                    </a:lnTo>
                    <a:lnTo>
                      <a:pt x="1072" y="528"/>
                    </a:lnTo>
                    <a:lnTo>
                      <a:pt x="1072" y="526"/>
                    </a:lnTo>
                    <a:lnTo>
                      <a:pt x="1070" y="524"/>
                    </a:lnTo>
                    <a:lnTo>
                      <a:pt x="1070" y="524"/>
                    </a:lnTo>
                    <a:lnTo>
                      <a:pt x="1070" y="524"/>
                    </a:lnTo>
                    <a:lnTo>
                      <a:pt x="1068" y="522"/>
                    </a:lnTo>
                    <a:lnTo>
                      <a:pt x="1066" y="522"/>
                    </a:lnTo>
                    <a:lnTo>
                      <a:pt x="1066" y="518"/>
                    </a:lnTo>
                    <a:lnTo>
                      <a:pt x="1064" y="516"/>
                    </a:lnTo>
                    <a:lnTo>
                      <a:pt x="1062" y="514"/>
                    </a:lnTo>
                    <a:lnTo>
                      <a:pt x="1062" y="512"/>
                    </a:lnTo>
                    <a:lnTo>
                      <a:pt x="1062" y="512"/>
                    </a:lnTo>
                    <a:lnTo>
                      <a:pt x="1062" y="512"/>
                    </a:lnTo>
                    <a:lnTo>
                      <a:pt x="1064" y="512"/>
                    </a:lnTo>
                    <a:lnTo>
                      <a:pt x="1068" y="512"/>
                    </a:lnTo>
                    <a:lnTo>
                      <a:pt x="1074" y="514"/>
                    </a:lnTo>
                    <a:lnTo>
                      <a:pt x="1080" y="514"/>
                    </a:lnTo>
                    <a:lnTo>
                      <a:pt x="1080" y="516"/>
                    </a:lnTo>
                    <a:lnTo>
                      <a:pt x="1082" y="518"/>
                    </a:lnTo>
                    <a:lnTo>
                      <a:pt x="1086" y="522"/>
                    </a:lnTo>
                    <a:lnTo>
                      <a:pt x="1088" y="524"/>
                    </a:lnTo>
                    <a:lnTo>
                      <a:pt x="1090" y="526"/>
                    </a:lnTo>
                    <a:lnTo>
                      <a:pt x="1090" y="526"/>
                    </a:lnTo>
                    <a:lnTo>
                      <a:pt x="1092" y="528"/>
                    </a:lnTo>
                    <a:lnTo>
                      <a:pt x="1092" y="528"/>
                    </a:lnTo>
                    <a:lnTo>
                      <a:pt x="1092" y="528"/>
                    </a:lnTo>
                    <a:lnTo>
                      <a:pt x="1094" y="530"/>
                    </a:lnTo>
                    <a:lnTo>
                      <a:pt x="1094" y="530"/>
                    </a:lnTo>
                    <a:lnTo>
                      <a:pt x="1096" y="530"/>
                    </a:lnTo>
                    <a:lnTo>
                      <a:pt x="1098" y="532"/>
                    </a:lnTo>
                    <a:lnTo>
                      <a:pt x="1098" y="532"/>
                    </a:lnTo>
                    <a:lnTo>
                      <a:pt x="1098" y="532"/>
                    </a:lnTo>
                    <a:lnTo>
                      <a:pt x="1100" y="532"/>
                    </a:lnTo>
                    <a:lnTo>
                      <a:pt x="1100" y="532"/>
                    </a:lnTo>
                    <a:lnTo>
                      <a:pt x="1102" y="532"/>
                    </a:lnTo>
                    <a:lnTo>
                      <a:pt x="1104" y="532"/>
                    </a:lnTo>
                    <a:lnTo>
                      <a:pt x="1104" y="532"/>
                    </a:lnTo>
                    <a:lnTo>
                      <a:pt x="1104" y="532"/>
                    </a:lnTo>
                    <a:lnTo>
                      <a:pt x="1106" y="530"/>
                    </a:lnTo>
                    <a:lnTo>
                      <a:pt x="1106" y="530"/>
                    </a:lnTo>
                    <a:lnTo>
                      <a:pt x="1106" y="530"/>
                    </a:lnTo>
                    <a:lnTo>
                      <a:pt x="1108" y="528"/>
                    </a:lnTo>
                    <a:lnTo>
                      <a:pt x="1108" y="528"/>
                    </a:lnTo>
                    <a:lnTo>
                      <a:pt x="1108" y="528"/>
                    </a:lnTo>
                    <a:lnTo>
                      <a:pt x="1110" y="524"/>
                    </a:lnTo>
                    <a:lnTo>
                      <a:pt x="1110" y="524"/>
                    </a:lnTo>
                    <a:lnTo>
                      <a:pt x="1110" y="524"/>
                    </a:lnTo>
                    <a:lnTo>
                      <a:pt x="1112" y="520"/>
                    </a:lnTo>
                    <a:lnTo>
                      <a:pt x="1112" y="518"/>
                    </a:lnTo>
                    <a:lnTo>
                      <a:pt x="1114" y="514"/>
                    </a:lnTo>
                    <a:lnTo>
                      <a:pt x="1114" y="512"/>
                    </a:lnTo>
                    <a:lnTo>
                      <a:pt x="1116" y="508"/>
                    </a:lnTo>
                    <a:lnTo>
                      <a:pt x="1116" y="508"/>
                    </a:lnTo>
                    <a:lnTo>
                      <a:pt x="1116" y="506"/>
                    </a:lnTo>
                    <a:lnTo>
                      <a:pt x="1114" y="504"/>
                    </a:lnTo>
                    <a:lnTo>
                      <a:pt x="1114" y="504"/>
                    </a:lnTo>
                    <a:lnTo>
                      <a:pt x="1114" y="502"/>
                    </a:lnTo>
                    <a:lnTo>
                      <a:pt x="1114" y="500"/>
                    </a:lnTo>
                    <a:lnTo>
                      <a:pt x="1114" y="500"/>
                    </a:lnTo>
                    <a:lnTo>
                      <a:pt x="1114" y="498"/>
                    </a:lnTo>
                    <a:lnTo>
                      <a:pt x="1112" y="496"/>
                    </a:lnTo>
                    <a:lnTo>
                      <a:pt x="1110" y="494"/>
                    </a:lnTo>
                    <a:lnTo>
                      <a:pt x="1108" y="490"/>
                    </a:lnTo>
                    <a:lnTo>
                      <a:pt x="1104" y="486"/>
                    </a:lnTo>
                    <a:lnTo>
                      <a:pt x="1102" y="486"/>
                    </a:lnTo>
                    <a:lnTo>
                      <a:pt x="1100" y="484"/>
                    </a:lnTo>
                    <a:lnTo>
                      <a:pt x="1098" y="484"/>
                    </a:lnTo>
                    <a:lnTo>
                      <a:pt x="1096" y="476"/>
                    </a:lnTo>
                    <a:lnTo>
                      <a:pt x="1094" y="472"/>
                    </a:lnTo>
                    <a:lnTo>
                      <a:pt x="1090" y="470"/>
                    </a:lnTo>
                    <a:lnTo>
                      <a:pt x="1090" y="464"/>
                    </a:lnTo>
                    <a:lnTo>
                      <a:pt x="1090" y="460"/>
                    </a:lnTo>
                    <a:lnTo>
                      <a:pt x="1088" y="458"/>
                    </a:lnTo>
                    <a:lnTo>
                      <a:pt x="1088" y="458"/>
                    </a:lnTo>
                    <a:lnTo>
                      <a:pt x="1088" y="456"/>
                    </a:lnTo>
                    <a:lnTo>
                      <a:pt x="1086" y="454"/>
                    </a:lnTo>
                    <a:lnTo>
                      <a:pt x="1086" y="454"/>
                    </a:lnTo>
                    <a:lnTo>
                      <a:pt x="1086" y="454"/>
                    </a:lnTo>
                    <a:lnTo>
                      <a:pt x="1084" y="452"/>
                    </a:lnTo>
                    <a:lnTo>
                      <a:pt x="1084" y="452"/>
                    </a:lnTo>
                    <a:lnTo>
                      <a:pt x="1084" y="452"/>
                    </a:lnTo>
                    <a:lnTo>
                      <a:pt x="1082" y="450"/>
                    </a:lnTo>
                    <a:lnTo>
                      <a:pt x="1078" y="448"/>
                    </a:lnTo>
                    <a:lnTo>
                      <a:pt x="1076" y="446"/>
                    </a:lnTo>
                    <a:lnTo>
                      <a:pt x="1074" y="442"/>
                    </a:lnTo>
                    <a:lnTo>
                      <a:pt x="1072" y="440"/>
                    </a:lnTo>
                    <a:lnTo>
                      <a:pt x="1070" y="438"/>
                    </a:lnTo>
                    <a:lnTo>
                      <a:pt x="1070" y="434"/>
                    </a:lnTo>
                    <a:lnTo>
                      <a:pt x="1070" y="432"/>
                    </a:lnTo>
                    <a:lnTo>
                      <a:pt x="1070" y="428"/>
                    </a:lnTo>
                    <a:lnTo>
                      <a:pt x="1072" y="428"/>
                    </a:lnTo>
                    <a:lnTo>
                      <a:pt x="1072" y="426"/>
                    </a:lnTo>
                    <a:lnTo>
                      <a:pt x="1072" y="426"/>
                    </a:lnTo>
                    <a:lnTo>
                      <a:pt x="1074" y="424"/>
                    </a:lnTo>
                    <a:lnTo>
                      <a:pt x="1074" y="422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2"/>
                    </a:lnTo>
                    <a:lnTo>
                      <a:pt x="1076" y="412"/>
                    </a:lnTo>
                    <a:lnTo>
                      <a:pt x="1076" y="410"/>
                    </a:lnTo>
                    <a:lnTo>
                      <a:pt x="1078" y="410"/>
                    </a:lnTo>
                    <a:lnTo>
                      <a:pt x="1082" y="412"/>
                    </a:lnTo>
                    <a:lnTo>
                      <a:pt x="1084" y="412"/>
                    </a:lnTo>
                    <a:lnTo>
                      <a:pt x="1086" y="412"/>
                    </a:lnTo>
                    <a:lnTo>
                      <a:pt x="1088" y="414"/>
                    </a:lnTo>
                    <a:lnTo>
                      <a:pt x="1090" y="416"/>
                    </a:lnTo>
                    <a:lnTo>
                      <a:pt x="1094" y="418"/>
                    </a:lnTo>
                    <a:lnTo>
                      <a:pt x="1096" y="420"/>
                    </a:lnTo>
                    <a:lnTo>
                      <a:pt x="1098" y="422"/>
                    </a:lnTo>
                    <a:lnTo>
                      <a:pt x="1100" y="422"/>
                    </a:lnTo>
                    <a:lnTo>
                      <a:pt x="1104" y="424"/>
                    </a:lnTo>
                    <a:lnTo>
                      <a:pt x="1106" y="426"/>
                    </a:lnTo>
                    <a:lnTo>
                      <a:pt x="1106" y="428"/>
                    </a:lnTo>
                    <a:lnTo>
                      <a:pt x="1108" y="432"/>
                    </a:lnTo>
                    <a:lnTo>
                      <a:pt x="1108" y="432"/>
                    </a:lnTo>
                    <a:lnTo>
                      <a:pt x="1110" y="432"/>
                    </a:lnTo>
                    <a:lnTo>
                      <a:pt x="1112" y="436"/>
                    </a:lnTo>
                    <a:lnTo>
                      <a:pt x="1112" y="436"/>
                    </a:lnTo>
                    <a:lnTo>
                      <a:pt x="1112" y="436"/>
                    </a:lnTo>
                    <a:lnTo>
                      <a:pt x="1114" y="438"/>
                    </a:lnTo>
                    <a:lnTo>
                      <a:pt x="1118" y="440"/>
                    </a:lnTo>
                    <a:lnTo>
                      <a:pt x="1122" y="442"/>
                    </a:lnTo>
                    <a:lnTo>
                      <a:pt x="1124" y="444"/>
                    </a:lnTo>
                    <a:lnTo>
                      <a:pt x="1126" y="446"/>
                    </a:lnTo>
                    <a:lnTo>
                      <a:pt x="1128" y="448"/>
                    </a:lnTo>
                    <a:lnTo>
                      <a:pt x="1128" y="452"/>
                    </a:lnTo>
                    <a:lnTo>
                      <a:pt x="1128" y="452"/>
                    </a:lnTo>
                    <a:lnTo>
                      <a:pt x="1132" y="452"/>
                    </a:lnTo>
                    <a:lnTo>
                      <a:pt x="1132" y="452"/>
                    </a:lnTo>
                    <a:lnTo>
                      <a:pt x="1134" y="452"/>
                    </a:lnTo>
                    <a:lnTo>
                      <a:pt x="1136" y="448"/>
                    </a:lnTo>
                    <a:lnTo>
                      <a:pt x="1138" y="444"/>
                    </a:lnTo>
                    <a:lnTo>
                      <a:pt x="1142" y="438"/>
                    </a:lnTo>
                    <a:lnTo>
                      <a:pt x="1142" y="438"/>
                    </a:lnTo>
                    <a:lnTo>
                      <a:pt x="1144" y="436"/>
                    </a:lnTo>
                    <a:lnTo>
                      <a:pt x="1144" y="430"/>
                    </a:lnTo>
                    <a:lnTo>
                      <a:pt x="1144" y="422"/>
                    </a:lnTo>
                    <a:lnTo>
                      <a:pt x="1142" y="414"/>
                    </a:lnTo>
                    <a:lnTo>
                      <a:pt x="1142" y="408"/>
                    </a:lnTo>
                    <a:lnTo>
                      <a:pt x="1142" y="408"/>
                    </a:lnTo>
                    <a:lnTo>
                      <a:pt x="1142" y="406"/>
                    </a:lnTo>
                    <a:lnTo>
                      <a:pt x="1140" y="400"/>
                    </a:lnTo>
                    <a:lnTo>
                      <a:pt x="1140" y="400"/>
                    </a:lnTo>
                    <a:lnTo>
                      <a:pt x="1138" y="400"/>
                    </a:lnTo>
                    <a:lnTo>
                      <a:pt x="1138" y="396"/>
                    </a:lnTo>
                    <a:lnTo>
                      <a:pt x="1136" y="394"/>
                    </a:lnTo>
                    <a:lnTo>
                      <a:pt x="1136" y="394"/>
                    </a:lnTo>
                    <a:lnTo>
                      <a:pt x="1134" y="394"/>
                    </a:lnTo>
                    <a:lnTo>
                      <a:pt x="1132" y="392"/>
                    </a:lnTo>
                    <a:lnTo>
                      <a:pt x="1132" y="392"/>
                    </a:lnTo>
                    <a:lnTo>
                      <a:pt x="1132" y="390"/>
                    </a:lnTo>
                    <a:lnTo>
                      <a:pt x="1130" y="388"/>
                    </a:lnTo>
                    <a:lnTo>
                      <a:pt x="1130" y="388"/>
                    </a:lnTo>
                    <a:lnTo>
                      <a:pt x="1128" y="388"/>
                    </a:lnTo>
                    <a:lnTo>
                      <a:pt x="1126" y="388"/>
                    </a:lnTo>
                    <a:lnTo>
                      <a:pt x="1126" y="388"/>
                    </a:lnTo>
                    <a:lnTo>
                      <a:pt x="1126" y="388"/>
                    </a:lnTo>
                    <a:lnTo>
                      <a:pt x="1122" y="386"/>
                    </a:lnTo>
                    <a:lnTo>
                      <a:pt x="1122" y="386"/>
                    </a:lnTo>
                    <a:lnTo>
                      <a:pt x="1120" y="382"/>
                    </a:lnTo>
                    <a:lnTo>
                      <a:pt x="1118" y="380"/>
                    </a:lnTo>
                    <a:lnTo>
                      <a:pt x="1118" y="378"/>
                    </a:lnTo>
                    <a:lnTo>
                      <a:pt x="1118" y="378"/>
                    </a:lnTo>
                    <a:lnTo>
                      <a:pt x="1118" y="378"/>
                    </a:lnTo>
                    <a:lnTo>
                      <a:pt x="1116" y="378"/>
                    </a:lnTo>
                    <a:lnTo>
                      <a:pt x="1116" y="376"/>
                    </a:lnTo>
                    <a:lnTo>
                      <a:pt x="1114" y="376"/>
                    </a:lnTo>
                    <a:lnTo>
                      <a:pt x="1110" y="374"/>
                    </a:lnTo>
                    <a:lnTo>
                      <a:pt x="1108" y="374"/>
                    </a:lnTo>
                    <a:lnTo>
                      <a:pt x="1108" y="374"/>
                    </a:lnTo>
                    <a:lnTo>
                      <a:pt x="1106" y="372"/>
                    </a:lnTo>
                    <a:lnTo>
                      <a:pt x="1100" y="364"/>
                    </a:lnTo>
                    <a:lnTo>
                      <a:pt x="1094" y="356"/>
                    </a:lnTo>
                    <a:lnTo>
                      <a:pt x="1086" y="348"/>
                    </a:lnTo>
                    <a:lnTo>
                      <a:pt x="1082" y="344"/>
                    </a:lnTo>
                    <a:lnTo>
                      <a:pt x="1078" y="340"/>
                    </a:lnTo>
                    <a:lnTo>
                      <a:pt x="1072" y="336"/>
                    </a:lnTo>
                    <a:lnTo>
                      <a:pt x="1068" y="334"/>
                    </a:lnTo>
                    <a:lnTo>
                      <a:pt x="1062" y="328"/>
                    </a:lnTo>
                    <a:lnTo>
                      <a:pt x="1058" y="326"/>
                    </a:lnTo>
                    <a:lnTo>
                      <a:pt x="1054" y="322"/>
                    </a:lnTo>
                    <a:lnTo>
                      <a:pt x="1052" y="318"/>
                    </a:lnTo>
                    <a:lnTo>
                      <a:pt x="1050" y="316"/>
                    </a:lnTo>
                    <a:lnTo>
                      <a:pt x="1050" y="314"/>
                    </a:lnTo>
                    <a:lnTo>
                      <a:pt x="1050" y="314"/>
                    </a:lnTo>
                    <a:lnTo>
                      <a:pt x="1050" y="314"/>
                    </a:lnTo>
                    <a:lnTo>
                      <a:pt x="1050" y="312"/>
                    </a:lnTo>
                    <a:lnTo>
                      <a:pt x="1050" y="312"/>
                    </a:lnTo>
                    <a:lnTo>
                      <a:pt x="1050" y="312"/>
                    </a:lnTo>
                    <a:lnTo>
                      <a:pt x="1050" y="310"/>
                    </a:lnTo>
                    <a:lnTo>
                      <a:pt x="1050" y="310"/>
                    </a:lnTo>
                    <a:lnTo>
                      <a:pt x="1050" y="308"/>
                    </a:lnTo>
                    <a:lnTo>
                      <a:pt x="1050" y="306"/>
                    </a:lnTo>
                    <a:lnTo>
                      <a:pt x="1050" y="306"/>
                    </a:lnTo>
                    <a:lnTo>
                      <a:pt x="1050" y="306"/>
                    </a:lnTo>
                    <a:lnTo>
                      <a:pt x="1048" y="304"/>
                    </a:lnTo>
                    <a:lnTo>
                      <a:pt x="1048" y="304"/>
                    </a:lnTo>
                    <a:lnTo>
                      <a:pt x="1048" y="304"/>
                    </a:lnTo>
                    <a:lnTo>
                      <a:pt x="1048" y="302"/>
                    </a:lnTo>
                    <a:lnTo>
                      <a:pt x="1048" y="302"/>
                    </a:lnTo>
                    <a:lnTo>
                      <a:pt x="1046" y="302"/>
                    </a:lnTo>
                    <a:lnTo>
                      <a:pt x="1044" y="300"/>
                    </a:lnTo>
                    <a:lnTo>
                      <a:pt x="1044" y="300"/>
                    </a:lnTo>
                    <a:lnTo>
                      <a:pt x="1044" y="300"/>
                    </a:lnTo>
                    <a:lnTo>
                      <a:pt x="1042" y="300"/>
                    </a:lnTo>
                    <a:lnTo>
                      <a:pt x="1040" y="298"/>
                    </a:lnTo>
                    <a:lnTo>
                      <a:pt x="1040" y="294"/>
                    </a:lnTo>
                    <a:lnTo>
                      <a:pt x="1038" y="292"/>
                    </a:lnTo>
                    <a:lnTo>
                      <a:pt x="1038" y="288"/>
                    </a:lnTo>
                    <a:lnTo>
                      <a:pt x="1038" y="286"/>
                    </a:lnTo>
                    <a:lnTo>
                      <a:pt x="1040" y="284"/>
                    </a:lnTo>
                    <a:lnTo>
                      <a:pt x="1040" y="280"/>
                    </a:lnTo>
                    <a:lnTo>
                      <a:pt x="1042" y="278"/>
                    </a:lnTo>
                    <a:lnTo>
                      <a:pt x="1046" y="272"/>
                    </a:lnTo>
                    <a:lnTo>
                      <a:pt x="1050" y="268"/>
                    </a:lnTo>
                    <a:lnTo>
                      <a:pt x="1054" y="262"/>
                    </a:lnTo>
                    <a:lnTo>
                      <a:pt x="1058" y="256"/>
                    </a:lnTo>
                    <a:lnTo>
                      <a:pt x="1058" y="256"/>
                    </a:lnTo>
                    <a:lnTo>
                      <a:pt x="1058" y="252"/>
                    </a:lnTo>
                    <a:lnTo>
                      <a:pt x="1056" y="250"/>
                    </a:lnTo>
                    <a:lnTo>
                      <a:pt x="1056" y="250"/>
                    </a:lnTo>
                    <a:lnTo>
                      <a:pt x="1054" y="250"/>
                    </a:lnTo>
                    <a:lnTo>
                      <a:pt x="1052" y="248"/>
                    </a:lnTo>
                    <a:lnTo>
                      <a:pt x="1052" y="248"/>
                    </a:lnTo>
                    <a:lnTo>
                      <a:pt x="1052" y="248"/>
                    </a:lnTo>
                    <a:lnTo>
                      <a:pt x="1050" y="246"/>
                    </a:lnTo>
                    <a:lnTo>
                      <a:pt x="1050" y="246"/>
                    </a:lnTo>
                    <a:lnTo>
                      <a:pt x="1048" y="246"/>
                    </a:lnTo>
                    <a:lnTo>
                      <a:pt x="1046" y="246"/>
                    </a:lnTo>
                    <a:lnTo>
                      <a:pt x="1046" y="246"/>
                    </a:lnTo>
                    <a:lnTo>
                      <a:pt x="1046" y="246"/>
                    </a:lnTo>
                    <a:lnTo>
                      <a:pt x="1044" y="248"/>
                    </a:lnTo>
                    <a:lnTo>
                      <a:pt x="1040" y="248"/>
                    </a:lnTo>
                    <a:lnTo>
                      <a:pt x="1034" y="250"/>
                    </a:lnTo>
                    <a:lnTo>
                      <a:pt x="1034" y="250"/>
                    </a:lnTo>
                    <a:lnTo>
                      <a:pt x="1034" y="250"/>
                    </a:lnTo>
                    <a:lnTo>
                      <a:pt x="1030" y="252"/>
                    </a:lnTo>
                    <a:lnTo>
                      <a:pt x="1030" y="252"/>
                    </a:lnTo>
                    <a:lnTo>
                      <a:pt x="1030" y="252"/>
                    </a:lnTo>
                    <a:lnTo>
                      <a:pt x="1028" y="254"/>
                    </a:lnTo>
                    <a:lnTo>
                      <a:pt x="1028" y="254"/>
                    </a:lnTo>
                    <a:lnTo>
                      <a:pt x="1028" y="256"/>
                    </a:lnTo>
                    <a:lnTo>
                      <a:pt x="1028" y="258"/>
                    </a:lnTo>
                    <a:lnTo>
                      <a:pt x="1026" y="260"/>
                    </a:lnTo>
                    <a:lnTo>
                      <a:pt x="1024" y="264"/>
                    </a:lnTo>
                    <a:lnTo>
                      <a:pt x="1022" y="266"/>
                    </a:lnTo>
                    <a:lnTo>
                      <a:pt x="1020" y="268"/>
                    </a:lnTo>
                    <a:lnTo>
                      <a:pt x="1020" y="268"/>
                    </a:lnTo>
                    <a:lnTo>
                      <a:pt x="1020" y="270"/>
                    </a:lnTo>
                    <a:lnTo>
                      <a:pt x="1020" y="270"/>
                    </a:lnTo>
                    <a:lnTo>
                      <a:pt x="1020" y="270"/>
                    </a:lnTo>
                    <a:lnTo>
                      <a:pt x="1018" y="268"/>
                    </a:lnTo>
                    <a:lnTo>
                      <a:pt x="1018" y="264"/>
                    </a:lnTo>
                    <a:lnTo>
                      <a:pt x="1016" y="260"/>
                    </a:lnTo>
                    <a:lnTo>
                      <a:pt x="1016" y="258"/>
                    </a:lnTo>
                    <a:lnTo>
                      <a:pt x="1016" y="258"/>
                    </a:lnTo>
                    <a:lnTo>
                      <a:pt x="1016" y="256"/>
                    </a:lnTo>
                    <a:lnTo>
                      <a:pt x="1014" y="254"/>
                    </a:lnTo>
                    <a:lnTo>
                      <a:pt x="1014" y="254"/>
                    </a:lnTo>
                    <a:lnTo>
                      <a:pt x="1014" y="252"/>
                    </a:lnTo>
                    <a:lnTo>
                      <a:pt x="1014" y="248"/>
                    </a:lnTo>
                    <a:lnTo>
                      <a:pt x="1014" y="246"/>
                    </a:lnTo>
                    <a:lnTo>
                      <a:pt x="1014" y="244"/>
                    </a:lnTo>
                    <a:lnTo>
                      <a:pt x="1014" y="242"/>
                    </a:lnTo>
                    <a:lnTo>
                      <a:pt x="1014" y="240"/>
                    </a:lnTo>
                    <a:lnTo>
                      <a:pt x="1016" y="238"/>
                    </a:lnTo>
                    <a:lnTo>
                      <a:pt x="1018" y="238"/>
                    </a:lnTo>
                    <a:lnTo>
                      <a:pt x="1018" y="238"/>
                    </a:lnTo>
                    <a:lnTo>
                      <a:pt x="1020" y="236"/>
                    </a:lnTo>
                    <a:lnTo>
                      <a:pt x="1022" y="234"/>
                    </a:lnTo>
                    <a:lnTo>
                      <a:pt x="1022" y="234"/>
                    </a:lnTo>
                    <a:lnTo>
                      <a:pt x="1022" y="232"/>
                    </a:lnTo>
                    <a:lnTo>
                      <a:pt x="1024" y="230"/>
                    </a:lnTo>
                    <a:lnTo>
                      <a:pt x="1024" y="230"/>
                    </a:lnTo>
                    <a:lnTo>
                      <a:pt x="1024" y="230"/>
                    </a:lnTo>
                    <a:lnTo>
                      <a:pt x="1026" y="226"/>
                    </a:lnTo>
                    <a:lnTo>
                      <a:pt x="1026" y="222"/>
                    </a:lnTo>
                    <a:lnTo>
                      <a:pt x="1026" y="222"/>
                    </a:lnTo>
                    <a:lnTo>
                      <a:pt x="1026" y="218"/>
                    </a:lnTo>
                    <a:lnTo>
                      <a:pt x="1024" y="216"/>
                    </a:lnTo>
                    <a:lnTo>
                      <a:pt x="1022" y="216"/>
                    </a:lnTo>
                    <a:lnTo>
                      <a:pt x="1022" y="214"/>
                    </a:lnTo>
                    <a:lnTo>
                      <a:pt x="1020" y="212"/>
                    </a:lnTo>
                    <a:lnTo>
                      <a:pt x="1020" y="212"/>
                    </a:lnTo>
                    <a:lnTo>
                      <a:pt x="1020" y="212"/>
                    </a:lnTo>
                    <a:lnTo>
                      <a:pt x="1020" y="210"/>
                    </a:lnTo>
                    <a:lnTo>
                      <a:pt x="1020" y="210"/>
                    </a:lnTo>
                    <a:lnTo>
                      <a:pt x="1018" y="210"/>
                    </a:lnTo>
                    <a:lnTo>
                      <a:pt x="1016" y="210"/>
                    </a:lnTo>
                    <a:lnTo>
                      <a:pt x="1016" y="210"/>
                    </a:lnTo>
                    <a:lnTo>
                      <a:pt x="1016" y="210"/>
                    </a:lnTo>
                    <a:lnTo>
                      <a:pt x="1014" y="210"/>
                    </a:lnTo>
                    <a:lnTo>
                      <a:pt x="1014" y="210"/>
                    </a:lnTo>
                    <a:lnTo>
                      <a:pt x="1014" y="210"/>
                    </a:lnTo>
                    <a:lnTo>
                      <a:pt x="1010" y="210"/>
                    </a:lnTo>
                    <a:lnTo>
                      <a:pt x="1010" y="210"/>
                    </a:lnTo>
                    <a:lnTo>
                      <a:pt x="1010" y="212"/>
                    </a:lnTo>
                    <a:lnTo>
                      <a:pt x="1006" y="214"/>
                    </a:lnTo>
                    <a:lnTo>
                      <a:pt x="1004" y="216"/>
                    </a:lnTo>
                    <a:lnTo>
                      <a:pt x="1000" y="222"/>
                    </a:lnTo>
                    <a:lnTo>
                      <a:pt x="996" y="226"/>
                    </a:lnTo>
                    <a:lnTo>
                      <a:pt x="994" y="228"/>
                    </a:lnTo>
                    <a:lnTo>
                      <a:pt x="992" y="230"/>
                    </a:lnTo>
                    <a:lnTo>
                      <a:pt x="992" y="230"/>
                    </a:lnTo>
                    <a:lnTo>
                      <a:pt x="990" y="232"/>
                    </a:lnTo>
                    <a:lnTo>
                      <a:pt x="990" y="234"/>
                    </a:lnTo>
                    <a:lnTo>
                      <a:pt x="990" y="234"/>
                    </a:lnTo>
                    <a:lnTo>
                      <a:pt x="990" y="234"/>
                    </a:lnTo>
                    <a:lnTo>
                      <a:pt x="988" y="234"/>
                    </a:lnTo>
                    <a:lnTo>
                      <a:pt x="986" y="234"/>
                    </a:lnTo>
                    <a:lnTo>
                      <a:pt x="984" y="232"/>
                    </a:lnTo>
                    <a:lnTo>
                      <a:pt x="982" y="232"/>
                    </a:lnTo>
                    <a:lnTo>
                      <a:pt x="980" y="230"/>
                    </a:lnTo>
                    <a:lnTo>
                      <a:pt x="980" y="228"/>
                    </a:lnTo>
                    <a:lnTo>
                      <a:pt x="978" y="226"/>
                    </a:lnTo>
                    <a:lnTo>
                      <a:pt x="978" y="226"/>
                    </a:lnTo>
                    <a:lnTo>
                      <a:pt x="976" y="224"/>
                    </a:lnTo>
                    <a:lnTo>
                      <a:pt x="972" y="220"/>
                    </a:lnTo>
                    <a:lnTo>
                      <a:pt x="970" y="218"/>
                    </a:lnTo>
                    <a:lnTo>
                      <a:pt x="970" y="216"/>
                    </a:lnTo>
                    <a:lnTo>
                      <a:pt x="970" y="214"/>
                    </a:lnTo>
                    <a:lnTo>
                      <a:pt x="968" y="210"/>
                    </a:lnTo>
                    <a:lnTo>
                      <a:pt x="968" y="210"/>
                    </a:lnTo>
                    <a:lnTo>
                      <a:pt x="968" y="210"/>
                    </a:lnTo>
                    <a:lnTo>
                      <a:pt x="968" y="208"/>
                    </a:lnTo>
                    <a:lnTo>
                      <a:pt x="968" y="208"/>
                    </a:lnTo>
                    <a:lnTo>
                      <a:pt x="968" y="208"/>
                    </a:lnTo>
                    <a:lnTo>
                      <a:pt x="966" y="206"/>
                    </a:lnTo>
                    <a:lnTo>
                      <a:pt x="966" y="206"/>
                    </a:lnTo>
                    <a:lnTo>
                      <a:pt x="966" y="206"/>
                    </a:lnTo>
                    <a:lnTo>
                      <a:pt x="964" y="204"/>
                    </a:lnTo>
                    <a:lnTo>
                      <a:pt x="962" y="202"/>
                    </a:lnTo>
                    <a:lnTo>
                      <a:pt x="962" y="202"/>
                    </a:lnTo>
                    <a:lnTo>
                      <a:pt x="962" y="198"/>
                    </a:lnTo>
                    <a:lnTo>
                      <a:pt x="964" y="196"/>
                    </a:lnTo>
                    <a:lnTo>
                      <a:pt x="964" y="194"/>
                    </a:lnTo>
                    <a:lnTo>
                      <a:pt x="964" y="192"/>
                    </a:lnTo>
                    <a:lnTo>
                      <a:pt x="966" y="192"/>
                    </a:lnTo>
                    <a:lnTo>
                      <a:pt x="968" y="190"/>
                    </a:lnTo>
                    <a:lnTo>
                      <a:pt x="968" y="190"/>
                    </a:lnTo>
                    <a:lnTo>
                      <a:pt x="968" y="188"/>
                    </a:lnTo>
                    <a:lnTo>
                      <a:pt x="970" y="186"/>
                    </a:lnTo>
                    <a:lnTo>
                      <a:pt x="970" y="186"/>
                    </a:lnTo>
                    <a:lnTo>
                      <a:pt x="970" y="184"/>
                    </a:lnTo>
                    <a:lnTo>
                      <a:pt x="972" y="182"/>
                    </a:lnTo>
                    <a:lnTo>
                      <a:pt x="972" y="182"/>
                    </a:lnTo>
                    <a:lnTo>
                      <a:pt x="972" y="180"/>
                    </a:lnTo>
                    <a:lnTo>
                      <a:pt x="972" y="178"/>
                    </a:lnTo>
                    <a:lnTo>
                      <a:pt x="972" y="178"/>
                    </a:lnTo>
                    <a:lnTo>
                      <a:pt x="972" y="176"/>
                    </a:lnTo>
                    <a:lnTo>
                      <a:pt x="970" y="174"/>
                    </a:lnTo>
                    <a:lnTo>
                      <a:pt x="970" y="174"/>
                    </a:lnTo>
                    <a:lnTo>
                      <a:pt x="970" y="174"/>
                    </a:lnTo>
                    <a:lnTo>
                      <a:pt x="968" y="170"/>
                    </a:lnTo>
                    <a:lnTo>
                      <a:pt x="968" y="170"/>
                    </a:lnTo>
                    <a:lnTo>
                      <a:pt x="968" y="170"/>
                    </a:lnTo>
                    <a:lnTo>
                      <a:pt x="966" y="168"/>
                    </a:lnTo>
                    <a:lnTo>
                      <a:pt x="966" y="168"/>
                    </a:lnTo>
                    <a:lnTo>
                      <a:pt x="966" y="168"/>
                    </a:lnTo>
                    <a:lnTo>
                      <a:pt x="962" y="164"/>
                    </a:lnTo>
                    <a:lnTo>
                      <a:pt x="960" y="162"/>
                    </a:lnTo>
                    <a:lnTo>
                      <a:pt x="958" y="160"/>
                    </a:lnTo>
                    <a:lnTo>
                      <a:pt x="954" y="156"/>
                    </a:lnTo>
                    <a:lnTo>
                      <a:pt x="950" y="152"/>
                    </a:lnTo>
                    <a:lnTo>
                      <a:pt x="950" y="152"/>
                    </a:lnTo>
                    <a:lnTo>
                      <a:pt x="948" y="152"/>
                    </a:lnTo>
                    <a:lnTo>
                      <a:pt x="946" y="150"/>
                    </a:lnTo>
                    <a:lnTo>
                      <a:pt x="946" y="150"/>
                    </a:lnTo>
                    <a:lnTo>
                      <a:pt x="946" y="150"/>
                    </a:lnTo>
                    <a:lnTo>
                      <a:pt x="944" y="150"/>
                    </a:lnTo>
                    <a:lnTo>
                      <a:pt x="942" y="148"/>
                    </a:lnTo>
                    <a:lnTo>
                      <a:pt x="942" y="148"/>
                    </a:lnTo>
                    <a:lnTo>
                      <a:pt x="942" y="148"/>
                    </a:lnTo>
                    <a:lnTo>
                      <a:pt x="940" y="148"/>
                    </a:lnTo>
                    <a:lnTo>
                      <a:pt x="940" y="148"/>
                    </a:lnTo>
                    <a:lnTo>
                      <a:pt x="938" y="148"/>
                    </a:lnTo>
                    <a:lnTo>
                      <a:pt x="936" y="148"/>
                    </a:lnTo>
                    <a:lnTo>
                      <a:pt x="936" y="148"/>
                    </a:lnTo>
                    <a:lnTo>
                      <a:pt x="936" y="148"/>
                    </a:lnTo>
                    <a:lnTo>
                      <a:pt x="934" y="148"/>
                    </a:lnTo>
                    <a:lnTo>
                      <a:pt x="934" y="148"/>
                    </a:lnTo>
                    <a:lnTo>
                      <a:pt x="934" y="148"/>
                    </a:lnTo>
                    <a:lnTo>
                      <a:pt x="930" y="150"/>
                    </a:lnTo>
                    <a:lnTo>
                      <a:pt x="930" y="150"/>
                    </a:lnTo>
                    <a:lnTo>
                      <a:pt x="930" y="150"/>
                    </a:lnTo>
                    <a:lnTo>
                      <a:pt x="926" y="152"/>
                    </a:lnTo>
                    <a:lnTo>
                      <a:pt x="926" y="152"/>
                    </a:lnTo>
                    <a:lnTo>
                      <a:pt x="924" y="154"/>
                    </a:lnTo>
                    <a:lnTo>
                      <a:pt x="924" y="156"/>
                    </a:lnTo>
                    <a:lnTo>
                      <a:pt x="922" y="160"/>
                    </a:lnTo>
                    <a:lnTo>
                      <a:pt x="922" y="160"/>
                    </a:lnTo>
                    <a:lnTo>
                      <a:pt x="922" y="160"/>
                    </a:lnTo>
                    <a:lnTo>
                      <a:pt x="922" y="162"/>
                    </a:lnTo>
                    <a:lnTo>
                      <a:pt x="922" y="162"/>
                    </a:lnTo>
                    <a:lnTo>
                      <a:pt x="922" y="162"/>
                    </a:lnTo>
                    <a:lnTo>
                      <a:pt x="922" y="164"/>
                    </a:lnTo>
                    <a:lnTo>
                      <a:pt x="922" y="164"/>
                    </a:lnTo>
                    <a:lnTo>
                      <a:pt x="922" y="166"/>
                    </a:lnTo>
                    <a:lnTo>
                      <a:pt x="922" y="168"/>
                    </a:lnTo>
                    <a:lnTo>
                      <a:pt x="922" y="168"/>
                    </a:lnTo>
                    <a:lnTo>
                      <a:pt x="922" y="168"/>
                    </a:lnTo>
                    <a:lnTo>
                      <a:pt x="924" y="170"/>
                    </a:lnTo>
                    <a:lnTo>
                      <a:pt x="924" y="170"/>
                    </a:lnTo>
                    <a:lnTo>
                      <a:pt x="924" y="172"/>
                    </a:lnTo>
                    <a:lnTo>
                      <a:pt x="926" y="172"/>
                    </a:lnTo>
                    <a:lnTo>
                      <a:pt x="926" y="172"/>
                    </a:lnTo>
                    <a:lnTo>
                      <a:pt x="928" y="172"/>
                    </a:lnTo>
                    <a:lnTo>
                      <a:pt x="930" y="174"/>
                    </a:lnTo>
                    <a:lnTo>
                      <a:pt x="932" y="174"/>
                    </a:lnTo>
                    <a:lnTo>
                      <a:pt x="932" y="174"/>
                    </a:lnTo>
                    <a:lnTo>
                      <a:pt x="932" y="174"/>
                    </a:lnTo>
                    <a:lnTo>
                      <a:pt x="932" y="176"/>
                    </a:lnTo>
                    <a:lnTo>
                      <a:pt x="932" y="176"/>
                    </a:lnTo>
                    <a:lnTo>
                      <a:pt x="932" y="178"/>
                    </a:lnTo>
                    <a:lnTo>
                      <a:pt x="930" y="180"/>
                    </a:lnTo>
                    <a:lnTo>
                      <a:pt x="928" y="182"/>
                    </a:lnTo>
                    <a:lnTo>
                      <a:pt x="926" y="184"/>
                    </a:lnTo>
                    <a:lnTo>
                      <a:pt x="926" y="184"/>
                    </a:lnTo>
                    <a:lnTo>
                      <a:pt x="924" y="186"/>
                    </a:lnTo>
                    <a:lnTo>
                      <a:pt x="924" y="190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2" y="192"/>
                    </a:lnTo>
                    <a:lnTo>
                      <a:pt x="920" y="192"/>
                    </a:lnTo>
                    <a:lnTo>
                      <a:pt x="918" y="188"/>
                    </a:lnTo>
                    <a:lnTo>
                      <a:pt x="918" y="188"/>
                    </a:lnTo>
                    <a:lnTo>
                      <a:pt x="918" y="188"/>
                    </a:lnTo>
                    <a:lnTo>
                      <a:pt x="914" y="184"/>
                    </a:lnTo>
                    <a:lnTo>
                      <a:pt x="914" y="184"/>
                    </a:lnTo>
                    <a:lnTo>
                      <a:pt x="914" y="184"/>
                    </a:lnTo>
                    <a:lnTo>
                      <a:pt x="910" y="180"/>
                    </a:lnTo>
                    <a:lnTo>
                      <a:pt x="906" y="178"/>
                    </a:lnTo>
                    <a:lnTo>
                      <a:pt x="906" y="176"/>
                    </a:lnTo>
                    <a:lnTo>
                      <a:pt x="904" y="176"/>
                    </a:lnTo>
                    <a:lnTo>
                      <a:pt x="904" y="176"/>
                    </a:lnTo>
                    <a:lnTo>
                      <a:pt x="904" y="174"/>
                    </a:lnTo>
                    <a:lnTo>
                      <a:pt x="904" y="174"/>
                    </a:lnTo>
                    <a:lnTo>
                      <a:pt x="904" y="174"/>
                    </a:lnTo>
                    <a:lnTo>
                      <a:pt x="900" y="174"/>
                    </a:lnTo>
                    <a:lnTo>
                      <a:pt x="898" y="174"/>
                    </a:lnTo>
                    <a:lnTo>
                      <a:pt x="898" y="174"/>
                    </a:lnTo>
                    <a:lnTo>
                      <a:pt x="898" y="174"/>
                    </a:lnTo>
                    <a:lnTo>
                      <a:pt x="896" y="176"/>
                    </a:lnTo>
                    <a:lnTo>
                      <a:pt x="896" y="176"/>
                    </a:lnTo>
                    <a:lnTo>
                      <a:pt x="896" y="176"/>
                    </a:lnTo>
                    <a:lnTo>
                      <a:pt x="892" y="178"/>
                    </a:lnTo>
                    <a:lnTo>
                      <a:pt x="890" y="180"/>
                    </a:lnTo>
                    <a:lnTo>
                      <a:pt x="888" y="182"/>
                    </a:lnTo>
                    <a:lnTo>
                      <a:pt x="888" y="184"/>
                    </a:lnTo>
                    <a:lnTo>
                      <a:pt x="886" y="184"/>
                    </a:lnTo>
                    <a:lnTo>
                      <a:pt x="886" y="184"/>
                    </a:lnTo>
                    <a:lnTo>
                      <a:pt x="886" y="184"/>
                    </a:lnTo>
                    <a:lnTo>
                      <a:pt x="884" y="190"/>
                    </a:lnTo>
                    <a:lnTo>
                      <a:pt x="884" y="192"/>
                    </a:lnTo>
                    <a:lnTo>
                      <a:pt x="882" y="190"/>
                    </a:lnTo>
                    <a:lnTo>
                      <a:pt x="880" y="186"/>
                    </a:lnTo>
                    <a:lnTo>
                      <a:pt x="880" y="184"/>
                    </a:lnTo>
                    <a:lnTo>
                      <a:pt x="882" y="184"/>
                    </a:lnTo>
                    <a:lnTo>
                      <a:pt x="882" y="182"/>
                    </a:lnTo>
                    <a:lnTo>
                      <a:pt x="884" y="180"/>
                    </a:lnTo>
                    <a:lnTo>
                      <a:pt x="890" y="174"/>
                    </a:lnTo>
                    <a:lnTo>
                      <a:pt x="892" y="172"/>
                    </a:lnTo>
                    <a:lnTo>
                      <a:pt x="892" y="172"/>
                    </a:lnTo>
                    <a:lnTo>
                      <a:pt x="892" y="172"/>
                    </a:lnTo>
                    <a:lnTo>
                      <a:pt x="894" y="168"/>
                    </a:lnTo>
                    <a:lnTo>
                      <a:pt x="894" y="168"/>
                    </a:lnTo>
                    <a:lnTo>
                      <a:pt x="894" y="166"/>
                    </a:lnTo>
                    <a:lnTo>
                      <a:pt x="894" y="158"/>
                    </a:lnTo>
                    <a:lnTo>
                      <a:pt x="894" y="148"/>
                    </a:lnTo>
                    <a:lnTo>
                      <a:pt x="892" y="140"/>
                    </a:lnTo>
                    <a:lnTo>
                      <a:pt x="890" y="130"/>
                    </a:lnTo>
                    <a:lnTo>
                      <a:pt x="888" y="120"/>
                    </a:lnTo>
                    <a:lnTo>
                      <a:pt x="888" y="120"/>
                    </a:lnTo>
                    <a:lnTo>
                      <a:pt x="888" y="120"/>
                    </a:lnTo>
                    <a:lnTo>
                      <a:pt x="882" y="112"/>
                    </a:lnTo>
                    <a:lnTo>
                      <a:pt x="882" y="112"/>
                    </a:lnTo>
                    <a:lnTo>
                      <a:pt x="882" y="112"/>
                    </a:lnTo>
                    <a:lnTo>
                      <a:pt x="880" y="108"/>
                    </a:lnTo>
                    <a:lnTo>
                      <a:pt x="878" y="106"/>
                    </a:lnTo>
                    <a:lnTo>
                      <a:pt x="878" y="106"/>
                    </a:lnTo>
                    <a:lnTo>
                      <a:pt x="876" y="106"/>
                    </a:lnTo>
                    <a:lnTo>
                      <a:pt x="874" y="102"/>
                    </a:lnTo>
                    <a:lnTo>
                      <a:pt x="870" y="100"/>
                    </a:lnTo>
                    <a:lnTo>
                      <a:pt x="870" y="100"/>
                    </a:lnTo>
                    <a:lnTo>
                      <a:pt x="868" y="100"/>
                    </a:lnTo>
                    <a:lnTo>
                      <a:pt x="864" y="100"/>
                    </a:lnTo>
                    <a:lnTo>
                      <a:pt x="860" y="102"/>
                    </a:lnTo>
                    <a:lnTo>
                      <a:pt x="858" y="102"/>
                    </a:lnTo>
                    <a:lnTo>
                      <a:pt x="854" y="104"/>
                    </a:lnTo>
                    <a:lnTo>
                      <a:pt x="852" y="104"/>
                    </a:lnTo>
                    <a:lnTo>
                      <a:pt x="850" y="106"/>
                    </a:lnTo>
                    <a:lnTo>
                      <a:pt x="850" y="106"/>
                    </a:lnTo>
                    <a:lnTo>
                      <a:pt x="850" y="106"/>
                    </a:lnTo>
                    <a:lnTo>
                      <a:pt x="848" y="108"/>
                    </a:lnTo>
                    <a:lnTo>
                      <a:pt x="844" y="110"/>
                    </a:lnTo>
                    <a:lnTo>
                      <a:pt x="842" y="112"/>
                    </a:lnTo>
                    <a:lnTo>
                      <a:pt x="840" y="114"/>
                    </a:lnTo>
                    <a:lnTo>
                      <a:pt x="838" y="116"/>
                    </a:lnTo>
                    <a:lnTo>
                      <a:pt x="836" y="116"/>
                    </a:lnTo>
                    <a:lnTo>
                      <a:pt x="836" y="116"/>
                    </a:lnTo>
                    <a:lnTo>
                      <a:pt x="834" y="116"/>
                    </a:lnTo>
                    <a:lnTo>
                      <a:pt x="832" y="120"/>
                    </a:lnTo>
                    <a:lnTo>
                      <a:pt x="832" y="120"/>
                    </a:lnTo>
                    <a:lnTo>
                      <a:pt x="832" y="120"/>
                    </a:lnTo>
                    <a:lnTo>
                      <a:pt x="830" y="122"/>
                    </a:lnTo>
                    <a:lnTo>
                      <a:pt x="830" y="122"/>
                    </a:lnTo>
                    <a:lnTo>
                      <a:pt x="830" y="124"/>
                    </a:lnTo>
                    <a:lnTo>
                      <a:pt x="828" y="126"/>
                    </a:lnTo>
                    <a:lnTo>
                      <a:pt x="828" y="130"/>
                    </a:lnTo>
                    <a:lnTo>
                      <a:pt x="826" y="134"/>
                    </a:lnTo>
                    <a:lnTo>
                      <a:pt x="826" y="136"/>
                    </a:lnTo>
                    <a:lnTo>
                      <a:pt x="824" y="140"/>
                    </a:lnTo>
                    <a:lnTo>
                      <a:pt x="824" y="140"/>
                    </a:lnTo>
                    <a:lnTo>
                      <a:pt x="822" y="142"/>
                    </a:lnTo>
                    <a:lnTo>
                      <a:pt x="822" y="142"/>
                    </a:lnTo>
                    <a:lnTo>
                      <a:pt x="820" y="142"/>
                    </a:lnTo>
                    <a:lnTo>
                      <a:pt x="820" y="146"/>
                    </a:lnTo>
                    <a:lnTo>
                      <a:pt x="820" y="146"/>
                    </a:lnTo>
                    <a:lnTo>
                      <a:pt x="820" y="146"/>
                    </a:lnTo>
                    <a:lnTo>
                      <a:pt x="820" y="150"/>
                    </a:lnTo>
                    <a:lnTo>
                      <a:pt x="820" y="150"/>
                    </a:lnTo>
                    <a:lnTo>
                      <a:pt x="820" y="150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20" y="162"/>
                    </a:lnTo>
                    <a:lnTo>
                      <a:pt x="822" y="166"/>
                    </a:lnTo>
                    <a:lnTo>
                      <a:pt x="824" y="168"/>
                    </a:lnTo>
                    <a:lnTo>
                      <a:pt x="824" y="170"/>
                    </a:lnTo>
                    <a:lnTo>
                      <a:pt x="824" y="174"/>
                    </a:lnTo>
                    <a:lnTo>
                      <a:pt x="824" y="178"/>
                    </a:lnTo>
                    <a:lnTo>
                      <a:pt x="824" y="182"/>
                    </a:lnTo>
                    <a:lnTo>
                      <a:pt x="824" y="184"/>
                    </a:lnTo>
                    <a:lnTo>
                      <a:pt x="824" y="184"/>
                    </a:lnTo>
                    <a:lnTo>
                      <a:pt x="824" y="186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20" y="188"/>
                    </a:lnTo>
                    <a:lnTo>
                      <a:pt x="820" y="188"/>
                    </a:lnTo>
                    <a:lnTo>
                      <a:pt x="820" y="188"/>
                    </a:lnTo>
                    <a:lnTo>
                      <a:pt x="820" y="192"/>
                    </a:lnTo>
                    <a:lnTo>
                      <a:pt x="820" y="192"/>
                    </a:lnTo>
                    <a:lnTo>
                      <a:pt x="820" y="192"/>
                    </a:lnTo>
                    <a:lnTo>
                      <a:pt x="822" y="192"/>
                    </a:lnTo>
                    <a:lnTo>
                      <a:pt x="824" y="194"/>
                    </a:lnTo>
                    <a:lnTo>
                      <a:pt x="824" y="194"/>
                    </a:lnTo>
                    <a:lnTo>
                      <a:pt x="826" y="196"/>
                    </a:lnTo>
                    <a:lnTo>
                      <a:pt x="828" y="198"/>
                    </a:lnTo>
                    <a:lnTo>
                      <a:pt x="830" y="200"/>
                    </a:lnTo>
                    <a:lnTo>
                      <a:pt x="830" y="200"/>
                    </a:lnTo>
                    <a:lnTo>
                      <a:pt x="830" y="200"/>
                    </a:lnTo>
                    <a:lnTo>
                      <a:pt x="830" y="202"/>
                    </a:lnTo>
                    <a:lnTo>
                      <a:pt x="830" y="202"/>
                    </a:lnTo>
                    <a:lnTo>
                      <a:pt x="828" y="204"/>
                    </a:lnTo>
                    <a:lnTo>
                      <a:pt x="828" y="204"/>
                    </a:lnTo>
                    <a:lnTo>
                      <a:pt x="828" y="206"/>
                    </a:lnTo>
                    <a:lnTo>
                      <a:pt x="826" y="210"/>
                    </a:lnTo>
                    <a:lnTo>
                      <a:pt x="826" y="212"/>
                    </a:lnTo>
                    <a:lnTo>
                      <a:pt x="824" y="216"/>
                    </a:lnTo>
                    <a:lnTo>
                      <a:pt x="822" y="220"/>
                    </a:lnTo>
                    <a:lnTo>
                      <a:pt x="822" y="220"/>
                    </a:lnTo>
                    <a:lnTo>
                      <a:pt x="820" y="222"/>
                    </a:lnTo>
                    <a:lnTo>
                      <a:pt x="818" y="224"/>
                    </a:lnTo>
                    <a:lnTo>
                      <a:pt x="816" y="224"/>
                    </a:lnTo>
                    <a:lnTo>
                      <a:pt x="818" y="222"/>
                    </a:lnTo>
                    <a:lnTo>
                      <a:pt x="820" y="220"/>
                    </a:lnTo>
                    <a:lnTo>
                      <a:pt x="822" y="216"/>
                    </a:lnTo>
                    <a:lnTo>
                      <a:pt x="824" y="216"/>
                    </a:lnTo>
                    <a:lnTo>
                      <a:pt x="824" y="216"/>
                    </a:lnTo>
                    <a:lnTo>
                      <a:pt x="824" y="216"/>
                    </a:lnTo>
                    <a:lnTo>
                      <a:pt x="824" y="214"/>
                    </a:lnTo>
                    <a:lnTo>
                      <a:pt x="824" y="214"/>
                    </a:lnTo>
                    <a:lnTo>
                      <a:pt x="824" y="212"/>
                    </a:lnTo>
                    <a:lnTo>
                      <a:pt x="824" y="212"/>
                    </a:lnTo>
                    <a:lnTo>
                      <a:pt x="824" y="212"/>
                    </a:lnTo>
                    <a:lnTo>
                      <a:pt x="824" y="210"/>
                    </a:lnTo>
                    <a:lnTo>
                      <a:pt x="824" y="210"/>
                    </a:lnTo>
                    <a:lnTo>
                      <a:pt x="822" y="208"/>
                    </a:lnTo>
                    <a:lnTo>
                      <a:pt x="822" y="208"/>
                    </a:lnTo>
                    <a:lnTo>
                      <a:pt x="822" y="208"/>
                    </a:lnTo>
                    <a:lnTo>
                      <a:pt x="822" y="206"/>
                    </a:lnTo>
                    <a:lnTo>
                      <a:pt x="820" y="202"/>
                    </a:lnTo>
                    <a:lnTo>
                      <a:pt x="816" y="200"/>
                    </a:lnTo>
                    <a:lnTo>
                      <a:pt x="812" y="194"/>
                    </a:lnTo>
                    <a:lnTo>
                      <a:pt x="810" y="190"/>
                    </a:lnTo>
                    <a:lnTo>
                      <a:pt x="808" y="188"/>
                    </a:lnTo>
                    <a:lnTo>
                      <a:pt x="806" y="182"/>
                    </a:lnTo>
                    <a:lnTo>
                      <a:pt x="806" y="176"/>
                    </a:lnTo>
                    <a:lnTo>
                      <a:pt x="806" y="168"/>
                    </a:lnTo>
                    <a:lnTo>
                      <a:pt x="806" y="162"/>
                    </a:lnTo>
                    <a:lnTo>
                      <a:pt x="806" y="156"/>
                    </a:lnTo>
                    <a:lnTo>
                      <a:pt x="808" y="152"/>
                    </a:lnTo>
                    <a:lnTo>
                      <a:pt x="810" y="142"/>
                    </a:lnTo>
                    <a:lnTo>
                      <a:pt x="812" y="132"/>
                    </a:lnTo>
                    <a:lnTo>
                      <a:pt x="814" y="126"/>
                    </a:lnTo>
                    <a:lnTo>
                      <a:pt x="814" y="122"/>
                    </a:lnTo>
                    <a:lnTo>
                      <a:pt x="816" y="120"/>
                    </a:lnTo>
                    <a:lnTo>
                      <a:pt x="818" y="116"/>
                    </a:lnTo>
                    <a:lnTo>
                      <a:pt x="822" y="110"/>
                    </a:lnTo>
                    <a:lnTo>
                      <a:pt x="826" y="106"/>
                    </a:lnTo>
                    <a:lnTo>
                      <a:pt x="828" y="104"/>
                    </a:lnTo>
                    <a:lnTo>
                      <a:pt x="830" y="102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4" y="98"/>
                    </a:lnTo>
                    <a:lnTo>
                      <a:pt x="824" y="98"/>
                    </a:lnTo>
                    <a:lnTo>
                      <a:pt x="820" y="98"/>
                    </a:lnTo>
                    <a:lnTo>
                      <a:pt x="822" y="96"/>
                    </a:lnTo>
                    <a:lnTo>
                      <a:pt x="820" y="94"/>
                    </a:lnTo>
                    <a:lnTo>
                      <a:pt x="820" y="94"/>
                    </a:lnTo>
                    <a:lnTo>
                      <a:pt x="816" y="92"/>
                    </a:lnTo>
                    <a:lnTo>
                      <a:pt x="814" y="90"/>
                    </a:lnTo>
                    <a:lnTo>
                      <a:pt x="812" y="90"/>
                    </a:lnTo>
                    <a:lnTo>
                      <a:pt x="812" y="90"/>
                    </a:lnTo>
                    <a:lnTo>
                      <a:pt x="810" y="90"/>
                    </a:lnTo>
                    <a:lnTo>
                      <a:pt x="808" y="88"/>
                    </a:lnTo>
                    <a:lnTo>
                      <a:pt x="808" y="88"/>
                    </a:lnTo>
                    <a:lnTo>
                      <a:pt x="808" y="88"/>
                    </a:lnTo>
                    <a:lnTo>
                      <a:pt x="806" y="88"/>
                    </a:lnTo>
                    <a:lnTo>
                      <a:pt x="806" y="88"/>
                    </a:lnTo>
                    <a:lnTo>
                      <a:pt x="806" y="88"/>
                    </a:lnTo>
                    <a:lnTo>
                      <a:pt x="804" y="88"/>
                    </a:lnTo>
                    <a:lnTo>
                      <a:pt x="800" y="90"/>
                    </a:lnTo>
                    <a:lnTo>
                      <a:pt x="796" y="92"/>
                    </a:lnTo>
                    <a:lnTo>
                      <a:pt x="792" y="96"/>
                    </a:lnTo>
                    <a:lnTo>
                      <a:pt x="786" y="100"/>
                    </a:lnTo>
                    <a:lnTo>
                      <a:pt x="784" y="102"/>
                    </a:lnTo>
                    <a:lnTo>
                      <a:pt x="782" y="104"/>
                    </a:lnTo>
                    <a:lnTo>
                      <a:pt x="776" y="110"/>
                    </a:lnTo>
                    <a:lnTo>
                      <a:pt x="770" y="114"/>
                    </a:lnTo>
                    <a:lnTo>
                      <a:pt x="768" y="118"/>
                    </a:lnTo>
                    <a:lnTo>
                      <a:pt x="766" y="120"/>
                    </a:lnTo>
                    <a:lnTo>
                      <a:pt x="766" y="120"/>
                    </a:lnTo>
                    <a:lnTo>
                      <a:pt x="766" y="120"/>
                    </a:lnTo>
                    <a:lnTo>
                      <a:pt x="766" y="124"/>
                    </a:lnTo>
                    <a:lnTo>
                      <a:pt x="764" y="126"/>
                    </a:lnTo>
                    <a:lnTo>
                      <a:pt x="762" y="130"/>
                    </a:lnTo>
                    <a:lnTo>
                      <a:pt x="760" y="132"/>
                    </a:lnTo>
                    <a:lnTo>
                      <a:pt x="758" y="138"/>
                    </a:lnTo>
                    <a:lnTo>
                      <a:pt x="758" y="138"/>
                    </a:lnTo>
                    <a:lnTo>
                      <a:pt x="756" y="138"/>
                    </a:lnTo>
                    <a:lnTo>
                      <a:pt x="756" y="144"/>
                    </a:lnTo>
                    <a:lnTo>
                      <a:pt x="756" y="146"/>
                    </a:lnTo>
                    <a:lnTo>
                      <a:pt x="756" y="150"/>
                    </a:lnTo>
                    <a:lnTo>
                      <a:pt x="756" y="152"/>
                    </a:lnTo>
                    <a:lnTo>
                      <a:pt x="754" y="154"/>
                    </a:lnTo>
                    <a:lnTo>
                      <a:pt x="754" y="156"/>
                    </a:lnTo>
                    <a:lnTo>
                      <a:pt x="752" y="158"/>
                    </a:lnTo>
                    <a:lnTo>
                      <a:pt x="752" y="160"/>
                    </a:lnTo>
                    <a:lnTo>
                      <a:pt x="752" y="160"/>
                    </a:lnTo>
                    <a:lnTo>
                      <a:pt x="750" y="162"/>
                    </a:lnTo>
                    <a:lnTo>
                      <a:pt x="750" y="168"/>
                    </a:lnTo>
                    <a:lnTo>
                      <a:pt x="750" y="176"/>
                    </a:lnTo>
                    <a:lnTo>
                      <a:pt x="748" y="188"/>
                    </a:lnTo>
                    <a:lnTo>
                      <a:pt x="748" y="196"/>
                    </a:lnTo>
                    <a:lnTo>
                      <a:pt x="748" y="202"/>
                    </a:lnTo>
                    <a:lnTo>
                      <a:pt x="750" y="208"/>
                    </a:lnTo>
                    <a:lnTo>
                      <a:pt x="750" y="216"/>
                    </a:lnTo>
                    <a:lnTo>
                      <a:pt x="752" y="218"/>
                    </a:lnTo>
                    <a:lnTo>
                      <a:pt x="752" y="222"/>
                    </a:lnTo>
                    <a:lnTo>
                      <a:pt x="752" y="224"/>
                    </a:lnTo>
                    <a:lnTo>
                      <a:pt x="752" y="224"/>
                    </a:lnTo>
                    <a:lnTo>
                      <a:pt x="752" y="224"/>
                    </a:lnTo>
                    <a:lnTo>
                      <a:pt x="754" y="226"/>
                    </a:lnTo>
                    <a:lnTo>
                      <a:pt x="754" y="228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2"/>
                    </a:lnTo>
                    <a:lnTo>
                      <a:pt x="758" y="234"/>
                    </a:lnTo>
                    <a:lnTo>
                      <a:pt x="758" y="236"/>
                    </a:lnTo>
                    <a:lnTo>
                      <a:pt x="760" y="238"/>
                    </a:lnTo>
                    <a:lnTo>
                      <a:pt x="760" y="240"/>
                    </a:lnTo>
                    <a:lnTo>
                      <a:pt x="762" y="242"/>
                    </a:lnTo>
                    <a:lnTo>
                      <a:pt x="762" y="244"/>
                    </a:lnTo>
                    <a:lnTo>
                      <a:pt x="762" y="246"/>
                    </a:lnTo>
                    <a:lnTo>
                      <a:pt x="762" y="248"/>
                    </a:lnTo>
                    <a:lnTo>
                      <a:pt x="764" y="250"/>
                    </a:lnTo>
                    <a:lnTo>
                      <a:pt x="764" y="252"/>
                    </a:lnTo>
                    <a:lnTo>
                      <a:pt x="764" y="254"/>
                    </a:lnTo>
                    <a:lnTo>
                      <a:pt x="764" y="258"/>
                    </a:lnTo>
                    <a:lnTo>
                      <a:pt x="764" y="262"/>
                    </a:lnTo>
                    <a:lnTo>
                      <a:pt x="764" y="262"/>
                    </a:lnTo>
                    <a:lnTo>
                      <a:pt x="766" y="264"/>
                    </a:lnTo>
                    <a:lnTo>
                      <a:pt x="768" y="264"/>
                    </a:lnTo>
                    <a:lnTo>
                      <a:pt x="768" y="264"/>
                    </a:lnTo>
                    <a:lnTo>
                      <a:pt x="770" y="264"/>
                    </a:lnTo>
                    <a:lnTo>
                      <a:pt x="776" y="264"/>
                    </a:lnTo>
                    <a:lnTo>
                      <a:pt x="780" y="262"/>
                    </a:lnTo>
                    <a:lnTo>
                      <a:pt x="786" y="262"/>
                    </a:lnTo>
                    <a:lnTo>
                      <a:pt x="792" y="262"/>
                    </a:lnTo>
                    <a:lnTo>
                      <a:pt x="796" y="262"/>
                    </a:lnTo>
                    <a:lnTo>
                      <a:pt x="796" y="262"/>
                    </a:lnTo>
                    <a:lnTo>
                      <a:pt x="798" y="264"/>
                    </a:lnTo>
                    <a:lnTo>
                      <a:pt x="796" y="264"/>
                    </a:lnTo>
                    <a:lnTo>
                      <a:pt x="794" y="268"/>
                    </a:lnTo>
                    <a:lnTo>
                      <a:pt x="794" y="268"/>
                    </a:lnTo>
                    <a:lnTo>
                      <a:pt x="794" y="268"/>
                    </a:lnTo>
                    <a:lnTo>
                      <a:pt x="794" y="270"/>
                    </a:lnTo>
                    <a:lnTo>
                      <a:pt x="794" y="270"/>
                    </a:lnTo>
                    <a:lnTo>
                      <a:pt x="794" y="272"/>
                    </a:lnTo>
                    <a:lnTo>
                      <a:pt x="794" y="272"/>
                    </a:lnTo>
                    <a:lnTo>
                      <a:pt x="794" y="272"/>
                    </a:lnTo>
                    <a:lnTo>
                      <a:pt x="794" y="274"/>
                    </a:lnTo>
                    <a:lnTo>
                      <a:pt x="796" y="276"/>
                    </a:lnTo>
                    <a:lnTo>
                      <a:pt x="796" y="276"/>
                    </a:lnTo>
                    <a:lnTo>
                      <a:pt x="796" y="276"/>
                    </a:lnTo>
                    <a:lnTo>
                      <a:pt x="798" y="276"/>
                    </a:lnTo>
                    <a:lnTo>
                      <a:pt x="798" y="276"/>
                    </a:lnTo>
                    <a:lnTo>
                      <a:pt x="798" y="278"/>
                    </a:lnTo>
                    <a:lnTo>
                      <a:pt x="800" y="278"/>
                    </a:lnTo>
                    <a:lnTo>
                      <a:pt x="800" y="278"/>
                    </a:lnTo>
                    <a:lnTo>
                      <a:pt x="802" y="278"/>
                    </a:lnTo>
                    <a:lnTo>
                      <a:pt x="808" y="278"/>
                    </a:lnTo>
                    <a:lnTo>
                      <a:pt x="814" y="276"/>
                    </a:lnTo>
                    <a:lnTo>
                      <a:pt x="820" y="276"/>
                    </a:lnTo>
                    <a:lnTo>
                      <a:pt x="822" y="276"/>
                    </a:lnTo>
                    <a:lnTo>
                      <a:pt x="822" y="276"/>
                    </a:lnTo>
                    <a:lnTo>
                      <a:pt x="822" y="276"/>
                    </a:lnTo>
                    <a:lnTo>
                      <a:pt x="820" y="278"/>
                    </a:lnTo>
                    <a:lnTo>
                      <a:pt x="820" y="278"/>
                    </a:lnTo>
                    <a:lnTo>
                      <a:pt x="820" y="280"/>
                    </a:lnTo>
                    <a:lnTo>
                      <a:pt x="818" y="282"/>
                    </a:lnTo>
                    <a:lnTo>
                      <a:pt x="818" y="282"/>
                    </a:lnTo>
                    <a:lnTo>
                      <a:pt x="818" y="284"/>
                    </a:lnTo>
                    <a:lnTo>
                      <a:pt x="818" y="288"/>
                    </a:lnTo>
                    <a:lnTo>
                      <a:pt x="820" y="292"/>
                    </a:lnTo>
                    <a:lnTo>
                      <a:pt x="820" y="298"/>
                    </a:lnTo>
                    <a:lnTo>
                      <a:pt x="822" y="302"/>
                    </a:lnTo>
                    <a:lnTo>
                      <a:pt x="822" y="306"/>
                    </a:lnTo>
                    <a:lnTo>
                      <a:pt x="822" y="310"/>
                    </a:lnTo>
                    <a:lnTo>
                      <a:pt x="820" y="314"/>
                    </a:lnTo>
                    <a:lnTo>
                      <a:pt x="818" y="318"/>
                    </a:lnTo>
                    <a:lnTo>
                      <a:pt x="816" y="326"/>
                    </a:lnTo>
                    <a:lnTo>
                      <a:pt x="812" y="334"/>
                    </a:lnTo>
                    <a:lnTo>
                      <a:pt x="810" y="338"/>
                    </a:lnTo>
                    <a:lnTo>
                      <a:pt x="810" y="342"/>
                    </a:lnTo>
                    <a:lnTo>
                      <a:pt x="808" y="350"/>
                    </a:lnTo>
                    <a:lnTo>
                      <a:pt x="806" y="358"/>
                    </a:lnTo>
                    <a:lnTo>
                      <a:pt x="802" y="364"/>
                    </a:lnTo>
                    <a:lnTo>
                      <a:pt x="802" y="368"/>
                    </a:lnTo>
                    <a:lnTo>
                      <a:pt x="800" y="370"/>
                    </a:lnTo>
                    <a:lnTo>
                      <a:pt x="798" y="374"/>
                    </a:lnTo>
                    <a:lnTo>
                      <a:pt x="796" y="376"/>
                    </a:lnTo>
                    <a:lnTo>
                      <a:pt x="794" y="380"/>
                    </a:lnTo>
                    <a:lnTo>
                      <a:pt x="792" y="382"/>
                    </a:lnTo>
                    <a:lnTo>
                      <a:pt x="790" y="384"/>
                    </a:lnTo>
                    <a:lnTo>
                      <a:pt x="788" y="386"/>
                    </a:lnTo>
                    <a:lnTo>
                      <a:pt x="788" y="386"/>
                    </a:lnTo>
                    <a:lnTo>
                      <a:pt x="788" y="386"/>
                    </a:lnTo>
                    <a:lnTo>
                      <a:pt x="788" y="384"/>
                    </a:lnTo>
                    <a:lnTo>
                      <a:pt x="786" y="382"/>
                    </a:lnTo>
                    <a:lnTo>
                      <a:pt x="784" y="378"/>
                    </a:lnTo>
                    <a:lnTo>
                      <a:pt x="784" y="374"/>
                    </a:lnTo>
                    <a:lnTo>
                      <a:pt x="782" y="366"/>
                    </a:lnTo>
                    <a:lnTo>
                      <a:pt x="780" y="360"/>
                    </a:lnTo>
                    <a:lnTo>
                      <a:pt x="780" y="356"/>
                    </a:lnTo>
                    <a:lnTo>
                      <a:pt x="780" y="354"/>
                    </a:lnTo>
                    <a:lnTo>
                      <a:pt x="780" y="354"/>
                    </a:lnTo>
                    <a:lnTo>
                      <a:pt x="782" y="350"/>
                    </a:lnTo>
                    <a:lnTo>
                      <a:pt x="782" y="348"/>
                    </a:lnTo>
                    <a:lnTo>
                      <a:pt x="784" y="344"/>
                    </a:lnTo>
                    <a:lnTo>
                      <a:pt x="784" y="340"/>
                    </a:lnTo>
                    <a:lnTo>
                      <a:pt x="786" y="338"/>
                    </a:lnTo>
                    <a:lnTo>
                      <a:pt x="786" y="334"/>
                    </a:lnTo>
                    <a:lnTo>
                      <a:pt x="786" y="334"/>
                    </a:lnTo>
                    <a:lnTo>
                      <a:pt x="786" y="332"/>
                    </a:lnTo>
                    <a:lnTo>
                      <a:pt x="786" y="330"/>
                    </a:lnTo>
                    <a:lnTo>
                      <a:pt x="786" y="330"/>
                    </a:lnTo>
                    <a:lnTo>
                      <a:pt x="786" y="328"/>
                    </a:lnTo>
                    <a:lnTo>
                      <a:pt x="786" y="326"/>
                    </a:lnTo>
                    <a:lnTo>
                      <a:pt x="784" y="322"/>
                    </a:lnTo>
                    <a:lnTo>
                      <a:pt x="782" y="316"/>
                    </a:lnTo>
                    <a:lnTo>
                      <a:pt x="780" y="312"/>
                    </a:lnTo>
                    <a:lnTo>
                      <a:pt x="776" y="308"/>
                    </a:lnTo>
                    <a:lnTo>
                      <a:pt x="774" y="306"/>
                    </a:lnTo>
                    <a:lnTo>
                      <a:pt x="774" y="306"/>
                    </a:lnTo>
                    <a:lnTo>
                      <a:pt x="774" y="306"/>
                    </a:lnTo>
                    <a:lnTo>
                      <a:pt x="772" y="304"/>
                    </a:lnTo>
                    <a:lnTo>
                      <a:pt x="772" y="304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68" y="302"/>
                    </a:lnTo>
                    <a:lnTo>
                      <a:pt x="768" y="302"/>
                    </a:lnTo>
                    <a:lnTo>
                      <a:pt x="766" y="302"/>
                    </a:lnTo>
                    <a:lnTo>
                      <a:pt x="766" y="302"/>
                    </a:lnTo>
                    <a:lnTo>
                      <a:pt x="766" y="302"/>
                    </a:lnTo>
                    <a:lnTo>
                      <a:pt x="764" y="302"/>
                    </a:lnTo>
                    <a:lnTo>
                      <a:pt x="764" y="304"/>
                    </a:lnTo>
                    <a:lnTo>
                      <a:pt x="762" y="304"/>
                    </a:lnTo>
                    <a:lnTo>
                      <a:pt x="762" y="304"/>
                    </a:lnTo>
                    <a:lnTo>
                      <a:pt x="762" y="306"/>
                    </a:lnTo>
                    <a:lnTo>
                      <a:pt x="762" y="306"/>
                    </a:lnTo>
                    <a:lnTo>
                      <a:pt x="760" y="310"/>
                    </a:lnTo>
                    <a:lnTo>
                      <a:pt x="758" y="316"/>
                    </a:lnTo>
                    <a:lnTo>
                      <a:pt x="756" y="320"/>
                    </a:lnTo>
                    <a:lnTo>
                      <a:pt x="754" y="324"/>
                    </a:lnTo>
                    <a:lnTo>
                      <a:pt x="752" y="328"/>
                    </a:lnTo>
                    <a:lnTo>
                      <a:pt x="750" y="330"/>
                    </a:lnTo>
                    <a:lnTo>
                      <a:pt x="750" y="330"/>
                    </a:lnTo>
                    <a:lnTo>
                      <a:pt x="748" y="336"/>
                    </a:lnTo>
                    <a:lnTo>
                      <a:pt x="746" y="340"/>
                    </a:lnTo>
                    <a:lnTo>
                      <a:pt x="746" y="336"/>
                    </a:lnTo>
                    <a:lnTo>
                      <a:pt x="746" y="330"/>
                    </a:lnTo>
                    <a:lnTo>
                      <a:pt x="744" y="326"/>
                    </a:lnTo>
                    <a:lnTo>
                      <a:pt x="744" y="320"/>
                    </a:lnTo>
                    <a:lnTo>
                      <a:pt x="742" y="316"/>
                    </a:lnTo>
                    <a:lnTo>
                      <a:pt x="740" y="312"/>
                    </a:lnTo>
                    <a:lnTo>
                      <a:pt x="740" y="312"/>
                    </a:lnTo>
                    <a:lnTo>
                      <a:pt x="740" y="312"/>
                    </a:lnTo>
                    <a:lnTo>
                      <a:pt x="738" y="308"/>
                    </a:lnTo>
                    <a:lnTo>
                      <a:pt x="738" y="308"/>
                    </a:lnTo>
                    <a:lnTo>
                      <a:pt x="738" y="308"/>
                    </a:lnTo>
                    <a:lnTo>
                      <a:pt x="736" y="304"/>
                    </a:lnTo>
                    <a:lnTo>
                      <a:pt x="736" y="304"/>
                    </a:lnTo>
                    <a:lnTo>
                      <a:pt x="736" y="304"/>
                    </a:lnTo>
                    <a:lnTo>
                      <a:pt x="730" y="300"/>
                    </a:lnTo>
                    <a:lnTo>
                      <a:pt x="724" y="296"/>
                    </a:lnTo>
                    <a:lnTo>
                      <a:pt x="720" y="294"/>
                    </a:lnTo>
                    <a:lnTo>
                      <a:pt x="720" y="292"/>
                    </a:lnTo>
                    <a:lnTo>
                      <a:pt x="718" y="292"/>
                    </a:lnTo>
                    <a:lnTo>
                      <a:pt x="714" y="290"/>
                    </a:lnTo>
                    <a:lnTo>
                      <a:pt x="712" y="288"/>
                    </a:lnTo>
                    <a:lnTo>
                      <a:pt x="710" y="286"/>
                    </a:lnTo>
                    <a:lnTo>
                      <a:pt x="710" y="286"/>
                    </a:lnTo>
                    <a:lnTo>
                      <a:pt x="710" y="284"/>
                    </a:lnTo>
                    <a:lnTo>
                      <a:pt x="710" y="284"/>
                    </a:lnTo>
                    <a:lnTo>
                      <a:pt x="710" y="280"/>
                    </a:lnTo>
                    <a:lnTo>
                      <a:pt x="710" y="276"/>
                    </a:lnTo>
                    <a:lnTo>
                      <a:pt x="712" y="272"/>
                    </a:lnTo>
                    <a:lnTo>
                      <a:pt x="714" y="266"/>
                    </a:lnTo>
                    <a:lnTo>
                      <a:pt x="716" y="262"/>
                    </a:lnTo>
                    <a:lnTo>
                      <a:pt x="718" y="256"/>
                    </a:lnTo>
                    <a:lnTo>
                      <a:pt x="720" y="252"/>
                    </a:lnTo>
                    <a:lnTo>
                      <a:pt x="720" y="246"/>
                    </a:lnTo>
                    <a:lnTo>
                      <a:pt x="720" y="238"/>
                    </a:lnTo>
                    <a:lnTo>
                      <a:pt x="720" y="234"/>
                    </a:lnTo>
                    <a:lnTo>
                      <a:pt x="720" y="230"/>
                    </a:lnTo>
                    <a:lnTo>
                      <a:pt x="720" y="226"/>
                    </a:lnTo>
                    <a:lnTo>
                      <a:pt x="718" y="222"/>
                    </a:lnTo>
                    <a:lnTo>
                      <a:pt x="716" y="220"/>
                    </a:lnTo>
                    <a:lnTo>
                      <a:pt x="716" y="220"/>
                    </a:lnTo>
                    <a:lnTo>
                      <a:pt x="716" y="218"/>
                    </a:lnTo>
                    <a:lnTo>
                      <a:pt x="714" y="216"/>
                    </a:lnTo>
                    <a:lnTo>
                      <a:pt x="710" y="212"/>
                    </a:lnTo>
                    <a:lnTo>
                      <a:pt x="706" y="208"/>
                    </a:lnTo>
                    <a:lnTo>
                      <a:pt x="700" y="204"/>
                    </a:lnTo>
                    <a:lnTo>
                      <a:pt x="696" y="200"/>
                    </a:lnTo>
                    <a:lnTo>
                      <a:pt x="690" y="196"/>
                    </a:lnTo>
                    <a:lnTo>
                      <a:pt x="684" y="194"/>
                    </a:lnTo>
                    <a:lnTo>
                      <a:pt x="680" y="192"/>
                    </a:lnTo>
                    <a:lnTo>
                      <a:pt x="680" y="192"/>
                    </a:lnTo>
                    <a:lnTo>
                      <a:pt x="680" y="192"/>
                    </a:lnTo>
                    <a:lnTo>
                      <a:pt x="676" y="190"/>
                    </a:lnTo>
                    <a:lnTo>
                      <a:pt x="676" y="190"/>
                    </a:lnTo>
                    <a:lnTo>
                      <a:pt x="676" y="190"/>
                    </a:lnTo>
                    <a:lnTo>
                      <a:pt x="672" y="190"/>
                    </a:lnTo>
                    <a:lnTo>
                      <a:pt x="672" y="190"/>
                    </a:lnTo>
                    <a:lnTo>
                      <a:pt x="672" y="190"/>
                    </a:lnTo>
                    <a:lnTo>
                      <a:pt x="670" y="192"/>
                    </a:lnTo>
                    <a:lnTo>
                      <a:pt x="670" y="192"/>
                    </a:lnTo>
                    <a:lnTo>
                      <a:pt x="668" y="192"/>
                    </a:lnTo>
                    <a:lnTo>
                      <a:pt x="666" y="192"/>
                    </a:lnTo>
                    <a:lnTo>
                      <a:pt x="666" y="192"/>
                    </a:lnTo>
                    <a:lnTo>
                      <a:pt x="666" y="194"/>
                    </a:lnTo>
                    <a:lnTo>
                      <a:pt x="664" y="196"/>
                    </a:lnTo>
                    <a:lnTo>
                      <a:pt x="664" y="196"/>
                    </a:lnTo>
                    <a:lnTo>
                      <a:pt x="664" y="196"/>
                    </a:lnTo>
                    <a:lnTo>
                      <a:pt x="662" y="198"/>
                    </a:lnTo>
                    <a:lnTo>
                      <a:pt x="660" y="202"/>
                    </a:lnTo>
                    <a:lnTo>
                      <a:pt x="658" y="208"/>
                    </a:lnTo>
                    <a:lnTo>
                      <a:pt x="658" y="212"/>
                    </a:lnTo>
                    <a:lnTo>
                      <a:pt x="656" y="216"/>
                    </a:lnTo>
                    <a:lnTo>
                      <a:pt x="656" y="224"/>
                    </a:lnTo>
                    <a:lnTo>
                      <a:pt x="654" y="232"/>
                    </a:lnTo>
                    <a:lnTo>
                      <a:pt x="654" y="236"/>
                    </a:lnTo>
                    <a:lnTo>
                      <a:pt x="654" y="240"/>
                    </a:lnTo>
                    <a:lnTo>
                      <a:pt x="654" y="248"/>
                    </a:lnTo>
                    <a:lnTo>
                      <a:pt x="656" y="256"/>
                    </a:lnTo>
                    <a:lnTo>
                      <a:pt x="656" y="264"/>
                    </a:lnTo>
                    <a:lnTo>
                      <a:pt x="658" y="266"/>
                    </a:lnTo>
                    <a:lnTo>
                      <a:pt x="658" y="270"/>
                    </a:lnTo>
                    <a:lnTo>
                      <a:pt x="658" y="270"/>
                    </a:lnTo>
                    <a:lnTo>
                      <a:pt x="658" y="270"/>
                    </a:lnTo>
                    <a:lnTo>
                      <a:pt x="660" y="272"/>
                    </a:lnTo>
                    <a:lnTo>
                      <a:pt x="660" y="272"/>
                    </a:lnTo>
                    <a:lnTo>
                      <a:pt x="660" y="274"/>
                    </a:lnTo>
                    <a:lnTo>
                      <a:pt x="662" y="276"/>
                    </a:lnTo>
                    <a:lnTo>
                      <a:pt x="662" y="276"/>
                    </a:lnTo>
                    <a:lnTo>
                      <a:pt x="662" y="276"/>
                    </a:lnTo>
                    <a:lnTo>
                      <a:pt x="666" y="278"/>
                    </a:lnTo>
                    <a:lnTo>
                      <a:pt x="672" y="282"/>
                    </a:lnTo>
                    <a:lnTo>
                      <a:pt x="676" y="286"/>
                    </a:lnTo>
                    <a:lnTo>
                      <a:pt x="680" y="288"/>
                    </a:lnTo>
                    <a:lnTo>
                      <a:pt x="684" y="290"/>
                    </a:lnTo>
                    <a:lnTo>
                      <a:pt x="690" y="294"/>
                    </a:lnTo>
                    <a:lnTo>
                      <a:pt x="694" y="296"/>
                    </a:lnTo>
                    <a:lnTo>
                      <a:pt x="696" y="298"/>
                    </a:lnTo>
                    <a:lnTo>
                      <a:pt x="698" y="300"/>
                    </a:lnTo>
                    <a:lnTo>
                      <a:pt x="700" y="302"/>
                    </a:lnTo>
                    <a:lnTo>
                      <a:pt x="700" y="306"/>
                    </a:lnTo>
                    <a:lnTo>
                      <a:pt x="700" y="306"/>
                    </a:lnTo>
                    <a:lnTo>
                      <a:pt x="700" y="308"/>
                    </a:lnTo>
                    <a:lnTo>
                      <a:pt x="700" y="312"/>
                    </a:lnTo>
                    <a:lnTo>
                      <a:pt x="700" y="316"/>
                    </a:lnTo>
                    <a:lnTo>
                      <a:pt x="700" y="322"/>
                    </a:lnTo>
                    <a:lnTo>
                      <a:pt x="698" y="326"/>
                    </a:lnTo>
                    <a:lnTo>
                      <a:pt x="696" y="328"/>
                    </a:lnTo>
                    <a:lnTo>
                      <a:pt x="696" y="332"/>
                    </a:lnTo>
                    <a:lnTo>
                      <a:pt x="692" y="334"/>
                    </a:lnTo>
                    <a:lnTo>
                      <a:pt x="690" y="338"/>
                    </a:lnTo>
                    <a:lnTo>
                      <a:pt x="686" y="340"/>
                    </a:lnTo>
                    <a:lnTo>
                      <a:pt x="684" y="344"/>
                    </a:lnTo>
                    <a:lnTo>
                      <a:pt x="680" y="346"/>
                    </a:lnTo>
                    <a:lnTo>
                      <a:pt x="676" y="348"/>
                    </a:lnTo>
                    <a:lnTo>
                      <a:pt x="674" y="352"/>
                    </a:lnTo>
                    <a:lnTo>
                      <a:pt x="672" y="354"/>
                    </a:lnTo>
                    <a:lnTo>
                      <a:pt x="672" y="356"/>
                    </a:lnTo>
                    <a:lnTo>
                      <a:pt x="672" y="356"/>
                    </a:lnTo>
                    <a:lnTo>
                      <a:pt x="672" y="356"/>
                    </a:lnTo>
                    <a:lnTo>
                      <a:pt x="670" y="358"/>
                    </a:lnTo>
                    <a:lnTo>
                      <a:pt x="670" y="358"/>
                    </a:lnTo>
                    <a:lnTo>
                      <a:pt x="670" y="358"/>
                    </a:lnTo>
                    <a:lnTo>
                      <a:pt x="670" y="360"/>
                    </a:lnTo>
                    <a:lnTo>
                      <a:pt x="670" y="362"/>
                    </a:lnTo>
                    <a:lnTo>
                      <a:pt x="670" y="364"/>
                    </a:lnTo>
                    <a:lnTo>
                      <a:pt x="670" y="364"/>
                    </a:lnTo>
                    <a:lnTo>
                      <a:pt x="670" y="368"/>
                    </a:lnTo>
                    <a:lnTo>
                      <a:pt x="670" y="370"/>
                    </a:lnTo>
                    <a:lnTo>
                      <a:pt x="670" y="376"/>
                    </a:lnTo>
                    <a:lnTo>
                      <a:pt x="670" y="378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68" y="380"/>
                    </a:lnTo>
                    <a:lnTo>
                      <a:pt x="666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2" y="378"/>
                    </a:lnTo>
                    <a:lnTo>
                      <a:pt x="662" y="376"/>
                    </a:lnTo>
                    <a:lnTo>
                      <a:pt x="662" y="376"/>
                    </a:lnTo>
                    <a:lnTo>
                      <a:pt x="662" y="374"/>
                    </a:lnTo>
                    <a:lnTo>
                      <a:pt x="662" y="370"/>
                    </a:lnTo>
                    <a:lnTo>
                      <a:pt x="662" y="368"/>
                    </a:lnTo>
                    <a:lnTo>
                      <a:pt x="662" y="364"/>
                    </a:lnTo>
                    <a:lnTo>
                      <a:pt x="662" y="360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62" y="354"/>
                    </a:lnTo>
                    <a:lnTo>
                      <a:pt x="662" y="354"/>
                    </a:lnTo>
                    <a:lnTo>
                      <a:pt x="662" y="352"/>
                    </a:lnTo>
                    <a:lnTo>
                      <a:pt x="660" y="350"/>
                    </a:lnTo>
                    <a:lnTo>
                      <a:pt x="658" y="346"/>
                    </a:lnTo>
                    <a:lnTo>
                      <a:pt x="656" y="344"/>
                    </a:lnTo>
                    <a:lnTo>
                      <a:pt x="652" y="340"/>
                    </a:lnTo>
                    <a:lnTo>
                      <a:pt x="650" y="338"/>
                    </a:lnTo>
                    <a:lnTo>
                      <a:pt x="648" y="334"/>
                    </a:lnTo>
                    <a:lnTo>
                      <a:pt x="644" y="332"/>
                    </a:lnTo>
                    <a:lnTo>
                      <a:pt x="642" y="332"/>
                    </a:lnTo>
                    <a:lnTo>
                      <a:pt x="642" y="332"/>
                    </a:lnTo>
                    <a:lnTo>
                      <a:pt x="640" y="330"/>
                    </a:lnTo>
                    <a:lnTo>
                      <a:pt x="636" y="330"/>
                    </a:lnTo>
                    <a:lnTo>
                      <a:pt x="636" y="330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8"/>
                    </a:lnTo>
                    <a:lnTo>
                      <a:pt x="630" y="328"/>
                    </a:lnTo>
                    <a:lnTo>
                      <a:pt x="630" y="328"/>
                    </a:lnTo>
                    <a:lnTo>
                      <a:pt x="628" y="330"/>
                    </a:lnTo>
                    <a:lnTo>
                      <a:pt x="628" y="330"/>
                    </a:lnTo>
                    <a:lnTo>
                      <a:pt x="626" y="330"/>
                    </a:lnTo>
                    <a:lnTo>
                      <a:pt x="624" y="330"/>
                    </a:lnTo>
                    <a:lnTo>
                      <a:pt x="624" y="330"/>
                    </a:lnTo>
                    <a:lnTo>
                      <a:pt x="624" y="330"/>
                    </a:lnTo>
                    <a:lnTo>
                      <a:pt x="622" y="332"/>
                    </a:lnTo>
                    <a:lnTo>
                      <a:pt x="622" y="332"/>
                    </a:lnTo>
                    <a:lnTo>
                      <a:pt x="622" y="332"/>
                    </a:lnTo>
                    <a:lnTo>
                      <a:pt x="620" y="334"/>
                    </a:lnTo>
                    <a:lnTo>
                      <a:pt x="620" y="334"/>
                    </a:lnTo>
                    <a:lnTo>
                      <a:pt x="620" y="336"/>
                    </a:lnTo>
                    <a:lnTo>
                      <a:pt x="620" y="338"/>
                    </a:lnTo>
                    <a:lnTo>
                      <a:pt x="620" y="338"/>
                    </a:lnTo>
                    <a:lnTo>
                      <a:pt x="620" y="338"/>
                    </a:lnTo>
                    <a:lnTo>
                      <a:pt x="622" y="342"/>
                    </a:lnTo>
                    <a:lnTo>
                      <a:pt x="622" y="346"/>
                    </a:lnTo>
                    <a:lnTo>
                      <a:pt x="624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0"/>
                    </a:lnTo>
                    <a:lnTo>
                      <a:pt x="624" y="360"/>
                    </a:lnTo>
                    <a:lnTo>
                      <a:pt x="624" y="360"/>
                    </a:lnTo>
                    <a:lnTo>
                      <a:pt x="624" y="362"/>
                    </a:lnTo>
                    <a:lnTo>
                      <a:pt x="624" y="362"/>
                    </a:lnTo>
                    <a:lnTo>
                      <a:pt x="622" y="362"/>
                    </a:lnTo>
                    <a:lnTo>
                      <a:pt x="618" y="362"/>
                    </a:lnTo>
                    <a:lnTo>
                      <a:pt x="612" y="364"/>
                    </a:lnTo>
                    <a:lnTo>
                      <a:pt x="606" y="364"/>
                    </a:lnTo>
                    <a:lnTo>
                      <a:pt x="600" y="362"/>
                    </a:lnTo>
                    <a:lnTo>
                      <a:pt x="594" y="362"/>
                    </a:lnTo>
                    <a:lnTo>
                      <a:pt x="588" y="362"/>
                    </a:lnTo>
                    <a:lnTo>
                      <a:pt x="584" y="362"/>
                    </a:lnTo>
                    <a:lnTo>
                      <a:pt x="576" y="362"/>
                    </a:lnTo>
                    <a:lnTo>
                      <a:pt x="568" y="362"/>
                    </a:lnTo>
                    <a:lnTo>
                      <a:pt x="562" y="360"/>
                    </a:lnTo>
                    <a:lnTo>
                      <a:pt x="556" y="358"/>
                    </a:lnTo>
                    <a:lnTo>
                      <a:pt x="554" y="356"/>
                    </a:lnTo>
                    <a:lnTo>
                      <a:pt x="552" y="354"/>
                    </a:lnTo>
                    <a:lnTo>
                      <a:pt x="548" y="350"/>
                    </a:lnTo>
                    <a:lnTo>
                      <a:pt x="544" y="344"/>
                    </a:lnTo>
                    <a:lnTo>
                      <a:pt x="542" y="342"/>
                    </a:lnTo>
                    <a:lnTo>
                      <a:pt x="540" y="340"/>
                    </a:lnTo>
                    <a:lnTo>
                      <a:pt x="536" y="338"/>
                    </a:lnTo>
                    <a:lnTo>
                      <a:pt x="536" y="338"/>
                    </a:lnTo>
                    <a:lnTo>
                      <a:pt x="536" y="338"/>
                    </a:lnTo>
                    <a:lnTo>
                      <a:pt x="532" y="336"/>
                    </a:lnTo>
                    <a:lnTo>
                      <a:pt x="532" y="336"/>
                    </a:lnTo>
                    <a:lnTo>
                      <a:pt x="532" y="336"/>
                    </a:lnTo>
                    <a:lnTo>
                      <a:pt x="528" y="336"/>
                    </a:lnTo>
                    <a:lnTo>
                      <a:pt x="528" y="336"/>
                    </a:lnTo>
                    <a:lnTo>
                      <a:pt x="528" y="336"/>
                    </a:lnTo>
                    <a:lnTo>
                      <a:pt x="524" y="336"/>
                    </a:lnTo>
                    <a:lnTo>
                      <a:pt x="522" y="336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0" y="338"/>
                    </a:lnTo>
                    <a:lnTo>
                      <a:pt x="506" y="338"/>
                    </a:lnTo>
                    <a:lnTo>
                      <a:pt x="500" y="340"/>
                    </a:lnTo>
                    <a:lnTo>
                      <a:pt x="500" y="340"/>
                    </a:lnTo>
                    <a:lnTo>
                      <a:pt x="500" y="340"/>
                    </a:lnTo>
                    <a:lnTo>
                      <a:pt x="496" y="342"/>
                    </a:lnTo>
                    <a:lnTo>
                      <a:pt x="496" y="342"/>
                    </a:lnTo>
                    <a:lnTo>
                      <a:pt x="496" y="342"/>
                    </a:lnTo>
                    <a:lnTo>
                      <a:pt x="492" y="344"/>
                    </a:lnTo>
                    <a:lnTo>
                      <a:pt x="492" y="344"/>
                    </a:lnTo>
                    <a:lnTo>
                      <a:pt x="492" y="346"/>
                    </a:lnTo>
                    <a:lnTo>
                      <a:pt x="490" y="348"/>
                    </a:lnTo>
                    <a:lnTo>
                      <a:pt x="490" y="348"/>
                    </a:lnTo>
                    <a:lnTo>
                      <a:pt x="488" y="350"/>
                    </a:lnTo>
                    <a:lnTo>
                      <a:pt x="488" y="352"/>
                    </a:lnTo>
                    <a:lnTo>
                      <a:pt x="488" y="352"/>
                    </a:lnTo>
                    <a:lnTo>
                      <a:pt x="488" y="352"/>
                    </a:lnTo>
                    <a:lnTo>
                      <a:pt x="488" y="354"/>
                    </a:lnTo>
                    <a:lnTo>
                      <a:pt x="488" y="354"/>
                    </a:lnTo>
                    <a:lnTo>
                      <a:pt x="488" y="354"/>
                    </a:lnTo>
                    <a:lnTo>
                      <a:pt x="488" y="360"/>
                    </a:lnTo>
                    <a:lnTo>
                      <a:pt x="490" y="368"/>
                    </a:lnTo>
                    <a:lnTo>
                      <a:pt x="492" y="374"/>
                    </a:lnTo>
                    <a:lnTo>
                      <a:pt x="494" y="380"/>
                    </a:lnTo>
                    <a:lnTo>
                      <a:pt x="496" y="388"/>
                    </a:lnTo>
                    <a:lnTo>
                      <a:pt x="498" y="392"/>
                    </a:lnTo>
                    <a:lnTo>
                      <a:pt x="498" y="398"/>
                    </a:lnTo>
                    <a:lnTo>
                      <a:pt x="498" y="406"/>
                    </a:lnTo>
                    <a:lnTo>
                      <a:pt x="498" y="410"/>
                    </a:lnTo>
                    <a:lnTo>
                      <a:pt x="498" y="412"/>
                    </a:lnTo>
                    <a:lnTo>
                      <a:pt x="498" y="414"/>
                    </a:lnTo>
                    <a:lnTo>
                      <a:pt x="498" y="414"/>
                    </a:lnTo>
                    <a:lnTo>
                      <a:pt x="496" y="412"/>
                    </a:lnTo>
                    <a:lnTo>
                      <a:pt x="496" y="410"/>
                    </a:lnTo>
                    <a:lnTo>
                      <a:pt x="492" y="404"/>
                    </a:lnTo>
                    <a:lnTo>
                      <a:pt x="488" y="398"/>
                    </a:lnTo>
                    <a:lnTo>
                      <a:pt x="484" y="392"/>
                    </a:lnTo>
                    <a:lnTo>
                      <a:pt x="480" y="384"/>
                    </a:lnTo>
                    <a:lnTo>
                      <a:pt x="478" y="382"/>
                    </a:lnTo>
                    <a:lnTo>
                      <a:pt x="476" y="380"/>
                    </a:lnTo>
                    <a:lnTo>
                      <a:pt x="474" y="378"/>
                    </a:lnTo>
                    <a:lnTo>
                      <a:pt x="474" y="376"/>
                    </a:lnTo>
                    <a:lnTo>
                      <a:pt x="472" y="372"/>
                    </a:lnTo>
                    <a:lnTo>
                      <a:pt x="470" y="370"/>
                    </a:lnTo>
                    <a:lnTo>
                      <a:pt x="468" y="368"/>
                    </a:lnTo>
                    <a:lnTo>
                      <a:pt x="468" y="368"/>
                    </a:lnTo>
                    <a:lnTo>
                      <a:pt x="468" y="368"/>
                    </a:lnTo>
                    <a:lnTo>
                      <a:pt x="466" y="366"/>
                    </a:lnTo>
                    <a:lnTo>
                      <a:pt x="464" y="366"/>
                    </a:lnTo>
                    <a:lnTo>
                      <a:pt x="464" y="366"/>
                    </a:lnTo>
                    <a:lnTo>
                      <a:pt x="464" y="364"/>
                    </a:lnTo>
                    <a:lnTo>
                      <a:pt x="462" y="364"/>
                    </a:lnTo>
                    <a:lnTo>
                      <a:pt x="462" y="364"/>
                    </a:lnTo>
                    <a:lnTo>
                      <a:pt x="456" y="362"/>
                    </a:lnTo>
                    <a:lnTo>
                      <a:pt x="452" y="362"/>
                    </a:lnTo>
                    <a:lnTo>
                      <a:pt x="446" y="360"/>
                    </a:lnTo>
                    <a:lnTo>
                      <a:pt x="440" y="360"/>
                    </a:lnTo>
                    <a:lnTo>
                      <a:pt x="436" y="360"/>
                    </a:lnTo>
                    <a:lnTo>
                      <a:pt x="432" y="362"/>
                    </a:lnTo>
                    <a:lnTo>
                      <a:pt x="424" y="364"/>
                    </a:lnTo>
                    <a:lnTo>
                      <a:pt x="420" y="364"/>
                    </a:lnTo>
                    <a:lnTo>
                      <a:pt x="418" y="366"/>
                    </a:lnTo>
                    <a:lnTo>
                      <a:pt x="414" y="366"/>
                    </a:lnTo>
                    <a:lnTo>
                      <a:pt x="414" y="366"/>
                    </a:lnTo>
                    <a:lnTo>
                      <a:pt x="410" y="366"/>
                    </a:lnTo>
                    <a:lnTo>
                      <a:pt x="406" y="366"/>
                    </a:lnTo>
                    <a:lnTo>
                      <a:pt x="400" y="366"/>
                    </a:lnTo>
                    <a:lnTo>
                      <a:pt x="394" y="364"/>
                    </a:lnTo>
                    <a:lnTo>
                      <a:pt x="390" y="362"/>
                    </a:lnTo>
                    <a:lnTo>
                      <a:pt x="384" y="362"/>
                    </a:lnTo>
                    <a:lnTo>
                      <a:pt x="380" y="360"/>
                    </a:lnTo>
                    <a:lnTo>
                      <a:pt x="378" y="360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6"/>
                    </a:lnTo>
                    <a:lnTo>
                      <a:pt x="378" y="354"/>
                    </a:lnTo>
                    <a:lnTo>
                      <a:pt x="378" y="354"/>
                    </a:lnTo>
                    <a:lnTo>
                      <a:pt x="380" y="352"/>
                    </a:lnTo>
                    <a:lnTo>
                      <a:pt x="382" y="348"/>
                    </a:lnTo>
                    <a:lnTo>
                      <a:pt x="386" y="346"/>
                    </a:lnTo>
                    <a:lnTo>
                      <a:pt x="388" y="344"/>
                    </a:lnTo>
                    <a:lnTo>
                      <a:pt x="390" y="342"/>
                    </a:lnTo>
                    <a:lnTo>
                      <a:pt x="394" y="340"/>
                    </a:lnTo>
                    <a:lnTo>
                      <a:pt x="396" y="338"/>
                    </a:lnTo>
                    <a:lnTo>
                      <a:pt x="400" y="338"/>
                    </a:lnTo>
                    <a:lnTo>
                      <a:pt x="402" y="336"/>
                    </a:lnTo>
                    <a:lnTo>
                      <a:pt x="402" y="338"/>
                    </a:lnTo>
                    <a:lnTo>
                      <a:pt x="402" y="338"/>
                    </a:lnTo>
                    <a:lnTo>
                      <a:pt x="400" y="338"/>
                    </a:lnTo>
                    <a:lnTo>
                      <a:pt x="398" y="340"/>
                    </a:lnTo>
                    <a:lnTo>
                      <a:pt x="394" y="342"/>
                    </a:lnTo>
                    <a:lnTo>
                      <a:pt x="394" y="342"/>
                    </a:lnTo>
                    <a:lnTo>
                      <a:pt x="394" y="344"/>
                    </a:lnTo>
                    <a:lnTo>
                      <a:pt x="394" y="346"/>
                    </a:lnTo>
                    <a:lnTo>
                      <a:pt x="394" y="346"/>
                    </a:lnTo>
                    <a:lnTo>
                      <a:pt x="394" y="348"/>
                    </a:lnTo>
                    <a:lnTo>
                      <a:pt x="396" y="348"/>
                    </a:lnTo>
                    <a:lnTo>
                      <a:pt x="396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400" y="348"/>
                    </a:lnTo>
                    <a:lnTo>
                      <a:pt x="402" y="348"/>
                    </a:lnTo>
                    <a:lnTo>
                      <a:pt x="404" y="350"/>
                    </a:lnTo>
                    <a:lnTo>
                      <a:pt x="406" y="352"/>
                    </a:lnTo>
                    <a:lnTo>
                      <a:pt x="408" y="354"/>
                    </a:lnTo>
                    <a:lnTo>
                      <a:pt x="410" y="354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4" y="356"/>
                    </a:lnTo>
                    <a:lnTo>
                      <a:pt x="414" y="356"/>
                    </a:lnTo>
                    <a:lnTo>
                      <a:pt x="414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8" y="354"/>
                    </a:lnTo>
                    <a:lnTo>
                      <a:pt x="418" y="352"/>
                    </a:lnTo>
                    <a:lnTo>
                      <a:pt x="420" y="352"/>
                    </a:lnTo>
                    <a:lnTo>
                      <a:pt x="420" y="352"/>
                    </a:lnTo>
                    <a:lnTo>
                      <a:pt x="420" y="352"/>
                    </a:lnTo>
                    <a:lnTo>
                      <a:pt x="420" y="348"/>
                    </a:lnTo>
                    <a:lnTo>
                      <a:pt x="420" y="348"/>
                    </a:lnTo>
                    <a:lnTo>
                      <a:pt x="420" y="348"/>
                    </a:lnTo>
                    <a:lnTo>
                      <a:pt x="418" y="346"/>
                    </a:lnTo>
                    <a:lnTo>
                      <a:pt x="418" y="346"/>
                    </a:lnTo>
                    <a:lnTo>
                      <a:pt x="420" y="344"/>
                    </a:lnTo>
                    <a:lnTo>
                      <a:pt x="420" y="346"/>
                    </a:lnTo>
                    <a:lnTo>
                      <a:pt x="424" y="348"/>
                    </a:lnTo>
                    <a:lnTo>
                      <a:pt x="424" y="348"/>
                    </a:lnTo>
                    <a:lnTo>
                      <a:pt x="424" y="348"/>
                    </a:lnTo>
                    <a:lnTo>
                      <a:pt x="428" y="348"/>
                    </a:lnTo>
                    <a:lnTo>
                      <a:pt x="430" y="348"/>
                    </a:lnTo>
                    <a:lnTo>
                      <a:pt x="434" y="348"/>
                    </a:lnTo>
                    <a:lnTo>
                      <a:pt x="436" y="348"/>
                    </a:lnTo>
                    <a:lnTo>
                      <a:pt x="436" y="348"/>
                    </a:lnTo>
                    <a:lnTo>
                      <a:pt x="438" y="348"/>
                    </a:lnTo>
                    <a:lnTo>
                      <a:pt x="438" y="346"/>
                    </a:lnTo>
                    <a:lnTo>
                      <a:pt x="440" y="346"/>
                    </a:lnTo>
                    <a:lnTo>
                      <a:pt x="442" y="344"/>
                    </a:lnTo>
                    <a:lnTo>
                      <a:pt x="442" y="344"/>
                    </a:lnTo>
                    <a:lnTo>
                      <a:pt x="442" y="344"/>
                    </a:lnTo>
                    <a:lnTo>
                      <a:pt x="444" y="344"/>
                    </a:lnTo>
                    <a:lnTo>
                      <a:pt x="444" y="342"/>
                    </a:lnTo>
                    <a:lnTo>
                      <a:pt x="444" y="342"/>
                    </a:lnTo>
                    <a:lnTo>
                      <a:pt x="446" y="342"/>
                    </a:lnTo>
                    <a:lnTo>
                      <a:pt x="444" y="342"/>
                    </a:lnTo>
                    <a:lnTo>
                      <a:pt x="446" y="342"/>
                    </a:lnTo>
                    <a:lnTo>
                      <a:pt x="448" y="340"/>
                    </a:lnTo>
                    <a:lnTo>
                      <a:pt x="450" y="340"/>
                    </a:lnTo>
                    <a:lnTo>
                      <a:pt x="452" y="340"/>
                    </a:lnTo>
                    <a:lnTo>
                      <a:pt x="454" y="340"/>
                    </a:lnTo>
                    <a:lnTo>
                      <a:pt x="456" y="340"/>
                    </a:lnTo>
                    <a:lnTo>
                      <a:pt x="456" y="340"/>
                    </a:lnTo>
                    <a:lnTo>
                      <a:pt x="456" y="338"/>
                    </a:lnTo>
                    <a:lnTo>
                      <a:pt x="458" y="338"/>
                    </a:lnTo>
                    <a:lnTo>
                      <a:pt x="460" y="338"/>
                    </a:lnTo>
                    <a:lnTo>
                      <a:pt x="460" y="338"/>
                    </a:lnTo>
                    <a:lnTo>
                      <a:pt x="468" y="336"/>
                    </a:lnTo>
                    <a:lnTo>
                      <a:pt x="470" y="334"/>
                    </a:lnTo>
                    <a:lnTo>
                      <a:pt x="474" y="334"/>
                    </a:lnTo>
                    <a:lnTo>
                      <a:pt x="474" y="334"/>
                    </a:lnTo>
                    <a:lnTo>
                      <a:pt x="476" y="332"/>
                    </a:lnTo>
                    <a:lnTo>
                      <a:pt x="478" y="328"/>
                    </a:lnTo>
                    <a:lnTo>
                      <a:pt x="482" y="326"/>
                    </a:lnTo>
                    <a:lnTo>
                      <a:pt x="484" y="324"/>
                    </a:lnTo>
                    <a:lnTo>
                      <a:pt x="484" y="324"/>
                    </a:lnTo>
                    <a:lnTo>
                      <a:pt x="486" y="322"/>
                    </a:lnTo>
                    <a:lnTo>
                      <a:pt x="488" y="322"/>
                    </a:lnTo>
                    <a:lnTo>
                      <a:pt x="490" y="322"/>
                    </a:lnTo>
                    <a:lnTo>
                      <a:pt x="496" y="322"/>
                    </a:lnTo>
                    <a:lnTo>
                      <a:pt x="498" y="320"/>
                    </a:lnTo>
                    <a:lnTo>
                      <a:pt x="500" y="320"/>
                    </a:lnTo>
                    <a:lnTo>
                      <a:pt x="500" y="320"/>
                    </a:lnTo>
                    <a:lnTo>
                      <a:pt x="504" y="320"/>
                    </a:lnTo>
                    <a:lnTo>
                      <a:pt x="504" y="318"/>
                    </a:lnTo>
                    <a:lnTo>
                      <a:pt x="506" y="316"/>
                    </a:lnTo>
                    <a:lnTo>
                      <a:pt x="506" y="316"/>
                    </a:lnTo>
                    <a:lnTo>
                      <a:pt x="506" y="314"/>
                    </a:lnTo>
                    <a:lnTo>
                      <a:pt x="506" y="312"/>
                    </a:lnTo>
                    <a:lnTo>
                      <a:pt x="506" y="312"/>
                    </a:lnTo>
                    <a:lnTo>
                      <a:pt x="506" y="310"/>
                    </a:lnTo>
                    <a:lnTo>
                      <a:pt x="506" y="308"/>
                    </a:lnTo>
                    <a:lnTo>
                      <a:pt x="506" y="306"/>
                    </a:lnTo>
                    <a:lnTo>
                      <a:pt x="506" y="304"/>
                    </a:lnTo>
                    <a:lnTo>
                      <a:pt x="506" y="304"/>
                    </a:lnTo>
                    <a:lnTo>
                      <a:pt x="508" y="304"/>
                    </a:lnTo>
                    <a:lnTo>
                      <a:pt x="508" y="304"/>
                    </a:lnTo>
                    <a:lnTo>
                      <a:pt x="510" y="304"/>
                    </a:lnTo>
                    <a:lnTo>
                      <a:pt x="512" y="304"/>
                    </a:lnTo>
                    <a:lnTo>
                      <a:pt x="514" y="306"/>
                    </a:lnTo>
                    <a:lnTo>
                      <a:pt x="516" y="306"/>
                    </a:lnTo>
                    <a:lnTo>
                      <a:pt x="520" y="310"/>
                    </a:lnTo>
                    <a:lnTo>
                      <a:pt x="524" y="314"/>
                    </a:lnTo>
                    <a:lnTo>
                      <a:pt x="524" y="314"/>
                    </a:lnTo>
                    <a:lnTo>
                      <a:pt x="524" y="314"/>
                    </a:lnTo>
                    <a:lnTo>
                      <a:pt x="526" y="316"/>
                    </a:lnTo>
                    <a:lnTo>
                      <a:pt x="526" y="316"/>
                    </a:lnTo>
                    <a:lnTo>
                      <a:pt x="526" y="316"/>
                    </a:lnTo>
                    <a:lnTo>
                      <a:pt x="530" y="316"/>
                    </a:lnTo>
                    <a:lnTo>
                      <a:pt x="532" y="318"/>
                    </a:lnTo>
                    <a:lnTo>
                      <a:pt x="532" y="318"/>
                    </a:lnTo>
                    <a:lnTo>
                      <a:pt x="532" y="318"/>
                    </a:lnTo>
                    <a:lnTo>
                      <a:pt x="536" y="320"/>
                    </a:lnTo>
                    <a:lnTo>
                      <a:pt x="536" y="320"/>
                    </a:lnTo>
                    <a:lnTo>
                      <a:pt x="536" y="320"/>
                    </a:lnTo>
                    <a:lnTo>
                      <a:pt x="540" y="320"/>
                    </a:lnTo>
                    <a:lnTo>
                      <a:pt x="544" y="322"/>
                    </a:lnTo>
                    <a:lnTo>
                      <a:pt x="544" y="322"/>
                    </a:lnTo>
                    <a:lnTo>
                      <a:pt x="554" y="322"/>
                    </a:lnTo>
                    <a:lnTo>
                      <a:pt x="562" y="322"/>
                    </a:lnTo>
                    <a:lnTo>
                      <a:pt x="570" y="322"/>
                    </a:lnTo>
                    <a:lnTo>
                      <a:pt x="574" y="322"/>
                    </a:lnTo>
                    <a:lnTo>
                      <a:pt x="578" y="320"/>
                    </a:lnTo>
                    <a:lnTo>
                      <a:pt x="578" y="320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2" y="318"/>
                    </a:lnTo>
                    <a:lnTo>
                      <a:pt x="582" y="318"/>
                    </a:lnTo>
                    <a:lnTo>
                      <a:pt x="582" y="318"/>
                    </a:lnTo>
                    <a:lnTo>
                      <a:pt x="582" y="316"/>
                    </a:lnTo>
                    <a:lnTo>
                      <a:pt x="582" y="314"/>
                    </a:lnTo>
                    <a:lnTo>
                      <a:pt x="582" y="312"/>
                    </a:lnTo>
                    <a:lnTo>
                      <a:pt x="584" y="312"/>
                    </a:lnTo>
                    <a:lnTo>
                      <a:pt x="584" y="312"/>
                    </a:lnTo>
                    <a:lnTo>
                      <a:pt x="586" y="312"/>
                    </a:lnTo>
                    <a:lnTo>
                      <a:pt x="588" y="310"/>
                    </a:lnTo>
                    <a:lnTo>
                      <a:pt x="588" y="310"/>
                    </a:lnTo>
                    <a:lnTo>
                      <a:pt x="588" y="310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92" y="306"/>
                    </a:lnTo>
                    <a:lnTo>
                      <a:pt x="592" y="306"/>
                    </a:lnTo>
                    <a:lnTo>
                      <a:pt x="592" y="306"/>
                    </a:lnTo>
                    <a:lnTo>
                      <a:pt x="592" y="304"/>
                    </a:lnTo>
                    <a:lnTo>
                      <a:pt x="592" y="304"/>
                    </a:lnTo>
                    <a:lnTo>
                      <a:pt x="592" y="304"/>
                    </a:lnTo>
                    <a:lnTo>
                      <a:pt x="594" y="300"/>
                    </a:lnTo>
                    <a:lnTo>
                      <a:pt x="594" y="298"/>
                    </a:lnTo>
                    <a:lnTo>
                      <a:pt x="596" y="296"/>
                    </a:lnTo>
                    <a:lnTo>
                      <a:pt x="596" y="296"/>
                    </a:lnTo>
                    <a:lnTo>
                      <a:pt x="596" y="296"/>
                    </a:lnTo>
                    <a:lnTo>
                      <a:pt x="596" y="288"/>
                    </a:lnTo>
                    <a:lnTo>
                      <a:pt x="598" y="284"/>
                    </a:lnTo>
                    <a:lnTo>
                      <a:pt x="600" y="278"/>
                    </a:lnTo>
                    <a:lnTo>
                      <a:pt x="602" y="274"/>
                    </a:lnTo>
                    <a:lnTo>
                      <a:pt x="602" y="274"/>
                    </a:lnTo>
                    <a:lnTo>
                      <a:pt x="602" y="274"/>
                    </a:lnTo>
                    <a:lnTo>
                      <a:pt x="602" y="272"/>
                    </a:lnTo>
                    <a:lnTo>
                      <a:pt x="602" y="272"/>
                    </a:lnTo>
                    <a:lnTo>
                      <a:pt x="602" y="272"/>
                    </a:lnTo>
                    <a:lnTo>
                      <a:pt x="600" y="270"/>
                    </a:lnTo>
                    <a:lnTo>
                      <a:pt x="600" y="270"/>
                    </a:lnTo>
                    <a:lnTo>
                      <a:pt x="600" y="268"/>
                    </a:lnTo>
                    <a:lnTo>
                      <a:pt x="600" y="268"/>
                    </a:lnTo>
                    <a:lnTo>
                      <a:pt x="600" y="268"/>
                    </a:lnTo>
                    <a:lnTo>
                      <a:pt x="598" y="266"/>
                    </a:lnTo>
                    <a:lnTo>
                      <a:pt x="598" y="264"/>
                    </a:lnTo>
                    <a:lnTo>
                      <a:pt x="598" y="264"/>
                    </a:lnTo>
                    <a:lnTo>
                      <a:pt x="598" y="264"/>
                    </a:lnTo>
                    <a:lnTo>
                      <a:pt x="594" y="264"/>
                    </a:lnTo>
                    <a:lnTo>
                      <a:pt x="594" y="264"/>
                    </a:lnTo>
                    <a:lnTo>
                      <a:pt x="594" y="262"/>
                    </a:lnTo>
                    <a:lnTo>
                      <a:pt x="592" y="262"/>
                    </a:lnTo>
                    <a:lnTo>
                      <a:pt x="588" y="260"/>
                    </a:lnTo>
                    <a:lnTo>
                      <a:pt x="584" y="258"/>
                    </a:lnTo>
                    <a:lnTo>
                      <a:pt x="580" y="256"/>
                    </a:lnTo>
                    <a:lnTo>
                      <a:pt x="576" y="252"/>
                    </a:lnTo>
                    <a:lnTo>
                      <a:pt x="570" y="246"/>
                    </a:lnTo>
                    <a:lnTo>
                      <a:pt x="566" y="244"/>
                    </a:lnTo>
                    <a:lnTo>
                      <a:pt x="562" y="240"/>
                    </a:lnTo>
                    <a:lnTo>
                      <a:pt x="562" y="240"/>
                    </a:lnTo>
                    <a:lnTo>
                      <a:pt x="562" y="240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4" y="236"/>
                    </a:lnTo>
                    <a:lnTo>
                      <a:pt x="550" y="236"/>
                    </a:lnTo>
                    <a:lnTo>
                      <a:pt x="548" y="234"/>
                    </a:lnTo>
                    <a:lnTo>
                      <a:pt x="544" y="230"/>
                    </a:lnTo>
                    <a:lnTo>
                      <a:pt x="540" y="226"/>
                    </a:lnTo>
                    <a:lnTo>
                      <a:pt x="538" y="220"/>
                    </a:lnTo>
                    <a:lnTo>
                      <a:pt x="538" y="216"/>
                    </a:lnTo>
                    <a:lnTo>
                      <a:pt x="538" y="208"/>
                    </a:lnTo>
                    <a:lnTo>
                      <a:pt x="538" y="202"/>
                    </a:lnTo>
                    <a:lnTo>
                      <a:pt x="538" y="194"/>
                    </a:lnTo>
                    <a:lnTo>
                      <a:pt x="538" y="186"/>
                    </a:lnTo>
                    <a:lnTo>
                      <a:pt x="538" y="178"/>
                    </a:lnTo>
                    <a:lnTo>
                      <a:pt x="538" y="178"/>
                    </a:lnTo>
                    <a:lnTo>
                      <a:pt x="536" y="178"/>
                    </a:lnTo>
                    <a:lnTo>
                      <a:pt x="534" y="172"/>
                    </a:lnTo>
                    <a:lnTo>
                      <a:pt x="534" y="172"/>
                    </a:lnTo>
                    <a:lnTo>
                      <a:pt x="534" y="172"/>
                    </a:lnTo>
                    <a:lnTo>
                      <a:pt x="532" y="168"/>
                    </a:lnTo>
                    <a:lnTo>
                      <a:pt x="532" y="166"/>
                    </a:lnTo>
                    <a:lnTo>
                      <a:pt x="532" y="162"/>
                    </a:lnTo>
                    <a:lnTo>
                      <a:pt x="532" y="154"/>
                    </a:lnTo>
                    <a:lnTo>
                      <a:pt x="532" y="148"/>
                    </a:lnTo>
                    <a:lnTo>
                      <a:pt x="534" y="140"/>
                    </a:lnTo>
                    <a:lnTo>
                      <a:pt x="536" y="132"/>
                    </a:lnTo>
                    <a:lnTo>
                      <a:pt x="536" y="126"/>
                    </a:lnTo>
                    <a:lnTo>
                      <a:pt x="540" y="118"/>
                    </a:lnTo>
                    <a:lnTo>
                      <a:pt x="542" y="114"/>
                    </a:lnTo>
                    <a:lnTo>
                      <a:pt x="542" y="114"/>
                    </a:lnTo>
                    <a:lnTo>
                      <a:pt x="542" y="110"/>
                    </a:lnTo>
                    <a:lnTo>
                      <a:pt x="540" y="108"/>
                    </a:lnTo>
                    <a:lnTo>
                      <a:pt x="538" y="106"/>
                    </a:lnTo>
                    <a:lnTo>
                      <a:pt x="538" y="106"/>
                    </a:lnTo>
                    <a:lnTo>
                      <a:pt x="538" y="106"/>
                    </a:lnTo>
                    <a:lnTo>
                      <a:pt x="534" y="104"/>
                    </a:lnTo>
                    <a:lnTo>
                      <a:pt x="534" y="104"/>
                    </a:lnTo>
                    <a:lnTo>
                      <a:pt x="534" y="104"/>
                    </a:lnTo>
                    <a:lnTo>
                      <a:pt x="530" y="104"/>
                    </a:lnTo>
                    <a:lnTo>
                      <a:pt x="530" y="104"/>
                    </a:lnTo>
                    <a:lnTo>
                      <a:pt x="528" y="104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0" y="104"/>
                    </a:lnTo>
                    <a:lnTo>
                      <a:pt x="516" y="104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504" y="108"/>
                    </a:lnTo>
                    <a:lnTo>
                      <a:pt x="504" y="108"/>
                    </a:lnTo>
                    <a:lnTo>
                      <a:pt x="502" y="108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0" y="112"/>
                    </a:lnTo>
                    <a:lnTo>
                      <a:pt x="500" y="114"/>
                    </a:lnTo>
                    <a:lnTo>
                      <a:pt x="500" y="114"/>
                    </a:lnTo>
                    <a:lnTo>
                      <a:pt x="500" y="114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496" y="114"/>
                    </a:lnTo>
                    <a:lnTo>
                      <a:pt x="496" y="114"/>
                    </a:lnTo>
                    <a:lnTo>
                      <a:pt x="496" y="114"/>
                    </a:lnTo>
                    <a:lnTo>
                      <a:pt x="494" y="112"/>
                    </a:lnTo>
                    <a:lnTo>
                      <a:pt x="494" y="112"/>
                    </a:lnTo>
                    <a:lnTo>
                      <a:pt x="494" y="112"/>
                    </a:lnTo>
                    <a:lnTo>
                      <a:pt x="492" y="110"/>
                    </a:lnTo>
                    <a:lnTo>
                      <a:pt x="492" y="110"/>
                    </a:lnTo>
                    <a:lnTo>
                      <a:pt x="488" y="110"/>
                    </a:lnTo>
                    <a:lnTo>
                      <a:pt x="488" y="110"/>
                    </a:lnTo>
                    <a:lnTo>
                      <a:pt x="486" y="110"/>
                    </a:lnTo>
                    <a:lnTo>
                      <a:pt x="486" y="114"/>
                    </a:lnTo>
                    <a:lnTo>
                      <a:pt x="486" y="114"/>
                    </a:lnTo>
                    <a:lnTo>
                      <a:pt x="486" y="114"/>
                    </a:lnTo>
                    <a:lnTo>
                      <a:pt x="484" y="118"/>
                    </a:lnTo>
                    <a:lnTo>
                      <a:pt x="482" y="124"/>
                    </a:lnTo>
                    <a:lnTo>
                      <a:pt x="482" y="128"/>
                    </a:lnTo>
                    <a:lnTo>
                      <a:pt x="482" y="140"/>
                    </a:lnTo>
                    <a:lnTo>
                      <a:pt x="484" y="150"/>
                    </a:lnTo>
                    <a:lnTo>
                      <a:pt x="486" y="162"/>
                    </a:lnTo>
                    <a:lnTo>
                      <a:pt x="486" y="168"/>
                    </a:lnTo>
                    <a:lnTo>
                      <a:pt x="488" y="174"/>
                    </a:lnTo>
                    <a:lnTo>
                      <a:pt x="490" y="178"/>
                    </a:lnTo>
                    <a:lnTo>
                      <a:pt x="492" y="182"/>
                    </a:lnTo>
                    <a:lnTo>
                      <a:pt x="494" y="186"/>
                    </a:lnTo>
                    <a:lnTo>
                      <a:pt x="496" y="190"/>
                    </a:lnTo>
                    <a:lnTo>
                      <a:pt x="496" y="190"/>
                    </a:lnTo>
                    <a:lnTo>
                      <a:pt x="496" y="190"/>
                    </a:lnTo>
                    <a:lnTo>
                      <a:pt x="496" y="192"/>
                    </a:lnTo>
                    <a:lnTo>
                      <a:pt x="494" y="192"/>
                    </a:lnTo>
                    <a:lnTo>
                      <a:pt x="494" y="194"/>
                    </a:lnTo>
                    <a:lnTo>
                      <a:pt x="492" y="194"/>
                    </a:lnTo>
                    <a:lnTo>
                      <a:pt x="492" y="194"/>
                    </a:lnTo>
                    <a:lnTo>
                      <a:pt x="492" y="194"/>
                    </a:lnTo>
                    <a:lnTo>
                      <a:pt x="490" y="196"/>
                    </a:lnTo>
                    <a:lnTo>
                      <a:pt x="490" y="196"/>
                    </a:lnTo>
                    <a:lnTo>
                      <a:pt x="490" y="196"/>
                    </a:lnTo>
                    <a:lnTo>
                      <a:pt x="490" y="194"/>
                    </a:lnTo>
                    <a:lnTo>
                      <a:pt x="490" y="194"/>
                    </a:lnTo>
                    <a:lnTo>
                      <a:pt x="490" y="194"/>
                    </a:lnTo>
                    <a:lnTo>
                      <a:pt x="488" y="192"/>
                    </a:lnTo>
                    <a:lnTo>
                      <a:pt x="488" y="186"/>
                    </a:lnTo>
                    <a:lnTo>
                      <a:pt x="486" y="178"/>
                    </a:lnTo>
                    <a:lnTo>
                      <a:pt x="484" y="172"/>
                    </a:lnTo>
                    <a:lnTo>
                      <a:pt x="482" y="164"/>
                    </a:lnTo>
                    <a:lnTo>
                      <a:pt x="478" y="156"/>
                    </a:lnTo>
                    <a:lnTo>
                      <a:pt x="474" y="150"/>
                    </a:lnTo>
                    <a:lnTo>
                      <a:pt x="470" y="144"/>
                    </a:lnTo>
                    <a:lnTo>
                      <a:pt x="464" y="138"/>
                    </a:lnTo>
                    <a:lnTo>
                      <a:pt x="464" y="138"/>
                    </a:lnTo>
                    <a:lnTo>
                      <a:pt x="462" y="138"/>
                    </a:lnTo>
                    <a:lnTo>
                      <a:pt x="462" y="138"/>
                    </a:lnTo>
                    <a:lnTo>
                      <a:pt x="460" y="140"/>
                    </a:lnTo>
                    <a:lnTo>
                      <a:pt x="458" y="142"/>
                    </a:lnTo>
                    <a:lnTo>
                      <a:pt x="458" y="142"/>
                    </a:lnTo>
                    <a:lnTo>
                      <a:pt x="458" y="142"/>
                    </a:lnTo>
                    <a:lnTo>
                      <a:pt x="456" y="146"/>
                    </a:lnTo>
                    <a:lnTo>
                      <a:pt x="456" y="156"/>
                    </a:lnTo>
                    <a:lnTo>
                      <a:pt x="454" y="160"/>
                    </a:lnTo>
                    <a:lnTo>
                      <a:pt x="454" y="162"/>
                    </a:lnTo>
                    <a:lnTo>
                      <a:pt x="452" y="164"/>
                    </a:lnTo>
                    <a:lnTo>
                      <a:pt x="452" y="164"/>
                    </a:lnTo>
                    <a:lnTo>
                      <a:pt x="450" y="164"/>
                    </a:lnTo>
                    <a:lnTo>
                      <a:pt x="448" y="166"/>
                    </a:lnTo>
                    <a:lnTo>
                      <a:pt x="448" y="166"/>
                    </a:lnTo>
                    <a:lnTo>
                      <a:pt x="446" y="166"/>
                    </a:lnTo>
                    <a:lnTo>
                      <a:pt x="440" y="168"/>
                    </a:lnTo>
                    <a:lnTo>
                      <a:pt x="436" y="168"/>
                    </a:lnTo>
                    <a:lnTo>
                      <a:pt x="432" y="166"/>
                    </a:lnTo>
                    <a:lnTo>
                      <a:pt x="432" y="166"/>
                    </a:lnTo>
                    <a:lnTo>
                      <a:pt x="432" y="162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4" y="156"/>
                    </a:lnTo>
                    <a:lnTo>
                      <a:pt x="434" y="154"/>
                    </a:lnTo>
                    <a:lnTo>
                      <a:pt x="434" y="152"/>
                    </a:lnTo>
                    <a:lnTo>
                      <a:pt x="432" y="148"/>
                    </a:lnTo>
                    <a:lnTo>
                      <a:pt x="432" y="148"/>
                    </a:lnTo>
                    <a:lnTo>
                      <a:pt x="432" y="148"/>
                    </a:lnTo>
                    <a:lnTo>
                      <a:pt x="430" y="144"/>
                    </a:lnTo>
                    <a:lnTo>
                      <a:pt x="430" y="144"/>
                    </a:lnTo>
                    <a:lnTo>
                      <a:pt x="428" y="144"/>
                    </a:lnTo>
                    <a:lnTo>
                      <a:pt x="426" y="142"/>
                    </a:lnTo>
                    <a:lnTo>
                      <a:pt x="426" y="142"/>
                    </a:lnTo>
                    <a:lnTo>
                      <a:pt x="424" y="142"/>
                    </a:lnTo>
                    <a:lnTo>
                      <a:pt x="422" y="140"/>
                    </a:lnTo>
                    <a:lnTo>
                      <a:pt x="420" y="138"/>
                    </a:lnTo>
                    <a:lnTo>
                      <a:pt x="420" y="138"/>
                    </a:lnTo>
                    <a:lnTo>
                      <a:pt x="418" y="138"/>
                    </a:lnTo>
                    <a:lnTo>
                      <a:pt x="414" y="138"/>
                    </a:lnTo>
                    <a:lnTo>
                      <a:pt x="412" y="138"/>
                    </a:lnTo>
                    <a:lnTo>
                      <a:pt x="412" y="138"/>
                    </a:lnTo>
                    <a:lnTo>
                      <a:pt x="410" y="138"/>
                    </a:lnTo>
                    <a:lnTo>
                      <a:pt x="408" y="140"/>
                    </a:lnTo>
                    <a:lnTo>
                      <a:pt x="408" y="140"/>
                    </a:lnTo>
                    <a:lnTo>
                      <a:pt x="406" y="140"/>
                    </a:lnTo>
                    <a:lnTo>
                      <a:pt x="404" y="140"/>
                    </a:lnTo>
                    <a:lnTo>
                      <a:pt x="404" y="140"/>
                    </a:lnTo>
                    <a:lnTo>
                      <a:pt x="404" y="142"/>
                    </a:lnTo>
                    <a:lnTo>
                      <a:pt x="404" y="142"/>
                    </a:lnTo>
                    <a:lnTo>
                      <a:pt x="400" y="146"/>
                    </a:lnTo>
                    <a:lnTo>
                      <a:pt x="400" y="150"/>
                    </a:lnTo>
                    <a:lnTo>
                      <a:pt x="398" y="152"/>
                    </a:lnTo>
                    <a:lnTo>
                      <a:pt x="398" y="152"/>
                    </a:lnTo>
                    <a:lnTo>
                      <a:pt x="398" y="152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6"/>
                    </a:lnTo>
                    <a:lnTo>
                      <a:pt x="398" y="156"/>
                    </a:lnTo>
                    <a:lnTo>
                      <a:pt x="398" y="156"/>
                    </a:lnTo>
                    <a:lnTo>
                      <a:pt x="396" y="154"/>
                    </a:lnTo>
                    <a:lnTo>
                      <a:pt x="396" y="154"/>
                    </a:lnTo>
                    <a:lnTo>
                      <a:pt x="394" y="154"/>
                    </a:lnTo>
                    <a:lnTo>
                      <a:pt x="394" y="152"/>
                    </a:lnTo>
                    <a:lnTo>
                      <a:pt x="394" y="150"/>
                    </a:lnTo>
                    <a:lnTo>
                      <a:pt x="394" y="146"/>
                    </a:lnTo>
                    <a:lnTo>
                      <a:pt x="394" y="142"/>
                    </a:lnTo>
                    <a:lnTo>
                      <a:pt x="394" y="136"/>
                    </a:lnTo>
                    <a:lnTo>
                      <a:pt x="394" y="132"/>
                    </a:lnTo>
                    <a:lnTo>
                      <a:pt x="394" y="126"/>
                    </a:lnTo>
                    <a:lnTo>
                      <a:pt x="394" y="126"/>
                    </a:lnTo>
                    <a:lnTo>
                      <a:pt x="394" y="124"/>
                    </a:lnTo>
                    <a:lnTo>
                      <a:pt x="394" y="124"/>
                    </a:lnTo>
                    <a:lnTo>
                      <a:pt x="390" y="124"/>
                    </a:lnTo>
                    <a:lnTo>
                      <a:pt x="390" y="124"/>
                    </a:lnTo>
                    <a:lnTo>
                      <a:pt x="388" y="124"/>
                    </a:lnTo>
                    <a:lnTo>
                      <a:pt x="386" y="126"/>
                    </a:lnTo>
                    <a:lnTo>
                      <a:pt x="384" y="126"/>
                    </a:lnTo>
                    <a:lnTo>
                      <a:pt x="382" y="128"/>
                    </a:lnTo>
                    <a:lnTo>
                      <a:pt x="382" y="128"/>
                    </a:lnTo>
                    <a:lnTo>
                      <a:pt x="380" y="128"/>
                    </a:lnTo>
                    <a:lnTo>
                      <a:pt x="380" y="128"/>
                    </a:lnTo>
                    <a:lnTo>
                      <a:pt x="380" y="128"/>
                    </a:lnTo>
                    <a:lnTo>
                      <a:pt x="380" y="130"/>
                    </a:lnTo>
                    <a:lnTo>
                      <a:pt x="376" y="130"/>
                    </a:lnTo>
                    <a:lnTo>
                      <a:pt x="370" y="132"/>
                    </a:lnTo>
                    <a:lnTo>
                      <a:pt x="362" y="134"/>
                    </a:lnTo>
                    <a:lnTo>
                      <a:pt x="358" y="136"/>
                    </a:lnTo>
                    <a:lnTo>
                      <a:pt x="358" y="136"/>
                    </a:lnTo>
                    <a:lnTo>
                      <a:pt x="360" y="134"/>
                    </a:lnTo>
                    <a:lnTo>
                      <a:pt x="362" y="132"/>
                    </a:lnTo>
                    <a:lnTo>
                      <a:pt x="364" y="128"/>
                    </a:lnTo>
                    <a:lnTo>
                      <a:pt x="366" y="128"/>
                    </a:lnTo>
                    <a:lnTo>
                      <a:pt x="366" y="126"/>
                    </a:lnTo>
                    <a:lnTo>
                      <a:pt x="368" y="126"/>
                    </a:lnTo>
                    <a:lnTo>
                      <a:pt x="368" y="126"/>
                    </a:lnTo>
                    <a:lnTo>
                      <a:pt x="370" y="126"/>
                    </a:lnTo>
                    <a:lnTo>
                      <a:pt x="372" y="126"/>
                    </a:lnTo>
                    <a:lnTo>
                      <a:pt x="376" y="124"/>
                    </a:lnTo>
                    <a:lnTo>
                      <a:pt x="380" y="124"/>
                    </a:lnTo>
                    <a:lnTo>
                      <a:pt x="380" y="124"/>
                    </a:lnTo>
                    <a:lnTo>
                      <a:pt x="382" y="124"/>
                    </a:lnTo>
                    <a:lnTo>
                      <a:pt x="382" y="120"/>
                    </a:lnTo>
                    <a:lnTo>
                      <a:pt x="382" y="118"/>
                    </a:lnTo>
                    <a:lnTo>
                      <a:pt x="380" y="114"/>
                    </a:lnTo>
                    <a:lnTo>
                      <a:pt x="380" y="108"/>
                    </a:lnTo>
                    <a:lnTo>
                      <a:pt x="380" y="108"/>
                    </a:lnTo>
                    <a:lnTo>
                      <a:pt x="378" y="106"/>
                    </a:lnTo>
                    <a:lnTo>
                      <a:pt x="376" y="102"/>
                    </a:lnTo>
                    <a:lnTo>
                      <a:pt x="374" y="98"/>
                    </a:lnTo>
                    <a:lnTo>
                      <a:pt x="372" y="96"/>
                    </a:lnTo>
                    <a:lnTo>
                      <a:pt x="372" y="94"/>
                    </a:lnTo>
                    <a:lnTo>
                      <a:pt x="372" y="92"/>
                    </a:lnTo>
                    <a:lnTo>
                      <a:pt x="372" y="92"/>
                    </a:lnTo>
                    <a:lnTo>
                      <a:pt x="372" y="92"/>
                    </a:lnTo>
                    <a:lnTo>
                      <a:pt x="370" y="88"/>
                    </a:lnTo>
                    <a:lnTo>
                      <a:pt x="370" y="88"/>
                    </a:lnTo>
                    <a:lnTo>
                      <a:pt x="370" y="88"/>
                    </a:lnTo>
                    <a:lnTo>
                      <a:pt x="366" y="86"/>
                    </a:lnTo>
                    <a:lnTo>
                      <a:pt x="366" y="86"/>
                    </a:lnTo>
                    <a:lnTo>
                      <a:pt x="366" y="86"/>
                    </a:lnTo>
                    <a:lnTo>
                      <a:pt x="364" y="84"/>
                    </a:lnTo>
                    <a:lnTo>
                      <a:pt x="362" y="84"/>
                    </a:lnTo>
                    <a:lnTo>
                      <a:pt x="360" y="80"/>
                    </a:lnTo>
                    <a:lnTo>
                      <a:pt x="358" y="78"/>
                    </a:lnTo>
                    <a:lnTo>
                      <a:pt x="354" y="76"/>
                    </a:lnTo>
                    <a:lnTo>
                      <a:pt x="352" y="72"/>
                    </a:lnTo>
                    <a:lnTo>
                      <a:pt x="352" y="72"/>
                    </a:lnTo>
                    <a:lnTo>
                      <a:pt x="350" y="72"/>
                    </a:lnTo>
                    <a:lnTo>
                      <a:pt x="346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4" y="72"/>
                    </a:lnTo>
                    <a:lnTo>
                      <a:pt x="334" y="72"/>
                    </a:lnTo>
                    <a:lnTo>
                      <a:pt x="334" y="72"/>
                    </a:lnTo>
                    <a:lnTo>
                      <a:pt x="330" y="74"/>
                    </a:lnTo>
                    <a:lnTo>
                      <a:pt x="330" y="74"/>
                    </a:lnTo>
                    <a:lnTo>
                      <a:pt x="330" y="74"/>
                    </a:lnTo>
                    <a:lnTo>
                      <a:pt x="328" y="76"/>
                    </a:lnTo>
                    <a:lnTo>
                      <a:pt x="328" y="76"/>
                    </a:lnTo>
                    <a:lnTo>
                      <a:pt x="326" y="76"/>
                    </a:lnTo>
                    <a:lnTo>
                      <a:pt x="324" y="78"/>
                    </a:lnTo>
                    <a:lnTo>
                      <a:pt x="324" y="78"/>
                    </a:lnTo>
                    <a:lnTo>
                      <a:pt x="324" y="78"/>
                    </a:lnTo>
                    <a:lnTo>
                      <a:pt x="322" y="82"/>
                    </a:lnTo>
                    <a:lnTo>
                      <a:pt x="322" y="84"/>
                    </a:lnTo>
                    <a:lnTo>
                      <a:pt x="320" y="84"/>
                    </a:lnTo>
                    <a:lnTo>
                      <a:pt x="316" y="80"/>
                    </a:lnTo>
                    <a:lnTo>
                      <a:pt x="314" y="78"/>
                    </a:lnTo>
                    <a:lnTo>
                      <a:pt x="310" y="74"/>
                    </a:lnTo>
                    <a:lnTo>
                      <a:pt x="308" y="72"/>
                    </a:lnTo>
                    <a:lnTo>
                      <a:pt x="304" y="68"/>
                    </a:lnTo>
                    <a:lnTo>
                      <a:pt x="304" y="68"/>
                    </a:lnTo>
                    <a:lnTo>
                      <a:pt x="304" y="68"/>
                    </a:lnTo>
                    <a:lnTo>
                      <a:pt x="300" y="66"/>
                    </a:lnTo>
                    <a:lnTo>
                      <a:pt x="300" y="66"/>
                    </a:lnTo>
                    <a:lnTo>
                      <a:pt x="300" y="66"/>
                    </a:lnTo>
                    <a:lnTo>
                      <a:pt x="296" y="64"/>
                    </a:lnTo>
                    <a:lnTo>
                      <a:pt x="296" y="64"/>
                    </a:lnTo>
                    <a:lnTo>
                      <a:pt x="296" y="60"/>
                    </a:lnTo>
                    <a:lnTo>
                      <a:pt x="294" y="58"/>
                    </a:lnTo>
                    <a:lnTo>
                      <a:pt x="294" y="58"/>
                    </a:lnTo>
                    <a:lnTo>
                      <a:pt x="294" y="58"/>
                    </a:lnTo>
                    <a:lnTo>
                      <a:pt x="294" y="56"/>
                    </a:lnTo>
                    <a:lnTo>
                      <a:pt x="294" y="56"/>
                    </a:lnTo>
                    <a:lnTo>
                      <a:pt x="294" y="56"/>
                    </a:lnTo>
                    <a:lnTo>
                      <a:pt x="292" y="56"/>
                    </a:lnTo>
                    <a:lnTo>
                      <a:pt x="292" y="56"/>
                    </a:lnTo>
                    <a:lnTo>
                      <a:pt x="292" y="56"/>
                    </a:lnTo>
                    <a:lnTo>
                      <a:pt x="290" y="56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6" y="58"/>
                    </a:lnTo>
                    <a:lnTo>
                      <a:pt x="284" y="60"/>
                    </a:lnTo>
                    <a:lnTo>
                      <a:pt x="282" y="62"/>
                    </a:lnTo>
                    <a:lnTo>
                      <a:pt x="280" y="62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66" y="58"/>
                    </a:lnTo>
                    <a:lnTo>
                      <a:pt x="266" y="58"/>
                    </a:lnTo>
                    <a:lnTo>
                      <a:pt x="264" y="58"/>
                    </a:lnTo>
                    <a:lnTo>
                      <a:pt x="258" y="62"/>
                    </a:lnTo>
                    <a:lnTo>
                      <a:pt x="254" y="64"/>
                    </a:lnTo>
                    <a:lnTo>
                      <a:pt x="248" y="66"/>
                    </a:lnTo>
                    <a:lnTo>
                      <a:pt x="246" y="68"/>
                    </a:lnTo>
                    <a:lnTo>
                      <a:pt x="242" y="68"/>
                    </a:lnTo>
                    <a:lnTo>
                      <a:pt x="242" y="68"/>
                    </a:lnTo>
                    <a:lnTo>
                      <a:pt x="240" y="70"/>
                    </a:lnTo>
                    <a:lnTo>
                      <a:pt x="240" y="70"/>
                    </a:lnTo>
                    <a:lnTo>
                      <a:pt x="240" y="72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86"/>
                    </a:lnTo>
                    <a:lnTo>
                      <a:pt x="242" y="86"/>
                    </a:lnTo>
                    <a:lnTo>
                      <a:pt x="244" y="88"/>
                    </a:lnTo>
                    <a:lnTo>
                      <a:pt x="244" y="88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50" y="92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0" y="100"/>
                    </a:lnTo>
                    <a:lnTo>
                      <a:pt x="250" y="106"/>
                    </a:lnTo>
                    <a:lnTo>
                      <a:pt x="250" y="112"/>
                    </a:lnTo>
                    <a:lnTo>
                      <a:pt x="248" y="120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2" y="130"/>
                    </a:lnTo>
                    <a:lnTo>
                      <a:pt x="242" y="132"/>
                    </a:lnTo>
                    <a:lnTo>
                      <a:pt x="242" y="132"/>
                    </a:lnTo>
                    <a:lnTo>
                      <a:pt x="240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0" y="142"/>
                    </a:lnTo>
                    <a:lnTo>
                      <a:pt x="240" y="144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38" y="150"/>
                    </a:lnTo>
                    <a:lnTo>
                      <a:pt x="236" y="152"/>
                    </a:lnTo>
                    <a:lnTo>
                      <a:pt x="234" y="156"/>
                    </a:lnTo>
                    <a:lnTo>
                      <a:pt x="234" y="156"/>
                    </a:lnTo>
                    <a:lnTo>
                      <a:pt x="234" y="158"/>
                    </a:lnTo>
                    <a:lnTo>
                      <a:pt x="234" y="160"/>
                    </a:lnTo>
                    <a:lnTo>
                      <a:pt x="232" y="162"/>
                    </a:lnTo>
                    <a:lnTo>
                      <a:pt x="232" y="164"/>
                    </a:lnTo>
                    <a:lnTo>
                      <a:pt x="230" y="168"/>
                    </a:lnTo>
                    <a:lnTo>
                      <a:pt x="228" y="170"/>
                    </a:lnTo>
                    <a:lnTo>
                      <a:pt x="226" y="172"/>
                    </a:lnTo>
                    <a:lnTo>
                      <a:pt x="224" y="174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0" y="178"/>
                    </a:lnTo>
                    <a:lnTo>
                      <a:pt x="220" y="178"/>
                    </a:lnTo>
                    <a:lnTo>
                      <a:pt x="220" y="180"/>
                    </a:lnTo>
                    <a:lnTo>
                      <a:pt x="220" y="182"/>
                    </a:lnTo>
                    <a:lnTo>
                      <a:pt x="218" y="184"/>
                    </a:lnTo>
                    <a:lnTo>
                      <a:pt x="218" y="184"/>
                    </a:lnTo>
                    <a:lnTo>
                      <a:pt x="218" y="184"/>
                    </a:lnTo>
                    <a:lnTo>
                      <a:pt x="218" y="188"/>
                    </a:lnTo>
                    <a:lnTo>
                      <a:pt x="218" y="188"/>
                    </a:lnTo>
                    <a:lnTo>
                      <a:pt x="220" y="190"/>
                    </a:lnTo>
                    <a:lnTo>
                      <a:pt x="222" y="190"/>
                    </a:lnTo>
                    <a:lnTo>
                      <a:pt x="226" y="192"/>
                    </a:lnTo>
                    <a:lnTo>
                      <a:pt x="232" y="192"/>
                    </a:lnTo>
                    <a:lnTo>
                      <a:pt x="236" y="192"/>
                    </a:lnTo>
                    <a:lnTo>
                      <a:pt x="242" y="192"/>
                    </a:lnTo>
                    <a:lnTo>
                      <a:pt x="242" y="192"/>
                    </a:lnTo>
                    <a:lnTo>
                      <a:pt x="242" y="194"/>
                    </a:lnTo>
                    <a:lnTo>
                      <a:pt x="242" y="194"/>
                    </a:lnTo>
                    <a:lnTo>
                      <a:pt x="244" y="196"/>
                    </a:lnTo>
                    <a:lnTo>
                      <a:pt x="246" y="200"/>
                    </a:lnTo>
                    <a:lnTo>
                      <a:pt x="246" y="200"/>
                    </a:lnTo>
                    <a:lnTo>
                      <a:pt x="246" y="200"/>
                    </a:lnTo>
                    <a:lnTo>
                      <a:pt x="248" y="202"/>
                    </a:lnTo>
                    <a:lnTo>
                      <a:pt x="248" y="202"/>
                    </a:lnTo>
                    <a:lnTo>
                      <a:pt x="248" y="202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6" y="206"/>
                    </a:lnTo>
                    <a:lnTo>
                      <a:pt x="256" y="210"/>
                    </a:lnTo>
                    <a:lnTo>
                      <a:pt x="258" y="216"/>
                    </a:lnTo>
                    <a:lnTo>
                      <a:pt x="260" y="220"/>
                    </a:lnTo>
                    <a:lnTo>
                      <a:pt x="262" y="224"/>
                    </a:lnTo>
                    <a:lnTo>
                      <a:pt x="262" y="224"/>
                    </a:lnTo>
                    <a:lnTo>
                      <a:pt x="262" y="224"/>
                    </a:lnTo>
                    <a:lnTo>
                      <a:pt x="264" y="226"/>
                    </a:lnTo>
                    <a:lnTo>
                      <a:pt x="264" y="226"/>
                    </a:lnTo>
                    <a:lnTo>
                      <a:pt x="264" y="228"/>
                    </a:lnTo>
                    <a:lnTo>
                      <a:pt x="266" y="230"/>
                    </a:lnTo>
                    <a:lnTo>
                      <a:pt x="266" y="230"/>
                    </a:lnTo>
                    <a:lnTo>
                      <a:pt x="270" y="230"/>
                    </a:lnTo>
                    <a:lnTo>
                      <a:pt x="272" y="230"/>
                    </a:lnTo>
                    <a:lnTo>
                      <a:pt x="276" y="228"/>
                    </a:lnTo>
                    <a:lnTo>
                      <a:pt x="278" y="228"/>
                    </a:lnTo>
                    <a:lnTo>
                      <a:pt x="280" y="226"/>
                    </a:lnTo>
                    <a:lnTo>
                      <a:pt x="280" y="226"/>
                    </a:lnTo>
                    <a:lnTo>
                      <a:pt x="280" y="226"/>
                    </a:lnTo>
                    <a:lnTo>
                      <a:pt x="282" y="224"/>
                    </a:lnTo>
                    <a:lnTo>
                      <a:pt x="284" y="220"/>
                    </a:lnTo>
                    <a:lnTo>
                      <a:pt x="286" y="218"/>
                    </a:lnTo>
                    <a:lnTo>
                      <a:pt x="290" y="216"/>
                    </a:lnTo>
                    <a:lnTo>
                      <a:pt x="290" y="216"/>
                    </a:lnTo>
                    <a:lnTo>
                      <a:pt x="294" y="214"/>
                    </a:lnTo>
                    <a:lnTo>
                      <a:pt x="296" y="214"/>
                    </a:lnTo>
                    <a:lnTo>
                      <a:pt x="298" y="214"/>
                    </a:lnTo>
                    <a:lnTo>
                      <a:pt x="298" y="214"/>
                    </a:lnTo>
                    <a:lnTo>
                      <a:pt x="300" y="212"/>
                    </a:lnTo>
                    <a:lnTo>
                      <a:pt x="302" y="210"/>
                    </a:lnTo>
                    <a:lnTo>
                      <a:pt x="302" y="210"/>
                    </a:lnTo>
                    <a:lnTo>
                      <a:pt x="304" y="210"/>
                    </a:lnTo>
                    <a:lnTo>
                      <a:pt x="304" y="208"/>
                    </a:lnTo>
                    <a:lnTo>
                      <a:pt x="304" y="208"/>
                    </a:lnTo>
                    <a:lnTo>
                      <a:pt x="304" y="206"/>
                    </a:lnTo>
                    <a:lnTo>
                      <a:pt x="306" y="204"/>
                    </a:lnTo>
                    <a:lnTo>
                      <a:pt x="306" y="204"/>
                    </a:lnTo>
                    <a:lnTo>
                      <a:pt x="306" y="204"/>
                    </a:lnTo>
                    <a:lnTo>
                      <a:pt x="306" y="202"/>
                    </a:lnTo>
                    <a:lnTo>
                      <a:pt x="306" y="202"/>
                    </a:lnTo>
                    <a:lnTo>
                      <a:pt x="306" y="200"/>
                    </a:lnTo>
                    <a:lnTo>
                      <a:pt x="308" y="196"/>
                    </a:lnTo>
                    <a:lnTo>
                      <a:pt x="308" y="192"/>
                    </a:lnTo>
                    <a:lnTo>
                      <a:pt x="308" y="188"/>
                    </a:lnTo>
                    <a:lnTo>
                      <a:pt x="308" y="188"/>
                    </a:lnTo>
                    <a:lnTo>
                      <a:pt x="308" y="186"/>
                    </a:lnTo>
                    <a:lnTo>
                      <a:pt x="310" y="186"/>
                    </a:lnTo>
                    <a:lnTo>
                      <a:pt x="312" y="184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0" y="184"/>
                    </a:lnTo>
                    <a:lnTo>
                      <a:pt x="320" y="184"/>
                    </a:lnTo>
                    <a:lnTo>
                      <a:pt x="322" y="182"/>
                    </a:lnTo>
                    <a:lnTo>
                      <a:pt x="322" y="178"/>
                    </a:lnTo>
                    <a:lnTo>
                      <a:pt x="322" y="176"/>
                    </a:lnTo>
                    <a:lnTo>
                      <a:pt x="324" y="170"/>
                    </a:lnTo>
                    <a:lnTo>
                      <a:pt x="324" y="166"/>
                    </a:lnTo>
                    <a:lnTo>
                      <a:pt x="324" y="164"/>
                    </a:lnTo>
                    <a:lnTo>
                      <a:pt x="324" y="162"/>
                    </a:lnTo>
                    <a:lnTo>
                      <a:pt x="326" y="160"/>
                    </a:lnTo>
                    <a:lnTo>
                      <a:pt x="326" y="160"/>
                    </a:lnTo>
                    <a:lnTo>
                      <a:pt x="328" y="158"/>
                    </a:lnTo>
                    <a:lnTo>
                      <a:pt x="330" y="156"/>
                    </a:lnTo>
                    <a:lnTo>
                      <a:pt x="332" y="156"/>
                    </a:lnTo>
                    <a:lnTo>
                      <a:pt x="338" y="152"/>
                    </a:lnTo>
                    <a:lnTo>
                      <a:pt x="340" y="150"/>
                    </a:lnTo>
                    <a:lnTo>
                      <a:pt x="342" y="150"/>
                    </a:lnTo>
                    <a:lnTo>
                      <a:pt x="342" y="150"/>
                    </a:lnTo>
                    <a:lnTo>
                      <a:pt x="344" y="148"/>
                    </a:lnTo>
                    <a:lnTo>
                      <a:pt x="344" y="146"/>
                    </a:lnTo>
                    <a:lnTo>
                      <a:pt x="346" y="144"/>
                    </a:lnTo>
                    <a:lnTo>
                      <a:pt x="348" y="140"/>
                    </a:lnTo>
                    <a:lnTo>
                      <a:pt x="348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46" y="142"/>
                    </a:lnTo>
                    <a:lnTo>
                      <a:pt x="346" y="142"/>
                    </a:lnTo>
                    <a:lnTo>
                      <a:pt x="346" y="142"/>
                    </a:lnTo>
                    <a:lnTo>
                      <a:pt x="346" y="146"/>
                    </a:lnTo>
                    <a:lnTo>
                      <a:pt x="344" y="150"/>
                    </a:lnTo>
                    <a:lnTo>
                      <a:pt x="342" y="152"/>
                    </a:lnTo>
                    <a:lnTo>
                      <a:pt x="342" y="154"/>
                    </a:lnTo>
                    <a:lnTo>
                      <a:pt x="340" y="156"/>
                    </a:lnTo>
                    <a:lnTo>
                      <a:pt x="338" y="158"/>
                    </a:lnTo>
                    <a:lnTo>
                      <a:pt x="338" y="158"/>
                    </a:lnTo>
                    <a:lnTo>
                      <a:pt x="336" y="158"/>
                    </a:lnTo>
                    <a:lnTo>
                      <a:pt x="336" y="158"/>
                    </a:lnTo>
                    <a:lnTo>
                      <a:pt x="336" y="158"/>
                    </a:lnTo>
                    <a:lnTo>
                      <a:pt x="334" y="160"/>
                    </a:lnTo>
                    <a:lnTo>
                      <a:pt x="334" y="160"/>
                    </a:lnTo>
                    <a:lnTo>
                      <a:pt x="334" y="160"/>
                    </a:lnTo>
                    <a:lnTo>
                      <a:pt x="332" y="162"/>
                    </a:lnTo>
                    <a:lnTo>
                      <a:pt x="332" y="162"/>
                    </a:lnTo>
                    <a:lnTo>
                      <a:pt x="332" y="164"/>
                    </a:lnTo>
                    <a:lnTo>
                      <a:pt x="332" y="164"/>
                    </a:lnTo>
                    <a:lnTo>
                      <a:pt x="332" y="164"/>
                    </a:lnTo>
                    <a:lnTo>
                      <a:pt x="330" y="166"/>
                    </a:lnTo>
                    <a:lnTo>
                      <a:pt x="330" y="168"/>
                    </a:lnTo>
                    <a:lnTo>
                      <a:pt x="330" y="168"/>
                    </a:lnTo>
                    <a:lnTo>
                      <a:pt x="332" y="168"/>
                    </a:lnTo>
                    <a:lnTo>
                      <a:pt x="332" y="170"/>
                    </a:lnTo>
                    <a:lnTo>
                      <a:pt x="332" y="170"/>
                    </a:lnTo>
                    <a:lnTo>
                      <a:pt x="332" y="170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6" y="174"/>
                    </a:lnTo>
                    <a:lnTo>
                      <a:pt x="336" y="174"/>
                    </a:lnTo>
                    <a:lnTo>
                      <a:pt x="332" y="178"/>
                    </a:lnTo>
                    <a:lnTo>
                      <a:pt x="330" y="180"/>
                    </a:lnTo>
                    <a:lnTo>
                      <a:pt x="328" y="184"/>
                    </a:lnTo>
                    <a:lnTo>
                      <a:pt x="328" y="184"/>
                    </a:lnTo>
                    <a:lnTo>
                      <a:pt x="326" y="184"/>
                    </a:lnTo>
                    <a:lnTo>
                      <a:pt x="326" y="188"/>
                    </a:lnTo>
                    <a:lnTo>
                      <a:pt x="326" y="190"/>
                    </a:lnTo>
                    <a:lnTo>
                      <a:pt x="324" y="192"/>
                    </a:lnTo>
                    <a:lnTo>
                      <a:pt x="322" y="196"/>
                    </a:lnTo>
                    <a:lnTo>
                      <a:pt x="322" y="198"/>
                    </a:lnTo>
                    <a:lnTo>
                      <a:pt x="320" y="200"/>
                    </a:lnTo>
                    <a:lnTo>
                      <a:pt x="320" y="200"/>
                    </a:lnTo>
                    <a:lnTo>
                      <a:pt x="320" y="202"/>
                    </a:lnTo>
                    <a:lnTo>
                      <a:pt x="320" y="204"/>
                    </a:lnTo>
                    <a:lnTo>
                      <a:pt x="322" y="206"/>
                    </a:lnTo>
                    <a:lnTo>
                      <a:pt x="324" y="208"/>
                    </a:lnTo>
                    <a:lnTo>
                      <a:pt x="326" y="208"/>
                    </a:lnTo>
                    <a:lnTo>
                      <a:pt x="328" y="208"/>
                    </a:lnTo>
                    <a:lnTo>
                      <a:pt x="328" y="208"/>
                    </a:lnTo>
                    <a:lnTo>
                      <a:pt x="328" y="210"/>
                    </a:lnTo>
                    <a:lnTo>
                      <a:pt x="330" y="210"/>
                    </a:lnTo>
                    <a:lnTo>
                      <a:pt x="330" y="210"/>
                    </a:lnTo>
                    <a:lnTo>
                      <a:pt x="332" y="210"/>
                    </a:lnTo>
                    <a:lnTo>
                      <a:pt x="334" y="210"/>
                    </a:lnTo>
                    <a:lnTo>
                      <a:pt x="336" y="208"/>
                    </a:lnTo>
                    <a:lnTo>
                      <a:pt x="338" y="208"/>
                    </a:lnTo>
                    <a:lnTo>
                      <a:pt x="340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52" y="208"/>
                    </a:lnTo>
                    <a:lnTo>
                      <a:pt x="360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72" y="210"/>
                    </a:lnTo>
                    <a:lnTo>
                      <a:pt x="376" y="210"/>
                    </a:lnTo>
                    <a:lnTo>
                      <a:pt x="374" y="210"/>
                    </a:lnTo>
                    <a:lnTo>
                      <a:pt x="372" y="210"/>
                    </a:lnTo>
                    <a:lnTo>
                      <a:pt x="368" y="214"/>
                    </a:lnTo>
                    <a:lnTo>
                      <a:pt x="364" y="216"/>
                    </a:lnTo>
                    <a:lnTo>
                      <a:pt x="358" y="218"/>
                    </a:lnTo>
                    <a:lnTo>
                      <a:pt x="354" y="220"/>
                    </a:lnTo>
                    <a:lnTo>
                      <a:pt x="352" y="222"/>
                    </a:lnTo>
                    <a:lnTo>
                      <a:pt x="348" y="222"/>
                    </a:lnTo>
                    <a:lnTo>
                      <a:pt x="344" y="222"/>
                    </a:lnTo>
                    <a:lnTo>
                      <a:pt x="340" y="222"/>
                    </a:lnTo>
                    <a:lnTo>
                      <a:pt x="340" y="222"/>
                    </a:lnTo>
                    <a:lnTo>
                      <a:pt x="338" y="224"/>
                    </a:lnTo>
                    <a:lnTo>
                      <a:pt x="336" y="224"/>
                    </a:lnTo>
                    <a:lnTo>
                      <a:pt x="336" y="224"/>
                    </a:lnTo>
                    <a:lnTo>
                      <a:pt x="336" y="224"/>
                    </a:lnTo>
                    <a:lnTo>
                      <a:pt x="334" y="226"/>
                    </a:lnTo>
                    <a:lnTo>
                      <a:pt x="334" y="226"/>
                    </a:lnTo>
                    <a:lnTo>
                      <a:pt x="334" y="226"/>
                    </a:lnTo>
                    <a:lnTo>
                      <a:pt x="330" y="230"/>
                    </a:lnTo>
                    <a:lnTo>
                      <a:pt x="330" y="230"/>
                    </a:lnTo>
                    <a:lnTo>
                      <a:pt x="330" y="230"/>
                    </a:lnTo>
                    <a:lnTo>
                      <a:pt x="328" y="232"/>
                    </a:lnTo>
                    <a:lnTo>
                      <a:pt x="328" y="232"/>
                    </a:lnTo>
                    <a:lnTo>
                      <a:pt x="328" y="234"/>
                    </a:lnTo>
                    <a:lnTo>
                      <a:pt x="328" y="236"/>
                    </a:lnTo>
                    <a:lnTo>
                      <a:pt x="328" y="236"/>
                    </a:lnTo>
                    <a:lnTo>
                      <a:pt x="328" y="236"/>
                    </a:lnTo>
                    <a:lnTo>
                      <a:pt x="328" y="240"/>
                    </a:lnTo>
                    <a:lnTo>
                      <a:pt x="328" y="240"/>
                    </a:lnTo>
                    <a:lnTo>
                      <a:pt x="328" y="240"/>
                    </a:lnTo>
                    <a:lnTo>
                      <a:pt x="328" y="242"/>
                    </a:lnTo>
                    <a:lnTo>
                      <a:pt x="328" y="242"/>
                    </a:lnTo>
                    <a:lnTo>
                      <a:pt x="328" y="242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2" y="246"/>
                    </a:lnTo>
                    <a:lnTo>
                      <a:pt x="332" y="246"/>
                    </a:lnTo>
                    <a:lnTo>
                      <a:pt x="336" y="246"/>
                    </a:lnTo>
                    <a:lnTo>
                      <a:pt x="340" y="248"/>
                    </a:lnTo>
                    <a:lnTo>
                      <a:pt x="348" y="248"/>
                    </a:lnTo>
                    <a:lnTo>
                      <a:pt x="354" y="248"/>
                    </a:lnTo>
                    <a:lnTo>
                      <a:pt x="360" y="248"/>
                    </a:lnTo>
                    <a:lnTo>
                      <a:pt x="360" y="248"/>
                    </a:lnTo>
                    <a:lnTo>
                      <a:pt x="364" y="248"/>
                    </a:lnTo>
                    <a:lnTo>
                      <a:pt x="374" y="250"/>
                    </a:lnTo>
                    <a:lnTo>
                      <a:pt x="380" y="252"/>
                    </a:lnTo>
                    <a:lnTo>
                      <a:pt x="380" y="252"/>
                    </a:lnTo>
                    <a:lnTo>
                      <a:pt x="380" y="252"/>
                    </a:lnTo>
                    <a:lnTo>
                      <a:pt x="384" y="252"/>
                    </a:lnTo>
                    <a:lnTo>
                      <a:pt x="388" y="252"/>
                    </a:lnTo>
                    <a:lnTo>
                      <a:pt x="392" y="252"/>
                    </a:lnTo>
                    <a:lnTo>
                      <a:pt x="398" y="250"/>
                    </a:lnTo>
                    <a:lnTo>
                      <a:pt x="402" y="250"/>
                    </a:lnTo>
                    <a:lnTo>
                      <a:pt x="408" y="250"/>
                    </a:lnTo>
                    <a:lnTo>
                      <a:pt x="412" y="250"/>
                    </a:lnTo>
                    <a:lnTo>
                      <a:pt x="416" y="250"/>
                    </a:lnTo>
                    <a:lnTo>
                      <a:pt x="418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8" y="252"/>
                    </a:lnTo>
                    <a:lnTo>
                      <a:pt x="428" y="252"/>
                    </a:lnTo>
                    <a:lnTo>
                      <a:pt x="428" y="254"/>
                    </a:lnTo>
                    <a:lnTo>
                      <a:pt x="430" y="256"/>
                    </a:lnTo>
                    <a:lnTo>
                      <a:pt x="430" y="256"/>
                    </a:lnTo>
                    <a:lnTo>
                      <a:pt x="430" y="256"/>
                    </a:lnTo>
                    <a:lnTo>
                      <a:pt x="434" y="258"/>
                    </a:lnTo>
                    <a:lnTo>
                      <a:pt x="434" y="258"/>
                    </a:lnTo>
                    <a:lnTo>
                      <a:pt x="434" y="260"/>
                    </a:lnTo>
                    <a:lnTo>
                      <a:pt x="434" y="260"/>
                    </a:lnTo>
                    <a:lnTo>
                      <a:pt x="432" y="262"/>
                    </a:lnTo>
                    <a:lnTo>
                      <a:pt x="432" y="262"/>
                    </a:lnTo>
                    <a:lnTo>
                      <a:pt x="430" y="264"/>
                    </a:lnTo>
                    <a:lnTo>
                      <a:pt x="428" y="264"/>
                    </a:lnTo>
                    <a:lnTo>
                      <a:pt x="428" y="264"/>
                    </a:lnTo>
                    <a:lnTo>
                      <a:pt x="424" y="264"/>
                    </a:lnTo>
                    <a:lnTo>
                      <a:pt x="418" y="264"/>
                    </a:lnTo>
                    <a:lnTo>
                      <a:pt x="414" y="262"/>
                    </a:lnTo>
                    <a:lnTo>
                      <a:pt x="408" y="260"/>
                    </a:lnTo>
                    <a:lnTo>
                      <a:pt x="404" y="260"/>
                    </a:lnTo>
                    <a:lnTo>
                      <a:pt x="400" y="258"/>
                    </a:lnTo>
                    <a:lnTo>
                      <a:pt x="396" y="258"/>
                    </a:lnTo>
                    <a:lnTo>
                      <a:pt x="390" y="258"/>
                    </a:lnTo>
                    <a:lnTo>
                      <a:pt x="386" y="256"/>
                    </a:lnTo>
                    <a:lnTo>
                      <a:pt x="382" y="258"/>
                    </a:lnTo>
                    <a:lnTo>
                      <a:pt x="378" y="258"/>
                    </a:lnTo>
                    <a:lnTo>
                      <a:pt x="374" y="258"/>
                    </a:lnTo>
                    <a:lnTo>
                      <a:pt x="374" y="258"/>
                    </a:lnTo>
                    <a:lnTo>
                      <a:pt x="372" y="258"/>
                    </a:lnTo>
                    <a:lnTo>
                      <a:pt x="368" y="260"/>
                    </a:lnTo>
                    <a:lnTo>
                      <a:pt x="364" y="264"/>
                    </a:lnTo>
                    <a:lnTo>
                      <a:pt x="360" y="266"/>
                    </a:lnTo>
                    <a:lnTo>
                      <a:pt x="358" y="266"/>
                    </a:lnTo>
                    <a:lnTo>
                      <a:pt x="356" y="266"/>
                    </a:lnTo>
                    <a:lnTo>
                      <a:pt x="356" y="266"/>
                    </a:lnTo>
                    <a:lnTo>
                      <a:pt x="354" y="268"/>
                    </a:lnTo>
                    <a:lnTo>
                      <a:pt x="352" y="268"/>
                    </a:lnTo>
                    <a:lnTo>
                      <a:pt x="350" y="270"/>
                    </a:lnTo>
                    <a:lnTo>
                      <a:pt x="350" y="270"/>
                    </a:lnTo>
                    <a:lnTo>
                      <a:pt x="350" y="270"/>
                    </a:lnTo>
                    <a:lnTo>
                      <a:pt x="348" y="274"/>
                    </a:lnTo>
                    <a:lnTo>
                      <a:pt x="348" y="274"/>
                    </a:lnTo>
                    <a:lnTo>
                      <a:pt x="348" y="274"/>
                    </a:lnTo>
                    <a:lnTo>
                      <a:pt x="348" y="276"/>
                    </a:lnTo>
                    <a:lnTo>
                      <a:pt x="348" y="276"/>
                    </a:lnTo>
                    <a:lnTo>
                      <a:pt x="348" y="278"/>
                    </a:lnTo>
                    <a:lnTo>
                      <a:pt x="348" y="280"/>
                    </a:lnTo>
                    <a:lnTo>
                      <a:pt x="348" y="280"/>
                    </a:lnTo>
                    <a:lnTo>
                      <a:pt x="348" y="280"/>
                    </a:lnTo>
                    <a:lnTo>
                      <a:pt x="350" y="282"/>
                    </a:lnTo>
                    <a:lnTo>
                      <a:pt x="352" y="286"/>
                    </a:lnTo>
                    <a:lnTo>
                      <a:pt x="354" y="288"/>
                    </a:lnTo>
                    <a:lnTo>
                      <a:pt x="356" y="292"/>
                    </a:lnTo>
                    <a:lnTo>
                      <a:pt x="356" y="292"/>
                    </a:lnTo>
                    <a:lnTo>
                      <a:pt x="358" y="292"/>
                    </a:lnTo>
                    <a:lnTo>
                      <a:pt x="360" y="292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62" y="294"/>
                    </a:lnTo>
                    <a:lnTo>
                      <a:pt x="362" y="294"/>
                    </a:lnTo>
                    <a:lnTo>
                      <a:pt x="362" y="296"/>
                    </a:lnTo>
                    <a:lnTo>
                      <a:pt x="362" y="298"/>
                    </a:lnTo>
                    <a:lnTo>
                      <a:pt x="362" y="298"/>
                    </a:lnTo>
                    <a:lnTo>
                      <a:pt x="364" y="298"/>
                    </a:lnTo>
                    <a:lnTo>
                      <a:pt x="364" y="300"/>
                    </a:lnTo>
                    <a:lnTo>
                      <a:pt x="364" y="300"/>
                    </a:lnTo>
                    <a:lnTo>
                      <a:pt x="366" y="300"/>
                    </a:lnTo>
                    <a:lnTo>
                      <a:pt x="370" y="302"/>
                    </a:lnTo>
                    <a:lnTo>
                      <a:pt x="370" y="302"/>
                    </a:lnTo>
                    <a:lnTo>
                      <a:pt x="370" y="302"/>
                    </a:lnTo>
                    <a:lnTo>
                      <a:pt x="374" y="304"/>
                    </a:lnTo>
                    <a:lnTo>
                      <a:pt x="378" y="304"/>
                    </a:lnTo>
                    <a:lnTo>
                      <a:pt x="384" y="304"/>
                    </a:lnTo>
                    <a:lnTo>
                      <a:pt x="390" y="304"/>
                    </a:lnTo>
                    <a:lnTo>
                      <a:pt x="394" y="306"/>
                    </a:lnTo>
                    <a:lnTo>
                      <a:pt x="400" y="306"/>
                    </a:lnTo>
                    <a:lnTo>
                      <a:pt x="402" y="306"/>
                    </a:lnTo>
                    <a:lnTo>
                      <a:pt x="402" y="308"/>
                    </a:lnTo>
                    <a:lnTo>
                      <a:pt x="404" y="310"/>
                    </a:lnTo>
                    <a:lnTo>
                      <a:pt x="404" y="312"/>
                    </a:lnTo>
                    <a:lnTo>
                      <a:pt x="404" y="312"/>
                    </a:lnTo>
                    <a:lnTo>
                      <a:pt x="404" y="314"/>
                    </a:lnTo>
                    <a:lnTo>
                      <a:pt x="404" y="314"/>
                    </a:lnTo>
                    <a:lnTo>
                      <a:pt x="402" y="316"/>
                    </a:lnTo>
                    <a:lnTo>
                      <a:pt x="400" y="320"/>
                    </a:lnTo>
                    <a:lnTo>
                      <a:pt x="400" y="320"/>
                    </a:lnTo>
                    <a:lnTo>
                      <a:pt x="400" y="320"/>
                    </a:lnTo>
                    <a:lnTo>
                      <a:pt x="400" y="322"/>
                    </a:lnTo>
                    <a:lnTo>
                      <a:pt x="398" y="320"/>
                    </a:lnTo>
                    <a:lnTo>
                      <a:pt x="392" y="320"/>
                    </a:lnTo>
                    <a:lnTo>
                      <a:pt x="386" y="318"/>
                    </a:lnTo>
                    <a:lnTo>
                      <a:pt x="380" y="316"/>
                    </a:lnTo>
                    <a:lnTo>
                      <a:pt x="374" y="316"/>
                    </a:lnTo>
                    <a:lnTo>
                      <a:pt x="368" y="314"/>
                    </a:lnTo>
                    <a:lnTo>
                      <a:pt x="358" y="312"/>
                    </a:lnTo>
                    <a:lnTo>
                      <a:pt x="350" y="310"/>
                    </a:lnTo>
                    <a:lnTo>
                      <a:pt x="342" y="308"/>
                    </a:lnTo>
                    <a:lnTo>
                      <a:pt x="338" y="306"/>
                    </a:lnTo>
                    <a:lnTo>
                      <a:pt x="332" y="304"/>
                    </a:lnTo>
                    <a:lnTo>
                      <a:pt x="328" y="304"/>
                    </a:lnTo>
                    <a:lnTo>
                      <a:pt x="322" y="300"/>
                    </a:lnTo>
                    <a:lnTo>
                      <a:pt x="310" y="296"/>
                    </a:lnTo>
                    <a:lnTo>
                      <a:pt x="304" y="294"/>
                    </a:lnTo>
                    <a:lnTo>
                      <a:pt x="298" y="290"/>
                    </a:lnTo>
                    <a:lnTo>
                      <a:pt x="292" y="288"/>
                    </a:lnTo>
                    <a:lnTo>
                      <a:pt x="288" y="286"/>
                    </a:lnTo>
                    <a:lnTo>
                      <a:pt x="286" y="284"/>
                    </a:lnTo>
                    <a:lnTo>
                      <a:pt x="284" y="282"/>
                    </a:lnTo>
                    <a:lnTo>
                      <a:pt x="282" y="282"/>
                    </a:lnTo>
                    <a:lnTo>
                      <a:pt x="280" y="280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6" y="278"/>
                    </a:lnTo>
                    <a:lnTo>
                      <a:pt x="276" y="276"/>
                    </a:lnTo>
                    <a:lnTo>
                      <a:pt x="276" y="276"/>
                    </a:lnTo>
                    <a:lnTo>
                      <a:pt x="274" y="276"/>
                    </a:lnTo>
                    <a:lnTo>
                      <a:pt x="272" y="278"/>
                    </a:lnTo>
                    <a:lnTo>
                      <a:pt x="272" y="278"/>
                    </a:lnTo>
                    <a:lnTo>
                      <a:pt x="272" y="278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68" y="282"/>
                    </a:lnTo>
                    <a:lnTo>
                      <a:pt x="268" y="286"/>
                    </a:lnTo>
                    <a:lnTo>
                      <a:pt x="266" y="288"/>
                    </a:lnTo>
                    <a:lnTo>
                      <a:pt x="264" y="292"/>
                    </a:lnTo>
                    <a:lnTo>
                      <a:pt x="264" y="294"/>
                    </a:lnTo>
                    <a:lnTo>
                      <a:pt x="262" y="296"/>
                    </a:lnTo>
                    <a:lnTo>
                      <a:pt x="262" y="296"/>
                    </a:lnTo>
                    <a:lnTo>
                      <a:pt x="260" y="296"/>
                    </a:lnTo>
                    <a:lnTo>
                      <a:pt x="258" y="298"/>
                    </a:lnTo>
                    <a:lnTo>
                      <a:pt x="256" y="298"/>
                    </a:lnTo>
                    <a:lnTo>
                      <a:pt x="254" y="298"/>
                    </a:lnTo>
                    <a:lnTo>
                      <a:pt x="252" y="298"/>
                    </a:lnTo>
                    <a:lnTo>
                      <a:pt x="250" y="296"/>
                    </a:lnTo>
                    <a:lnTo>
                      <a:pt x="248" y="296"/>
                    </a:lnTo>
                    <a:lnTo>
                      <a:pt x="248" y="294"/>
                    </a:lnTo>
                    <a:lnTo>
                      <a:pt x="248" y="294"/>
                    </a:lnTo>
                    <a:lnTo>
                      <a:pt x="248" y="290"/>
                    </a:lnTo>
                    <a:lnTo>
                      <a:pt x="250" y="286"/>
                    </a:lnTo>
                    <a:lnTo>
                      <a:pt x="252" y="280"/>
                    </a:lnTo>
                    <a:lnTo>
                      <a:pt x="252" y="276"/>
                    </a:lnTo>
                    <a:lnTo>
                      <a:pt x="254" y="270"/>
                    </a:lnTo>
                    <a:lnTo>
                      <a:pt x="254" y="266"/>
                    </a:lnTo>
                    <a:lnTo>
                      <a:pt x="256" y="264"/>
                    </a:lnTo>
                    <a:lnTo>
                      <a:pt x="256" y="264"/>
                    </a:lnTo>
                    <a:lnTo>
                      <a:pt x="256" y="262"/>
                    </a:lnTo>
                    <a:lnTo>
                      <a:pt x="256" y="260"/>
                    </a:lnTo>
                    <a:lnTo>
                      <a:pt x="256" y="260"/>
                    </a:lnTo>
                    <a:lnTo>
                      <a:pt x="254" y="260"/>
                    </a:lnTo>
                    <a:lnTo>
                      <a:pt x="254" y="258"/>
                    </a:lnTo>
                    <a:lnTo>
                      <a:pt x="254" y="258"/>
                    </a:lnTo>
                    <a:lnTo>
                      <a:pt x="254" y="258"/>
                    </a:lnTo>
                    <a:lnTo>
                      <a:pt x="252" y="256"/>
                    </a:lnTo>
                    <a:lnTo>
                      <a:pt x="252" y="256"/>
                    </a:lnTo>
                    <a:lnTo>
                      <a:pt x="250" y="256"/>
                    </a:lnTo>
                    <a:lnTo>
                      <a:pt x="250" y="256"/>
                    </a:lnTo>
                    <a:lnTo>
                      <a:pt x="250" y="256"/>
                    </a:lnTo>
                    <a:lnTo>
                      <a:pt x="248" y="256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42" y="258"/>
                    </a:lnTo>
                    <a:lnTo>
                      <a:pt x="240" y="258"/>
                    </a:lnTo>
                    <a:lnTo>
                      <a:pt x="238" y="258"/>
                    </a:lnTo>
                    <a:lnTo>
                      <a:pt x="234" y="260"/>
                    </a:lnTo>
                    <a:lnTo>
                      <a:pt x="234" y="260"/>
                    </a:lnTo>
                    <a:lnTo>
                      <a:pt x="234" y="260"/>
                    </a:lnTo>
                    <a:lnTo>
                      <a:pt x="230" y="264"/>
                    </a:lnTo>
                    <a:lnTo>
                      <a:pt x="230" y="264"/>
                    </a:lnTo>
                    <a:lnTo>
                      <a:pt x="228" y="264"/>
                    </a:lnTo>
                    <a:lnTo>
                      <a:pt x="228" y="266"/>
                    </a:lnTo>
                    <a:lnTo>
                      <a:pt x="228" y="266"/>
                    </a:lnTo>
                    <a:lnTo>
                      <a:pt x="226" y="266"/>
                    </a:lnTo>
                    <a:lnTo>
                      <a:pt x="226" y="268"/>
                    </a:lnTo>
                    <a:lnTo>
                      <a:pt x="226" y="268"/>
                    </a:lnTo>
                    <a:lnTo>
                      <a:pt x="226" y="270"/>
                    </a:lnTo>
                    <a:lnTo>
                      <a:pt x="224" y="272"/>
                    </a:lnTo>
                    <a:lnTo>
                      <a:pt x="224" y="272"/>
                    </a:lnTo>
                    <a:lnTo>
                      <a:pt x="224" y="272"/>
                    </a:lnTo>
                    <a:lnTo>
                      <a:pt x="224" y="276"/>
                    </a:lnTo>
                    <a:lnTo>
                      <a:pt x="224" y="280"/>
                    </a:lnTo>
                    <a:lnTo>
                      <a:pt x="224" y="284"/>
                    </a:lnTo>
                    <a:lnTo>
                      <a:pt x="224" y="288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0" y="290"/>
                    </a:lnTo>
                    <a:lnTo>
                      <a:pt x="218" y="286"/>
                    </a:lnTo>
                    <a:lnTo>
                      <a:pt x="214" y="284"/>
                    </a:lnTo>
                    <a:lnTo>
                      <a:pt x="212" y="280"/>
                    </a:lnTo>
                    <a:lnTo>
                      <a:pt x="210" y="276"/>
                    </a:lnTo>
                    <a:lnTo>
                      <a:pt x="208" y="274"/>
                    </a:lnTo>
                    <a:lnTo>
                      <a:pt x="206" y="270"/>
                    </a:lnTo>
                    <a:lnTo>
                      <a:pt x="204" y="268"/>
                    </a:lnTo>
                    <a:lnTo>
                      <a:pt x="202" y="262"/>
                    </a:lnTo>
                    <a:lnTo>
                      <a:pt x="200" y="258"/>
                    </a:lnTo>
                    <a:lnTo>
                      <a:pt x="200" y="254"/>
                    </a:lnTo>
                    <a:lnTo>
                      <a:pt x="198" y="252"/>
                    </a:lnTo>
                    <a:lnTo>
                      <a:pt x="196" y="250"/>
                    </a:lnTo>
                    <a:lnTo>
                      <a:pt x="196" y="250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4" y="246"/>
                    </a:lnTo>
                    <a:lnTo>
                      <a:pt x="192" y="246"/>
                    </a:lnTo>
                    <a:lnTo>
                      <a:pt x="192" y="246"/>
                    </a:lnTo>
                    <a:lnTo>
                      <a:pt x="190" y="248"/>
                    </a:lnTo>
                    <a:lnTo>
                      <a:pt x="190" y="248"/>
                    </a:lnTo>
                    <a:lnTo>
                      <a:pt x="190" y="248"/>
                    </a:lnTo>
                    <a:lnTo>
                      <a:pt x="190" y="250"/>
                    </a:lnTo>
                    <a:lnTo>
                      <a:pt x="190" y="252"/>
                    </a:lnTo>
                    <a:lnTo>
                      <a:pt x="190" y="254"/>
                    </a:lnTo>
                    <a:lnTo>
                      <a:pt x="192" y="258"/>
                    </a:lnTo>
                    <a:lnTo>
                      <a:pt x="192" y="262"/>
                    </a:lnTo>
                    <a:lnTo>
                      <a:pt x="192" y="266"/>
                    </a:lnTo>
                    <a:lnTo>
                      <a:pt x="192" y="268"/>
                    </a:lnTo>
                    <a:lnTo>
                      <a:pt x="192" y="270"/>
                    </a:lnTo>
                    <a:lnTo>
                      <a:pt x="192" y="270"/>
                    </a:lnTo>
                    <a:lnTo>
                      <a:pt x="192" y="272"/>
                    </a:lnTo>
                    <a:lnTo>
                      <a:pt x="190" y="274"/>
                    </a:lnTo>
                    <a:lnTo>
                      <a:pt x="186" y="278"/>
                    </a:lnTo>
                    <a:lnTo>
                      <a:pt x="186" y="278"/>
                    </a:lnTo>
                    <a:lnTo>
                      <a:pt x="186" y="278"/>
                    </a:lnTo>
                    <a:lnTo>
                      <a:pt x="184" y="276"/>
                    </a:lnTo>
                    <a:lnTo>
                      <a:pt x="182" y="274"/>
                    </a:lnTo>
                    <a:lnTo>
                      <a:pt x="182" y="274"/>
                    </a:lnTo>
                    <a:lnTo>
                      <a:pt x="182" y="274"/>
                    </a:lnTo>
                    <a:lnTo>
                      <a:pt x="180" y="272"/>
                    </a:lnTo>
                    <a:lnTo>
                      <a:pt x="180" y="272"/>
                    </a:lnTo>
                    <a:lnTo>
                      <a:pt x="180" y="272"/>
                    </a:lnTo>
                    <a:lnTo>
                      <a:pt x="178" y="272"/>
                    </a:lnTo>
                    <a:lnTo>
                      <a:pt x="178" y="272"/>
                    </a:lnTo>
                    <a:lnTo>
                      <a:pt x="178" y="272"/>
                    </a:lnTo>
                    <a:lnTo>
                      <a:pt x="176" y="272"/>
                    </a:lnTo>
                    <a:lnTo>
                      <a:pt x="172" y="272"/>
                    </a:lnTo>
                    <a:lnTo>
                      <a:pt x="166" y="274"/>
                    </a:lnTo>
                    <a:lnTo>
                      <a:pt x="162" y="274"/>
                    </a:lnTo>
                    <a:lnTo>
                      <a:pt x="160" y="276"/>
                    </a:lnTo>
                    <a:lnTo>
                      <a:pt x="158" y="278"/>
                    </a:lnTo>
                    <a:lnTo>
                      <a:pt x="158" y="278"/>
                    </a:lnTo>
                    <a:lnTo>
                      <a:pt x="156" y="278"/>
                    </a:lnTo>
                    <a:lnTo>
                      <a:pt x="154" y="278"/>
                    </a:lnTo>
                    <a:lnTo>
                      <a:pt x="154" y="278"/>
                    </a:lnTo>
                    <a:lnTo>
                      <a:pt x="154" y="280"/>
                    </a:lnTo>
                    <a:lnTo>
                      <a:pt x="154" y="280"/>
                    </a:lnTo>
                    <a:lnTo>
                      <a:pt x="154" y="280"/>
                    </a:lnTo>
                    <a:lnTo>
                      <a:pt x="152" y="282"/>
                    </a:lnTo>
                    <a:lnTo>
                      <a:pt x="152" y="284"/>
                    </a:lnTo>
                    <a:lnTo>
                      <a:pt x="152" y="284"/>
                    </a:lnTo>
                    <a:lnTo>
                      <a:pt x="152" y="284"/>
                    </a:lnTo>
                    <a:lnTo>
                      <a:pt x="150" y="288"/>
                    </a:lnTo>
                    <a:lnTo>
                      <a:pt x="150" y="288"/>
                    </a:lnTo>
                    <a:lnTo>
                      <a:pt x="150" y="288"/>
                    </a:lnTo>
                    <a:lnTo>
                      <a:pt x="150" y="294"/>
                    </a:lnTo>
                    <a:lnTo>
                      <a:pt x="150" y="298"/>
                    </a:lnTo>
                    <a:lnTo>
                      <a:pt x="152" y="300"/>
                    </a:lnTo>
                    <a:lnTo>
                      <a:pt x="152" y="302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50" y="306"/>
                    </a:lnTo>
                    <a:lnTo>
                      <a:pt x="146" y="304"/>
                    </a:lnTo>
                    <a:lnTo>
                      <a:pt x="144" y="302"/>
                    </a:lnTo>
                    <a:lnTo>
                      <a:pt x="140" y="302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32" y="298"/>
                    </a:lnTo>
                    <a:lnTo>
                      <a:pt x="132" y="298"/>
                    </a:lnTo>
                    <a:lnTo>
                      <a:pt x="130" y="298"/>
                    </a:lnTo>
                    <a:lnTo>
                      <a:pt x="130" y="298"/>
                    </a:lnTo>
                    <a:lnTo>
                      <a:pt x="128" y="300"/>
                    </a:lnTo>
                    <a:lnTo>
                      <a:pt x="126" y="302"/>
                    </a:lnTo>
                    <a:lnTo>
                      <a:pt x="126" y="302"/>
                    </a:lnTo>
                    <a:lnTo>
                      <a:pt x="126" y="302"/>
                    </a:lnTo>
                    <a:lnTo>
                      <a:pt x="126" y="306"/>
                    </a:lnTo>
                    <a:lnTo>
                      <a:pt x="126" y="306"/>
                    </a:lnTo>
                    <a:lnTo>
                      <a:pt x="126" y="306"/>
                    </a:lnTo>
                    <a:lnTo>
                      <a:pt x="126" y="308"/>
                    </a:lnTo>
                    <a:lnTo>
                      <a:pt x="126" y="312"/>
                    </a:lnTo>
                    <a:lnTo>
                      <a:pt x="126" y="316"/>
                    </a:lnTo>
                    <a:lnTo>
                      <a:pt x="128" y="318"/>
                    </a:lnTo>
                    <a:lnTo>
                      <a:pt x="128" y="320"/>
                    </a:lnTo>
                    <a:lnTo>
                      <a:pt x="128" y="322"/>
                    </a:lnTo>
                    <a:lnTo>
                      <a:pt x="128" y="322"/>
                    </a:lnTo>
                    <a:lnTo>
                      <a:pt x="126" y="322"/>
                    </a:lnTo>
                    <a:lnTo>
                      <a:pt x="124" y="322"/>
                    </a:lnTo>
                    <a:lnTo>
                      <a:pt x="124" y="322"/>
                    </a:lnTo>
                    <a:lnTo>
                      <a:pt x="120" y="322"/>
                    </a:lnTo>
                    <a:lnTo>
                      <a:pt x="118" y="320"/>
                    </a:lnTo>
                    <a:lnTo>
                      <a:pt x="118" y="320"/>
                    </a:lnTo>
                    <a:lnTo>
                      <a:pt x="118" y="320"/>
                    </a:lnTo>
                    <a:lnTo>
                      <a:pt x="116" y="318"/>
                    </a:lnTo>
                    <a:lnTo>
                      <a:pt x="118" y="316"/>
                    </a:lnTo>
                    <a:lnTo>
                      <a:pt x="118" y="314"/>
                    </a:lnTo>
                    <a:lnTo>
                      <a:pt x="118" y="310"/>
                    </a:lnTo>
                    <a:lnTo>
                      <a:pt x="118" y="308"/>
                    </a:lnTo>
                    <a:lnTo>
                      <a:pt x="118" y="308"/>
                    </a:lnTo>
                    <a:lnTo>
                      <a:pt x="118" y="304"/>
                    </a:lnTo>
                    <a:lnTo>
                      <a:pt x="118" y="304"/>
                    </a:lnTo>
                    <a:lnTo>
                      <a:pt x="116" y="304"/>
                    </a:lnTo>
                    <a:lnTo>
                      <a:pt x="116" y="302"/>
                    </a:lnTo>
                    <a:lnTo>
                      <a:pt x="116" y="302"/>
                    </a:lnTo>
                    <a:lnTo>
                      <a:pt x="114" y="302"/>
                    </a:lnTo>
                    <a:lnTo>
                      <a:pt x="112" y="300"/>
                    </a:lnTo>
                    <a:lnTo>
                      <a:pt x="112" y="300"/>
                    </a:lnTo>
                    <a:lnTo>
                      <a:pt x="112" y="300"/>
                    </a:lnTo>
                    <a:lnTo>
                      <a:pt x="110" y="298"/>
                    </a:lnTo>
                    <a:lnTo>
                      <a:pt x="106" y="298"/>
                    </a:lnTo>
                    <a:lnTo>
                      <a:pt x="102" y="298"/>
                    </a:lnTo>
                    <a:lnTo>
                      <a:pt x="98" y="296"/>
                    </a:lnTo>
                    <a:lnTo>
                      <a:pt x="94" y="296"/>
                    </a:lnTo>
                    <a:lnTo>
                      <a:pt x="90" y="298"/>
                    </a:lnTo>
                    <a:lnTo>
                      <a:pt x="90" y="298"/>
                    </a:lnTo>
                    <a:lnTo>
                      <a:pt x="90" y="298"/>
                    </a:lnTo>
                    <a:lnTo>
                      <a:pt x="88" y="298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300"/>
                    </a:lnTo>
                    <a:lnTo>
                      <a:pt x="86" y="300"/>
                    </a:lnTo>
                    <a:lnTo>
                      <a:pt x="84" y="302"/>
                    </a:lnTo>
                    <a:lnTo>
                      <a:pt x="84" y="304"/>
                    </a:lnTo>
                    <a:lnTo>
                      <a:pt x="84" y="304"/>
                    </a:lnTo>
                    <a:lnTo>
                      <a:pt x="84" y="304"/>
                    </a:lnTo>
                    <a:lnTo>
                      <a:pt x="84" y="306"/>
                    </a:lnTo>
                    <a:lnTo>
                      <a:pt x="84" y="310"/>
                    </a:lnTo>
                    <a:lnTo>
                      <a:pt x="84" y="312"/>
                    </a:lnTo>
                    <a:lnTo>
                      <a:pt x="84" y="314"/>
                    </a:lnTo>
                    <a:lnTo>
                      <a:pt x="84" y="316"/>
                    </a:lnTo>
                    <a:lnTo>
                      <a:pt x="84" y="316"/>
                    </a:lnTo>
                    <a:lnTo>
                      <a:pt x="82" y="318"/>
                    </a:lnTo>
                    <a:lnTo>
                      <a:pt x="80" y="318"/>
                    </a:lnTo>
                    <a:lnTo>
                      <a:pt x="78" y="318"/>
                    </a:lnTo>
                    <a:lnTo>
                      <a:pt x="76" y="318"/>
                    </a:lnTo>
                    <a:lnTo>
                      <a:pt x="74" y="320"/>
                    </a:lnTo>
                    <a:lnTo>
                      <a:pt x="70" y="318"/>
                    </a:lnTo>
                    <a:lnTo>
                      <a:pt x="66" y="318"/>
                    </a:lnTo>
                    <a:lnTo>
                      <a:pt x="64" y="316"/>
                    </a:lnTo>
                    <a:lnTo>
                      <a:pt x="60" y="316"/>
                    </a:lnTo>
                    <a:lnTo>
                      <a:pt x="54" y="312"/>
                    </a:lnTo>
                    <a:lnTo>
                      <a:pt x="50" y="308"/>
                    </a:lnTo>
                    <a:lnTo>
                      <a:pt x="44" y="306"/>
                    </a:lnTo>
                    <a:lnTo>
                      <a:pt x="38" y="302"/>
                    </a:lnTo>
                    <a:lnTo>
                      <a:pt x="32" y="298"/>
                    </a:lnTo>
                    <a:lnTo>
                      <a:pt x="28" y="294"/>
                    </a:lnTo>
                    <a:lnTo>
                      <a:pt x="24" y="292"/>
                    </a:lnTo>
                    <a:lnTo>
                      <a:pt x="22" y="290"/>
                    </a:lnTo>
                    <a:lnTo>
                      <a:pt x="20" y="290"/>
                    </a:lnTo>
                    <a:lnTo>
                      <a:pt x="20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6" y="288"/>
                    </a:lnTo>
                    <a:lnTo>
                      <a:pt x="16" y="288"/>
                    </a:lnTo>
                    <a:lnTo>
                      <a:pt x="16" y="288"/>
                    </a:lnTo>
                    <a:lnTo>
                      <a:pt x="14" y="286"/>
                    </a:lnTo>
                    <a:lnTo>
                      <a:pt x="14" y="282"/>
                    </a:lnTo>
                    <a:lnTo>
                      <a:pt x="12" y="280"/>
                    </a:lnTo>
                    <a:lnTo>
                      <a:pt x="12" y="280"/>
                    </a:lnTo>
                    <a:lnTo>
                      <a:pt x="12" y="280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8" y="278"/>
                    </a:lnTo>
                    <a:lnTo>
                      <a:pt x="8" y="278"/>
                    </a:lnTo>
                    <a:lnTo>
                      <a:pt x="8" y="278"/>
                    </a:lnTo>
                    <a:lnTo>
                      <a:pt x="6" y="278"/>
                    </a:lnTo>
                    <a:lnTo>
                      <a:pt x="6" y="280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82"/>
                    </a:lnTo>
                    <a:lnTo>
                      <a:pt x="4" y="284"/>
                    </a:lnTo>
                    <a:lnTo>
                      <a:pt x="4" y="288"/>
                    </a:lnTo>
                    <a:lnTo>
                      <a:pt x="4" y="292"/>
                    </a:lnTo>
                    <a:lnTo>
                      <a:pt x="4" y="298"/>
                    </a:lnTo>
                    <a:lnTo>
                      <a:pt x="4" y="304"/>
                    </a:lnTo>
                    <a:lnTo>
                      <a:pt x="2" y="310"/>
                    </a:lnTo>
                    <a:lnTo>
                      <a:pt x="2" y="318"/>
                    </a:lnTo>
                    <a:lnTo>
                      <a:pt x="2" y="326"/>
                    </a:lnTo>
                    <a:lnTo>
                      <a:pt x="2" y="336"/>
                    </a:lnTo>
                    <a:lnTo>
                      <a:pt x="2" y="346"/>
                    </a:lnTo>
                    <a:lnTo>
                      <a:pt x="2" y="356"/>
                    </a:lnTo>
                    <a:lnTo>
                      <a:pt x="2" y="376"/>
                    </a:lnTo>
                    <a:lnTo>
                      <a:pt x="2" y="398"/>
                    </a:lnTo>
                    <a:lnTo>
                      <a:pt x="2" y="442"/>
                    </a:lnTo>
                    <a:lnTo>
                      <a:pt x="2" y="452"/>
                    </a:lnTo>
                    <a:lnTo>
                      <a:pt x="2" y="464"/>
                    </a:lnTo>
                    <a:lnTo>
                      <a:pt x="2" y="476"/>
                    </a:lnTo>
                    <a:lnTo>
                      <a:pt x="2" y="488"/>
                    </a:lnTo>
                    <a:lnTo>
                      <a:pt x="2" y="514"/>
                    </a:lnTo>
                    <a:lnTo>
                      <a:pt x="0" y="538"/>
                    </a:lnTo>
                    <a:lnTo>
                      <a:pt x="0" y="552"/>
                    </a:lnTo>
                    <a:lnTo>
                      <a:pt x="0" y="564"/>
                    </a:lnTo>
                    <a:lnTo>
                      <a:pt x="0" y="574"/>
                    </a:lnTo>
                    <a:lnTo>
                      <a:pt x="0" y="586"/>
                    </a:lnTo>
                    <a:lnTo>
                      <a:pt x="0" y="596"/>
                    </a:lnTo>
                    <a:lnTo>
                      <a:pt x="0" y="604"/>
                    </a:lnTo>
                    <a:lnTo>
                      <a:pt x="0" y="612"/>
                    </a:lnTo>
                    <a:lnTo>
                      <a:pt x="0" y="618"/>
                    </a:lnTo>
                    <a:lnTo>
                      <a:pt x="0" y="624"/>
                    </a:lnTo>
                    <a:lnTo>
                      <a:pt x="2" y="628"/>
                    </a:lnTo>
                    <a:lnTo>
                      <a:pt x="2" y="632"/>
                    </a:lnTo>
                    <a:lnTo>
                      <a:pt x="2" y="634"/>
                    </a:lnTo>
                    <a:lnTo>
                      <a:pt x="2" y="634"/>
                    </a:lnTo>
                    <a:lnTo>
                      <a:pt x="2" y="636"/>
                    </a:lnTo>
                    <a:lnTo>
                      <a:pt x="4" y="636"/>
                    </a:lnTo>
                    <a:lnTo>
                      <a:pt x="4" y="636"/>
                    </a:lnTo>
                    <a:lnTo>
                      <a:pt x="4" y="638"/>
                    </a:lnTo>
                    <a:lnTo>
                      <a:pt x="4" y="638"/>
                    </a:lnTo>
                    <a:lnTo>
                      <a:pt x="4" y="638"/>
                    </a:lnTo>
                    <a:lnTo>
                      <a:pt x="6" y="640"/>
                    </a:lnTo>
                    <a:lnTo>
                      <a:pt x="6" y="640"/>
                    </a:lnTo>
                    <a:lnTo>
                      <a:pt x="6" y="640"/>
                    </a:lnTo>
                    <a:lnTo>
                      <a:pt x="8" y="640"/>
                    </a:lnTo>
                    <a:lnTo>
                      <a:pt x="8" y="640"/>
                    </a:lnTo>
                    <a:lnTo>
                      <a:pt x="8" y="640"/>
                    </a:lnTo>
                    <a:lnTo>
                      <a:pt x="10" y="640"/>
                    </a:lnTo>
                    <a:lnTo>
                      <a:pt x="12" y="638"/>
                    </a:lnTo>
                    <a:lnTo>
                      <a:pt x="14" y="636"/>
                    </a:lnTo>
                    <a:lnTo>
                      <a:pt x="14" y="636"/>
                    </a:lnTo>
                    <a:lnTo>
                      <a:pt x="14" y="636"/>
                    </a:lnTo>
                    <a:lnTo>
                      <a:pt x="18" y="638"/>
                    </a:lnTo>
                    <a:lnTo>
                      <a:pt x="24" y="642"/>
                    </a:lnTo>
                    <a:lnTo>
                      <a:pt x="28" y="644"/>
                    </a:lnTo>
                    <a:lnTo>
                      <a:pt x="32" y="646"/>
                    </a:lnTo>
                    <a:lnTo>
                      <a:pt x="34" y="648"/>
                    </a:lnTo>
                    <a:lnTo>
                      <a:pt x="40" y="654"/>
                    </a:lnTo>
                    <a:lnTo>
                      <a:pt x="48" y="660"/>
                    </a:lnTo>
                    <a:lnTo>
                      <a:pt x="54" y="666"/>
                    </a:lnTo>
                    <a:lnTo>
                      <a:pt x="60" y="674"/>
                    </a:lnTo>
                    <a:lnTo>
                      <a:pt x="64" y="678"/>
                    </a:lnTo>
                    <a:lnTo>
                      <a:pt x="66" y="682"/>
                    </a:lnTo>
                    <a:lnTo>
                      <a:pt x="72" y="694"/>
                    </a:lnTo>
                    <a:lnTo>
                      <a:pt x="78" y="704"/>
                    </a:lnTo>
                    <a:lnTo>
                      <a:pt x="82" y="708"/>
                    </a:lnTo>
                    <a:lnTo>
                      <a:pt x="84" y="714"/>
                    </a:lnTo>
                    <a:lnTo>
                      <a:pt x="90" y="722"/>
                    </a:lnTo>
                    <a:lnTo>
                      <a:pt x="96" y="730"/>
                    </a:lnTo>
                    <a:lnTo>
                      <a:pt x="102" y="736"/>
                    </a:lnTo>
                    <a:lnTo>
                      <a:pt x="106" y="744"/>
                    </a:lnTo>
                    <a:lnTo>
                      <a:pt x="108" y="746"/>
                    </a:lnTo>
                    <a:lnTo>
                      <a:pt x="110" y="750"/>
                    </a:lnTo>
                    <a:lnTo>
                      <a:pt x="112" y="756"/>
                    </a:lnTo>
                    <a:lnTo>
                      <a:pt x="114" y="760"/>
                    </a:lnTo>
                    <a:lnTo>
                      <a:pt x="116" y="762"/>
                    </a:lnTo>
                    <a:lnTo>
                      <a:pt x="116" y="762"/>
                    </a:lnTo>
                    <a:lnTo>
                      <a:pt x="118" y="764"/>
                    </a:lnTo>
                    <a:lnTo>
                      <a:pt x="118" y="764"/>
                    </a:lnTo>
                    <a:lnTo>
                      <a:pt x="118" y="766"/>
                    </a:lnTo>
                    <a:lnTo>
                      <a:pt x="120" y="766"/>
                    </a:lnTo>
                    <a:lnTo>
                      <a:pt x="120" y="766"/>
                    </a:lnTo>
                    <a:lnTo>
                      <a:pt x="122" y="768"/>
                    </a:lnTo>
                    <a:lnTo>
                      <a:pt x="124" y="768"/>
                    </a:lnTo>
                    <a:lnTo>
                      <a:pt x="124" y="768"/>
                    </a:lnTo>
                    <a:lnTo>
                      <a:pt x="124" y="768"/>
                    </a:lnTo>
                    <a:lnTo>
                      <a:pt x="128" y="768"/>
                    </a:lnTo>
                    <a:lnTo>
                      <a:pt x="128" y="768"/>
                    </a:lnTo>
                    <a:lnTo>
                      <a:pt x="128" y="768"/>
                    </a:lnTo>
                    <a:lnTo>
                      <a:pt x="132" y="766"/>
                    </a:lnTo>
                    <a:lnTo>
                      <a:pt x="134" y="766"/>
                    </a:lnTo>
                    <a:lnTo>
                      <a:pt x="138" y="764"/>
                    </a:lnTo>
                    <a:lnTo>
                      <a:pt x="140" y="764"/>
                    </a:lnTo>
                    <a:lnTo>
                      <a:pt x="142" y="764"/>
                    </a:lnTo>
                    <a:lnTo>
                      <a:pt x="144" y="764"/>
                    </a:lnTo>
                    <a:lnTo>
                      <a:pt x="144" y="766"/>
                    </a:lnTo>
                    <a:lnTo>
                      <a:pt x="146" y="768"/>
                    </a:lnTo>
                    <a:lnTo>
                      <a:pt x="148" y="770"/>
                    </a:lnTo>
                    <a:lnTo>
                      <a:pt x="150" y="774"/>
                    </a:lnTo>
                    <a:lnTo>
                      <a:pt x="154" y="780"/>
                    </a:lnTo>
                    <a:lnTo>
                      <a:pt x="156" y="784"/>
                    </a:lnTo>
                    <a:lnTo>
                      <a:pt x="158" y="788"/>
                    </a:lnTo>
                    <a:lnTo>
                      <a:pt x="162" y="794"/>
                    </a:lnTo>
                    <a:lnTo>
                      <a:pt x="166" y="798"/>
                    </a:lnTo>
                    <a:lnTo>
                      <a:pt x="170" y="804"/>
                    </a:lnTo>
                    <a:lnTo>
                      <a:pt x="174" y="808"/>
                    </a:lnTo>
                    <a:lnTo>
                      <a:pt x="174" y="812"/>
                    </a:lnTo>
                    <a:lnTo>
                      <a:pt x="176" y="814"/>
                    </a:lnTo>
                    <a:lnTo>
                      <a:pt x="180" y="822"/>
                    </a:lnTo>
                    <a:lnTo>
                      <a:pt x="182" y="826"/>
                    </a:lnTo>
                    <a:lnTo>
                      <a:pt x="184" y="830"/>
                    </a:lnTo>
                    <a:lnTo>
                      <a:pt x="188" y="834"/>
                    </a:lnTo>
                    <a:lnTo>
                      <a:pt x="190" y="836"/>
                    </a:lnTo>
                    <a:lnTo>
                      <a:pt x="190" y="836"/>
                    </a:lnTo>
                    <a:lnTo>
                      <a:pt x="190" y="838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196" y="840"/>
                    </a:lnTo>
                    <a:lnTo>
                      <a:pt x="204" y="844"/>
                    </a:lnTo>
                    <a:lnTo>
                      <a:pt x="210" y="846"/>
                    </a:lnTo>
                    <a:lnTo>
                      <a:pt x="212" y="846"/>
                    </a:lnTo>
                    <a:lnTo>
                      <a:pt x="216" y="848"/>
                    </a:lnTo>
                    <a:lnTo>
                      <a:pt x="226" y="854"/>
                    </a:lnTo>
                    <a:lnTo>
                      <a:pt x="238" y="860"/>
                    </a:lnTo>
                    <a:lnTo>
                      <a:pt x="242" y="860"/>
                    </a:lnTo>
                    <a:lnTo>
                      <a:pt x="246" y="862"/>
                    </a:lnTo>
                    <a:lnTo>
                      <a:pt x="254" y="864"/>
                    </a:lnTo>
                    <a:lnTo>
                      <a:pt x="258" y="866"/>
                    </a:lnTo>
                    <a:lnTo>
                      <a:pt x="260" y="866"/>
                    </a:lnTo>
                    <a:lnTo>
                      <a:pt x="262" y="868"/>
                    </a:lnTo>
                    <a:lnTo>
                      <a:pt x="264" y="868"/>
                    </a:lnTo>
                    <a:lnTo>
                      <a:pt x="266" y="870"/>
                    </a:lnTo>
                    <a:lnTo>
                      <a:pt x="266" y="872"/>
                    </a:lnTo>
                    <a:lnTo>
                      <a:pt x="266" y="874"/>
                    </a:lnTo>
                    <a:lnTo>
                      <a:pt x="266" y="876"/>
                    </a:lnTo>
                    <a:lnTo>
                      <a:pt x="266" y="878"/>
                    </a:lnTo>
                    <a:lnTo>
                      <a:pt x="268" y="882"/>
                    </a:lnTo>
                    <a:lnTo>
                      <a:pt x="268" y="884"/>
                    </a:lnTo>
                    <a:lnTo>
                      <a:pt x="268" y="884"/>
                    </a:lnTo>
                    <a:lnTo>
                      <a:pt x="268" y="884"/>
                    </a:lnTo>
                    <a:lnTo>
                      <a:pt x="270" y="888"/>
                    </a:lnTo>
                    <a:lnTo>
                      <a:pt x="272" y="892"/>
                    </a:lnTo>
                    <a:lnTo>
                      <a:pt x="274" y="894"/>
                    </a:lnTo>
                    <a:lnTo>
                      <a:pt x="280" y="902"/>
                    </a:lnTo>
                    <a:lnTo>
                      <a:pt x="284" y="906"/>
                    </a:lnTo>
                    <a:lnTo>
                      <a:pt x="286" y="910"/>
                    </a:lnTo>
                    <a:lnTo>
                      <a:pt x="290" y="912"/>
                    </a:lnTo>
                    <a:lnTo>
                      <a:pt x="290" y="914"/>
                    </a:lnTo>
                    <a:lnTo>
                      <a:pt x="294" y="912"/>
                    </a:lnTo>
                    <a:lnTo>
                      <a:pt x="366" y="912"/>
                    </a:lnTo>
                    <a:lnTo>
                      <a:pt x="382" y="912"/>
                    </a:lnTo>
                    <a:lnTo>
                      <a:pt x="428" y="912"/>
                    </a:lnTo>
                    <a:lnTo>
                      <a:pt x="444" y="912"/>
                    </a:lnTo>
                    <a:lnTo>
                      <a:pt x="480" y="912"/>
                    </a:lnTo>
                    <a:lnTo>
                      <a:pt x="514" y="912"/>
                    </a:lnTo>
                    <a:lnTo>
                      <a:pt x="550" y="912"/>
                    </a:lnTo>
                    <a:lnTo>
                      <a:pt x="584" y="912"/>
                    </a:lnTo>
                    <a:lnTo>
                      <a:pt x="600" y="912"/>
                    </a:lnTo>
                    <a:lnTo>
                      <a:pt x="616" y="912"/>
                    </a:lnTo>
                    <a:lnTo>
                      <a:pt x="632" y="912"/>
                    </a:lnTo>
                    <a:lnTo>
                      <a:pt x="648" y="912"/>
                    </a:lnTo>
                    <a:lnTo>
                      <a:pt x="662" y="912"/>
                    </a:lnTo>
                    <a:lnTo>
                      <a:pt x="676" y="912"/>
                    </a:lnTo>
                    <a:lnTo>
                      <a:pt x="690" y="912"/>
                    </a:lnTo>
                    <a:lnTo>
                      <a:pt x="702" y="912"/>
                    </a:lnTo>
                    <a:lnTo>
                      <a:pt x="714" y="912"/>
                    </a:lnTo>
                    <a:lnTo>
                      <a:pt x="724" y="912"/>
                    </a:lnTo>
                    <a:lnTo>
                      <a:pt x="734" y="912"/>
                    </a:lnTo>
                    <a:lnTo>
                      <a:pt x="742" y="910"/>
                    </a:lnTo>
                    <a:lnTo>
                      <a:pt x="750" y="910"/>
                    </a:lnTo>
                    <a:lnTo>
                      <a:pt x="756" y="910"/>
                    </a:lnTo>
                    <a:lnTo>
                      <a:pt x="762" y="910"/>
                    </a:lnTo>
                    <a:lnTo>
                      <a:pt x="766" y="910"/>
                    </a:lnTo>
                    <a:lnTo>
                      <a:pt x="770" y="910"/>
                    </a:lnTo>
                    <a:lnTo>
                      <a:pt x="774" y="910"/>
                    </a:lnTo>
                    <a:lnTo>
                      <a:pt x="778" y="910"/>
                    </a:lnTo>
                    <a:lnTo>
                      <a:pt x="780" y="910"/>
                    </a:lnTo>
                    <a:lnTo>
                      <a:pt x="782" y="908"/>
                    </a:lnTo>
                    <a:lnTo>
                      <a:pt x="784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8" y="908"/>
                    </a:lnTo>
                    <a:lnTo>
                      <a:pt x="788" y="908"/>
                    </a:lnTo>
                    <a:lnTo>
                      <a:pt x="788" y="906"/>
                    </a:lnTo>
                    <a:lnTo>
                      <a:pt x="788" y="906"/>
                    </a:lnTo>
                    <a:lnTo>
                      <a:pt x="788" y="906"/>
                    </a:lnTo>
                    <a:lnTo>
                      <a:pt x="788" y="902"/>
                    </a:lnTo>
                    <a:lnTo>
                      <a:pt x="786" y="902"/>
                    </a:lnTo>
                    <a:lnTo>
                      <a:pt x="786" y="902"/>
                    </a:lnTo>
                    <a:lnTo>
                      <a:pt x="786" y="902"/>
                    </a:lnTo>
                    <a:lnTo>
                      <a:pt x="784" y="900"/>
                    </a:lnTo>
                    <a:lnTo>
                      <a:pt x="782" y="900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6"/>
                    </a:lnTo>
                    <a:lnTo>
                      <a:pt x="776" y="894"/>
                    </a:lnTo>
                    <a:lnTo>
                      <a:pt x="776" y="894"/>
                    </a:lnTo>
                    <a:lnTo>
                      <a:pt x="776" y="894"/>
                    </a:lnTo>
                    <a:lnTo>
                      <a:pt x="776" y="892"/>
                    </a:lnTo>
                    <a:lnTo>
                      <a:pt x="776" y="892"/>
                    </a:lnTo>
                    <a:lnTo>
                      <a:pt x="778" y="892"/>
                    </a:lnTo>
                    <a:lnTo>
                      <a:pt x="780" y="894"/>
                    </a:lnTo>
                    <a:lnTo>
                      <a:pt x="784" y="896"/>
                    </a:lnTo>
                    <a:lnTo>
                      <a:pt x="786" y="896"/>
                    </a:lnTo>
                    <a:lnTo>
                      <a:pt x="788" y="896"/>
                    </a:lnTo>
                    <a:lnTo>
                      <a:pt x="792" y="896"/>
                    </a:lnTo>
                    <a:lnTo>
                      <a:pt x="798" y="898"/>
                    </a:lnTo>
                    <a:lnTo>
                      <a:pt x="802" y="898"/>
                    </a:lnTo>
                    <a:lnTo>
                      <a:pt x="804" y="898"/>
                    </a:lnTo>
                    <a:lnTo>
                      <a:pt x="808" y="898"/>
                    </a:lnTo>
                    <a:lnTo>
                      <a:pt x="808" y="900"/>
                    </a:lnTo>
                    <a:lnTo>
                      <a:pt x="808" y="900"/>
                    </a:lnTo>
                    <a:lnTo>
                      <a:pt x="808" y="900"/>
                    </a:lnTo>
                    <a:lnTo>
                      <a:pt x="808" y="902"/>
                    </a:lnTo>
                    <a:lnTo>
                      <a:pt x="808" y="904"/>
                    </a:lnTo>
                    <a:lnTo>
                      <a:pt x="808" y="906"/>
                    </a:lnTo>
                    <a:lnTo>
                      <a:pt x="808" y="908"/>
                    </a:lnTo>
                    <a:lnTo>
                      <a:pt x="808" y="908"/>
                    </a:lnTo>
                    <a:lnTo>
                      <a:pt x="808" y="908"/>
                    </a:lnTo>
                    <a:lnTo>
                      <a:pt x="810" y="910"/>
                    </a:lnTo>
                    <a:lnTo>
                      <a:pt x="810" y="910"/>
                    </a:lnTo>
                    <a:lnTo>
                      <a:pt x="810" y="912"/>
                    </a:lnTo>
                    <a:lnTo>
                      <a:pt x="810" y="912"/>
                    </a:lnTo>
                    <a:lnTo>
                      <a:pt x="810" y="912"/>
                    </a:lnTo>
                    <a:lnTo>
                      <a:pt x="812" y="914"/>
                    </a:lnTo>
                    <a:lnTo>
                      <a:pt x="814" y="914"/>
                    </a:lnTo>
                    <a:lnTo>
                      <a:pt x="814" y="914"/>
                    </a:lnTo>
                    <a:lnTo>
                      <a:pt x="814" y="914"/>
                    </a:lnTo>
                    <a:lnTo>
                      <a:pt x="818" y="916"/>
                    </a:lnTo>
                    <a:lnTo>
                      <a:pt x="820" y="916"/>
                    </a:lnTo>
                    <a:lnTo>
                      <a:pt x="824" y="916"/>
                    </a:lnTo>
                    <a:lnTo>
                      <a:pt x="828" y="916"/>
                    </a:lnTo>
                    <a:lnTo>
                      <a:pt x="830" y="918"/>
                    </a:lnTo>
                    <a:lnTo>
                      <a:pt x="832" y="918"/>
                    </a:lnTo>
                    <a:lnTo>
                      <a:pt x="834" y="918"/>
                    </a:lnTo>
                    <a:lnTo>
                      <a:pt x="834" y="920"/>
                    </a:lnTo>
                    <a:lnTo>
                      <a:pt x="834" y="922"/>
                    </a:lnTo>
                    <a:lnTo>
                      <a:pt x="832" y="926"/>
                    </a:lnTo>
                    <a:lnTo>
                      <a:pt x="830" y="930"/>
                    </a:lnTo>
                    <a:lnTo>
                      <a:pt x="830" y="934"/>
                    </a:lnTo>
                    <a:lnTo>
                      <a:pt x="830" y="938"/>
                    </a:lnTo>
                    <a:lnTo>
                      <a:pt x="830" y="938"/>
                    </a:lnTo>
                    <a:lnTo>
                      <a:pt x="830" y="938"/>
                    </a:lnTo>
                    <a:lnTo>
                      <a:pt x="830" y="942"/>
                    </a:lnTo>
                    <a:lnTo>
                      <a:pt x="830" y="942"/>
                    </a:lnTo>
                    <a:lnTo>
                      <a:pt x="830" y="942"/>
                    </a:lnTo>
                    <a:lnTo>
                      <a:pt x="830" y="944"/>
                    </a:lnTo>
                    <a:lnTo>
                      <a:pt x="830" y="944"/>
                    </a:lnTo>
                    <a:lnTo>
                      <a:pt x="830" y="944"/>
                    </a:lnTo>
                    <a:lnTo>
                      <a:pt x="832" y="946"/>
                    </a:lnTo>
                    <a:lnTo>
                      <a:pt x="832" y="946"/>
                    </a:lnTo>
                    <a:lnTo>
                      <a:pt x="832" y="946"/>
                    </a:lnTo>
                    <a:lnTo>
                      <a:pt x="834" y="948"/>
                    </a:lnTo>
                    <a:lnTo>
                      <a:pt x="834" y="948"/>
                    </a:lnTo>
                    <a:lnTo>
                      <a:pt x="840" y="952"/>
                    </a:lnTo>
                    <a:lnTo>
                      <a:pt x="844" y="954"/>
                    </a:lnTo>
                    <a:lnTo>
                      <a:pt x="850" y="956"/>
                    </a:lnTo>
                    <a:lnTo>
                      <a:pt x="856" y="958"/>
                    </a:lnTo>
                    <a:lnTo>
                      <a:pt x="860" y="960"/>
                    </a:lnTo>
                    <a:lnTo>
                      <a:pt x="864" y="962"/>
                    </a:lnTo>
                    <a:lnTo>
                      <a:pt x="868" y="964"/>
                    </a:lnTo>
                    <a:lnTo>
                      <a:pt x="868" y="964"/>
                    </a:lnTo>
                    <a:lnTo>
                      <a:pt x="870" y="964"/>
                    </a:lnTo>
                    <a:lnTo>
                      <a:pt x="872" y="964"/>
                    </a:lnTo>
                    <a:lnTo>
                      <a:pt x="872" y="964"/>
                    </a:lnTo>
                    <a:lnTo>
                      <a:pt x="872" y="964"/>
                    </a:lnTo>
                    <a:lnTo>
                      <a:pt x="876" y="964"/>
                    </a:lnTo>
                    <a:lnTo>
                      <a:pt x="876" y="964"/>
                    </a:lnTo>
                    <a:lnTo>
                      <a:pt x="876" y="962"/>
                    </a:lnTo>
                    <a:lnTo>
                      <a:pt x="878" y="962"/>
                    </a:lnTo>
                    <a:lnTo>
                      <a:pt x="878" y="962"/>
                    </a:lnTo>
                    <a:lnTo>
                      <a:pt x="878" y="962"/>
                    </a:lnTo>
                    <a:lnTo>
                      <a:pt x="880" y="960"/>
                    </a:lnTo>
                    <a:lnTo>
                      <a:pt x="882" y="960"/>
                    </a:lnTo>
                    <a:lnTo>
                      <a:pt x="882" y="958"/>
                    </a:lnTo>
                    <a:lnTo>
                      <a:pt x="882" y="958"/>
                    </a:lnTo>
                    <a:lnTo>
                      <a:pt x="884" y="958"/>
                    </a:lnTo>
                    <a:lnTo>
                      <a:pt x="884" y="960"/>
                    </a:lnTo>
                    <a:lnTo>
                      <a:pt x="886" y="960"/>
                    </a:lnTo>
                    <a:lnTo>
                      <a:pt x="888" y="962"/>
                    </a:lnTo>
                    <a:lnTo>
                      <a:pt x="892" y="966"/>
                    </a:lnTo>
                    <a:lnTo>
                      <a:pt x="896" y="970"/>
                    </a:lnTo>
                    <a:lnTo>
                      <a:pt x="898" y="972"/>
                    </a:lnTo>
                    <a:lnTo>
                      <a:pt x="898" y="974"/>
                    </a:lnTo>
                    <a:lnTo>
                      <a:pt x="900" y="978"/>
                    </a:lnTo>
                    <a:lnTo>
                      <a:pt x="902" y="982"/>
                    </a:lnTo>
                    <a:lnTo>
                      <a:pt x="904" y="984"/>
                    </a:lnTo>
                    <a:lnTo>
                      <a:pt x="904" y="984"/>
                    </a:lnTo>
                    <a:lnTo>
                      <a:pt x="902" y="984"/>
                    </a:lnTo>
                    <a:lnTo>
                      <a:pt x="900" y="984"/>
                    </a:lnTo>
                    <a:lnTo>
                      <a:pt x="896" y="982"/>
                    </a:lnTo>
                    <a:lnTo>
                      <a:pt x="892" y="982"/>
                    </a:lnTo>
                    <a:lnTo>
                      <a:pt x="888" y="980"/>
                    </a:lnTo>
                    <a:lnTo>
                      <a:pt x="884" y="980"/>
                    </a:lnTo>
                    <a:lnTo>
                      <a:pt x="884" y="980"/>
                    </a:lnTo>
                    <a:lnTo>
                      <a:pt x="884" y="980"/>
                    </a:lnTo>
                    <a:lnTo>
                      <a:pt x="880" y="980"/>
                    </a:lnTo>
                    <a:lnTo>
                      <a:pt x="880" y="980"/>
                    </a:lnTo>
                    <a:lnTo>
                      <a:pt x="880" y="980"/>
                    </a:lnTo>
                    <a:lnTo>
                      <a:pt x="876" y="982"/>
                    </a:lnTo>
                    <a:lnTo>
                      <a:pt x="876" y="982"/>
                    </a:lnTo>
                    <a:lnTo>
                      <a:pt x="876" y="982"/>
                    </a:lnTo>
                    <a:lnTo>
                      <a:pt x="872" y="984"/>
                    </a:lnTo>
                    <a:lnTo>
                      <a:pt x="872" y="984"/>
                    </a:lnTo>
                    <a:lnTo>
                      <a:pt x="872" y="986"/>
                    </a:lnTo>
                    <a:lnTo>
                      <a:pt x="870" y="988"/>
                    </a:lnTo>
                    <a:lnTo>
                      <a:pt x="868" y="994"/>
                    </a:lnTo>
                    <a:lnTo>
                      <a:pt x="866" y="998"/>
                    </a:lnTo>
                    <a:lnTo>
                      <a:pt x="864" y="1008"/>
                    </a:lnTo>
                    <a:lnTo>
                      <a:pt x="862" y="1012"/>
                    </a:lnTo>
                    <a:lnTo>
                      <a:pt x="860" y="1016"/>
                    </a:lnTo>
                    <a:lnTo>
                      <a:pt x="856" y="1022"/>
                    </a:lnTo>
                    <a:lnTo>
                      <a:pt x="852" y="1030"/>
                    </a:lnTo>
                    <a:lnTo>
                      <a:pt x="850" y="1034"/>
                    </a:lnTo>
                    <a:lnTo>
                      <a:pt x="848" y="1036"/>
                    </a:lnTo>
                    <a:lnTo>
                      <a:pt x="846" y="1040"/>
                    </a:lnTo>
                    <a:lnTo>
                      <a:pt x="846" y="1042"/>
                    </a:lnTo>
                    <a:lnTo>
                      <a:pt x="846" y="1044"/>
                    </a:lnTo>
                    <a:lnTo>
                      <a:pt x="846" y="1044"/>
                    </a:lnTo>
                    <a:lnTo>
                      <a:pt x="846" y="1044"/>
                    </a:lnTo>
                    <a:lnTo>
                      <a:pt x="846" y="1046"/>
                    </a:lnTo>
                    <a:lnTo>
                      <a:pt x="846" y="1046"/>
                    </a:lnTo>
                    <a:lnTo>
                      <a:pt x="846" y="1046"/>
                    </a:lnTo>
                    <a:lnTo>
                      <a:pt x="846" y="1050"/>
                    </a:lnTo>
                    <a:lnTo>
                      <a:pt x="846" y="1050"/>
                    </a:lnTo>
                    <a:lnTo>
                      <a:pt x="846" y="1050"/>
                    </a:lnTo>
                    <a:lnTo>
                      <a:pt x="848" y="1050"/>
                    </a:lnTo>
                    <a:lnTo>
                      <a:pt x="848" y="1050"/>
                    </a:lnTo>
                    <a:lnTo>
                      <a:pt x="848" y="1052"/>
                    </a:lnTo>
                    <a:lnTo>
                      <a:pt x="848" y="1052"/>
                    </a:lnTo>
                    <a:lnTo>
                      <a:pt x="848" y="1052"/>
                    </a:lnTo>
                    <a:lnTo>
                      <a:pt x="850" y="1052"/>
                    </a:lnTo>
                    <a:lnTo>
                      <a:pt x="852" y="1052"/>
                    </a:lnTo>
                    <a:lnTo>
                      <a:pt x="852" y="1052"/>
                    </a:lnTo>
                    <a:lnTo>
                      <a:pt x="852" y="1052"/>
                    </a:lnTo>
                    <a:lnTo>
                      <a:pt x="854" y="1052"/>
                    </a:lnTo>
                    <a:lnTo>
                      <a:pt x="854" y="1052"/>
                    </a:lnTo>
                    <a:lnTo>
                      <a:pt x="854" y="1050"/>
                    </a:lnTo>
                    <a:lnTo>
                      <a:pt x="854" y="1050"/>
                    </a:lnTo>
                    <a:lnTo>
                      <a:pt x="854" y="1050"/>
                    </a:lnTo>
                    <a:lnTo>
                      <a:pt x="856" y="1048"/>
                    </a:lnTo>
                    <a:lnTo>
                      <a:pt x="856" y="1046"/>
                    </a:lnTo>
                    <a:lnTo>
                      <a:pt x="856" y="1044"/>
                    </a:lnTo>
                    <a:lnTo>
                      <a:pt x="858" y="1042"/>
                    </a:lnTo>
                    <a:lnTo>
                      <a:pt x="858" y="1038"/>
                    </a:lnTo>
                    <a:lnTo>
                      <a:pt x="860" y="1036"/>
                    </a:lnTo>
                    <a:lnTo>
                      <a:pt x="862" y="1034"/>
                    </a:lnTo>
                    <a:lnTo>
                      <a:pt x="864" y="1032"/>
                    </a:lnTo>
                    <a:lnTo>
                      <a:pt x="866" y="1032"/>
                    </a:lnTo>
                    <a:lnTo>
                      <a:pt x="868" y="1032"/>
                    </a:lnTo>
                    <a:lnTo>
                      <a:pt x="874" y="1030"/>
                    </a:lnTo>
                    <a:lnTo>
                      <a:pt x="880" y="1030"/>
                    </a:lnTo>
                    <a:lnTo>
                      <a:pt x="886" y="1030"/>
                    </a:lnTo>
                    <a:lnTo>
                      <a:pt x="892" y="1030"/>
                    </a:lnTo>
                    <a:lnTo>
                      <a:pt x="900" y="1028"/>
                    </a:lnTo>
                    <a:lnTo>
                      <a:pt x="904" y="1028"/>
                    </a:lnTo>
                    <a:lnTo>
                      <a:pt x="906" y="1028"/>
                    </a:lnTo>
                    <a:lnTo>
                      <a:pt x="908" y="1026"/>
                    </a:lnTo>
                    <a:lnTo>
                      <a:pt x="908" y="1026"/>
                    </a:lnTo>
                    <a:lnTo>
                      <a:pt x="910" y="1026"/>
                    </a:lnTo>
                    <a:lnTo>
                      <a:pt x="912" y="1024"/>
                    </a:lnTo>
                    <a:lnTo>
                      <a:pt x="912" y="1024"/>
                    </a:lnTo>
                    <a:lnTo>
                      <a:pt x="912" y="1024"/>
                    </a:lnTo>
                    <a:lnTo>
                      <a:pt x="914" y="1020"/>
                    </a:lnTo>
                    <a:lnTo>
                      <a:pt x="914" y="1020"/>
                    </a:lnTo>
                    <a:lnTo>
                      <a:pt x="914" y="1020"/>
                    </a:lnTo>
                    <a:lnTo>
                      <a:pt x="914" y="1018"/>
                    </a:lnTo>
                    <a:lnTo>
                      <a:pt x="914" y="1016"/>
                    </a:lnTo>
                    <a:lnTo>
                      <a:pt x="914" y="1014"/>
                    </a:lnTo>
                    <a:lnTo>
                      <a:pt x="914" y="1010"/>
                    </a:lnTo>
                    <a:lnTo>
                      <a:pt x="914" y="1008"/>
                    </a:lnTo>
                    <a:lnTo>
                      <a:pt x="916" y="1006"/>
                    </a:lnTo>
                    <a:lnTo>
                      <a:pt x="916" y="1006"/>
                    </a:lnTo>
                    <a:lnTo>
                      <a:pt x="918" y="1004"/>
                    </a:lnTo>
                    <a:lnTo>
                      <a:pt x="920" y="1004"/>
                    </a:lnTo>
                    <a:lnTo>
                      <a:pt x="922" y="1004"/>
                    </a:lnTo>
                    <a:lnTo>
                      <a:pt x="926" y="1004"/>
                    </a:lnTo>
                    <a:lnTo>
                      <a:pt x="932" y="1004"/>
                    </a:lnTo>
                    <a:lnTo>
                      <a:pt x="936" y="1004"/>
                    </a:lnTo>
                    <a:lnTo>
                      <a:pt x="940" y="1002"/>
                    </a:lnTo>
                    <a:lnTo>
                      <a:pt x="940" y="1002"/>
                    </a:lnTo>
                    <a:lnTo>
                      <a:pt x="940" y="1002"/>
                    </a:lnTo>
                    <a:lnTo>
                      <a:pt x="944" y="1002"/>
                    </a:lnTo>
                    <a:lnTo>
                      <a:pt x="944" y="1002"/>
                    </a:lnTo>
                    <a:lnTo>
                      <a:pt x="944" y="1002"/>
                    </a:lnTo>
                    <a:lnTo>
                      <a:pt x="948" y="1000"/>
                    </a:lnTo>
                    <a:lnTo>
                      <a:pt x="954" y="994"/>
                    </a:lnTo>
                    <a:lnTo>
                      <a:pt x="956" y="992"/>
                    </a:lnTo>
                    <a:lnTo>
                      <a:pt x="960" y="990"/>
                    </a:lnTo>
                    <a:lnTo>
                      <a:pt x="964" y="988"/>
                    </a:lnTo>
                    <a:lnTo>
                      <a:pt x="968" y="986"/>
                    </a:lnTo>
                    <a:lnTo>
                      <a:pt x="970" y="986"/>
                    </a:lnTo>
                    <a:lnTo>
                      <a:pt x="974" y="986"/>
                    </a:lnTo>
                    <a:lnTo>
                      <a:pt x="980" y="984"/>
                    </a:lnTo>
                    <a:lnTo>
                      <a:pt x="988" y="984"/>
                    </a:lnTo>
                    <a:lnTo>
                      <a:pt x="998" y="984"/>
                    </a:lnTo>
                    <a:lnTo>
                      <a:pt x="1006" y="984"/>
                    </a:lnTo>
                    <a:lnTo>
                      <a:pt x="1014" y="982"/>
                    </a:lnTo>
                    <a:lnTo>
                      <a:pt x="1018" y="982"/>
                    </a:lnTo>
                    <a:lnTo>
                      <a:pt x="1020" y="982"/>
                    </a:lnTo>
                    <a:lnTo>
                      <a:pt x="1024" y="982"/>
                    </a:lnTo>
                    <a:lnTo>
                      <a:pt x="1026" y="982"/>
                    </a:lnTo>
                    <a:lnTo>
                      <a:pt x="1030" y="980"/>
                    </a:lnTo>
                    <a:lnTo>
                      <a:pt x="1030" y="980"/>
                    </a:lnTo>
                    <a:lnTo>
                      <a:pt x="1030" y="980"/>
                    </a:lnTo>
                    <a:lnTo>
                      <a:pt x="1034" y="978"/>
                    </a:lnTo>
                    <a:lnTo>
                      <a:pt x="1034" y="978"/>
                    </a:lnTo>
                    <a:lnTo>
                      <a:pt x="1034" y="978"/>
                    </a:lnTo>
                    <a:lnTo>
                      <a:pt x="1036" y="976"/>
                    </a:lnTo>
                    <a:lnTo>
                      <a:pt x="1036" y="976"/>
                    </a:lnTo>
                    <a:lnTo>
                      <a:pt x="1036" y="976"/>
                    </a:lnTo>
                    <a:lnTo>
                      <a:pt x="1038" y="974"/>
                    </a:lnTo>
                    <a:lnTo>
                      <a:pt x="1038" y="974"/>
                    </a:lnTo>
                    <a:lnTo>
                      <a:pt x="1038" y="972"/>
                    </a:lnTo>
                    <a:lnTo>
                      <a:pt x="1038" y="970"/>
                    </a:lnTo>
                    <a:lnTo>
                      <a:pt x="1040" y="968"/>
                    </a:lnTo>
                    <a:lnTo>
                      <a:pt x="1040" y="968"/>
                    </a:lnTo>
                    <a:lnTo>
                      <a:pt x="1040" y="966"/>
                    </a:lnTo>
                    <a:lnTo>
                      <a:pt x="1046" y="960"/>
                    </a:lnTo>
                    <a:lnTo>
                      <a:pt x="1050" y="958"/>
                    </a:lnTo>
                    <a:lnTo>
                      <a:pt x="1052" y="954"/>
                    </a:lnTo>
                    <a:lnTo>
                      <a:pt x="1052" y="954"/>
                    </a:lnTo>
                    <a:lnTo>
                      <a:pt x="1052" y="952"/>
                    </a:lnTo>
                    <a:lnTo>
                      <a:pt x="1054" y="950"/>
                    </a:lnTo>
                    <a:lnTo>
                      <a:pt x="1054" y="948"/>
                    </a:lnTo>
                    <a:lnTo>
                      <a:pt x="1056" y="944"/>
                    </a:lnTo>
                    <a:lnTo>
                      <a:pt x="1058" y="940"/>
                    </a:lnTo>
                    <a:lnTo>
                      <a:pt x="1058" y="938"/>
                    </a:lnTo>
                    <a:lnTo>
                      <a:pt x="1058" y="936"/>
                    </a:lnTo>
                    <a:lnTo>
                      <a:pt x="1060" y="936"/>
                    </a:lnTo>
                    <a:lnTo>
                      <a:pt x="1062" y="934"/>
                    </a:lnTo>
                    <a:lnTo>
                      <a:pt x="1064" y="934"/>
                    </a:lnTo>
                    <a:lnTo>
                      <a:pt x="1068" y="934"/>
                    </a:lnTo>
                    <a:lnTo>
                      <a:pt x="1070" y="934"/>
                    </a:lnTo>
                    <a:lnTo>
                      <a:pt x="1074" y="932"/>
                    </a:lnTo>
                    <a:lnTo>
                      <a:pt x="1076" y="932"/>
                    </a:lnTo>
                    <a:lnTo>
                      <a:pt x="1076" y="932"/>
                    </a:lnTo>
                    <a:lnTo>
                      <a:pt x="1076" y="932"/>
                    </a:lnTo>
                    <a:lnTo>
                      <a:pt x="1076" y="934"/>
                    </a:lnTo>
                    <a:lnTo>
                      <a:pt x="1076" y="934"/>
                    </a:lnTo>
                    <a:lnTo>
                      <a:pt x="1078" y="936"/>
                    </a:lnTo>
                    <a:lnTo>
                      <a:pt x="1078" y="938"/>
                    </a:lnTo>
                    <a:lnTo>
                      <a:pt x="1078" y="942"/>
                    </a:lnTo>
                    <a:lnTo>
                      <a:pt x="1078" y="948"/>
                    </a:lnTo>
                    <a:lnTo>
                      <a:pt x="1078" y="950"/>
                    </a:lnTo>
                    <a:lnTo>
                      <a:pt x="1078" y="952"/>
                    </a:lnTo>
                    <a:lnTo>
                      <a:pt x="1076" y="958"/>
                    </a:lnTo>
                    <a:lnTo>
                      <a:pt x="1076" y="962"/>
                    </a:lnTo>
                    <a:lnTo>
                      <a:pt x="1078" y="966"/>
                    </a:lnTo>
                    <a:lnTo>
                      <a:pt x="1078" y="966"/>
                    </a:lnTo>
                    <a:lnTo>
                      <a:pt x="1078" y="968"/>
                    </a:lnTo>
                    <a:lnTo>
                      <a:pt x="1078" y="968"/>
                    </a:lnTo>
                    <a:lnTo>
                      <a:pt x="1078" y="968"/>
                    </a:lnTo>
                    <a:lnTo>
                      <a:pt x="1078" y="970"/>
                    </a:lnTo>
                    <a:lnTo>
                      <a:pt x="1080" y="970"/>
                    </a:lnTo>
                    <a:lnTo>
                      <a:pt x="1080" y="970"/>
                    </a:lnTo>
                    <a:lnTo>
                      <a:pt x="1080" y="972"/>
                    </a:lnTo>
                    <a:lnTo>
                      <a:pt x="1082" y="972"/>
                    </a:lnTo>
                    <a:lnTo>
                      <a:pt x="1084" y="974"/>
                    </a:lnTo>
                    <a:lnTo>
                      <a:pt x="1088" y="978"/>
                    </a:lnTo>
                    <a:lnTo>
                      <a:pt x="1092" y="980"/>
                    </a:lnTo>
                    <a:lnTo>
                      <a:pt x="1094" y="980"/>
                    </a:lnTo>
                    <a:lnTo>
                      <a:pt x="1094" y="980"/>
                    </a:lnTo>
                    <a:lnTo>
                      <a:pt x="1094" y="982"/>
                    </a:lnTo>
                    <a:lnTo>
                      <a:pt x="1096" y="982"/>
                    </a:lnTo>
                    <a:lnTo>
                      <a:pt x="1096" y="982"/>
                    </a:lnTo>
                    <a:lnTo>
                      <a:pt x="1098" y="982"/>
                    </a:lnTo>
                    <a:lnTo>
                      <a:pt x="1098" y="980"/>
                    </a:lnTo>
                    <a:lnTo>
                      <a:pt x="1098" y="980"/>
                    </a:lnTo>
                    <a:lnTo>
                      <a:pt x="1100" y="980"/>
                    </a:lnTo>
                    <a:lnTo>
                      <a:pt x="1100" y="978"/>
                    </a:lnTo>
                    <a:lnTo>
                      <a:pt x="1100" y="978"/>
                    </a:lnTo>
                    <a:lnTo>
                      <a:pt x="1100" y="978"/>
                    </a:lnTo>
                    <a:lnTo>
                      <a:pt x="1102" y="976"/>
                    </a:lnTo>
                    <a:lnTo>
                      <a:pt x="1102" y="976"/>
                    </a:lnTo>
                    <a:lnTo>
                      <a:pt x="1102" y="976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4" y="976"/>
                    </a:lnTo>
                    <a:lnTo>
                      <a:pt x="1104" y="976"/>
                    </a:lnTo>
                    <a:lnTo>
                      <a:pt x="1104" y="976"/>
                    </a:lnTo>
                    <a:lnTo>
                      <a:pt x="1106" y="976"/>
                    </a:lnTo>
                    <a:lnTo>
                      <a:pt x="1106" y="976"/>
                    </a:lnTo>
                    <a:lnTo>
                      <a:pt x="1106" y="976"/>
                    </a:lnTo>
                    <a:lnTo>
                      <a:pt x="1108" y="976"/>
                    </a:lnTo>
                    <a:lnTo>
                      <a:pt x="1110" y="974"/>
                    </a:lnTo>
                    <a:lnTo>
                      <a:pt x="1114" y="974"/>
                    </a:lnTo>
                    <a:lnTo>
                      <a:pt x="1118" y="972"/>
                    </a:lnTo>
                    <a:lnTo>
                      <a:pt x="1120" y="970"/>
                    </a:lnTo>
                    <a:lnTo>
                      <a:pt x="1120" y="970"/>
                    </a:lnTo>
                    <a:lnTo>
                      <a:pt x="1120" y="970"/>
                    </a:lnTo>
                    <a:lnTo>
                      <a:pt x="1120" y="974"/>
                    </a:lnTo>
                    <a:lnTo>
                      <a:pt x="1120" y="974"/>
                    </a:lnTo>
                    <a:lnTo>
                      <a:pt x="1122" y="976"/>
                    </a:lnTo>
                    <a:lnTo>
                      <a:pt x="1124" y="976"/>
                    </a:lnTo>
                    <a:lnTo>
                      <a:pt x="1106" y="982"/>
                    </a:lnTo>
                    <a:lnTo>
                      <a:pt x="1106" y="982"/>
                    </a:lnTo>
                    <a:lnTo>
                      <a:pt x="1104" y="984"/>
                    </a:lnTo>
                    <a:lnTo>
                      <a:pt x="1094" y="1002"/>
                    </a:lnTo>
                    <a:lnTo>
                      <a:pt x="1094" y="1002"/>
                    </a:lnTo>
                    <a:lnTo>
                      <a:pt x="1096" y="1004"/>
                    </a:lnTo>
                    <a:lnTo>
                      <a:pt x="1108" y="1022"/>
                    </a:lnTo>
                    <a:lnTo>
                      <a:pt x="1108" y="1022"/>
                    </a:lnTo>
                    <a:lnTo>
                      <a:pt x="1110" y="1024"/>
                    </a:lnTo>
                    <a:lnTo>
                      <a:pt x="1110" y="1024"/>
                    </a:lnTo>
                    <a:lnTo>
                      <a:pt x="1112" y="1022"/>
                    </a:lnTo>
                    <a:lnTo>
                      <a:pt x="1134" y="996"/>
                    </a:lnTo>
                    <a:lnTo>
                      <a:pt x="1142" y="1000"/>
                    </a:lnTo>
                    <a:lnTo>
                      <a:pt x="1142" y="1000"/>
                    </a:lnTo>
                    <a:lnTo>
                      <a:pt x="1146" y="998"/>
                    </a:lnTo>
                    <a:lnTo>
                      <a:pt x="1154" y="992"/>
                    </a:lnTo>
                    <a:lnTo>
                      <a:pt x="1186" y="980"/>
                    </a:lnTo>
                    <a:lnTo>
                      <a:pt x="1186" y="980"/>
                    </a:lnTo>
                    <a:lnTo>
                      <a:pt x="1188" y="980"/>
                    </a:lnTo>
                    <a:lnTo>
                      <a:pt x="1188" y="978"/>
                    </a:lnTo>
                    <a:lnTo>
                      <a:pt x="1188" y="972"/>
                    </a:lnTo>
                    <a:lnTo>
                      <a:pt x="1206" y="964"/>
                    </a:lnTo>
                    <a:lnTo>
                      <a:pt x="1206" y="964"/>
                    </a:lnTo>
                    <a:lnTo>
                      <a:pt x="1208" y="960"/>
                    </a:lnTo>
                    <a:lnTo>
                      <a:pt x="1208" y="960"/>
                    </a:lnTo>
                    <a:lnTo>
                      <a:pt x="1206" y="958"/>
                    </a:lnTo>
                    <a:lnTo>
                      <a:pt x="1196" y="954"/>
                    </a:lnTo>
                    <a:lnTo>
                      <a:pt x="1196" y="946"/>
                    </a:lnTo>
                    <a:lnTo>
                      <a:pt x="1196" y="946"/>
                    </a:lnTo>
                    <a:lnTo>
                      <a:pt x="1196" y="946"/>
                    </a:lnTo>
                    <a:lnTo>
                      <a:pt x="1194" y="936"/>
                    </a:lnTo>
                    <a:lnTo>
                      <a:pt x="1194" y="936"/>
                    </a:lnTo>
                    <a:lnTo>
                      <a:pt x="1190" y="934"/>
                    </a:lnTo>
                    <a:lnTo>
                      <a:pt x="1190" y="934"/>
                    </a:lnTo>
                    <a:lnTo>
                      <a:pt x="1188" y="936"/>
                    </a:lnTo>
                    <a:lnTo>
                      <a:pt x="1182" y="946"/>
                    </a:lnTo>
                    <a:lnTo>
                      <a:pt x="1174" y="956"/>
                    </a:lnTo>
                    <a:lnTo>
                      <a:pt x="1174" y="956"/>
                    </a:lnTo>
                    <a:lnTo>
                      <a:pt x="1172" y="958"/>
                    </a:lnTo>
                    <a:lnTo>
                      <a:pt x="1174" y="966"/>
                    </a:lnTo>
                    <a:lnTo>
                      <a:pt x="1174" y="966"/>
                    </a:lnTo>
                    <a:lnTo>
                      <a:pt x="1174" y="964"/>
                    </a:lnTo>
                    <a:lnTo>
                      <a:pt x="1174" y="964"/>
                    </a:lnTo>
                    <a:lnTo>
                      <a:pt x="1172" y="962"/>
                    </a:lnTo>
                    <a:lnTo>
                      <a:pt x="1172" y="962"/>
                    </a:lnTo>
                    <a:lnTo>
                      <a:pt x="1168" y="962"/>
                    </a:lnTo>
                    <a:lnTo>
                      <a:pt x="1164" y="964"/>
                    </a:lnTo>
                    <a:lnTo>
                      <a:pt x="1166" y="960"/>
                    </a:lnTo>
                    <a:lnTo>
                      <a:pt x="1172" y="954"/>
                    </a:lnTo>
                    <a:lnTo>
                      <a:pt x="1172" y="954"/>
                    </a:lnTo>
                    <a:lnTo>
                      <a:pt x="1172" y="950"/>
                    </a:lnTo>
                    <a:lnTo>
                      <a:pt x="1172" y="950"/>
                    </a:lnTo>
                    <a:lnTo>
                      <a:pt x="1168" y="948"/>
                    </a:lnTo>
                    <a:lnTo>
                      <a:pt x="1162" y="948"/>
                    </a:lnTo>
                    <a:lnTo>
                      <a:pt x="1150" y="946"/>
                    </a:lnTo>
                    <a:lnTo>
                      <a:pt x="1140" y="942"/>
                    </a:lnTo>
                    <a:lnTo>
                      <a:pt x="1138" y="938"/>
                    </a:lnTo>
                    <a:lnTo>
                      <a:pt x="1138" y="938"/>
                    </a:lnTo>
                    <a:lnTo>
                      <a:pt x="1136" y="936"/>
                    </a:lnTo>
                    <a:lnTo>
                      <a:pt x="1136" y="936"/>
                    </a:lnTo>
                    <a:lnTo>
                      <a:pt x="1134" y="936"/>
                    </a:lnTo>
                    <a:lnTo>
                      <a:pt x="1128" y="944"/>
                    </a:lnTo>
                    <a:lnTo>
                      <a:pt x="1128" y="944"/>
                    </a:lnTo>
                    <a:lnTo>
                      <a:pt x="1128" y="946"/>
                    </a:lnTo>
                    <a:lnTo>
                      <a:pt x="1130" y="948"/>
                    </a:lnTo>
                    <a:lnTo>
                      <a:pt x="1136" y="954"/>
                    </a:lnTo>
                    <a:lnTo>
                      <a:pt x="1136" y="954"/>
                    </a:lnTo>
                    <a:lnTo>
                      <a:pt x="1136" y="956"/>
                    </a:lnTo>
                    <a:lnTo>
                      <a:pt x="1134" y="956"/>
                    </a:lnTo>
                    <a:lnTo>
                      <a:pt x="1134" y="956"/>
                    </a:lnTo>
                    <a:lnTo>
                      <a:pt x="1134" y="956"/>
                    </a:lnTo>
                    <a:lnTo>
                      <a:pt x="1132" y="954"/>
                    </a:lnTo>
                    <a:lnTo>
                      <a:pt x="1130" y="952"/>
                    </a:lnTo>
                    <a:lnTo>
                      <a:pt x="1128" y="950"/>
                    </a:lnTo>
                    <a:lnTo>
                      <a:pt x="1126" y="948"/>
                    </a:lnTo>
                    <a:lnTo>
                      <a:pt x="1124" y="946"/>
                    </a:lnTo>
                    <a:lnTo>
                      <a:pt x="1124" y="946"/>
                    </a:lnTo>
                    <a:lnTo>
                      <a:pt x="1124" y="946"/>
                    </a:lnTo>
                    <a:lnTo>
                      <a:pt x="1124" y="944"/>
                    </a:lnTo>
                    <a:lnTo>
                      <a:pt x="1126" y="944"/>
                    </a:lnTo>
                    <a:lnTo>
                      <a:pt x="1126" y="942"/>
                    </a:lnTo>
                    <a:lnTo>
                      <a:pt x="1128" y="942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30" y="938"/>
                    </a:lnTo>
                    <a:lnTo>
                      <a:pt x="1130" y="936"/>
                    </a:lnTo>
                    <a:lnTo>
                      <a:pt x="1130" y="936"/>
                    </a:lnTo>
                    <a:lnTo>
                      <a:pt x="1128" y="934"/>
                    </a:lnTo>
                    <a:lnTo>
                      <a:pt x="1128" y="934"/>
                    </a:lnTo>
                    <a:lnTo>
                      <a:pt x="1128" y="934"/>
                    </a:lnTo>
                    <a:lnTo>
                      <a:pt x="1126" y="934"/>
                    </a:lnTo>
                    <a:lnTo>
                      <a:pt x="1124" y="934"/>
                    </a:lnTo>
                    <a:lnTo>
                      <a:pt x="1122" y="934"/>
                    </a:lnTo>
                    <a:lnTo>
                      <a:pt x="1120" y="934"/>
                    </a:lnTo>
                    <a:lnTo>
                      <a:pt x="1120" y="934"/>
                    </a:lnTo>
                    <a:lnTo>
                      <a:pt x="1120" y="934"/>
                    </a:lnTo>
                    <a:lnTo>
                      <a:pt x="1122" y="930"/>
                    </a:lnTo>
                    <a:lnTo>
                      <a:pt x="1122" y="928"/>
                    </a:lnTo>
                    <a:lnTo>
                      <a:pt x="1124" y="926"/>
                    </a:lnTo>
                    <a:lnTo>
                      <a:pt x="1126" y="924"/>
                    </a:lnTo>
                    <a:lnTo>
                      <a:pt x="1126" y="922"/>
                    </a:lnTo>
                    <a:lnTo>
                      <a:pt x="1126" y="922"/>
                    </a:lnTo>
                    <a:lnTo>
                      <a:pt x="1128" y="920"/>
                    </a:lnTo>
                    <a:lnTo>
                      <a:pt x="1128" y="920"/>
                    </a:lnTo>
                    <a:lnTo>
                      <a:pt x="1128" y="920"/>
                    </a:lnTo>
                    <a:lnTo>
                      <a:pt x="1126" y="918"/>
                    </a:lnTo>
                    <a:lnTo>
                      <a:pt x="1126" y="916"/>
                    </a:lnTo>
                    <a:lnTo>
                      <a:pt x="1126" y="916"/>
                    </a:lnTo>
                    <a:lnTo>
                      <a:pt x="1124" y="916"/>
                    </a:lnTo>
                    <a:lnTo>
                      <a:pt x="1124" y="916"/>
                    </a:lnTo>
                    <a:lnTo>
                      <a:pt x="1124" y="916"/>
                    </a:lnTo>
                    <a:lnTo>
                      <a:pt x="1122" y="916"/>
                    </a:lnTo>
                    <a:lnTo>
                      <a:pt x="1120" y="916"/>
                    </a:lnTo>
                    <a:lnTo>
                      <a:pt x="1118" y="916"/>
                    </a:lnTo>
                    <a:lnTo>
                      <a:pt x="1114" y="916"/>
                    </a:lnTo>
                    <a:lnTo>
                      <a:pt x="1114" y="916"/>
                    </a:lnTo>
                    <a:lnTo>
                      <a:pt x="1112" y="916"/>
                    </a:lnTo>
                    <a:lnTo>
                      <a:pt x="1112" y="916"/>
                    </a:lnTo>
                    <a:lnTo>
                      <a:pt x="1110" y="914"/>
                    </a:lnTo>
                    <a:lnTo>
                      <a:pt x="1104" y="912"/>
                    </a:lnTo>
                    <a:lnTo>
                      <a:pt x="1102" y="910"/>
                    </a:lnTo>
                    <a:lnTo>
                      <a:pt x="1102" y="910"/>
                    </a:lnTo>
                    <a:lnTo>
                      <a:pt x="1100" y="908"/>
                    </a:lnTo>
                    <a:lnTo>
                      <a:pt x="1100" y="908"/>
                    </a:lnTo>
                    <a:lnTo>
                      <a:pt x="1102" y="906"/>
                    </a:lnTo>
                    <a:lnTo>
                      <a:pt x="1106" y="904"/>
                    </a:lnTo>
                    <a:lnTo>
                      <a:pt x="1108" y="902"/>
                    </a:lnTo>
                    <a:lnTo>
                      <a:pt x="1112" y="900"/>
                    </a:lnTo>
                    <a:lnTo>
                      <a:pt x="1114" y="898"/>
                    </a:lnTo>
                    <a:lnTo>
                      <a:pt x="1114" y="898"/>
                    </a:lnTo>
                    <a:lnTo>
                      <a:pt x="1114" y="898"/>
                    </a:lnTo>
                    <a:lnTo>
                      <a:pt x="1116" y="896"/>
                    </a:lnTo>
                    <a:lnTo>
                      <a:pt x="1116" y="896"/>
                    </a:lnTo>
                    <a:lnTo>
                      <a:pt x="1116" y="894"/>
                    </a:lnTo>
                    <a:lnTo>
                      <a:pt x="1118" y="894"/>
                    </a:lnTo>
                    <a:lnTo>
                      <a:pt x="1118" y="894"/>
                    </a:lnTo>
                    <a:lnTo>
                      <a:pt x="1118" y="894"/>
                    </a:lnTo>
                    <a:lnTo>
                      <a:pt x="1118" y="892"/>
                    </a:lnTo>
                    <a:lnTo>
                      <a:pt x="1118" y="892"/>
                    </a:lnTo>
                    <a:lnTo>
                      <a:pt x="1118" y="890"/>
                    </a:lnTo>
                    <a:lnTo>
                      <a:pt x="1116" y="890"/>
                    </a:lnTo>
                    <a:lnTo>
                      <a:pt x="1116" y="890"/>
                    </a:lnTo>
                    <a:lnTo>
                      <a:pt x="1116" y="888"/>
                    </a:lnTo>
                    <a:lnTo>
                      <a:pt x="1114" y="886"/>
                    </a:lnTo>
                    <a:lnTo>
                      <a:pt x="1114" y="886"/>
                    </a:lnTo>
                    <a:lnTo>
                      <a:pt x="1114" y="886"/>
                    </a:lnTo>
                    <a:lnTo>
                      <a:pt x="1110" y="884"/>
                    </a:lnTo>
                    <a:lnTo>
                      <a:pt x="1108" y="882"/>
                    </a:lnTo>
                    <a:lnTo>
                      <a:pt x="1104" y="882"/>
                    </a:lnTo>
                    <a:lnTo>
                      <a:pt x="1100" y="880"/>
                    </a:lnTo>
                    <a:lnTo>
                      <a:pt x="1100" y="880"/>
                    </a:lnTo>
                    <a:lnTo>
                      <a:pt x="1098" y="880"/>
                    </a:lnTo>
                    <a:lnTo>
                      <a:pt x="1094" y="880"/>
                    </a:lnTo>
                    <a:lnTo>
                      <a:pt x="1094" y="880"/>
                    </a:lnTo>
                    <a:lnTo>
                      <a:pt x="1094" y="880"/>
                    </a:lnTo>
                    <a:lnTo>
                      <a:pt x="1090" y="880"/>
                    </a:lnTo>
                    <a:lnTo>
                      <a:pt x="1090" y="880"/>
                    </a:lnTo>
                    <a:lnTo>
                      <a:pt x="1090" y="880"/>
                    </a:lnTo>
                    <a:lnTo>
                      <a:pt x="1086" y="882"/>
                    </a:lnTo>
                    <a:lnTo>
                      <a:pt x="1082" y="884"/>
                    </a:lnTo>
                    <a:lnTo>
                      <a:pt x="1076" y="886"/>
                    </a:lnTo>
                    <a:lnTo>
                      <a:pt x="1070" y="890"/>
                    </a:lnTo>
                    <a:lnTo>
                      <a:pt x="1066" y="894"/>
                    </a:lnTo>
                    <a:lnTo>
                      <a:pt x="1060" y="898"/>
                    </a:lnTo>
                    <a:lnTo>
                      <a:pt x="1056" y="902"/>
                    </a:lnTo>
                    <a:lnTo>
                      <a:pt x="1052" y="906"/>
                    </a:lnTo>
                    <a:lnTo>
                      <a:pt x="1046" y="912"/>
                    </a:lnTo>
                    <a:lnTo>
                      <a:pt x="1042" y="918"/>
                    </a:lnTo>
                    <a:lnTo>
                      <a:pt x="1040" y="924"/>
                    </a:lnTo>
                    <a:lnTo>
                      <a:pt x="1036" y="930"/>
                    </a:lnTo>
                    <a:lnTo>
                      <a:pt x="1032" y="936"/>
                    </a:lnTo>
                    <a:lnTo>
                      <a:pt x="1028" y="942"/>
                    </a:lnTo>
                    <a:lnTo>
                      <a:pt x="1026" y="948"/>
                    </a:lnTo>
                    <a:lnTo>
                      <a:pt x="1024" y="950"/>
                    </a:lnTo>
                    <a:lnTo>
                      <a:pt x="1022" y="954"/>
                    </a:lnTo>
                    <a:lnTo>
                      <a:pt x="1020" y="956"/>
                    </a:lnTo>
                    <a:lnTo>
                      <a:pt x="1018" y="956"/>
                    </a:lnTo>
                    <a:lnTo>
                      <a:pt x="1016" y="958"/>
                    </a:lnTo>
                    <a:lnTo>
                      <a:pt x="1016" y="958"/>
                    </a:lnTo>
                    <a:lnTo>
                      <a:pt x="1014" y="958"/>
                    </a:lnTo>
                    <a:lnTo>
                      <a:pt x="1012" y="960"/>
                    </a:lnTo>
                    <a:lnTo>
                      <a:pt x="1010" y="960"/>
                    </a:lnTo>
                    <a:lnTo>
                      <a:pt x="1008" y="962"/>
                    </a:lnTo>
                    <a:lnTo>
                      <a:pt x="1006" y="962"/>
                    </a:lnTo>
                    <a:lnTo>
                      <a:pt x="1000" y="966"/>
                    </a:lnTo>
                    <a:lnTo>
                      <a:pt x="994" y="968"/>
                    </a:lnTo>
                    <a:lnTo>
                      <a:pt x="994" y="968"/>
                    </a:lnTo>
                    <a:lnTo>
                      <a:pt x="996" y="966"/>
                    </a:lnTo>
                    <a:lnTo>
                      <a:pt x="1002" y="962"/>
                    </a:lnTo>
                    <a:lnTo>
                      <a:pt x="1010" y="958"/>
                    </a:lnTo>
                    <a:lnTo>
                      <a:pt x="1016" y="952"/>
                    </a:lnTo>
                    <a:lnTo>
                      <a:pt x="1020" y="950"/>
                    </a:lnTo>
                    <a:lnTo>
                      <a:pt x="1022" y="948"/>
                    </a:lnTo>
                    <a:lnTo>
                      <a:pt x="1026" y="942"/>
                    </a:lnTo>
                    <a:lnTo>
                      <a:pt x="1030" y="938"/>
                    </a:lnTo>
                    <a:lnTo>
                      <a:pt x="1032" y="932"/>
                    </a:lnTo>
                    <a:lnTo>
                      <a:pt x="1034" y="926"/>
                    </a:lnTo>
                    <a:lnTo>
                      <a:pt x="1038" y="920"/>
                    </a:lnTo>
                    <a:lnTo>
                      <a:pt x="1040" y="916"/>
                    </a:lnTo>
                    <a:lnTo>
                      <a:pt x="1042" y="910"/>
                    </a:lnTo>
                    <a:lnTo>
                      <a:pt x="1046" y="906"/>
                    </a:lnTo>
                    <a:lnTo>
                      <a:pt x="1056" y="898"/>
                    </a:lnTo>
                    <a:lnTo>
                      <a:pt x="1060" y="894"/>
                    </a:lnTo>
                    <a:lnTo>
                      <a:pt x="1066" y="890"/>
                    </a:lnTo>
                    <a:lnTo>
                      <a:pt x="1072" y="886"/>
                    </a:lnTo>
                    <a:lnTo>
                      <a:pt x="1078" y="882"/>
                    </a:lnTo>
                    <a:lnTo>
                      <a:pt x="1086" y="878"/>
                    </a:lnTo>
                    <a:lnTo>
                      <a:pt x="1094" y="876"/>
                    </a:lnTo>
                    <a:lnTo>
                      <a:pt x="1100" y="876"/>
                    </a:lnTo>
                    <a:lnTo>
                      <a:pt x="1106" y="874"/>
                    </a:lnTo>
                    <a:lnTo>
                      <a:pt x="1112" y="874"/>
                    </a:lnTo>
                    <a:lnTo>
                      <a:pt x="1118" y="872"/>
                    </a:lnTo>
                    <a:lnTo>
                      <a:pt x="1134" y="872"/>
                    </a:lnTo>
                    <a:lnTo>
                      <a:pt x="1148" y="870"/>
                    </a:lnTo>
                    <a:lnTo>
                      <a:pt x="1164" y="870"/>
                    </a:lnTo>
                    <a:lnTo>
                      <a:pt x="1170" y="870"/>
                    </a:lnTo>
                    <a:lnTo>
                      <a:pt x="1178" y="870"/>
                    </a:lnTo>
                    <a:lnTo>
                      <a:pt x="1184" y="870"/>
                    </a:lnTo>
                    <a:lnTo>
                      <a:pt x="1188" y="868"/>
                    </a:lnTo>
                    <a:lnTo>
                      <a:pt x="1194" y="868"/>
                    </a:lnTo>
                    <a:lnTo>
                      <a:pt x="1198" y="868"/>
                    </a:lnTo>
                    <a:lnTo>
                      <a:pt x="1202" y="866"/>
                    </a:lnTo>
                    <a:lnTo>
                      <a:pt x="1204" y="866"/>
                    </a:lnTo>
                    <a:lnTo>
                      <a:pt x="1206" y="866"/>
                    </a:lnTo>
                    <a:lnTo>
                      <a:pt x="1208" y="866"/>
                    </a:lnTo>
                    <a:lnTo>
                      <a:pt x="1208" y="866"/>
                    </a:lnTo>
                    <a:lnTo>
                      <a:pt x="1208" y="864"/>
                    </a:lnTo>
                    <a:lnTo>
                      <a:pt x="1208" y="864"/>
                    </a:lnTo>
                    <a:lnTo>
                      <a:pt x="1208" y="864"/>
                    </a:lnTo>
                    <a:lnTo>
                      <a:pt x="1210" y="864"/>
                    </a:lnTo>
                    <a:lnTo>
                      <a:pt x="1210" y="862"/>
                    </a:lnTo>
                    <a:lnTo>
                      <a:pt x="1210" y="862"/>
                    </a:lnTo>
                    <a:lnTo>
                      <a:pt x="1210" y="862"/>
                    </a:lnTo>
                    <a:lnTo>
                      <a:pt x="1210" y="860"/>
                    </a:lnTo>
                    <a:lnTo>
                      <a:pt x="1210" y="860"/>
                    </a:lnTo>
                    <a:lnTo>
                      <a:pt x="1210" y="858"/>
                    </a:lnTo>
                    <a:lnTo>
                      <a:pt x="1208" y="858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10" y="852"/>
                    </a:lnTo>
                    <a:lnTo>
                      <a:pt x="1214" y="850"/>
                    </a:lnTo>
                    <a:lnTo>
                      <a:pt x="1220" y="842"/>
                    </a:lnTo>
                    <a:lnTo>
                      <a:pt x="1222" y="840"/>
                    </a:lnTo>
                    <a:lnTo>
                      <a:pt x="1224" y="838"/>
                    </a:lnTo>
                    <a:lnTo>
                      <a:pt x="1224" y="838"/>
                    </a:lnTo>
                    <a:lnTo>
                      <a:pt x="1224" y="840"/>
                    </a:lnTo>
                    <a:lnTo>
                      <a:pt x="1228" y="842"/>
                    </a:lnTo>
                    <a:lnTo>
                      <a:pt x="1230" y="844"/>
                    </a:lnTo>
                    <a:lnTo>
                      <a:pt x="1230" y="844"/>
                    </a:lnTo>
                    <a:lnTo>
                      <a:pt x="1230" y="844"/>
                    </a:lnTo>
                    <a:lnTo>
                      <a:pt x="1232" y="844"/>
                    </a:lnTo>
                    <a:lnTo>
                      <a:pt x="1232" y="844"/>
                    </a:lnTo>
                    <a:lnTo>
                      <a:pt x="1232" y="844"/>
                    </a:lnTo>
                    <a:lnTo>
                      <a:pt x="1234" y="844"/>
                    </a:lnTo>
                    <a:lnTo>
                      <a:pt x="1234" y="846"/>
                    </a:lnTo>
                    <a:lnTo>
                      <a:pt x="1234" y="848"/>
                    </a:lnTo>
                    <a:lnTo>
                      <a:pt x="1232" y="850"/>
                    </a:lnTo>
                    <a:lnTo>
                      <a:pt x="1228" y="852"/>
                    </a:lnTo>
                    <a:lnTo>
                      <a:pt x="1228" y="852"/>
                    </a:lnTo>
                    <a:lnTo>
                      <a:pt x="1228" y="852"/>
                    </a:lnTo>
                    <a:lnTo>
                      <a:pt x="1226" y="854"/>
                    </a:lnTo>
                    <a:lnTo>
                      <a:pt x="1224" y="856"/>
                    </a:lnTo>
                    <a:lnTo>
                      <a:pt x="1222" y="858"/>
                    </a:lnTo>
                    <a:lnTo>
                      <a:pt x="1222" y="858"/>
                    </a:lnTo>
                    <a:lnTo>
                      <a:pt x="1222" y="858"/>
                    </a:lnTo>
                    <a:lnTo>
                      <a:pt x="1220" y="860"/>
                    </a:lnTo>
                    <a:lnTo>
                      <a:pt x="1220" y="860"/>
                    </a:lnTo>
                    <a:lnTo>
                      <a:pt x="1220" y="862"/>
                    </a:lnTo>
                    <a:lnTo>
                      <a:pt x="1220" y="864"/>
                    </a:lnTo>
                    <a:lnTo>
                      <a:pt x="1220" y="866"/>
                    </a:lnTo>
                    <a:lnTo>
                      <a:pt x="1218" y="874"/>
                    </a:lnTo>
                    <a:lnTo>
                      <a:pt x="1218" y="880"/>
                    </a:lnTo>
                    <a:lnTo>
                      <a:pt x="1216" y="888"/>
                    </a:lnTo>
                    <a:lnTo>
                      <a:pt x="1214" y="894"/>
                    </a:lnTo>
                    <a:lnTo>
                      <a:pt x="1212" y="896"/>
                    </a:lnTo>
                    <a:lnTo>
                      <a:pt x="1212" y="898"/>
                    </a:lnTo>
                    <a:lnTo>
                      <a:pt x="1210" y="900"/>
                    </a:lnTo>
                    <a:lnTo>
                      <a:pt x="1208" y="902"/>
                    </a:lnTo>
                    <a:lnTo>
                      <a:pt x="1206" y="902"/>
                    </a:lnTo>
                    <a:lnTo>
                      <a:pt x="1202" y="904"/>
                    </a:lnTo>
                    <a:lnTo>
                      <a:pt x="1202" y="904"/>
                    </a:lnTo>
                    <a:lnTo>
                      <a:pt x="1202" y="904"/>
                    </a:lnTo>
                    <a:lnTo>
                      <a:pt x="1200" y="904"/>
                    </a:lnTo>
                    <a:lnTo>
                      <a:pt x="1200" y="904"/>
                    </a:lnTo>
                    <a:lnTo>
                      <a:pt x="1200" y="906"/>
                    </a:lnTo>
                    <a:lnTo>
                      <a:pt x="1200" y="906"/>
                    </a:lnTo>
                    <a:lnTo>
                      <a:pt x="1200" y="906"/>
                    </a:lnTo>
                    <a:lnTo>
                      <a:pt x="1198" y="906"/>
                    </a:lnTo>
                    <a:lnTo>
                      <a:pt x="1198" y="908"/>
                    </a:lnTo>
                    <a:lnTo>
                      <a:pt x="1198" y="908"/>
                    </a:lnTo>
                    <a:lnTo>
                      <a:pt x="1198" y="910"/>
                    </a:lnTo>
                    <a:lnTo>
                      <a:pt x="1198" y="912"/>
                    </a:lnTo>
                    <a:lnTo>
                      <a:pt x="1198" y="912"/>
                    </a:lnTo>
                    <a:lnTo>
                      <a:pt x="1198" y="912"/>
                    </a:lnTo>
                    <a:lnTo>
                      <a:pt x="1198" y="914"/>
                    </a:lnTo>
                    <a:lnTo>
                      <a:pt x="1200" y="914"/>
                    </a:lnTo>
                    <a:lnTo>
                      <a:pt x="1200" y="914"/>
                    </a:lnTo>
                    <a:lnTo>
                      <a:pt x="1198" y="914"/>
                    </a:lnTo>
                    <a:lnTo>
                      <a:pt x="1198" y="916"/>
                    </a:lnTo>
                    <a:lnTo>
                      <a:pt x="1198" y="916"/>
                    </a:lnTo>
                    <a:lnTo>
                      <a:pt x="1196" y="918"/>
                    </a:lnTo>
                    <a:lnTo>
                      <a:pt x="1196" y="918"/>
                    </a:lnTo>
                    <a:lnTo>
                      <a:pt x="1194" y="920"/>
                    </a:lnTo>
                    <a:lnTo>
                      <a:pt x="1194" y="922"/>
                    </a:lnTo>
                    <a:lnTo>
                      <a:pt x="1196" y="924"/>
                    </a:lnTo>
                    <a:lnTo>
                      <a:pt x="1196" y="924"/>
                    </a:lnTo>
                    <a:lnTo>
                      <a:pt x="1196" y="924"/>
                    </a:lnTo>
                    <a:lnTo>
                      <a:pt x="1198" y="926"/>
                    </a:lnTo>
                    <a:lnTo>
                      <a:pt x="1198" y="926"/>
                    </a:lnTo>
                    <a:lnTo>
                      <a:pt x="1198" y="926"/>
                    </a:lnTo>
                    <a:lnTo>
                      <a:pt x="1200" y="928"/>
                    </a:lnTo>
                    <a:lnTo>
                      <a:pt x="1200" y="928"/>
                    </a:lnTo>
                    <a:lnTo>
                      <a:pt x="1202" y="928"/>
                    </a:lnTo>
                    <a:lnTo>
                      <a:pt x="1204" y="928"/>
                    </a:lnTo>
                    <a:lnTo>
                      <a:pt x="1204" y="928"/>
                    </a:lnTo>
                    <a:lnTo>
                      <a:pt x="1204" y="928"/>
                    </a:lnTo>
                    <a:lnTo>
                      <a:pt x="1210" y="928"/>
                    </a:lnTo>
                    <a:lnTo>
                      <a:pt x="1210" y="928"/>
                    </a:lnTo>
                    <a:lnTo>
                      <a:pt x="1210" y="928"/>
                    </a:lnTo>
                    <a:lnTo>
                      <a:pt x="1214" y="928"/>
                    </a:lnTo>
                    <a:lnTo>
                      <a:pt x="1220" y="928"/>
                    </a:lnTo>
                    <a:lnTo>
                      <a:pt x="1224" y="928"/>
                    </a:lnTo>
                    <a:lnTo>
                      <a:pt x="1224" y="928"/>
                    </a:lnTo>
                    <a:lnTo>
                      <a:pt x="1226" y="928"/>
                    </a:lnTo>
                    <a:lnTo>
                      <a:pt x="1228" y="930"/>
                    </a:lnTo>
                    <a:lnTo>
                      <a:pt x="1230" y="930"/>
                    </a:lnTo>
                    <a:lnTo>
                      <a:pt x="1230" y="932"/>
                    </a:lnTo>
                    <a:lnTo>
                      <a:pt x="1232" y="936"/>
                    </a:lnTo>
                    <a:lnTo>
                      <a:pt x="1232" y="936"/>
                    </a:lnTo>
                    <a:lnTo>
                      <a:pt x="1232" y="936"/>
                    </a:lnTo>
                    <a:lnTo>
                      <a:pt x="1234" y="940"/>
                    </a:lnTo>
                    <a:lnTo>
                      <a:pt x="1234" y="940"/>
                    </a:lnTo>
                    <a:lnTo>
                      <a:pt x="1236" y="942"/>
                    </a:lnTo>
                    <a:lnTo>
                      <a:pt x="1238" y="946"/>
                    </a:lnTo>
                    <a:lnTo>
                      <a:pt x="1240" y="948"/>
                    </a:lnTo>
                    <a:lnTo>
                      <a:pt x="1244" y="950"/>
                    </a:lnTo>
                    <a:lnTo>
                      <a:pt x="1244" y="950"/>
                    </a:lnTo>
                    <a:lnTo>
                      <a:pt x="1246" y="950"/>
                    </a:lnTo>
                    <a:lnTo>
                      <a:pt x="1250" y="948"/>
                    </a:lnTo>
                    <a:lnTo>
                      <a:pt x="1252" y="946"/>
                    </a:lnTo>
                    <a:lnTo>
                      <a:pt x="1254" y="944"/>
                    </a:lnTo>
                    <a:lnTo>
                      <a:pt x="1256" y="944"/>
                    </a:lnTo>
                    <a:lnTo>
                      <a:pt x="1258" y="942"/>
                    </a:lnTo>
                    <a:lnTo>
                      <a:pt x="1260" y="942"/>
                    </a:lnTo>
                    <a:lnTo>
                      <a:pt x="1262" y="940"/>
                    </a:lnTo>
                    <a:lnTo>
                      <a:pt x="1266" y="940"/>
                    </a:lnTo>
                    <a:lnTo>
                      <a:pt x="1266" y="940"/>
                    </a:lnTo>
                    <a:lnTo>
                      <a:pt x="1266" y="940"/>
                    </a:lnTo>
                    <a:lnTo>
                      <a:pt x="1268" y="938"/>
                    </a:lnTo>
                    <a:lnTo>
                      <a:pt x="1268" y="938"/>
                    </a:lnTo>
                    <a:lnTo>
                      <a:pt x="1270" y="938"/>
                    </a:lnTo>
                    <a:lnTo>
                      <a:pt x="1270" y="940"/>
                    </a:lnTo>
                    <a:lnTo>
                      <a:pt x="1270" y="942"/>
                    </a:lnTo>
                    <a:lnTo>
                      <a:pt x="1272" y="948"/>
                    </a:lnTo>
                    <a:lnTo>
                      <a:pt x="1272" y="948"/>
                    </a:lnTo>
                    <a:lnTo>
                      <a:pt x="1272" y="950"/>
                    </a:lnTo>
                    <a:lnTo>
                      <a:pt x="1274" y="950"/>
                    </a:lnTo>
                    <a:lnTo>
                      <a:pt x="1282" y="950"/>
                    </a:lnTo>
                    <a:lnTo>
                      <a:pt x="1288" y="950"/>
                    </a:lnTo>
                    <a:lnTo>
                      <a:pt x="1288" y="950"/>
                    </a:lnTo>
                    <a:lnTo>
                      <a:pt x="1288" y="950"/>
                    </a:lnTo>
                    <a:lnTo>
                      <a:pt x="1292" y="950"/>
                    </a:lnTo>
                    <a:lnTo>
                      <a:pt x="1292" y="950"/>
                    </a:lnTo>
                    <a:lnTo>
                      <a:pt x="1294" y="948"/>
                    </a:lnTo>
                    <a:lnTo>
                      <a:pt x="1296" y="948"/>
                    </a:lnTo>
                    <a:lnTo>
                      <a:pt x="1296" y="948"/>
                    </a:lnTo>
                    <a:lnTo>
                      <a:pt x="1296" y="946"/>
                    </a:lnTo>
                    <a:lnTo>
                      <a:pt x="1298" y="946"/>
                    </a:lnTo>
                    <a:lnTo>
                      <a:pt x="1298" y="946"/>
                    </a:lnTo>
                    <a:lnTo>
                      <a:pt x="1298" y="944"/>
                    </a:lnTo>
                    <a:lnTo>
                      <a:pt x="1298" y="942"/>
                    </a:lnTo>
                    <a:lnTo>
                      <a:pt x="1298" y="940"/>
                    </a:lnTo>
                    <a:lnTo>
                      <a:pt x="1300" y="938"/>
                    </a:lnTo>
                    <a:lnTo>
                      <a:pt x="1300" y="938"/>
                    </a:lnTo>
                    <a:lnTo>
                      <a:pt x="1300" y="936"/>
                    </a:lnTo>
                    <a:lnTo>
                      <a:pt x="1302" y="936"/>
                    </a:lnTo>
                    <a:lnTo>
                      <a:pt x="1302" y="936"/>
                    </a:lnTo>
                    <a:lnTo>
                      <a:pt x="1304" y="934"/>
                    </a:lnTo>
                    <a:lnTo>
                      <a:pt x="1304" y="932"/>
                    </a:lnTo>
                    <a:lnTo>
                      <a:pt x="1304" y="932"/>
                    </a:lnTo>
                    <a:close/>
                    <a:moveTo>
                      <a:pt x="748" y="432"/>
                    </a:moveTo>
                    <a:lnTo>
                      <a:pt x="752" y="432"/>
                    </a:lnTo>
                    <a:lnTo>
                      <a:pt x="758" y="432"/>
                    </a:lnTo>
                    <a:lnTo>
                      <a:pt x="762" y="434"/>
                    </a:lnTo>
                    <a:lnTo>
                      <a:pt x="768" y="434"/>
                    </a:lnTo>
                    <a:lnTo>
                      <a:pt x="768" y="434"/>
                    </a:lnTo>
                    <a:lnTo>
                      <a:pt x="770" y="436"/>
                    </a:lnTo>
                    <a:lnTo>
                      <a:pt x="772" y="436"/>
                    </a:lnTo>
                    <a:lnTo>
                      <a:pt x="774" y="438"/>
                    </a:lnTo>
                    <a:lnTo>
                      <a:pt x="776" y="442"/>
                    </a:lnTo>
                    <a:lnTo>
                      <a:pt x="778" y="444"/>
                    </a:lnTo>
                    <a:lnTo>
                      <a:pt x="780" y="448"/>
                    </a:lnTo>
                    <a:lnTo>
                      <a:pt x="780" y="448"/>
                    </a:lnTo>
                    <a:lnTo>
                      <a:pt x="776" y="446"/>
                    </a:lnTo>
                    <a:lnTo>
                      <a:pt x="772" y="446"/>
                    </a:lnTo>
                    <a:lnTo>
                      <a:pt x="768" y="444"/>
                    </a:lnTo>
                    <a:lnTo>
                      <a:pt x="766" y="442"/>
                    </a:lnTo>
                    <a:lnTo>
                      <a:pt x="760" y="440"/>
                    </a:lnTo>
                    <a:lnTo>
                      <a:pt x="756" y="438"/>
                    </a:lnTo>
                    <a:lnTo>
                      <a:pt x="750" y="434"/>
                    </a:lnTo>
                    <a:lnTo>
                      <a:pt x="746" y="432"/>
                    </a:lnTo>
                    <a:lnTo>
                      <a:pt x="746" y="432"/>
                    </a:lnTo>
                    <a:lnTo>
                      <a:pt x="748" y="432"/>
                    </a:lnTo>
                    <a:close/>
                    <a:moveTo>
                      <a:pt x="710" y="500"/>
                    </a:moveTo>
                    <a:lnTo>
                      <a:pt x="714" y="500"/>
                    </a:lnTo>
                    <a:lnTo>
                      <a:pt x="716" y="500"/>
                    </a:lnTo>
                    <a:lnTo>
                      <a:pt x="720" y="500"/>
                    </a:lnTo>
                    <a:lnTo>
                      <a:pt x="716" y="500"/>
                    </a:lnTo>
                    <a:lnTo>
                      <a:pt x="710" y="500"/>
                    </a:lnTo>
                    <a:lnTo>
                      <a:pt x="708" y="500"/>
                    </a:lnTo>
                    <a:lnTo>
                      <a:pt x="710" y="500"/>
                    </a:lnTo>
                    <a:close/>
                    <a:moveTo>
                      <a:pt x="504" y="126"/>
                    </a:moveTo>
                    <a:lnTo>
                      <a:pt x="504" y="126"/>
                    </a:lnTo>
                    <a:lnTo>
                      <a:pt x="506" y="126"/>
                    </a:lnTo>
                    <a:lnTo>
                      <a:pt x="508" y="126"/>
                    </a:lnTo>
                    <a:lnTo>
                      <a:pt x="510" y="128"/>
                    </a:lnTo>
                    <a:lnTo>
                      <a:pt x="510" y="128"/>
                    </a:lnTo>
                    <a:lnTo>
                      <a:pt x="512" y="130"/>
                    </a:lnTo>
                    <a:lnTo>
                      <a:pt x="514" y="134"/>
                    </a:lnTo>
                    <a:lnTo>
                      <a:pt x="516" y="136"/>
                    </a:lnTo>
                    <a:lnTo>
                      <a:pt x="516" y="138"/>
                    </a:lnTo>
                    <a:lnTo>
                      <a:pt x="514" y="136"/>
                    </a:lnTo>
                    <a:lnTo>
                      <a:pt x="512" y="134"/>
                    </a:lnTo>
                    <a:lnTo>
                      <a:pt x="510" y="134"/>
                    </a:lnTo>
                    <a:lnTo>
                      <a:pt x="508" y="132"/>
                    </a:lnTo>
                    <a:lnTo>
                      <a:pt x="506" y="130"/>
                    </a:lnTo>
                    <a:lnTo>
                      <a:pt x="506" y="130"/>
                    </a:lnTo>
                    <a:lnTo>
                      <a:pt x="504" y="126"/>
                    </a:lnTo>
                    <a:lnTo>
                      <a:pt x="504" y="124"/>
                    </a:lnTo>
                    <a:lnTo>
                      <a:pt x="504" y="126"/>
                    </a:lnTo>
                    <a:close/>
                    <a:moveTo>
                      <a:pt x="1152" y="962"/>
                    </a:moveTo>
                    <a:lnTo>
                      <a:pt x="1154" y="964"/>
                    </a:lnTo>
                    <a:lnTo>
                      <a:pt x="1150" y="962"/>
                    </a:lnTo>
                    <a:lnTo>
                      <a:pt x="1146" y="960"/>
                    </a:lnTo>
                    <a:lnTo>
                      <a:pt x="1152" y="962"/>
                    </a:lnTo>
                    <a:close/>
                    <a:moveTo>
                      <a:pt x="1238" y="832"/>
                    </a:moveTo>
                    <a:lnTo>
                      <a:pt x="1238" y="834"/>
                    </a:lnTo>
                    <a:lnTo>
                      <a:pt x="1236" y="834"/>
                    </a:lnTo>
                    <a:lnTo>
                      <a:pt x="1236" y="834"/>
                    </a:lnTo>
                    <a:lnTo>
                      <a:pt x="1234" y="836"/>
                    </a:lnTo>
                    <a:lnTo>
                      <a:pt x="1232" y="836"/>
                    </a:lnTo>
                    <a:lnTo>
                      <a:pt x="1232" y="836"/>
                    </a:lnTo>
                    <a:lnTo>
                      <a:pt x="1232" y="836"/>
                    </a:lnTo>
                    <a:lnTo>
                      <a:pt x="1230" y="836"/>
                    </a:lnTo>
                    <a:lnTo>
                      <a:pt x="1226" y="836"/>
                    </a:lnTo>
                    <a:lnTo>
                      <a:pt x="1226" y="836"/>
                    </a:lnTo>
                    <a:lnTo>
                      <a:pt x="1226" y="836"/>
                    </a:lnTo>
                    <a:lnTo>
                      <a:pt x="1228" y="834"/>
                    </a:lnTo>
                    <a:lnTo>
                      <a:pt x="1230" y="830"/>
                    </a:lnTo>
                    <a:lnTo>
                      <a:pt x="1232" y="830"/>
                    </a:lnTo>
                    <a:lnTo>
                      <a:pt x="1232" y="830"/>
                    </a:lnTo>
                    <a:lnTo>
                      <a:pt x="1234" y="830"/>
                    </a:lnTo>
                    <a:lnTo>
                      <a:pt x="1236" y="830"/>
                    </a:lnTo>
                    <a:lnTo>
                      <a:pt x="1238" y="830"/>
                    </a:lnTo>
                    <a:lnTo>
                      <a:pt x="1238" y="830"/>
                    </a:lnTo>
                    <a:lnTo>
                      <a:pt x="1238" y="830"/>
                    </a:lnTo>
                    <a:lnTo>
                      <a:pt x="1240" y="830"/>
                    </a:lnTo>
                    <a:lnTo>
                      <a:pt x="1238" y="832"/>
                    </a:lnTo>
                    <a:close/>
                    <a:moveTo>
                      <a:pt x="156" y="818"/>
                    </a:moveTo>
                    <a:lnTo>
                      <a:pt x="152" y="816"/>
                    </a:lnTo>
                    <a:lnTo>
                      <a:pt x="150" y="814"/>
                    </a:lnTo>
                    <a:lnTo>
                      <a:pt x="148" y="814"/>
                    </a:lnTo>
                    <a:lnTo>
                      <a:pt x="148" y="814"/>
                    </a:lnTo>
                    <a:lnTo>
                      <a:pt x="148" y="812"/>
                    </a:lnTo>
                    <a:lnTo>
                      <a:pt x="148" y="810"/>
                    </a:lnTo>
                    <a:lnTo>
                      <a:pt x="148" y="806"/>
                    </a:lnTo>
                    <a:lnTo>
                      <a:pt x="148" y="804"/>
                    </a:lnTo>
                    <a:lnTo>
                      <a:pt x="148" y="800"/>
                    </a:lnTo>
                    <a:lnTo>
                      <a:pt x="148" y="800"/>
                    </a:lnTo>
                    <a:lnTo>
                      <a:pt x="148" y="800"/>
                    </a:lnTo>
                    <a:lnTo>
                      <a:pt x="146" y="796"/>
                    </a:lnTo>
                    <a:lnTo>
                      <a:pt x="146" y="794"/>
                    </a:lnTo>
                    <a:lnTo>
                      <a:pt x="144" y="792"/>
                    </a:lnTo>
                    <a:lnTo>
                      <a:pt x="144" y="788"/>
                    </a:lnTo>
                    <a:lnTo>
                      <a:pt x="146" y="782"/>
                    </a:lnTo>
                    <a:lnTo>
                      <a:pt x="148" y="776"/>
                    </a:lnTo>
                    <a:lnTo>
                      <a:pt x="148" y="776"/>
                    </a:lnTo>
                    <a:lnTo>
                      <a:pt x="146" y="772"/>
                    </a:lnTo>
                    <a:lnTo>
                      <a:pt x="146" y="772"/>
                    </a:lnTo>
                    <a:lnTo>
                      <a:pt x="146" y="772"/>
                    </a:lnTo>
                    <a:lnTo>
                      <a:pt x="144" y="770"/>
                    </a:lnTo>
                    <a:lnTo>
                      <a:pt x="142" y="770"/>
                    </a:lnTo>
                    <a:lnTo>
                      <a:pt x="142" y="770"/>
                    </a:lnTo>
                    <a:lnTo>
                      <a:pt x="140" y="770"/>
                    </a:lnTo>
                    <a:lnTo>
                      <a:pt x="138" y="770"/>
                    </a:lnTo>
                    <a:lnTo>
                      <a:pt x="134" y="770"/>
                    </a:lnTo>
                    <a:lnTo>
                      <a:pt x="126" y="772"/>
                    </a:lnTo>
                    <a:lnTo>
                      <a:pt x="124" y="774"/>
                    </a:lnTo>
                    <a:lnTo>
                      <a:pt x="120" y="774"/>
                    </a:lnTo>
                    <a:lnTo>
                      <a:pt x="120" y="774"/>
                    </a:lnTo>
                    <a:lnTo>
                      <a:pt x="118" y="774"/>
                    </a:lnTo>
                    <a:lnTo>
                      <a:pt x="116" y="776"/>
                    </a:lnTo>
                    <a:lnTo>
                      <a:pt x="116" y="776"/>
                    </a:lnTo>
                    <a:lnTo>
                      <a:pt x="116" y="778"/>
                    </a:lnTo>
                    <a:lnTo>
                      <a:pt x="114" y="780"/>
                    </a:lnTo>
                    <a:lnTo>
                      <a:pt x="114" y="780"/>
                    </a:lnTo>
                    <a:lnTo>
                      <a:pt x="114" y="782"/>
                    </a:lnTo>
                    <a:lnTo>
                      <a:pt x="114" y="784"/>
                    </a:lnTo>
                    <a:lnTo>
                      <a:pt x="114" y="784"/>
                    </a:lnTo>
                    <a:lnTo>
                      <a:pt x="114" y="784"/>
                    </a:lnTo>
                    <a:lnTo>
                      <a:pt x="114" y="788"/>
                    </a:lnTo>
                    <a:lnTo>
                      <a:pt x="116" y="790"/>
                    </a:lnTo>
                    <a:lnTo>
                      <a:pt x="116" y="794"/>
                    </a:lnTo>
                    <a:lnTo>
                      <a:pt x="118" y="796"/>
                    </a:lnTo>
                    <a:lnTo>
                      <a:pt x="118" y="800"/>
                    </a:lnTo>
                    <a:lnTo>
                      <a:pt x="118" y="800"/>
                    </a:lnTo>
                    <a:lnTo>
                      <a:pt x="118" y="802"/>
                    </a:lnTo>
                    <a:lnTo>
                      <a:pt x="120" y="804"/>
                    </a:lnTo>
                    <a:lnTo>
                      <a:pt x="120" y="804"/>
                    </a:lnTo>
                    <a:lnTo>
                      <a:pt x="122" y="808"/>
                    </a:lnTo>
                    <a:lnTo>
                      <a:pt x="124" y="812"/>
                    </a:lnTo>
                    <a:lnTo>
                      <a:pt x="124" y="816"/>
                    </a:lnTo>
                    <a:lnTo>
                      <a:pt x="124" y="816"/>
                    </a:lnTo>
                    <a:lnTo>
                      <a:pt x="126" y="818"/>
                    </a:lnTo>
                    <a:lnTo>
                      <a:pt x="128" y="818"/>
                    </a:lnTo>
                    <a:lnTo>
                      <a:pt x="130" y="818"/>
                    </a:lnTo>
                    <a:lnTo>
                      <a:pt x="130" y="820"/>
                    </a:lnTo>
                    <a:lnTo>
                      <a:pt x="132" y="820"/>
                    </a:lnTo>
                    <a:lnTo>
                      <a:pt x="132" y="822"/>
                    </a:lnTo>
                    <a:lnTo>
                      <a:pt x="132" y="824"/>
                    </a:lnTo>
                    <a:lnTo>
                      <a:pt x="132" y="826"/>
                    </a:lnTo>
                    <a:lnTo>
                      <a:pt x="132" y="826"/>
                    </a:lnTo>
                    <a:lnTo>
                      <a:pt x="132" y="826"/>
                    </a:lnTo>
                    <a:lnTo>
                      <a:pt x="134" y="830"/>
                    </a:lnTo>
                    <a:lnTo>
                      <a:pt x="134" y="830"/>
                    </a:lnTo>
                    <a:lnTo>
                      <a:pt x="134" y="830"/>
                    </a:lnTo>
                    <a:lnTo>
                      <a:pt x="136" y="832"/>
                    </a:lnTo>
                    <a:lnTo>
                      <a:pt x="136" y="832"/>
                    </a:lnTo>
                    <a:lnTo>
                      <a:pt x="136" y="832"/>
                    </a:lnTo>
                    <a:lnTo>
                      <a:pt x="138" y="834"/>
                    </a:lnTo>
                    <a:lnTo>
                      <a:pt x="138" y="834"/>
                    </a:lnTo>
                    <a:lnTo>
                      <a:pt x="138" y="834"/>
                    </a:lnTo>
                    <a:lnTo>
                      <a:pt x="140" y="834"/>
                    </a:lnTo>
                    <a:lnTo>
                      <a:pt x="140" y="834"/>
                    </a:lnTo>
                    <a:lnTo>
                      <a:pt x="140" y="834"/>
                    </a:lnTo>
                    <a:lnTo>
                      <a:pt x="146" y="836"/>
                    </a:lnTo>
                    <a:lnTo>
                      <a:pt x="148" y="836"/>
                    </a:lnTo>
                    <a:lnTo>
                      <a:pt x="148" y="836"/>
                    </a:lnTo>
                    <a:lnTo>
                      <a:pt x="148" y="836"/>
                    </a:lnTo>
                    <a:lnTo>
                      <a:pt x="150" y="836"/>
                    </a:lnTo>
                    <a:lnTo>
                      <a:pt x="150" y="836"/>
                    </a:lnTo>
                    <a:lnTo>
                      <a:pt x="152" y="836"/>
                    </a:lnTo>
                    <a:lnTo>
                      <a:pt x="154" y="834"/>
                    </a:lnTo>
                    <a:lnTo>
                      <a:pt x="154" y="834"/>
                    </a:lnTo>
                    <a:lnTo>
                      <a:pt x="154" y="834"/>
                    </a:lnTo>
                    <a:lnTo>
                      <a:pt x="156" y="832"/>
                    </a:lnTo>
                    <a:lnTo>
                      <a:pt x="156" y="832"/>
                    </a:lnTo>
                    <a:lnTo>
                      <a:pt x="156" y="832"/>
                    </a:lnTo>
                    <a:lnTo>
                      <a:pt x="156" y="828"/>
                    </a:lnTo>
                    <a:lnTo>
                      <a:pt x="156" y="826"/>
                    </a:lnTo>
                    <a:lnTo>
                      <a:pt x="156" y="820"/>
                    </a:lnTo>
                    <a:lnTo>
                      <a:pt x="156" y="820"/>
                    </a:lnTo>
                    <a:lnTo>
                      <a:pt x="156" y="818"/>
                    </a:lnTo>
                    <a:lnTo>
                      <a:pt x="156" y="818"/>
                    </a:lnTo>
                    <a:close/>
                    <a:moveTo>
                      <a:pt x="632" y="94"/>
                    </a:moveTo>
                    <a:lnTo>
                      <a:pt x="628" y="94"/>
                    </a:lnTo>
                    <a:lnTo>
                      <a:pt x="624" y="94"/>
                    </a:lnTo>
                    <a:lnTo>
                      <a:pt x="620" y="96"/>
                    </a:lnTo>
                    <a:lnTo>
                      <a:pt x="616" y="96"/>
                    </a:lnTo>
                    <a:lnTo>
                      <a:pt x="610" y="98"/>
                    </a:lnTo>
                    <a:lnTo>
                      <a:pt x="608" y="98"/>
                    </a:lnTo>
                    <a:lnTo>
                      <a:pt x="604" y="98"/>
                    </a:lnTo>
                    <a:lnTo>
                      <a:pt x="600" y="100"/>
                    </a:lnTo>
                    <a:lnTo>
                      <a:pt x="598" y="100"/>
                    </a:lnTo>
                    <a:lnTo>
                      <a:pt x="596" y="100"/>
                    </a:lnTo>
                    <a:lnTo>
                      <a:pt x="594" y="100"/>
                    </a:lnTo>
                    <a:lnTo>
                      <a:pt x="594" y="100"/>
                    </a:lnTo>
                    <a:lnTo>
                      <a:pt x="594" y="100"/>
                    </a:lnTo>
                    <a:lnTo>
                      <a:pt x="592" y="102"/>
                    </a:lnTo>
                    <a:lnTo>
                      <a:pt x="592" y="102"/>
                    </a:lnTo>
                    <a:lnTo>
                      <a:pt x="592" y="104"/>
                    </a:lnTo>
                    <a:lnTo>
                      <a:pt x="596" y="122"/>
                    </a:lnTo>
                    <a:lnTo>
                      <a:pt x="598" y="142"/>
                    </a:lnTo>
                    <a:lnTo>
                      <a:pt x="598" y="144"/>
                    </a:lnTo>
                    <a:lnTo>
                      <a:pt x="598" y="146"/>
                    </a:lnTo>
                    <a:lnTo>
                      <a:pt x="596" y="146"/>
                    </a:lnTo>
                    <a:lnTo>
                      <a:pt x="596" y="148"/>
                    </a:lnTo>
                    <a:lnTo>
                      <a:pt x="590" y="152"/>
                    </a:lnTo>
                    <a:lnTo>
                      <a:pt x="588" y="154"/>
                    </a:lnTo>
                    <a:lnTo>
                      <a:pt x="588" y="154"/>
                    </a:lnTo>
                    <a:lnTo>
                      <a:pt x="586" y="152"/>
                    </a:lnTo>
                    <a:lnTo>
                      <a:pt x="586" y="150"/>
                    </a:lnTo>
                    <a:lnTo>
                      <a:pt x="586" y="150"/>
                    </a:lnTo>
                    <a:lnTo>
                      <a:pt x="584" y="146"/>
                    </a:lnTo>
                    <a:lnTo>
                      <a:pt x="584" y="144"/>
                    </a:lnTo>
                    <a:lnTo>
                      <a:pt x="582" y="142"/>
                    </a:lnTo>
                    <a:lnTo>
                      <a:pt x="582" y="142"/>
                    </a:lnTo>
                    <a:lnTo>
                      <a:pt x="582" y="140"/>
                    </a:lnTo>
                    <a:lnTo>
                      <a:pt x="582" y="138"/>
                    </a:lnTo>
                    <a:lnTo>
                      <a:pt x="582" y="138"/>
                    </a:lnTo>
                    <a:lnTo>
                      <a:pt x="582" y="138"/>
                    </a:lnTo>
                    <a:lnTo>
                      <a:pt x="580" y="136"/>
                    </a:lnTo>
                    <a:lnTo>
                      <a:pt x="580" y="136"/>
                    </a:lnTo>
                    <a:lnTo>
                      <a:pt x="578" y="136"/>
                    </a:lnTo>
                    <a:lnTo>
                      <a:pt x="574" y="134"/>
                    </a:lnTo>
                    <a:lnTo>
                      <a:pt x="572" y="132"/>
                    </a:lnTo>
                    <a:lnTo>
                      <a:pt x="570" y="132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66" y="132"/>
                    </a:lnTo>
                    <a:lnTo>
                      <a:pt x="566" y="132"/>
                    </a:lnTo>
                    <a:lnTo>
                      <a:pt x="566" y="134"/>
                    </a:lnTo>
                    <a:lnTo>
                      <a:pt x="566" y="142"/>
                    </a:lnTo>
                    <a:lnTo>
                      <a:pt x="566" y="150"/>
                    </a:lnTo>
                    <a:lnTo>
                      <a:pt x="568" y="158"/>
                    </a:lnTo>
                    <a:lnTo>
                      <a:pt x="570" y="164"/>
                    </a:lnTo>
                    <a:lnTo>
                      <a:pt x="570" y="164"/>
                    </a:lnTo>
                    <a:lnTo>
                      <a:pt x="572" y="166"/>
                    </a:lnTo>
                    <a:lnTo>
                      <a:pt x="574" y="172"/>
                    </a:lnTo>
                    <a:lnTo>
                      <a:pt x="574" y="172"/>
                    </a:lnTo>
                    <a:lnTo>
                      <a:pt x="576" y="172"/>
                    </a:lnTo>
                    <a:lnTo>
                      <a:pt x="578" y="174"/>
                    </a:lnTo>
                    <a:lnTo>
                      <a:pt x="580" y="178"/>
                    </a:lnTo>
                    <a:lnTo>
                      <a:pt x="584" y="180"/>
                    </a:lnTo>
                    <a:lnTo>
                      <a:pt x="584" y="180"/>
                    </a:lnTo>
                    <a:lnTo>
                      <a:pt x="584" y="180"/>
                    </a:lnTo>
                    <a:lnTo>
                      <a:pt x="588" y="182"/>
                    </a:lnTo>
                    <a:lnTo>
                      <a:pt x="592" y="184"/>
                    </a:lnTo>
                    <a:lnTo>
                      <a:pt x="596" y="184"/>
                    </a:lnTo>
                    <a:lnTo>
                      <a:pt x="598" y="186"/>
                    </a:lnTo>
                    <a:lnTo>
                      <a:pt x="600" y="188"/>
                    </a:lnTo>
                    <a:lnTo>
                      <a:pt x="602" y="190"/>
                    </a:lnTo>
                    <a:lnTo>
                      <a:pt x="602" y="190"/>
                    </a:lnTo>
                    <a:lnTo>
                      <a:pt x="602" y="192"/>
                    </a:lnTo>
                    <a:lnTo>
                      <a:pt x="604" y="194"/>
                    </a:lnTo>
                    <a:lnTo>
                      <a:pt x="604" y="198"/>
                    </a:lnTo>
                    <a:lnTo>
                      <a:pt x="606" y="200"/>
                    </a:lnTo>
                    <a:lnTo>
                      <a:pt x="608" y="206"/>
                    </a:lnTo>
                    <a:lnTo>
                      <a:pt x="608" y="206"/>
                    </a:lnTo>
                    <a:lnTo>
                      <a:pt x="608" y="206"/>
                    </a:lnTo>
                    <a:lnTo>
                      <a:pt x="608" y="208"/>
                    </a:lnTo>
                    <a:lnTo>
                      <a:pt x="608" y="210"/>
                    </a:lnTo>
                    <a:lnTo>
                      <a:pt x="608" y="210"/>
                    </a:lnTo>
                    <a:lnTo>
                      <a:pt x="610" y="210"/>
                    </a:lnTo>
                    <a:lnTo>
                      <a:pt x="610" y="212"/>
                    </a:lnTo>
                    <a:lnTo>
                      <a:pt x="612" y="214"/>
                    </a:lnTo>
                    <a:lnTo>
                      <a:pt x="616" y="218"/>
                    </a:lnTo>
                    <a:lnTo>
                      <a:pt x="620" y="220"/>
                    </a:lnTo>
                    <a:lnTo>
                      <a:pt x="620" y="220"/>
                    </a:lnTo>
                    <a:lnTo>
                      <a:pt x="622" y="222"/>
                    </a:lnTo>
                    <a:lnTo>
                      <a:pt x="628" y="220"/>
                    </a:lnTo>
                    <a:lnTo>
                      <a:pt x="628" y="220"/>
                    </a:lnTo>
                    <a:lnTo>
                      <a:pt x="628" y="220"/>
                    </a:lnTo>
                    <a:lnTo>
                      <a:pt x="630" y="220"/>
                    </a:lnTo>
                    <a:lnTo>
                      <a:pt x="630" y="220"/>
                    </a:lnTo>
                    <a:lnTo>
                      <a:pt x="632" y="220"/>
                    </a:lnTo>
                    <a:lnTo>
                      <a:pt x="634" y="218"/>
                    </a:lnTo>
                    <a:lnTo>
                      <a:pt x="634" y="218"/>
                    </a:lnTo>
                    <a:lnTo>
                      <a:pt x="634" y="218"/>
                    </a:lnTo>
                    <a:lnTo>
                      <a:pt x="634" y="216"/>
                    </a:lnTo>
                    <a:lnTo>
                      <a:pt x="634" y="216"/>
                    </a:lnTo>
                    <a:lnTo>
                      <a:pt x="636" y="214"/>
                    </a:lnTo>
                    <a:lnTo>
                      <a:pt x="636" y="212"/>
                    </a:lnTo>
                    <a:lnTo>
                      <a:pt x="636" y="212"/>
                    </a:lnTo>
                    <a:lnTo>
                      <a:pt x="636" y="212"/>
                    </a:lnTo>
                    <a:lnTo>
                      <a:pt x="634" y="210"/>
                    </a:lnTo>
                    <a:lnTo>
                      <a:pt x="638" y="210"/>
                    </a:lnTo>
                    <a:lnTo>
                      <a:pt x="642" y="21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8" y="208"/>
                    </a:lnTo>
                    <a:lnTo>
                      <a:pt x="648" y="208"/>
                    </a:lnTo>
                    <a:lnTo>
                      <a:pt x="648" y="208"/>
                    </a:lnTo>
                    <a:lnTo>
                      <a:pt x="650" y="208"/>
                    </a:lnTo>
                    <a:lnTo>
                      <a:pt x="650" y="208"/>
                    </a:lnTo>
                    <a:lnTo>
                      <a:pt x="652" y="206"/>
                    </a:lnTo>
                    <a:lnTo>
                      <a:pt x="652" y="206"/>
                    </a:lnTo>
                    <a:lnTo>
                      <a:pt x="652" y="206"/>
                    </a:lnTo>
                    <a:lnTo>
                      <a:pt x="654" y="204"/>
                    </a:lnTo>
                    <a:lnTo>
                      <a:pt x="654" y="202"/>
                    </a:lnTo>
                    <a:lnTo>
                      <a:pt x="656" y="198"/>
                    </a:lnTo>
                    <a:lnTo>
                      <a:pt x="656" y="198"/>
                    </a:lnTo>
                    <a:lnTo>
                      <a:pt x="658" y="196"/>
                    </a:lnTo>
                    <a:lnTo>
                      <a:pt x="656" y="190"/>
                    </a:lnTo>
                    <a:lnTo>
                      <a:pt x="656" y="184"/>
                    </a:lnTo>
                    <a:lnTo>
                      <a:pt x="656" y="178"/>
                    </a:lnTo>
                    <a:lnTo>
                      <a:pt x="656" y="172"/>
                    </a:lnTo>
                    <a:lnTo>
                      <a:pt x="656" y="166"/>
                    </a:lnTo>
                    <a:lnTo>
                      <a:pt x="656" y="162"/>
                    </a:lnTo>
                    <a:lnTo>
                      <a:pt x="656" y="158"/>
                    </a:lnTo>
                    <a:lnTo>
                      <a:pt x="654" y="154"/>
                    </a:lnTo>
                    <a:lnTo>
                      <a:pt x="654" y="154"/>
                    </a:lnTo>
                    <a:lnTo>
                      <a:pt x="654" y="154"/>
                    </a:lnTo>
                    <a:lnTo>
                      <a:pt x="652" y="150"/>
                    </a:lnTo>
                    <a:lnTo>
                      <a:pt x="652" y="150"/>
                    </a:lnTo>
                    <a:lnTo>
                      <a:pt x="652" y="150"/>
                    </a:lnTo>
                    <a:lnTo>
                      <a:pt x="650" y="148"/>
                    </a:lnTo>
                    <a:lnTo>
                      <a:pt x="650" y="148"/>
                    </a:lnTo>
                    <a:lnTo>
                      <a:pt x="650" y="146"/>
                    </a:lnTo>
                    <a:lnTo>
                      <a:pt x="648" y="144"/>
                    </a:lnTo>
                    <a:lnTo>
                      <a:pt x="648" y="144"/>
                    </a:lnTo>
                    <a:lnTo>
                      <a:pt x="648" y="144"/>
                    </a:lnTo>
                    <a:lnTo>
                      <a:pt x="644" y="142"/>
                    </a:lnTo>
                    <a:lnTo>
                      <a:pt x="644" y="142"/>
                    </a:lnTo>
                    <a:lnTo>
                      <a:pt x="644" y="142"/>
                    </a:lnTo>
                    <a:lnTo>
                      <a:pt x="640" y="140"/>
                    </a:lnTo>
                    <a:lnTo>
                      <a:pt x="634" y="138"/>
                    </a:lnTo>
                    <a:lnTo>
                      <a:pt x="628" y="138"/>
                    </a:lnTo>
                    <a:lnTo>
                      <a:pt x="624" y="136"/>
                    </a:lnTo>
                    <a:lnTo>
                      <a:pt x="626" y="136"/>
                    </a:lnTo>
                    <a:lnTo>
                      <a:pt x="626" y="134"/>
                    </a:lnTo>
                    <a:lnTo>
                      <a:pt x="626" y="134"/>
                    </a:lnTo>
                    <a:lnTo>
                      <a:pt x="628" y="132"/>
                    </a:lnTo>
                    <a:lnTo>
                      <a:pt x="628" y="132"/>
                    </a:lnTo>
                    <a:lnTo>
                      <a:pt x="630" y="130"/>
                    </a:lnTo>
                    <a:lnTo>
                      <a:pt x="634" y="128"/>
                    </a:lnTo>
                    <a:lnTo>
                      <a:pt x="634" y="128"/>
                    </a:lnTo>
                    <a:lnTo>
                      <a:pt x="634" y="128"/>
                    </a:lnTo>
                    <a:lnTo>
                      <a:pt x="636" y="126"/>
                    </a:lnTo>
                    <a:lnTo>
                      <a:pt x="638" y="124"/>
                    </a:lnTo>
                    <a:lnTo>
                      <a:pt x="640" y="122"/>
                    </a:lnTo>
                    <a:lnTo>
                      <a:pt x="640" y="122"/>
                    </a:lnTo>
                    <a:lnTo>
                      <a:pt x="640" y="122"/>
                    </a:lnTo>
                    <a:lnTo>
                      <a:pt x="642" y="120"/>
                    </a:lnTo>
                    <a:lnTo>
                      <a:pt x="642" y="120"/>
                    </a:lnTo>
                    <a:lnTo>
                      <a:pt x="642" y="118"/>
                    </a:lnTo>
                    <a:lnTo>
                      <a:pt x="642" y="116"/>
                    </a:lnTo>
                    <a:lnTo>
                      <a:pt x="642" y="114"/>
                    </a:lnTo>
                    <a:lnTo>
                      <a:pt x="642" y="112"/>
                    </a:lnTo>
                    <a:lnTo>
                      <a:pt x="642" y="112"/>
                    </a:lnTo>
                    <a:lnTo>
                      <a:pt x="644" y="110"/>
                    </a:lnTo>
                    <a:lnTo>
                      <a:pt x="644" y="108"/>
                    </a:lnTo>
                    <a:lnTo>
                      <a:pt x="646" y="106"/>
                    </a:lnTo>
                    <a:lnTo>
                      <a:pt x="646" y="106"/>
                    </a:lnTo>
                    <a:lnTo>
                      <a:pt x="646" y="104"/>
                    </a:lnTo>
                    <a:lnTo>
                      <a:pt x="646" y="100"/>
                    </a:lnTo>
                    <a:lnTo>
                      <a:pt x="646" y="98"/>
                    </a:lnTo>
                    <a:lnTo>
                      <a:pt x="646" y="96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2"/>
                    </a:lnTo>
                    <a:lnTo>
                      <a:pt x="642" y="92"/>
                    </a:lnTo>
                    <a:lnTo>
                      <a:pt x="642" y="92"/>
                    </a:lnTo>
                    <a:lnTo>
                      <a:pt x="642" y="92"/>
                    </a:lnTo>
                    <a:lnTo>
                      <a:pt x="640" y="92"/>
                    </a:lnTo>
                    <a:lnTo>
                      <a:pt x="640" y="92"/>
                    </a:lnTo>
                    <a:lnTo>
                      <a:pt x="640" y="92"/>
                    </a:lnTo>
                    <a:lnTo>
                      <a:pt x="638" y="92"/>
                    </a:lnTo>
                    <a:lnTo>
                      <a:pt x="636" y="92"/>
                    </a:lnTo>
                    <a:lnTo>
                      <a:pt x="634" y="92"/>
                    </a:lnTo>
                    <a:lnTo>
                      <a:pt x="632" y="94"/>
                    </a:lnTo>
                    <a:close/>
                    <a:moveTo>
                      <a:pt x="698" y="80"/>
                    </a:moveTo>
                    <a:lnTo>
                      <a:pt x="690" y="80"/>
                    </a:lnTo>
                    <a:lnTo>
                      <a:pt x="686" y="80"/>
                    </a:lnTo>
                    <a:lnTo>
                      <a:pt x="686" y="80"/>
                    </a:lnTo>
                    <a:lnTo>
                      <a:pt x="686" y="80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78" y="82"/>
                    </a:lnTo>
                    <a:lnTo>
                      <a:pt x="678" y="82"/>
                    </a:lnTo>
                    <a:lnTo>
                      <a:pt x="678" y="84"/>
                    </a:lnTo>
                    <a:lnTo>
                      <a:pt x="676" y="84"/>
                    </a:lnTo>
                    <a:lnTo>
                      <a:pt x="676" y="84"/>
                    </a:lnTo>
                    <a:lnTo>
                      <a:pt x="676" y="84"/>
                    </a:lnTo>
                    <a:lnTo>
                      <a:pt x="674" y="86"/>
                    </a:lnTo>
                    <a:lnTo>
                      <a:pt x="674" y="86"/>
                    </a:lnTo>
                    <a:lnTo>
                      <a:pt x="674" y="90"/>
                    </a:lnTo>
                    <a:lnTo>
                      <a:pt x="676" y="94"/>
                    </a:lnTo>
                    <a:lnTo>
                      <a:pt x="678" y="96"/>
                    </a:lnTo>
                    <a:lnTo>
                      <a:pt x="680" y="98"/>
                    </a:lnTo>
                    <a:lnTo>
                      <a:pt x="682" y="100"/>
                    </a:lnTo>
                    <a:lnTo>
                      <a:pt x="680" y="100"/>
                    </a:lnTo>
                    <a:lnTo>
                      <a:pt x="680" y="102"/>
                    </a:lnTo>
                    <a:lnTo>
                      <a:pt x="678" y="102"/>
                    </a:lnTo>
                    <a:lnTo>
                      <a:pt x="678" y="104"/>
                    </a:lnTo>
                    <a:lnTo>
                      <a:pt x="676" y="104"/>
                    </a:lnTo>
                    <a:lnTo>
                      <a:pt x="676" y="104"/>
                    </a:lnTo>
                    <a:lnTo>
                      <a:pt x="674" y="102"/>
                    </a:lnTo>
                    <a:lnTo>
                      <a:pt x="672" y="100"/>
                    </a:lnTo>
                    <a:lnTo>
                      <a:pt x="672" y="100"/>
                    </a:lnTo>
                    <a:lnTo>
                      <a:pt x="668" y="100"/>
                    </a:lnTo>
                    <a:lnTo>
                      <a:pt x="668" y="100"/>
                    </a:lnTo>
                    <a:lnTo>
                      <a:pt x="666" y="102"/>
                    </a:lnTo>
                    <a:lnTo>
                      <a:pt x="666" y="104"/>
                    </a:lnTo>
                    <a:lnTo>
                      <a:pt x="668" y="106"/>
                    </a:lnTo>
                    <a:lnTo>
                      <a:pt x="668" y="108"/>
                    </a:lnTo>
                    <a:lnTo>
                      <a:pt x="668" y="112"/>
                    </a:lnTo>
                    <a:lnTo>
                      <a:pt x="668" y="116"/>
                    </a:lnTo>
                    <a:lnTo>
                      <a:pt x="668" y="122"/>
                    </a:lnTo>
                    <a:lnTo>
                      <a:pt x="668" y="130"/>
                    </a:lnTo>
                    <a:lnTo>
                      <a:pt x="668" y="138"/>
                    </a:lnTo>
                    <a:lnTo>
                      <a:pt x="670" y="144"/>
                    </a:lnTo>
                    <a:lnTo>
                      <a:pt x="670" y="152"/>
                    </a:lnTo>
                    <a:lnTo>
                      <a:pt x="670" y="160"/>
                    </a:lnTo>
                    <a:lnTo>
                      <a:pt x="672" y="166"/>
                    </a:lnTo>
                    <a:lnTo>
                      <a:pt x="672" y="172"/>
                    </a:lnTo>
                    <a:lnTo>
                      <a:pt x="674" y="178"/>
                    </a:lnTo>
                    <a:lnTo>
                      <a:pt x="676" y="182"/>
                    </a:lnTo>
                    <a:lnTo>
                      <a:pt x="676" y="184"/>
                    </a:lnTo>
                    <a:lnTo>
                      <a:pt x="676" y="184"/>
                    </a:lnTo>
                    <a:lnTo>
                      <a:pt x="676" y="184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80" y="188"/>
                    </a:lnTo>
                    <a:lnTo>
                      <a:pt x="680" y="188"/>
                    </a:lnTo>
                    <a:lnTo>
                      <a:pt x="680" y="188"/>
                    </a:lnTo>
                    <a:lnTo>
                      <a:pt x="682" y="188"/>
                    </a:lnTo>
                    <a:lnTo>
                      <a:pt x="684" y="188"/>
                    </a:lnTo>
                    <a:lnTo>
                      <a:pt x="686" y="188"/>
                    </a:lnTo>
                    <a:lnTo>
                      <a:pt x="690" y="186"/>
                    </a:lnTo>
                    <a:lnTo>
                      <a:pt x="690" y="186"/>
                    </a:lnTo>
                    <a:lnTo>
                      <a:pt x="690" y="186"/>
                    </a:lnTo>
                    <a:lnTo>
                      <a:pt x="692" y="184"/>
                    </a:lnTo>
                    <a:lnTo>
                      <a:pt x="692" y="184"/>
                    </a:lnTo>
                    <a:lnTo>
                      <a:pt x="694" y="184"/>
                    </a:lnTo>
                    <a:lnTo>
                      <a:pt x="694" y="182"/>
                    </a:lnTo>
                    <a:lnTo>
                      <a:pt x="694" y="182"/>
                    </a:lnTo>
                    <a:lnTo>
                      <a:pt x="694" y="182"/>
                    </a:lnTo>
                    <a:lnTo>
                      <a:pt x="696" y="180"/>
                    </a:lnTo>
                    <a:lnTo>
                      <a:pt x="696" y="176"/>
                    </a:lnTo>
                    <a:lnTo>
                      <a:pt x="698" y="174"/>
                    </a:lnTo>
                    <a:lnTo>
                      <a:pt x="700" y="170"/>
                    </a:lnTo>
                    <a:lnTo>
                      <a:pt x="700" y="170"/>
                    </a:lnTo>
                    <a:lnTo>
                      <a:pt x="700" y="170"/>
                    </a:lnTo>
                    <a:lnTo>
                      <a:pt x="700" y="166"/>
                    </a:lnTo>
                    <a:lnTo>
                      <a:pt x="700" y="164"/>
                    </a:lnTo>
                    <a:lnTo>
                      <a:pt x="700" y="164"/>
                    </a:lnTo>
                    <a:lnTo>
                      <a:pt x="700" y="164"/>
                    </a:lnTo>
                    <a:lnTo>
                      <a:pt x="698" y="160"/>
                    </a:lnTo>
                    <a:lnTo>
                      <a:pt x="698" y="160"/>
                    </a:lnTo>
                    <a:lnTo>
                      <a:pt x="698" y="158"/>
                    </a:lnTo>
                    <a:lnTo>
                      <a:pt x="698" y="156"/>
                    </a:lnTo>
                    <a:lnTo>
                      <a:pt x="696" y="154"/>
                    </a:lnTo>
                    <a:lnTo>
                      <a:pt x="696" y="154"/>
                    </a:lnTo>
                    <a:lnTo>
                      <a:pt x="696" y="154"/>
                    </a:lnTo>
                    <a:lnTo>
                      <a:pt x="696" y="152"/>
                    </a:lnTo>
                    <a:lnTo>
                      <a:pt x="696" y="152"/>
                    </a:lnTo>
                    <a:lnTo>
                      <a:pt x="700" y="150"/>
                    </a:lnTo>
                    <a:lnTo>
                      <a:pt x="704" y="150"/>
                    </a:lnTo>
                    <a:lnTo>
                      <a:pt x="708" y="148"/>
                    </a:lnTo>
                    <a:lnTo>
                      <a:pt x="716" y="148"/>
                    </a:lnTo>
                    <a:lnTo>
                      <a:pt x="726" y="148"/>
                    </a:lnTo>
                    <a:lnTo>
                      <a:pt x="726" y="148"/>
                    </a:lnTo>
                    <a:lnTo>
                      <a:pt x="728" y="146"/>
                    </a:lnTo>
                    <a:lnTo>
                      <a:pt x="728" y="144"/>
                    </a:lnTo>
                    <a:lnTo>
                      <a:pt x="730" y="140"/>
                    </a:lnTo>
                    <a:lnTo>
                      <a:pt x="730" y="136"/>
                    </a:lnTo>
                    <a:lnTo>
                      <a:pt x="730" y="132"/>
                    </a:lnTo>
                    <a:lnTo>
                      <a:pt x="730" y="128"/>
                    </a:lnTo>
                    <a:lnTo>
                      <a:pt x="732" y="126"/>
                    </a:lnTo>
                    <a:lnTo>
                      <a:pt x="734" y="124"/>
                    </a:lnTo>
                    <a:lnTo>
                      <a:pt x="736" y="122"/>
                    </a:lnTo>
                    <a:lnTo>
                      <a:pt x="736" y="122"/>
                    </a:lnTo>
                    <a:lnTo>
                      <a:pt x="740" y="120"/>
                    </a:lnTo>
                    <a:lnTo>
                      <a:pt x="740" y="120"/>
                    </a:lnTo>
                    <a:lnTo>
                      <a:pt x="740" y="118"/>
                    </a:lnTo>
                    <a:lnTo>
                      <a:pt x="742" y="114"/>
                    </a:lnTo>
                    <a:lnTo>
                      <a:pt x="744" y="108"/>
                    </a:lnTo>
                    <a:lnTo>
                      <a:pt x="742" y="110"/>
                    </a:lnTo>
                    <a:lnTo>
                      <a:pt x="746" y="106"/>
                    </a:lnTo>
                    <a:lnTo>
                      <a:pt x="746" y="106"/>
                    </a:lnTo>
                    <a:lnTo>
                      <a:pt x="746" y="104"/>
                    </a:lnTo>
                    <a:lnTo>
                      <a:pt x="748" y="102"/>
                    </a:lnTo>
                    <a:lnTo>
                      <a:pt x="748" y="102"/>
                    </a:lnTo>
                    <a:lnTo>
                      <a:pt x="750" y="102"/>
                    </a:lnTo>
                    <a:lnTo>
                      <a:pt x="750" y="98"/>
                    </a:lnTo>
                    <a:lnTo>
                      <a:pt x="750" y="98"/>
                    </a:lnTo>
                    <a:lnTo>
                      <a:pt x="750" y="98"/>
                    </a:lnTo>
                    <a:lnTo>
                      <a:pt x="752" y="96"/>
                    </a:lnTo>
                    <a:lnTo>
                      <a:pt x="752" y="96"/>
                    </a:lnTo>
                    <a:lnTo>
                      <a:pt x="752" y="94"/>
                    </a:lnTo>
                    <a:lnTo>
                      <a:pt x="750" y="94"/>
                    </a:lnTo>
                    <a:lnTo>
                      <a:pt x="750" y="94"/>
                    </a:lnTo>
                    <a:lnTo>
                      <a:pt x="750" y="92"/>
                    </a:lnTo>
                    <a:lnTo>
                      <a:pt x="750" y="92"/>
                    </a:lnTo>
                    <a:lnTo>
                      <a:pt x="750" y="92"/>
                    </a:lnTo>
                    <a:lnTo>
                      <a:pt x="748" y="90"/>
                    </a:lnTo>
                    <a:lnTo>
                      <a:pt x="746" y="90"/>
                    </a:lnTo>
                    <a:lnTo>
                      <a:pt x="746" y="90"/>
                    </a:lnTo>
                    <a:lnTo>
                      <a:pt x="746" y="90"/>
                    </a:lnTo>
                    <a:lnTo>
                      <a:pt x="744" y="90"/>
                    </a:lnTo>
                    <a:lnTo>
                      <a:pt x="740" y="88"/>
                    </a:lnTo>
                    <a:lnTo>
                      <a:pt x="740" y="88"/>
                    </a:lnTo>
                    <a:lnTo>
                      <a:pt x="738" y="88"/>
                    </a:lnTo>
                    <a:lnTo>
                      <a:pt x="734" y="88"/>
                    </a:lnTo>
                    <a:lnTo>
                      <a:pt x="728" y="88"/>
                    </a:lnTo>
                    <a:lnTo>
                      <a:pt x="722" y="88"/>
                    </a:lnTo>
                    <a:lnTo>
                      <a:pt x="716" y="90"/>
                    </a:lnTo>
                    <a:lnTo>
                      <a:pt x="716" y="90"/>
                    </a:lnTo>
                    <a:lnTo>
                      <a:pt x="716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2" y="90"/>
                    </a:lnTo>
                    <a:lnTo>
                      <a:pt x="712" y="88"/>
                    </a:lnTo>
                    <a:lnTo>
                      <a:pt x="710" y="82"/>
                    </a:lnTo>
                    <a:lnTo>
                      <a:pt x="710" y="82"/>
                    </a:lnTo>
                    <a:lnTo>
                      <a:pt x="710" y="82"/>
                    </a:lnTo>
                    <a:lnTo>
                      <a:pt x="710" y="80"/>
                    </a:lnTo>
                    <a:lnTo>
                      <a:pt x="710" y="80"/>
                    </a:lnTo>
                    <a:lnTo>
                      <a:pt x="708" y="80"/>
                    </a:lnTo>
                    <a:lnTo>
                      <a:pt x="708" y="78"/>
                    </a:lnTo>
                    <a:lnTo>
                      <a:pt x="708" y="78"/>
                    </a:lnTo>
                    <a:lnTo>
                      <a:pt x="704" y="78"/>
                    </a:lnTo>
                    <a:lnTo>
                      <a:pt x="700" y="78"/>
                    </a:lnTo>
                    <a:lnTo>
                      <a:pt x="698" y="80"/>
                    </a:lnTo>
                    <a:close/>
                    <a:moveTo>
                      <a:pt x="904" y="98"/>
                    </a:moveTo>
                    <a:lnTo>
                      <a:pt x="902" y="98"/>
                    </a:lnTo>
                    <a:lnTo>
                      <a:pt x="900" y="98"/>
                    </a:lnTo>
                    <a:lnTo>
                      <a:pt x="896" y="98"/>
                    </a:lnTo>
                    <a:lnTo>
                      <a:pt x="892" y="96"/>
                    </a:lnTo>
                    <a:lnTo>
                      <a:pt x="892" y="96"/>
                    </a:lnTo>
                    <a:lnTo>
                      <a:pt x="890" y="98"/>
                    </a:lnTo>
                    <a:lnTo>
                      <a:pt x="890" y="98"/>
                    </a:lnTo>
                    <a:lnTo>
                      <a:pt x="888" y="100"/>
                    </a:lnTo>
                    <a:lnTo>
                      <a:pt x="888" y="102"/>
                    </a:lnTo>
                    <a:lnTo>
                      <a:pt x="888" y="104"/>
                    </a:lnTo>
                    <a:lnTo>
                      <a:pt x="890" y="108"/>
                    </a:lnTo>
                    <a:lnTo>
                      <a:pt x="890" y="110"/>
                    </a:lnTo>
                    <a:lnTo>
                      <a:pt x="890" y="118"/>
                    </a:lnTo>
                    <a:lnTo>
                      <a:pt x="890" y="126"/>
                    </a:lnTo>
                    <a:lnTo>
                      <a:pt x="892" y="132"/>
                    </a:lnTo>
                    <a:lnTo>
                      <a:pt x="894" y="140"/>
                    </a:lnTo>
                    <a:lnTo>
                      <a:pt x="894" y="142"/>
                    </a:lnTo>
                    <a:lnTo>
                      <a:pt x="896" y="146"/>
                    </a:lnTo>
                    <a:lnTo>
                      <a:pt x="896" y="146"/>
                    </a:lnTo>
                    <a:lnTo>
                      <a:pt x="896" y="146"/>
                    </a:lnTo>
                    <a:lnTo>
                      <a:pt x="898" y="148"/>
                    </a:lnTo>
                    <a:lnTo>
                      <a:pt x="898" y="148"/>
                    </a:lnTo>
                    <a:lnTo>
                      <a:pt x="898" y="148"/>
                    </a:lnTo>
                    <a:lnTo>
                      <a:pt x="900" y="150"/>
                    </a:lnTo>
                    <a:lnTo>
                      <a:pt x="900" y="150"/>
                    </a:lnTo>
                    <a:lnTo>
                      <a:pt x="902" y="150"/>
                    </a:lnTo>
                    <a:lnTo>
                      <a:pt x="908" y="148"/>
                    </a:lnTo>
                    <a:lnTo>
                      <a:pt x="912" y="146"/>
                    </a:lnTo>
                    <a:lnTo>
                      <a:pt x="916" y="146"/>
                    </a:lnTo>
                    <a:lnTo>
                      <a:pt x="922" y="146"/>
                    </a:lnTo>
                    <a:lnTo>
                      <a:pt x="932" y="146"/>
                    </a:lnTo>
                    <a:lnTo>
                      <a:pt x="942" y="144"/>
                    </a:lnTo>
                    <a:lnTo>
                      <a:pt x="942" y="144"/>
                    </a:lnTo>
                    <a:lnTo>
                      <a:pt x="944" y="144"/>
                    </a:lnTo>
                    <a:lnTo>
                      <a:pt x="946" y="144"/>
                    </a:lnTo>
                    <a:lnTo>
                      <a:pt x="948" y="142"/>
                    </a:lnTo>
                    <a:lnTo>
                      <a:pt x="948" y="142"/>
                    </a:lnTo>
                    <a:lnTo>
                      <a:pt x="948" y="142"/>
                    </a:lnTo>
                    <a:lnTo>
                      <a:pt x="948" y="140"/>
                    </a:lnTo>
                    <a:lnTo>
                      <a:pt x="948" y="140"/>
                    </a:lnTo>
                    <a:lnTo>
                      <a:pt x="950" y="140"/>
                    </a:lnTo>
                    <a:lnTo>
                      <a:pt x="950" y="138"/>
                    </a:lnTo>
                    <a:lnTo>
                      <a:pt x="950" y="138"/>
                    </a:lnTo>
                    <a:lnTo>
                      <a:pt x="950" y="138"/>
                    </a:lnTo>
                    <a:lnTo>
                      <a:pt x="950" y="134"/>
                    </a:lnTo>
                    <a:lnTo>
                      <a:pt x="950" y="134"/>
                    </a:lnTo>
                    <a:lnTo>
                      <a:pt x="950" y="134"/>
                    </a:lnTo>
                    <a:lnTo>
                      <a:pt x="948" y="130"/>
                    </a:lnTo>
                    <a:lnTo>
                      <a:pt x="948" y="130"/>
                    </a:lnTo>
                    <a:lnTo>
                      <a:pt x="948" y="130"/>
                    </a:lnTo>
                    <a:lnTo>
                      <a:pt x="946" y="128"/>
                    </a:lnTo>
                    <a:lnTo>
                      <a:pt x="946" y="128"/>
                    </a:lnTo>
                    <a:lnTo>
                      <a:pt x="946" y="128"/>
                    </a:lnTo>
                    <a:lnTo>
                      <a:pt x="944" y="124"/>
                    </a:lnTo>
                    <a:lnTo>
                      <a:pt x="942" y="122"/>
                    </a:lnTo>
                    <a:lnTo>
                      <a:pt x="938" y="122"/>
                    </a:lnTo>
                    <a:lnTo>
                      <a:pt x="938" y="118"/>
                    </a:lnTo>
                    <a:lnTo>
                      <a:pt x="936" y="116"/>
                    </a:lnTo>
                    <a:lnTo>
                      <a:pt x="932" y="114"/>
                    </a:lnTo>
                    <a:lnTo>
                      <a:pt x="930" y="112"/>
                    </a:lnTo>
                    <a:lnTo>
                      <a:pt x="930" y="112"/>
                    </a:lnTo>
                    <a:lnTo>
                      <a:pt x="930" y="110"/>
                    </a:lnTo>
                    <a:lnTo>
                      <a:pt x="924" y="108"/>
                    </a:lnTo>
                    <a:lnTo>
                      <a:pt x="924" y="108"/>
                    </a:lnTo>
                    <a:lnTo>
                      <a:pt x="924" y="108"/>
                    </a:lnTo>
                    <a:lnTo>
                      <a:pt x="918" y="106"/>
                    </a:lnTo>
                    <a:lnTo>
                      <a:pt x="918" y="106"/>
                    </a:lnTo>
                    <a:lnTo>
                      <a:pt x="916" y="104"/>
                    </a:lnTo>
                    <a:lnTo>
                      <a:pt x="916" y="102"/>
                    </a:lnTo>
                    <a:lnTo>
                      <a:pt x="916" y="102"/>
                    </a:lnTo>
                    <a:lnTo>
                      <a:pt x="914" y="102"/>
                    </a:lnTo>
                    <a:lnTo>
                      <a:pt x="914" y="100"/>
                    </a:lnTo>
                    <a:lnTo>
                      <a:pt x="914" y="100"/>
                    </a:lnTo>
                    <a:lnTo>
                      <a:pt x="912" y="100"/>
                    </a:lnTo>
                    <a:lnTo>
                      <a:pt x="912" y="98"/>
                    </a:lnTo>
                    <a:lnTo>
                      <a:pt x="912" y="98"/>
                    </a:lnTo>
                    <a:lnTo>
                      <a:pt x="910" y="98"/>
                    </a:lnTo>
                    <a:lnTo>
                      <a:pt x="908" y="98"/>
                    </a:lnTo>
                    <a:lnTo>
                      <a:pt x="906" y="98"/>
                    </a:lnTo>
                    <a:lnTo>
                      <a:pt x="904" y="98"/>
                    </a:lnTo>
                    <a:close/>
                    <a:moveTo>
                      <a:pt x="938" y="358"/>
                    </a:moveTo>
                    <a:lnTo>
                      <a:pt x="936" y="362"/>
                    </a:lnTo>
                    <a:lnTo>
                      <a:pt x="934" y="366"/>
                    </a:lnTo>
                    <a:lnTo>
                      <a:pt x="934" y="366"/>
                    </a:lnTo>
                    <a:lnTo>
                      <a:pt x="934" y="366"/>
                    </a:lnTo>
                    <a:lnTo>
                      <a:pt x="932" y="370"/>
                    </a:lnTo>
                    <a:lnTo>
                      <a:pt x="932" y="370"/>
                    </a:lnTo>
                    <a:lnTo>
                      <a:pt x="932" y="370"/>
                    </a:lnTo>
                    <a:lnTo>
                      <a:pt x="932" y="374"/>
                    </a:lnTo>
                    <a:lnTo>
                      <a:pt x="932" y="374"/>
                    </a:lnTo>
                    <a:lnTo>
                      <a:pt x="932" y="376"/>
                    </a:lnTo>
                    <a:lnTo>
                      <a:pt x="932" y="378"/>
                    </a:lnTo>
                    <a:lnTo>
                      <a:pt x="932" y="378"/>
                    </a:lnTo>
                    <a:lnTo>
                      <a:pt x="932" y="378"/>
                    </a:lnTo>
                    <a:lnTo>
                      <a:pt x="932" y="380"/>
                    </a:lnTo>
                    <a:lnTo>
                      <a:pt x="932" y="380"/>
                    </a:lnTo>
                    <a:lnTo>
                      <a:pt x="932" y="380"/>
                    </a:lnTo>
                    <a:lnTo>
                      <a:pt x="934" y="382"/>
                    </a:lnTo>
                    <a:lnTo>
                      <a:pt x="934" y="382"/>
                    </a:lnTo>
                    <a:lnTo>
                      <a:pt x="934" y="382"/>
                    </a:lnTo>
                    <a:lnTo>
                      <a:pt x="934" y="386"/>
                    </a:lnTo>
                    <a:lnTo>
                      <a:pt x="934" y="386"/>
                    </a:lnTo>
                    <a:lnTo>
                      <a:pt x="936" y="386"/>
                    </a:lnTo>
                    <a:lnTo>
                      <a:pt x="938" y="388"/>
                    </a:lnTo>
                    <a:lnTo>
                      <a:pt x="938" y="388"/>
                    </a:lnTo>
                    <a:lnTo>
                      <a:pt x="938" y="388"/>
                    </a:lnTo>
                    <a:lnTo>
                      <a:pt x="940" y="388"/>
                    </a:lnTo>
                    <a:lnTo>
                      <a:pt x="940" y="388"/>
                    </a:lnTo>
                    <a:lnTo>
                      <a:pt x="942" y="388"/>
                    </a:lnTo>
                    <a:lnTo>
                      <a:pt x="944" y="390"/>
                    </a:lnTo>
                    <a:lnTo>
                      <a:pt x="944" y="390"/>
                    </a:lnTo>
                    <a:lnTo>
                      <a:pt x="944" y="390"/>
                    </a:lnTo>
                    <a:lnTo>
                      <a:pt x="948" y="390"/>
                    </a:lnTo>
                    <a:lnTo>
                      <a:pt x="954" y="388"/>
                    </a:lnTo>
                    <a:lnTo>
                      <a:pt x="956" y="388"/>
                    </a:lnTo>
                    <a:lnTo>
                      <a:pt x="960" y="388"/>
                    </a:lnTo>
                    <a:lnTo>
                      <a:pt x="960" y="388"/>
                    </a:lnTo>
                    <a:lnTo>
                      <a:pt x="962" y="388"/>
                    </a:lnTo>
                    <a:lnTo>
                      <a:pt x="962" y="386"/>
                    </a:lnTo>
                    <a:lnTo>
                      <a:pt x="962" y="386"/>
                    </a:lnTo>
                    <a:lnTo>
                      <a:pt x="962" y="386"/>
                    </a:lnTo>
                    <a:lnTo>
                      <a:pt x="964" y="384"/>
                    </a:lnTo>
                    <a:lnTo>
                      <a:pt x="964" y="382"/>
                    </a:lnTo>
                    <a:lnTo>
                      <a:pt x="966" y="380"/>
                    </a:lnTo>
                    <a:lnTo>
                      <a:pt x="966" y="378"/>
                    </a:lnTo>
                    <a:lnTo>
                      <a:pt x="968" y="374"/>
                    </a:lnTo>
                    <a:lnTo>
                      <a:pt x="970" y="368"/>
                    </a:lnTo>
                    <a:lnTo>
                      <a:pt x="972" y="360"/>
                    </a:lnTo>
                    <a:lnTo>
                      <a:pt x="972" y="358"/>
                    </a:lnTo>
                    <a:lnTo>
                      <a:pt x="972" y="354"/>
                    </a:lnTo>
                    <a:lnTo>
                      <a:pt x="972" y="352"/>
                    </a:lnTo>
                    <a:lnTo>
                      <a:pt x="972" y="352"/>
                    </a:lnTo>
                    <a:lnTo>
                      <a:pt x="972" y="350"/>
                    </a:lnTo>
                    <a:lnTo>
                      <a:pt x="972" y="350"/>
                    </a:lnTo>
                    <a:lnTo>
                      <a:pt x="970" y="348"/>
                    </a:lnTo>
                    <a:lnTo>
                      <a:pt x="970" y="348"/>
                    </a:lnTo>
                    <a:lnTo>
                      <a:pt x="970" y="348"/>
                    </a:lnTo>
                    <a:lnTo>
                      <a:pt x="970" y="346"/>
                    </a:lnTo>
                    <a:lnTo>
                      <a:pt x="968" y="346"/>
                    </a:lnTo>
                    <a:lnTo>
                      <a:pt x="968" y="346"/>
                    </a:lnTo>
                    <a:lnTo>
                      <a:pt x="966" y="346"/>
                    </a:lnTo>
                    <a:lnTo>
                      <a:pt x="960" y="344"/>
                    </a:lnTo>
                    <a:lnTo>
                      <a:pt x="954" y="344"/>
                    </a:lnTo>
                    <a:lnTo>
                      <a:pt x="950" y="344"/>
                    </a:lnTo>
                    <a:lnTo>
                      <a:pt x="944" y="344"/>
                    </a:lnTo>
                    <a:lnTo>
                      <a:pt x="944" y="344"/>
                    </a:lnTo>
                    <a:lnTo>
                      <a:pt x="942" y="344"/>
                    </a:lnTo>
                    <a:lnTo>
                      <a:pt x="942" y="344"/>
                    </a:lnTo>
                    <a:lnTo>
                      <a:pt x="940" y="346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50"/>
                    </a:lnTo>
                    <a:lnTo>
                      <a:pt x="942" y="350"/>
                    </a:lnTo>
                    <a:lnTo>
                      <a:pt x="942" y="352"/>
                    </a:lnTo>
                    <a:lnTo>
                      <a:pt x="942" y="352"/>
                    </a:lnTo>
                    <a:lnTo>
                      <a:pt x="940" y="354"/>
                    </a:lnTo>
                    <a:lnTo>
                      <a:pt x="938" y="358"/>
                    </a:lnTo>
                    <a:close/>
                    <a:moveTo>
                      <a:pt x="870" y="536"/>
                    </a:moveTo>
                    <a:lnTo>
                      <a:pt x="870" y="534"/>
                    </a:lnTo>
                    <a:lnTo>
                      <a:pt x="870" y="534"/>
                    </a:lnTo>
                    <a:lnTo>
                      <a:pt x="870" y="534"/>
                    </a:lnTo>
                    <a:lnTo>
                      <a:pt x="868" y="534"/>
                    </a:lnTo>
                    <a:lnTo>
                      <a:pt x="868" y="534"/>
                    </a:lnTo>
                    <a:lnTo>
                      <a:pt x="868" y="532"/>
                    </a:lnTo>
                    <a:lnTo>
                      <a:pt x="866" y="532"/>
                    </a:lnTo>
                    <a:lnTo>
                      <a:pt x="866" y="532"/>
                    </a:lnTo>
                    <a:lnTo>
                      <a:pt x="866" y="532"/>
                    </a:lnTo>
                    <a:lnTo>
                      <a:pt x="864" y="532"/>
                    </a:lnTo>
                    <a:lnTo>
                      <a:pt x="860" y="532"/>
                    </a:lnTo>
                    <a:lnTo>
                      <a:pt x="856" y="532"/>
                    </a:lnTo>
                    <a:lnTo>
                      <a:pt x="850" y="532"/>
                    </a:lnTo>
                    <a:lnTo>
                      <a:pt x="848" y="532"/>
                    </a:lnTo>
                    <a:lnTo>
                      <a:pt x="844" y="532"/>
                    </a:lnTo>
                    <a:lnTo>
                      <a:pt x="842" y="534"/>
                    </a:lnTo>
                    <a:lnTo>
                      <a:pt x="842" y="534"/>
                    </a:lnTo>
                    <a:lnTo>
                      <a:pt x="840" y="534"/>
                    </a:lnTo>
                    <a:lnTo>
                      <a:pt x="836" y="540"/>
                    </a:lnTo>
                    <a:lnTo>
                      <a:pt x="836" y="544"/>
                    </a:lnTo>
                    <a:lnTo>
                      <a:pt x="836" y="546"/>
                    </a:lnTo>
                    <a:lnTo>
                      <a:pt x="836" y="546"/>
                    </a:lnTo>
                    <a:lnTo>
                      <a:pt x="836" y="546"/>
                    </a:lnTo>
                    <a:lnTo>
                      <a:pt x="836" y="550"/>
                    </a:lnTo>
                    <a:lnTo>
                      <a:pt x="836" y="550"/>
                    </a:lnTo>
                    <a:lnTo>
                      <a:pt x="836" y="550"/>
                    </a:lnTo>
                    <a:lnTo>
                      <a:pt x="836" y="552"/>
                    </a:lnTo>
                    <a:lnTo>
                      <a:pt x="836" y="552"/>
                    </a:lnTo>
                    <a:lnTo>
                      <a:pt x="838" y="554"/>
                    </a:lnTo>
                    <a:lnTo>
                      <a:pt x="840" y="554"/>
                    </a:lnTo>
                    <a:lnTo>
                      <a:pt x="840" y="554"/>
                    </a:lnTo>
                    <a:lnTo>
                      <a:pt x="840" y="554"/>
                    </a:lnTo>
                    <a:lnTo>
                      <a:pt x="844" y="556"/>
                    </a:lnTo>
                    <a:lnTo>
                      <a:pt x="844" y="556"/>
                    </a:lnTo>
                    <a:lnTo>
                      <a:pt x="844" y="556"/>
                    </a:lnTo>
                    <a:lnTo>
                      <a:pt x="846" y="556"/>
                    </a:lnTo>
                    <a:lnTo>
                      <a:pt x="850" y="556"/>
                    </a:lnTo>
                    <a:lnTo>
                      <a:pt x="854" y="556"/>
                    </a:lnTo>
                    <a:lnTo>
                      <a:pt x="858" y="556"/>
                    </a:lnTo>
                    <a:lnTo>
                      <a:pt x="860" y="554"/>
                    </a:lnTo>
                    <a:lnTo>
                      <a:pt x="860" y="554"/>
                    </a:lnTo>
                    <a:lnTo>
                      <a:pt x="862" y="554"/>
                    </a:lnTo>
                    <a:lnTo>
                      <a:pt x="864" y="554"/>
                    </a:lnTo>
                    <a:lnTo>
                      <a:pt x="864" y="554"/>
                    </a:lnTo>
                    <a:lnTo>
                      <a:pt x="864" y="554"/>
                    </a:lnTo>
                    <a:lnTo>
                      <a:pt x="866" y="552"/>
                    </a:lnTo>
                    <a:lnTo>
                      <a:pt x="866" y="552"/>
                    </a:lnTo>
                    <a:lnTo>
                      <a:pt x="868" y="550"/>
                    </a:lnTo>
                    <a:lnTo>
                      <a:pt x="870" y="548"/>
                    </a:lnTo>
                    <a:lnTo>
                      <a:pt x="870" y="548"/>
                    </a:lnTo>
                    <a:lnTo>
                      <a:pt x="870" y="548"/>
                    </a:lnTo>
                    <a:lnTo>
                      <a:pt x="872" y="544"/>
                    </a:lnTo>
                    <a:lnTo>
                      <a:pt x="872" y="544"/>
                    </a:lnTo>
                    <a:lnTo>
                      <a:pt x="872" y="542"/>
                    </a:lnTo>
                    <a:lnTo>
                      <a:pt x="872" y="542"/>
                    </a:lnTo>
                    <a:lnTo>
                      <a:pt x="872" y="542"/>
                    </a:lnTo>
                    <a:lnTo>
                      <a:pt x="872" y="540"/>
                    </a:lnTo>
                    <a:lnTo>
                      <a:pt x="872" y="538"/>
                    </a:lnTo>
                    <a:lnTo>
                      <a:pt x="872" y="538"/>
                    </a:lnTo>
                    <a:lnTo>
                      <a:pt x="872" y="538"/>
                    </a:lnTo>
                    <a:lnTo>
                      <a:pt x="872" y="536"/>
                    </a:lnTo>
                    <a:lnTo>
                      <a:pt x="872" y="536"/>
                    </a:lnTo>
                    <a:lnTo>
                      <a:pt x="870" y="536"/>
                    </a:lnTo>
                    <a:lnTo>
                      <a:pt x="870" y="536"/>
                    </a:lnTo>
                    <a:close/>
                    <a:moveTo>
                      <a:pt x="890" y="574"/>
                    </a:moveTo>
                    <a:lnTo>
                      <a:pt x="890" y="574"/>
                    </a:lnTo>
                    <a:lnTo>
                      <a:pt x="892" y="574"/>
                    </a:lnTo>
                    <a:lnTo>
                      <a:pt x="892" y="574"/>
                    </a:lnTo>
                    <a:lnTo>
                      <a:pt x="892" y="574"/>
                    </a:lnTo>
                    <a:lnTo>
                      <a:pt x="894" y="574"/>
                    </a:lnTo>
                    <a:lnTo>
                      <a:pt x="896" y="576"/>
                    </a:lnTo>
                    <a:lnTo>
                      <a:pt x="898" y="576"/>
                    </a:lnTo>
                    <a:lnTo>
                      <a:pt x="898" y="576"/>
                    </a:lnTo>
                    <a:lnTo>
                      <a:pt x="900" y="576"/>
                    </a:lnTo>
                    <a:lnTo>
                      <a:pt x="902" y="576"/>
                    </a:lnTo>
                    <a:lnTo>
                      <a:pt x="902" y="576"/>
                    </a:lnTo>
                    <a:lnTo>
                      <a:pt x="902" y="576"/>
                    </a:lnTo>
                    <a:lnTo>
                      <a:pt x="904" y="574"/>
                    </a:lnTo>
                    <a:lnTo>
                      <a:pt x="904" y="574"/>
                    </a:lnTo>
                    <a:lnTo>
                      <a:pt x="906" y="574"/>
                    </a:lnTo>
                    <a:lnTo>
                      <a:pt x="908" y="570"/>
                    </a:lnTo>
                    <a:lnTo>
                      <a:pt x="908" y="570"/>
                    </a:lnTo>
                    <a:lnTo>
                      <a:pt x="910" y="570"/>
                    </a:lnTo>
                    <a:lnTo>
                      <a:pt x="910" y="566"/>
                    </a:lnTo>
                    <a:lnTo>
                      <a:pt x="910" y="566"/>
                    </a:lnTo>
                    <a:lnTo>
                      <a:pt x="910" y="564"/>
                    </a:lnTo>
                    <a:lnTo>
                      <a:pt x="912" y="560"/>
                    </a:lnTo>
                    <a:lnTo>
                      <a:pt x="912" y="560"/>
                    </a:lnTo>
                    <a:lnTo>
                      <a:pt x="912" y="560"/>
                    </a:lnTo>
                    <a:lnTo>
                      <a:pt x="910" y="556"/>
                    </a:lnTo>
                    <a:lnTo>
                      <a:pt x="910" y="556"/>
                    </a:lnTo>
                    <a:lnTo>
                      <a:pt x="910" y="554"/>
                    </a:lnTo>
                    <a:lnTo>
                      <a:pt x="908" y="550"/>
                    </a:lnTo>
                    <a:lnTo>
                      <a:pt x="908" y="550"/>
                    </a:lnTo>
                    <a:lnTo>
                      <a:pt x="908" y="550"/>
                    </a:lnTo>
                    <a:lnTo>
                      <a:pt x="904" y="546"/>
                    </a:lnTo>
                    <a:lnTo>
                      <a:pt x="904" y="546"/>
                    </a:lnTo>
                    <a:lnTo>
                      <a:pt x="904" y="546"/>
                    </a:lnTo>
                    <a:lnTo>
                      <a:pt x="902" y="544"/>
                    </a:lnTo>
                    <a:lnTo>
                      <a:pt x="902" y="544"/>
                    </a:lnTo>
                    <a:lnTo>
                      <a:pt x="902" y="544"/>
                    </a:lnTo>
                    <a:lnTo>
                      <a:pt x="898" y="544"/>
                    </a:lnTo>
                    <a:lnTo>
                      <a:pt x="898" y="544"/>
                    </a:lnTo>
                    <a:lnTo>
                      <a:pt x="896" y="544"/>
                    </a:lnTo>
                    <a:lnTo>
                      <a:pt x="896" y="544"/>
                    </a:lnTo>
                    <a:lnTo>
                      <a:pt x="896" y="546"/>
                    </a:lnTo>
                    <a:lnTo>
                      <a:pt x="894" y="548"/>
                    </a:lnTo>
                    <a:lnTo>
                      <a:pt x="894" y="550"/>
                    </a:lnTo>
                    <a:lnTo>
                      <a:pt x="894" y="552"/>
                    </a:lnTo>
                    <a:lnTo>
                      <a:pt x="892" y="554"/>
                    </a:lnTo>
                    <a:lnTo>
                      <a:pt x="892" y="554"/>
                    </a:lnTo>
                    <a:lnTo>
                      <a:pt x="892" y="556"/>
                    </a:lnTo>
                    <a:lnTo>
                      <a:pt x="892" y="560"/>
                    </a:lnTo>
                    <a:lnTo>
                      <a:pt x="892" y="562"/>
                    </a:lnTo>
                    <a:lnTo>
                      <a:pt x="892" y="562"/>
                    </a:lnTo>
                    <a:lnTo>
                      <a:pt x="890" y="564"/>
                    </a:lnTo>
                    <a:lnTo>
                      <a:pt x="890" y="566"/>
                    </a:lnTo>
                    <a:lnTo>
                      <a:pt x="890" y="566"/>
                    </a:lnTo>
                    <a:lnTo>
                      <a:pt x="890" y="566"/>
                    </a:lnTo>
                    <a:lnTo>
                      <a:pt x="890" y="568"/>
                    </a:lnTo>
                    <a:lnTo>
                      <a:pt x="890" y="568"/>
                    </a:lnTo>
                    <a:lnTo>
                      <a:pt x="888" y="570"/>
                    </a:lnTo>
                    <a:lnTo>
                      <a:pt x="890" y="570"/>
                    </a:lnTo>
                    <a:lnTo>
                      <a:pt x="890" y="570"/>
                    </a:lnTo>
                    <a:lnTo>
                      <a:pt x="890" y="572"/>
                    </a:lnTo>
                    <a:lnTo>
                      <a:pt x="890" y="574"/>
                    </a:lnTo>
                    <a:close/>
                    <a:moveTo>
                      <a:pt x="884" y="626"/>
                    </a:moveTo>
                    <a:lnTo>
                      <a:pt x="884" y="626"/>
                    </a:lnTo>
                    <a:lnTo>
                      <a:pt x="884" y="626"/>
                    </a:lnTo>
                    <a:lnTo>
                      <a:pt x="882" y="628"/>
                    </a:lnTo>
                    <a:lnTo>
                      <a:pt x="882" y="628"/>
                    </a:lnTo>
                    <a:lnTo>
                      <a:pt x="882" y="628"/>
                    </a:lnTo>
                    <a:lnTo>
                      <a:pt x="880" y="632"/>
                    </a:lnTo>
                    <a:lnTo>
                      <a:pt x="880" y="632"/>
                    </a:lnTo>
                    <a:lnTo>
                      <a:pt x="880" y="632"/>
                    </a:lnTo>
                    <a:lnTo>
                      <a:pt x="880" y="634"/>
                    </a:lnTo>
                    <a:lnTo>
                      <a:pt x="880" y="634"/>
                    </a:lnTo>
                    <a:lnTo>
                      <a:pt x="880" y="636"/>
                    </a:lnTo>
                    <a:lnTo>
                      <a:pt x="880" y="638"/>
                    </a:lnTo>
                    <a:lnTo>
                      <a:pt x="880" y="642"/>
                    </a:lnTo>
                    <a:lnTo>
                      <a:pt x="882" y="646"/>
                    </a:lnTo>
                    <a:lnTo>
                      <a:pt x="882" y="650"/>
                    </a:lnTo>
                    <a:lnTo>
                      <a:pt x="882" y="650"/>
                    </a:lnTo>
                    <a:lnTo>
                      <a:pt x="884" y="652"/>
                    </a:lnTo>
                    <a:lnTo>
                      <a:pt x="884" y="652"/>
                    </a:lnTo>
                    <a:lnTo>
                      <a:pt x="886" y="652"/>
                    </a:lnTo>
                    <a:lnTo>
                      <a:pt x="890" y="652"/>
                    </a:lnTo>
                    <a:lnTo>
                      <a:pt x="890" y="652"/>
                    </a:lnTo>
                    <a:lnTo>
                      <a:pt x="892" y="652"/>
                    </a:lnTo>
                    <a:lnTo>
                      <a:pt x="894" y="648"/>
                    </a:lnTo>
                    <a:lnTo>
                      <a:pt x="894" y="648"/>
                    </a:lnTo>
                    <a:lnTo>
                      <a:pt x="896" y="648"/>
                    </a:lnTo>
                    <a:lnTo>
                      <a:pt x="896" y="646"/>
                    </a:lnTo>
                    <a:lnTo>
                      <a:pt x="896" y="646"/>
                    </a:lnTo>
                    <a:lnTo>
                      <a:pt x="898" y="644"/>
                    </a:lnTo>
                    <a:lnTo>
                      <a:pt x="898" y="640"/>
                    </a:lnTo>
                    <a:lnTo>
                      <a:pt x="898" y="640"/>
                    </a:lnTo>
                    <a:lnTo>
                      <a:pt x="898" y="640"/>
                    </a:lnTo>
                    <a:lnTo>
                      <a:pt x="898" y="636"/>
                    </a:lnTo>
                    <a:lnTo>
                      <a:pt x="898" y="636"/>
                    </a:lnTo>
                    <a:lnTo>
                      <a:pt x="898" y="636"/>
                    </a:lnTo>
                    <a:lnTo>
                      <a:pt x="896" y="632"/>
                    </a:lnTo>
                    <a:lnTo>
                      <a:pt x="896" y="632"/>
                    </a:lnTo>
                    <a:lnTo>
                      <a:pt x="896" y="632"/>
                    </a:lnTo>
                    <a:lnTo>
                      <a:pt x="894" y="628"/>
                    </a:lnTo>
                    <a:lnTo>
                      <a:pt x="894" y="628"/>
                    </a:lnTo>
                    <a:lnTo>
                      <a:pt x="894" y="628"/>
                    </a:lnTo>
                    <a:lnTo>
                      <a:pt x="892" y="624"/>
                    </a:lnTo>
                    <a:lnTo>
                      <a:pt x="892" y="624"/>
                    </a:lnTo>
                    <a:lnTo>
                      <a:pt x="890" y="622"/>
                    </a:lnTo>
                    <a:lnTo>
                      <a:pt x="890" y="622"/>
                    </a:lnTo>
                    <a:lnTo>
                      <a:pt x="888" y="622"/>
                    </a:lnTo>
                    <a:lnTo>
                      <a:pt x="884" y="626"/>
                    </a:lnTo>
                    <a:close/>
                    <a:moveTo>
                      <a:pt x="892" y="732"/>
                    </a:moveTo>
                    <a:lnTo>
                      <a:pt x="892" y="734"/>
                    </a:lnTo>
                    <a:lnTo>
                      <a:pt x="892" y="736"/>
                    </a:lnTo>
                    <a:lnTo>
                      <a:pt x="892" y="738"/>
                    </a:lnTo>
                    <a:lnTo>
                      <a:pt x="892" y="738"/>
                    </a:lnTo>
                    <a:lnTo>
                      <a:pt x="894" y="740"/>
                    </a:lnTo>
                    <a:lnTo>
                      <a:pt x="898" y="742"/>
                    </a:lnTo>
                    <a:lnTo>
                      <a:pt x="902" y="744"/>
                    </a:lnTo>
                    <a:lnTo>
                      <a:pt x="904" y="744"/>
                    </a:lnTo>
                    <a:lnTo>
                      <a:pt x="904" y="744"/>
                    </a:lnTo>
                    <a:lnTo>
                      <a:pt x="906" y="744"/>
                    </a:lnTo>
                    <a:lnTo>
                      <a:pt x="908" y="746"/>
                    </a:lnTo>
                    <a:lnTo>
                      <a:pt x="908" y="746"/>
                    </a:lnTo>
                    <a:lnTo>
                      <a:pt x="908" y="744"/>
                    </a:lnTo>
                    <a:lnTo>
                      <a:pt x="910" y="744"/>
                    </a:lnTo>
                    <a:lnTo>
                      <a:pt x="910" y="744"/>
                    </a:lnTo>
                    <a:lnTo>
                      <a:pt x="912" y="742"/>
                    </a:lnTo>
                    <a:lnTo>
                      <a:pt x="912" y="740"/>
                    </a:lnTo>
                    <a:lnTo>
                      <a:pt x="912" y="740"/>
                    </a:lnTo>
                    <a:lnTo>
                      <a:pt x="912" y="740"/>
                    </a:lnTo>
                    <a:lnTo>
                      <a:pt x="914" y="736"/>
                    </a:lnTo>
                    <a:lnTo>
                      <a:pt x="914" y="734"/>
                    </a:lnTo>
                    <a:lnTo>
                      <a:pt x="914" y="732"/>
                    </a:lnTo>
                    <a:lnTo>
                      <a:pt x="916" y="732"/>
                    </a:lnTo>
                    <a:lnTo>
                      <a:pt x="918" y="730"/>
                    </a:lnTo>
                    <a:lnTo>
                      <a:pt x="920" y="728"/>
                    </a:lnTo>
                    <a:lnTo>
                      <a:pt x="924" y="726"/>
                    </a:lnTo>
                    <a:lnTo>
                      <a:pt x="928" y="722"/>
                    </a:lnTo>
                    <a:lnTo>
                      <a:pt x="930" y="720"/>
                    </a:lnTo>
                    <a:lnTo>
                      <a:pt x="932" y="718"/>
                    </a:lnTo>
                    <a:lnTo>
                      <a:pt x="932" y="716"/>
                    </a:lnTo>
                    <a:lnTo>
                      <a:pt x="932" y="716"/>
                    </a:lnTo>
                    <a:lnTo>
                      <a:pt x="934" y="714"/>
                    </a:lnTo>
                    <a:lnTo>
                      <a:pt x="934" y="714"/>
                    </a:lnTo>
                    <a:lnTo>
                      <a:pt x="934" y="714"/>
                    </a:lnTo>
                    <a:lnTo>
                      <a:pt x="934" y="712"/>
                    </a:lnTo>
                    <a:lnTo>
                      <a:pt x="934" y="710"/>
                    </a:lnTo>
                    <a:lnTo>
                      <a:pt x="934" y="710"/>
                    </a:lnTo>
                    <a:lnTo>
                      <a:pt x="934" y="710"/>
                    </a:lnTo>
                    <a:lnTo>
                      <a:pt x="934" y="708"/>
                    </a:lnTo>
                    <a:lnTo>
                      <a:pt x="934" y="708"/>
                    </a:lnTo>
                    <a:lnTo>
                      <a:pt x="932" y="708"/>
                    </a:lnTo>
                    <a:lnTo>
                      <a:pt x="932" y="706"/>
                    </a:lnTo>
                    <a:lnTo>
                      <a:pt x="932" y="706"/>
                    </a:lnTo>
                    <a:lnTo>
                      <a:pt x="930" y="706"/>
                    </a:lnTo>
                    <a:lnTo>
                      <a:pt x="928" y="704"/>
                    </a:lnTo>
                    <a:lnTo>
                      <a:pt x="928" y="704"/>
                    </a:lnTo>
                    <a:lnTo>
                      <a:pt x="928" y="704"/>
                    </a:lnTo>
                    <a:lnTo>
                      <a:pt x="920" y="704"/>
                    </a:lnTo>
                    <a:lnTo>
                      <a:pt x="912" y="704"/>
                    </a:lnTo>
                    <a:lnTo>
                      <a:pt x="904" y="704"/>
                    </a:lnTo>
                    <a:lnTo>
                      <a:pt x="898" y="704"/>
                    </a:lnTo>
                    <a:lnTo>
                      <a:pt x="898" y="704"/>
                    </a:lnTo>
                    <a:lnTo>
                      <a:pt x="896" y="704"/>
                    </a:lnTo>
                    <a:lnTo>
                      <a:pt x="894" y="706"/>
                    </a:lnTo>
                    <a:lnTo>
                      <a:pt x="894" y="710"/>
                    </a:lnTo>
                    <a:lnTo>
                      <a:pt x="894" y="714"/>
                    </a:lnTo>
                    <a:lnTo>
                      <a:pt x="894" y="718"/>
                    </a:lnTo>
                    <a:lnTo>
                      <a:pt x="892" y="720"/>
                    </a:lnTo>
                    <a:lnTo>
                      <a:pt x="892" y="722"/>
                    </a:lnTo>
                    <a:lnTo>
                      <a:pt x="892" y="724"/>
                    </a:lnTo>
                    <a:lnTo>
                      <a:pt x="892" y="726"/>
                    </a:lnTo>
                    <a:lnTo>
                      <a:pt x="892" y="728"/>
                    </a:lnTo>
                    <a:lnTo>
                      <a:pt x="892" y="730"/>
                    </a:lnTo>
                    <a:lnTo>
                      <a:pt x="892" y="732"/>
                    </a:lnTo>
                    <a:close/>
                    <a:moveTo>
                      <a:pt x="1166" y="894"/>
                    </a:moveTo>
                    <a:lnTo>
                      <a:pt x="1166" y="894"/>
                    </a:lnTo>
                    <a:lnTo>
                      <a:pt x="1166" y="894"/>
                    </a:lnTo>
                    <a:lnTo>
                      <a:pt x="1164" y="894"/>
                    </a:lnTo>
                    <a:lnTo>
                      <a:pt x="1164" y="894"/>
                    </a:lnTo>
                    <a:lnTo>
                      <a:pt x="1162" y="894"/>
                    </a:lnTo>
                    <a:lnTo>
                      <a:pt x="1162" y="892"/>
                    </a:lnTo>
                    <a:lnTo>
                      <a:pt x="1162" y="892"/>
                    </a:lnTo>
                    <a:lnTo>
                      <a:pt x="1160" y="892"/>
                    </a:lnTo>
                    <a:lnTo>
                      <a:pt x="1158" y="890"/>
                    </a:lnTo>
                    <a:lnTo>
                      <a:pt x="1156" y="888"/>
                    </a:lnTo>
                    <a:lnTo>
                      <a:pt x="1154" y="886"/>
                    </a:lnTo>
                    <a:lnTo>
                      <a:pt x="1152" y="884"/>
                    </a:lnTo>
                    <a:lnTo>
                      <a:pt x="1150" y="882"/>
                    </a:lnTo>
                    <a:lnTo>
                      <a:pt x="1148" y="880"/>
                    </a:lnTo>
                    <a:lnTo>
                      <a:pt x="1144" y="876"/>
                    </a:lnTo>
                    <a:lnTo>
                      <a:pt x="1144" y="876"/>
                    </a:lnTo>
                    <a:lnTo>
                      <a:pt x="1144" y="876"/>
                    </a:lnTo>
                    <a:lnTo>
                      <a:pt x="1142" y="876"/>
                    </a:lnTo>
                    <a:lnTo>
                      <a:pt x="1142" y="876"/>
                    </a:lnTo>
                    <a:lnTo>
                      <a:pt x="1140" y="876"/>
                    </a:lnTo>
                    <a:lnTo>
                      <a:pt x="1138" y="874"/>
                    </a:lnTo>
                    <a:lnTo>
                      <a:pt x="1138" y="874"/>
                    </a:lnTo>
                    <a:lnTo>
                      <a:pt x="1138" y="874"/>
                    </a:lnTo>
                    <a:lnTo>
                      <a:pt x="1134" y="876"/>
                    </a:lnTo>
                    <a:lnTo>
                      <a:pt x="1132" y="876"/>
                    </a:lnTo>
                    <a:lnTo>
                      <a:pt x="1130" y="878"/>
                    </a:lnTo>
                    <a:lnTo>
                      <a:pt x="1128" y="878"/>
                    </a:lnTo>
                    <a:lnTo>
                      <a:pt x="1124" y="880"/>
                    </a:lnTo>
                    <a:lnTo>
                      <a:pt x="1124" y="880"/>
                    </a:lnTo>
                    <a:lnTo>
                      <a:pt x="1124" y="882"/>
                    </a:lnTo>
                    <a:lnTo>
                      <a:pt x="1124" y="882"/>
                    </a:lnTo>
                    <a:lnTo>
                      <a:pt x="1124" y="884"/>
                    </a:lnTo>
                    <a:lnTo>
                      <a:pt x="1128" y="888"/>
                    </a:lnTo>
                    <a:lnTo>
                      <a:pt x="1130" y="890"/>
                    </a:lnTo>
                    <a:lnTo>
                      <a:pt x="1136" y="894"/>
                    </a:lnTo>
                    <a:lnTo>
                      <a:pt x="1138" y="894"/>
                    </a:lnTo>
                    <a:lnTo>
                      <a:pt x="1138" y="896"/>
                    </a:lnTo>
                    <a:lnTo>
                      <a:pt x="1138" y="896"/>
                    </a:lnTo>
                    <a:lnTo>
                      <a:pt x="1138" y="896"/>
                    </a:lnTo>
                    <a:lnTo>
                      <a:pt x="1140" y="898"/>
                    </a:lnTo>
                    <a:lnTo>
                      <a:pt x="1140" y="898"/>
                    </a:lnTo>
                    <a:lnTo>
                      <a:pt x="1140" y="898"/>
                    </a:lnTo>
                    <a:lnTo>
                      <a:pt x="1142" y="900"/>
                    </a:lnTo>
                    <a:lnTo>
                      <a:pt x="1142" y="900"/>
                    </a:lnTo>
                    <a:lnTo>
                      <a:pt x="1142" y="900"/>
                    </a:lnTo>
                    <a:lnTo>
                      <a:pt x="1146" y="900"/>
                    </a:lnTo>
                    <a:lnTo>
                      <a:pt x="1148" y="900"/>
                    </a:lnTo>
                    <a:lnTo>
                      <a:pt x="1150" y="902"/>
                    </a:lnTo>
                    <a:lnTo>
                      <a:pt x="1150" y="902"/>
                    </a:lnTo>
                    <a:lnTo>
                      <a:pt x="1150" y="902"/>
                    </a:lnTo>
                    <a:lnTo>
                      <a:pt x="1158" y="902"/>
                    </a:lnTo>
                    <a:lnTo>
                      <a:pt x="1164" y="900"/>
                    </a:lnTo>
                    <a:lnTo>
                      <a:pt x="1164" y="900"/>
                    </a:lnTo>
                    <a:lnTo>
                      <a:pt x="1166" y="900"/>
                    </a:lnTo>
                    <a:lnTo>
                      <a:pt x="1166" y="898"/>
                    </a:lnTo>
                    <a:lnTo>
                      <a:pt x="1166" y="898"/>
                    </a:lnTo>
                    <a:lnTo>
                      <a:pt x="1168" y="898"/>
                    </a:lnTo>
                    <a:lnTo>
                      <a:pt x="1168" y="896"/>
                    </a:lnTo>
                    <a:lnTo>
                      <a:pt x="1166" y="896"/>
                    </a:lnTo>
                    <a:lnTo>
                      <a:pt x="1166" y="896"/>
                    </a:lnTo>
                    <a:lnTo>
                      <a:pt x="1166" y="894"/>
                    </a:lnTo>
                    <a:lnTo>
                      <a:pt x="1166" y="89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0" name="Freeform 27">
                <a:extLst>
                  <a:ext uri="{FF2B5EF4-FFF2-40B4-BE49-F238E27FC236}">
                    <a16:creationId xmlns:a16="http://schemas.microsoft.com/office/drawing/2014/main" id="{ADE477E1-CBE8-4C67-AB78-E48A7AC193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63" y="1761332"/>
                <a:ext cx="2694475" cy="1976436"/>
              </a:xfrm>
              <a:custGeom>
                <a:avLst/>
                <a:gdLst>
                  <a:gd name="T0" fmla="*/ 300 w 1672"/>
                  <a:gd name="T1" fmla="*/ 1176 h 1238"/>
                  <a:gd name="T2" fmla="*/ 310 w 1672"/>
                  <a:gd name="T3" fmla="*/ 1196 h 1238"/>
                  <a:gd name="T4" fmla="*/ 356 w 1672"/>
                  <a:gd name="T5" fmla="*/ 1236 h 1238"/>
                  <a:gd name="T6" fmla="*/ 1656 w 1672"/>
                  <a:gd name="T7" fmla="*/ 728 h 1238"/>
                  <a:gd name="T8" fmla="*/ 1628 w 1672"/>
                  <a:gd name="T9" fmla="*/ 750 h 1238"/>
                  <a:gd name="T10" fmla="*/ 1532 w 1672"/>
                  <a:gd name="T11" fmla="*/ 788 h 1238"/>
                  <a:gd name="T12" fmla="*/ 1432 w 1672"/>
                  <a:gd name="T13" fmla="*/ 848 h 1238"/>
                  <a:gd name="T14" fmla="*/ 1432 w 1672"/>
                  <a:gd name="T15" fmla="*/ 796 h 1238"/>
                  <a:gd name="T16" fmla="*/ 1410 w 1672"/>
                  <a:gd name="T17" fmla="*/ 758 h 1238"/>
                  <a:gd name="T18" fmla="*/ 1366 w 1672"/>
                  <a:gd name="T19" fmla="*/ 840 h 1238"/>
                  <a:gd name="T20" fmla="*/ 1400 w 1672"/>
                  <a:gd name="T21" fmla="*/ 746 h 1238"/>
                  <a:gd name="T22" fmla="*/ 1324 w 1672"/>
                  <a:gd name="T23" fmla="*/ 722 h 1238"/>
                  <a:gd name="T24" fmla="*/ 1238 w 1672"/>
                  <a:gd name="T25" fmla="*/ 702 h 1238"/>
                  <a:gd name="T26" fmla="*/ 860 w 1672"/>
                  <a:gd name="T27" fmla="*/ 704 h 1238"/>
                  <a:gd name="T28" fmla="*/ 814 w 1672"/>
                  <a:gd name="T29" fmla="*/ 738 h 1238"/>
                  <a:gd name="T30" fmla="*/ 886 w 1672"/>
                  <a:gd name="T31" fmla="*/ 992 h 1238"/>
                  <a:gd name="T32" fmla="*/ 954 w 1672"/>
                  <a:gd name="T33" fmla="*/ 1004 h 1238"/>
                  <a:gd name="T34" fmla="*/ 1052 w 1672"/>
                  <a:gd name="T35" fmla="*/ 1034 h 1238"/>
                  <a:gd name="T36" fmla="*/ 1130 w 1672"/>
                  <a:gd name="T37" fmla="*/ 1068 h 1238"/>
                  <a:gd name="T38" fmla="*/ 1184 w 1672"/>
                  <a:gd name="T39" fmla="*/ 1116 h 1238"/>
                  <a:gd name="T40" fmla="*/ 1246 w 1672"/>
                  <a:gd name="T41" fmla="*/ 1072 h 1238"/>
                  <a:gd name="T42" fmla="*/ 1350 w 1672"/>
                  <a:gd name="T43" fmla="*/ 1056 h 1238"/>
                  <a:gd name="T44" fmla="*/ 1412 w 1672"/>
                  <a:gd name="T45" fmla="*/ 1056 h 1238"/>
                  <a:gd name="T46" fmla="*/ 1466 w 1672"/>
                  <a:gd name="T47" fmla="*/ 1138 h 1238"/>
                  <a:gd name="T48" fmla="*/ 1452 w 1672"/>
                  <a:gd name="T49" fmla="*/ 1036 h 1238"/>
                  <a:gd name="T50" fmla="*/ 1546 w 1672"/>
                  <a:gd name="T51" fmla="*/ 912 h 1238"/>
                  <a:gd name="T52" fmla="*/ 1632 w 1672"/>
                  <a:gd name="T53" fmla="*/ 848 h 1238"/>
                  <a:gd name="T54" fmla="*/ 1640 w 1672"/>
                  <a:gd name="T55" fmla="*/ 796 h 1238"/>
                  <a:gd name="T56" fmla="*/ 678 w 1672"/>
                  <a:gd name="T57" fmla="*/ 506 h 1238"/>
                  <a:gd name="T58" fmla="*/ 622 w 1672"/>
                  <a:gd name="T59" fmla="*/ 436 h 1238"/>
                  <a:gd name="T60" fmla="*/ 582 w 1672"/>
                  <a:gd name="T61" fmla="*/ 430 h 1238"/>
                  <a:gd name="T62" fmla="*/ 572 w 1672"/>
                  <a:gd name="T63" fmla="*/ 324 h 1238"/>
                  <a:gd name="T64" fmla="*/ 576 w 1672"/>
                  <a:gd name="T65" fmla="*/ 66 h 1238"/>
                  <a:gd name="T66" fmla="*/ 458 w 1672"/>
                  <a:gd name="T67" fmla="*/ 38 h 1238"/>
                  <a:gd name="T68" fmla="*/ 388 w 1672"/>
                  <a:gd name="T69" fmla="*/ 22 h 1238"/>
                  <a:gd name="T70" fmla="*/ 356 w 1672"/>
                  <a:gd name="T71" fmla="*/ 2 h 1238"/>
                  <a:gd name="T72" fmla="*/ 300 w 1672"/>
                  <a:gd name="T73" fmla="*/ 26 h 1238"/>
                  <a:gd name="T74" fmla="*/ 256 w 1672"/>
                  <a:gd name="T75" fmla="*/ 54 h 1238"/>
                  <a:gd name="T76" fmla="*/ 194 w 1672"/>
                  <a:gd name="T77" fmla="*/ 118 h 1238"/>
                  <a:gd name="T78" fmla="*/ 228 w 1672"/>
                  <a:gd name="T79" fmla="*/ 180 h 1238"/>
                  <a:gd name="T80" fmla="*/ 238 w 1672"/>
                  <a:gd name="T81" fmla="*/ 222 h 1238"/>
                  <a:gd name="T82" fmla="*/ 166 w 1672"/>
                  <a:gd name="T83" fmla="*/ 236 h 1238"/>
                  <a:gd name="T84" fmla="*/ 204 w 1672"/>
                  <a:gd name="T85" fmla="*/ 276 h 1238"/>
                  <a:gd name="T86" fmla="*/ 274 w 1672"/>
                  <a:gd name="T87" fmla="*/ 306 h 1238"/>
                  <a:gd name="T88" fmla="*/ 206 w 1672"/>
                  <a:gd name="T89" fmla="*/ 378 h 1238"/>
                  <a:gd name="T90" fmla="*/ 210 w 1672"/>
                  <a:gd name="T91" fmla="*/ 406 h 1238"/>
                  <a:gd name="T92" fmla="*/ 252 w 1672"/>
                  <a:gd name="T93" fmla="*/ 448 h 1238"/>
                  <a:gd name="T94" fmla="*/ 304 w 1672"/>
                  <a:gd name="T95" fmla="*/ 464 h 1238"/>
                  <a:gd name="T96" fmla="*/ 274 w 1672"/>
                  <a:gd name="T97" fmla="*/ 516 h 1238"/>
                  <a:gd name="T98" fmla="*/ 160 w 1672"/>
                  <a:gd name="T99" fmla="*/ 580 h 1238"/>
                  <a:gd name="T100" fmla="*/ 28 w 1672"/>
                  <a:gd name="T101" fmla="*/ 616 h 1238"/>
                  <a:gd name="T102" fmla="*/ 116 w 1672"/>
                  <a:gd name="T103" fmla="*/ 614 h 1238"/>
                  <a:gd name="T104" fmla="*/ 196 w 1672"/>
                  <a:gd name="T105" fmla="*/ 594 h 1238"/>
                  <a:gd name="T106" fmla="*/ 386 w 1672"/>
                  <a:gd name="T107" fmla="*/ 442 h 1238"/>
                  <a:gd name="T108" fmla="*/ 382 w 1672"/>
                  <a:gd name="T109" fmla="*/ 474 h 1238"/>
                  <a:gd name="T110" fmla="*/ 488 w 1672"/>
                  <a:gd name="T111" fmla="*/ 414 h 1238"/>
                  <a:gd name="T112" fmla="*/ 538 w 1672"/>
                  <a:gd name="T113" fmla="*/ 418 h 1238"/>
                  <a:gd name="T114" fmla="*/ 598 w 1672"/>
                  <a:gd name="T115" fmla="*/ 466 h 1238"/>
                  <a:gd name="T116" fmla="*/ 624 w 1672"/>
                  <a:gd name="T117" fmla="*/ 510 h 1238"/>
                  <a:gd name="T118" fmla="*/ 634 w 1672"/>
                  <a:gd name="T119" fmla="*/ 482 h 1238"/>
                  <a:gd name="T120" fmla="*/ 642 w 1672"/>
                  <a:gd name="T121" fmla="*/ 510 h 1238"/>
                  <a:gd name="T122" fmla="*/ 648 w 1672"/>
                  <a:gd name="T123" fmla="*/ 548 h 1238"/>
                  <a:gd name="T124" fmla="*/ 688 w 1672"/>
                  <a:gd name="T125" fmla="*/ 520 h 1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2" h="1238">
                    <a:moveTo>
                      <a:pt x="370" y="1220"/>
                    </a:moveTo>
                    <a:lnTo>
                      <a:pt x="366" y="1216"/>
                    </a:lnTo>
                    <a:lnTo>
                      <a:pt x="364" y="1212"/>
                    </a:lnTo>
                    <a:lnTo>
                      <a:pt x="362" y="1210"/>
                    </a:lnTo>
                    <a:lnTo>
                      <a:pt x="360" y="1208"/>
                    </a:lnTo>
                    <a:lnTo>
                      <a:pt x="358" y="1204"/>
                    </a:lnTo>
                    <a:lnTo>
                      <a:pt x="356" y="1200"/>
                    </a:lnTo>
                    <a:lnTo>
                      <a:pt x="354" y="1194"/>
                    </a:lnTo>
                    <a:lnTo>
                      <a:pt x="354" y="1194"/>
                    </a:lnTo>
                    <a:lnTo>
                      <a:pt x="352" y="1192"/>
                    </a:lnTo>
                    <a:lnTo>
                      <a:pt x="348" y="1190"/>
                    </a:lnTo>
                    <a:lnTo>
                      <a:pt x="342" y="1188"/>
                    </a:lnTo>
                    <a:lnTo>
                      <a:pt x="338" y="1186"/>
                    </a:lnTo>
                    <a:lnTo>
                      <a:pt x="332" y="1186"/>
                    </a:lnTo>
                    <a:lnTo>
                      <a:pt x="328" y="1186"/>
                    </a:lnTo>
                    <a:lnTo>
                      <a:pt x="322" y="1186"/>
                    </a:lnTo>
                    <a:lnTo>
                      <a:pt x="316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2"/>
                    </a:lnTo>
                    <a:lnTo>
                      <a:pt x="308" y="1182"/>
                    </a:lnTo>
                    <a:lnTo>
                      <a:pt x="308" y="1182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6" y="1178"/>
                    </a:lnTo>
                    <a:lnTo>
                      <a:pt x="306" y="1178"/>
                    </a:lnTo>
                    <a:lnTo>
                      <a:pt x="306" y="1178"/>
                    </a:lnTo>
                    <a:lnTo>
                      <a:pt x="304" y="1178"/>
                    </a:lnTo>
                    <a:lnTo>
                      <a:pt x="304" y="1178"/>
                    </a:lnTo>
                    <a:lnTo>
                      <a:pt x="304" y="1176"/>
                    </a:lnTo>
                    <a:lnTo>
                      <a:pt x="300" y="1176"/>
                    </a:lnTo>
                    <a:lnTo>
                      <a:pt x="300" y="1176"/>
                    </a:lnTo>
                    <a:lnTo>
                      <a:pt x="298" y="1176"/>
                    </a:lnTo>
                    <a:lnTo>
                      <a:pt x="294" y="1176"/>
                    </a:lnTo>
                    <a:lnTo>
                      <a:pt x="294" y="1176"/>
                    </a:lnTo>
                    <a:lnTo>
                      <a:pt x="292" y="1176"/>
                    </a:lnTo>
                    <a:lnTo>
                      <a:pt x="290" y="1178"/>
                    </a:lnTo>
                    <a:lnTo>
                      <a:pt x="286" y="1180"/>
                    </a:lnTo>
                    <a:lnTo>
                      <a:pt x="284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78" y="1182"/>
                    </a:lnTo>
                    <a:lnTo>
                      <a:pt x="278" y="1182"/>
                    </a:lnTo>
                    <a:lnTo>
                      <a:pt x="278" y="1182"/>
                    </a:lnTo>
                    <a:lnTo>
                      <a:pt x="278" y="1184"/>
                    </a:lnTo>
                    <a:lnTo>
                      <a:pt x="278" y="1184"/>
                    </a:lnTo>
                    <a:lnTo>
                      <a:pt x="278" y="1184"/>
                    </a:lnTo>
                    <a:lnTo>
                      <a:pt x="278" y="1186"/>
                    </a:lnTo>
                    <a:lnTo>
                      <a:pt x="276" y="1188"/>
                    </a:lnTo>
                    <a:lnTo>
                      <a:pt x="276" y="1188"/>
                    </a:lnTo>
                    <a:lnTo>
                      <a:pt x="278" y="1192"/>
                    </a:lnTo>
                    <a:lnTo>
                      <a:pt x="278" y="1192"/>
                    </a:lnTo>
                    <a:lnTo>
                      <a:pt x="280" y="1192"/>
                    </a:lnTo>
                    <a:lnTo>
                      <a:pt x="286" y="1192"/>
                    </a:lnTo>
                    <a:lnTo>
                      <a:pt x="292" y="1192"/>
                    </a:lnTo>
                    <a:lnTo>
                      <a:pt x="298" y="1192"/>
                    </a:lnTo>
                    <a:lnTo>
                      <a:pt x="304" y="1190"/>
                    </a:lnTo>
                    <a:lnTo>
                      <a:pt x="304" y="1190"/>
                    </a:lnTo>
                    <a:lnTo>
                      <a:pt x="304" y="1190"/>
                    </a:lnTo>
                    <a:lnTo>
                      <a:pt x="306" y="1190"/>
                    </a:lnTo>
                    <a:lnTo>
                      <a:pt x="306" y="1190"/>
                    </a:lnTo>
                    <a:lnTo>
                      <a:pt x="308" y="1190"/>
                    </a:lnTo>
                    <a:lnTo>
                      <a:pt x="308" y="1188"/>
                    </a:lnTo>
                    <a:lnTo>
                      <a:pt x="308" y="1192"/>
                    </a:lnTo>
                    <a:lnTo>
                      <a:pt x="310" y="1194"/>
                    </a:lnTo>
                    <a:lnTo>
                      <a:pt x="310" y="1196"/>
                    </a:lnTo>
                    <a:lnTo>
                      <a:pt x="310" y="1196"/>
                    </a:lnTo>
                    <a:lnTo>
                      <a:pt x="310" y="1196"/>
                    </a:lnTo>
                    <a:lnTo>
                      <a:pt x="312" y="1198"/>
                    </a:lnTo>
                    <a:lnTo>
                      <a:pt x="312" y="1198"/>
                    </a:lnTo>
                    <a:lnTo>
                      <a:pt x="312" y="1198"/>
                    </a:lnTo>
                    <a:lnTo>
                      <a:pt x="314" y="1200"/>
                    </a:lnTo>
                    <a:lnTo>
                      <a:pt x="314" y="1200"/>
                    </a:lnTo>
                    <a:lnTo>
                      <a:pt x="314" y="1200"/>
                    </a:lnTo>
                    <a:lnTo>
                      <a:pt x="316" y="1202"/>
                    </a:lnTo>
                    <a:lnTo>
                      <a:pt x="318" y="1202"/>
                    </a:lnTo>
                    <a:lnTo>
                      <a:pt x="322" y="1204"/>
                    </a:lnTo>
                    <a:lnTo>
                      <a:pt x="322" y="1204"/>
                    </a:lnTo>
                    <a:lnTo>
                      <a:pt x="322" y="1204"/>
                    </a:lnTo>
                    <a:lnTo>
                      <a:pt x="324" y="1204"/>
                    </a:lnTo>
                    <a:lnTo>
                      <a:pt x="326" y="1206"/>
                    </a:lnTo>
                    <a:lnTo>
                      <a:pt x="330" y="1206"/>
                    </a:lnTo>
                    <a:lnTo>
                      <a:pt x="332" y="1208"/>
                    </a:lnTo>
                    <a:lnTo>
                      <a:pt x="334" y="1208"/>
                    </a:lnTo>
                    <a:lnTo>
                      <a:pt x="336" y="1210"/>
                    </a:lnTo>
                    <a:lnTo>
                      <a:pt x="336" y="1210"/>
                    </a:lnTo>
                    <a:lnTo>
                      <a:pt x="336" y="1212"/>
                    </a:lnTo>
                    <a:lnTo>
                      <a:pt x="338" y="1212"/>
                    </a:lnTo>
                    <a:lnTo>
                      <a:pt x="340" y="1214"/>
                    </a:lnTo>
                    <a:lnTo>
                      <a:pt x="342" y="1214"/>
                    </a:lnTo>
                    <a:lnTo>
                      <a:pt x="342" y="1216"/>
                    </a:lnTo>
                    <a:lnTo>
                      <a:pt x="344" y="1218"/>
                    </a:lnTo>
                    <a:lnTo>
                      <a:pt x="344" y="1222"/>
                    </a:lnTo>
                    <a:lnTo>
                      <a:pt x="344" y="1226"/>
                    </a:lnTo>
                    <a:lnTo>
                      <a:pt x="346" y="1230"/>
                    </a:lnTo>
                    <a:lnTo>
                      <a:pt x="346" y="1232"/>
                    </a:lnTo>
                    <a:lnTo>
                      <a:pt x="346" y="1232"/>
                    </a:lnTo>
                    <a:lnTo>
                      <a:pt x="348" y="1234"/>
                    </a:lnTo>
                    <a:lnTo>
                      <a:pt x="350" y="1236"/>
                    </a:lnTo>
                    <a:lnTo>
                      <a:pt x="350" y="1236"/>
                    </a:lnTo>
                    <a:lnTo>
                      <a:pt x="352" y="1238"/>
                    </a:lnTo>
                    <a:lnTo>
                      <a:pt x="352" y="1238"/>
                    </a:lnTo>
                    <a:lnTo>
                      <a:pt x="354" y="1238"/>
                    </a:lnTo>
                    <a:lnTo>
                      <a:pt x="356" y="1236"/>
                    </a:lnTo>
                    <a:lnTo>
                      <a:pt x="358" y="1234"/>
                    </a:lnTo>
                    <a:lnTo>
                      <a:pt x="362" y="1232"/>
                    </a:lnTo>
                    <a:lnTo>
                      <a:pt x="362" y="1232"/>
                    </a:lnTo>
                    <a:lnTo>
                      <a:pt x="364" y="1230"/>
                    </a:lnTo>
                    <a:lnTo>
                      <a:pt x="366" y="1230"/>
                    </a:lnTo>
                    <a:lnTo>
                      <a:pt x="368" y="1230"/>
                    </a:lnTo>
                    <a:lnTo>
                      <a:pt x="372" y="1228"/>
                    </a:lnTo>
                    <a:lnTo>
                      <a:pt x="372" y="1228"/>
                    </a:lnTo>
                    <a:lnTo>
                      <a:pt x="374" y="1226"/>
                    </a:lnTo>
                    <a:lnTo>
                      <a:pt x="374" y="1226"/>
                    </a:lnTo>
                    <a:lnTo>
                      <a:pt x="374" y="1224"/>
                    </a:lnTo>
                    <a:lnTo>
                      <a:pt x="370" y="1220"/>
                    </a:lnTo>
                    <a:close/>
                    <a:moveTo>
                      <a:pt x="1672" y="778"/>
                    </a:moveTo>
                    <a:lnTo>
                      <a:pt x="1672" y="778"/>
                    </a:lnTo>
                    <a:lnTo>
                      <a:pt x="1672" y="776"/>
                    </a:lnTo>
                    <a:lnTo>
                      <a:pt x="1670" y="774"/>
                    </a:lnTo>
                    <a:lnTo>
                      <a:pt x="1670" y="774"/>
                    </a:lnTo>
                    <a:lnTo>
                      <a:pt x="1670" y="774"/>
                    </a:lnTo>
                    <a:lnTo>
                      <a:pt x="1668" y="774"/>
                    </a:lnTo>
                    <a:lnTo>
                      <a:pt x="1666" y="772"/>
                    </a:lnTo>
                    <a:lnTo>
                      <a:pt x="1662" y="770"/>
                    </a:lnTo>
                    <a:lnTo>
                      <a:pt x="1662" y="768"/>
                    </a:lnTo>
                    <a:lnTo>
                      <a:pt x="1660" y="766"/>
                    </a:lnTo>
                    <a:lnTo>
                      <a:pt x="1660" y="764"/>
                    </a:lnTo>
                    <a:lnTo>
                      <a:pt x="1660" y="762"/>
                    </a:lnTo>
                    <a:lnTo>
                      <a:pt x="1660" y="754"/>
                    </a:lnTo>
                    <a:lnTo>
                      <a:pt x="1660" y="748"/>
                    </a:lnTo>
                    <a:lnTo>
                      <a:pt x="1660" y="744"/>
                    </a:lnTo>
                    <a:lnTo>
                      <a:pt x="1660" y="742"/>
                    </a:lnTo>
                    <a:lnTo>
                      <a:pt x="1660" y="738"/>
                    </a:lnTo>
                    <a:lnTo>
                      <a:pt x="1658" y="732"/>
                    </a:lnTo>
                    <a:lnTo>
                      <a:pt x="1658" y="730"/>
                    </a:lnTo>
                    <a:lnTo>
                      <a:pt x="1658" y="730"/>
                    </a:lnTo>
                    <a:lnTo>
                      <a:pt x="1658" y="730"/>
                    </a:lnTo>
                    <a:lnTo>
                      <a:pt x="1658" y="728"/>
                    </a:lnTo>
                    <a:lnTo>
                      <a:pt x="1656" y="728"/>
                    </a:lnTo>
                    <a:lnTo>
                      <a:pt x="1656" y="728"/>
                    </a:lnTo>
                    <a:lnTo>
                      <a:pt x="1656" y="726"/>
                    </a:lnTo>
                    <a:lnTo>
                      <a:pt x="1656" y="726"/>
                    </a:lnTo>
                    <a:lnTo>
                      <a:pt x="1656" y="726"/>
                    </a:lnTo>
                    <a:lnTo>
                      <a:pt x="1654" y="726"/>
                    </a:lnTo>
                    <a:lnTo>
                      <a:pt x="1652" y="726"/>
                    </a:lnTo>
                    <a:lnTo>
                      <a:pt x="1652" y="726"/>
                    </a:lnTo>
                    <a:lnTo>
                      <a:pt x="1652" y="726"/>
                    </a:lnTo>
                    <a:lnTo>
                      <a:pt x="1650" y="726"/>
                    </a:lnTo>
                    <a:lnTo>
                      <a:pt x="1650" y="726"/>
                    </a:lnTo>
                    <a:lnTo>
                      <a:pt x="1650" y="726"/>
                    </a:lnTo>
                    <a:lnTo>
                      <a:pt x="1648" y="728"/>
                    </a:lnTo>
                    <a:lnTo>
                      <a:pt x="1646" y="728"/>
                    </a:lnTo>
                    <a:lnTo>
                      <a:pt x="1644" y="730"/>
                    </a:lnTo>
                    <a:lnTo>
                      <a:pt x="1642" y="732"/>
                    </a:lnTo>
                    <a:lnTo>
                      <a:pt x="1642" y="732"/>
                    </a:lnTo>
                    <a:lnTo>
                      <a:pt x="1642" y="732"/>
                    </a:lnTo>
                    <a:lnTo>
                      <a:pt x="1640" y="730"/>
                    </a:lnTo>
                    <a:lnTo>
                      <a:pt x="1638" y="730"/>
                    </a:lnTo>
                    <a:lnTo>
                      <a:pt x="1636" y="728"/>
                    </a:lnTo>
                    <a:lnTo>
                      <a:pt x="1634" y="728"/>
                    </a:lnTo>
                    <a:lnTo>
                      <a:pt x="1634" y="728"/>
                    </a:lnTo>
                    <a:lnTo>
                      <a:pt x="1634" y="728"/>
                    </a:lnTo>
                    <a:lnTo>
                      <a:pt x="1632" y="728"/>
                    </a:lnTo>
                    <a:lnTo>
                      <a:pt x="1632" y="728"/>
                    </a:lnTo>
                    <a:lnTo>
                      <a:pt x="1630" y="728"/>
                    </a:lnTo>
                    <a:lnTo>
                      <a:pt x="1630" y="730"/>
                    </a:lnTo>
                    <a:lnTo>
                      <a:pt x="1630" y="730"/>
                    </a:lnTo>
                    <a:lnTo>
                      <a:pt x="1628" y="730"/>
                    </a:lnTo>
                    <a:lnTo>
                      <a:pt x="1628" y="732"/>
                    </a:lnTo>
                    <a:lnTo>
                      <a:pt x="1628" y="732"/>
                    </a:lnTo>
                    <a:lnTo>
                      <a:pt x="1628" y="732"/>
                    </a:lnTo>
                    <a:lnTo>
                      <a:pt x="1628" y="734"/>
                    </a:lnTo>
                    <a:lnTo>
                      <a:pt x="1628" y="738"/>
                    </a:lnTo>
                    <a:lnTo>
                      <a:pt x="1628" y="740"/>
                    </a:lnTo>
                    <a:lnTo>
                      <a:pt x="1628" y="746"/>
                    </a:lnTo>
                    <a:lnTo>
                      <a:pt x="1628" y="748"/>
                    </a:lnTo>
                    <a:lnTo>
                      <a:pt x="1628" y="750"/>
                    </a:lnTo>
                    <a:lnTo>
                      <a:pt x="1626" y="752"/>
                    </a:lnTo>
                    <a:lnTo>
                      <a:pt x="1626" y="752"/>
                    </a:lnTo>
                    <a:lnTo>
                      <a:pt x="1622" y="756"/>
                    </a:lnTo>
                    <a:lnTo>
                      <a:pt x="1618" y="758"/>
                    </a:lnTo>
                    <a:lnTo>
                      <a:pt x="1616" y="760"/>
                    </a:lnTo>
                    <a:lnTo>
                      <a:pt x="1614" y="762"/>
                    </a:lnTo>
                    <a:lnTo>
                      <a:pt x="1614" y="762"/>
                    </a:lnTo>
                    <a:lnTo>
                      <a:pt x="1614" y="762"/>
                    </a:lnTo>
                    <a:lnTo>
                      <a:pt x="1612" y="766"/>
                    </a:lnTo>
                    <a:lnTo>
                      <a:pt x="1608" y="772"/>
                    </a:lnTo>
                    <a:lnTo>
                      <a:pt x="1606" y="776"/>
                    </a:lnTo>
                    <a:lnTo>
                      <a:pt x="1606" y="776"/>
                    </a:lnTo>
                    <a:lnTo>
                      <a:pt x="1604" y="778"/>
                    </a:lnTo>
                    <a:lnTo>
                      <a:pt x="1602" y="778"/>
                    </a:lnTo>
                    <a:lnTo>
                      <a:pt x="1600" y="780"/>
                    </a:lnTo>
                    <a:lnTo>
                      <a:pt x="1596" y="780"/>
                    </a:lnTo>
                    <a:lnTo>
                      <a:pt x="1592" y="780"/>
                    </a:lnTo>
                    <a:lnTo>
                      <a:pt x="1584" y="780"/>
                    </a:lnTo>
                    <a:lnTo>
                      <a:pt x="1580" y="780"/>
                    </a:lnTo>
                    <a:lnTo>
                      <a:pt x="1578" y="780"/>
                    </a:lnTo>
                    <a:lnTo>
                      <a:pt x="1570" y="778"/>
                    </a:lnTo>
                    <a:lnTo>
                      <a:pt x="1564" y="778"/>
                    </a:lnTo>
                    <a:lnTo>
                      <a:pt x="1558" y="778"/>
                    </a:lnTo>
                    <a:lnTo>
                      <a:pt x="1554" y="778"/>
                    </a:lnTo>
                    <a:lnTo>
                      <a:pt x="1550" y="778"/>
                    </a:lnTo>
                    <a:lnTo>
                      <a:pt x="1548" y="778"/>
                    </a:lnTo>
                    <a:lnTo>
                      <a:pt x="1546" y="778"/>
                    </a:lnTo>
                    <a:lnTo>
                      <a:pt x="1542" y="780"/>
                    </a:lnTo>
                    <a:lnTo>
                      <a:pt x="1542" y="780"/>
                    </a:lnTo>
                    <a:lnTo>
                      <a:pt x="1542" y="780"/>
                    </a:lnTo>
                    <a:lnTo>
                      <a:pt x="1538" y="782"/>
                    </a:lnTo>
                    <a:lnTo>
                      <a:pt x="1538" y="784"/>
                    </a:lnTo>
                    <a:lnTo>
                      <a:pt x="1536" y="786"/>
                    </a:lnTo>
                    <a:lnTo>
                      <a:pt x="1534" y="786"/>
                    </a:lnTo>
                    <a:lnTo>
                      <a:pt x="1534" y="788"/>
                    </a:lnTo>
                    <a:lnTo>
                      <a:pt x="1534" y="788"/>
                    </a:lnTo>
                    <a:lnTo>
                      <a:pt x="1532" y="788"/>
                    </a:lnTo>
                    <a:lnTo>
                      <a:pt x="1532" y="792"/>
                    </a:lnTo>
                    <a:lnTo>
                      <a:pt x="1530" y="794"/>
                    </a:lnTo>
                    <a:lnTo>
                      <a:pt x="1528" y="798"/>
                    </a:lnTo>
                    <a:lnTo>
                      <a:pt x="1526" y="802"/>
                    </a:lnTo>
                    <a:lnTo>
                      <a:pt x="1526" y="804"/>
                    </a:lnTo>
                    <a:lnTo>
                      <a:pt x="1524" y="808"/>
                    </a:lnTo>
                    <a:lnTo>
                      <a:pt x="1522" y="808"/>
                    </a:lnTo>
                    <a:lnTo>
                      <a:pt x="1518" y="810"/>
                    </a:lnTo>
                    <a:lnTo>
                      <a:pt x="1516" y="812"/>
                    </a:lnTo>
                    <a:lnTo>
                      <a:pt x="1508" y="812"/>
                    </a:lnTo>
                    <a:lnTo>
                      <a:pt x="1506" y="812"/>
                    </a:lnTo>
                    <a:lnTo>
                      <a:pt x="1502" y="814"/>
                    </a:lnTo>
                    <a:lnTo>
                      <a:pt x="1498" y="814"/>
                    </a:lnTo>
                    <a:lnTo>
                      <a:pt x="1496" y="814"/>
                    </a:lnTo>
                    <a:lnTo>
                      <a:pt x="1496" y="814"/>
                    </a:lnTo>
                    <a:lnTo>
                      <a:pt x="1496" y="814"/>
                    </a:lnTo>
                    <a:lnTo>
                      <a:pt x="1494" y="816"/>
                    </a:lnTo>
                    <a:lnTo>
                      <a:pt x="1492" y="816"/>
                    </a:lnTo>
                    <a:lnTo>
                      <a:pt x="1492" y="816"/>
                    </a:lnTo>
                    <a:lnTo>
                      <a:pt x="1490" y="816"/>
                    </a:lnTo>
                    <a:lnTo>
                      <a:pt x="1488" y="818"/>
                    </a:lnTo>
                    <a:lnTo>
                      <a:pt x="1488" y="820"/>
                    </a:lnTo>
                    <a:lnTo>
                      <a:pt x="1486" y="820"/>
                    </a:lnTo>
                    <a:lnTo>
                      <a:pt x="1484" y="822"/>
                    </a:lnTo>
                    <a:lnTo>
                      <a:pt x="1482" y="824"/>
                    </a:lnTo>
                    <a:lnTo>
                      <a:pt x="1480" y="826"/>
                    </a:lnTo>
                    <a:lnTo>
                      <a:pt x="1476" y="828"/>
                    </a:lnTo>
                    <a:lnTo>
                      <a:pt x="1468" y="836"/>
                    </a:lnTo>
                    <a:lnTo>
                      <a:pt x="1464" y="838"/>
                    </a:lnTo>
                    <a:lnTo>
                      <a:pt x="1460" y="842"/>
                    </a:lnTo>
                    <a:lnTo>
                      <a:pt x="1456" y="844"/>
                    </a:lnTo>
                    <a:lnTo>
                      <a:pt x="1452" y="846"/>
                    </a:lnTo>
                    <a:lnTo>
                      <a:pt x="1450" y="846"/>
                    </a:lnTo>
                    <a:lnTo>
                      <a:pt x="1444" y="848"/>
                    </a:lnTo>
                    <a:lnTo>
                      <a:pt x="1440" y="848"/>
                    </a:lnTo>
                    <a:lnTo>
                      <a:pt x="1436" y="848"/>
                    </a:lnTo>
                    <a:lnTo>
                      <a:pt x="1432" y="848"/>
                    </a:lnTo>
                    <a:lnTo>
                      <a:pt x="1428" y="848"/>
                    </a:lnTo>
                    <a:lnTo>
                      <a:pt x="1426" y="848"/>
                    </a:lnTo>
                    <a:lnTo>
                      <a:pt x="1426" y="846"/>
                    </a:lnTo>
                    <a:lnTo>
                      <a:pt x="1426" y="846"/>
                    </a:lnTo>
                    <a:lnTo>
                      <a:pt x="1426" y="846"/>
                    </a:lnTo>
                    <a:lnTo>
                      <a:pt x="1426" y="844"/>
                    </a:lnTo>
                    <a:lnTo>
                      <a:pt x="1426" y="844"/>
                    </a:lnTo>
                    <a:lnTo>
                      <a:pt x="1428" y="840"/>
                    </a:lnTo>
                    <a:lnTo>
                      <a:pt x="1430" y="836"/>
                    </a:lnTo>
                    <a:lnTo>
                      <a:pt x="1434" y="830"/>
                    </a:lnTo>
                    <a:lnTo>
                      <a:pt x="1436" y="826"/>
                    </a:lnTo>
                    <a:lnTo>
                      <a:pt x="1438" y="822"/>
                    </a:lnTo>
                    <a:lnTo>
                      <a:pt x="1440" y="818"/>
                    </a:lnTo>
                    <a:lnTo>
                      <a:pt x="1440" y="818"/>
                    </a:lnTo>
                    <a:lnTo>
                      <a:pt x="1440" y="818"/>
                    </a:lnTo>
                    <a:lnTo>
                      <a:pt x="1442" y="812"/>
                    </a:lnTo>
                    <a:lnTo>
                      <a:pt x="1442" y="812"/>
                    </a:lnTo>
                    <a:lnTo>
                      <a:pt x="1442" y="806"/>
                    </a:lnTo>
                    <a:lnTo>
                      <a:pt x="1442" y="806"/>
                    </a:lnTo>
                    <a:lnTo>
                      <a:pt x="1442" y="806"/>
                    </a:lnTo>
                    <a:lnTo>
                      <a:pt x="1440" y="802"/>
                    </a:lnTo>
                    <a:lnTo>
                      <a:pt x="1440" y="802"/>
                    </a:lnTo>
                    <a:lnTo>
                      <a:pt x="1440" y="802"/>
                    </a:lnTo>
                    <a:lnTo>
                      <a:pt x="1440" y="800"/>
                    </a:lnTo>
                    <a:lnTo>
                      <a:pt x="1440" y="800"/>
                    </a:lnTo>
                    <a:lnTo>
                      <a:pt x="1440" y="800"/>
                    </a:lnTo>
                    <a:lnTo>
                      <a:pt x="1438" y="798"/>
                    </a:lnTo>
                    <a:lnTo>
                      <a:pt x="1438" y="798"/>
                    </a:lnTo>
                    <a:lnTo>
                      <a:pt x="1438" y="798"/>
                    </a:lnTo>
                    <a:lnTo>
                      <a:pt x="1436" y="796"/>
                    </a:lnTo>
                    <a:lnTo>
                      <a:pt x="1436" y="796"/>
                    </a:lnTo>
                    <a:lnTo>
                      <a:pt x="1436" y="796"/>
                    </a:lnTo>
                    <a:lnTo>
                      <a:pt x="1434" y="796"/>
                    </a:lnTo>
                    <a:lnTo>
                      <a:pt x="1434" y="796"/>
                    </a:lnTo>
                    <a:lnTo>
                      <a:pt x="1434" y="796"/>
                    </a:lnTo>
                    <a:lnTo>
                      <a:pt x="1432" y="796"/>
                    </a:lnTo>
                    <a:lnTo>
                      <a:pt x="1432" y="796"/>
                    </a:lnTo>
                    <a:lnTo>
                      <a:pt x="1432" y="798"/>
                    </a:lnTo>
                    <a:lnTo>
                      <a:pt x="1428" y="798"/>
                    </a:lnTo>
                    <a:lnTo>
                      <a:pt x="1424" y="802"/>
                    </a:lnTo>
                    <a:lnTo>
                      <a:pt x="1422" y="804"/>
                    </a:lnTo>
                    <a:lnTo>
                      <a:pt x="1418" y="806"/>
                    </a:lnTo>
                    <a:lnTo>
                      <a:pt x="1416" y="808"/>
                    </a:lnTo>
                    <a:lnTo>
                      <a:pt x="1418" y="804"/>
                    </a:lnTo>
                    <a:lnTo>
                      <a:pt x="1420" y="800"/>
                    </a:lnTo>
                    <a:lnTo>
                      <a:pt x="1422" y="796"/>
                    </a:lnTo>
                    <a:lnTo>
                      <a:pt x="1424" y="792"/>
                    </a:lnTo>
                    <a:lnTo>
                      <a:pt x="1424" y="786"/>
                    </a:lnTo>
                    <a:lnTo>
                      <a:pt x="1426" y="782"/>
                    </a:lnTo>
                    <a:lnTo>
                      <a:pt x="1426" y="782"/>
                    </a:lnTo>
                    <a:lnTo>
                      <a:pt x="1426" y="782"/>
                    </a:lnTo>
                    <a:lnTo>
                      <a:pt x="1426" y="780"/>
                    </a:lnTo>
                    <a:lnTo>
                      <a:pt x="1426" y="776"/>
                    </a:lnTo>
                    <a:lnTo>
                      <a:pt x="1426" y="776"/>
                    </a:lnTo>
                    <a:lnTo>
                      <a:pt x="1426" y="776"/>
                    </a:lnTo>
                    <a:lnTo>
                      <a:pt x="1424" y="770"/>
                    </a:lnTo>
                    <a:lnTo>
                      <a:pt x="1424" y="770"/>
                    </a:lnTo>
                    <a:lnTo>
                      <a:pt x="1424" y="770"/>
                    </a:lnTo>
                    <a:lnTo>
                      <a:pt x="1422" y="766"/>
                    </a:lnTo>
                    <a:lnTo>
                      <a:pt x="1422" y="766"/>
                    </a:lnTo>
                    <a:lnTo>
                      <a:pt x="1422" y="766"/>
                    </a:lnTo>
                    <a:lnTo>
                      <a:pt x="1420" y="764"/>
                    </a:lnTo>
                    <a:lnTo>
                      <a:pt x="1420" y="764"/>
                    </a:lnTo>
                    <a:lnTo>
                      <a:pt x="1420" y="764"/>
                    </a:lnTo>
                    <a:lnTo>
                      <a:pt x="1418" y="762"/>
                    </a:lnTo>
                    <a:lnTo>
                      <a:pt x="1418" y="762"/>
                    </a:lnTo>
                    <a:lnTo>
                      <a:pt x="1418" y="762"/>
                    </a:lnTo>
                    <a:lnTo>
                      <a:pt x="1416" y="760"/>
                    </a:lnTo>
                    <a:lnTo>
                      <a:pt x="1416" y="760"/>
                    </a:lnTo>
                    <a:lnTo>
                      <a:pt x="1416" y="760"/>
                    </a:lnTo>
                    <a:lnTo>
                      <a:pt x="1414" y="760"/>
                    </a:lnTo>
                    <a:lnTo>
                      <a:pt x="1414" y="760"/>
                    </a:lnTo>
                    <a:lnTo>
                      <a:pt x="1414" y="760"/>
                    </a:lnTo>
                    <a:lnTo>
                      <a:pt x="1410" y="758"/>
                    </a:lnTo>
                    <a:lnTo>
                      <a:pt x="1410" y="758"/>
                    </a:lnTo>
                    <a:lnTo>
                      <a:pt x="1408" y="758"/>
                    </a:lnTo>
                    <a:lnTo>
                      <a:pt x="1404" y="758"/>
                    </a:lnTo>
                    <a:lnTo>
                      <a:pt x="1404" y="758"/>
                    </a:lnTo>
                    <a:lnTo>
                      <a:pt x="1404" y="758"/>
                    </a:lnTo>
                    <a:lnTo>
                      <a:pt x="1400" y="758"/>
                    </a:lnTo>
                    <a:lnTo>
                      <a:pt x="1400" y="758"/>
                    </a:lnTo>
                    <a:lnTo>
                      <a:pt x="1400" y="758"/>
                    </a:lnTo>
                    <a:lnTo>
                      <a:pt x="1398" y="758"/>
                    </a:lnTo>
                    <a:lnTo>
                      <a:pt x="1398" y="758"/>
                    </a:lnTo>
                    <a:lnTo>
                      <a:pt x="1398" y="758"/>
                    </a:lnTo>
                    <a:lnTo>
                      <a:pt x="1394" y="760"/>
                    </a:lnTo>
                    <a:lnTo>
                      <a:pt x="1394" y="760"/>
                    </a:lnTo>
                    <a:lnTo>
                      <a:pt x="1394" y="762"/>
                    </a:lnTo>
                    <a:lnTo>
                      <a:pt x="1390" y="764"/>
                    </a:lnTo>
                    <a:lnTo>
                      <a:pt x="1390" y="764"/>
                    </a:lnTo>
                    <a:lnTo>
                      <a:pt x="1390" y="764"/>
                    </a:lnTo>
                    <a:lnTo>
                      <a:pt x="1388" y="768"/>
                    </a:lnTo>
                    <a:lnTo>
                      <a:pt x="1384" y="772"/>
                    </a:lnTo>
                    <a:lnTo>
                      <a:pt x="1382" y="776"/>
                    </a:lnTo>
                    <a:lnTo>
                      <a:pt x="1382" y="780"/>
                    </a:lnTo>
                    <a:lnTo>
                      <a:pt x="1378" y="786"/>
                    </a:lnTo>
                    <a:lnTo>
                      <a:pt x="1376" y="794"/>
                    </a:lnTo>
                    <a:lnTo>
                      <a:pt x="1374" y="798"/>
                    </a:lnTo>
                    <a:lnTo>
                      <a:pt x="1374" y="802"/>
                    </a:lnTo>
                    <a:lnTo>
                      <a:pt x="1374" y="808"/>
                    </a:lnTo>
                    <a:lnTo>
                      <a:pt x="1374" y="812"/>
                    </a:lnTo>
                    <a:lnTo>
                      <a:pt x="1376" y="820"/>
                    </a:lnTo>
                    <a:lnTo>
                      <a:pt x="1376" y="826"/>
                    </a:lnTo>
                    <a:lnTo>
                      <a:pt x="1378" y="828"/>
                    </a:lnTo>
                    <a:lnTo>
                      <a:pt x="1376" y="832"/>
                    </a:lnTo>
                    <a:lnTo>
                      <a:pt x="1376" y="834"/>
                    </a:lnTo>
                    <a:lnTo>
                      <a:pt x="1376" y="836"/>
                    </a:lnTo>
                    <a:lnTo>
                      <a:pt x="1374" y="838"/>
                    </a:lnTo>
                    <a:lnTo>
                      <a:pt x="1372" y="838"/>
                    </a:lnTo>
                    <a:lnTo>
                      <a:pt x="1370" y="840"/>
                    </a:lnTo>
                    <a:lnTo>
                      <a:pt x="1366" y="840"/>
                    </a:lnTo>
                    <a:lnTo>
                      <a:pt x="1366" y="842"/>
                    </a:lnTo>
                    <a:lnTo>
                      <a:pt x="1364" y="840"/>
                    </a:lnTo>
                    <a:lnTo>
                      <a:pt x="1364" y="840"/>
                    </a:lnTo>
                    <a:lnTo>
                      <a:pt x="1362" y="838"/>
                    </a:lnTo>
                    <a:lnTo>
                      <a:pt x="1362" y="836"/>
                    </a:lnTo>
                    <a:lnTo>
                      <a:pt x="1360" y="832"/>
                    </a:lnTo>
                    <a:lnTo>
                      <a:pt x="1360" y="828"/>
                    </a:lnTo>
                    <a:lnTo>
                      <a:pt x="1358" y="822"/>
                    </a:lnTo>
                    <a:lnTo>
                      <a:pt x="1358" y="816"/>
                    </a:lnTo>
                    <a:lnTo>
                      <a:pt x="1358" y="812"/>
                    </a:lnTo>
                    <a:lnTo>
                      <a:pt x="1358" y="808"/>
                    </a:lnTo>
                    <a:lnTo>
                      <a:pt x="1358" y="798"/>
                    </a:lnTo>
                    <a:lnTo>
                      <a:pt x="1360" y="790"/>
                    </a:lnTo>
                    <a:lnTo>
                      <a:pt x="1360" y="790"/>
                    </a:lnTo>
                    <a:lnTo>
                      <a:pt x="1362" y="782"/>
                    </a:lnTo>
                    <a:lnTo>
                      <a:pt x="1364" y="780"/>
                    </a:lnTo>
                    <a:lnTo>
                      <a:pt x="1366" y="776"/>
                    </a:lnTo>
                    <a:lnTo>
                      <a:pt x="1368" y="774"/>
                    </a:lnTo>
                    <a:lnTo>
                      <a:pt x="1372" y="770"/>
                    </a:lnTo>
                    <a:lnTo>
                      <a:pt x="1376" y="768"/>
                    </a:lnTo>
                    <a:lnTo>
                      <a:pt x="1380" y="766"/>
                    </a:lnTo>
                    <a:lnTo>
                      <a:pt x="1384" y="764"/>
                    </a:lnTo>
                    <a:lnTo>
                      <a:pt x="1388" y="762"/>
                    </a:lnTo>
                    <a:lnTo>
                      <a:pt x="1392" y="760"/>
                    </a:lnTo>
                    <a:lnTo>
                      <a:pt x="1392" y="760"/>
                    </a:lnTo>
                    <a:lnTo>
                      <a:pt x="1392" y="758"/>
                    </a:lnTo>
                    <a:lnTo>
                      <a:pt x="1394" y="756"/>
                    </a:lnTo>
                    <a:lnTo>
                      <a:pt x="1394" y="756"/>
                    </a:lnTo>
                    <a:lnTo>
                      <a:pt x="1396" y="756"/>
                    </a:lnTo>
                    <a:lnTo>
                      <a:pt x="1398" y="754"/>
                    </a:lnTo>
                    <a:lnTo>
                      <a:pt x="1398" y="752"/>
                    </a:lnTo>
                    <a:lnTo>
                      <a:pt x="1398" y="752"/>
                    </a:lnTo>
                    <a:lnTo>
                      <a:pt x="1398" y="750"/>
                    </a:lnTo>
                    <a:lnTo>
                      <a:pt x="1400" y="748"/>
                    </a:lnTo>
                    <a:lnTo>
                      <a:pt x="1400" y="748"/>
                    </a:lnTo>
                    <a:lnTo>
                      <a:pt x="1400" y="748"/>
                    </a:lnTo>
                    <a:lnTo>
                      <a:pt x="1400" y="746"/>
                    </a:lnTo>
                    <a:lnTo>
                      <a:pt x="1400" y="746"/>
                    </a:lnTo>
                    <a:lnTo>
                      <a:pt x="1400" y="744"/>
                    </a:lnTo>
                    <a:lnTo>
                      <a:pt x="1400" y="742"/>
                    </a:lnTo>
                    <a:lnTo>
                      <a:pt x="1400" y="742"/>
                    </a:lnTo>
                    <a:lnTo>
                      <a:pt x="1400" y="742"/>
                    </a:lnTo>
                    <a:lnTo>
                      <a:pt x="1400" y="740"/>
                    </a:lnTo>
                    <a:lnTo>
                      <a:pt x="1400" y="740"/>
                    </a:lnTo>
                    <a:lnTo>
                      <a:pt x="1400" y="738"/>
                    </a:lnTo>
                    <a:lnTo>
                      <a:pt x="1398" y="736"/>
                    </a:lnTo>
                    <a:lnTo>
                      <a:pt x="1398" y="736"/>
                    </a:lnTo>
                    <a:lnTo>
                      <a:pt x="1398" y="736"/>
                    </a:lnTo>
                    <a:lnTo>
                      <a:pt x="1396" y="736"/>
                    </a:lnTo>
                    <a:lnTo>
                      <a:pt x="1396" y="736"/>
                    </a:lnTo>
                    <a:lnTo>
                      <a:pt x="1394" y="734"/>
                    </a:lnTo>
                    <a:lnTo>
                      <a:pt x="1392" y="734"/>
                    </a:lnTo>
                    <a:lnTo>
                      <a:pt x="1386" y="732"/>
                    </a:lnTo>
                    <a:lnTo>
                      <a:pt x="1382" y="732"/>
                    </a:lnTo>
                    <a:lnTo>
                      <a:pt x="1376" y="732"/>
                    </a:lnTo>
                    <a:lnTo>
                      <a:pt x="1368" y="732"/>
                    </a:lnTo>
                    <a:lnTo>
                      <a:pt x="1362" y="732"/>
                    </a:lnTo>
                    <a:lnTo>
                      <a:pt x="1356" y="732"/>
                    </a:lnTo>
                    <a:lnTo>
                      <a:pt x="1348" y="732"/>
                    </a:lnTo>
                    <a:lnTo>
                      <a:pt x="1342" y="732"/>
                    </a:lnTo>
                    <a:lnTo>
                      <a:pt x="1334" y="732"/>
                    </a:lnTo>
                    <a:lnTo>
                      <a:pt x="1326" y="734"/>
                    </a:lnTo>
                    <a:lnTo>
                      <a:pt x="1320" y="736"/>
                    </a:lnTo>
                    <a:lnTo>
                      <a:pt x="1312" y="736"/>
                    </a:lnTo>
                    <a:lnTo>
                      <a:pt x="1308" y="736"/>
                    </a:lnTo>
                    <a:lnTo>
                      <a:pt x="1306" y="736"/>
                    </a:lnTo>
                    <a:lnTo>
                      <a:pt x="1304" y="736"/>
                    </a:lnTo>
                    <a:lnTo>
                      <a:pt x="1302" y="736"/>
                    </a:lnTo>
                    <a:lnTo>
                      <a:pt x="1304" y="736"/>
                    </a:lnTo>
                    <a:lnTo>
                      <a:pt x="1306" y="734"/>
                    </a:lnTo>
                    <a:lnTo>
                      <a:pt x="1308" y="732"/>
                    </a:lnTo>
                    <a:lnTo>
                      <a:pt x="1314" y="728"/>
                    </a:lnTo>
                    <a:lnTo>
                      <a:pt x="1318" y="724"/>
                    </a:lnTo>
                    <a:lnTo>
                      <a:pt x="1324" y="722"/>
                    </a:lnTo>
                    <a:lnTo>
                      <a:pt x="1326" y="720"/>
                    </a:lnTo>
                    <a:lnTo>
                      <a:pt x="1328" y="718"/>
                    </a:lnTo>
                    <a:lnTo>
                      <a:pt x="1328" y="716"/>
                    </a:lnTo>
                    <a:lnTo>
                      <a:pt x="1328" y="716"/>
                    </a:lnTo>
                    <a:lnTo>
                      <a:pt x="1330" y="716"/>
                    </a:lnTo>
                    <a:lnTo>
                      <a:pt x="1330" y="714"/>
                    </a:lnTo>
                    <a:lnTo>
                      <a:pt x="1330" y="714"/>
                    </a:lnTo>
                    <a:lnTo>
                      <a:pt x="1330" y="712"/>
                    </a:lnTo>
                    <a:lnTo>
                      <a:pt x="1330" y="710"/>
                    </a:lnTo>
                    <a:lnTo>
                      <a:pt x="1330" y="710"/>
                    </a:lnTo>
                    <a:lnTo>
                      <a:pt x="1328" y="710"/>
                    </a:lnTo>
                    <a:lnTo>
                      <a:pt x="1326" y="708"/>
                    </a:lnTo>
                    <a:lnTo>
                      <a:pt x="1326" y="708"/>
                    </a:lnTo>
                    <a:lnTo>
                      <a:pt x="1326" y="708"/>
                    </a:lnTo>
                    <a:lnTo>
                      <a:pt x="1322" y="706"/>
                    </a:lnTo>
                    <a:lnTo>
                      <a:pt x="1318" y="706"/>
                    </a:lnTo>
                    <a:lnTo>
                      <a:pt x="1314" y="706"/>
                    </a:lnTo>
                    <a:lnTo>
                      <a:pt x="1310" y="706"/>
                    </a:lnTo>
                    <a:lnTo>
                      <a:pt x="1306" y="704"/>
                    </a:lnTo>
                    <a:lnTo>
                      <a:pt x="1302" y="704"/>
                    </a:lnTo>
                    <a:lnTo>
                      <a:pt x="1296" y="704"/>
                    </a:lnTo>
                    <a:lnTo>
                      <a:pt x="1292" y="704"/>
                    </a:lnTo>
                    <a:lnTo>
                      <a:pt x="1282" y="704"/>
                    </a:lnTo>
                    <a:lnTo>
                      <a:pt x="1272" y="704"/>
                    </a:lnTo>
                    <a:lnTo>
                      <a:pt x="1260" y="704"/>
                    </a:lnTo>
                    <a:lnTo>
                      <a:pt x="1258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4" y="704"/>
                    </a:lnTo>
                    <a:lnTo>
                      <a:pt x="1254" y="704"/>
                    </a:lnTo>
                    <a:lnTo>
                      <a:pt x="1252" y="704"/>
                    </a:lnTo>
                    <a:lnTo>
                      <a:pt x="1250" y="704"/>
                    </a:lnTo>
                    <a:lnTo>
                      <a:pt x="1248" y="702"/>
                    </a:lnTo>
                    <a:lnTo>
                      <a:pt x="1244" y="702"/>
                    </a:lnTo>
                    <a:lnTo>
                      <a:pt x="1238" y="702"/>
                    </a:lnTo>
                    <a:lnTo>
                      <a:pt x="1232" y="702"/>
                    </a:lnTo>
                    <a:lnTo>
                      <a:pt x="1210" y="702"/>
                    </a:lnTo>
                    <a:lnTo>
                      <a:pt x="1206" y="702"/>
                    </a:lnTo>
                    <a:lnTo>
                      <a:pt x="1192" y="702"/>
                    </a:lnTo>
                    <a:lnTo>
                      <a:pt x="1180" y="702"/>
                    </a:lnTo>
                    <a:lnTo>
                      <a:pt x="1164" y="702"/>
                    </a:lnTo>
                    <a:lnTo>
                      <a:pt x="1148" y="702"/>
                    </a:lnTo>
                    <a:lnTo>
                      <a:pt x="1132" y="702"/>
                    </a:lnTo>
                    <a:lnTo>
                      <a:pt x="1116" y="702"/>
                    </a:lnTo>
                    <a:lnTo>
                      <a:pt x="1100" y="702"/>
                    </a:lnTo>
                    <a:lnTo>
                      <a:pt x="1084" y="702"/>
                    </a:lnTo>
                    <a:lnTo>
                      <a:pt x="1068" y="702"/>
                    </a:lnTo>
                    <a:lnTo>
                      <a:pt x="1052" y="702"/>
                    </a:lnTo>
                    <a:lnTo>
                      <a:pt x="1038" y="702"/>
                    </a:lnTo>
                    <a:lnTo>
                      <a:pt x="1026" y="702"/>
                    </a:lnTo>
                    <a:lnTo>
                      <a:pt x="1020" y="702"/>
                    </a:lnTo>
                    <a:lnTo>
                      <a:pt x="932" y="702"/>
                    </a:lnTo>
                    <a:lnTo>
                      <a:pt x="916" y="702"/>
                    </a:lnTo>
                    <a:lnTo>
                      <a:pt x="910" y="702"/>
                    </a:lnTo>
                    <a:lnTo>
                      <a:pt x="902" y="702"/>
                    </a:lnTo>
                    <a:lnTo>
                      <a:pt x="896" y="704"/>
                    </a:lnTo>
                    <a:lnTo>
                      <a:pt x="890" y="704"/>
                    </a:lnTo>
                    <a:lnTo>
                      <a:pt x="886" y="704"/>
                    </a:lnTo>
                    <a:lnTo>
                      <a:pt x="880" y="704"/>
                    </a:lnTo>
                    <a:lnTo>
                      <a:pt x="876" y="704"/>
                    </a:lnTo>
                    <a:lnTo>
                      <a:pt x="872" y="704"/>
                    </a:lnTo>
                    <a:lnTo>
                      <a:pt x="870" y="704"/>
                    </a:lnTo>
                    <a:lnTo>
                      <a:pt x="868" y="704"/>
                    </a:lnTo>
                    <a:lnTo>
                      <a:pt x="866" y="702"/>
                    </a:lnTo>
                    <a:lnTo>
                      <a:pt x="866" y="702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2" y="704"/>
                    </a:lnTo>
                    <a:lnTo>
                      <a:pt x="860" y="704"/>
                    </a:lnTo>
                    <a:lnTo>
                      <a:pt x="860" y="704"/>
                    </a:lnTo>
                    <a:lnTo>
                      <a:pt x="860" y="704"/>
                    </a:lnTo>
                    <a:lnTo>
                      <a:pt x="858" y="706"/>
                    </a:lnTo>
                    <a:lnTo>
                      <a:pt x="858" y="706"/>
                    </a:lnTo>
                    <a:lnTo>
                      <a:pt x="858" y="708"/>
                    </a:lnTo>
                    <a:lnTo>
                      <a:pt x="858" y="710"/>
                    </a:lnTo>
                    <a:lnTo>
                      <a:pt x="858" y="710"/>
                    </a:lnTo>
                    <a:lnTo>
                      <a:pt x="860" y="710"/>
                    </a:lnTo>
                    <a:lnTo>
                      <a:pt x="860" y="714"/>
                    </a:lnTo>
                    <a:lnTo>
                      <a:pt x="862" y="718"/>
                    </a:lnTo>
                    <a:lnTo>
                      <a:pt x="864" y="722"/>
                    </a:lnTo>
                    <a:lnTo>
                      <a:pt x="866" y="728"/>
                    </a:lnTo>
                    <a:lnTo>
                      <a:pt x="868" y="732"/>
                    </a:lnTo>
                    <a:lnTo>
                      <a:pt x="868" y="734"/>
                    </a:lnTo>
                    <a:lnTo>
                      <a:pt x="868" y="736"/>
                    </a:lnTo>
                    <a:lnTo>
                      <a:pt x="868" y="738"/>
                    </a:lnTo>
                    <a:lnTo>
                      <a:pt x="868" y="738"/>
                    </a:lnTo>
                    <a:lnTo>
                      <a:pt x="866" y="740"/>
                    </a:lnTo>
                    <a:lnTo>
                      <a:pt x="866" y="740"/>
                    </a:lnTo>
                    <a:lnTo>
                      <a:pt x="862" y="742"/>
                    </a:lnTo>
                    <a:lnTo>
                      <a:pt x="856" y="742"/>
                    </a:lnTo>
                    <a:lnTo>
                      <a:pt x="854" y="742"/>
                    </a:lnTo>
                    <a:lnTo>
                      <a:pt x="850" y="740"/>
                    </a:lnTo>
                    <a:lnTo>
                      <a:pt x="844" y="740"/>
                    </a:lnTo>
                    <a:lnTo>
                      <a:pt x="840" y="738"/>
                    </a:lnTo>
                    <a:lnTo>
                      <a:pt x="834" y="736"/>
                    </a:lnTo>
                    <a:lnTo>
                      <a:pt x="828" y="734"/>
                    </a:lnTo>
                    <a:lnTo>
                      <a:pt x="824" y="734"/>
                    </a:lnTo>
                    <a:lnTo>
                      <a:pt x="824" y="734"/>
                    </a:lnTo>
                    <a:lnTo>
                      <a:pt x="824" y="734"/>
                    </a:lnTo>
                    <a:lnTo>
                      <a:pt x="820" y="734"/>
                    </a:lnTo>
                    <a:lnTo>
                      <a:pt x="820" y="734"/>
                    </a:lnTo>
                    <a:lnTo>
                      <a:pt x="820" y="734"/>
                    </a:lnTo>
                    <a:lnTo>
                      <a:pt x="818" y="734"/>
                    </a:lnTo>
                    <a:lnTo>
                      <a:pt x="818" y="734"/>
                    </a:lnTo>
                    <a:lnTo>
                      <a:pt x="816" y="736"/>
                    </a:lnTo>
                    <a:lnTo>
                      <a:pt x="814" y="736"/>
                    </a:lnTo>
                    <a:lnTo>
                      <a:pt x="814" y="736"/>
                    </a:lnTo>
                    <a:lnTo>
                      <a:pt x="814" y="738"/>
                    </a:lnTo>
                    <a:lnTo>
                      <a:pt x="814" y="740"/>
                    </a:lnTo>
                    <a:lnTo>
                      <a:pt x="814" y="740"/>
                    </a:lnTo>
                    <a:lnTo>
                      <a:pt x="814" y="740"/>
                    </a:lnTo>
                    <a:lnTo>
                      <a:pt x="812" y="742"/>
                    </a:lnTo>
                    <a:lnTo>
                      <a:pt x="812" y="746"/>
                    </a:lnTo>
                    <a:lnTo>
                      <a:pt x="812" y="750"/>
                    </a:lnTo>
                    <a:lnTo>
                      <a:pt x="814" y="754"/>
                    </a:lnTo>
                    <a:lnTo>
                      <a:pt x="814" y="758"/>
                    </a:lnTo>
                    <a:lnTo>
                      <a:pt x="814" y="764"/>
                    </a:lnTo>
                    <a:lnTo>
                      <a:pt x="816" y="770"/>
                    </a:lnTo>
                    <a:lnTo>
                      <a:pt x="816" y="778"/>
                    </a:lnTo>
                    <a:lnTo>
                      <a:pt x="818" y="786"/>
                    </a:lnTo>
                    <a:lnTo>
                      <a:pt x="820" y="802"/>
                    </a:lnTo>
                    <a:lnTo>
                      <a:pt x="820" y="810"/>
                    </a:lnTo>
                    <a:lnTo>
                      <a:pt x="822" y="818"/>
                    </a:lnTo>
                    <a:lnTo>
                      <a:pt x="822" y="824"/>
                    </a:lnTo>
                    <a:lnTo>
                      <a:pt x="822" y="832"/>
                    </a:lnTo>
                    <a:lnTo>
                      <a:pt x="822" y="844"/>
                    </a:lnTo>
                    <a:lnTo>
                      <a:pt x="822" y="852"/>
                    </a:lnTo>
                    <a:lnTo>
                      <a:pt x="822" y="858"/>
                    </a:lnTo>
                    <a:lnTo>
                      <a:pt x="822" y="866"/>
                    </a:lnTo>
                    <a:lnTo>
                      <a:pt x="824" y="872"/>
                    </a:lnTo>
                    <a:lnTo>
                      <a:pt x="828" y="886"/>
                    </a:lnTo>
                    <a:lnTo>
                      <a:pt x="832" y="902"/>
                    </a:lnTo>
                    <a:lnTo>
                      <a:pt x="838" y="916"/>
                    </a:lnTo>
                    <a:lnTo>
                      <a:pt x="840" y="922"/>
                    </a:lnTo>
                    <a:lnTo>
                      <a:pt x="844" y="930"/>
                    </a:lnTo>
                    <a:lnTo>
                      <a:pt x="848" y="938"/>
                    </a:lnTo>
                    <a:lnTo>
                      <a:pt x="854" y="946"/>
                    </a:lnTo>
                    <a:lnTo>
                      <a:pt x="858" y="956"/>
                    </a:lnTo>
                    <a:lnTo>
                      <a:pt x="864" y="964"/>
                    </a:lnTo>
                    <a:lnTo>
                      <a:pt x="870" y="972"/>
                    </a:lnTo>
                    <a:lnTo>
                      <a:pt x="876" y="980"/>
                    </a:lnTo>
                    <a:lnTo>
                      <a:pt x="882" y="986"/>
                    </a:lnTo>
                    <a:lnTo>
                      <a:pt x="884" y="990"/>
                    </a:lnTo>
                    <a:lnTo>
                      <a:pt x="886" y="992"/>
                    </a:lnTo>
                    <a:lnTo>
                      <a:pt x="886" y="992"/>
                    </a:lnTo>
                    <a:lnTo>
                      <a:pt x="886" y="992"/>
                    </a:lnTo>
                    <a:lnTo>
                      <a:pt x="892" y="996"/>
                    </a:lnTo>
                    <a:lnTo>
                      <a:pt x="892" y="996"/>
                    </a:lnTo>
                    <a:lnTo>
                      <a:pt x="892" y="996"/>
                    </a:lnTo>
                    <a:lnTo>
                      <a:pt x="896" y="998"/>
                    </a:lnTo>
                    <a:lnTo>
                      <a:pt x="896" y="998"/>
                    </a:lnTo>
                    <a:lnTo>
                      <a:pt x="898" y="998"/>
                    </a:lnTo>
                    <a:lnTo>
                      <a:pt x="902" y="1000"/>
                    </a:lnTo>
                    <a:lnTo>
                      <a:pt x="906" y="1002"/>
                    </a:lnTo>
                    <a:lnTo>
                      <a:pt x="912" y="1002"/>
                    </a:lnTo>
                    <a:lnTo>
                      <a:pt x="916" y="1002"/>
                    </a:lnTo>
                    <a:lnTo>
                      <a:pt x="918" y="1002"/>
                    </a:lnTo>
                    <a:lnTo>
                      <a:pt x="922" y="1004"/>
                    </a:lnTo>
                    <a:lnTo>
                      <a:pt x="924" y="1004"/>
                    </a:lnTo>
                    <a:lnTo>
                      <a:pt x="926" y="1006"/>
                    </a:lnTo>
                    <a:lnTo>
                      <a:pt x="926" y="1008"/>
                    </a:lnTo>
                    <a:lnTo>
                      <a:pt x="928" y="1010"/>
                    </a:lnTo>
                    <a:lnTo>
                      <a:pt x="930" y="1010"/>
                    </a:lnTo>
                    <a:lnTo>
                      <a:pt x="930" y="1010"/>
                    </a:lnTo>
                    <a:lnTo>
                      <a:pt x="930" y="1012"/>
                    </a:lnTo>
                    <a:lnTo>
                      <a:pt x="932" y="1012"/>
                    </a:lnTo>
                    <a:lnTo>
                      <a:pt x="932" y="1012"/>
                    </a:lnTo>
                    <a:lnTo>
                      <a:pt x="932" y="1012"/>
                    </a:lnTo>
                    <a:lnTo>
                      <a:pt x="934" y="1014"/>
                    </a:lnTo>
                    <a:lnTo>
                      <a:pt x="934" y="1014"/>
                    </a:lnTo>
                    <a:lnTo>
                      <a:pt x="934" y="1014"/>
                    </a:lnTo>
                    <a:lnTo>
                      <a:pt x="936" y="1014"/>
                    </a:lnTo>
                    <a:lnTo>
                      <a:pt x="936" y="1014"/>
                    </a:lnTo>
                    <a:lnTo>
                      <a:pt x="938" y="1014"/>
                    </a:lnTo>
                    <a:lnTo>
                      <a:pt x="940" y="1014"/>
                    </a:lnTo>
                    <a:lnTo>
                      <a:pt x="940" y="1014"/>
                    </a:lnTo>
                    <a:lnTo>
                      <a:pt x="940" y="1014"/>
                    </a:lnTo>
                    <a:lnTo>
                      <a:pt x="942" y="1012"/>
                    </a:lnTo>
                    <a:lnTo>
                      <a:pt x="946" y="1010"/>
                    </a:lnTo>
                    <a:lnTo>
                      <a:pt x="948" y="1008"/>
                    </a:lnTo>
                    <a:lnTo>
                      <a:pt x="952" y="1006"/>
                    </a:lnTo>
                    <a:lnTo>
                      <a:pt x="954" y="1004"/>
                    </a:lnTo>
                    <a:lnTo>
                      <a:pt x="956" y="1004"/>
                    </a:lnTo>
                    <a:lnTo>
                      <a:pt x="956" y="1004"/>
                    </a:lnTo>
                    <a:lnTo>
                      <a:pt x="958" y="1004"/>
                    </a:lnTo>
                    <a:lnTo>
                      <a:pt x="958" y="1004"/>
                    </a:lnTo>
                    <a:lnTo>
                      <a:pt x="958" y="1006"/>
                    </a:lnTo>
                    <a:lnTo>
                      <a:pt x="960" y="1006"/>
                    </a:lnTo>
                    <a:lnTo>
                      <a:pt x="960" y="1008"/>
                    </a:lnTo>
                    <a:lnTo>
                      <a:pt x="962" y="1010"/>
                    </a:lnTo>
                    <a:lnTo>
                      <a:pt x="964" y="1012"/>
                    </a:lnTo>
                    <a:lnTo>
                      <a:pt x="964" y="1012"/>
                    </a:lnTo>
                    <a:lnTo>
                      <a:pt x="964" y="1014"/>
                    </a:lnTo>
                    <a:lnTo>
                      <a:pt x="966" y="1016"/>
                    </a:lnTo>
                    <a:lnTo>
                      <a:pt x="970" y="1018"/>
                    </a:lnTo>
                    <a:lnTo>
                      <a:pt x="974" y="1020"/>
                    </a:lnTo>
                    <a:lnTo>
                      <a:pt x="980" y="1022"/>
                    </a:lnTo>
                    <a:lnTo>
                      <a:pt x="984" y="1024"/>
                    </a:lnTo>
                    <a:lnTo>
                      <a:pt x="994" y="1028"/>
                    </a:lnTo>
                    <a:lnTo>
                      <a:pt x="998" y="1030"/>
                    </a:lnTo>
                    <a:lnTo>
                      <a:pt x="1002" y="1032"/>
                    </a:lnTo>
                    <a:lnTo>
                      <a:pt x="1004" y="1032"/>
                    </a:lnTo>
                    <a:lnTo>
                      <a:pt x="1008" y="1034"/>
                    </a:lnTo>
                    <a:lnTo>
                      <a:pt x="1010" y="1034"/>
                    </a:lnTo>
                    <a:lnTo>
                      <a:pt x="1012" y="1034"/>
                    </a:lnTo>
                    <a:lnTo>
                      <a:pt x="1016" y="1036"/>
                    </a:lnTo>
                    <a:lnTo>
                      <a:pt x="1018" y="1036"/>
                    </a:lnTo>
                    <a:lnTo>
                      <a:pt x="1020" y="1036"/>
                    </a:lnTo>
                    <a:lnTo>
                      <a:pt x="1024" y="1036"/>
                    </a:lnTo>
                    <a:lnTo>
                      <a:pt x="1028" y="1036"/>
                    </a:lnTo>
                    <a:lnTo>
                      <a:pt x="1036" y="1036"/>
                    </a:lnTo>
                    <a:lnTo>
                      <a:pt x="1040" y="1036"/>
                    </a:lnTo>
                    <a:lnTo>
                      <a:pt x="1044" y="1036"/>
                    </a:lnTo>
                    <a:lnTo>
                      <a:pt x="1048" y="1034"/>
                    </a:lnTo>
                    <a:lnTo>
                      <a:pt x="1048" y="1034"/>
                    </a:lnTo>
                    <a:lnTo>
                      <a:pt x="1050" y="1034"/>
                    </a:lnTo>
                    <a:lnTo>
                      <a:pt x="1052" y="1034"/>
                    </a:lnTo>
                    <a:lnTo>
                      <a:pt x="1052" y="1034"/>
                    </a:lnTo>
                    <a:lnTo>
                      <a:pt x="1052" y="1034"/>
                    </a:lnTo>
                    <a:lnTo>
                      <a:pt x="1054" y="1032"/>
                    </a:lnTo>
                    <a:lnTo>
                      <a:pt x="1054" y="1032"/>
                    </a:lnTo>
                    <a:lnTo>
                      <a:pt x="1056" y="1030"/>
                    </a:lnTo>
                    <a:lnTo>
                      <a:pt x="1056" y="1028"/>
                    </a:lnTo>
                    <a:lnTo>
                      <a:pt x="1056" y="1028"/>
                    </a:lnTo>
                    <a:lnTo>
                      <a:pt x="1056" y="1028"/>
                    </a:lnTo>
                    <a:lnTo>
                      <a:pt x="1056" y="1026"/>
                    </a:lnTo>
                    <a:lnTo>
                      <a:pt x="1056" y="1026"/>
                    </a:lnTo>
                    <a:lnTo>
                      <a:pt x="1056" y="1026"/>
                    </a:lnTo>
                    <a:lnTo>
                      <a:pt x="1056" y="1022"/>
                    </a:lnTo>
                    <a:lnTo>
                      <a:pt x="1058" y="1020"/>
                    </a:lnTo>
                    <a:lnTo>
                      <a:pt x="1058" y="1020"/>
                    </a:lnTo>
                    <a:lnTo>
                      <a:pt x="1058" y="1020"/>
                    </a:lnTo>
                    <a:lnTo>
                      <a:pt x="1060" y="1020"/>
                    </a:lnTo>
                    <a:lnTo>
                      <a:pt x="1062" y="1022"/>
                    </a:lnTo>
                    <a:lnTo>
                      <a:pt x="1066" y="1024"/>
                    </a:lnTo>
                    <a:lnTo>
                      <a:pt x="1068" y="1026"/>
                    </a:lnTo>
                    <a:lnTo>
                      <a:pt x="1072" y="1028"/>
                    </a:lnTo>
                    <a:lnTo>
                      <a:pt x="1080" y="1034"/>
                    </a:lnTo>
                    <a:lnTo>
                      <a:pt x="1084" y="1036"/>
                    </a:lnTo>
                    <a:lnTo>
                      <a:pt x="1088" y="1040"/>
                    </a:lnTo>
                    <a:lnTo>
                      <a:pt x="1094" y="1046"/>
                    </a:lnTo>
                    <a:lnTo>
                      <a:pt x="1100" y="1050"/>
                    </a:lnTo>
                    <a:lnTo>
                      <a:pt x="1106" y="1056"/>
                    </a:lnTo>
                    <a:lnTo>
                      <a:pt x="1112" y="1060"/>
                    </a:lnTo>
                    <a:lnTo>
                      <a:pt x="1116" y="1064"/>
                    </a:lnTo>
                    <a:lnTo>
                      <a:pt x="1122" y="1066"/>
                    </a:lnTo>
                    <a:lnTo>
                      <a:pt x="1122" y="1066"/>
                    </a:lnTo>
                    <a:lnTo>
                      <a:pt x="1122" y="1066"/>
                    </a:lnTo>
                    <a:lnTo>
                      <a:pt x="1124" y="1068"/>
                    </a:lnTo>
                    <a:lnTo>
                      <a:pt x="1124" y="1068"/>
                    </a:lnTo>
                    <a:lnTo>
                      <a:pt x="1124" y="1068"/>
                    </a:lnTo>
                    <a:lnTo>
                      <a:pt x="1126" y="1068"/>
                    </a:lnTo>
                    <a:lnTo>
                      <a:pt x="1126" y="1068"/>
                    </a:lnTo>
                    <a:lnTo>
                      <a:pt x="1126" y="1068"/>
                    </a:lnTo>
                    <a:lnTo>
                      <a:pt x="1130" y="1068"/>
                    </a:lnTo>
                    <a:lnTo>
                      <a:pt x="1130" y="1068"/>
                    </a:lnTo>
                    <a:lnTo>
                      <a:pt x="1130" y="1068"/>
                    </a:lnTo>
                    <a:lnTo>
                      <a:pt x="1132" y="1066"/>
                    </a:lnTo>
                    <a:lnTo>
                      <a:pt x="1132" y="1066"/>
                    </a:lnTo>
                    <a:lnTo>
                      <a:pt x="1134" y="1066"/>
                    </a:lnTo>
                    <a:lnTo>
                      <a:pt x="1136" y="1064"/>
                    </a:lnTo>
                    <a:lnTo>
                      <a:pt x="1138" y="1062"/>
                    </a:lnTo>
                    <a:lnTo>
                      <a:pt x="1140" y="1062"/>
                    </a:lnTo>
                    <a:lnTo>
                      <a:pt x="1140" y="1060"/>
                    </a:lnTo>
                    <a:lnTo>
                      <a:pt x="1142" y="1060"/>
                    </a:lnTo>
                    <a:lnTo>
                      <a:pt x="1146" y="1062"/>
                    </a:lnTo>
                    <a:lnTo>
                      <a:pt x="1148" y="1064"/>
                    </a:lnTo>
                    <a:lnTo>
                      <a:pt x="1152" y="1066"/>
                    </a:lnTo>
                    <a:lnTo>
                      <a:pt x="1156" y="1068"/>
                    </a:lnTo>
                    <a:lnTo>
                      <a:pt x="1160" y="1070"/>
                    </a:lnTo>
                    <a:lnTo>
                      <a:pt x="1164" y="1072"/>
                    </a:lnTo>
                    <a:lnTo>
                      <a:pt x="1166" y="1076"/>
                    </a:lnTo>
                    <a:lnTo>
                      <a:pt x="1168" y="1078"/>
                    </a:lnTo>
                    <a:lnTo>
                      <a:pt x="1170" y="1080"/>
                    </a:lnTo>
                    <a:lnTo>
                      <a:pt x="1172" y="1082"/>
                    </a:lnTo>
                    <a:lnTo>
                      <a:pt x="1172" y="1082"/>
                    </a:lnTo>
                    <a:lnTo>
                      <a:pt x="1172" y="1086"/>
                    </a:lnTo>
                    <a:lnTo>
                      <a:pt x="1172" y="1090"/>
                    </a:lnTo>
                    <a:lnTo>
                      <a:pt x="1172" y="1096"/>
                    </a:lnTo>
                    <a:lnTo>
                      <a:pt x="1174" y="1100"/>
                    </a:lnTo>
                    <a:lnTo>
                      <a:pt x="1174" y="1100"/>
                    </a:lnTo>
                    <a:lnTo>
                      <a:pt x="1174" y="1100"/>
                    </a:lnTo>
                    <a:lnTo>
                      <a:pt x="1174" y="1102"/>
                    </a:lnTo>
                    <a:lnTo>
                      <a:pt x="1174" y="1102"/>
                    </a:lnTo>
                    <a:lnTo>
                      <a:pt x="1174" y="1104"/>
                    </a:lnTo>
                    <a:lnTo>
                      <a:pt x="1176" y="1108"/>
                    </a:lnTo>
                    <a:lnTo>
                      <a:pt x="1176" y="1108"/>
                    </a:lnTo>
                    <a:lnTo>
                      <a:pt x="1178" y="1108"/>
                    </a:lnTo>
                    <a:lnTo>
                      <a:pt x="1180" y="1112"/>
                    </a:lnTo>
                    <a:lnTo>
                      <a:pt x="1180" y="1112"/>
                    </a:lnTo>
                    <a:lnTo>
                      <a:pt x="1180" y="1114"/>
                    </a:lnTo>
                    <a:lnTo>
                      <a:pt x="1184" y="1116"/>
                    </a:lnTo>
                    <a:lnTo>
                      <a:pt x="1184" y="1116"/>
                    </a:lnTo>
                    <a:lnTo>
                      <a:pt x="1186" y="1118"/>
                    </a:lnTo>
                    <a:lnTo>
                      <a:pt x="1188" y="1118"/>
                    </a:lnTo>
                    <a:lnTo>
                      <a:pt x="1190" y="1120"/>
                    </a:lnTo>
                    <a:lnTo>
                      <a:pt x="1190" y="1120"/>
                    </a:lnTo>
                    <a:lnTo>
                      <a:pt x="1190" y="1120"/>
                    </a:lnTo>
                    <a:lnTo>
                      <a:pt x="1192" y="1120"/>
                    </a:lnTo>
                    <a:lnTo>
                      <a:pt x="1196" y="1120"/>
                    </a:lnTo>
                    <a:lnTo>
                      <a:pt x="1204" y="1120"/>
                    </a:lnTo>
                    <a:lnTo>
                      <a:pt x="1206" y="1120"/>
                    </a:lnTo>
                    <a:lnTo>
                      <a:pt x="1210" y="1118"/>
                    </a:lnTo>
                    <a:lnTo>
                      <a:pt x="1214" y="1118"/>
                    </a:lnTo>
                    <a:lnTo>
                      <a:pt x="1214" y="1118"/>
                    </a:lnTo>
                    <a:lnTo>
                      <a:pt x="1214" y="1118"/>
                    </a:lnTo>
                    <a:lnTo>
                      <a:pt x="1216" y="1116"/>
                    </a:lnTo>
                    <a:lnTo>
                      <a:pt x="1216" y="1116"/>
                    </a:lnTo>
                    <a:lnTo>
                      <a:pt x="1216" y="1116"/>
                    </a:lnTo>
                    <a:lnTo>
                      <a:pt x="1218" y="1114"/>
                    </a:lnTo>
                    <a:lnTo>
                      <a:pt x="1218" y="1114"/>
                    </a:lnTo>
                    <a:lnTo>
                      <a:pt x="1218" y="1112"/>
                    </a:lnTo>
                    <a:lnTo>
                      <a:pt x="1218" y="1112"/>
                    </a:lnTo>
                    <a:lnTo>
                      <a:pt x="1218" y="1112"/>
                    </a:lnTo>
                    <a:lnTo>
                      <a:pt x="1218" y="1110"/>
                    </a:lnTo>
                    <a:lnTo>
                      <a:pt x="1218" y="1108"/>
                    </a:lnTo>
                    <a:lnTo>
                      <a:pt x="1218" y="1106"/>
                    </a:lnTo>
                    <a:lnTo>
                      <a:pt x="1218" y="1104"/>
                    </a:lnTo>
                    <a:lnTo>
                      <a:pt x="1216" y="1102"/>
                    </a:lnTo>
                    <a:lnTo>
                      <a:pt x="1216" y="1100"/>
                    </a:lnTo>
                    <a:lnTo>
                      <a:pt x="1218" y="1098"/>
                    </a:lnTo>
                    <a:lnTo>
                      <a:pt x="1218" y="1096"/>
                    </a:lnTo>
                    <a:lnTo>
                      <a:pt x="1220" y="1094"/>
                    </a:lnTo>
                    <a:lnTo>
                      <a:pt x="1224" y="1088"/>
                    </a:lnTo>
                    <a:lnTo>
                      <a:pt x="1228" y="1082"/>
                    </a:lnTo>
                    <a:lnTo>
                      <a:pt x="1232" y="1080"/>
                    </a:lnTo>
                    <a:lnTo>
                      <a:pt x="1234" y="1078"/>
                    </a:lnTo>
                    <a:lnTo>
                      <a:pt x="1238" y="1076"/>
                    </a:lnTo>
                    <a:lnTo>
                      <a:pt x="1242" y="1074"/>
                    </a:lnTo>
                    <a:lnTo>
                      <a:pt x="1246" y="1072"/>
                    </a:lnTo>
                    <a:lnTo>
                      <a:pt x="1252" y="1068"/>
                    </a:lnTo>
                    <a:lnTo>
                      <a:pt x="1256" y="1066"/>
                    </a:lnTo>
                    <a:lnTo>
                      <a:pt x="1262" y="1066"/>
                    </a:lnTo>
                    <a:lnTo>
                      <a:pt x="1266" y="1064"/>
                    </a:lnTo>
                    <a:lnTo>
                      <a:pt x="1272" y="1062"/>
                    </a:lnTo>
                    <a:lnTo>
                      <a:pt x="1276" y="1062"/>
                    </a:lnTo>
                    <a:lnTo>
                      <a:pt x="1282" y="1062"/>
                    </a:lnTo>
                    <a:lnTo>
                      <a:pt x="1286" y="1064"/>
                    </a:lnTo>
                    <a:lnTo>
                      <a:pt x="1292" y="1064"/>
                    </a:lnTo>
                    <a:lnTo>
                      <a:pt x="1298" y="1066"/>
                    </a:lnTo>
                    <a:lnTo>
                      <a:pt x="1302" y="1066"/>
                    </a:lnTo>
                    <a:lnTo>
                      <a:pt x="1308" y="1068"/>
                    </a:lnTo>
                    <a:lnTo>
                      <a:pt x="1312" y="1068"/>
                    </a:lnTo>
                    <a:lnTo>
                      <a:pt x="1316" y="1070"/>
                    </a:lnTo>
                    <a:lnTo>
                      <a:pt x="1320" y="1070"/>
                    </a:lnTo>
                    <a:lnTo>
                      <a:pt x="1322" y="1072"/>
                    </a:lnTo>
                    <a:lnTo>
                      <a:pt x="1324" y="1072"/>
                    </a:lnTo>
                    <a:lnTo>
                      <a:pt x="1328" y="1072"/>
                    </a:lnTo>
                    <a:lnTo>
                      <a:pt x="1330" y="1074"/>
                    </a:lnTo>
                    <a:lnTo>
                      <a:pt x="1332" y="1074"/>
                    </a:lnTo>
                    <a:lnTo>
                      <a:pt x="1332" y="1074"/>
                    </a:lnTo>
                    <a:lnTo>
                      <a:pt x="1334" y="1074"/>
                    </a:lnTo>
                    <a:lnTo>
                      <a:pt x="1336" y="1072"/>
                    </a:lnTo>
                    <a:lnTo>
                      <a:pt x="1336" y="1072"/>
                    </a:lnTo>
                    <a:lnTo>
                      <a:pt x="1336" y="1072"/>
                    </a:lnTo>
                    <a:lnTo>
                      <a:pt x="1338" y="1072"/>
                    </a:lnTo>
                    <a:lnTo>
                      <a:pt x="1338" y="1072"/>
                    </a:lnTo>
                    <a:lnTo>
                      <a:pt x="1340" y="1070"/>
                    </a:lnTo>
                    <a:lnTo>
                      <a:pt x="1340" y="1068"/>
                    </a:lnTo>
                    <a:lnTo>
                      <a:pt x="1340" y="1068"/>
                    </a:lnTo>
                    <a:lnTo>
                      <a:pt x="1342" y="1068"/>
                    </a:lnTo>
                    <a:lnTo>
                      <a:pt x="1342" y="1066"/>
                    </a:lnTo>
                    <a:lnTo>
                      <a:pt x="1344" y="1064"/>
                    </a:lnTo>
                    <a:lnTo>
                      <a:pt x="1346" y="1060"/>
                    </a:lnTo>
                    <a:lnTo>
                      <a:pt x="1348" y="1058"/>
                    </a:lnTo>
                    <a:lnTo>
                      <a:pt x="1348" y="1056"/>
                    </a:lnTo>
                    <a:lnTo>
                      <a:pt x="1350" y="1056"/>
                    </a:lnTo>
                    <a:lnTo>
                      <a:pt x="1352" y="1054"/>
                    </a:lnTo>
                    <a:lnTo>
                      <a:pt x="1356" y="1054"/>
                    </a:lnTo>
                    <a:lnTo>
                      <a:pt x="1360" y="1054"/>
                    </a:lnTo>
                    <a:lnTo>
                      <a:pt x="1364" y="1054"/>
                    </a:lnTo>
                    <a:lnTo>
                      <a:pt x="1368" y="1054"/>
                    </a:lnTo>
                    <a:lnTo>
                      <a:pt x="1372" y="1054"/>
                    </a:lnTo>
                    <a:lnTo>
                      <a:pt x="1376" y="1054"/>
                    </a:lnTo>
                    <a:lnTo>
                      <a:pt x="1378" y="1054"/>
                    </a:lnTo>
                    <a:lnTo>
                      <a:pt x="1380" y="1054"/>
                    </a:lnTo>
                    <a:lnTo>
                      <a:pt x="1382" y="1054"/>
                    </a:lnTo>
                    <a:lnTo>
                      <a:pt x="1382" y="1056"/>
                    </a:lnTo>
                    <a:lnTo>
                      <a:pt x="1384" y="1056"/>
                    </a:lnTo>
                    <a:lnTo>
                      <a:pt x="1384" y="1058"/>
                    </a:lnTo>
                    <a:lnTo>
                      <a:pt x="1384" y="1058"/>
                    </a:lnTo>
                    <a:lnTo>
                      <a:pt x="1386" y="1058"/>
                    </a:lnTo>
                    <a:lnTo>
                      <a:pt x="1386" y="1058"/>
                    </a:lnTo>
                    <a:lnTo>
                      <a:pt x="1386" y="1058"/>
                    </a:lnTo>
                    <a:lnTo>
                      <a:pt x="1388" y="1058"/>
                    </a:lnTo>
                    <a:lnTo>
                      <a:pt x="1388" y="1058"/>
                    </a:lnTo>
                    <a:lnTo>
                      <a:pt x="1392" y="1060"/>
                    </a:lnTo>
                    <a:lnTo>
                      <a:pt x="1394" y="1060"/>
                    </a:lnTo>
                    <a:lnTo>
                      <a:pt x="1398" y="1060"/>
                    </a:lnTo>
                    <a:lnTo>
                      <a:pt x="1398" y="1060"/>
                    </a:lnTo>
                    <a:lnTo>
                      <a:pt x="1398" y="1060"/>
                    </a:lnTo>
                    <a:lnTo>
                      <a:pt x="1402" y="1060"/>
                    </a:lnTo>
                    <a:lnTo>
                      <a:pt x="1402" y="1060"/>
                    </a:lnTo>
                    <a:lnTo>
                      <a:pt x="1402" y="1060"/>
                    </a:lnTo>
                    <a:lnTo>
                      <a:pt x="1404" y="1060"/>
                    </a:lnTo>
                    <a:lnTo>
                      <a:pt x="1404" y="1060"/>
                    </a:lnTo>
                    <a:lnTo>
                      <a:pt x="1404" y="1060"/>
                    </a:lnTo>
                    <a:lnTo>
                      <a:pt x="1406" y="1058"/>
                    </a:lnTo>
                    <a:lnTo>
                      <a:pt x="1408" y="1056"/>
                    </a:lnTo>
                    <a:lnTo>
                      <a:pt x="1410" y="1054"/>
                    </a:lnTo>
                    <a:lnTo>
                      <a:pt x="1410" y="1054"/>
                    </a:lnTo>
                    <a:lnTo>
                      <a:pt x="1410" y="1054"/>
                    </a:lnTo>
                    <a:lnTo>
                      <a:pt x="1412" y="1056"/>
                    </a:lnTo>
                    <a:lnTo>
                      <a:pt x="1412" y="1056"/>
                    </a:lnTo>
                    <a:lnTo>
                      <a:pt x="1414" y="1058"/>
                    </a:lnTo>
                    <a:lnTo>
                      <a:pt x="1416" y="1060"/>
                    </a:lnTo>
                    <a:lnTo>
                      <a:pt x="1420" y="1064"/>
                    </a:lnTo>
                    <a:lnTo>
                      <a:pt x="1424" y="1070"/>
                    </a:lnTo>
                    <a:lnTo>
                      <a:pt x="1428" y="1076"/>
                    </a:lnTo>
                    <a:lnTo>
                      <a:pt x="1432" y="1080"/>
                    </a:lnTo>
                    <a:lnTo>
                      <a:pt x="1434" y="1086"/>
                    </a:lnTo>
                    <a:lnTo>
                      <a:pt x="1436" y="1088"/>
                    </a:lnTo>
                    <a:lnTo>
                      <a:pt x="1438" y="1092"/>
                    </a:lnTo>
                    <a:lnTo>
                      <a:pt x="1438" y="1094"/>
                    </a:lnTo>
                    <a:lnTo>
                      <a:pt x="1438" y="1098"/>
                    </a:lnTo>
                    <a:lnTo>
                      <a:pt x="1436" y="1100"/>
                    </a:lnTo>
                    <a:lnTo>
                      <a:pt x="1436" y="1102"/>
                    </a:lnTo>
                    <a:lnTo>
                      <a:pt x="1436" y="1106"/>
                    </a:lnTo>
                    <a:lnTo>
                      <a:pt x="1436" y="1106"/>
                    </a:lnTo>
                    <a:lnTo>
                      <a:pt x="1436" y="1106"/>
                    </a:lnTo>
                    <a:lnTo>
                      <a:pt x="1436" y="1108"/>
                    </a:lnTo>
                    <a:lnTo>
                      <a:pt x="1436" y="1108"/>
                    </a:lnTo>
                    <a:lnTo>
                      <a:pt x="1436" y="1108"/>
                    </a:lnTo>
                    <a:lnTo>
                      <a:pt x="1436" y="1112"/>
                    </a:lnTo>
                    <a:lnTo>
                      <a:pt x="1436" y="1112"/>
                    </a:lnTo>
                    <a:lnTo>
                      <a:pt x="1436" y="1112"/>
                    </a:lnTo>
                    <a:lnTo>
                      <a:pt x="1438" y="1116"/>
                    </a:lnTo>
                    <a:lnTo>
                      <a:pt x="1440" y="1118"/>
                    </a:lnTo>
                    <a:lnTo>
                      <a:pt x="1444" y="1126"/>
                    </a:lnTo>
                    <a:lnTo>
                      <a:pt x="1448" y="1128"/>
                    </a:lnTo>
                    <a:lnTo>
                      <a:pt x="1450" y="1132"/>
                    </a:lnTo>
                    <a:lnTo>
                      <a:pt x="1452" y="1134"/>
                    </a:lnTo>
                    <a:lnTo>
                      <a:pt x="1456" y="1136"/>
                    </a:lnTo>
                    <a:lnTo>
                      <a:pt x="1456" y="1136"/>
                    </a:lnTo>
                    <a:lnTo>
                      <a:pt x="1456" y="1136"/>
                    </a:lnTo>
                    <a:lnTo>
                      <a:pt x="1460" y="1138"/>
                    </a:lnTo>
                    <a:lnTo>
                      <a:pt x="1460" y="1138"/>
                    </a:lnTo>
                    <a:lnTo>
                      <a:pt x="1462" y="1138"/>
                    </a:lnTo>
                    <a:lnTo>
                      <a:pt x="1464" y="1138"/>
                    </a:lnTo>
                    <a:lnTo>
                      <a:pt x="1466" y="1138"/>
                    </a:lnTo>
                    <a:lnTo>
                      <a:pt x="1466" y="1138"/>
                    </a:lnTo>
                    <a:lnTo>
                      <a:pt x="1468" y="1138"/>
                    </a:lnTo>
                    <a:lnTo>
                      <a:pt x="1470" y="1138"/>
                    </a:lnTo>
                    <a:lnTo>
                      <a:pt x="1470" y="1138"/>
                    </a:lnTo>
                    <a:lnTo>
                      <a:pt x="1470" y="1138"/>
                    </a:lnTo>
                    <a:lnTo>
                      <a:pt x="1472" y="1136"/>
                    </a:lnTo>
                    <a:lnTo>
                      <a:pt x="1472" y="1136"/>
                    </a:lnTo>
                    <a:lnTo>
                      <a:pt x="1472" y="1136"/>
                    </a:lnTo>
                    <a:lnTo>
                      <a:pt x="1474" y="1134"/>
                    </a:lnTo>
                    <a:lnTo>
                      <a:pt x="1474" y="1134"/>
                    </a:lnTo>
                    <a:lnTo>
                      <a:pt x="1474" y="1132"/>
                    </a:lnTo>
                    <a:lnTo>
                      <a:pt x="1476" y="1130"/>
                    </a:lnTo>
                    <a:lnTo>
                      <a:pt x="1476" y="1130"/>
                    </a:lnTo>
                    <a:lnTo>
                      <a:pt x="1476" y="1130"/>
                    </a:lnTo>
                    <a:lnTo>
                      <a:pt x="1476" y="1128"/>
                    </a:lnTo>
                    <a:lnTo>
                      <a:pt x="1476" y="1126"/>
                    </a:lnTo>
                    <a:lnTo>
                      <a:pt x="1478" y="1120"/>
                    </a:lnTo>
                    <a:lnTo>
                      <a:pt x="1478" y="1114"/>
                    </a:lnTo>
                    <a:lnTo>
                      <a:pt x="1478" y="1106"/>
                    </a:lnTo>
                    <a:lnTo>
                      <a:pt x="1476" y="1100"/>
                    </a:lnTo>
                    <a:lnTo>
                      <a:pt x="1476" y="1094"/>
                    </a:lnTo>
                    <a:lnTo>
                      <a:pt x="1476" y="1086"/>
                    </a:lnTo>
                    <a:lnTo>
                      <a:pt x="1474" y="1082"/>
                    </a:lnTo>
                    <a:lnTo>
                      <a:pt x="1474" y="1082"/>
                    </a:lnTo>
                    <a:lnTo>
                      <a:pt x="1474" y="1080"/>
                    </a:lnTo>
                    <a:lnTo>
                      <a:pt x="1472" y="1076"/>
                    </a:lnTo>
                    <a:lnTo>
                      <a:pt x="1470" y="1072"/>
                    </a:lnTo>
                    <a:lnTo>
                      <a:pt x="1466" y="1066"/>
                    </a:lnTo>
                    <a:lnTo>
                      <a:pt x="1462" y="1064"/>
                    </a:lnTo>
                    <a:lnTo>
                      <a:pt x="1460" y="1060"/>
                    </a:lnTo>
                    <a:lnTo>
                      <a:pt x="1458" y="1056"/>
                    </a:lnTo>
                    <a:lnTo>
                      <a:pt x="1456" y="1052"/>
                    </a:lnTo>
                    <a:lnTo>
                      <a:pt x="1454" y="1050"/>
                    </a:lnTo>
                    <a:lnTo>
                      <a:pt x="1452" y="1046"/>
                    </a:lnTo>
                    <a:lnTo>
                      <a:pt x="1452" y="1044"/>
                    </a:lnTo>
                    <a:lnTo>
                      <a:pt x="1452" y="1040"/>
                    </a:lnTo>
                    <a:lnTo>
                      <a:pt x="1452" y="1038"/>
                    </a:lnTo>
                    <a:lnTo>
                      <a:pt x="1452" y="1036"/>
                    </a:lnTo>
                    <a:lnTo>
                      <a:pt x="1452" y="1034"/>
                    </a:lnTo>
                    <a:lnTo>
                      <a:pt x="1454" y="1030"/>
                    </a:lnTo>
                    <a:lnTo>
                      <a:pt x="1458" y="1026"/>
                    </a:lnTo>
                    <a:lnTo>
                      <a:pt x="1460" y="1024"/>
                    </a:lnTo>
                    <a:lnTo>
                      <a:pt x="1462" y="1022"/>
                    </a:lnTo>
                    <a:lnTo>
                      <a:pt x="1464" y="1020"/>
                    </a:lnTo>
                    <a:lnTo>
                      <a:pt x="1468" y="1018"/>
                    </a:lnTo>
                    <a:lnTo>
                      <a:pt x="1474" y="1014"/>
                    </a:lnTo>
                    <a:lnTo>
                      <a:pt x="1482" y="1008"/>
                    </a:lnTo>
                    <a:lnTo>
                      <a:pt x="1490" y="1002"/>
                    </a:lnTo>
                    <a:lnTo>
                      <a:pt x="1498" y="998"/>
                    </a:lnTo>
                    <a:lnTo>
                      <a:pt x="1504" y="992"/>
                    </a:lnTo>
                    <a:lnTo>
                      <a:pt x="1508" y="990"/>
                    </a:lnTo>
                    <a:lnTo>
                      <a:pt x="1510" y="988"/>
                    </a:lnTo>
                    <a:lnTo>
                      <a:pt x="1516" y="984"/>
                    </a:lnTo>
                    <a:lnTo>
                      <a:pt x="1520" y="982"/>
                    </a:lnTo>
                    <a:lnTo>
                      <a:pt x="1526" y="978"/>
                    </a:lnTo>
                    <a:lnTo>
                      <a:pt x="1530" y="976"/>
                    </a:lnTo>
                    <a:lnTo>
                      <a:pt x="1534" y="972"/>
                    </a:lnTo>
                    <a:lnTo>
                      <a:pt x="1538" y="968"/>
                    </a:lnTo>
                    <a:lnTo>
                      <a:pt x="1540" y="964"/>
                    </a:lnTo>
                    <a:lnTo>
                      <a:pt x="1540" y="964"/>
                    </a:lnTo>
                    <a:lnTo>
                      <a:pt x="1542" y="964"/>
                    </a:lnTo>
                    <a:lnTo>
                      <a:pt x="1544" y="960"/>
                    </a:lnTo>
                    <a:lnTo>
                      <a:pt x="1544" y="960"/>
                    </a:lnTo>
                    <a:lnTo>
                      <a:pt x="1544" y="958"/>
                    </a:lnTo>
                    <a:lnTo>
                      <a:pt x="1546" y="954"/>
                    </a:lnTo>
                    <a:lnTo>
                      <a:pt x="1546" y="954"/>
                    </a:lnTo>
                    <a:lnTo>
                      <a:pt x="1546" y="954"/>
                    </a:lnTo>
                    <a:lnTo>
                      <a:pt x="1546" y="948"/>
                    </a:lnTo>
                    <a:lnTo>
                      <a:pt x="1546" y="942"/>
                    </a:lnTo>
                    <a:lnTo>
                      <a:pt x="1546" y="936"/>
                    </a:lnTo>
                    <a:lnTo>
                      <a:pt x="1546" y="928"/>
                    </a:lnTo>
                    <a:lnTo>
                      <a:pt x="1544" y="922"/>
                    </a:lnTo>
                    <a:lnTo>
                      <a:pt x="1544" y="916"/>
                    </a:lnTo>
                    <a:lnTo>
                      <a:pt x="1544" y="918"/>
                    </a:lnTo>
                    <a:lnTo>
                      <a:pt x="1546" y="912"/>
                    </a:lnTo>
                    <a:lnTo>
                      <a:pt x="1548" y="906"/>
                    </a:lnTo>
                    <a:lnTo>
                      <a:pt x="1550" y="902"/>
                    </a:lnTo>
                    <a:lnTo>
                      <a:pt x="1552" y="896"/>
                    </a:lnTo>
                    <a:lnTo>
                      <a:pt x="1556" y="892"/>
                    </a:lnTo>
                    <a:lnTo>
                      <a:pt x="1560" y="888"/>
                    </a:lnTo>
                    <a:lnTo>
                      <a:pt x="1562" y="884"/>
                    </a:lnTo>
                    <a:lnTo>
                      <a:pt x="1566" y="880"/>
                    </a:lnTo>
                    <a:lnTo>
                      <a:pt x="1570" y="876"/>
                    </a:lnTo>
                    <a:lnTo>
                      <a:pt x="1572" y="874"/>
                    </a:lnTo>
                    <a:lnTo>
                      <a:pt x="1574" y="872"/>
                    </a:lnTo>
                    <a:lnTo>
                      <a:pt x="1578" y="872"/>
                    </a:lnTo>
                    <a:lnTo>
                      <a:pt x="1580" y="870"/>
                    </a:lnTo>
                    <a:lnTo>
                      <a:pt x="1586" y="870"/>
                    </a:lnTo>
                    <a:lnTo>
                      <a:pt x="1590" y="868"/>
                    </a:lnTo>
                    <a:lnTo>
                      <a:pt x="1594" y="866"/>
                    </a:lnTo>
                    <a:lnTo>
                      <a:pt x="1598" y="866"/>
                    </a:lnTo>
                    <a:lnTo>
                      <a:pt x="1604" y="864"/>
                    </a:lnTo>
                    <a:lnTo>
                      <a:pt x="1608" y="862"/>
                    </a:lnTo>
                    <a:lnTo>
                      <a:pt x="1614" y="862"/>
                    </a:lnTo>
                    <a:lnTo>
                      <a:pt x="1620" y="860"/>
                    </a:lnTo>
                    <a:lnTo>
                      <a:pt x="1624" y="858"/>
                    </a:lnTo>
                    <a:lnTo>
                      <a:pt x="1628" y="856"/>
                    </a:lnTo>
                    <a:lnTo>
                      <a:pt x="1628" y="856"/>
                    </a:lnTo>
                    <a:lnTo>
                      <a:pt x="1628" y="856"/>
                    </a:lnTo>
                    <a:lnTo>
                      <a:pt x="1630" y="856"/>
                    </a:lnTo>
                    <a:lnTo>
                      <a:pt x="1630" y="856"/>
                    </a:lnTo>
                    <a:lnTo>
                      <a:pt x="1630" y="856"/>
                    </a:lnTo>
                    <a:lnTo>
                      <a:pt x="1632" y="854"/>
                    </a:lnTo>
                    <a:lnTo>
                      <a:pt x="1632" y="854"/>
                    </a:lnTo>
                    <a:lnTo>
                      <a:pt x="1632" y="854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0"/>
                    </a:lnTo>
                    <a:lnTo>
                      <a:pt x="1632" y="848"/>
                    </a:lnTo>
                    <a:lnTo>
                      <a:pt x="1632" y="848"/>
                    </a:lnTo>
                    <a:lnTo>
                      <a:pt x="1632" y="846"/>
                    </a:lnTo>
                    <a:lnTo>
                      <a:pt x="1630" y="844"/>
                    </a:lnTo>
                    <a:lnTo>
                      <a:pt x="1630" y="844"/>
                    </a:lnTo>
                    <a:lnTo>
                      <a:pt x="1630" y="844"/>
                    </a:lnTo>
                    <a:lnTo>
                      <a:pt x="1628" y="842"/>
                    </a:lnTo>
                    <a:lnTo>
                      <a:pt x="1626" y="840"/>
                    </a:lnTo>
                    <a:lnTo>
                      <a:pt x="1624" y="838"/>
                    </a:lnTo>
                    <a:lnTo>
                      <a:pt x="1622" y="836"/>
                    </a:lnTo>
                    <a:lnTo>
                      <a:pt x="1622" y="836"/>
                    </a:lnTo>
                    <a:lnTo>
                      <a:pt x="1622" y="834"/>
                    </a:lnTo>
                    <a:lnTo>
                      <a:pt x="1622" y="830"/>
                    </a:lnTo>
                    <a:lnTo>
                      <a:pt x="1622" y="824"/>
                    </a:lnTo>
                    <a:lnTo>
                      <a:pt x="1622" y="822"/>
                    </a:lnTo>
                    <a:lnTo>
                      <a:pt x="1622" y="820"/>
                    </a:lnTo>
                    <a:lnTo>
                      <a:pt x="1624" y="816"/>
                    </a:lnTo>
                    <a:lnTo>
                      <a:pt x="1624" y="816"/>
                    </a:lnTo>
                    <a:lnTo>
                      <a:pt x="1624" y="816"/>
                    </a:lnTo>
                    <a:lnTo>
                      <a:pt x="1624" y="814"/>
                    </a:lnTo>
                    <a:lnTo>
                      <a:pt x="1626" y="814"/>
                    </a:lnTo>
                    <a:lnTo>
                      <a:pt x="1630" y="814"/>
                    </a:lnTo>
                    <a:lnTo>
                      <a:pt x="1630" y="814"/>
                    </a:lnTo>
                    <a:lnTo>
                      <a:pt x="1630" y="814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4" y="810"/>
                    </a:lnTo>
                    <a:lnTo>
                      <a:pt x="1634" y="810"/>
                    </a:lnTo>
                    <a:lnTo>
                      <a:pt x="1634" y="810"/>
                    </a:lnTo>
                    <a:lnTo>
                      <a:pt x="1634" y="808"/>
                    </a:lnTo>
                    <a:lnTo>
                      <a:pt x="1636" y="808"/>
                    </a:lnTo>
                    <a:lnTo>
                      <a:pt x="1636" y="802"/>
                    </a:lnTo>
                    <a:lnTo>
                      <a:pt x="1638" y="798"/>
                    </a:lnTo>
                    <a:lnTo>
                      <a:pt x="1638" y="798"/>
                    </a:lnTo>
                    <a:lnTo>
                      <a:pt x="1640" y="796"/>
                    </a:lnTo>
                    <a:lnTo>
                      <a:pt x="1640" y="796"/>
                    </a:lnTo>
                    <a:lnTo>
                      <a:pt x="1640" y="796"/>
                    </a:lnTo>
                    <a:lnTo>
                      <a:pt x="1644" y="796"/>
                    </a:lnTo>
                    <a:lnTo>
                      <a:pt x="1648" y="796"/>
                    </a:lnTo>
                    <a:lnTo>
                      <a:pt x="1652" y="796"/>
                    </a:lnTo>
                    <a:lnTo>
                      <a:pt x="1652" y="796"/>
                    </a:lnTo>
                    <a:lnTo>
                      <a:pt x="1652" y="796"/>
                    </a:lnTo>
                    <a:lnTo>
                      <a:pt x="1654" y="796"/>
                    </a:lnTo>
                    <a:lnTo>
                      <a:pt x="1654" y="796"/>
                    </a:lnTo>
                    <a:lnTo>
                      <a:pt x="1654" y="796"/>
                    </a:lnTo>
                    <a:lnTo>
                      <a:pt x="1656" y="794"/>
                    </a:lnTo>
                    <a:lnTo>
                      <a:pt x="1660" y="794"/>
                    </a:lnTo>
                    <a:lnTo>
                      <a:pt x="1664" y="790"/>
                    </a:lnTo>
                    <a:lnTo>
                      <a:pt x="1666" y="788"/>
                    </a:lnTo>
                    <a:lnTo>
                      <a:pt x="1670" y="784"/>
                    </a:lnTo>
                    <a:lnTo>
                      <a:pt x="1670" y="782"/>
                    </a:lnTo>
                    <a:lnTo>
                      <a:pt x="1670" y="782"/>
                    </a:lnTo>
                    <a:lnTo>
                      <a:pt x="1672" y="782"/>
                    </a:lnTo>
                    <a:lnTo>
                      <a:pt x="1672" y="780"/>
                    </a:lnTo>
                    <a:lnTo>
                      <a:pt x="1672" y="780"/>
                    </a:lnTo>
                    <a:lnTo>
                      <a:pt x="1672" y="780"/>
                    </a:lnTo>
                    <a:lnTo>
                      <a:pt x="1672" y="778"/>
                    </a:lnTo>
                    <a:close/>
                    <a:moveTo>
                      <a:pt x="688" y="518"/>
                    </a:moveTo>
                    <a:lnTo>
                      <a:pt x="688" y="516"/>
                    </a:lnTo>
                    <a:lnTo>
                      <a:pt x="688" y="516"/>
                    </a:lnTo>
                    <a:lnTo>
                      <a:pt x="688" y="516"/>
                    </a:lnTo>
                    <a:lnTo>
                      <a:pt x="686" y="514"/>
                    </a:lnTo>
                    <a:lnTo>
                      <a:pt x="686" y="514"/>
                    </a:lnTo>
                    <a:lnTo>
                      <a:pt x="686" y="514"/>
                    </a:lnTo>
                    <a:lnTo>
                      <a:pt x="684" y="512"/>
                    </a:lnTo>
                    <a:lnTo>
                      <a:pt x="684" y="512"/>
                    </a:lnTo>
                    <a:lnTo>
                      <a:pt x="682" y="512"/>
                    </a:lnTo>
                    <a:lnTo>
                      <a:pt x="682" y="512"/>
                    </a:lnTo>
                    <a:lnTo>
                      <a:pt x="682" y="512"/>
                    </a:lnTo>
                    <a:lnTo>
                      <a:pt x="680" y="510"/>
                    </a:lnTo>
                    <a:lnTo>
                      <a:pt x="678" y="508"/>
                    </a:lnTo>
                    <a:lnTo>
                      <a:pt x="678" y="506"/>
                    </a:lnTo>
                    <a:lnTo>
                      <a:pt x="678" y="506"/>
                    </a:lnTo>
                    <a:lnTo>
                      <a:pt x="676" y="506"/>
                    </a:lnTo>
                    <a:lnTo>
                      <a:pt x="672" y="504"/>
                    </a:lnTo>
                    <a:lnTo>
                      <a:pt x="670" y="504"/>
                    </a:lnTo>
                    <a:lnTo>
                      <a:pt x="668" y="504"/>
                    </a:lnTo>
                    <a:lnTo>
                      <a:pt x="668" y="504"/>
                    </a:lnTo>
                    <a:lnTo>
                      <a:pt x="666" y="502"/>
                    </a:lnTo>
                    <a:lnTo>
                      <a:pt x="666" y="502"/>
                    </a:lnTo>
                    <a:lnTo>
                      <a:pt x="664" y="502"/>
                    </a:lnTo>
                    <a:lnTo>
                      <a:pt x="664" y="500"/>
                    </a:lnTo>
                    <a:lnTo>
                      <a:pt x="664" y="498"/>
                    </a:lnTo>
                    <a:lnTo>
                      <a:pt x="662" y="494"/>
                    </a:lnTo>
                    <a:lnTo>
                      <a:pt x="662" y="494"/>
                    </a:lnTo>
                    <a:lnTo>
                      <a:pt x="662" y="492"/>
                    </a:lnTo>
                    <a:lnTo>
                      <a:pt x="660" y="490"/>
                    </a:lnTo>
                    <a:lnTo>
                      <a:pt x="658" y="490"/>
                    </a:lnTo>
                    <a:lnTo>
                      <a:pt x="656" y="484"/>
                    </a:lnTo>
                    <a:lnTo>
                      <a:pt x="656" y="484"/>
                    </a:lnTo>
                    <a:lnTo>
                      <a:pt x="656" y="484"/>
                    </a:lnTo>
                    <a:lnTo>
                      <a:pt x="652" y="482"/>
                    </a:lnTo>
                    <a:lnTo>
                      <a:pt x="650" y="478"/>
                    </a:lnTo>
                    <a:lnTo>
                      <a:pt x="648" y="476"/>
                    </a:lnTo>
                    <a:lnTo>
                      <a:pt x="646" y="472"/>
                    </a:lnTo>
                    <a:lnTo>
                      <a:pt x="646" y="472"/>
                    </a:lnTo>
                    <a:lnTo>
                      <a:pt x="646" y="470"/>
                    </a:lnTo>
                    <a:lnTo>
                      <a:pt x="644" y="466"/>
                    </a:lnTo>
                    <a:lnTo>
                      <a:pt x="642" y="462"/>
                    </a:lnTo>
                    <a:lnTo>
                      <a:pt x="640" y="456"/>
                    </a:lnTo>
                    <a:lnTo>
                      <a:pt x="638" y="452"/>
                    </a:lnTo>
                    <a:lnTo>
                      <a:pt x="638" y="452"/>
                    </a:lnTo>
                    <a:lnTo>
                      <a:pt x="638" y="452"/>
                    </a:lnTo>
                    <a:lnTo>
                      <a:pt x="632" y="446"/>
                    </a:lnTo>
                    <a:lnTo>
                      <a:pt x="628" y="440"/>
                    </a:lnTo>
                    <a:lnTo>
                      <a:pt x="628" y="440"/>
                    </a:lnTo>
                    <a:lnTo>
                      <a:pt x="628" y="440"/>
                    </a:lnTo>
                    <a:lnTo>
                      <a:pt x="624" y="438"/>
                    </a:lnTo>
                    <a:lnTo>
                      <a:pt x="622" y="436"/>
                    </a:lnTo>
                    <a:lnTo>
                      <a:pt x="620" y="436"/>
                    </a:lnTo>
                    <a:lnTo>
                      <a:pt x="620" y="434"/>
                    </a:lnTo>
                    <a:lnTo>
                      <a:pt x="620" y="434"/>
                    </a:lnTo>
                    <a:lnTo>
                      <a:pt x="620" y="434"/>
                    </a:lnTo>
                    <a:lnTo>
                      <a:pt x="618" y="432"/>
                    </a:lnTo>
                    <a:lnTo>
                      <a:pt x="616" y="430"/>
                    </a:lnTo>
                    <a:lnTo>
                      <a:pt x="614" y="428"/>
                    </a:lnTo>
                    <a:lnTo>
                      <a:pt x="614" y="428"/>
                    </a:lnTo>
                    <a:lnTo>
                      <a:pt x="614" y="428"/>
                    </a:lnTo>
                    <a:lnTo>
                      <a:pt x="610" y="428"/>
                    </a:lnTo>
                    <a:lnTo>
                      <a:pt x="610" y="428"/>
                    </a:lnTo>
                    <a:lnTo>
                      <a:pt x="610" y="428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8"/>
                    </a:lnTo>
                    <a:lnTo>
                      <a:pt x="604" y="428"/>
                    </a:lnTo>
                    <a:lnTo>
                      <a:pt x="602" y="430"/>
                    </a:lnTo>
                    <a:lnTo>
                      <a:pt x="602" y="430"/>
                    </a:lnTo>
                    <a:lnTo>
                      <a:pt x="602" y="430"/>
                    </a:lnTo>
                    <a:lnTo>
                      <a:pt x="600" y="432"/>
                    </a:lnTo>
                    <a:lnTo>
                      <a:pt x="600" y="432"/>
                    </a:lnTo>
                    <a:lnTo>
                      <a:pt x="600" y="432"/>
                    </a:lnTo>
                    <a:lnTo>
                      <a:pt x="600" y="434"/>
                    </a:lnTo>
                    <a:lnTo>
                      <a:pt x="600" y="434"/>
                    </a:lnTo>
                    <a:lnTo>
                      <a:pt x="600" y="436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598" y="440"/>
                    </a:lnTo>
                    <a:lnTo>
                      <a:pt x="594" y="440"/>
                    </a:lnTo>
                    <a:lnTo>
                      <a:pt x="594" y="440"/>
                    </a:lnTo>
                    <a:lnTo>
                      <a:pt x="592" y="440"/>
                    </a:lnTo>
                    <a:lnTo>
                      <a:pt x="592" y="438"/>
                    </a:lnTo>
                    <a:lnTo>
                      <a:pt x="590" y="436"/>
                    </a:lnTo>
                    <a:lnTo>
                      <a:pt x="590" y="436"/>
                    </a:lnTo>
                    <a:lnTo>
                      <a:pt x="590" y="436"/>
                    </a:lnTo>
                    <a:lnTo>
                      <a:pt x="586" y="434"/>
                    </a:lnTo>
                    <a:lnTo>
                      <a:pt x="582" y="430"/>
                    </a:lnTo>
                    <a:lnTo>
                      <a:pt x="580" y="428"/>
                    </a:lnTo>
                    <a:lnTo>
                      <a:pt x="578" y="422"/>
                    </a:lnTo>
                    <a:lnTo>
                      <a:pt x="578" y="422"/>
                    </a:lnTo>
                    <a:lnTo>
                      <a:pt x="578" y="420"/>
                    </a:lnTo>
                    <a:lnTo>
                      <a:pt x="578" y="418"/>
                    </a:lnTo>
                    <a:lnTo>
                      <a:pt x="578" y="418"/>
                    </a:lnTo>
                    <a:lnTo>
                      <a:pt x="576" y="416"/>
                    </a:lnTo>
                    <a:lnTo>
                      <a:pt x="576" y="416"/>
                    </a:lnTo>
                    <a:lnTo>
                      <a:pt x="576" y="416"/>
                    </a:lnTo>
                    <a:lnTo>
                      <a:pt x="576" y="414"/>
                    </a:lnTo>
                    <a:lnTo>
                      <a:pt x="574" y="414"/>
                    </a:lnTo>
                    <a:lnTo>
                      <a:pt x="574" y="414"/>
                    </a:lnTo>
                    <a:lnTo>
                      <a:pt x="574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4" y="408"/>
                    </a:lnTo>
                    <a:lnTo>
                      <a:pt x="574" y="406"/>
                    </a:lnTo>
                    <a:lnTo>
                      <a:pt x="574" y="404"/>
                    </a:lnTo>
                    <a:lnTo>
                      <a:pt x="574" y="400"/>
                    </a:lnTo>
                    <a:lnTo>
                      <a:pt x="574" y="396"/>
                    </a:lnTo>
                    <a:lnTo>
                      <a:pt x="574" y="394"/>
                    </a:lnTo>
                    <a:lnTo>
                      <a:pt x="572" y="392"/>
                    </a:lnTo>
                    <a:lnTo>
                      <a:pt x="572" y="390"/>
                    </a:lnTo>
                    <a:lnTo>
                      <a:pt x="572" y="386"/>
                    </a:lnTo>
                    <a:lnTo>
                      <a:pt x="572" y="382"/>
                    </a:lnTo>
                    <a:lnTo>
                      <a:pt x="572" y="378"/>
                    </a:lnTo>
                    <a:lnTo>
                      <a:pt x="572" y="372"/>
                    </a:lnTo>
                    <a:lnTo>
                      <a:pt x="572" y="364"/>
                    </a:lnTo>
                    <a:lnTo>
                      <a:pt x="572" y="358"/>
                    </a:lnTo>
                    <a:lnTo>
                      <a:pt x="572" y="348"/>
                    </a:lnTo>
                    <a:lnTo>
                      <a:pt x="572" y="338"/>
                    </a:lnTo>
                    <a:lnTo>
                      <a:pt x="572" y="330"/>
                    </a:lnTo>
                    <a:lnTo>
                      <a:pt x="572" y="324"/>
                    </a:lnTo>
                    <a:lnTo>
                      <a:pt x="572" y="316"/>
                    </a:lnTo>
                    <a:lnTo>
                      <a:pt x="572" y="310"/>
                    </a:lnTo>
                    <a:lnTo>
                      <a:pt x="572" y="302"/>
                    </a:lnTo>
                    <a:lnTo>
                      <a:pt x="572" y="292"/>
                    </a:lnTo>
                    <a:lnTo>
                      <a:pt x="572" y="276"/>
                    </a:lnTo>
                    <a:lnTo>
                      <a:pt x="572" y="256"/>
                    </a:lnTo>
                    <a:lnTo>
                      <a:pt x="572" y="238"/>
                    </a:lnTo>
                    <a:lnTo>
                      <a:pt x="572" y="218"/>
                    </a:lnTo>
                    <a:lnTo>
                      <a:pt x="572" y="200"/>
                    </a:lnTo>
                    <a:lnTo>
                      <a:pt x="572" y="180"/>
                    </a:lnTo>
                    <a:lnTo>
                      <a:pt x="572" y="162"/>
                    </a:lnTo>
                    <a:lnTo>
                      <a:pt x="572" y="144"/>
                    </a:lnTo>
                    <a:lnTo>
                      <a:pt x="572" y="136"/>
                    </a:lnTo>
                    <a:lnTo>
                      <a:pt x="572" y="130"/>
                    </a:lnTo>
                    <a:lnTo>
                      <a:pt x="572" y="122"/>
                    </a:lnTo>
                    <a:lnTo>
                      <a:pt x="572" y="114"/>
                    </a:lnTo>
                    <a:lnTo>
                      <a:pt x="572" y="108"/>
                    </a:lnTo>
                    <a:lnTo>
                      <a:pt x="574" y="102"/>
                    </a:lnTo>
                    <a:lnTo>
                      <a:pt x="574" y="88"/>
                    </a:lnTo>
                    <a:lnTo>
                      <a:pt x="574" y="86"/>
                    </a:lnTo>
                    <a:lnTo>
                      <a:pt x="574" y="82"/>
                    </a:lnTo>
                    <a:lnTo>
                      <a:pt x="574" y="80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6" y="74"/>
                    </a:lnTo>
                    <a:lnTo>
                      <a:pt x="576" y="74"/>
                    </a:lnTo>
                    <a:lnTo>
                      <a:pt x="576" y="72"/>
                    </a:lnTo>
                    <a:lnTo>
                      <a:pt x="576" y="72"/>
                    </a:lnTo>
                    <a:lnTo>
                      <a:pt x="576" y="72"/>
                    </a:lnTo>
                    <a:lnTo>
                      <a:pt x="576" y="70"/>
                    </a:lnTo>
                    <a:lnTo>
                      <a:pt x="576" y="68"/>
                    </a:lnTo>
                    <a:lnTo>
                      <a:pt x="576" y="68"/>
                    </a:lnTo>
                    <a:lnTo>
                      <a:pt x="576" y="68"/>
                    </a:lnTo>
                    <a:lnTo>
                      <a:pt x="576" y="66"/>
                    </a:lnTo>
                    <a:lnTo>
                      <a:pt x="576" y="66"/>
                    </a:lnTo>
                    <a:lnTo>
                      <a:pt x="576" y="66"/>
                    </a:lnTo>
                    <a:lnTo>
                      <a:pt x="576" y="64"/>
                    </a:lnTo>
                    <a:lnTo>
                      <a:pt x="576" y="64"/>
                    </a:lnTo>
                    <a:lnTo>
                      <a:pt x="574" y="64"/>
                    </a:lnTo>
                    <a:lnTo>
                      <a:pt x="574" y="64"/>
                    </a:lnTo>
                    <a:lnTo>
                      <a:pt x="574" y="64"/>
                    </a:lnTo>
                    <a:lnTo>
                      <a:pt x="570" y="64"/>
                    </a:lnTo>
                    <a:lnTo>
                      <a:pt x="570" y="66"/>
                    </a:lnTo>
                    <a:lnTo>
                      <a:pt x="570" y="66"/>
                    </a:lnTo>
                    <a:lnTo>
                      <a:pt x="570" y="66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68" y="68"/>
                    </a:lnTo>
                    <a:lnTo>
                      <a:pt x="566" y="68"/>
                    </a:lnTo>
                    <a:lnTo>
                      <a:pt x="560" y="66"/>
                    </a:lnTo>
                    <a:lnTo>
                      <a:pt x="554" y="66"/>
                    </a:lnTo>
                    <a:lnTo>
                      <a:pt x="546" y="66"/>
                    </a:lnTo>
                    <a:lnTo>
                      <a:pt x="538" y="66"/>
                    </a:lnTo>
                    <a:lnTo>
                      <a:pt x="532" y="68"/>
                    </a:lnTo>
                    <a:lnTo>
                      <a:pt x="524" y="68"/>
                    </a:lnTo>
                    <a:lnTo>
                      <a:pt x="518" y="66"/>
                    </a:lnTo>
                    <a:lnTo>
                      <a:pt x="508" y="66"/>
                    </a:lnTo>
                    <a:lnTo>
                      <a:pt x="498" y="64"/>
                    </a:lnTo>
                    <a:lnTo>
                      <a:pt x="490" y="62"/>
                    </a:lnTo>
                    <a:lnTo>
                      <a:pt x="486" y="60"/>
                    </a:lnTo>
                    <a:lnTo>
                      <a:pt x="482" y="60"/>
                    </a:lnTo>
                    <a:lnTo>
                      <a:pt x="478" y="56"/>
                    </a:lnTo>
                    <a:lnTo>
                      <a:pt x="478" y="58"/>
                    </a:lnTo>
                    <a:lnTo>
                      <a:pt x="474" y="54"/>
                    </a:lnTo>
                    <a:lnTo>
                      <a:pt x="470" y="50"/>
                    </a:lnTo>
                    <a:lnTo>
                      <a:pt x="464" y="44"/>
                    </a:lnTo>
                    <a:lnTo>
                      <a:pt x="460" y="40"/>
                    </a:lnTo>
                    <a:lnTo>
                      <a:pt x="460" y="40"/>
                    </a:lnTo>
                    <a:lnTo>
                      <a:pt x="460" y="40"/>
                    </a:lnTo>
                    <a:lnTo>
                      <a:pt x="458" y="38"/>
                    </a:lnTo>
                    <a:lnTo>
                      <a:pt x="458" y="38"/>
                    </a:lnTo>
                    <a:lnTo>
                      <a:pt x="456" y="38"/>
                    </a:lnTo>
                    <a:lnTo>
                      <a:pt x="452" y="38"/>
                    </a:lnTo>
                    <a:lnTo>
                      <a:pt x="452" y="38"/>
                    </a:lnTo>
                    <a:lnTo>
                      <a:pt x="452" y="38"/>
                    </a:lnTo>
                    <a:lnTo>
                      <a:pt x="448" y="38"/>
                    </a:lnTo>
                    <a:lnTo>
                      <a:pt x="448" y="38"/>
                    </a:lnTo>
                    <a:lnTo>
                      <a:pt x="448" y="38"/>
                    </a:lnTo>
                    <a:lnTo>
                      <a:pt x="444" y="38"/>
                    </a:lnTo>
                    <a:lnTo>
                      <a:pt x="444" y="38"/>
                    </a:lnTo>
                    <a:lnTo>
                      <a:pt x="444" y="40"/>
                    </a:lnTo>
                    <a:lnTo>
                      <a:pt x="440" y="42"/>
                    </a:lnTo>
                    <a:lnTo>
                      <a:pt x="436" y="44"/>
                    </a:lnTo>
                    <a:lnTo>
                      <a:pt x="434" y="46"/>
                    </a:lnTo>
                    <a:lnTo>
                      <a:pt x="430" y="48"/>
                    </a:lnTo>
                    <a:lnTo>
                      <a:pt x="428" y="50"/>
                    </a:lnTo>
                    <a:lnTo>
                      <a:pt x="426" y="50"/>
                    </a:lnTo>
                    <a:lnTo>
                      <a:pt x="424" y="50"/>
                    </a:lnTo>
                    <a:lnTo>
                      <a:pt x="422" y="50"/>
                    </a:lnTo>
                    <a:lnTo>
                      <a:pt x="420" y="50"/>
                    </a:lnTo>
                    <a:lnTo>
                      <a:pt x="420" y="50"/>
                    </a:lnTo>
                    <a:lnTo>
                      <a:pt x="418" y="46"/>
                    </a:lnTo>
                    <a:lnTo>
                      <a:pt x="414" y="44"/>
                    </a:lnTo>
                    <a:lnTo>
                      <a:pt x="412" y="42"/>
                    </a:lnTo>
                    <a:lnTo>
                      <a:pt x="412" y="40"/>
                    </a:lnTo>
                    <a:lnTo>
                      <a:pt x="408" y="36"/>
                    </a:lnTo>
                    <a:lnTo>
                      <a:pt x="406" y="32"/>
                    </a:lnTo>
                    <a:lnTo>
                      <a:pt x="404" y="30"/>
                    </a:lnTo>
                    <a:lnTo>
                      <a:pt x="402" y="28"/>
                    </a:lnTo>
                    <a:lnTo>
                      <a:pt x="400" y="26"/>
                    </a:lnTo>
                    <a:lnTo>
                      <a:pt x="400" y="26"/>
                    </a:lnTo>
                    <a:lnTo>
                      <a:pt x="398" y="26"/>
                    </a:lnTo>
                    <a:lnTo>
                      <a:pt x="396" y="24"/>
                    </a:lnTo>
                    <a:lnTo>
                      <a:pt x="396" y="24"/>
                    </a:lnTo>
                    <a:lnTo>
                      <a:pt x="396" y="24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0"/>
                    </a:lnTo>
                    <a:lnTo>
                      <a:pt x="382" y="20"/>
                    </a:lnTo>
                    <a:lnTo>
                      <a:pt x="382" y="20"/>
                    </a:lnTo>
                    <a:lnTo>
                      <a:pt x="380" y="20"/>
                    </a:lnTo>
                    <a:lnTo>
                      <a:pt x="376" y="20"/>
                    </a:lnTo>
                    <a:lnTo>
                      <a:pt x="376" y="20"/>
                    </a:lnTo>
                    <a:lnTo>
                      <a:pt x="376" y="20"/>
                    </a:lnTo>
                    <a:lnTo>
                      <a:pt x="374" y="20"/>
                    </a:lnTo>
                    <a:lnTo>
                      <a:pt x="370" y="22"/>
                    </a:lnTo>
                    <a:lnTo>
                      <a:pt x="368" y="24"/>
                    </a:lnTo>
                    <a:lnTo>
                      <a:pt x="364" y="26"/>
                    </a:lnTo>
                    <a:lnTo>
                      <a:pt x="360" y="28"/>
                    </a:lnTo>
                    <a:lnTo>
                      <a:pt x="358" y="30"/>
                    </a:lnTo>
                    <a:lnTo>
                      <a:pt x="354" y="34"/>
                    </a:lnTo>
                    <a:lnTo>
                      <a:pt x="352" y="36"/>
                    </a:lnTo>
                    <a:lnTo>
                      <a:pt x="350" y="36"/>
                    </a:lnTo>
                    <a:lnTo>
                      <a:pt x="350" y="36"/>
                    </a:lnTo>
                    <a:lnTo>
                      <a:pt x="352" y="30"/>
                    </a:lnTo>
                    <a:lnTo>
                      <a:pt x="352" y="26"/>
                    </a:lnTo>
                    <a:lnTo>
                      <a:pt x="354" y="24"/>
                    </a:lnTo>
                    <a:lnTo>
                      <a:pt x="354" y="22"/>
                    </a:lnTo>
                    <a:lnTo>
                      <a:pt x="358" y="16"/>
                    </a:lnTo>
                    <a:lnTo>
                      <a:pt x="360" y="14"/>
                    </a:lnTo>
                    <a:lnTo>
                      <a:pt x="360" y="12"/>
                    </a:lnTo>
                    <a:lnTo>
                      <a:pt x="360" y="12"/>
                    </a:lnTo>
                    <a:lnTo>
                      <a:pt x="360" y="10"/>
                    </a:lnTo>
                    <a:lnTo>
                      <a:pt x="362" y="8"/>
                    </a:lnTo>
                    <a:lnTo>
                      <a:pt x="362" y="8"/>
                    </a:lnTo>
                    <a:lnTo>
                      <a:pt x="362" y="8"/>
                    </a:lnTo>
                    <a:lnTo>
                      <a:pt x="360" y="6"/>
                    </a:lnTo>
                    <a:lnTo>
                      <a:pt x="360" y="6"/>
                    </a:lnTo>
                    <a:lnTo>
                      <a:pt x="360" y="4"/>
                    </a:lnTo>
                    <a:lnTo>
                      <a:pt x="358" y="4"/>
                    </a:lnTo>
                    <a:lnTo>
                      <a:pt x="358" y="4"/>
                    </a:lnTo>
                    <a:lnTo>
                      <a:pt x="358" y="4"/>
                    </a:lnTo>
                    <a:lnTo>
                      <a:pt x="356" y="2"/>
                    </a:lnTo>
                    <a:lnTo>
                      <a:pt x="356" y="2"/>
                    </a:lnTo>
                    <a:lnTo>
                      <a:pt x="356" y="2"/>
                    </a:lnTo>
                    <a:lnTo>
                      <a:pt x="354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46" y="0"/>
                    </a:lnTo>
                    <a:lnTo>
                      <a:pt x="344" y="0"/>
                    </a:lnTo>
                    <a:lnTo>
                      <a:pt x="344" y="0"/>
                    </a:lnTo>
                    <a:lnTo>
                      <a:pt x="344" y="0"/>
                    </a:lnTo>
                    <a:lnTo>
                      <a:pt x="342" y="0"/>
                    </a:lnTo>
                    <a:lnTo>
                      <a:pt x="342" y="0"/>
                    </a:lnTo>
                    <a:lnTo>
                      <a:pt x="340" y="2"/>
                    </a:lnTo>
                    <a:lnTo>
                      <a:pt x="338" y="2"/>
                    </a:lnTo>
                    <a:lnTo>
                      <a:pt x="338" y="2"/>
                    </a:lnTo>
                    <a:lnTo>
                      <a:pt x="338" y="4"/>
                    </a:lnTo>
                    <a:lnTo>
                      <a:pt x="336" y="6"/>
                    </a:lnTo>
                    <a:lnTo>
                      <a:pt x="336" y="6"/>
                    </a:lnTo>
                    <a:lnTo>
                      <a:pt x="336" y="6"/>
                    </a:lnTo>
                    <a:lnTo>
                      <a:pt x="336" y="8"/>
                    </a:lnTo>
                    <a:lnTo>
                      <a:pt x="334" y="12"/>
                    </a:lnTo>
                    <a:lnTo>
                      <a:pt x="334" y="16"/>
                    </a:lnTo>
                    <a:lnTo>
                      <a:pt x="334" y="20"/>
                    </a:lnTo>
                    <a:lnTo>
                      <a:pt x="332" y="22"/>
                    </a:lnTo>
                    <a:lnTo>
                      <a:pt x="332" y="24"/>
                    </a:lnTo>
                    <a:lnTo>
                      <a:pt x="330" y="26"/>
                    </a:lnTo>
                    <a:lnTo>
                      <a:pt x="328" y="26"/>
                    </a:lnTo>
                    <a:lnTo>
                      <a:pt x="326" y="26"/>
                    </a:lnTo>
                    <a:lnTo>
                      <a:pt x="322" y="26"/>
                    </a:lnTo>
                    <a:lnTo>
                      <a:pt x="318" y="26"/>
                    </a:lnTo>
                    <a:lnTo>
                      <a:pt x="312" y="26"/>
                    </a:lnTo>
                    <a:lnTo>
                      <a:pt x="308" y="26"/>
                    </a:lnTo>
                    <a:lnTo>
                      <a:pt x="304" y="24"/>
                    </a:lnTo>
                    <a:lnTo>
                      <a:pt x="304" y="24"/>
                    </a:lnTo>
                    <a:lnTo>
                      <a:pt x="304" y="24"/>
                    </a:lnTo>
                    <a:lnTo>
                      <a:pt x="302" y="26"/>
                    </a:lnTo>
                    <a:lnTo>
                      <a:pt x="302" y="26"/>
                    </a:lnTo>
                    <a:lnTo>
                      <a:pt x="300" y="26"/>
                    </a:lnTo>
                    <a:lnTo>
                      <a:pt x="298" y="26"/>
                    </a:lnTo>
                    <a:lnTo>
                      <a:pt x="298" y="26"/>
                    </a:lnTo>
                    <a:lnTo>
                      <a:pt x="298" y="28"/>
                    </a:lnTo>
                    <a:lnTo>
                      <a:pt x="296" y="28"/>
                    </a:lnTo>
                    <a:lnTo>
                      <a:pt x="296" y="28"/>
                    </a:lnTo>
                    <a:lnTo>
                      <a:pt x="296" y="30"/>
                    </a:lnTo>
                    <a:lnTo>
                      <a:pt x="296" y="30"/>
                    </a:lnTo>
                    <a:lnTo>
                      <a:pt x="296" y="30"/>
                    </a:lnTo>
                    <a:lnTo>
                      <a:pt x="296" y="32"/>
                    </a:lnTo>
                    <a:lnTo>
                      <a:pt x="294" y="34"/>
                    </a:lnTo>
                    <a:lnTo>
                      <a:pt x="294" y="34"/>
                    </a:lnTo>
                    <a:lnTo>
                      <a:pt x="294" y="34"/>
                    </a:lnTo>
                    <a:lnTo>
                      <a:pt x="294" y="38"/>
                    </a:lnTo>
                    <a:lnTo>
                      <a:pt x="294" y="42"/>
                    </a:lnTo>
                    <a:lnTo>
                      <a:pt x="292" y="44"/>
                    </a:lnTo>
                    <a:lnTo>
                      <a:pt x="294" y="46"/>
                    </a:lnTo>
                    <a:lnTo>
                      <a:pt x="294" y="52"/>
                    </a:lnTo>
                    <a:lnTo>
                      <a:pt x="294" y="54"/>
                    </a:lnTo>
                    <a:lnTo>
                      <a:pt x="294" y="54"/>
                    </a:lnTo>
                    <a:lnTo>
                      <a:pt x="292" y="54"/>
                    </a:lnTo>
                    <a:lnTo>
                      <a:pt x="290" y="52"/>
                    </a:lnTo>
                    <a:lnTo>
                      <a:pt x="286" y="52"/>
                    </a:lnTo>
                    <a:lnTo>
                      <a:pt x="284" y="50"/>
                    </a:lnTo>
                    <a:lnTo>
                      <a:pt x="282" y="50"/>
                    </a:lnTo>
                    <a:lnTo>
                      <a:pt x="280" y="50"/>
                    </a:lnTo>
                    <a:lnTo>
                      <a:pt x="272" y="50"/>
                    </a:lnTo>
                    <a:lnTo>
                      <a:pt x="270" y="48"/>
                    </a:lnTo>
                    <a:lnTo>
                      <a:pt x="266" y="50"/>
                    </a:lnTo>
                    <a:lnTo>
                      <a:pt x="266" y="50"/>
                    </a:lnTo>
                    <a:lnTo>
                      <a:pt x="266" y="50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0" y="52"/>
                    </a:lnTo>
                    <a:lnTo>
                      <a:pt x="260" y="52"/>
                    </a:lnTo>
                    <a:lnTo>
                      <a:pt x="258" y="52"/>
                    </a:lnTo>
                    <a:lnTo>
                      <a:pt x="256" y="54"/>
                    </a:lnTo>
                    <a:lnTo>
                      <a:pt x="252" y="56"/>
                    </a:lnTo>
                    <a:lnTo>
                      <a:pt x="250" y="58"/>
                    </a:lnTo>
                    <a:lnTo>
                      <a:pt x="248" y="62"/>
                    </a:lnTo>
                    <a:lnTo>
                      <a:pt x="244" y="68"/>
                    </a:lnTo>
                    <a:lnTo>
                      <a:pt x="242" y="72"/>
                    </a:lnTo>
                    <a:lnTo>
                      <a:pt x="242" y="74"/>
                    </a:lnTo>
                    <a:lnTo>
                      <a:pt x="240" y="78"/>
                    </a:lnTo>
                    <a:lnTo>
                      <a:pt x="240" y="80"/>
                    </a:lnTo>
                    <a:lnTo>
                      <a:pt x="240" y="80"/>
                    </a:lnTo>
                    <a:lnTo>
                      <a:pt x="240" y="80"/>
                    </a:lnTo>
                    <a:lnTo>
                      <a:pt x="240" y="86"/>
                    </a:lnTo>
                    <a:lnTo>
                      <a:pt x="240" y="90"/>
                    </a:lnTo>
                    <a:lnTo>
                      <a:pt x="240" y="92"/>
                    </a:lnTo>
                    <a:lnTo>
                      <a:pt x="240" y="94"/>
                    </a:lnTo>
                    <a:lnTo>
                      <a:pt x="240" y="94"/>
                    </a:lnTo>
                    <a:lnTo>
                      <a:pt x="238" y="94"/>
                    </a:lnTo>
                    <a:lnTo>
                      <a:pt x="236" y="96"/>
                    </a:lnTo>
                    <a:lnTo>
                      <a:pt x="232" y="96"/>
                    </a:lnTo>
                    <a:lnTo>
                      <a:pt x="230" y="98"/>
                    </a:lnTo>
                    <a:lnTo>
                      <a:pt x="230" y="98"/>
                    </a:lnTo>
                    <a:lnTo>
                      <a:pt x="230" y="98"/>
                    </a:lnTo>
                    <a:lnTo>
                      <a:pt x="228" y="98"/>
                    </a:lnTo>
                    <a:lnTo>
                      <a:pt x="228" y="98"/>
                    </a:lnTo>
                    <a:lnTo>
                      <a:pt x="228" y="98"/>
                    </a:lnTo>
                    <a:lnTo>
                      <a:pt x="224" y="102"/>
                    </a:lnTo>
                    <a:lnTo>
                      <a:pt x="222" y="104"/>
                    </a:lnTo>
                    <a:lnTo>
                      <a:pt x="218" y="108"/>
                    </a:lnTo>
                    <a:lnTo>
                      <a:pt x="214" y="110"/>
                    </a:lnTo>
                    <a:lnTo>
                      <a:pt x="214" y="110"/>
                    </a:lnTo>
                    <a:lnTo>
                      <a:pt x="212" y="112"/>
                    </a:lnTo>
                    <a:lnTo>
                      <a:pt x="206" y="112"/>
                    </a:lnTo>
                    <a:lnTo>
                      <a:pt x="200" y="114"/>
                    </a:lnTo>
                    <a:lnTo>
                      <a:pt x="198" y="114"/>
                    </a:lnTo>
                    <a:lnTo>
                      <a:pt x="196" y="116"/>
                    </a:lnTo>
                    <a:lnTo>
                      <a:pt x="196" y="116"/>
                    </a:lnTo>
                    <a:lnTo>
                      <a:pt x="196" y="116"/>
                    </a:lnTo>
                    <a:lnTo>
                      <a:pt x="194" y="118"/>
                    </a:lnTo>
                    <a:lnTo>
                      <a:pt x="194" y="118"/>
                    </a:lnTo>
                    <a:lnTo>
                      <a:pt x="194" y="120"/>
                    </a:lnTo>
                    <a:lnTo>
                      <a:pt x="192" y="122"/>
                    </a:lnTo>
                    <a:lnTo>
                      <a:pt x="192" y="122"/>
                    </a:lnTo>
                    <a:lnTo>
                      <a:pt x="190" y="122"/>
                    </a:lnTo>
                    <a:lnTo>
                      <a:pt x="190" y="126"/>
                    </a:lnTo>
                    <a:lnTo>
                      <a:pt x="190" y="126"/>
                    </a:lnTo>
                    <a:lnTo>
                      <a:pt x="190" y="126"/>
                    </a:lnTo>
                    <a:lnTo>
                      <a:pt x="190" y="130"/>
                    </a:lnTo>
                    <a:lnTo>
                      <a:pt x="190" y="130"/>
                    </a:lnTo>
                    <a:lnTo>
                      <a:pt x="190" y="130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90" y="138"/>
                    </a:lnTo>
                    <a:lnTo>
                      <a:pt x="190" y="138"/>
                    </a:lnTo>
                    <a:lnTo>
                      <a:pt x="190" y="138"/>
                    </a:lnTo>
                    <a:lnTo>
                      <a:pt x="192" y="140"/>
                    </a:lnTo>
                    <a:lnTo>
                      <a:pt x="192" y="140"/>
                    </a:lnTo>
                    <a:lnTo>
                      <a:pt x="192" y="140"/>
                    </a:lnTo>
                    <a:lnTo>
                      <a:pt x="194" y="142"/>
                    </a:lnTo>
                    <a:lnTo>
                      <a:pt x="196" y="144"/>
                    </a:lnTo>
                    <a:lnTo>
                      <a:pt x="198" y="146"/>
                    </a:lnTo>
                    <a:lnTo>
                      <a:pt x="202" y="148"/>
                    </a:lnTo>
                    <a:lnTo>
                      <a:pt x="206" y="150"/>
                    </a:lnTo>
                    <a:lnTo>
                      <a:pt x="212" y="156"/>
                    </a:lnTo>
                    <a:lnTo>
                      <a:pt x="216" y="158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6" y="166"/>
                    </a:lnTo>
                    <a:lnTo>
                      <a:pt x="228" y="168"/>
                    </a:lnTo>
                    <a:lnTo>
                      <a:pt x="228" y="170"/>
                    </a:lnTo>
                    <a:lnTo>
                      <a:pt x="228" y="172"/>
                    </a:lnTo>
                    <a:lnTo>
                      <a:pt x="228" y="174"/>
                    </a:lnTo>
                    <a:lnTo>
                      <a:pt x="228" y="178"/>
                    </a:lnTo>
                    <a:lnTo>
                      <a:pt x="228" y="180"/>
                    </a:lnTo>
                    <a:lnTo>
                      <a:pt x="228" y="180"/>
                    </a:lnTo>
                    <a:lnTo>
                      <a:pt x="230" y="180"/>
                    </a:lnTo>
                    <a:lnTo>
                      <a:pt x="230" y="182"/>
                    </a:lnTo>
                    <a:lnTo>
                      <a:pt x="230" y="182"/>
                    </a:lnTo>
                    <a:lnTo>
                      <a:pt x="230" y="184"/>
                    </a:lnTo>
                    <a:lnTo>
                      <a:pt x="232" y="186"/>
                    </a:lnTo>
                    <a:lnTo>
                      <a:pt x="232" y="186"/>
                    </a:lnTo>
                    <a:lnTo>
                      <a:pt x="232" y="186"/>
                    </a:lnTo>
                    <a:lnTo>
                      <a:pt x="234" y="186"/>
                    </a:lnTo>
                    <a:lnTo>
                      <a:pt x="234" y="186"/>
                    </a:lnTo>
                    <a:lnTo>
                      <a:pt x="236" y="188"/>
                    </a:lnTo>
                    <a:lnTo>
                      <a:pt x="238" y="188"/>
                    </a:lnTo>
                    <a:lnTo>
                      <a:pt x="242" y="188"/>
                    </a:lnTo>
                    <a:lnTo>
                      <a:pt x="246" y="188"/>
                    </a:lnTo>
                    <a:lnTo>
                      <a:pt x="252" y="188"/>
                    </a:lnTo>
                    <a:lnTo>
                      <a:pt x="254" y="188"/>
                    </a:lnTo>
                    <a:lnTo>
                      <a:pt x="258" y="188"/>
                    </a:lnTo>
                    <a:lnTo>
                      <a:pt x="262" y="190"/>
                    </a:lnTo>
                    <a:lnTo>
                      <a:pt x="266" y="192"/>
                    </a:lnTo>
                    <a:lnTo>
                      <a:pt x="270" y="196"/>
                    </a:lnTo>
                    <a:lnTo>
                      <a:pt x="272" y="198"/>
                    </a:lnTo>
                    <a:lnTo>
                      <a:pt x="272" y="200"/>
                    </a:lnTo>
                    <a:lnTo>
                      <a:pt x="274" y="202"/>
                    </a:lnTo>
                    <a:lnTo>
                      <a:pt x="274" y="204"/>
                    </a:lnTo>
                    <a:lnTo>
                      <a:pt x="274" y="208"/>
                    </a:lnTo>
                    <a:lnTo>
                      <a:pt x="274" y="206"/>
                    </a:lnTo>
                    <a:lnTo>
                      <a:pt x="276" y="210"/>
                    </a:lnTo>
                    <a:lnTo>
                      <a:pt x="274" y="212"/>
                    </a:lnTo>
                    <a:lnTo>
                      <a:pt x="274" y="212"/>
                    </a:lnTo>
                    <a:lnTo>
                      <a:pt x="272" y="214"/>
                    </a:lnTo>
                    <a:lnTo>
                      <a:pt x="272" y="214"/>
                    </a:lnTo>
                    <a:lnTo>
                      <a:pt x="270" y="216"/>
                    </a:lnTo>
                    <a:lnTo>
                      <a:pt x="266" y="218"/>
                    </a:lnTo>
                    <a:lnTo>
                      <a:pt x="260" y="218"/>
                    </a:lnTo>
                    <a:lnTo>
                      <a:pt x="254" y="220"/>
                    </a:lnTo>
                    <a:lnTo>
                      <a:pt x="248" y="222"/>
                    </a:lnTo>
                    <a:lnTo>
                      <a:pt x="242" y="222"/>
                    </a:lnTo>
                    <a:lnTo>
                      <a:pt x="238" y="222"/>
                    </a:lnTo>
                    <a:lnTo>
                      <a:pt x="236" y="222"/>
                    </a:lnTo>
                    <a:lnTo>
                      <a:pt x="236" y="222"/>
                    </a:lnTo>
                    <a:lnTo>
                      <a:pt x="234" y="220"/>
                    </a:lnTo>
                    <a:lnTo>
                      <a:pt x="236" y="218"/>
                    </a:lnTo>
                    <a:lnTo>
                      <a:pt x="236" y="214"/>
                    </a:lnTo>
                    <a:lnTo>
                      <a:pt x="238" y="210"/>
                    </a:lnTo>
                    <a:lnTo>
                      <a:pt x="238" y="210"/>
                    </a:lnTo>
                    <a:lnTo>
                      <a:pt x="238" y="210"/>
                    </a:lnTo>
                    <a:lnTo>
                      <a:pt x="238" y="206"/>
                    </a:lnTo>
                    <a:lnTo>
                      <a:pt x="238" y="206"/>
                    </a:lnTo>
                    <a:lnTo>
                      <a:pt x="238" y="206"/>
                    </a:lnTo>
                    <a:lnTo>
                      <a:pt x="236" y="204"/>
                    </a:lnTo>
                    <a:lnTo>
                      <a:pt x="236" y="204"/>
                    </a:lnTo>
                    <a:lnTo>
                      <a:pt x="236" y="204"/>
                    </a:lnTo>
                    <a:lnTo>
                      <a:pt x="236" y="202"/>
                    </a:lnTo>
                    <a:lnTo>
                      <a:pt x="236" y="202"/>
                    </a:lnTo>
                    <a:lnTo>
                      <a:pt x="234" y="202"/>
                    </a:lnTo>
                    <a:lnTo>
                      <a:pt x="232" y="202"/>
                    </a:lnTo>
                    <a:lnTo>
                      <a:pt x="232" y="202"/>
                    </a:lnTo>
                    <a:lnTo>
                      <a:pt x="232" y="202"/>
                    </a:lnTo>
                    <a:lnTo>
                      <a:pt x="230" y="202"/>
                    </a:lnTo>
                    <a:lnTo>
                      <a:pt x="230" y="202"/>
                    </a:lnTo>
                    <a:lnTo>
                      <a:pt x="230" y="202"/>
                    </a:lnTo>
                    <a:lnTo>
                      <a:pt x="226" y="202"/>
                    </a:lnTo>
                    <a:lnTo>
                      <a:pt x="224" y="204"/>
                    </a:lnTo>
                    <a:lnTo>
                      <a:pt x="220" y="206"/>
                    </a:lnTo>
                    <a:lnTo>
                      <a:pt x="216" y="208"/>
                    </a:lnTo>
                    <a:lnTo>
                      <a:pt x="208" y="212"/>
                    </a:lnTo>
                    <a:lnTo>
                      <a:pt x="198" y="216"/>
                    </a:lnTo>
                    <a:lnTo>
                      <a:pt x="188" y="222"/>
                    </a:lnTo>
                    <a:lnTo>
                      <a:pt x="184" y="224"/>
                    </a:lnTo>
                    <a:lnTo>
                      <a:pt x="180" y="226"/>
                    </a:lnTo>
                    <a:lnTo>
                      <a:pt x="176" y="228"/>
                    </a:lnTo>
                    <a:lnTo>
                      <a:pt x="172" y="230"/>
                    </a:lnTo>
                    <a:lnTo>
                      <a:pt x="170" y="232"/>
                    </a:lnTo>
                    <a:lnTo>
                      <a:pt x="168" y="234"/>
                    </a:lnTo>
                    <a:lnTo>
                      <a:pt x="166" y="236"/>
                    </a:lnTo>
                    <a:lnTo>
                      <a:pt x="166" y="236"/>
                    </a:lnTo>
                    <a:lnTo>
                      <a:pt x="166" y="236"/>
                    </a:lnTo>
                    <a:lnTo>
                      <a:pt x="166" y="238"/>
                    </a:lnTo>
                    <a:lnTo>
                      <a:pt x="166" y="238"/>
                    </a:lnTo>
                    <a:lnTo>
                      <a:pt x="166" y="238"/>
                    </a:lnTo>
                    <a:lnTo>
                      <a:pt x="166" y="240"/>
                    </a:lnTo>
                    <a:lnTo>
                      <a:pt x="166" y="240"/>
                    </a:lnTo>
                    <a:lnTo>
                      <a:pt x="166" y="240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8" y="242"/>
                    </a:lnTo>
                    <a:lnTo>
                      <a:pt x="180" y="244"/>
                    </a:lnTo>
                    <a:lnTo>
                      <a:pt x="182" y="244"/>
                    </a:lnTo>
                    <a:lnTo>
                      <a:pt x="182" y="246"/>
                    </a:lnTo>
                    <a:lnTo>
                      <a:pt x="184" y="248"/>
                    </a:lnTo>
                    <a:lnTo>
                      <a:pt x="186" y="252"/>
                    </a:lnTo>
                    <a:lnTo>
                      <a:pt x="188" y="256"/>
                    </a:lnTo>
                    <a:lnTo>
                      <a:pt x="188" y="260"/>
                    </a:lnTo>
                    <a:lnTo>
                      <a:pt x="190" y="264"/>
                    </a:lnTo>
                    <a:lnTo>
                      <a:pt x="192" y="266"/>
                    </a:lnTo>
                    <a:lnTo>
                      <a:pt x="194" y="270"/>
                    </a:lnTo>
                    <a:lnTo>
                      <a:pt x="194" y="270"/>
                    </a:lnTo>
                    <a:lnTo>
                      <a:pt x="194" y="270"/>
                    </a:lnTo>
                    <a:lnTo>
                      <a:pt x="196" y="272"/>
                    </a:lnTo>
                    <a:lnTo>
                      <a:pt x="196" y="272"/>
                    </a:lnTo>
                    <a:lnTo>
                      <a:pt x="196" y="272"/>
                    </a:lnTo>
                    <a:lnTo>
                      <a:pt x="198" y="272"/>
                    </a:lnTo>
                    <a:lnTo>
                      <a:pt x="200" y="274"/>
                    </a:lnTo>
                    <a:lnTo>
                      <a:pt x="200" y="274"/>
                    </a:lnTo>
                    <a:lnTo>
                      <a:pt x="200" y="274"/>
                    </a:lnTo>
                    <a:lnTo>
                      <a:pt x="202" y="276"/>
                    </a:lnTo>
                    <a:lnTo>
                      <a:pt x="204" y="276"/>
                    </a:lnTo>
                    <a:lnTo>
                      <a:pt x="206" y="276"/>
                    </a:lnTo>
                    <a:lnTo>
                      <a:pt x="210" y="276"/>
                    </a:lnTo>
                    <a:lnTo>
                      <a:pt x="214" y="276"/>
                    </a:lnTo>
                    <a:lnTo>
                      <a:pt x="218" y="276"/>
                    </a:lnTo>
                    <a:lnTo>
                      <a:pt x="222" y="276"/>
                    </a:lnTo>
                    <a:lnTo>
                      <a:pt x="226" y="278"/>
                    </a:lnTo>
                    <a:lnTo>
                      <a:pt x="232" y="276"/>
                    </a:lnTo>
                    <a:lnTo>
                      <a:pt x="236" y="276"/>
                    </a:lnTo>
                    <a:lnTo>
                      <a:pt x="240" y="276"/>
                    </a:lnTo>
                    <a:lnTo>
                      <a:pt x="242" y="276"/>
                    </a:lnTo>
                    <a:lnTo>
                      <a:pt x="246" y="276"/>
                    </a:lnTo>
                    <a:lnTo>
                      <a:pt x="246" y="276"/>
                    </a:lnTo>
                    <a:lnTo>
                      <a:pt x="246" y="276"/>
                    </a:lnTo>
                    <a:lnTo>
                      <a:pt x="248" y="274"/>
                    </a:lnTo>
                    <a:lnTo>
                      <a:pt x="248" y="274"/>
                    </a:lnTo>
                    <a:lnTo>
                      <a:pt x="248" y="274"/>
                    </a:lnTo>
                    <a:lnTo>
                      <a:pt x="250" y="274"/>
                    </a:lnTo>
                    <a:lnTo>
                      <a:pt x="250" y="272"/>
                    </a:lnTo>
                    <a:lnTo>
                      <a:pt x="252" y="270"/>
                    </a:lnTo>
                    <a:lnTo>
                      <a:pt x="252" y="270"/>
                    </a:lnTo>
                    <a:lnTo>
                      <a:pt x="254" y="270"/>
                    </a:lnTo>
                    <a:lnTo>
                      <a:pt x="256" y="270"/>
                    </a:lnTo>
                    <a:lnTo>
                      <a:pt x="260" y="270"/>
                    </a:lnTo>
                    <a:lnTo>
                      <a:pt x="266" y="272"/>
                    </a:lnTo>
                    <a:lnTo>
                      <a:pt x="268" y="272"/>
                    </a:lnTo>
                    <a:lnTo>
                      <a:pt x="270" y="272"/>
                    </a:lnTo>
                    <a:lnTo>
                      <a:pt x="272" y="274"/>
                    </a:lnTo>
                    <a:lnTo>
                      <a:pt x="274" y="276"/>
                    </a:lnTo>
                    <a:lnTo>
                      <a:pt x="274" y="278"/>
                    </a:lnTo>
                    <a:lnTo>
                      <a:pt x="276" y="280"/>
                    </a:lnTo>
                    <a:lnTo>
                      <a:pt x="276" y="284"/>
                    </a:lnTo>
                    <a:lnTo>
                      <a:pt x="278" y="288"/>
                    </a:lnTo>
                    <a:lnTo>
                      <a:pt x="278" y="294"/>
                    </a:lnTo>
                    <a:lnTo>
                      <a:pt x="278" y="298"/>
                    </a:lnTo>
                    <a:lnTo>
                      <a:pt x="276" y="300"/>
                    </a:lnTo>
                    <a:lnTo>
                      <a:pt x="276" y="304"/>
                    </a:lnTo>
                    <a:lnTo>
                      <a:pt x="274" y="306"/>
                    </a:lnTo>
                    <a:lnTo>
                      <a:pt x="272" y="306"/>
                    </a:lnTo>
                    <a:lnTo>
                      <a:pt x="270" y="308"/>
                    </a:lnTo>
                    <a:lnTo>
                      <a:pt x="266" y="310"/>
                    </a:lnTo>
                    <a:lnTo>
                      <a:pt x="258" y="312"/>
                    </a:lnTo>
                    <a:lnTo>
                      <a:pt x="254" y="312"/>
                    </a:lnTo>
                    <a:lnTo>
                      <a:pt x="252" y="314"/>
                    </a:lnTo>
                    <a:lnTo>
                      <a:pt x="248" y="316"/>
                    </a:lnTo>
                    <a:lnTo>
                      <a:pt x="244" y="316"/>
                    </a:lnTo>
                    <a:lnTo>
                      <a:pt x="236" y="318"/>
                    </a:lnTo>
                    <a:lnTo>
                      <a:pt x="228" y="320"/>
                    </a:lnTo>
                    <a:lnTo>
                      <a:pt x="224" y="322"/>
                    </a:lnTo>
                    <a:lnTo>
                      <a:pt x="220" y="324"/>
                    </a:lnTo>
                    <a:lnTo>
                      <a:pt x="218" y="326"/>
                    </a:lnTo>
                    <a:lnTo>
                      <a:pt x="214" y="328"/>
                    </a:lnTo>
                    <a:lnTo>
                      <a:pt x="214" y="328"/>
                    </a:lnTo>
                    <a:lnTo>
                      <a:pt x="214" y="328"/>
                    </a:lnTo>
                    <a:lnTo>
                      <a:pt x="210" y="334"/>
                    </a:lnTo>
                    <a:lnTo>
                      <a:pt x="210" y="334"/>
                    </a:lnTo>
                    <a:lnTo>
                      <a:pt x="210" y="334"/>
                    </a:lnTo>
                    <a:lnTo>
                      <a:pt x="206" y="340"/>
                    </a:lnTo>
                    <a:lnTo>
                      <a:pt x="204" y="348"/>
                    </a:lnTo>
                    <a:lnTo>
                      <a:pt x="202" y="354"/>
                    </a:lnTo>
                    <a:lnTo>
                      <a:pt x="200" y="360"/>
                    </a:lnTo>
                    <a:lnTo>
                      <a:pt x="200" y="364"/>
                    </a:lnTo>
                    <a:lnTo>
                      <a:pt x="200" y="366"/>
                    </a:lnTo>
                    <a:lnTo>
                      <a:pt x="200" y="366"/>
                    </a:lnTo>
                    <a:lnTo>
                      <a:pt x="200" y="366"/>
                    </a:lnTo>
                    <a:lnTo>
                      <a:pt x="200" y="370"/>
                    </a:lnTo>
                    <a:lnTo>
                      <a:pt x="200" y="370"/>
                    </a:lnTo>
                    <a:lnTo>
                      <a:pt x="200" y="370"/>
                    </a:lnTo>
                    <a:lnTo>
                      <a:pt x="202" y="372"/>
                    </a:lnTo>
                    <a:lnTo>
                      <a:pt x="202" y="372"/>
                    </a:lnTo>
                    <a:lnTo>
                      <a:pt x="202" y="374"/>
                    </a:lnTo>
                    <a:lnTo>
                      <a:pt x="204" y="376"/>
                    </a:lnTo>
                    <a:lnTo>
                      <a:pt x="204" y="376"/>
                    </a:lnTo>
                    <a:lnTo>
                      <a:pt x="204" y="376"/>
                    </a:lnTo>
                    <a:lnTo>
                      <a:pt x="206" y="378"/>
                    </a:lnTo>
                    <a:lnTo>
                      <a:pt x="206" y="378"/>
                    </a:lnTo>
                    <a:lnTo>
                      <a:pt x="206" y="378"/>
                    </a:lnTo>
                    <a:lnTo>
                      <a:pt x="208" y="380"/>
                    </a:lnTo>
                    <a:lnTo>
                      <a:pt x="212" y="382"/>
                    </a:lnTo>
                    <a:lnTo>
                      <a:pt x="218" y="384"/>
                    </a:lnTo>
                    <a:lnTo>
                      <a:pt x="220" y="386"/>
                    </a:lnTo>
                    <a:lnTo>
                      <a:pt x="222" y="388"/>
                    </a:lnTo>
                    <a:lnTo>
                      <a:pt x="224" y="390"/>
                    </a:lnTo>
                    <a:lnTo>
                      <a:pt x="228" y="392"/>
                    </a:lnTo>
                    <a:lnTo>
                      <a:pt x="230" y="394"/>
                    </a:lnTo>
                    <a:lnTo>
                      <a:pt x="234" y="396"/>
                    </a:lnTo>
                    <a:lnTo>
                      <a:pt x="234" y="396"/>
                    </a:lnTo>
                    <a:lnTo>
                      <a:pt x="234" y="396"/>
                    </a:lnTo>
                    <a:lnTo>
                      <a:pt x="230" y="396"/>
                    </a:lnTo>
                    <a:lnTo>
                      <a:pt x="224" y="394"/>
                    </a:lnTo>
                    <a:lnTo>
                      <a:pt x="218" y="394"/>
                    </a:lnTo>
                    <a:lnTo>
                      <a:pt x="214" y="394"/>
                    </a:lnTo>
                    <a:lnTo>
                      <a:pt x="212" y="394"/>
                    </a:lnTo>
                    <a:lnTo>
                      <a:pt x="210" y="394"/>
                    </a:lnTo>
                    <a:lnTo>
                      <a:pt x="210" y="394"/>
                    </a:lnTo>
                    <a:lnTo>
                      <a:pt x="210" y="394"/>
                    </a:lnTo>
                    <a:lnTo>
                      <a:pt x="208" y="394"/>
                    </a:lnTo>
                    <a:lnTo>
                      <a:pt x="208" y="394"/>
                    </a:lnTo>
                    <a:lnTo>
                      <a:pt x="206" y="394"/>
                    </a:lnTo>
                    <a:lnTo>
                      <a:pt x="206" y="394"/>
                    </a:lnTo>
                    <a:lnTo>
                      <a:pt x="206" y="394"/>
                    </a:lnTo>
                    <a:lnTo>
                      <a:pt x="206" y="396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206" y="400"/>
                    </a:lnTo>
                    <a:lnTo>
                      <a:pt x="206" y="400"/>
                    </a:lnTo>
                    <a:lnTo>
                      <a:pt x="206" y="400"/>
                    </a:lnTo>
                    <a:lnTo>
                      <a:pt x="206" y="402"/>
                    </a:lnTo>
                    <a:lnTo>
                      <a:pt x="206" y="402"/>
                    </a:lnTo>
                    <a:lnTo>
                      <a:pt x="206" y="404"/>
                    </a:lnTo>
                    <a:lnTo>
                      <a:pt x="210" y="406"/>
                    </a:lnTo>
                    <a:lnTo>
                      <a:pt x="212" y="410"/>
                    </a:lnTo>
                    <a:lnTo>
                      <a:pt x="216" y="414"/>
                    </a:lnTo>
                    <a:lnTo>
                      <a:pt x="218" y="418"/>
                    </a:lnTo>
                    <a:lnTo>
                      <a:pt x="222" y="420"/>
                    </a:lnTo>
                    <a:lnTo>
                      <a:pt x="224" y="422"/>
                    </a:lnTo>
                    <a:lnTo>
                      <a:pt x="224" y="422"/>
                    </a:lnTo>
                    <a:lnTo>
                      <a:pt x="224" y="424"/>
                    </a:lnTo>
                    <a:lnTo>
                      <a:pt x="228" y="424"/>
                    </a:lnTo>
                    <a:lnTo>
                      <a:pt x="228" y="424"/>
                    </a:lnTo>
                    <a:lnTo>
                      <a:pt x="228" y="424"/>
                    </a:lnTo>
                    <a:lnTo>
                      <a:pt x="230" y="424"/>
                    </a:lnTo>
                    <a:lnTo>
                      <a:pt x="230" y="424"/>
                    </a:lnTo>
                    <a:lnTo>
                      <a:pt x="230" y="426"/>
                    </a:lnTo>
                    <a:lnTo>
                      <a:pt x="232" y="426"/>
                    </a:lnTo>
                    <a:lnTo>
                      <a:pt x="234" y="424"/>
                    </a:lnTo>
                    <a:lnTo>
                      <a:pt x="234" y="424"/>
                    </a:lnTo>
                    <a:lnTo>
                      <a:pt x="236" y="424"/>
                    </a:lnTo>
                    <a:lnTo>
                      <a:pt x="240" y="422"/>
                    </a:lnTo>
                    <a:lnTo>
                      <a:pt x="244" y="422"/>
                    </a:lnTo>
                    <a:lnTo>
                      <a:pt x="246" y="420"/>
                    </a:lnTo>
                    <a:lnTo>
                      <a:pt x="248" y="418"/>
                    </a:lnTo>
                    <a:lnTo>
                      <a:pt x="254" y="414"/>
                    </a:lnTo>
                    <a:lnTo>
                      <a:pt x="256" y="412"/>
                    </a:lnTo>
                    <a:lnTo>
                      <a:pt x="256" y="412"/>
                    </a:lnTo>
                    <a:lnTo>
                      <a:pt x="256" y="412"/>
                    </a:lnTo>
                    <a:lnTo>
                      <a:pt x="256" y="416"/>
                    </a:lnTo>
                    <a:lnTo>
                      <a:pt x="254" y="420"/>
                    </a:lnTo>
                    <a:lnTo>
                      <a:pt x="254" y="426"/>
                    </a:lnTo>
                    <a:lnTo>
                      <a:pt x="252" y="432"/>
                    </a:lnTo>
                    <a:lnTo>
                      <a:pt x="252" y="438"/>
                    </a:lnTo>
                    <a:lnTo>
                      <a:pt x="250" y="442"/>
                    </a:lnTo>
                    <a:lnTo>
                      <a:pt x="250" y="442"/>
                    </a:lnTo>
                    <a:lnTo>
                      <a:pt x="250" y="442"/>
                    </a:lnTo>
                    <a:lnTo>
                      <a:pt x="252" y="444"/>
                    </a:lnTo>
                    <a:lnTo>
                      <a:pt x="252" y="446"/>
                    </a:lnTo>
                    <a:lnTo>
                      <a:pt x="252" y="446"/>
                    </a:lnTo>
                    <a:lnTo>
                      <a:pt x="252" y="448"/>
                    </a:lnTo>
                    <a:lnTo>
                      <a:pt x="252" y="450"/>
                    </a:lnTo>
                    <a:lnTo>
                      <a:pt x="252" y="450"/>
                    </a:lnTo>
                    <a:lnTo>
                      <a:pt x="254" y="450"/>
                    </a:lnTo>
                    <a:lnTo>
                      <a:pt x="254" y="452"/>
                    </a:lnTo>
                    <a:lnTo>
                      <a:pt x="254" y="452"/>
                    </a:lnTo>
                    <a:lnTo>
                      <a:pt x="256" y="454"/>
                    </a:lnTo>
                    <a:lnTo>
                      <a:pt x="258" y="454"/>
                    </a:lnTo>
                    <a:lnTo>
                      <a:pt x="258" y="454"/>
                    </a:lnTo>
                    <a:lnTo>
                      <a:pt x="258" y="454"/>
                    </a:lnTo>
                    <a:lnTo>
                      <a:pt x="260" y="456"/>
                    </a:lnTo>
                    <a:lnTo>
                      <a:pt x="260" y="456"/>
                    </a:lnTo>
                    <a:lnTo>
                      <a:pt x="260" y="456"/>
                    </a:lnTo>
                    <a:lnTo>
                      <a:pt x="266" y="458"/>
                    </a:lnTo>
                    <a:lnTo>
                      <a:pt x="270" y="458"/>
                    </a:lnTo>
                    <a:lnTo>
                      <a:pt x="272" y="458"/>
                    </a:lnTo>
                    <a:lnTo>
                      <a:pt x="272" y="458"/>
                    </a:lnTo>
                    <a:lnTo>
                      <a:pt x="274" y="458"/>
                    </a:lnTo>
                    <a:lnTo>
                      <a:pt x="274" y="458"/>
                    </a:lnTo>
                    <a:lnTo>
                      <a:pt x="274" y="458"/>
                    </a:lnTo>
                    <a:lnTo>
                      <a:pt x="278" y="458"/>
                    </a:lnTo>
                    <a:lnTo>
                      <a:pt x="284" y="456"/>
                    </a:lnTo>
                    <a:lnTo>
                      <a:pt x="288" y="456"/>
                    </a:lnTo>
                    <a:lnTo>
                      <a:pt x="290" y="454"/>
                    </a:lnTo>
                    <a:lnTo>
                      <a:pt x="292" y="454"/>
                    </a:lnTo>
                    <a:lnTo>
                      <a:pt x="292" y="456"/>
                    </a:lnTo>
                    <a:lnTo>
                      <a:pt x="294" y="456"/>
                    </a:lnTo>
                    <a:lnTo>
                      <a:pt x="294" y="458"/>
                    </a:lnTo>
                    <a:lnTo>
                      <a:pt x="296" y="460"/>
                    </a:lnTo>
                    <a:lnTo>
                      <a:pt x="298" y="462"/>
                    </a:lnTo>
                    <a:lnTo>
                      <a:pt x="300" y="462"/>
                    </a:lnTo>
                    <a:lnTo>
                      <a:pt x="300" y="462"/>
                    </a:lnTo>
                    <a:lnTo>
                      <a:pt x="300" y="464"/>
                    </a:lnTo>
                    <a:lnTo>
                      <a:pt x="302" y="464"/>
                    </a:lnTo>
                    <a:lnTo>
                      <a:pt x="302" y="464"/>
                    </a:lnTo>
                    <a:lnTo>
                      <a:pt x="302" y="464"/>
                    </a:lnTo>
                    <a:lnTo>
                      <a:pt x="304" y="464"/>
                    </a:lnTo>
                    <a:lnTo>
                      <a:pt x="304" y="464"/>
                    </a:lnTo>
                    <a:lnTo>
                      <a:pt x="306" y="464"/>
                    </a:lnTo>
                    <a:lnTo>
                      <a:pt x="306" y="464"/>
                    </a:lnTo>
                    <a:lnTo>
                      <a:pt x="306" y="464"/>
                    </a:lnTo>
                    <a:lnTo>
                      <a:pt x="308" y="462"/>
                    </a:lnTo>
                    <a:lnTo>
                      <a:pt x="310" y="462"/>
                    </a:lnTo>
                    <a:lnTo>
                      <a:pt x="310" y="462"/>
                    </a:lnTo>
                    <a:lnTo>
                      <a:pt x="310" y="460"/>
                    </a:lnTo>
                    <a:lnTo>
                      <a:pt x="310" y="458"/>
                    </a:lnTo>
                    <a:lnTo>
                      <a:pt x="312" y="456"/>
                    </a:lnTo>
                    <a:lnTo>
                      <a:pt x="312" y="454"/>
                    </a:lnTo>
                    <a:lnTo>
                      <a:pt x="314" y="452"/>
                    </a:lnTo>
                    <a:lnTo>
                      <a:pt x="314" y="450"/>
                    </a:lnTo>
                    <a:lnTo>
                      <a:pt x="316" y="448"/>
                    </a:lnTo>
                    <a:lnTo>
                      <a:pt x="318" y="448"/>
                    </a:lnTo>
                    <a:lnTo>
                      <a:pt x="316" y="448"/>
                    </a:lnTo>
                    <a:lnTo>
                      <a:pt x="318" y="448"/>
                    </a:lnTo>
                    <a:lnTo>
                      <a:pt x="322" y="446"/>
                    </a:lnTo>
                    <a:lnTo>
                      <a:pt x="324" y="446"/>
                    </a:lnTo>
                    <a:lnTo>
                      <a:pt x="324" y="446"/>
                    </a:lnTo>
                    <a:lnTo>
                      <a:pt x="326" y="448"/>
                    </a:lnTo>
                    <a:lnTo>
                      <a:pt x="326" y="448"/>
                    </a:lnTo>
                    <a:lnTo>
                      <a:pt x="326" y="448"/>
                    </a:lnTo>
                    <a:lnTo>
                      <a:pt x="326" y="450"/>
                    </a:lnTo>
                    <a:lnTo>
                      <a:pt x="326" y="454"/>
                    </a:lnTo>
                    <a:lnTo>
                      <a:pt x="326" y="456"/>
                    </a:lnTo>
                    <a:lnTo>
                      <a:pt x="324" y="464"/>
                    </a:lnTo>
                    <a:lnTo>
                      <a:pt x="322" y="468"/>
                    </a:lnTo>
                    <a:lnTo>
                      <a:pt x="322" y="470"/>
                    </a:lnTo>
                    <a:lnTo>
                      <a:pt x="318" y="476"/>
                    </a:lnTo>
                    <a:lnTo>
                      <a:pt x="316" y="482"/>
                    </a:lnTo>
                    <a:lnTo>
                      <a:pt x="310" y="488"/>
                    </a:lnTo>
                    <a:lnTo>
                      <a:pt x="306" y="492"/>
                    </a:lnTo>
                    <a:lnTo>
                      <a:pt x="300" y="498"/>
                    </a:lnTo>
                    <a:lnTo>
                      <a:pt x="294" y="502"/>
                    </a:lnTo>
                    <a:lnTo>
                      <a:pt x="288" y="508"/>
                    </a:lnTo>
                    <a:lnTo>
                      <a:pt x="280" y="512"/>
                    </a:lnTo>
                    <a:lnTo>
                      <a:pt x="274" y="516"/>
                    </a:lnTo>
                    <a:lnTo>
                      <a:pt x="266" y="520"/>
                    </a:lnTo>
                    <a:lnTo>
                      <a:pt x="260" y="522"/>
                    </a:lnTo>
                    <a:lnTo>
                      <a:pt x="252" y="526"/>
                    </a:lnTo>
                    <a:lnTo>
                      <a:pt x="246" y="530"/>
                    </a:lnTo>
                    <a:lnTo>
                      <a:pt x="240" y="532"/>
                    </a:lnTo>
                    <a:lnTo>
                      <a:pt x="232" y="536"/>
                    </a:lnTo>
                    <a:lnTo>
                      <a:pt x="232" y="536"/>
                    </a:lnTo>
                    <a:lnTo>
                      <a:pt x="232" y="536"/>
                    </a:lnTo>
                    <a:lnTo>
                      <a:pt x="226" y="540"/>
                    </a:lnTo>
                    <a:lnTo>
                      <a:pt x="226" y="540"/>
                    </a:lnTo>
                    <a:lnTo>
                      <a:pt x="226" y="540"/>
                    </a:lnTo>
                    <a:lnTo>
                      <a:pt x="224" y="542"/>
                    </a:lnTo>
                    <a:lnTo>
                      <a:pt x="224" y="542"/>
                    </a:lnTo>
                    <a:lnTo>
                      <a:pt x="224" y="544"/>
                    </a:lnTo>
                    <a:lnTo>
                      <a:pt x="222" y="546"/>
                    </a:lnTo>
                    <a:lnTo>
                      <a:pt x="222" y="546"/>
                    </a:lnTo>
                    <a:lnTo>
                      <a:pt x="222" y="546"/>
                    </a:lnTo>
                    <a:lnTo>
                      <a:pt x="218" y="552"/>
                    </a:lnTo>
                    <a:lnTo>
                      <a:pt x="218" y="556"/>
                    </a:lnTo>
                    <a:lnTo>
                      <a:pt x="216" y="558"/>
                    </a:lnTo>
                    <a:lnTo>
                      <a:pt x="214" y="560"/>
                    </a:lnTo>
                    <a:lnTo>
                      <a:pt x="212" y="562"/>
                    </a:lnTo>
                    <a:lnTo>
                      <a:pt x="210" y="562"/>
                    </a:lnTo>
                    <a:lnTo>
                      <a:pt x="208" y="562"/>
                    </a:lnTo>
                    <a:lnTo>
                      <a:pt x="200" y="564"/>
                    </a:lnTo>
                    <a:lnTo>
                      <a:pt x="192" y="564"/>
                    </a:lnTo>
                    <a:lnTo>
                      <a:pt x="188" y="564"/>
                    </a:lnTo>
                    <a:lnTo>
                      <a:pt x="186" y="564"/>
                    </a:lnTo>
                    <a:lnTo>
                      <a:pt x="182" y="566"/>
                    </a:lnTo>
                    <a:lnTo>
                      <a:pt x="180" y="566"/>
                    </a:lnTo>
                    <a:lnTo>
                      <a:pt x="176" y="568"/>
                    </a:lnTo>
                    <a:lnTo>
                      <a:pt x="174" y="570"/>
                    </a:lnTo>
                    <a:lnTo>
                      <a:pt x="170" y="574"/>
                    </a:lnTo>
                    <a:lnTo>
                      <a:pt x="166" y="576"/>
                    </a:lnTo>
                    <a:lnTo>
                      <a:pt x="162" y="578"/>
                    </a:lnTo>
                    <a:lnTo>
                      <a:pt x="160" y="580"/>
                    </a:lnTo>
                    <a:lnTo>
                      <a:pt x="160" y="580"/>
                    </a:lnTo>
                    <a:lnTo>
                      <a:pt x="160" y="580"/>
                    </a:lnTo>
                    <a:lnTo>
                      <a:pt x="156" y="584"/>
                    </a:lnTo>
                    <a:lnTo>
                      <a:pt x="156" y="584"/>
                    </a:lnTo>
                    <a:lnTo>
                      <a:pt x="156" y="584"/>
                    </a:lnTo>
                    <a:lnTo>
                      <a:pt x="154" y="586"/>
                    </a:lnTo>
                    <a:lnTo>
                      <a:pt x="154" y="586"/>
                    </a:lnTo>
                    <a:lnTo>
                      <a:pt x="154" y="586"/>
                    </a:lnTo>
                    <a:lnTo>
                      <a:pt x="154" y="588"/>
                    </a:lnTo>
                    <a:lnTo>
                      <a:pt x="152" y="594"/>
                    </a:lnTo>
                    <a:lnTo>
                      <a:pt x="152" y="596"/>
                    </a:lnTo>
                    <a:lnTo>
                      <a:pt x="150" y="598"/>
                    </a:lnTo>
                    <a:lnTo>
                      <a:pt x="150" y="600"/>
                    </a:lnTo>
                    <a:lnTo>
                      <a:pt x="146" y="600"/>
                    </a:lnTo>
                    <a:lnTo>
                      <a:pt x="144" y="602"/>
                    </a:lnTo>
                    <a:lnTo>
                      <a:pt x="140" y="602"/>
                    </a:lnTo>
                    <a:lnTo>
                      <a:pt x="134" y="602"/>
                    </a:lnTo>
                    <a:lnTo>
                      <a:pt x="128" y="602"/>
                    </a:lnTo>
                    <a:lnTo>
                      <a:pt x="116" y="602"/>
                    </a:lnTo>
                    <a:lnTo>
                      <a:pt x="110" y="604"/>
                    </a:lnTo>
                    <a:lnTo>
                      <a:pt x="106" y="604"/>
                    </a:lnTo>
                    <a:lnTo>
                      <a:pt x="100" y="606"/>
                    </a:lnTo>
                    <a:lnTo>
                      <a:pt x="96" y="608"/>
                    </a:lnTo>
                    <a:lnTo>
                      <a:pt x="94" y="608"/>
                    </a:lnTo>
                    <a:lnTo>
                      <a:pt x="90" y="610"/>
                    </a:lnTo>
                    <a:lnTo>
                      <a:pt x="88" y="612"/>
                    </a:lnTo>
                    <a:lnTo>
                      <a:pt x="86" y="612"/>
                    </a:lnTo>
                    <a:lnTo>
                      <a:pt x="76" y="616"/>
                    </a:lnTo>
                    <a:lnTo>
                      <a:pt x="72" y="616"/>
                    </a:lnTo>
                    <a:lnTo>
                      <a:pt x="66" y="616"/>
                    </a:lnTo>
                    <a:lnTo>
                      <a:pt x="60" y="616"/>
                    </a:lnTo>
                    <a:lnTo>
                      <a:pt x="54" y="616"/>
                    </a:lnTo>
                    <a:lnTo>
                      <a:pt x="46" y="614"/>
                    </a:lnTo>
                    <a:lnTo>
                      <a:pt x="40" y="614"/>
                    </a:lnTo>
                    <a:lnTo>
                      <a:pt x="32" y="616"/>
                    </a:lnTo>
                    <a:lnTo>
                      <a:pt x="28" y="616"/>
                    </a:lnTo>
                    <a:lnTo>
                      <a:pt x="28" y="616"/>
                    </a:lnTo>
                    <a:lnTo>
                      <a:pt x="28" y="616"/>
                    </a:lnTo>
                    <a:lnTo>
                      <a:pt x="22" y="618"/>
                    </a:lnTo>
                    <a:lnTo>
                      <a:pt x="16" y="620"/>
                    </a:lnTo>
                    <a:lnTo>
                      <a:pt x="12" y="622"/>
                    </a:lnTo>
                    <a:lnTo>
                      <a:pt x="8" y="624"/>
                    </a:lnTo>
                    <a:lnTo>
                      <a:pt x="4" y="628"/>
                    </a:lnTo>
                    <a:lnTo>
                      <a:pt x="2" y="630"/>
                    </a:lnTo>
                    <a:lnTo>
                      <a:pt x="0" y="632"/>
                    </a:lnTo>
                    <a:lnTo>
                      <a:pt x="0" y="632"/>
                    </a:lnTo>
                    <a:lnTo>
                      <a:pt x="0" y="632"/>
                    </a:lnTo>
                    <a:lnTo>
                      <a:pt x="0" y="634"/>
                    </a:lnTo>
                    <a:lnTo>
                      <a:pt x="0" y="634"/>
                    </a:lnTo>
                    <a:lnTo>
                      <a:pt x="0" y="636"/>
                    </a:lnTo>
                    <a:lnTo>
                      <a:pt x="0" y="636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4" y="638"/>
                    </a:lnTo>
                    <a:lnTo>
                      <a:pt x="6" y="636"/>
                    </a:lnTo>
                    <a:lnTo>
                      <a:pt x="10" y="636"/>
                    </a:lnTo>
                    <a:lnTo>
                      <a:pt x="14" y="634"/>
                    </a:lnTo>
                    <a:lnTo>
                      <a:pt x="18" y="632"/>
                    </a:lnTo>
                    <a:lnTo>
                      <a:pt x="24" y="632"/>
                    </a:lnTo>
                    <a:lnTo>
                      <a:pt x="28" y="630"/>
                    </a:lnTo>
                    <a:lnTo>
                      <a:pt x="32" y="630"/>
                    </a:lnTo>
                    <a:lnTo>
                      <a:pt x="40" y="628"/>
                    </a:lnTo>
                    <a:lnTo>
                      <a:pt x="48" y="626"/>
                    </a:lnTo>
                    <a:lnTo>
                      <a:pt x="58" y="626"/>
                    </a:lnTo>
                    <a:lnTo>
                      <a:pt x="66" y="624"/>
                    </a:lnTo>
                    <a:lnTo>
                      <a:pt x="72" y="622"/>
                    </a:lnTo>
                    <a:lnTo>
                      <a:pt x="78" y="622"/>
                    </a:lnTo>
                    <a:lnTo>
                      <a:pt x="84" y="620"/>
                    </a:lnTo>
                    <a:lnTo>
                      <a:pt x="88" y="620"/>
                    </a:lnTo>
                    <a:lnTo>
                      <a:pt x="90" y="618"/>
                    </a:lnTo>
                    <a:lnTo>
                      <a:pt x="100" y="616"/>
                    </a:lnTo>
                    <a:lnTo>
                      <a:pt x="110" y="614"/>
                    </a:lnTo>
                    <a:lnTo>
                      <a:pt x="116" y="614"/>
                    </a:lnTo>
                    <a:lnTo>
                      <a:pt x="122" y="612"/>
                    </a:lnTo>
                    <a:lnTo>
                      <a:pt x="134" y="612"/>
                    </a:lnTo>
                    <a:lnTo>
                      <a:pt x="140" y="612"/>
                    </a:lnTo>
                    <a:lnTo>
                      <a:pt x="146" y="612"/>
                    </a:lnTo>
                    <a:lnTo>
                      <a:pt x="152" y="612"/>
                    </a:lnTo>
                    <a:lnTo>
                      <a:pt x="156" y="612"/>
                    </a:lnTo>
                    <a:lnTo>
                      <a:pt x="160" y="610"/>
                    </a:lnTo>
                    <a:lnTo>
                      <a:pt x="160" y="610"/>
                    </a:lnTo>
                    <a:lnTo>
                      <a:pt x="160" y="610"/>
                    </a:lnTo>
                    <a:lnTo>
                      <a:pt x="164" y="610"/>
                    </a:lnTo>
                    <a:lnTo>
                      <a:pt x="164" y="610"/>
                    </a:lnTo>
                    <a:lnTo>
                      <a:pt x="164" y="608"/>
                    </a:lnTo>
                    <a:lnTo>
                      <a:pt x="168" y="608"/>
                    </a:lnTo>
                    <a:lnTo>
                      <a:pt x="170" y="606"/>
                    </a:lnTo>
                    <a:lnTo>
                      <a:pt x="174" y="602"/>
                    </a:lnTo>
                    <a:lnTo>
                      <a:pt x="176" y="600"/>
                    </a:lnTo>
                    <a:lnTo>
                      <a:pt x="176" y="600"/>
                    </a:lnTo>
                    <a:lnTo>
                      <a:pt x="176" y="600"/>
                    </a:lnTo>
                    <a:lnTo>
                      <a:pt x="178" y="600"/>
                    </a:lnTo>
                    <a:lnTo>
                      <a:pt x="180" y="600"/>
                    </a:lnTo>
                    <a:lnTo>
                      <a:pt x="182" y="600"/>
                    </a:lnTo>
                    <a:lnTo>
                      <a:pt x="184" y="602"/>
                    </a:lnTo>
                    <a:lnTo>
                      <a:pt x="184" y="602"/>
                    </a:lnTo>
                    <a:lnTo>
                      <a:pt x="184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88" y="602"/>
                    </a:lnTo>
                    <a:lnTo>
                      <a:pt x="188" y="602"/>
                    </a:lnTo>
                    <a:lnTo>
                      <a:pt x="190" y="600"/>
                    </a:lnTo>
                    <a:lnTo>
                      <a:pt x="192" y="600"/>
                    </a:lnTo>
                    <a:lnTo>
                      <a:pt x="192" y="600"/>
                    </a:lnTo>
                    <a:lnTo>
                      <a:pt x="192" y="600"/>
                    </a:lnTo>
                    <a:lnTo>
                      <a:pt x="194" y="596"/>
                    </a:lnTo>
                    <a:lnTo>
                      <a:pt x="194" y="596"/>
                    </a:lnTo>
                    <a:lnTo>
                      <a:pt x="194" y="596"/>
                    </a:lnTo>
                    <a:lnTo>
                      <a:pt x="196" y="594"/>
                    </a:lnTo>
                    <a:lnTo>
                      <a:pt x="198" y="590"/>
                    </a:lnTo>
                    <a:lnTo>
                      <a:pt x="200" y="586"/>
                    </a:lnTo>
                    <a:lnTo>
                      <a:pt x="204" y="582"/>
                    </a:lnTo>
                    <a:lnTo>
                      <a:pt x="206" y="578"/>
                    </a:lnTo>
                    <a:lnTo>
                      <a:pt x="210" y="574"/>
                    </a:lnTo>
                    <a:lnTo>
                      <a:pt x="216" y="570"/>
                    </a:lnTo>
                    <a:lnTo>
                      <a:pt x="218" y="568"/>
                    </a:lnTo>
                    <a:lnTo>
                      <a:pt x="222" y="566"/>
                    </a:lnTo>
                    <a:lnTo>
                      <a:pt x="230" y="562"/>
                    </a:lnTo>
                    <a:lnTo>
                      <a:pt x="238" y="558"/>
                    </a:lnTo>
                    <a:lnTo>
                      <a:pt x="248" y="554"/>
                    </a:lnTo>
                    <a:lnTo>
                      <a:pt x="258" y="548"/>
                    </a:lnTo>
                    <a:lnTo>
                      <a:pt x="268" y="544"/>
                    </a:lnTo>
                    <a:lnTo>
                      <a:pt x="278" y="540"/>
                    </a:lnTo>
                    <a:lnTo>
                      <a:pt x="286" y="534"/>
                    </a:lnTo>
                    <a:lnTo>
                      <a:pt x="302" y="526"/>
                    </a:lnTo>
                    <a:lnTo>
                      <a:pt x="316" y="518"/>
                    </a:lnTo>
                    <a:lnTo>
                      <a:pt x="330" y="510"/>
                    </a:lnTo>
                    <a:lnTo>
                      <a:pt x="338" y="504"/>
                    </a:lnTo>
                    <a:lnTo>
                      <a:pt x="344" y="500"/>
                    </a:lnTo>
                    <a:lnTo>
                      <a:pt x="350" y="494"/>
                    </a:lnTo>
                    <a:lnTo>
                      <a:pt x="356" y="486"/>
                    </a:lnTo>
                    <a:lnTo>
                      <a:pt x="362" y="478"/>
                    </a:lnTo>
                    <a:lnTo>
                      <a:pt x="368" y="472"/>
                    </a:lnTo>
                    <a:lnTo>
                      <a:pt x="374" y="464"/>
                    </a:lnTo>
                    <a:lnTo>
                      <a:pt x="378" y="458"/>
                    </a:lnTo>
                    <a:lnTo>
                      <a:pt x="382" y="452"/>
                    </a:lnTo>
                    <a:lnTo>
                      <a:pt x="384" y="450"/>
                    </a:lnTo>
                    <a:lnTo>
                      <a:pt x="384" y="448"/>
                    </a:lnTo>
                    <a:lnTo>
                      <a:pt x="386" y="446"/>
                    </a:lnTo>
                    <a:lnTo>
                      <a:pt x="386" y="446"/>
                    </a:lnTo>
                    <a:lnTo>
                      <a:pt x="386" y="444"/>
                    </a:lnTo>
                    <a:lnTo>
                      <a:pt x="386" y="444"/>
                    </a:lnTo>
                    <a:lnTo>
                      <a:pt x="386" y="444"/>
                    </a:lnTo>
                    <a:lnTo>
                      <a:pt x="386" y="442"/>
                    </a:lnTo>
                    <a:lnTo>
                      <a:pt x="386" y="442"/>
                    </a:lnTo>
                    <a:lnTo>
                      <a:pt x="386" y="442"/>
                    </a:lnTo>
                    <a:lnTo>
                      <a:pt x="386" y="440"/>
                    </a:lnTo>
                    <a:lnTo>
                      <a:pt x="384" y="440"/>
                    </a:lnTo>
                    <a:lnTo>
                      <a:pt x="384" y="440"/>
                    </a:lnTo>
                    <a:lnTo>
                      <a:pt x="390" y="440"/>
                    </a:lnTo>
                    <a:lnTo>
                      <a:pt x="396" y="440"/>
                    </a:lnTo>
                    <a:lnTo>
                      <a:pt x="398" y="440"/>
                    </a:lnTo>
                    <a:lnTo>
                      <a:pt x="400" y="440"/>
                    </a:lnTo>
                    <a:lnTo>
                      <a:pt x="402" y="440"/>
                    </a:lnTo>
                    <a:lnTo>
                      <a:pt x="404" y="440"/>
                    </a:lnTo>
                    <a:lnTo>
                      <a:pt x="404" y="440"/>
                    </a:lnTo>
                    <a:lnTo>
                      <a:pt x="402" y="442"/>
                    </a:lnTo>
                    <a:lnTo>
                      <a:pt x="400" y="444"/>
                    </a:lnTo>
                    <a:lnTo>
                      <a:pt x="398" y="446"/>
                    </a:lnTo>
                    <a:lnTo>
                      <a:pt x="396" y="450"/>
                    </a:lnTo>
                    <a:lnTo>
                      <a:pt x="394" y="452"/>
                    </a:lnTo>
                    <a:lnTo>
                      <a:pt x="388" y="458"/>
                    </a:lnTo>
                    <a:lnTo>
                      <a:pt x="380" y="464"/>
                    </a:lnTo>
                    <a:lnTo>
                      <a:pt x="378" y="468"/>
                    </a:lnTo>
                    <a:lnTo>
                      <a:pt x="376" y="470"/>
                    </a:lnTo>
                    <a:lnTo>
                      <a:pt x="374" y="472"/>
                    </a:lnTo>
                    <a:lnTo>
                      <a:pt x="372" y="474"/>
                    </a:lnTo>
                    <a:lnTo>
                      <a:pt x="370" y="474"/>
                    </a:lnTo>
                    <a:lnTo>
                      <a:pt x="370" y="474"/>
                    </a:lnTo>
                    <a:lnTo>
                      <a:pt x="370" y="476"/>
                    </a:lnTo>
                    <a:lnTo>
                      <a:pt x="370" y="476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70" y="478"/>
                    </a:lnTo>
                    <a:lnTo>
                      <a:pt x="372" y="480"/>
                    </a:lnTo>
                    <a:lnTo>
                      <a:pt x="372" y="480"/>
                    </a:lnTo>
                    <a:lnTo>
                      <a:pt x="372" y="480"/>
                    </a:lnTo>
                    <a:lnTo>
                      <a:pt x="374" y="480"/>
                    </a:lnTo>
                    <a:lnTo>
                      <a:pt x="374" y="480"/>
                    </a:lnTo>
                    <a:lnTo>
                      <a:pt x="376" y="478"/>
                    </a:lnTo>
                    <a:lnTo>
                      <a:pt x="378" y="478"/>
                    </a:lnTo>
                    <a:lnTo>
                      <a:pt x="380" y="476"/>
                    </a:lnTo>
                    <a:lnTo>
                      <a:pt x="382" y="474"/>
                    </a:lnTo>
                    <a:lnTo>
                      <a:pt x="388" y="470"/>
                    </a:lnTo>
                    <a:lnTo>
                      <a:pt x="394" y="464"/>
                    </a:lnTo>
                    <a:lnTo>
                      <a:pt x="400" y="460"/>
                    </a:lnTo>
                    <a:lnTo>
                      <a:pt x="406" y="456"/>
                    </a:lnTo>
                    <a:lnTo>
                      <a:pt x="408" y="454"/>
                    </a:lnTo>
                    <a:lnTo>
                      <a:pt x="410" y="452"/>
                    </a:lnTo>
                    <a:lnTo>
                      <a:pt x="418" y="446"/>
                    </a:lnTo>
                    <a:lnTo>
                      <a:pt x="424" y="442"/>
                    </a:lnTo>
                    <a:lnTo>
                      <a:pt x="430" y="438"/>
                    </a:lnTo>
                    <a:lnTo>
                      <a:pt x="436" y="432"/>
                    </a:lnTo>
                    <a:lnTo>
                      <a:pt x="442" y="428"/>
                    </a:lnTo>
                    <a:lnTo>
                      <a:pt x="448" y="424"/>
                    </a:lnTo>
                    <a:lnTo>
                      <a:pt x="454" y="422"/>
                    </a:lnTo>
                    <a:lnTo>
                      <a:pt x="456" y="420"/>
                    </a:lnTo>
                    <a:lnTo>
                      <a:pt x="456" y="420"/>
                    </a:lnTo>
                    <a:lnTo>
                      <a:pt x="458" y="420"/>
                    </a:lnTo>
                    <a:lnTo>
                      <a:pt x="458" y="420"/>
                    </a:lnTo>
                    <a:lnTo>
                      <a:pt x="460" y="422"/>
                    </a:lnTo>
                    <a:lnTo>
                      <a:pt x="460" y="422"/>
                    </a:lnTo>
                    <a:lnTo>
                      <a:pt x="460" y="422"/>
                    </a:lnTo>
                    <a:lnTo>
                      <a:pt x="462" y="422"/>
                    </a:lnTo>
                    <a:lnTo>
                      <a:pt x="462" y="422"/>
                    </a:lnTo>
                    <a:lnTo>
                      <a:pt x="462" y="424"/>
                    </a:lnTo>
                    <a:lnTo>
                      <a:pt x="464" y="424"/>
                    </a:lnTo>
                    <a:lnTo>
                      <a:pt x="464" y="424"/>
                    </a:lnTo>
                    <a:lnTo>
                      <a:pt x="468" y="424"/>
                    </a:lnTo>
                    <a:lnTo>
                      <a:pt x="472" y="424"/>
                    </a:lnTo>
                    <a:lnTo>
                      <a:pt x="474" y="422"/>
                    </a:lnTo>
                    <a:lnTo>
                      <a:pt x="474" y="422"/>
                    </a:lnTo>
                    <a:lnTo>
                      <a:pt x="476" y="422"/>
                    </a:lnTo>
                    <a:lnTo>
                      <a:pt x="478" y="422"/>
                    </a:lnTo>
                    <a:lnTo>
                      <a:pt x="478" y="422"/>
                    </a:lnTo>
                    <a:lnTo>
                      <a:pt x="478" y="422"/>
                    </a:lnTo>
                    <a:lnTo>
                      <a:pt x="480" y="420"/>
                    </a:lnTo>
                    <a:lnTo>
                      <a:pt x="482" y="420"/>
                    </a:lnTo>
                    <a:lnTo>
                      <a:pt x="484" y="418"/>
                    </a:lnTo>
                    <a:lnTo>
                      <a:pt x="488" y="414"/>
                    </a:lnTo>
                    <a:lnTo>
                      <a:pt x="492" y="410"/>
                    </a:lnTo>
                    <a:lnTo>
                      <a:pt x="492" y="408"/>
                    </a:lnTo>
                    <a:lnTo>
                      <a:pt x="494" y="406"/>
                    </a:lnTo>
                    <a:lnTo>
                      <a:pt x="494" y="406"/>
                    </a:lnTo>
                    <a:lnTo>
                      <a:pt x="496" y="406"/>
                    </a:lnTo>
                    <a:lnTo>
                      <a:pt x="496" y="406"/>
                    </a:lnTo>
                    <a:lnTo>
                      <a:pt x="496" y="406"/>
                    </a:lnTo>
                    <a:lnTo>
                      <a:pt x="498" y="406"/>
                    </a:lnTo>
                    <a:lnTo>
                      <a:pt x="500" y="404"/>
                    </a:lnTo>
                    <a:lnTo>
                      <a:pt x="502" y="404"/>
                    </a:lnTo>
                    <a:lnTo>
                      <a:pt x="506" y="402"/>
                    </a:lnTo>
                    <a:lnTo>
                      <a:pt x="510" y="400"/>
                    </a:lnTo>
                    <a:lnTo>
                      <a:pt x="512" y="400"/>
                    </a:lnTo>
                    <a:lnTo>
                      <a:pt x="512" y="400"/>
                    </a:lnTo>
                    <a:lnTo>
                      <a:pt x="512" y="400"/>
                    </a:lnTo>
                    <a:lnTo>
                      <a:pt x="512" y="404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0" y="414"/>
                    </a:lnTo>
                    <a:lnTo>
                      <a:pt x="510" y="414"/>
                    </a:lnTo>
                    <a:lnTo>
                      <a:pt x="510" y="414"/>
                    </a:lnTo>
                    <a:lnTo>
                      <a:pt x="510" y="418"/>
                    </a:lnTo>
                    <a:lnTo>
                      <a:pt x="510" y="418"/>
                    </a:lnTo>
                    <a:lnTo>
                      <a:pt x="510" y="418"/>
                    </a:lnTo>
                    <a:lnTo>
                      <a:pt x="512" y="420"/>
                    </a:lnTo>
                    <a:lnTo>
                      <a:pt x="512" y="420"/>
                    </a:lnTo>
                    <a:lnTo>
                      <a:pt x="514" y="422"/>
                    </a:lnTo>
                    <a:lnTo>
                      <a:pt x="516" y="422"/>
                    </a:lnTo>
                    <a:lnTo>
                      <a:pt x="516" y="422"/>
                    </a:lnTo>
                    <a:lnTo>
                      <a:pt x="516" y="422"/>
                    </a:lnTo>
                    <a:lnTo>
                      <a:pt x="518" y="422"/>
                    </a:lnTo>
                    <a:lnTo>
                      <a:pt x="520" y="422"/>
                    </a:lnTo>
                    <a:lnTo>
                      <a:pt x="522" y="422"/>
                    </a:lnTo>
                    <a:lnTo>
                      <a:pt x="526" y="420"/>
                    </a:lnTo>
                    <a:lnTo>
                      <a:pt x="532" y="418"/>
                    </a:lnTo>
                    <a:lnTo>
                      <a:pt x="536" y="418"/>
                    </a:lnTo>
                    <a:lnTo>
                      <a:pt x="538" y="418"/>
                    </a:lnTo>
                    <a:lnTo>
                      <a:pt x="540" y="418"/>
                    </a:lnTo>
                    <a:lnTo>
                      <a:pt x="542" y="418"/>
                    </a:lnTo>
                    <a:lnTo>
                      <a:pt x="546" y="420"/>
                    </a:lnTo>
                    <a:lnTo>
                      <a:pt x="548" y="422"/>
                    </a:lnTo>
                    <a:lnTo>
                      <a:pt x="550" y="422"/>
                    </a:lnTo>
                    <a:lnTo>
                      <a:pt x="550" y="422"/>
                    </a:lnTo>
                    <a:lnTo>
                      <a:pt x="550" y="422"/>
                    </a:lnTo>
                    <a:lnTo>
                      <a:pt x="552" y="424"/>
                    </a:lnTo>
                    <a:lnTo>
                      <a:pt x="552" y="424"/>
                    </a:lnTo>
                    <a:lnTo>
                      <a:pt x="552" y="424"/>
                    </a:lnTo>
                    <a:lnTo>
                      <a:pt x="554" y="424"/>
                    </a:lnTo>
                    <a:lnTo>
                      <a:pt x="554" y="424"/>
                    </a:lnTo>
                    <a:lnTo>
                      <a:pt x="556" y="422"/>
                    </a:lnTo>
                    <a:lnTo>
                      <a:pt x="560" y="422"/>
                    </a:lnTo>
                    <a:lnTo>
                      <a:pt x="560" y="422"/>
                    </a:lnTo>
                    <a:lnTo>
                      <a:pt x="560" y="424"/>
                    </a:lnTo>
                    <a:lnTo>
                      <a:pt x="560" y="426"/>
                    </a:lnTo>
                    <a:lnTo>
                      <a:pt x="560" y="428"/>
                    </a:lnTo>
                    <a:lnTo>
                      <a:pt x="560" y="430"/>
                    </a:lnTo>
                    <a:lnTo>
                      <a:pt x="560" y="430"/>
                    </a:lnTo>
                    <a:lnTo>
                      <a:pt x="560" y="430"/>
                    </a:lnTo>
                    <a:lnTo>
                      <a:pt x="560" y="434"/>
                    </a:lnTo>
                    <a:lnTo>
                      <a:pt x="564" y="436"/>
                    </a:lnTo>
                    <a:lnTo>
                      <a:pt x="568" y="438"/>
                    </a:lnTo>
                    <a:lnTo>
                      <a:pt x="576" y="444"/>
                    </a:lnTo>
                    <a:lnTo>
                      <a:pt x="578" y="448"/>
                    </a:lnTo>
                    <a:lnTo>
                      <a:pt x="582" y="452"/>
                    </a:lnTo>
                    <a:lnTo>
                      <a:pt x="584" y="456"/>
                    </a:lnTo>
                    <a:lnTo>
                      <a:pt x="586" y="458"/>
                    </a:lnTo>
                    <a:lnTo>
                      <a:pt x="586" y="458"/>
                    </a:lnTo>
                    <a:lnTo>
                      <a:pt x="588" y="460"/>
                    </a:lnTo>
                    <a:lnTo>
                      <a:pt x="590" y="462"/>
                    </a:lnTo>
                    <a:lnTo>
                      <a:pt x="590" y="462"/>
                    </a:lnTo>
                    <a:lnTo>
                      <a:pt x="592" y="464"/>
                    </a:lnTo>
                    <a:lnTo>
                      <a:pt x="594" y="466"/>
                    </a:lnTo>
                    <a:lnTo>
                      <a:pt x="594" y="466"/>
                    </a:lnTo>
                    <a:lnTo>
                      <a:pt x="598" y="466"/>
                    </a:lnTo>
                    <a:lnTo>
                      <a:pt x="600" y="466"/>
                    </a:lnTo>
                    <a:lnTo>
                      <a:pt x="600" y="466"/>
                    </a:lnTo>
                    <a:lnTo>
                      <a:pt x="600" y="466"/>
                    </a:lnTo>
                    <a:lnTo>
                      <a:pt x="598" y="468"/>
                    </a:lnTo>
                    <a:lnTo>
                      <a:pt x="598" y="470"/>
                    </a:lnTo>
                    <a:lnTo>
                      <a:pt x="598" y="470"/>
                    </a:lnTo>
                    <a:lnTo>
                      <a:pt x="598" y="470"/>
                    </a:lnTo>
                    <a:lnTo>
                      <a:pt x="598" y="474"/>
                    </a:lnTo>
                    <a:lnTo>
                      <a:pt x="600" y="478"/>
                    </a:lnTo>
                    <a:lnTo>
                      <a:pt x="600" y="478"/>
                    </a:lnTo>
                    <a:lnTo>
                      <a:pt x="602" y="478"/>
                    </a:lnTo>
                    <a:lnTo>
                      <a:pt x="602" y="480"/>
                    </a:lnTo>
                    <a:lnTo>
                      <a:pt x="604" y="482"/>
                    </a:lnTo>
                    <a:lnTo>
                      <a:pt x="606" y="486"/>
                    </a:lnTo>
                    <a:lnTo>
                      <a:pt x="606" y="486"/>
                    </a:lnTo>
                    <a:lnTo>
                      <a:pt x="606" y="486"/>
                    </a:lnTo>
                    <a:lnTo>
                      <a:pt x="610" y="490"/>
                    </a:lnTo>
                    <a:lnTo>
                      <a:pt x="612" y="494"/>
                    </a:lnTo>
                    <a:lnTo>
                      <a:pt x="614" y="498"/>
                    </a:lnTo>
                    <a:lnTo>
                      <a:pt x="614" y="502"/>
                    </a:lnTo>
                    <a:lnTo>
                      <a:pt x="614" y="502"/>
                    </a:lnTo>
                    <a:lnTo>
                      <a:pt x="614" y="504"/>
                    </a:lnTo>
                    <a:lnTo>
                      <a:pt x="614" y="504"/>
                    </a:lnTo>
                    <a:lnTo>
                      <a:pt x="614" y="504"/>
                    </a:lnTo>
                    <a:lnTo>
                      <a:pt x="616" y="508"/>
                    </a:lnTo>
                    <a:lnTo>
                      <a:pt x="618" y="508"/>
                    </a:lnTo>
                    <a:lnTo>
                      <a:pt x="618" y="508"/>
                    </a:lnTo>
                    <a:lnTo>
                      <a:pt x="618" y="508"/>
                    </a:lnTo>
                    <a:lnTo>
                      <a:pt x="618" y="510"/>
                    </a:lnTo>
                    <a:lnTo>
                      <a:pt x="618" y="510"/>
                    </a:lnTo>
                    <a:lnTo>
                      <a:pt x="620" y="510"/>
                    </a:lnTo>
                    <a:lnTo>
                      <a:pt x="620" y="510"/>
                    </a:lnTo>
                    <a:lnTo>
                      <a:pt x="620" y="510"/>
                    </a:lnTo>
                    <a:lnTo>
                      <a:pt x="622" y="510"/>
                    </a:lnTo>
                    <a:lnTo>
                      <a:pt x="622" y="510"/>
                    </a:lnTo>
                    <a:lnTo>
                      <a:pt x="622" y="510"/>
                    </a:lnTo>
                    <a:lnTo>
                      <a:pt x="624" y="510"/>
                    </a:lnTo>
                    <a:lnTo>
                      <a:pt x="624" y="510"/>
                    </a:lnTo>
                    <a:lnTo>
                      <a:pt x="624" y="510"/>
                    </a:lnTo>
                    <a:lnTo>
                      <a:pt x="626" y="508"/>
                    </a:lnTo>
                    <a:lnTo>
                      <a:pt x="626" y="508"/>
                    </a:lnTo>
                    <a:lnTo>
                      <a:pt x="626" y="508"/>
                    </a:lnTo>
                    <a:lnTo>
                      <a:pt x="626" y="506"/>
                    </a:lnTo>
                    <a:lnTo>
                      <a:pt x="628" y="504"/>
                    </a:lnTo>
                    <a:lnTo>
                      <a:pt x="628" y="504"/>
                    </a:lnTo>
                    <a:lnTo>
                      <a:pt x="628" y="502"/>
                    </a:lnTo>
                    <a:lnTo>
                      <a:pt x="628" y="500"/>
                    </a:lnTo>
                    <a:lnTo>
                      <a:pt x="628" y="500"/>
                    </a:lnTo>
                    <a:lnTo>
                      <a:pt x="628" y="498"/>
                    </a:lnTo>
                    <a:lnTo>
                      <a:pt x="626" y="496"/>
                    </a:lnTo>
                    <a:lnTo>
                      <a:pt x="626" y="494"/>
                    </a:lnTo>
                    <a:lnTo>
                      <a:pt x="624" y="492"/>
                    </a:lnTo>
                    <a:lnTo>
                      <a:pt x="624" y="490"/>
                    </a:lnTo>
                    <a:lnTo>
                      <a:pt x="626" y="490"/>
                    </a:lnTo>
                    <a:lnTo>
                      <a:pt x="626" y="490"/>
                    </a:lnTo>
                    <a:lnTo>
                      <a:pt x="628" y="490"/>
                    </a:lnTo>
                    <a:lnTo>
                      <a:pt x="630" y="490"/>
                    </a:lnTo>
                    <a:lnTo>
                      <a:pt x="630" y="490"/>
                    </a:lnTo>
                    <a:lnTo>
                      <a:pt x="630" y="488"/>
                    </a:lnTo>
                    <a:lnTo>
                      <a:pt x="632" y="486"/>
                    </a:lnTo>
                    <a:lnTo>
                      <a:pt x="632" y="486"/>
                    </a:lnTo>
                    <a:lnTo>
                      <a:pt x="632" y="484"/>
                    </a:lnTo>
                    <a:lnTo>
                      <a:pt x="632" y="482"/>
                    </a:lnTo>
                    <a:lnTo>
                      <a:pt x="632" y="482"/>
                    </a:lnTo>
                    <a:lnTo>
                      <a:pt x="632" y="482"/>
                    </a:lnTo>
                    <a:lnTo>
                      <a:pt x="632" y="480"/>
                    </a:lnTo>
                    <a:lnTo>
                      <a:pt x="630" y="478"/>
                    </a:lnTo>
                    <a:lnTo>
                      <a:pt x="630" y="474"/>
                    </a:lnTo>
                    <a:lnTo>
                      <a:pt x="630" y="472"/>
                    </a:lnTo>
                    <a:lnTo>
                      <a:pt x="630" y="470"/>
                    </a:lnTo>
                    <a:lnTo>
                      <a:pt x="630" y="472"/>
                    </a:lnTo>
                    <a:lnTo>
                      <a:pt x="632" y="472"/>
                    </a:lnTo>
                    <a:lnTo>
                      <a:pt x="634" y="476"/>
                    </a:lnTo>
                    <a:lnTo>
                      <a:pt x="634" y="482"/>
                    </a:lnTo>
                    <a:lnTo>
                      <a:pt x="636" y="488"/>
                    </a:lnTo>
                    <a:lnTo>
                      <a:pt x="636" y="488"/>
                    </a:lnTo>
                    <a:lnTo>
                      <a:pt x="638" y="490"/>
                    </a:lnTo>
                    <a:lnTo>
                      <a:pt x="640" y="490"/>
                    </a:lnTo>
                    <a:lnTo>
                      <a:pt x="644" y="492"/>
                    </a:lnTo>
                    <a:lnTo>
                      <a:pt x="644" y="494"/>
                    </a:lnTo>
                    <a:lnTo>
                      <a:pt x="644" y="494"/>
                    </a:lnTo>
                    <a:lnTo>
                      <a:pt x="644" y="492"/>
                    </a:lnTo>
                    <a:lnTo>
                      <a:pt x="640" y="492"/>
                    </a:lnTo>
                    <a:lnTo>
                      <a:pt x="638" y="492"/>
                    </a:lnTo>
                    <a:lnTo>
                      <a:pt x="638" y="492"/>
                    </a:lnTo>
                    <a:lnTo>
                      <a:pt x="638" y="492"/>
                    </a:lnTo>
                    <a:lnTo>
                      <a:pt x="634" y="492"/>
                    </a:lnTo>
                    <a:lnTo>
                      <a:pt x="634" y="492"/>
                    </a:lnTo>
                    <a:lnTo>
                      <a:pt x="634" y="492"/>
                    </a:lnTo>
                    <a:lnTo>
                      <a:pt x="632" y="492"/>
                    </a:lnTo>
                    <a:lnTo>
                      <a:pt x="632" y="492"/>
                    </a:lnTo>
                    <a:lnTo>
                      <a:pt x="632" y="492"/>
                    </a:lnTo>
                    <a:lnTo>
                      <a:pt x="630" y="494"/>
                    </a:lnTo>
                    <a:lnTo>
                      <a:pt x="630" y="494"/>
                    </a:lnTo>
                    <a:lnTo>
                      <a:pt x="630" y="494"/>
                    </a:lnTo>
                    <a:lnTo>
                      <a:pt x="628" y="496"/>
                    </a:lnTo>
                    <a:lnTo>
                      <a:pt x="628" y="496"/>
                    </a:lnTo>
                    <a:lnTo>
                      <a:pt x="628" y="496"/>
                    </a:lnTo>
                    <a:lnTo>
                      <a:pt x="628" y="498"/>
                    </a:lnTo>
                    <a:lnTo>
                      <a:pt x="628" y="498"/>
                    </a:lnTo>
                    <a:lnTo>
                      <a:pt x="628" y="498"/>
                    </a:lnTo>
                    <a:lnTo>
                      <a:pt x="628" y="500"/>
                    </a:lnTo>
                    <a:lnTo>
                      <a:pt x="630" y="504"/>
                    </a:lnTo>
                    <a:lnTo>
                      <a:pt x="630" y="504"/>
                    </a:lnTo>
                    <a:lnTo>
                      <a:pt x="632" y="506"/>
                    </a:lnTo>
                    <a:lnTo>
                      <a:pt x="632" y="506"/>
                    </a:lnTo>
                    <a:lnTo>
                      <a:pt x="634" y="506"/>
                    </a:lnTo>
                    <a:lnTo>
                      <a:pt x="634" y="508"/>
                    </a:lnTo>
                    <a:lnTo>
                      <a:pt x="636" y="508"/>
                    </a:lnTo>
                    <a:lnTo>
                      <a:pt x="640" y="508"/>
                    </a:lnTo>
                    <a:lnTo>
                      <a:pt x="642" y="510"/>
                    </a:lnTo>
                    <a:lnTo>
                      <a:pt x="642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6" y="512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2" y="512"/>
                    </a:lnTo>
                    <a:lnTo>
                      <a:pt x="642" y="512"/>
                    </a:lnTo>
                    <a:lnTo>
                      <a:pt x="640" y="514"/>
                    </a:lnTo>
                    <a:lnTo>
                      <a:pt x="640" y="518"/>
                    </a:lnTo>
                    <a:lnTo>
                      <a:pt x="640" y="520"/>
                    </a:lnTo>
                    <a:lnTo>
                      <a:pt x="640" y="522"/>
                    </a:lnTo>
                    <a:lnTo>
                      <a:pt x="640" y="524"/>
                    </a:lnTo>
                    <a:lnTo>
                      <a:pt x="640" y="528"/>
                    </a:lnTo>
                    <a:lnTo>
                      <a:pt x="640" y="530"/>
                    </a:lnTo>
                    <a:lnTo>
                      <a:pt x="640" y="530"/>
                    </a:lnTo>
                    <a:lnTo>
                      <a:pt x="640" y="532"/>
                    </a:lnTo>
                    <a:lnTo>
                      <a:pt x="640" y="534"/>
                    </a:lnTo>
                    <a:lnTo>
                      <a:pt x="640" y="536"/>
                    </a:lnTo>
                    <a:lnTo>
                      <a:pt x="640" y="538"/>
                    </a:lnTo>
                    <a:lnTo>
                      <a:pt x="642" y="540"/>
                    </a:lnTo>
                    <a:lnTo>
                      <a:pt x="642" y="540"/>
                    </a:lnTo>
                    <a:lnTo>
                      <a:pt x="642" y="542"/>
                    </a:lnTo>
                    <a:lnTo>
                      <a:pt x="644" y="544"/>
                    </a:lnTo>
                    <a:lnTo>
                      <a:pt x="644" y="544"/>
                    </a:lnTo>
                    <a:lnTo>
                      <a:pt x="644" y="544"/>
                    </a:lnTo>
                    <a:lnTo>
                      <a:pt x="646" y="546"/>
                    </a:lnTo>
                    <a:lnTo>
                      <a:pt x="646" y="546"/>
                    </a:lnTo>
                    <a:lnTo>
                      <a:pt x="646" y="546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50" y="548"/>
                    </a:lnTo>
                    <a:lnTo>
                      <a:pt x="650" y="548"/>
                    </a:lnTo>
                    <a:lnTo>
                      <a:pt x="652" y="548"/>
                    </a:lnTo>
                    <a:lnTo>
                      <a:pt x="654" y="546"/>
                    </a:lnTo>
                    <a:lnTo>
                      <a:pt x="656" y="546"/>
                    </a:lnTo>
                    <a:lnTo>
                      <a:pt x="656" y="546"/>
                    </a:lnTo>
                    <a:lnTo>
                      <a:pt x="658" y="544"/>
                    </a:lnTo>
                    <a:lnTo>
                      <a:pt x="662" y="542"/>
                    </a:lnTo>
                    <a:lnTo>
                      <a:pt x="664" y="542"/>
                    </a:lnTo>
                    <a:lnTo>
                      <a:pt x="666" y="540"/>
                    </a:lnTo>
                    <a:lnTo>
                      <a:pt x="668" y="540"/>
                    </a:lnTo>
                    <a:lnTo>
                      <a:pt x="668" y="540"/>
                    </a:lnTo>
                    <a:lnTo>
                      <a:pt x="670" y="542"/>
                    </a:lnTo>
                    <a:lnTo>
                      <a:pt x="672" y="542"/>
                    </a:lnTo>
                    <a:lnTo>
                      <a:pt x="672" y="542"/>
                    </a:lnTo>
                    <a:lnTo>
                      <a:pt x="674" y="542"/>
                    </a:lnTo>
                    <a:lnTo>
                      <a:pt x="674" y="542"/>
                    </a:lnTo>
                    <a:lnTo>
                      <a:pt x="674" y="542"/>
                    </a:lnTo>
                    <a:lnTo>
                      <a:pt x="676" y="542"/>
                    </a:lnTo>
                    <a:lnTo>
                      <a:pt x="678" y="544"/>
                    </a:lnTo>
                    <a:lnTo>
                      <a:pt x="678" y="544"/>
                    </a:lnTo>
                    <a:lnTo>
                      <a:pt x="678" y="544"/>
                    </a:lnTo>
                    <a:lnTo>
                      <a:pt x="680" y="546"/>
                    </a:lnTo>
                    <a:lnTo>
                      <a:pt x="680" y="546"/>
                    </a:lnTo>
                    <a:lnTo>
                      <a:pt x="682" y="546"/>
                    </a:lnTo>
                    <a:lnTo>
                      <a:pt x="682" y="546"/>
                    </a:lnTo>
                    <a:lnTo>
                      <a:pt x="682" y="546"/>
                    </a:lnTo>
                    <a:lnTo>
                      <a:pt x="684" y="544"/>
                    </a:lnTo>
                    <a:lnTo>
                      <a:pt x="686" y="544"/>
                    </a:lnTo>
                    <a:lnTo>
                      <a:pt x="686" y="544"/>
                    </a:lnTo>
                    <a:lnTo>
                      <a:pt x="686" y="542"/>
                    </a:lnTo>
                    <a:lnTo>
                      <a:pt x="686" y="540"/>
                    </a:lnTo>
                    <a:lnTo>
                      <a:pt x="688" y="538"/>
                    </a:lnTo>
                    <a:lnTo>
                      <a:pt x="688" y="534"/>
                    </a:lnTo>
                    <a:lnTo>
                      <a:pt x="688" y="530"/>
                    </a:lnTo>
                    <a:lnTo>
                      <a:pt x="688" y="524"/>
                    </a:lnTo>
                    <a:lnTo>
                      <a:pt x="688" y="520"/>
                    </a:lnTo>
                    <a:lnTo>
                      <a:pt x="688" y="520"/>
                    </a:lnTo>
                    <a:lnTo>
                      <a:pt x="688" y="520"/>
                    </a:lnTo>
                    <a:lnTo>
                      <a:pt x="688" y="518"/>
                    </a:lnTo>
                    <a:lnTo>
                      <a:pt x="688" y="518"/>
                    </a:lnTo>
                    <a:lnTo>
                      <a:pt x="688" y="518"/>
                    </a:lnTo>
                    <a:lnTo>
                      <a:pt x="688" y="518"/>
                    </a:lnTo>
                    <a:close/>
                    <a:moveTo>
                      <a:pt x="294" y="54"/>
                    </a:moveTo>
                    <a:lnTo>
                      <a:pt x="294" y="54"/>
                    </a:lnTo>
                    <a:lnTo>
                      <a:pt x="294" y="54"/>
                    </a:lnTo>
                    <a:lnTo>
                      <a:pt x="294" y="54"/>
                    </a:lnTo>
                    <a:close/>
                    <a:moveTo>
                      <a:pt x="606" y="460"/>
                    </a:move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0"/>
                    </a:lnTo>
                    <a:lnTo>
                      <a:pt x="604" y="458"/>
                    </a:lnTo>
                    <a:lnTo>
                      <a:pt x="604" y="458"/>
                    </a:lnTo>
                    <a:lnTo>
                      <a:pt x="606" y="458"/>
                    </a:lnTo>
                    <a:lnTo>
                      <a:pt x="608" y="460"/>
                    </a:lnTo>
                    <a:lnTo>
                      <a:pt x="606" y="460"/>
                    </a:lnTo>
                    <a:close/>
                    <a:moveTo>
                      <a:pt x="654" y="516"/>
                    </a:moveTo>
                    <a:lnTo>
                      <a:pt x="654" y="516"/>
                    </a:lnTo>
                    <a:lnTo>
                      <a:pt x="652" y="516"/>
                    </a:lnTo>
                    <a:lnTo>
                      <a:pt x="650" y="514"/>
                    </a:lnTo>
                    <a:lnTo>
                      <a:pt x="648" y="514"/>
                    </a:lnTo>
                    <a:lnTo>
                      <a:pt x="648" y="514"/>
                    </a:lnTo>
                    <a:lnTo>
                      <a:pt x="648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2" y="514"/>
                    </a:lnTo>
                    <a:lnTo>
                      <a:pt x="654" y="516"/>
                    </a:lnTo>
                    <a:lnTo>
                      <a:pt x="654" y="516"/>
                    </a:lnTo>
                    <a:lnTo>
                      <a:pt x="654" y="51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1" name="Freeform 24">
                <a:extLst>
                  <a:ext uri="{FF2B5EF4-FFF2-40B4-BE49-F238E27FC236}">
                    <a16:creationId xmlns:a16="http://schemas.microsoft.com/office/drawing/2014/main" id="{6EAF8C10-1202-4101-AA6D-6B7BD78CF1C1}"/>
                  </a:ext>
                </a:extLst>
              </p:cNvPr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gray">
              <a:xfrm>
                <a:off x="2578959" y="4737100"/>
                <a:ext cx="426179" cy="1007062"/>
              </a:xfrm>
              <a:custGeom>
                <a:avLst/>
                <a:gdLst/>
                <a:ahLst/>
                <a:cxnLst/>
                <a:rect l="l" t="t" r="r" b="b"/>
                <a:pathLst>
                  <a:path w="426179" h="1007062">
                    <a:moveTo>
                      <a:pt x="295614" y="854662"/>
                    </a:moveTo>
                    <a:cubicBezTo>
                      <a:pt x="328952" y="856209"/>
                      <a:pt x="348002" y="856209"/>
                      <a:pt x="376577" y="862396"/>
                    </a:cubicBezTo>
                    <a:cubicBezTo>
                      <a:pt x="371815" y="876317"/>
                      <a:pt x="363877" y="879411"/>
                      <a:pt x="349590" y="882505"/>
                    </a:cubicBezTo>
                    <a:cubicBezTo>
                      <a:pt x="341652" y="896426"/>
                      <a:pt x="336890" y="897973"/>
                      <a:pt x="321014" y="901066"/>
                    </a:cubicBezTo>
                    <a:cubicBezTo>
                      <a:pt x="303552" y="914987"/>
                      <a:pt x="297202" y="897973"/>
                      <a:pt x="278152" y="894879"/>
                    </a:cubicBezTo>
                    <a:cubicBezTo>
                      <a:pt x="270214" y="882505"/>
                      <a:pt x="274977" y="874771"/>
                      <a:pt x="287677" y="868583"/>
                    </a:cubicBezTo>
                    <a:cubicBezTo>
                      <a:pt x="294027" y="860849"/>
                      <a:pt x="290852" y="865490"/>
                      <a:pt x="295614" y="854662"/>
                    </a:cubicBezTo>
                    <a:close/>
                    <a:moveTo>
                      <a:pt x="167429" y="363"/>
                    </a:moveTo>
                    <a:cubicBezTo>
                      <a:pt x="170608" y="1534"/>
                      <a:pt x="180528" y="5044"/>
                      <a:pt x="225759" y="3518"/>
                    </a:cubicBezTo>
                    <a:cubicBezTo>
                      <a:pt x="233704" y="8199"/>
                      <a:pt x="252747" y="9725"/>
                      <a:pt x="259094" y="17561"/>
                    </a:cubicBezTo>
                    <a:cubicBezTo>
                      <a:pt x="274984" y="23768"/>
                      <a:pt x="306722" y="40863"/>
                      <a:pt x="314667" y="53380"/>
                    </a:cubicBezTo>
                    <a:cubicBezTo>
                      <a:pt x="333709" y="67422"/>
                      <a:pt x="349599" y="78310"/>
                      <a:pt x="363892" y="97034"/>
                    </a:cubicBezTo>
                    <a:cubicBezTo>
                      <a:pt x="362294" y="106396"/>
                      <a:pt x="359099" y="110975"/>
                      <a:pt x="354349" y="118810"/>
                    </a:cubicBezTo>
                    <a:cubicBezTo>
                      <a:pt x="359099" y="126646"/>
                      <a:pt x="362294" y="129699"/>
                      <a:pt x="371794" y="132853"/>
                    </a:cubicBezTo>
                    <a:cubicBezTo>
                      <a:pt x="386086" y="134380"/>
                      <a:pt x="408324" y="140587"/>
                      <a:pt x="421019" y="134380"/>
                    </a:cubicBezTo>
                    <a:cubicBezTo>
                      <a:pt x="428964" y="137534"/>
                      <a:pt x="425769" y="145268"/>
                      <a:pt x="424214" y="151577"/>
                    </a:cubicBezTo>
                    <a:cubicBezTo>
                      <a:pt x="414671" y="156258"/>
                      <a:pt x="411519" y="160939"/>
                      <a:pt x="406726" y="170199"/>
                    </a:cubicBezTo>
                    <a:cubicBezTo>
                      <a:pt x="398781" y="176508"/>
                      <a:pt x="395629" y="181189"/>
                      <a:pt x="390879" y="188922"/>
                    </a:cubicBezTo>
                    <a:cubicBezTo>
                      <a:pt x="381336" y="196758"/>
                      <a:pt x="374989" y="206119"/>
                      <a:pt x="368642" y="217008"/>
                    </a:cubicBezTo>
                    <a:cubicBezTo>
                      <a:pt x="344806" y="234103"/>
                      <a:pt x="354349" y="287119"/>
                      <a:pt x="354349" y="302688"/>
                    </a:cubicBezTo>
                    <a:cubicBezTo>
                      <a:pt x="357544" y="316731"/>
                      <a:pt x="360696" y="327619"/>
                      <a:pt x="367044" y="340136"/>
                    </a:cubicBezTo>
                    <a:cubicBezTo>
                      <a:pt x="387684" y="355705"/>
                      <a:pt x="382934" y="358757"/>
                      <a:pt x="387684" y="386843"/>
                    </a:cubicBezTo>
                    <a:cubicBezTo>
                      <a:pt x="386086" y="397731"/>
                      <a:pt x="378184" y="397731"/>
                      <a:pt x="376587" y="408619"/>
                    </a:cubicBezTo>
                    <a:cubicBezTo>
                      <a:pt x="367044" y="427343"/>
                      <a:pt x="352751" y="446066"/>
                      <a:pt x="333709" y="455428"/>
                    </a:cubicBezTo>
                    <a:cubicBezTo>
                      <a:pt x="325764" y="456955"/>
                      <a:pt x="270234" y="469471"/>
                      <a:pt x="268637" y="470997"/>
                    </a:cubicBezTo>
                    <a:cubicBezTo>
                      <a:pt x="257496" y="478833"/>
                      <a:pt x="260692" y="494402"/>
                      <a:pt x="257496" y="506816"/>
                    </a:cubicBezTo>
                    <a:cubicBezTo>
                      <a:pt x="246399" y="508445"/>
                      <a:pt x="244801" y="513024"/>
                      <a:pt x="240052" y="522385"/>
                    </a:cubicBezTo>
                    <a:cubicBezTo>
                      <a:pt x="190827" y="525540"/>
                      <a:pt x="190827" y="519333"/>
                      <a:pt x="197174" y="553625"/>
                    </a:cubicBezTo>
                    <a:cubicBezTo>
                      <a:pt x="217814" y="555152"/>
                      <a:pt x="228954" y="559833"/>
                      <a:pt x="224161" y="581609"/>
                    </a:cubicBezTo>
                    <a:cubicBezTo>
                      <a:pt x="198772" y="583237"/>
                      <a:pt x="187674" y="580083"/>
                      <a:pt x="192424" y="606540"/>
                    </a:cubicBezTo>
                    <a:cubicBezTo>
                      <a:pt x="190827" y="617530"/>
                      <a:pt x="187674" y="623737"/>
                      <a:pt x="182881" y="633099"/>
                    </a:cubicBezTo>
                    <a:cubicBezTo>
                      <a:pt x="171784" y="640833"/>
                      <a:pt x="173382" y="650194"/>
                      <a:pt x="168632" y="661083"/>
                    </a:cubicBezTo>
                    <a:cubicBezTo>
                      <a:pt x="136852" y="662711"/>
                      <a:pt x="136852" y="658030"/>
                      <a:pt x="133700" y="686013"/>
                    </a:cubicBezTo>
                    <a:cubicBezTo>
                      <a:pt x="140047" y="695375"/>
                      <a:pt x="144797" y="706263"/>
                      <a:pt x="154340" y="712572"/>
                    </a:cubicBezTo>
                    <a:cubicBezTo>
                      <a:pt x="173382" y="715625"/>
                      <a:pt x="171784" y="723461"/>
                      <a:pt x="176534" y="740556"/>
                    </a:cubicBezTo>
                    <a:cubicBezTo>
                      <a:pt x="171784" y="746865"/>
                      <a:pt x="170187" y="754599"/>
                      <a:pt x="163839" y="760806"/>
                    </a:cubicBezTo>
                    <a:cubicBezTo>
                      <a:pt x="149547" y="774849"/>
                      <a:pt x="138449" y="776477"/>
                      <a:pt x="133700" y="796727"/>
                    </a:cubicBezTo>
                    <a:cubicBezTo>
                      <a:pt x="140047" y="806089"/>
                      <a:pt x="141645" y="810668"/>
                      <a:pt x="135297" y="820030"/>
                    </a:cubicBezTo>
                    <a:cubicBezTo>
                      <a:pt x="100365" y="821658"/>
                      <a:pt x="105114" y="823184"/>
                      <a:pt x="101919" y="859003"/>
                    </a:cubicBezTo>
                    <a:cubicBezTo>
                      <a:pt x="105114" y="866839"/>
                      <a:pt x="109864" y="871520"/>
                      <a:pt x="111462" y="880881"/>
                    </a:cubicBezTo>
                    <a:cubicBezTo>
                      <a:pt x="124157" y="897977"/>
                      <a:pt x="119407" y="910493"/>
                      <a:pt x="121005" y="933796"/>
                    </a:cubicBezTo>
                    <a:cubicBezTo>
                      <a:pt x="130504" y="936950"/>
                      <a:pt x="133700" y="940105"/>
                      <a:pt x="138449" y="947839"/>
                    </a:cubicBezTo>
                    <a:cubicBezTo>
                      <a:pt x="151144" y="957200"/>
                      <a:pt x="155894" y="971243"/>
                      <a:pt x="163839" y="983658"/>
                    </a:cubicBezTo>
                    <a:cubicBezTo>
                      <a:pt x="171784" y="988339"/>
                      <a:pt x="189272" y="999227"/>
                      <a:pt x="197174" y="1002381"/>
                    </a:cubicBezTo>
                    <a:lnTo>
                      <a:pt x="187674" y="1007062"/>
                    </a:lnTo>
                    <a:cubicBezTo>
                      <a:pt x="190827" y="986812"/>
                      <a:pt x="130504" y="991493"/>
                      <a:pt x="116212" y="988339"/>
                    </a:cubicBezTo>
                    <a:cubicBezTo>
                      <a:pt x="109065" y="986812"/>
                      <a:pt x="107090" y="987982"/>
                      <a:pt x="106102" y="988567"/>
                    </a:cubicBezTo>
                    <a:lnTo>
                      <a:pt x="101919" y="985286"/>
                    </a:lnTo>
                    <a:cubicBezTo>
                      <a:pt x="95572" y="977450"/>
                      <a:pt x="84474" y="955674"/>
                      <a:pt x="76529" y="943158"/>
                    </a:cubicBezTo>
                    <a:cubicBezTo>
                      <a:pt x="68584" y="930743"/>
                      <a:pt x="57487" y="921381"/>
                      <a:pt x="49542" y="913546"/>
                    </a:cubicBezTo>
                    <a:cubicBezTo>
                      <a:pt x="41597" y="905812"/>
                      <a:pt x="25750" y="904184"/>
                      <a:pt x="24152" y="894822"/>
                    </a:cubicBezTo>
                    <a:cubicBezTo>
                      <a:pt x="22554" y="885562"/>
                      <a:pt x="38445" y="866839"/>
                      <a:pt x="35249" y="854322"/>
                    </a:cubicBezTo>
                    <a:cubicBezTo>
                      <a:pt x="32097" y="841908"/>
                      <a:pt x="3512" y="835599"/>
                      <a:pt x="360" y="821658"/>
                    </a:cubicBezTo>
                    <a:cubicBezTo>
                      <a:pt x="-2836" y="807615"/>
                      <a:pt x="16207" y="790418"/>
                      <a:pt x="20957" y="773322"/>
                    </a:cubicBezTo>
                    <a:cubicBezTo>
                      <a:pt x="25750" y="756125"/>
                      <a:pt x="28902" y="742184"/>
                      <a:pt x="33695" y="718780"/>
                    </a:cubicBezTo>
                    <a:cubicBezTo>
                      <a:pt x="38445" y="695375"/>
                      <a:pt x="51139" y="656402"/>
                      <a:pt x="49542" y="629944"/>
                    </a:cubicBezTo>
                    <a:cubicBezTo>
                      <a:pt x="47944" y="603487"/>
                      <a:pt x="25750" y="578556"/>
                      <a:pt x="24152" y="559833"/>
                    </a:cubicBezTo>
                    <a:cubicBezTo>
                      <a:pt x="22554" y="541109"/>
                      <a:pt x="32097" y="538056"/>
                      <a:pt x="35249" y="520859"/>
                    </a:cubicBezTo>
                    <a:cubicBezTo>
                      <a:pt x="38445" y="503764"/>
                      <a:pt x="44792" y="481885"/>
                      <a:pt x="47944" y="460109"/>
                    </a:cubicBezTo>
                    <a:cubicBezTo>
                      <a:pt x="51139" y="438231"/>
                      <a:pt x="52737" y="411774"/>
                      <a:pt x="59085" y="389997"/>
                    </a:cubicBezTo>
                    <a:cubicBezTo>
                      <a:pt x="63834" y="377481"/>
                      <a:pt x="84474" y="341662"/>
                      <a:pt x="86072" y="324465"/>
                    </a:cubicBezTo>
                    <a:cubicBezTo>
                      <a:pt x="76529" y="302688"/>
                      <a:pt x="76529" y="270024"/>
                      <a:pt x="73377" y="244991"/>
                    </a:cubicBezTo>
                    <a:cubicBezTo>
                      <a:pt x="76529" y="218534"/>
                      <a:pt x="70182" y="185869"/>
                      <a:pt x="87670" y="165518"/>
                    </a:cubicBezTo>
                    <a:cubicBezTo>
                      <a:pt x="94017" y="149949"/>
                      <a:pt x="106712" y="154629"/>
                      <a:pt x="111462" y="146896"/>
                    </a:cubicBezTo>
                    <a:cubicBezTo>
                      <a:pt x="116212" y="139060"/>
                      <a:pt x="121005" y="128172"/>
                      <a:pt x="121005" y="118810"/>
                    </a:cubicBezTo>
                    <a:cubicBezTo>
                      <a:pt x="121005" y="109449"/>
                      <a:pt x="113060" y="101715"/>
                      <a:pt x="116212" y="90725"/>
                    </a:cubicBezTo>
                    <a:cubicBezTo>
                      <a:pt x="122559" y="76784"/>
                      <a:pt x="121005" y="67422"/>
                      <a:pt x="130504" y="54906"/>
                    </a:cubicBezTo>
                    <a:cubicBezTo>
                      <a:pt x="144797" y="51853"/>
                      <a:pt x="147992" y="23768"/>
                      <a:pt x="149547" y="11251"/>
                    </a:cubicBezTo>
                    <a:cubicBezTo>
                      <a:pt x="167812" y="363"/>
                      <a:pt x="164249" y="-807"/>
                      <a:pt x="167429" y="36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2" name="Freeform 21">
                <a:extLst>
                  <a:ext uri="{FF2B5EF4-FFF2-40B4-BE49-F238E27FC236}">
                    <a16:creationId xmlns:a16="http://schemas.microsoft.com/office/drawing/2014/main" id="{B862D5AF-D6F3-48B1-B905-CF8C3406DF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0125" y="1279525"/>
                <a:ext cx="4076700" cy="1876425"/>
              </a:xfrm>
              <a:custGeom>
                <a:avLst/>
                <a:gdLst>
                  <a:gd name="T0" fmla="*/ 550 w 2568"/>
                  <a:gd name="T1" fmla="*/ 246 h 1182"/>
                  <a:gd name="T2" fmla="*/ 746 w 2568"/>
                  <a:gd name="T3" fmla="*/ 24 h 1182"/>
                  <a:gd name="T4" fmla="*/ 602 w 2568"/>
                  <a:gd name="T5" fmla="*/ 80 h 1182"/>
                  <a:gd name="T6" fmla="*/ 514 w 2568"/>
                  <a:gd name="T7" fmla="*/ 210 h 1182"/>
                  <a:gd name="T8" fmla="*/ 0 w 2568"/>
                  <a:gd name="T9" fmla="*/ 880 h 1182"/>
                  <a:gd name="T10" fmla="*/ 2398 w 2568"/>
                  <a:gd name="T11" fmla="*/ 330 h 1182"/>
                  <a:gd name="T12" fmla="*/ 2492 w 2568"/>
                  <a:gd name="T13" fmla="*/ 480 h 1182"/>
                  <a:gd name="T14" fmla="*/ 2246 w 2568"/>
                  <a:gd name="T15" fmla="*/ 404 h 1182"/>
                  <a:gd name="T16" fmla="*/ 2142 w 2568"/>
                  <a:gd name="T17" fmla="*/ 402 h 1182"/>
                  <a:gd name="T18" fmla="*/ 1968 w 2568"/>
                  <a:gd name="T19" fmla="*/ 284 h 1182"/>
                  <a:gd name="T20" fmla="*/ 1802 w 2568"/>
                  <a:gd name="T21" fmla="*/ 308 h 1182"/>
                  <a:gd name="T22" fmla="*/ 1658 w 2568"/>
                  <a:gd name="T23" fmla="*/ 286 h 1182"/>
                  <a:gd name="T24" fmla="*/ 1562 w 2568"/>
                  <a:gd name="T25" fmla="*/ 232 h 1182"/>
                  <a:gd name="T26" fmla="*/ 1420 w 2568"/>
                  <a:gd name="T27" fmla="*/ 182 h 1182"/>
                  <a:gd name="T28" fmla="*/ 1380 w 2568"/>
                  <a:gd name="T29" fmla="*/ 190 h 1182"/>
                  <a:gd name="T30" fmla="*/ 1344 w 2568"/>
                  <a:gd name="T31" fmla="*/ 206 h 1182"/>
                  <a:gd name="T32" fmla="*/ 1386 w 2568"/>
                  <a:gd name="T33" fmla="*/ 28 h 1182"/>
                  <a:gd name="T34" fmla="*/ 1232 w 2568"/>
                  <a:gd name="T35" fmla="*/ 36 h 1182"/>
                  <a:gd name="T36" fmla="*/ 1096 w 2568"/>
                  <a:gd name="T37" fmla="*/ 94 h 1182"/>
                  <a:gd name="T38" fmla="*/ 928 w 2568"/>
                  <a:gd name="T39" fmla="*/ 210 h 1182"/>
                  <a:gd name="T40" fmla="*/ 896 w 2568"/>
                  <a:gd name="T41" fmla="*/ 264 h 1182"/>
                  <a:gd name="T42" fmla="*/ 838 w 2568"/>
                  <a:gd name="T43" fmla="*/ 234 h 1182"/>
                  <a:gd name="T44" fmla="*/ 826 w 2568"/>
                  <a:gd name="T45" fmla="*/ 444 h 1182"/>
                  <a:gd name="T46" fmla="*/ 796 w 2568"/>
                  <a:gd name="T47" fmla="*/ 308 h 1182"/>
                  <a:gd name="T48" fmla="*/ 622 w 2568"/>
                  <a:gd name="T49" fmla="*/ 388 h 1182"/>
                  <a:gd name="T50" fmla="*/ 534 w 2568"/>
                  <a:gd name="T51" fmla="*/ 444 h 1182"/>
                  <a:gd name="T52" fmla="*/ 388 w 2568"/>
                  <a:gd name="T53" fmla="*/ 484 h 1182"/>
                  <a:gd name="T54" fmla="*/ 328 w 2568"/>
                  <a:gd name="T55" fmla="*/ 534 h 1182"/>
                  <a:gd name="T56" fmla="*/ 268 w 2568"/>
                  <a:gd name="T57" fmla="*/ 612 h 1182"/>
                  <a:gd name="T58" fmla="*/ 324 w 2568"/>
                  <a:gd name="T59" fmla="*/ 496 h 1182"/>
                  <a:gd name="T60" fmla="*/ 144 w 2568"/>
                  <a:gd name="T61" fmla="*/ 466 h 1182"/>
                  <a:gd name="T62" fmla="*/ 136 w 2568"/>
                  <a:gd name="T63" fmla="*/ 722 h 1182"/>
                  <a:gd name="T64" fmla="*/ 160 w 2568"/>
                  <a:gd name="T65" fmla="*/ 860 h 1182"/>
                  <a:gd name="T66" fmla="*/ 282 w 2568"/>
                  <a:gd name="T67" fmla="*/ 988 h 1182"/>
                  <a:gd name="T68" fmla="*/ 310 w 2568"/>
                  <a:gd name="T69" fmla="*/ 1134 h 1182"/>
                  <a:gd name="T70" fmla="*/ 432 w 2568"/>
                  <a:gd name="T71" fmla="*/ 1088 h 1182"/>
                  <a:gd name="T72" fmla="*/ 432 w 2568"/>
                  <a:gd name="T73" fmla="*/ 994 h 1182"/>
                  <a:gd name="T74" fmla="*/ 628 w 2568"/>
                  <a:gd name="T75" fmla="*/ 962 h 1182"/>
                  <a:gd name="T76" fmla="*/ 806 w 2568"/>
                  <a:gd name="T77" fmla="*/ 890 h 1182"/>
                  <a:gd name="T78" fmla="*/ 956 w 2568"/>
                  <a:gd name="T79" fmla="*/ 978 h 1182"/>
                  <a:gd name="T80" fmla="*/ 1188 w 2568"/>
                  <a:gd name="T81" fmla="*/ 998 h 1182"/>
                  <a:gd name="T82" fmla="*/ 1464 w 2568"/>
                  <a:gd name="T83" fmla="*/ 998 h 1182"/>
                  <a:gd name="T84" fmla="*/ 1658 w 2568"/>
                  <a:gd name="T85" fmla="*/ 1010 h 1182"/>
                  <a:gd name="T86" fmla="*/ 1690 w 2568"/>
                  <a:gd name="T87" fmla="*/ 1148 h 1182"/>
                  <a:gd name="T88" fmla="*/ 1796 w 2568"/>
                  <a:gd name="T89" fmla="*/ 890 h 1182"/>
                  <a:gd name="T90" fmla="*/ 1850 w 2568"/>
                  <a:gd name="T91" fmla="*/ 770 h 1182"/>
                  <a:gd name="T92" fmla="*/ 2000 w 2568"/>
                  <a:gd name="T93" fmla="*/ 766 h 1182"/>
                  <a:gd name="T94" fmla="*/ 2144 w 2568"/>
                  <a:gd name="T95" fmla="*/ 706 h 1182"/>
                  <a:gd name="T96" fmla="*/ 2048 w 2568"/>
                  <a:gd name="T97" fmla="*/ 878 h 1182"/>
                  <a:gd name="T98" fmla="*/ 2120 w 2568"/>
                  <a:gd name="T99" fmla="*/ 902 h 1182"/>
                  <a:gd name="T100" fmla="*/ 2156 w 2568"/>
                  <a:gd name="T101" fmla="*/ 794 h 1182"/>
                  <a:gd name="T102" fmla="*/ 2222 w 2568"/>
                  <a:gd name="T103" fmla="*/ 734 h 1182"/>
                  <a:gd name="T104" fmla="*/ 2420 w 2568"/>
                  <a:gd name="T105" fmla="*/ 640 h 1182"/>
                  <a:gd name="T106" fmla="*/ 2460 w 2568"/>
                  <a:gd name="T107" fmla="*/ 560 h 1182"/>
                  <a:gd name="T108" fmla="*/ 2566 w 2568"/>
                  <a:gd name="T109" fmla="*/ 538 h 1182"/>
                  <a:gd name="T110" fmla="*/ 856 w 2568"/>
                  <a:gd name="T111" fmla="*/ 302 h 1182"/>
                  <a:gd name="T112" fmla="*/ 1752 w 2568"/>
                  <a:gd name="T113" fmla="*/ 90 h 1182"/>
                  <a:gd name="T114" fmla="*/ 1762 w 2568"/>
                  <a:gd name="T115" fmla="*/ 200 h 1182"/>
                  <a:gd name="T116" fmla="*/ 1860 w 2568"/>
                  <a:gd name="T117" fmla="*/ 150 h 1182"/>
                  <a:gd name="T118" fmla="*/ 1830 w 2568"/>
                  <a:gd name="T119" fmla="*/ 68 h 1182"/>
                  <a:gd name="T120" fmla="*/ 1972 w 2568"/>
                  <a:gd name="T121" fmla="*/ 146 h 1182"/>
                  <a:gd name="T122" fmla="*/ 1870 w 2568"/>
                  <a:gd name="T123" fmla="*/ 202 h 1182"/>
                  <a:gd name="T124" fmla="*/ 2222 w 2568"/>
                  <a:gd name="T125" fmla="*/ 860 h 1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68" h="1182">
                    <a:moveTo>
                      <a:pt x="486" y="312"/>
                    </a:moveTo>
                    <a:lnTo>
                      <a:pt x="486" y="318"/>
                    </a:lnTo>
                    <a:lnTo>
                      <a:pt x="486" y="318"/>
                    </a:lnTo>
                    <a:lnTo>
                      <a:pt x="486" y="318"/>
                    </a:lnTo>
                    <a:lnTo>
                      <a:pt x="488" y="320"/>
                    </a:lnTo>
                    <a:lnTo>
                      <a:pt x="488" y="320"/>
                    </a:lnTo>
                    <a:lnTo>
                      <a:pt x="488" y="320"/>
                    </a:lnTo>
                    <a:lnTo>
                      <a:pt x="490" y="320"/>
                    </a:lnTo>
                    <a:lnTo>
                      <a:pt x="490" y="320"/>
                    </a:lnTo>
                    <a:lnTo>
                      <a:pt x="490" y="320"/>
                    </a:lnTo>
                    <a:lnTo>
                      <a:pt x="494" y="320"/>
                    </a:lnTo>
                    <a:lnTo>
                      <a:pt x="496" y="320"/>
                    </a:lnTo>
                    <a:lnTo>
                      <a:pt x="496" y="320"/>
                    </a:lnTo>
                    <a:lnTo>
                      <a:pt x="496" y="320"/>
                    </a:lnTo>
                    <a:lnTo>
                      <a:pt x="500" y="326"/>
                    </a:lnTo>
                    <a:lnTo>
                      <a:pt x="502" y="330"/>
                    </a:lnTo>
                    <a:lnTo>
                      <a:pt x="502" y="334"/>
                    </a:lnTo>
                    <a:lnTo>
                      <a:pt x="502" y="336"/>
                    </a:lnTo>
                    <a:lnTo>
                      <a:pt x="502" y="336"/>
                    </a:lnTo>
                    <a:lnTo>
                      <a:pt x="502" y="338"/>
                    </a:lnTo>
                    <a:lnTo>
                      <a:pt x="502" y="338"/>
                    </a:lnTo>
                    <a:lnTo>
                      <a:pt x="500" y="338"/>
                    </a:lnTo>
                    <a:lnTo>
                      <a:pt x="500" y="338"/>
                    </a:lnTo>
                    <a:lnTo>
                      <a:pt x="498" y="340"/>
                    </a:lnTo>
                    <a:lnTo>
                      <a:pt x="498" y="340"/>
                    </a:lnTo>
                    <a:lnTo>
                      <a:pt x="498" y="340"/>
                    </a:lnTo>
                    <a:lnTo>
                      <a:pt x="498" y="342"/>
                    </a:lnTo>
                    <a:lnTo>
                      <a:pt x="500" y="342"/>
                    </a:lnTo>
                    <a:lnTo>
                      <a:pt x="500" y="344"/>
                    </a:lnTo>
                    <a:lnTo>
                      <a:pt x="502" y="344"/>
                    </a:lnTo>
                    <a:lnTo>
                      <a:pt x="504" y="346"/>
                    </a:lnTo>
                    <a:lnTo>
                      <a:pt x="506" y="346"/>
                    </a:lnTo>
                    <a:lnTo>
                      <a:pt x="506" y="348"/>
                    </a:lnTo>
                    <a:lnTo>
                      <a:pt x="506" y="348"/>
                    </a:lnTo>
                    <a:lnTo>
                      <a:pt x="506" y="350"/>
                    </a:lnTo>
                    <a:lnTo>
                      <a:pt x="508" y="352"/>
                    </a:lnTo>
                    <a:lnTo>
                      <a:pt x="508" y="352"/>
                    </a:lnTo>
                    <a:lnTo>
                      <a:pt x="508" y="352"/>
                    </a:lnTo>
                    <a:lnTo>
                      <a:pt x="510" y="356"/>
                    </a:lnTo>
                    <a:lnTo>
                      <a:pt x="510" y="356"/>
                    </a:lnTo>
                    <a:lnTo>
                      <a:pt x="510" y="356"/>
                    </a:lnTo>
                    <a:lnTo>
                      <a:pt x="514" y="358"/>
                    </a:lnTo>
                    <a:lnTo>
                      <a:pt x="514" y="358"/>
                    </a:lnTo>
                    <a:lnTo>
                      <a:pt x="514" y="358"/>
                    </a:lnTo>
                    <a:lnTo>
                      <a:pt x="520" y="360"/>
                    </a:lnTo>
                    <a:lnTo>
                      <a:pt x="520" y="360"/>
                    </a:lnTo>
                    <a:lnTo>
                      <a:pt x="520" y="360"/>
                    </a:lnTo>
                    <a:lnTo>
                      <a:pt x="526" y="364"/>
                    </a:lnTo>
                    <a:lnTo>
                      <a:pt x="526" y="364"/>
                    </a:lnTo>
                    <a:lnTo>
                      <a:pt x="528" y="364"/>
                    </a:lnTo>
                    <a:lnTo>
                      <a:pt x="538" y="362"/>
                    </a:lnTo>
                    <a:lnTo>
                      <a:pt x="550" y="364"/>
                    </a:lnTo>
                    <a:lnTo>
                      <a:pt x="560" y="362"/>
                    </a:lnTo>
                    <a:lnTo>
                      <a:pt x="566" y="362"/>
                    </a:lnTo>
                    <a:lnTo>
                      <a:pt x="570" y="362"/>
                    </a:lnTo>
                    <a:lnTo>
                      <a:pt x="570" y="362"/>
                    </a:lnTo>
                    <a:lnTo>
                      <a:pt x="572" y="360"/>
                    </a:lnTo>
                    <a:lnTo>
                      <a:pt x="574" y="360"/>
                    </a:lnTo>
                    <a:lnTo>
                      <a:pt x="574" y="360"/>
                    </a:lnTo>
                    <a:lnTo>
                      <a:pt x="574" y="358"/>
                    </a:lnTo>
                    <a:lnTo>
                      <a:pt x="574" y="356"/>
                    </a:lnTo>
                    <a:lnTo>
                      <a:pt x="574" y="356"/>
                    </a:lnTo>
                    <a:lnTo>
                      <a:pt x="574" y="356"/>
                    </a:lnTo>
                    <a:lnTo>
                      <a:pt x="574" y="354"/>
                    </a:lnTo>
                    <a:lnTo>
                      <a:pt x="574" y="354"/>
                    </a:lnTo>
                    <a:lnTo>
                      <a:pt x="574" y="354"/>
                    </a:lnTo>
                    <a:lnTo>
                      <a:pt x="572" y="352"/>
                    </a:lnTo>
                    <a:lnTo>
                      <a:pt x="570" y="348"/>
                    </a:lnTo>
                    <a:lnTo>
                      <a:pt x="568" y="346"/>
                    </a:lnTo>
                    <a:lnTo>
                      <a:pt x="568" y="346"/>
                    </a:lnTo>
                    <a:lnTo>
                      <a:pt x="566" y="340"/>
                    </a:lnTo>
                    <a:lnTo>
                      <a:pt x="564" y="336"/>
                    </a:lnTo>
                    <a:lnTo>
                      <a:pt x="562" y="328"/>
                    </a:lnTo>
                    <a:lnTo>
                      <a:pt x="560" y="322"/>
                    </a:lnTo>
                    <a:lnTo>
                      <a:pt x="558" y="318"/>
                    </a:lnTo>
                    <a:lnTo>
                      <a:pt x="558" y="318"/>
                    </a:lnTo>
                    <a:lnTo>
                      <a:pt x="558" y="318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50" y="310"/>
                    </a:lnTo>
                    <a:lnTo>
                      <a:pt x="550" y="308"/>
                    </a:lnTo>
                    <a:lnTo>
                      <a:pt x="550" y="306"/>
                    </a:lnTo>
                    <a:lnTo>
                      <a:pt x="548" y="304"/>
                    </a:lnTo>
                    <a:lnTo>
                      <a:pt x="548" y="304"/>
                    </a:lnTo>
                    <a:lnTo>
                      <a:pt x="548" y="302"/>
                    </a:lnTo>
                    <a:lnTo>
                      <a:pt x="546" y="300"/>
                    </a:lnTo>
                    <a:lnTo>
                      <a:pt x="546" y="300"/>
                    </a:lnTo>
                    <a:lnTo>
                      <a:pt x="548" y="298"/>
                    </a:lnTo>
                    <a:lnTo>
                      <a:pt x="548" y="296"/>
                    </a:lnTo>
                    <a:lnTo>
                      <a:pt x="548" y="294"/>
                    </a:lnTo>
                    <a:lnTo>
                      <a:pt x="548" y="292"/>
                    </a:lnTo>
                    <a:lnTo>
                      <a:pt x="548" y="290"/>
                    </a:lnTo>
                    <a:lnTo>
                      <a:pt x="548" y="288"/>
                    </a:lnTo>
                    <a:lnTo>
                      <a:pt x="550" y="284"/>
                    </a:lnTo>
                    <a:lnTo>
                      <a:pt x="548" y="278"/>
                    </a:lnTo>
                    <a:lnTo>
                      <a:pt x="548" y="268"/>
                    </a:lnTo>
                    <a:lnTo>
                      <a:pt x="548" y="260"/>
                    </a:lnTo>
                    <a:lnTo>
                      <a:pt x="548" y="254"/>
                    </a:lnTo>
                    <a:lnTo>
                      <a:pt x="548" y="248"/>
                    </a:lnTo>
                    <a:lnTo>
                      <a:pt x="550" y="246"/>
                    </a:lnTo>
                    <a:lnTo>
                      <a:pt x="550" y="246"/>
                    </a:lnTo>
                    <a:lnTo>
                      <a:pt x="550" y="242"/>
                    </a:lnTo>
                    <a:lnTo>
                      <a:pt x="552" y="240"/>
                    </a:lnTo>
                    <a:lnTo>
                      <a:pt x="554" y="238"/>
                    </a:lnTo>
                    <a:lnTo>
                      <a:pt x="556" y="236"/>
                    </a:lnTo>
                    <a:lnTo>
                      <a:pt x="560" y="234"/>
                    </a:lnTo>
                    <a:lnTo>
                      <a:pt x="560" y="234"/>
                    </a:lnTo>
                    <a:lnTo>
                      <a:pt x="562" y="232"/>
                    </a:lnTo>
                    <a:lnTo>
                      <a:pt x="562" y="228"/>
                    </a:lnTo>
                    <a:lnTo>
                      <a:pt x="562" y="226"/>
                    </a:lnTo>
                    <a:lnTo>
                      <a:pt x="564" y="220"/>
                    </a:lnTo>
                    <a:lnTo>
                      <a:pt x="564" y="218"/>
                    </a:lnTo>
                    <a:lnTo>
                      <a:pt x="566" y="216"/>
                    </a:lnTo>
                    <a:lnTo>
                      <a:pt x="568" y="214"/>
                    </a:lnTo>
                    <a:lnTo>
                      <a:pt x="570" y="212"/>
                    </a:lnTo>
                    <a:lnTo>
                      <a:pt x="570" y="212"/>
                    </a:lnTo>
                    <a:lnTo>
                      <a:pt x="572" y="210"/>
                    </a:lnTo>
                    <a:lnTo>
                      <a:pt x="574" y="202"/>
                    </a:lnTo>
                    <a:lnTo>
                      <a:pt x="578" y="194"/>
                    </a:lnTo>
                    <a:lnTo>
                      <a:pt x="582" y="186"/>
                    </a:lnTo>
                    <a:lnTo>
                      <a:pt x="584" y="182"/>
                    </a:lnTo>
                    <a:lnTo>
                      <a:pt x="586" y="178"/>
                    </a:lnTo>
                    <a:lnTo>
                      <a:pt x="586" y="178"/>
                    </a:lnTo>
                    <a:lnTo>
                      <a:pt x="586" y="178"/>
                    </a:lnTo>
                    <a:lnTo>
                      <a:pt x="586" y="174"/>
                    </a:lnTo>
                    <a:lnTo>
                      <a:pt x="586" y="170"/>
                    </a:lnTo>
                    <a:lnTo>
                      <a:pt x="588" y="166"/>
                    </a:lnTo>
                    <a:lnTo>
                      <a:pt x="588" y="166"/>
                    </a:lnTo>
                    <a:lnTo>
                      <a:pt x="588" y="166"/>
                    </a:lnTo>
                    <a:lnTo>
                      <a:pt x="590" y="164"/>
                    </a:lnTo>
                    <a:lnTo>
                      <a:pt x="594" y="164"/>
                    </a:lnTo>
                    <a:lnTo>
                      <a:pt x="598" y="164"/>
                    </a:lnTo>
                    <a:lnTo>
                      <a:pt x="602" y="164"/>
                    </a:lnTo>
                    <a:lnTo>
                      <a:pt x="602" y="164"/>
                    </a:lnTo>
                    <a:lnTo>
                      <a:pt x="602" y="164"/>
                    </a:lnTo>
                    <a:lnTo>
                      <a:pt x="606" y="162"/>
                    </a:lnTo>
                    <a:lnTo>
                      <a:pt x="606" y="162"/>
                    </a:lnTo>
                    <a:lnTo>
                      <a:pt x="606" y="162"/>
                    </a:lnTo>
                    <a:lnTo>
                      <a:pt x="608" y="160"/>
                    </a:lnTo>
                    <a:lnTo>
                      <a:pt x="608" y="160"/>
                    </a:lnTo>
                    <a:lnTo>
                      <a:pt x="608" y="158"/>
                    </a:lnTo>
                    <a:lnTo>
                      <a:pt x="610" y="156"/>
                    </a:lnTo>
                    <a:lnTo>
                      <a:pt x="610" y="154"/>
                    </a:lnTo>
                    <a:lnTo>
                      <a:pt x="612" y="154"/>
                    </a:lnTo>
                    <a:lnTo>
                      <a:pt x="612" y="152"/>
                    </a:lnTo>
                    <a:lnTo>
                      <a:pt x="614" y="150"/>
                    </a:lnTo>
                    <a:lnTo>
                      <a:pt x="616" y="150"/>
                    </a:lnTo>
                    <a:lnTo>
                      <a:pt x="616" y="150"/>
                    </a:lnTo>
                    <a:lnTo>
                      <a:pt x="618" y="148"/>
                    </a:lnTo>
                    <a:lnTo>
                      <a:pt x="618" y="144"/>
                    </a:lnTo>
                    <a:lnTo>
                      <a:pt x="620" y="142"/>
                    </a:lnTo>
                    <a:lnTo>
                      <a:pt x="622" y="134"/>
                    </a:lnTo>
                    <a:lnTo>
                      <a:pt x="622" y="130"/>
                    </a:lnTo>
                    <a:lnTo>
                      <a:pt x="624" y="128"/>
                    </a:lnTo>
                    <a:lnTo>
                      <a:pt x="626" y="124"/>
                    </a:lnTo>
                    <a:lnTo>
                      <a:pt x="626" y="124"/>
                    </a:lnTo>
                    <a:lnTo>
                      <a:pt x="630" y="122"/>
                    </a:lnTo>
                    <a:lnTo>
                      <a:pt x="632" y="122"/>
                    </a:lnTo>
                    <a:lnTo>
                      <a:pt x="638" y="120"/>
                    </a:lnTo>
                    <a:lnTo>
                      <a:pt x="642" y="118"/>
                    </a:lnTo>
                    <a:lnTo>
                      <a:pt x="644" y="118"/>
                    </a:lnTo>
                    <a:lnTo>
                      <a:pt x="646" y="118"/>
                    </a:lnTo>
                    <a:lnTo>
                      <a:pt x="646" y="118"/>
                    </a:lnTo>
                    <a:lnTo>
                      <a:pt x="646" y="118"/>
                    </a:lnTo>
                    <a:lnTo>
                      <a:pt x="648" y="118"/>
                    </a:lnTo>
                    <a:lnTo>
                      <a:pt x="652" y="114"/>
                    </a:lnTo>
                    <a:lnTo>
                      <a:pt x="654" y="110"/>
                    </a:lnTo>
                    <a:lnTo>
                      <a:pt x="656" y="108"/>
                    </a:lnTo>
                    <a:lnTo>
                      <a:pt x="658" y="106"/>
                    </a:lnTo>
                    <a:lnTo>
                      <a:pt x="660" y="102"/>
                    </a:lnTo>
                    <a:lnTo>
                      <a:pt x="662" y="100"/>
                    </a:lnTo>
                    <a:lnTo>
                      <a:pt x="662" y="100"/>
                    </a:lnTo>
                    <a:lnTo>
                      <a:pt x="664" y="100"/>
                    </a:lnTo>
                    <a:lnTo>
                      <a:pt x="666" y="98"/>
                    </a:lnTo>
                    <a:lnTo>
                      <a:pt x="668" y="98"/>
                    </a:lnTo>
                    <a:lnTo>
                      <a:pt x="670" y="98"/>
                    </a:lnTo>
                    <a:lnTo>
                      <a:pt x="674" y="98"/>
                    </a:lnTo>
                    <a:lnTo>
                      <a:pt x="678" y="96"/>
                    </a:lnTo>
                    <a:lnTo>
                      <a:pt x="684" y="96"/>
                    </a:lnTo>
                    <a:lnTo>
                      <a:pt x="684" y="96"/>
                    </a:lnTo>
                    <a:lnTo>
                      <a:pt x="686" y="96"/>
                    </a:lnTo>
                    <a:lnTo>
                      <a:pt x="692" y="92"/>
                    </a:lnTo>
                    <a:lnTo>
                      <a:pt x="696" y="90"/>
                    </a:lnTo>
                    <a:lnTo>
                      <a:pt x="708" y="84"/>
                    </a:lnTo>
                    <a:lnTo>
                      <a:pt x="718" y="78"/>
                    </a:lnTo>
                    <a:lnTo>
                      <a:pt x="724" y="74"/>
                    </a:lnTo>
                    <a:lnTo>
                      <a:pt x="728" y="70"/>
                    </a:lnTo>
                    <a:lnTo>
                      <a:pt x="734" y="66"/>
                    </a:lnTo>
                    <a:lnTo>
                      <a:pt x="738" y="62"/>
                    </a:lnTo>
                    <a:lnTo>
                      <a:pt x="746" y="54"/>
                    </a:lnTo>
                    <a:lnTo>
                      <a:pt x="750" y="50"/>
                    </a:lnTo>
                    <a:lnTo>
                      <a:pt x="752" y="46"/>
                    </a:lnTo>
                    <a:lnTo>
                      <a:pt x="754" y="42"/>
                    </a:lnTo>
                    <a:lnTo>
                      <a:pt x="758" y="40"/>
                    </a:lnTo>
                    <a:lnTo>
                      <a:pt x="754" y="38"/>
                    </a:lnTo>
                    <a:lnTo>
                      <a:pt x="754" y="38"/>
                    </a:lnTo>
                    <a:lnTo>
                      <a:pt x="756" y="34"/>
                    </a:lnTo>
                    <a:lnTo>
                      <a:pt x="758" y="32"/>
                    </a:lnTo>
                    <a:lnTo>
                      <a:pt x="756" y="30"/>
                    </a:lnTo>
                    <a:lnTo>
                      <a:pt x="754" y="28"/>
                    </a:lnTo>
                    <a:lnTo>
                      <a:pt x="750" y="26"/>
                    </a:lnTo>
                    <a:lnTo>
                      <a:pt x="746" y="24"/>
                    </a:lnTo>
                    <a:lnTo>
                      <a:pt x="742" y="20"/>
                    </a:lnTo>
                    <a:lnTo>
                      <a:pt x="740" y="18"/>
                    </a:lnTo>
                    <a:lnTo>
                      <a:pt x="736" y="16"/>
                    </a:lnTo>
                    <a:lnTo>
                      <a:pt x="732" y="14"/>
                    </a:lnTo>
                    <a:lnTo>
                      <a:pt x="732" y="14"/>
                    </a:lnTo>
                    <a:lnTo>
                      <a:pt x="732" y="14"/>
                    </a:lnTo>
                    <a:lnTo>
                      <a:pt x="728" y="12"/>
                    </a:lnTo>
                    <a:lnTo>
                      <a:pt x="724" y="12"/>
                    </a:lnTo>
                    <a:lnTo>
                      <a:pt x="718" y="12"/>
                    </a:lnTo>
                    <a:lnTo>
                      <a:pt x="718" y="12"/>
                    </a:lnTo>
                    <a:lnTo>
                      <a:pt x="718" y="12"/>
                    </a:lnTo>
                    <a:lnTo>
                      <a:pt x="712" y="12"/>
                    </a:lnTo>
                    <a:lnTo>
                      <a:pt x="712" y="12"/>
                    </a:lnTo>
                    <a:lnTo>
                      <a:pt x="712" y="12"/>
                    </a:lnTo>
                    <a:lnTo>
                      <a:pt x="706" y="14"/>
                    </a:lnTo>
                    <a:lnTo>
                      <a:pt x="706" y="14"/>
                    </a:lnTo>
                    <a:lnTo>
                      <a:pt x="704" y="16"/>
                    </a:lnTo>
                    <a:lnTo>
                      <a:pt x="702" y="18"/>
                    </a:lnTo>
                    <a:lnTo>
                      <a:pt x="700" y="20"/>
                    </a:lnTo>
                    <a:lnTo>
                      <a:pt x="696" y="26"/>
                    </a:lnTo>
                    <a:lnTo>
                      <a:pt x="694" y="30"/>
                    </a:lnTo>
                    <a:lnTo>
                      <a:pt x="694" y="32"/>
                    </a:lnTo>
                    <a:lnTo>
                      <a:pt x="692" y="34"/>
                    </a:lnTo>
                    <a:lnTo>
                      <a:pt x="692" y="34"/>
                    </a:lnTo>
                    <a:lnTo>
                      <a:pt x="692" y="34"/>
                    </a:lnTo>
                    <a:lnTo>
                      <a:pt x="692" y="36"/>
                    </a:lnTo>
                    <a:lnTo>
                      <a:pt x="692" y="38"/>
                    </a:lnTo>
                    <a:lnTo>
                      <a:pt x="692" y="40"/>
                    </a:lnTo>
                    <a:lnTo>
                      <a:pt x="692" y="42"/>
                    </a:lnTo>
                    <a:lnTo>
                      <a:pt x="692" y="42"/>
                    </a:lnTo>
                    <a:lnTo>
                      <a:pt x="690" y="42"/>
                    </a:lnTo>
                    <a:lnTo>
                      <a:pt x="688" y="44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82" y="44"/>
                    </a:lnTo>
                    <a:lnTo>
                      <a:pt x="680" y="46"/>
                    </a:lnTo>
                    <a:lnTo>
                      <a:pt x="678" y="46"/>
                    </a:lnTo>
                    <a:lnTo>
                      <a:pt x="678" y="46"/>
                    </a:lnTo>
                    <a:lnTo>
                      <a:pt x="678" y="46"/>
                    </a:lnTo>
                    <a:lnTo>
                      <a:pt x="676" y="48"/>
                    </a:lnTo>
                    <a:lnTo>
                      <a:pt x="676" y="48"/>
                    </a:lnTo>
                    <a:lnTo>
                      <a:pt x="676" y="48"/>
                    </a:lnTo>
                    <a:lnTo>
                      <a:pt x="676" y="50"/>
                    </a:lnTo>
                    <a:lnTo>
                      <a:pt x="676" y="50"/>
                    </a:lnTo>
                    <a:lnTo>
                      <a:pt x="676" y="50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2" y="52"/>
                    </a:lnTo>
                    <a:lnTo>
                      <a:pt x="668" y="54"/>
                    </a:lnTo>
                    <a:lnTo>
                      <a:pt x="666" y="54"/>
                    </a:lnTo>
                    <a:lnTo>
                      <a:pt x="664" y="54"/>
                    </a:lnTo>
                    <a:lnTo>
                      <a:pt x="662" y="56"/>
                    </a:lnTo>
                    <a:lnTo>
                      <a:pt x="658" y="56"/>
                    </a:lnTo>
                    <a:lnTo>
                      <a:pt x="656" y="56"/>
                    </a:lnTo>
                    <a:lnTo>
                      <a:pt x="656" y="56"/>
                    </a:lnTo>
                    <a:lnTo>
                      <a:pt x="654" y="56"/>
                    </a:lnTo>
                    <a:lnTo>
                      <a:pt x="652" y="58"/>
                    </a:lnTo>
                    <a:lnTo>
                      <a:pt x="650" y="58"/>
                    </a:lnTo>
                    <a:lnTo>
                      <a:pt x="648" y="58"/>
                    </a:lnTo>
                    <a:lnTo>
                      <a:pt x="646" y="58"/>
                    </a:lnTo>
                    <a:lnTo>
                      <a:pt x="642" y="58"/>
                    </a:lnTo>
                    <a:lnTo>
                      <a:pt x="638" y="58"/>
                    </a:lnTo>
                    <a:lnTo>
                      <a:pt x="634" y="58"/>
                    </a:lnTo>
                    <a:lnTo>
                      <a:pt x="630" y="56"/>
                    </a:lnTo>
                    <a:lnTo>
                      <a:pt x="630" y="56"/>
                    </a:lnTo>
                    <a:lnTo>
                      <a:pt x="630" y="56"/>
                    </a:lnTo>
                    <a:lnTo>
                      <a:pt x="628" y="56"/>
                    </a:lnTo>
                    <a:lnTo>
                      <a:pt x="626" y="54"/>
                    </a:lnTo>
                    <a:lnTo>
                      <a:pt x="626" y="54"/>
                    </a:lnTo>
                    <a:lnTo>
                      <a:pt x="624" y="54"/>
                    </a:lnTo>
                    <a:lnTo>
                      <a:pt x="624" y="54"/>
                    </a:lnTo>
                    <a:lnTo>
                      <a:pt x="624" y="54"/>
                    </a:lnTo>
                    <a:lnTo>
                      <a:pt x="622" y="54"/>
                    </a:lnTo>
                    <a:lnTo>
                      <a:pt x="622" y="56"/>
                    </a:lnTo>
                    <a:lnTo>
                      <a:pt x="622" y="56"/>
                    </a:lnTo>
                    <a:lnTo>
                      <a:pt x="620" y="56"/>
                    </a:lnTo>
                    <a:lnTo>
                      <a:pt x="618" y="60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6" y="66"/>
                    </a:lnTo>
                    <a:lnTo>
                      <a:pt x="616" y="66"/>
                    </a:lnTo>
                    <a:lnTo>
                      <a:pt x="616" y="66"/>
                    </a:lnTo>
                    <a:lnTo>
                      <a:pt x="616" y="68"/>
                    </a:lnTo>
                    <a:lnTo>
                      <a:pt x="616" y="68"/>
                    </a:lnTo>
                    <a:lnTo>
                      <a:pt x="616" y="68"/>
                    </a:lnTo>
                    <a:lnTo>
                      <a:pt x="616" y="70"/>
                    </a:lnTo>
                    <a:lnTo>
                      <a:pt x="616" y="70"/>
                    </a:lnTo>
                    <a:lnTo>
                      <a:pt x="614" y="70"/>
                    </a:lnTo>
                    <a:lnTo>
                      <a:pt x="608" y="70"/>
                    </a:lnTo>
                    <a:lnTo>
                      <a:pt x="608" y="70"/>
                    </a:lnTo>
                    <a:lnTo>
                      <a:pt x="606" y="72"/>
                    </a:lnTo>
                    <a:lnTo>
                      <a:pt x="606" y="76"/>
                    </a:lnTo>
                    <a:lnTo>
                      <a:pt x="604" y="78"/>
                    </a:lnTo>
                    <a:lnTo>
                      <a:pt x="604" y="76"/>
                    </a:lnTo>
                    <a:lnTo>
                      <a:pt x="604" y="78"/>
                    </a:lnTo>
                    <a:lnTo>
                      <a:pt x="602" y="80"/>
                    </a:lnTo>
                    <a:lnTo>
                      <a:pt x="600" y="80"/>
                    </a:lnTo>
                    <a:lnTo>
                      <a:pt x="598" y="82"/>
                    </a:lnTo>
                    <a:lnTo>
                      <a:pt x="596" y="82"/>
                    </a:lnTo>
                    <a:lnTo>
                      <a:pt x="592" y="82"/>
                    </a:lnTo>
                    <a:lnTo>
                      <a:pt x="592" y="82"/>
                    </a:lnTo>
                    <a:lnTo>
                      <a:pt x="590" y="84"/>
                    </a:lnTo>
                    <a:lnTo>
                      <a:pt x="588" y="86"/>
                    </a:lnTo>
                    <a:lnTo>
                      <a:pt x="586" y="88"/>
                    </a:lnTo>
                    <a:lnTo>
                      <a:pt x="582" y="92"/>
                    </a:lnTo>
                    <a:lnTo>
                      <a:pt x="578" y="94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4" y="98"/>
                    </a:lnTo>
                    <a:lnTo>
                      <a:pt x="572" y="102"/>
                    </a:lnTo>
                    <a:lnTo>
                      <a:pt x="570" y="104"/>
                    </a:lnTo>
                    <a:lnTo>
                      <a:pt x="570" y="108"/>
                    </a:lnTo>
                    <a:lnTo>
                      <a:pt x="568" y="108"/>
                    </a:lnTo>
                    <a:lnTo>
                      <a:pt x="568" y="110"/>
                    </a:lnTo>
                    <a:lnTo>
                      <a:pt x="566" y="110"/>
                    </a:lnTo>
                    <a:lnTo>
                      <a:pt x="566" y="110"/>
                    </a:lnTo>
                    <a:lnTo>
                      <a:pt x="566" y="110"/>
                    </a:lnTo>
                    <a:lnTo>
                      <a:pt x="564" y="112"/>
                    </a:lnTo>
                    <a:lnTo>
                      <a:pt x="562" y="112"/>
                    </a:lnTo>
                    <a:lnTo>
                      <a:pt x="560" y="112"/>
                    </a:lnTo>
                    <a:lnTo>
                      <a:pt x="560" y="112"/>
                    </a:lnTo>
                    <a:lnTo>
                      <a:pt x="558" y="114"/>
                    </a:lnTo>
                    <a:lnTo>
                      <a:pt x="558" y="114"/>
                    </a:lnTo>
                    <a:lnTo>
                      <a:pt x="558" y="116"/>
                    </a:lnTo>
                    <a:lnTo>
                      <a:pt x="558" y="118"/>
                    </a:lnTo>
                    <a:lnTo>
                      <a:pt x="560" y="120"/>
                    </a:lnTo>
                    <a:lnTo>
                      <a:pt x="560" y="120"/>
                    </a:lnTo>
                    <a:lnTo>
                      <a:pt x="558" y="120"/>
                    </a:lnTo>
                    <a:lnTo>
                      <a:pt x="554" y="122"/>
                    </a:lnTo>
                    <a:lnTo>
                      <a:pt x="552" y="122"/>
                    </a:lnTo>
                    <a:lnTo>
                      <a:pt x="552" y="122"/>
                    </a:lnTo>
                    <a:lnTo>
                      <a:pt x="550" y="122"/>
                    </a:lnTo>
                    <a:lnTo>
                      <a:pt x="550" y="122"/>
                    </a:lnTo>
                    <a:lnTo>
                      <a:pt x="550" y="122"/>
                    </a:lnTo>
                    <a:lnTo>
                      <a:pt x="548" y="124"/>
                    </a:lnTo>
                    <a:lnTo>
                      <a:pt x="546" y="128"/>
                    </a:lnTo>
                    <a:lnTo>
                      <a:pt x="546" y="128"/>
                    </a:lnTo>
                    <a:lnTo>
                      <a:pt x="544" y="128"/>
                    </a:lnTo>
                    <a:lnTo>
                      <a:pt x="544" y="134"/>
                    </a:lnTo>
                    <a:lnTo>
                      <a:pt x="542" y="138"/>
                    </a:lnTo>
                    <a:lnTo>
                      <a:pt x="542" y="144"/>
                    </a:lnTo>
                    <a:lnTo>
                      <a:pt x="542" y="154"/>
                    </a:lnTo>
                    <a:lnTo>
                      <a:pt x="540" y="158"/>
                    </a:lnTo>
                    <a:lnTo>
                      <a:pt x="540" y="162"/>
                    </a:lnTo>
                    <a:lnTo>
                      <a:pt x="540" y="162"/>
                    </a:lnTo>
                    <a:lnTo>
                      <a:pt x="540" y="166"/>
                    </a:lnTo>
                    <a:lnTo>
                      <a:pt x="540" y="166"/>
                    </a:lnTo>
                    <a:lnTo>
                      <a:pt x="538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4" y="168"/>
                    </a:lnTo>
                    <a:lnTo>
                      <a:pt x="534" y="168"/>
                    </a:lnTo>
                    <a:lnTo>
                      <a:pt x="534" y="170"/>
                    </a:lnTo>
                    <a:lnTo>
                      <a:pt x="534" y="174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2" y="176"/>
                    </a:lnTo>
                    <a:lnTo>
                      <a:pt x="532" y="176"/>
                    </a:lnTo>
                    <a:lnTo>
                      <a:pt x="532" y="176"/>
                    </a:lnTo>
                    <a:lnTo>
                      <a:pt x="530" y="176"/>
                    </a:lnTo>
                    <a:lnTo>
                      <a:pt x="530" y="176"/>
                    </a:lnTo>
                    <a:lnTo>
                      <a:pt x="528" y="176"/>
                    </a:lnTo>
                    <a:lnTo>
                      <a:pt x="528" y="176"/>
                    </a:lnTo>
                    <a:lnTo>
                      <a:pt x="528" y="176"/>
                    </a:lnTo>
                    <a:lnTo>
                      <a:pt x="526" y="176"/>
                    </a:lnTo>
                    <a:lnTo>
                      <a:pt x="526" y="178"/>
                    </a:lnTo>
                    <a:lnTo>
                      <a:pt x="526" y="178"/>
                    </a:lnTo>
                    <a:lnTo>
                      <a:pt x="526" y="178"/>
                    </a:lnTo>
                    <a:lnTo>
                      <a:pt x="526" y="180"/>
                    </a:lnTo>
                    <a:lnTo>
                      <a:pt x="526" y="180"/>
                    </a:lnTo>
                    <a:lnTo>
                      <a:pt x="526" y="180"/>
                    </a:lnTo>
                    <a:lnTo>
                      <a:pt x="526" y="182"/>
                    </a:lnTo>
                    <a:lnTo>
                      <a:pt x="526" y="184"/>
                    </a:lnTo>
                    <a:lnTo>
                      <a:pt x="526" y="186"/>
                    </a:lnTo>
                    <a:lnTo>
                      <a:pt x="524" y="188"/>
                    </a:lnTo>
                    <a:lnTo>
                      <a:pt x="522" y="192"/>
                    </a:lnTo>
                    <a:lnTo>
                      <a:pt x="520" y="194"/>
                    </a:lnTo>
                    <a:lnTo>
                      <a:pt x="518" y="196"/>
                    </a:lnTo>
                    <a:lnTo>
                      <a:pt x="516" y="198"/>
                    </a:lnTo>
                    <a:lnTo>
                      <a:pt x="514" y="198"/>
                    </a:lnTo>
                    <a:lnTo>
                      <a:pt x="514" y="198"/>
                    </a:lnTo>
                    <a:lnTo>
                      <a:pt x="514" y="198"/>
                    </a:lnTo>
                    <a:lnTo>
                      <a:pt x="512" y="200"/>
                    </a:lnTo>
                    <a:lnTo>
                      <a:pt x="512" y="204"/>
                    </a:lnTo>
                    <a:lnTo>
                      <a:pt x="512" y="204"/>
                    </a:lnTo>
                    <a:lnTo>
                      <a:pt x="512" y="204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12" y="208"/>
                    </a:lnTo>
                    <a:lnTo>
                      <a:pt x="514" y="210"/>
                    </a:lnTo>
                    <a:lnTo>
                      <a:pt x="514" y="210"/>
                    </a:lnTo>
                    <a:lnTo>
                      <a:pt x="514" y="210"/>
                    </a:lnTo>
                    <a:lnTo>
                      <a:pt x="516" y="212"/>
                    </a:lnTo>
                    <a:lnTo>
                      <a:pt x="516" y="212"/>
                    </a:lnTo>
                    <a:lnTo>
                      <a:pt x="516" y="212"/>
                    </a:lnTo>
                    <a:lnTo>
                      <a:pt x="518" y="212"/>
                    </a:lnTo>
                    <a:lnTo>
                      <a:pt x="520" y="212"/>
                    </a:lnTo>
                    <a:lnTo>
                      <a:pt x="520" y="214"/>
                    </a:lnTo>
                    <a:lnTo>
                      <a:pt x="518" y="216"/>
                    </a:lnTo>
                    <a:lnTo>
                      <a:pt x="516" y="218"/>
                    </a:lnTo>
                    <a:lnTo>
                      <a:pt x="516" y="218"/>
                    </a:lnTo>
                    <a:lnTo>
                      <a:pt x="516" y="218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2" y="226"/>
                    </a:lnTo>
                    <a:lnTo>
                      <a:pt x="508" y="226"/>
                    </a:lnTo>
                    <a:lnTo>
                      <a:pt x="506" y="226"/>
                    </a:lnTo>
                    <a:lnTo>
                      <a:pt x="500" y="228"/>
                    </a:lnTo>
                    <a:lnTo>
                      <a:pt x="500" y="228"/>
                    </a:lnTo>
                    <a:lnTo>
                      <a:pt x="498" y="230"/>
                    </a:lnTo>
                    <a:lnTo>
                      <a:pt x="498" y="232"/>
                    </a:lnTo>
                    <a:lnTo>
                      <a:pt x="500" y="234"/>
                    </a:lnTo>
                    <a:lnTo>
                      <a:pt x="500" y="236"/>
                    </a:lnTo>
                    <a:lnTo>
                      <a:pt x="500" y="240"/>
                    </a:lnTo>
                    <a:lnTo>
                      <a:pt x="500" y="240"/>
                    </a:lnTo>
                    <a:lnTo>
                      <a:pt x="500" y="244"/>
                    </a:lnTo>
                    <a:lnTo>
                      <a:pt x="498" y="244"/>
                    </a:lnTo>
                    <a:lnTo>
                      <a:pt x="498" y="246"/>
                    </a:lnTo>
                    <a:lnTo>
                      <a:pt x="496" y="248"/>
                    </a:lnTo>
                    <a:lnTo>
                      <a:pt x="492" y="250"/>
                    </a:lnTo>
                    <a:lnTo>
                      <a:pt x="488" y="252"/>
                    </a:lnTo>
                    <a:lnTo>
                      <a:pt x="488" y="252"/>
                    </a:lnTo>
                    <a:lnTo>
                      <a:pt x="486" y="254"/>
                    </a:lnTo>
                    <a:lnTo>
                      <a:pt x="486" y="256"/>
                    </a:lnTo>
                    <a:lnTo>
                      <a:pt x="488" y="258"/>
                    </a:lnTo>
                    <a:lnTo>
                      <a:pt x="490" y="260"/>
                    </a:lnTo>
                    <a:lnTo>
                      <a:pt x="490" y="260"/>
                    </a:lnTo>
                    <a:lnTo>
                      <a:pt x="490" y="262"/>
                    </a:lnTo>
                    <a:lnTo>
                      <a:pt x="490" y="262"/>
                    </a:lnTo>
                    <a:lnTo>
                      <a:pt x="492" y="264"/>
                    </a:lnTo>
                    <a:lnTo>
                      <a:pt x="496" y="266"/>
                    </a:lnTo>
                    <a:lnTo>
                      <a:pt x="496" y="268"/>
                    </a:lnTo>
                    <a:lnTo>
                      <a:pt x="494" y="268"/>
                    </a:lnTo>
                    <a:lnTo>
                      <a:pt x="494" y="268"/>
                    </a:lnTo>
                    <a:lnTo>
                      <a:pt x="494" y="268"/>
                    </a:lnTo>
                    <a:lnTo>
                      <a:pt x="492" y="270"/>
                    </a:lnTo>
                    <a:lnTo>
                      <a:pt x="492" y="270"/>
                    </a:lnTo>
                    <a:lnTo>
                      <a:pt x="492" y="270"/>
                    </a:lnTo>
                    <a:lnTo>
                      <a:pt x="490" y="270"/>
                    </a:lnTo>
                    <a:lnTo>
                      <a:pt x="490" y="270"/>
                    </a:lnTo>
                    <a:lnTo>
                      <a:pt x="490" y="272"/>
                    </a:lnTo>
                    <a:lnTo>
                      <a:pt x="488" y="274"/>
                    </a:lnTo>
                    <a:lnTo>
                      <a:pt x="488" y="274"/>
                    </a:lnTo>
                    <a:lnTo>
                      <a:pt x="488" y="274"/>
                    </a:lnTo>
                    <a:lnTo>
                      <a:pt x="486" y="276"/>
                    </a:lnTo>
                    <a:lnTo>
                      <a:pt x="486" y="278"/>
                    </a:lnTo>
                    <a:lnTo>
                      <a:pt x="484" y="282"/>
                    </a:lnTo>
                    <a:lnTo>
                      <a:pt x="484" y="282"/>
                    </a:lnTo>
                    <a:lnTo>
                      <a:pt x="484" y="282"/>
                    </a:lnTo>
                    <a:lnTo>
                      <a:pt x="484" y="286"/>
                    </a:lnTo>
                    <a:lnTo>
                      <a:pt x="484" y="292"/>
                    </a:lnTo>
                    <a:lnTo>
                      <a:pt x="484" y="300"/>
                    </a:lnTo>
                    <a:lnTo>
                      <a:pt x="484" y="304"/>
                    </a:lnTo>
                    <a:lnTo>
                      <a:pt x="484" y="308"/>
                    </a:lnTo>
                    <a:lnTo>
                      <a:pt x="486" y="312"/>
                    </a:lnTo>
                    <a:close/>
                    <a:moveTo>
                      <a:pt x="52" y="880"/>
                    </a:moveTo>
                    <a:lnTo>
                      <a:pt x="52" y="876"/>
                    </a:lnTo>
                    <a:lnTo>
                      <a:pt x="52" y="874"/>
                    </a:lnTo>
                    <a:lnTo>
                      <a:pt x="52" y="874"/>
                    </a:lnTo>
                    <a:lnTo>
                      <a:pt x="52" y="874"/>
                    </a:lnTo>
                    <a:lnTo>
                      <a:pt x="50" y="870"/>
                    </a:lnTo>
                    <a:lnTo>
                      <a:pt x="50" y="870"/>
                    </a:lnTo>
                    <a:lnTo>
                      <a:pt x="50" y="870"/>
                    </a:lnTo>
                    <a:lnTo>
                      <a:pt x="46" y="868"/>
                    </a:lnTo>
                    <a:lnTo>
                      <a:pt x="46" y="868"/>
                    </a:lnTo>
                    <a:lnTo>
                      <a:pt x="46" y="868"/>
                    </a:lnTo>
                    <a:lnTo>
                      <a:pt x="42" y="866"/>
                    </a:lnTo>
                    <a:lnTo>
                      <a:pt x="42" y="866"/>
                    </a:lnTo>
                    <a:lnTo>
                      <a:pt x="42" y="866"/>
                    </a:lnTo>
                    <a:lnTo>
                      <a:pt x="38" y="864"/>
                    </a:lnTo>
                    <a:lnTo>
                      <a:pt x="32" y="862"/>
                    </a:lnTo>
                    <a:lnTo>
                      <a:pt x="26" y="862"/>
                    </a:lnTo>
                    <a:lnTo>
                      <a:pt x="26" y="862"/>
                    </a:lnTo>
                    <a:lnTo>
                      <a:pt x="24" y="862"/>
                    </a:lnTo>
                    <a:lnTo>
                      <a:pt x="20" y="864"/>
                    </a:lnTo>
                    <a:lnTo>
                      <a:pt x="16" y="866"/>
                    </a:lnTo>
                    <a:lnTo>
                      <a:pt x="10" y="868"/>
                    </a:lnTo>
                    <a:lnTo>
                      <a:pt x="6" y="872"/>
                    </a:lnTo>
                    <a:lnTo>
                      <a:pt x="2" y="874"/>
                    </a:lnTo>
                    <a:lnTo>
                      <a:pt x="2" y="874"/>
                    </a:lnTo>
                    <a:lnTo>
                      <a:pt x="2" y="874"/>
                    </a:lnTo>
                    <a:lnTo>
                      <a:pt x="0" y="876"/>
                    </a:lnTo>
                    <a:lnTo>
                      <a:pt x="0" y="878"/>
                    </a:lnTo>
                    <a:lnTo>
                      <a:pt x="0" y="878"/>
                    </a:lnTo>
                    <a:lnTo>
                      <a:pt x="0" y="878"/>
                    </a:lnTo>
                    <a:lnTo>
                      <a:pt x="0" y="880"/>
                    </a:lnTo>
                    <a:lnTo>
                      <a:pt x="0" y="880"/>
                    </a:lnTo>
                    <a:lnTo>
                      <a:pt x="0" y="880"/>
                    </a:lnTo>
                    <a:lnTo>
                      <a:pt x="0" y="882"/>
                    </a:lnTo>
                    <a:lnTo>
                      <a:pt x="0" y="882"/>
                    </a:lnTo>
                    <a:lnTo>
                      <a:pt x="0" y="882"/>
                    </a:lnTo>
                    <a:lnTo>
                      <a:pt x="0" y="884"/>
                    </a:lnTo>
                    <a:lnTo>
                      <a:pt x="0" y="884"/>
                    </a:lnTo>
                    <a:lnTo>
                      <a:pt x="2" y="884"/>
                    </a:lnTo>
                    <a:lnTo>
                      <a:pt x="4" y="886"/>
                    </a:lnTo>
                    <a:lnTo>
                      <a:pt x="4" y="886"/>
                    </a:lnTo>
                    <a:lnTo>
                      <a:pt x="4" y="886"/>
                    </a:lnTo>
                    <a:lnTo>
                      <a:pt x="10" y="886"/>
                    </a:lnTo>
                    <a:lnTo>
                      <a:pt x="16" y="888"/>
                    </a:lnTo>
                    <a:lnTo>
                      <a:pt x="26" y="888"/>
                    </a:lnTo>
                    <a:lnTo>
                      <a:pt x="38" y="888"/>
                    </a:lnTo>
                    <a:lnTo>
                      <a:pt x="50" y="888"/>
                    </a:lnTo>
                    <a:lnTo>
                      <a:pt x="50" y="888"/>
                    </a:lnTo>
                    <a:lnTo>
                      <a:pt x="52" y="888"/>
                    </a:lnTo>
                    <a:lnTo>
                      <a:pt x="52" y="888"/>
                    </a:lnTo>
                    <a:lnTo>
                      <a:pt x="52" y="886"/>
                    </a:lnTo>
                    <a:lnTo>
                      <a:pt x="52" y="882"/>
                    </a:lnTo>
                    <a:lnTo>
                      <a:pt x="52" y="880"/>
                    </a:lnTo>
                    <a:close/>
                    <a:moveTo>
                      <a:pt x="2398" y="340"/>
                    </a:moveTo>
                    <a:lnTo>
                      <a:pt x="2398" y="340"/>
                    </a:lnTo>
                    <a:lnTo>
                      <a:pt x="2398" y="342"/>
                    </a:lnTo>
                    <a:lnTo>
                      <a:pt x="2398" y="342"/>
                    </a:lnTo>
                    <a:lnTo>
                      <a:pt x="2398" y="342"/>
                    </a:lnTo>
                    <a:lnTo>
                      <a:pt x="2398" y="344"/>
                    </a:lnTo>
                    <a:lnTo>
                      <a:pt x="2400" y="346"/>
                    </a:lnTo>
                    <a:lnTo>
                      <a:pt x="2400" y="346"/>
                    </a:lnTo>
                    <a:lnTo>
                      <a:pt x="2402" y="346"/>
                    </a:lnTo>
                    <a:lnTo>
                      <a:pt x="2402" y="346"/>
                    </a:lnTo>
                    <a:lnTo>
                      <a:pt x="2402" y="346"/>
                    </a:lnTo>
                    <a:lnTo>
                      <a:pt x="2404" y="346"/>
                    </a:lnTo>
                    <a:lnTo>
                      <a:pt x="2406" y="348"/>
                    </a:lnTo>
                    <a:lnTo>
                      <a:pt x="2410" y="348"/>
                    </a:lnTo>
                    <a:lnTo>
                      <a:pt x="2414" y="348"/>
                    </a:lnTo>
                    <a:lnTo>
                      <a:pt x="2420" y="346"/>
                    </a:lnTo>
                    <a:lnTo>
                      <a:pt x="2422" y="346"/>
                    </a:lnTo>
                    <a:lnTo>
                      <a:pt x="2426" y="346"/>
                    </a:lnTo>
                    <a:lnTo>
                      <a:pt x="2428" y="344"/>
                    </a:lnTo>
                    <a:lnTo>
                      <a:pt x="2428" y="344"/>
                    </a:lnTo>
                    <a:lnTo>
                      <a:pt x="2430" y="344"/>
                    </a:lnTo>
                    <a:lnTo>
                      <a:pt x="2432" y="342"/>
                    </a:lnTo>
                    <a:lnTo>
                      <a:pt x="2434" y="342"/>
                    </a:lnTo>
                    <a:lnTo>
                      <a:pt x="2438" y="340"/>
                    </a:lnTo>
                    <a:lnTo>
                      <a:pt x="2436" y="340"/>
                    </a:lnTo>
                    <a:lnTo>
                      <a:pt x="2438" y="338"/>
                    </a:lnTo>
                    <a:lnTo>
                      <a:pt x="2440" y="338"/>
                    </a:lnTo>
                    <a:lnTo>
                      <a:pt x="2446" y="336"/>
                    </a:lnTo>
                    <a:lnTo>
                      <a:pt x="2448" y="334"/>
                    </a:lnTo>
                    <a:lnTo>
                      <a:pt x="2450" y="334"/>
                    </a:lnTo>
                    <a:lnTo>
                      <a:pt x="2450" y="334"/>
                    </a:lnTo>
                    <a:lnTo>
                      <a:pt x="2452" y="334"/>
                    </a:lnTo>
                    <a:lnTo>
                      <a:pt x="2452" y="332"/>
                    </a:lnTo>
                    <a:lnTo>
                      <a:pt x="2452" y="332"/>
                    </a:lnTo>
                    <a:lnTo>
                      <a:pt x="2454" y="332"/>
                    </a:lnTo>
                    <a:lnTo>
                      <a:pt x="2454" y="330"/>
                    </a:lnTo>
                    <a:lnTo>
                      <a:pt x="2454" y="330"/>
                    </a:lnTo>
                    <a:lnTo>
                      <a:pt x="2454" y="330"/>
                    </a:lnTo>
                    <a:lnTo>
                      <a:pt x="2454" y="328"/>
                    </a:lnTo>
                    <a:lnTo>
                      <a:pt x="2454" y="328"/>
                    </a:lnTo>
                    <a:lnTo>
                      <a:pt x="2454" y="328"/>
                    </a:lnTo>
                    <a:lnTo>
                      <a:pt x="2454" y="326"/>
                    </a:lnTo>
                    <a:lnTo>
                      <a:pt x="2454" y="326"/>
                    </a:lnTo>
                    <a:lnTo>
                      <a:pt x="2454" y="324"/>
                    </a:lnTo>
                    <a:lnTo>
                      <a:pt x="2454" y="322"/>
                    </a:lnTo>
                    <a:lnTo>
                      <a:pt x="2454" y="322"/>
                    </a:lnTo>
                    <a:lnTo>
                      <a:pt x="2452" y="320"/>
                    </a:lnTo>
                    <a:lnTo>
                      <a:pt x="2450" y="318"/>
                    </a:lnTo>
                    <a:lnTo>
                      <a:pt x="2450" y="318"/>
                    </a:lnTo>
                    <a:lnTo>
                      <a:pt x="2450" y="316"/>
                    </a:lnTo>
                    <a:lnTo>
                      <a:pt x="2448" y="316"/>
                    </a:lnTo>
                    <a:lnTo>
                      <a:pt x="2446" y="314"/>
                    </a:lnTo>
                    <a:lnTo>
                      <a:pt x="2446" y="314"/>
                    </a:lnTo>
                    <a:lnTo>
                      <a:pt x="2446" y="314"/>
                    </a:lnTo>
                    <a:lnTo>
                      <a:pt x="2444" y="312"/>
                    </a:lnTo>
                    <a:lnTo>
                      <a:pt x="2442" y="310"/>
                    </a:lnTo>
                    <a:lnTo>
                      <a:pt x="2438" y="310"/>
                    </a:lnTo>
                    <a:lnTo>
                      <a:pt x="2436" y="308"/>
                    </a:lnTo>
                    <a:lnTo>
                      <a:pt x="2432" y="308"/>
                    </a:lnTo>
                    <a:lnTo>
                      <a:pt x="2428" y="306"/>
                    </a:lnTo>
                    <a:lnTo>
                      <a:pt x="2428" y="306"/>
                    </a:lnTo>
                    <a:lnTo>
                      <a:pt x="2428" y="306"/>
                    </a:lnTo>
                    <a:lnTo>
                      <a:pt x="2424" y="306"/>
                    </a:lnTo>
                    <a:lnTo>
                      <a:pt x="2422" y="306"/>
                    </a:lnTo>
                    <a:lnTo>
                      <a:pt x="2422" y="306"/>
                    </a:lnTo>
                    <a:lnTo>
                      <a:pt x="2420" y="308"/>
                    </a:lnTo>
                    <a:lnTo>
                      <a:pt x="2418" y="308"/>
                    </a:lnTo>
                    <a:lnTo>
                      <a:pt x="2418" y="308"/>
                    </a:lnTo>
                    <a:lnTo>
                      <a:pt x="2418" y="308"/>
                    </a:lnTo>
                    <a:lnTo>
                      <a:pt x="2414" y="310"/>
                    </a:lnTo>
                    <a:lnTo>
                      <a:pt x="2412" y="312"/>
                    </a:lnTo>
                    <a:lnTo>
                      <a:pt x="2408" y="314"/>
                    </a:lnTo>
                    <a:lnTo>
                      <a:pt x="2406" y="318"/>
                    </a:lnTo>
                    <a:lnTo>
                      <a:pt x="2404" y="320"/>
                    </a:lnTo>
                    <a:lnTo>
                      <a:pt x="2402" y="322"/>
                    </a:lnTo>
                    <a:lnTo>
                      <a:pt x="2400" y="324"/>
                    </a:lnTo>
                    <a:lnTo>
                      <a:pt x="2398" y="326"/>
                    </a:lnTo>
                    <a:lnTo>
                      <a:pt x="2398" y="330"/>
                    </a:lnTo>
                    <a:lnTo>
                      <a:pt x="2398" y="330"/>
                    </a:lnTo>
                    <a:lnTo>
                      <a:pt x="2398" y="330"/>
                    </a:lnTo>
                    <a:lnTo>
                      <a:pt x="2396" y="334"/>
                    </a:lnTo>
                    <a:lnTo>
                      <a:pt x="2396" y="336"/>
                    </a:lnTo>
                    <a:lnTo>
                      <a:pt x="2396" y="338"/>
                    </a:lnTo>
                    <a:lnTo>
                      <a:pt x="2398" y="340"/>
                    </a:lnTo>
                    <a:close/>
                    <a:moveTo>
                      <a:pt x="2568" y="530"/>
                    </a:moveTo>
                    <a:lnTo>
                      <a:pt x="2568" y="530"/>
                    </a:lnTo>
                    <a:lnTo>
                      <a:pt x="2566" y="530"/>
                    </a:lnTo>
                    <a:lnTo>
                      <a:pt x="2566" y="528"/>
                    </a:lnTo>
                    <a:lnTo>
                      <a:pt x="2566" y="528"/>
                    </a:lnTo>
                    <a:lnTo>
                      <a:pt x="2566" y="528"/>
                    </a:lnTo>
                    <a:lnTo>
                      <a:pt x="2564" y="526"/>
                    </a:lnTo>
                    <a:lnTo>
                      <a:pt x="2564" y="526"/>
                    </a:lnTo>
                    <a:lnTo>
                      <a:pt x="2562" y="526"/>
                    </a:lnTo>
                    <a:lnTo>
                      <a:pt x="2560" y="524"/>
                    </a:lnTo>
                    <a:lnTo>
                      <a:pt x="2558" y="522"/>
                    </a:lnTo>
                    <a:lnTo>
                      <a:pt x="2554" y="520"/>
                    </a:lnTo>
                    <a:lnTo>
                      <a:pt x="2552" y="520"/>
                    </a:lnTo>
                    <a:lnTo>
                      <a:pt x="2550" y="518"/>
                    </a:lnTo>
                    <a:lnTo>
                      <a:pt x="2550" y="518"/>
                    </a:lnTo>
                    <a:lnTo>
                      <a:pt x="2550" y="516"/>
                    </a:lnTo>
                    <a:lnTo>
                      <a:pt x="2548" y="514"/>
                    </a:lnTo>
                    <a:lnTo>
                      <a:pt x="2548" y="516"/>
                    </a:lnTo>
                    <a:lnTo>
                      <a:pt x="2548" y="512"/>
                    </a:lnTo>
                    <a:lnTo>
                      <a:pt x="2548" y="508"/>
                    </a:lnTo>
                    <a:lnTo>
                      <a:pt x="2548" y="506"/>
                    </a:lnTo>
                    <a:lnTo>
                      <a:pt x="2548" y="506"/>
                    </a:lnTo>
                    <a:lnTo>
                      <a:pt x="2548" y="506"/>
                    </a:lnTo>
                    <a:lnTo>
                      <a:pt x="2546" y="504"/>
                    </a:lnTo>
                    <a:lnTo>
                      <a:pt x="2546" y="504"/>
                    </a:lnTo>
                    <a:lnTo>
                      <a:pt x="2546" y="504"/>
                    </a:lnTo>
                    <a:lnTo>
                      <a:pt x="2546" y="502"/>
                    </a:lnTo>
                    <a:lnTo>
                      <a:pt x="2546" y="502"/>
                    </a:lnTo>
                    <a:lnTo>
                      <a:pt x="2544" y="502"/>
                    </a:lnTo>
                    <a:lnTo>
                      <a:pt x="2542" y="500"/>
                    </a:lnTo>
                    <a:lnTo>
                      <a:pt x="2542" y="500"/>
                    </a:lnTo>
                    <a:lnTo>
                      <a:pt x="2542" y="498"/>
                    </a:lnTo>
                    <a:lnTo>
                      <a:pt x="2538" y="498"/>
                    </a:lnTo>
                    <a:lnTo>
                      <a:pt x="2538" y="498"/>
                    </a:lnTo>
                    <a:lnTo>
                      <a:pt x="2538" y="498"/>
                    </a:lnTo>
                    <a:lnTo>
                      <a:pt x="2536" y="496"/>
                    </a:lnTo>
                    <a:lnTo>
                      <a:pt x="2534" y="496"/>
                    </a:lnTo>
                    <a:lnTo>
                      <a:pt x="2530" y="496"/>
                    </a:lnTo>
                    <a:lnTo>
                      <a:pt x="2528" y="496"/>
                    </a:lnTo>
                    <a:lnTo>
                      <a:pt x="2524" y="496"/>
                    </a:lnTo>
                    <a:lnTo>
                      <a:pt x="2520" y="496"/>
                    </a:lnTo>
                    <a:lnTo>
                      <a:pt x="2516" y="496"/>
                    </a:lnTo>
                    <a:lnTo>
                      <a:pt x="2512" y="498"/>
                    </a:lnTo>
                    <a:lnTo>
                      <a:pt x="2508" y="498"/>
                    </a:lnTo>
                    <a:lnTo>
                      <a:pt x="2508" y="498"/>
                    </a:lnTo>
                    <a:lnTo>
                      <a:pt x="2508" y="498"/>
                    </a:lnTo>
                    <a:lnTo>
                      <a:pt x="2506" y="498"/>
                    </a:lnTo>
                    <a:lnTo>
                      <a:pt x="2506" y="498"/>
                    </a:lnTo>
                    <a:lnTo>
                      <a:pt x="2506" y="500"/>
                    </a:lnTo>
                    <a:lnTo>
                      <a:pt x="2504" y="500"/>
                    </a:lnTo>
                    <a:lnTo>
                      <a:pt x="2504" y="500"/>
                    </a:lnTo>
                    <a:lnTo>
                      <a:pt x="2504" y="502"/>
                    </a:lnTo>
                    <a:lnTo>
                      <a:pt x="2502" y="502"/>
                    </a:lnTo>
                    <a:lnTo>
                      <a:pt x="2502" y="502"/>
                    </a:lnTo>
                    <a:lnTo>
                      <a:pt x="2502" y="504"/>
                    </a:lnTo>
                    <a:lnTo>
                      <a:pt x="2502" y="504"/>
                    </a:lnTo>
                    <a:lnTo>
                      <a:pt x="2502" y="504"/>
                    </a:lnTo>
                    <a:lnTo>
                      <a:pt x="2502" y="506"/>
                    </a:lnTo>
                    <a:lnTo>
                      <a:pt x="2502" y="508"/>
                    </a:lnTo>
                    <a:lnTo>
                      <a:pt x="2504" y="510"/>
                    </a:lnTo>
                    <a:lnTo>
                      <a:pt x="2504" y="512"/>
                    </a:lnTo>
                    <a:lnTo>
                      <a:pt x="2504" y="514"/>
                    </a:lnTo>
                    <a:lnTo>
                      <a:pt x="2504" y="516"/>
                    </a:lnTo>
                    <a:lnTo>
                      <a:pt x="2504" y="518"/>
                    </a:lnTo>
                    <a:lnTo>
                      <a:pt x="2504" y="522"/>
                    </a:lnTo>
                    <a:lnTo>
                      <a:pt x="2504" y="522"/>
                    </a:lnTo>
                    <a:lnTo>
                      <a:pt x="2504" y="522"/>
                    </a:lnTo>
                    <a:lnTo>
                      <a:pt x="2502" y="520"/>
                    </a:lnTo>
                    <a:lnTo>
                      <a:pt x="2498" y="518"/>
                    </a:lnTo>
                    <a:lnTo>
                      <a:pt x="2498" y="516"/>
                    </a:lnTo>
                    <a:lnTo>
                      <a:pt x="2496" y="514"/>
                    </a:lnTo>
                    <a:lnTo>
                      <a:pt x="2496" y="516"/>
                    </a:lnTo>
                    <a:lnTo>
                      <a:pt x="2496" y="514"/>
                    </a:lnTo>
                    <a:lnTo>
                      <a:pt x="2496" y="514"/>
                    </a:lnTo>
                    <a:lnTo>
                      <a:pt x="2496" y="512"/>
                    </a:lnTo>
                    <a:lnTo>
                      <a:pt x="2496" y="508"/>
                    </a:lnTo>
                    <a:lnTo>
                      <a:pt x="2498" y="504"/>
                    </a:lnTo>
                    <a:lnTo>
                      <a:pt x="2498" y="504"/>
                    </a:lnTo>
                    <a:lnTo>
                      <a:pt x="2498" y="504"/>
                    </a:lnTo>
                    <a:lnTo>
                      <a:pt x="2498" y="502"/>
                    </a:lnTo>
                    <a:lnTo>
                      <a:pt x="2500" y="500"/>
                    </a:lnTo>
                    <a:lnTo>
                      <a:pt x="2500" y="500"/>
                    </a:lnTo>
                    <a:lnTo>
                      <a:pt x="2500" y="500"/>
                    </a:lnTo>
                    <a:lnTo>
                      <a:pt x="2500" y="498"/>
                    </a:lnTo>
                    <a:lnTo>
                      <a:pt x="2502" y="496"/>
                    </a:lnTo>
                    <a:lnTo>
                      <a:pt x="2502" y="496"/>
                    </a:lnTo>
                    <a:lnTo>
                      <a:pt x="2502" y="496"/>
                    </a:lnTo>
                    <a:lnTo>
                      <a:pt x="2502" y="494"/>
                    </a:lnTo>
                    <a:lnTo>
                      <a:pt x="2502" y="494"/>
                    </a:lnTo>
                    <a:lnTo>
                      <a:pt x="2502" y="492"/>
                    </a:lnTo>
                    <a:lnTo>
                      <a:pt x="2502" y="490"/>
                    </a:lnTo>
                    <a:lnTo>
                      <a:pt x="2500" y="490"/>
                    </a:lnTo>
                    <a:lnTo>
                      <a:pt x="2500" y="488"/>
                    </a:lnTo>
                    <a:lnTo>
                      <a:pt x="2498" y="486"/>
                    </a:lnTo>
                    <a:lnTo>
                      <a:pt x="2496" y="484"/>
                    </a:lnTo>
                    <a:lnTo>
                      <a:pt x="2492" y="480"/>
                    </a:lnTo>
                    <a:lnTo>
                      <a:pt x="2490" y="478"/>
                    </a:lnTo>
                    <a:lnTo>
                      <a:pt x="2486" y="476"/>
                    </a:lnTo>
                    <a:lnTo>
                      <a:pt x="2480" y="470"/>
                    </a:lnTo>
                    <a:lnTo>
                      <a:pt x="2472" y="464"/>
                    </a:lnTo>
                    <a:lnTo>
                      <a:pt x="2462" y="456"/>
                    </a:lnTo>
                    <a:lnTo>
                      <a:pt x="2454" y="450"/>
                    </a:lnTo>
                    <a:lnTo>
                      <a:pt x="2448" y="446"/>
                    </a:lnTo>
                    <a:lnTo>
                      <a:pt x="2444" y="442"/>
                    </a:lnTo>
                    <a:lnTo>
                      <a:pt x="2442" y="440"/>
                    </a:lnTo>
                    <a:lnTo>
                      <a:pt x="2438" y="436"/>
                    </a:lnTo>
                    <a:lnTo>
                      <a:pt x="2434" y="432"/>
                    </a:lnTo>
                    <a:lnTo>
                      <a:pt x="2432" y="430"/>
                    </a:lnTo>
                    <a:lnTo>
                      <a:pt x="2430" y="426"/>
                    </a:lnTo>
                    <a:lnTo>
                      <a:pt x="2424" y="420"/>
                    </a:lnTo>
                    <a:lnTo>
                      <a:pt x="2422" y="418"/>
                    </a:lnTo>
                    <a:lnTo>
                      <a:pt x="2418" y="414"/>
                    </a:lnTo>
                    <a:lnTo>
                      <a:pt x="2414" y="412"/>
                    </a:lnTo>
                    <a:lnTo>
                      <a:pt x="2408" y="410"/>
                    </a:lnTo>
                    <a:lnTo>
                      <a:pt x="2398" y="404"/>
                    </a:lnTo>
                    <a:lnTo>
                      <a:pt x="2392" y="402"/>
                    </a:lnTo>
                    <a:lnTo>
                      <a:pt x="2388" y="398"/>
                    </a:lnTo>
                    <a:lnTo>
                      <a:pt x="2384" y="396"/>
                    </a:lnTo>
                    <a:lnTo>
                      <a:pt x="2380" y="394"/>
                    </a:lnTo>
                    <a:lnTo>
                      <a:pt x="2376" y="394"/>
                    </a:lnTo>
                    <a:lnTo>
                      <a:pt x="2374" y="392"/>
                    </a:lnTo>
                    <a:lnTo>
                      <a:pt x="2372" y="392"/>
                    </a:lnTo>
                    <a:lnTo>
                      <a:pt x="2370" y="390"/>
                    </a:lnTo>
                    <a:lnTo>
                      <a:pt x="2368" y="388"/>
                    </a:lnTo>
                    <a:lnTo>
                      <a:pt x="2368" y="388"/>
                    </a:lnTo>
                    <a:lnTo>
                      <a:pt x="2368" y="388"/>
                    </a:lnTo>
                    <a:lnTo>
                      <a:pt x="2366" y="388"/>
                    </a:lnTo>
                    <a:lnTo>
                      <a:pt x="2364" y="388"/>
                    </a:lnTo>
                    <a:lnTo>
                      <a:pt x="2364" y="388"/>
                    </a:lnTo>
                    <a:lnTo>
                      <a:pt x="2358" y="388"/>
                    </a:lnTo>
                    <a:lnTo>
                      <a:pt x="2352" y="388"/>
                    </a:lnTo>
                    <a:lnTo>
                      <a:pt x="2348" y="388"/>
                    </a:lnTo>
                    <a:lnTo>
                      <a:pt x="2342" y="388"/>
                    </a:lnTo>
                    <a:lnTo>
                      <a:pt x="2340" y="388"/>
                    </a:lnTo>
                    <a:lnTo>
                      <a:pt x="2336" y="386"/>
                    </a:lnTo>
                    <a:lnTo>
                      <a:pt x="2330" y="386"/>
                    </a:lnTo>
                    <a:lnTo>
                      <a:pt x="2324" y="384"/>
                    </a:lnTo>
                    <a:lnTo>
                      <a:pt x="2322" y="384"/>
                    </a:lnTo>
                    <a:lnTo>
                      <a:pt x="2318" y="382"/>
                    </a:lnTo>
                    <a:lnTo>
                      <a:pt x="2316" y="382"/>
                    </a:lnTo>
                    <a:lnTo>
                      <a:pt x="2316" y="382"/>
                    </a:lnTo>
                    <a:lnTo>
                      <a:pt x="2312" y="382"/>
                    </a:lnTo>
                    <a:lnTo>
                      <a:pt x="2310" y="380"/>
                    </a:lnTo>
                    <a:lnTo>
                      <a:pt x="2308" y="380"/>
                    </a:lnTo>
                    <a:lnTo>
                      <a:pt x="2306" y="380"/>
                    </a:lnTo>
                    <a:lnTo>
                      <a:pt x="2304" y="380"/>
                    </a:lnTo>
                    <a:lnTo>
                      <a:pt x="2300" y="378"/>
                    </a:lnTo>
                    <a:lnTo>
                      <a:pt x="2294" y="376"/>
                    </a:lnTo>
                    <a:lnTo>
                      <a:pt x="2290" y="376"/>
                    </a:lnTo>
                    <a:lnTo>
                      <a:pt x="2288" y="376"/>
                    </a:lnTo>
                    <a:lnTo>
                      <a:pt x="2286" y="376"/>
                    </a:lnTo>
                    <a:lnTo>
                      <a:pt x="2284" y="376"/>
                    </a:lnTo>
                    <a:lnTo>
                      <a:pt x="2282" y="376"/>
                    </a:lnTo>
                    <a:lnTo>
                      <a:pt x="2282" y="376"/>
                    </a:lnTo>
                    <a:lnTo>
                      <a:pt x="2282" y="376"/>
                    </a:lnTo>
                    <a:lnTo>
                      <a:pt x="2280" y="376"/>
                    </a:lnTo>
                    <a:lnTo>
                      <a:pt x="2280" y="376"/>
                    </a:lnTo>
                    <a:lnTo>
                      <a:pt x="2280" y="376"/>
                    </a:lnTo>
                    <a:lnTo>
                      <a:pt x="2278" y="378"/>
                    </a:lnTo>
                    <a:lnTo>
                      <a:pt x="2278" y="378"/>
                    </a:lnTo>
                    <a:lnTo>
                      <a:pt x="2278" y="378"/>
                    </a:lnTo>
                    <a:lnTo>
                      <a:pt x="2276" y="382"/>
                    </a:lnTo>
                    <a:lnTo>
                      <a:pt x="2276" y="382"/>
                    </a:lnTo>
                    <a:lnTo>
                      <a:pt x="2276" y="382"/>
                    </a:lnTo>
                    <a:lnTo>
                      <a:pt x="2274" y="386"/>
                    </a:lnTo>
                    <a:lnTo>
                      <a:pt x="2274" y="386"/>
                    </a:lnTo>
                    <a:lnTo>
                      <a:pt x="2274" y="392"/>
                    </a:lnTo>
                    <a:lnTo>
                      <a:pt x="2274" y="392"/>
                    </a:lnTo>
                    <a:lnTo>
                      <a:pt x="2274" y="392"/>
                    </a:lnTo>
                    <a:lnTo>
                      <a:pt x="2274" y="394"/>
                    </a:lnTo>
                    <a:lnTo>
                      <a:pt x="2274" y="394"/>
                    </a:lnTo>
                    <a:lnTo>
                      <a:pt x="2276" y="396"/>
                    </a:lnTo>
                    <a:lnTo>
                      <a:pt x="2276" y="400"/>
                    </a:lnTo>
                    <a:lnTo>
                      <a:pt x="2278" y="404"/>
                    </a:lnTo>
                    <a:lnTo>
                      <a:pt x="2280" y="408"/>
                    </a:lnTo>
                    <a:lnTo>
                      <a:pt x="2282" y="412"/>
                    </a:lnTo>
                    <a:lnTo>
                      <a:pt x="2282" y="416"/>
                    </a:lnTo>
                    <a:lnTo>
                      <a:pt x="2284" y="420"/>
                    </a:lnTo>
                    <a:lnTo>
                      <a:pt x="2284" y="420"/>
                    </a:lnTo>
                    <a:lnTo>
                      <a:pt x="2284" y="420"/>
                    </a:lnTo>
                    <a:lnTo>
                      <a:pt x="2282" y="420"/>
                    </a:lnTo>
                    <a:lnTo>
                      <a:pt x="2280" y="420"/>
                    </a:lnTo>
                    <a:lnTo>
                      <a:pt x="2276" y="420"/>
                    </a:lnTo>
                    <a:lnTo>
                      <a:pt x="2272" y="420"/>
                    </a:lnTo>
                    <a:lnTo>
                      <a:pt x="2268" y="418"/>
                    </a:lnTo>
                    <a:lnTo>
                      <a:pt x="2266" y="418"/>
                    </a:lnTo>
                    <a:lnTo>
                      <a:pt x="2262" y="418"/>
                    </a:lnTo>
                    <a:lnTo>
                      <a:pt x="2258" y="416"/>
                    </a:lnTo>
                    <a:lnTo>
                      <a:pt x="2254" y="416"/>
                    </a:lnTo>
                    <a:lnTo>
                      <a:pt x="2250" y="414"/>
                    </a:lnTo>
                    <a:lnTo>
                      <a:pt x="2252" y="416"/>
                    </a:lnTo>
                    <a:lnTo>
                      <a:pt x="2250" y="414"/>
                    </a:lnTo>
                    <a:lnTo>
                      <a:pt x="2250" y="414"/>
                    </a:lnTo>
                    <a:lnTo>
                      <a:pt x="2248" y="412"/>
                    </a:lnTo>
                    <a:lnTo>
                      <a:pt x="2248" y="410"/>
                    </a:lnTo>
                    <a:lnTo>
                      <a:pt x="2248" y="408"/>
                    </a:lnTo>
                    <a:lnTo>
                      <a:pt x="2246" y="404"/>
                    </a:lnTo>
                    <a:lnTo>
                      <a:pt x="2246" y="402"/>
                    </a:lnTo>
                    <a:lnTo>
                      <a:pt x="2246" y="398"/>
                    </a:lnTo>
                    <a:lnTo>
                      <a:pt x="2246" y="400"/>
                    </a:lnTo>
                    <a:lnTo>
                      <a:pt x="2248" y="398"/>
                    </a:lnTo>
                    <a:lnTo>
                      <a:pt x="2248" y="396"/>
                    </a:lnTo>
                    <a:lnTo>
                      <a:pt x="2248" y="396"/>
                    </a:lnTo>
                    <a:lnTo>
                      <a:pt x="2250" y="394"/>
                    </a:lnTo>
                    <a:lnTo>
                      <a:pt x="2252" y="394"/>
                    </a:lnTo>
                    <a:lnTo>
                      <a:pt x="2256" y="394"/>
                    </a:lnTo>
                    <a:lnTo>
                      <a:pt x="2258" y="394"/>
                    </a:lnTo>
                    <a:lnTo>
                      <a:pt x="2262" y="392"/>
                    </a:lnTo>
                    <a:lnTo>
                      <a:pt x="2264" y="392"/>
                    </a:lnTo>
                    <a:lnTo>
                      <a:pt x="2264" y="392"/>
                    </a:lnTo>
                    <a:lnTo>
                      <a:pt x="2264" y="392"/>
                    </a:lnTo>
                    <a:lnTo>
                      <a:pt x="2266" y="390"/>
                    </a:lnTo>
                    <a:lnTo>
                      <a:pt x="2266" y="390"/>
                    </a:lnTo>
                    <a:lnTo>
                      <a:pt x="2266" y="388"/>
                    </a:lnTo>
                    <a:lnTo>
                      <a:pt x="2266" y="386"/>
                    </a:lnTo>
                    <a:lnTo>
                      <a:pt x="2266" y="386"/>
                    </a:lnTo>
                    <a:lnTo>
                      <a:pt x="2264" y="386"/>
                    </a:lnTo>
                    <a:lnTo>
                      <a:pt x="2264" y="384"/>
                    </a:lnTo>
                    <a:lnTo>
                      <a:pt x="2262" y="382"/>
                    </a:lnTo>
                    <a:lnTo>
                      <a:pt x="2258" y="380"/>
                    </a:lnTo>
                    <a:lnTo>
                      <a:pt x="2256" y="378"/>
                    </a:lnTo>
                    <a:lnTo>
                      <a:pt x="2254" y="378"/>
                    </a:lnTo>
                    <a:lnTo>
                      <a:pt x="2254" y="378"/>
                    </a:lnTo>
                    <a:lnTo>
                      <a:pt x="2254" y="378"/>
                    </a:lnTo>
                    <a:lnTo>
                      <a:pt x="2250" y="376"/>
                    </a:lnTo>
                    <a:lnTo>
                      <a:pt x="2250" y="376"/>
                    </a:lnTo>
                    <a:lnTo>
                      <a:pt x="2250" y="376"/>
                    </a:lnTo>
                    <a:lnTo>
                      <a:pt x="2248" y="376"/>
                    </a:lnTo>
                    <a:lnTo>
                      <a:pt x="2248" y="376"/>
                    </a:lnTo>
                    <a:lnTo>
                      <a:pt x="2248" y="376"/>
                    </a:lnTo>
                    <a:lnTo>
                      <a:pt x="2246" y="378"/>
                    </a:lnTo>
                    <a:lnTo>
                      <a:pt x="2246" y="378"/>
                    </a:lnTo>
                    <a:lnTo>
                      <a:pt x="2244" y="378"/>
                    </a:lnTo>
                    <a:lnTo>
                      <a:pt x="2244" y="380"/>
                    </a:lnTo>
                    <a:lnTo>
                      <a:pt x="2244" y="380"/>
                    </a:lnTo>
                    <a:lnTo>
                      <a:pt x="2244" y="380"/>
                    </a:lnTo>
                    <a:lnTo>
                      <a:pt x="2242" y="382"/>
                    </a:lnTo>
                    <a:lnTo>
                      <a:pt x="2240" y="386"/>
                    </a:lnTo>
                    <a:lnTo>
                      <a:pt x="2238" y="390"/>
                    </a:lnTo>
                    <a:lnTo>
                      <a:pt x="2236" y="392"/>
                    </a:lnTo>
                    <a:lnTo>
                      <a:pt x="2234" y="394"/>
                    </a:lnTo>
                    <a:lnTo>
                      <a:pt x="2230" y="398"/>
                    </a:lnTo>
                    <a:lnTo>
                      <a:pt x="2230" y="400"/>
                    </a:lnTo>
                    <a:lnTo>
                      <a:pt x="2228" y="402"/>
                    </a:lnTo>
                    <a:lnTo>
                      <a:pt x="2226" y="402"/>
                    </a:lnTo>
                    <a:lnTo>
                      <a:pt x="2226" y="402"/>
                    </a:lnTo>
                    <a:lnTo>
                      <a:pt x="2226" y="402"/>
                    </a:lnTo>
                    <a:lnTo>
                      <a:pt x="2224" y="402"/>
                    </a:lnTo>
                    <a:lnTo>
                      <a:pt x="2224" y="402"/>
                    </a:lnTo>
                    <a:lnTo>
                      <a:pt x="2222" y="400"/>
                    </a:lnTo>
                    <a:lnTo>
                      <a:pt x="2220" y="398"/>
                    </a:lnTo>
                    <a:lnTo>
                      <a:pt x="2220" y="398"/>
                    </a:lnTo>
                    <a:lnTo>
                      <a:pt x="2220" y="398"/>
                    </a:lnTo>
                    <a:lnTo>
                      <a:pt x="2218" y="398"/>
                    </a:lnTo>
                    <a:lnTo>
                      <a:pt x="2218" y="398"/>
                    </a:lnTo>
                    <a:lnTo>
                      <a:pt x="2216" y="398"/>
                    </a:lnTo>
                    <a:lnTo>
                      <a:pt x="2216" y="396"/>
                    </a:lnTo>
                    <a:lnTo>
                      <a:pt x="2216" y="396"/>
                    </a:lnTo>
                    <a:lnTo>
                      <a:pt x="2214" y="396"/>
                    </a:lnTo>
                    <a:lnTo>
                      <a:pt x="2212" y="396"/>
                    </a:lnTo>
                    <a:lnTo>
                      <a:pt x="2210" y="396"/>
                    </a:lnTo>
                    <a:lnTo>
                      <a:pt x="2204" y="398"/>
                    </a:lnTo>
                    <a:lnTo>
                      <a:pt x="2198" y="398"/>
                    </a:lnTo>
                    <a:lnTo>
                      <a:pt x="2196" y="398"/>
                    </a:lnTo>
                    <a:lnTo>
                      <a:pt x="2194" y="398"/>
                    </a:lnTo>
                    <a:lnTo>
                      <a:pt x="2194" y="398"/>
                    </a:lnTo>
                    <a:lnTo>
                      <a:pt x="2192" y="396"/>
                    </a:lnTo>
                    <a:lnTo>
                      <a:pt x="2192" y="394"/>
                    </a:lnTo>
                    <a:lnTo>
                      <a:pt x="2190" y="390"/>
                    </a:lnTo>
                    <a:lnTo>
                      <a:pt x="2190" y="390"/>
                    </a:lnTo>
                    <a:lnTo>
                      <a:pt x="2190" y="390"/>
                    </a:lnTo>
                    <a:lnTo>
                      <a:pt x="2188" y="390"/>
                    </a:lnTo>
                    <a:lnTo>
                      <a:pt x="2188" y="390"/>
                    </a:lnTo>
                    <a:lnTo>
                      <a:pt x="2186" y="388"/>
                    </a:lnTo>
                    <a:lnTo>
                      <a:pt x="2186" y="388"/>
                    </a:lnTo>
                    <a:lnTo>
                      <a:pt x="2186" y="388"/>
                    </a:lnTo>
                    <a:lnTo>
                      <a:pt x="2184" y="388"/>
                    </a:lnTo>
                    <a:lnTo>
                      <a:pt x="2182" y="388"/>
                    </a:lnTo>
                    <a:lnTo>
                      <a:pt x="2178" y="388"/>
                    </a:lnTo>
                    <a:lnTo>
                      <a:pt x="2176" y="388"/>
                    </a:lnTo>
                    <a:lnTo>
                      <a:pt x="2172" y="388"/>
                    </a:lnTo>
                    <a:lnTo>
                      <a:pt x="2164" y="388"/>
                    </a:lnTo>
                    <a:lnTo>
                      <a:pt x="2162" y="388"/>
                    </a:lnTo>
                    <a:lnTo>
                      <a:pt x="2158" y="388"/>
                    </a:lnTo>
                    <a:lnTo>
                      <a:pt x="2156" y="390"/>
                    </a:lnTo>
                    <a:lnTo>
                      <a:pt x="2154" y="390"/>
                    </a:lnTo>
                    <a:lnTo>
                      <a:pt x="2154" y="390"/>
                    </a:lnTo>
                    <a:lnTo>
                      <a:pt x="2154" y="390"/>
                    </a:lnTo>
                    <a:lnTo>
                      <a:pt x="2150" y="392"/>
                    </a:lnTo>
                    <a:lnTo>
                      <a:pt x="2150" y="392"/>
                    </a:lnTo>
                    <a:lnTo>
                      <a:pt x="2150" y="392"/>
                    </a:lnTo>
                    <a:lnTo>
                      <a:pt x="2148" y="394"/>
                    </a:lnTo>
                    <a:lnTo>
                      <a:pt x="2144" y="398"/>
                    </a:lnTo>
                    <a:lnTo>
                      <a:pt x="2144" y="400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0" y="402"/>
                    </a:lnTo>
                    <a:lnTo>
                      <a:pt x="2140" y="400"/>
                    </a:lnTo>
                    <a:lnTo>
                      <a:pt x="2140" y="400"/>
                    </a:lnTo>
                    <a:lnTo>
                      <a:pt x="2140" y="400"/>
                    </a:lnTo>
                    <a:lnTo>
                      <a:pt x="2138" y="398"/>
                    </a:lnTo>
                    <a:lnTo>
                      <a:pt x="2138" y="398"/>
                    </a:lnTo>
                    <a:lnTo>
                      <a:pt x="2138" y="398"/>
                    </a:lnTo>
                    <a:lnTo>
                      <a:pt x="2136" y="396"/>
                    </a:lnTo>
                    <a:lnTo>
                      <a:pt x="2132" y="394"/>
                    </a:lnTo>
                    <a:lnTo>
                      <a:pt x="2130" y="390"/>
                    </a:lnTo>
                    <a:lnTo>
                      <a:pt x="2128" y="390"/>
                    </a:lnTo>
                    <a:lnTo>
                      <a:pt x="2128" y="390"/>
                    </a:lnTo>
                    <a:lnTo>
                      <a:pt x="2128" y="390"/>
                    </a:lnTo>
                    <a:lnTo>
                      <a:pt x="2126" y="388"/>
                    </a:lnTo>
                    <a:lnTo>
                      <a:pt x="2120" y="388"/>
                    </a:lnTo>
                    <a:lnTo>
                      <a:pt x="2118" y="388"/>
                    </a:lnTo>
                    <a:lnTo>
                      <a:pt x="2118" y="386"/>
                    </a:lnTo>
                    <a:lnTo>
                      <a:pt x="2118" y="386"/>
                    </a:lnTo>
                    <a:lnTo>
                      <a:pt x="2120" y="384"/>
                    </a:lnTo>
                    <a:lnTo>
                      <a:pt x="2124" y="382"/>
                    </a:lnTo>
                    <a:lnTo>
                      <a:pt x="2124" y="382"/>
                    </a:lnTo>
                    <a:lnTo>
                      <a:pt x="2124" y="380"/>
                    </a:lnTo>
                    <a:lnTo>
                      <a:pt x="2124" y="378"/>
                    </a:lnTo>
                    <a:lnTo>
                      <a:pt x="2124" y="378"/>
                    </a:lnTo>
                    <a:lnTo>
                      <a:pt x="2126" y="378"/>
                    </a:lnTo>
                    <a:lnTo>
                      <a:pt x="2126" y="376"/>
                    </a:lnTo>
                    <a:lnTo>
                      <a:pt x="2126" y="376"/>
                    </a:lnTo>
                    <a:lnTo>
                      <a:pt x="2126" y="376"/>
                    </a:lnTo>
                    <a:lnTo>
                      <a:pt x="2126" y="372"/>
                    </a:lnTo>
                    <a:lnTo>
                      <a:pt x="2126" y="372"/>
                    </a:lnTo>
                    <a:lnTo>
                      <a:pt x="2126" y="368"/>
                    </a:lnTo>
                    <a:lnTo>
                      <a:pt x="2126" y="366"/>
                    </a:lnTo>
                    <a:lnTo>
                      <a:pt x="2126" y="362"/>
                    </a:lnTo>
                    <a:lnTo>
                      <a:pt x="2124" y="358"/>
                    </a:lnTo>
                    <a:lnTo>
                      <a:pt x="2122" y="356"/>
                    </a:lnTo>
                    <a:lnTo>
                      <a:pt x="2120" y="354"/>
                    </a:lnTo>
                    <a:lnTo>
                      <a:pt x="2120" y="350"/>
                    </a:lnTo>
                    <a:lnTo>
                      <a:pt x="2116" y="346"/>
                    </a:lnTo>
                    <a:lnTo>
                      <a:pt x="2114" y="342"/>
                    </a:lnTo>
                    <a:lnTo>
                      <a:pt x="2112" y="340"/>
                    </a:lnTo>
                    <a:lnTo>
                      <a:pt x="2108" y="336"/>
                    </a:lnTo>
                    <a:lnTo>
                      <a:pt x="2108" y="336"/>
                    </a:lnTo>
                    <a:lnTo>
                      <a:pt x="2108" y="336"/>
                    </a:lnTo>
                    <a:lnTo>
                      <a:pt x="2104" y="334"/>
                    </a:lnTo>
                    <a:lnTo>
                      <a:pt x="2104" y="334"/>
                    </a:lnTo>
                    <a:lnTo>
                      <a:pt x="2104" y="334"/>
                    </a:lnTo>
                    <a:lnTo>
                      <a:pt x="2098" y="332"/>
                    </a:lnTo>
                    <a:lnTo>
                      <a:pt x="2094" y="330"/>
                    </a:lnTo>
                    <a:lnTo>
                      <a:pt x="2088" y="330"/>
                    </a:lnTo>
                    <a:lnTo>
                      <a:pt x="2082" y="328"/>
                    </a:lnTo>
                    <a:lnTo>
                      <a:pt x="2076" y="328"/>
                    </a:lnTo>
                    <a:lnTo>
                      <a:pt x="2068" y="328"/>
                    </a:lnTo>
                    <a:lnTo>
                      <a:pt x="2062" y="328"/>
                    </a:lnTo>
                    <a:lnTo>
                      <a:pt x="2056" y="328"/>
                    </a:lnTo>
                    <a:lnTo>
                      <a:pt x="2052" y="328"/>
                    </a:lnTo>
                    <a:lnTo>
                      <a:pt x="2048" y="328"/>
                    </a:lnTo>
                    <a:lnTo>
                      <a:pt x="2048" y="328"/>
                    </a:lnTo>
                    <a:lnTo>
                      <a:pt x="2046" y="328"/>
                    </a:lnTo>
                    <a:lnTo>
                      <a:pt x="2044" y="330"/>
                    </a:lnTo>
                    <a:lnTo>
                      <a:pt x="2044" y="330"/>
                    </a:lnTo>
                    <a:lnTo>
                      <a:pt x="2044" y="330"/>
                    </a:lnTo>
                    <a:lnTo>
                      <a:pt x="2042" y="332"/>
                    </a:lnTo>
                    <a:lnTo>
                      <a:pt x="2042" y="332"/>
                    </a:lnTo>
                    <a:lnTo>
                      <a:pt x="2040" y="332"/>
                    </a:lnTo>
                    <a:lnTo>
                      <a:pt x="2038" y="334"/>
                    </a:lnTo>
                    <a:lnTo>
                      <a:pt x="2038" y="336"/>
                    </a:lnTo>
                    <a:lnTo>
                      <a:pt x="2036" y="338"/>
                    </a:lnTo>
                    <a:lnTo>
                      <a:pt x="2036" y="338"/>
                    </a:lnTo>
                    <a:lnTo>
                      <a:pt x="2034" y="340"/>
                    </a:lnTo>
                    <a:lnTo>
                      <a:pt x="2032" y="340"/>
                    </a:lnTo>
                    <a:lnTo>
                      <a:pt x="2030" y="340"/>
                    </a:lnTo>
                    <a:lnTo>
                      <a:pt x="2026" y="340"/>
                    </a:lnTo>
                    <a:lnTo>
                      <a:pt x="2018" y="338"/>
                    </a:lnTo>
                    <a:lnTo>
                      <a:pt x="2014" y="336"/>
                    </a:lnTo>
                    <a:lnTo>
                      <a:pt x="2010" y="336"/>
                    </a:lnTo>
                    <a:lnTo>
                      <a:pt x="2006" y="334"/>
                    </a:lnTo>
                    <a:lnTo>
                      <a:pt x="2004" y="334"/>
                    </a:lnTo>
                    <a:lnTo>
                      <a:pt x="2002" y="332"/>
                    </a:lnTo>
                    <a:lnTo>
                      <a:pt x="2002" y="334"/>
                    </a:lnTo>
                    <a:lnTo>
                      <a:pt x="2000" y="332"/>
                    </a:lnTo>
                    <a:lnTo>
                      <a:pt x="2000" y="332"/>
                    </a:lnTo>
                    <a:lnTo>
                      <a:pt x="2000" y="332"/>
                    </a:lnTo>
                    <a:lnTo>
                      <a:pt x="1998" y="330"/>
                    </a:lnTo>
                    <a:lnTo>
                      <a:pt x="1996" y="328"/>
                    </a:lnTo>
                    <a:lnTo>
                      <a:pt x="1994" y="326"/>
                    </a:lnTo>
                    <a:lnTo>
                      <a:pt x="1992" y="326"/>
                    </a:lnTo>
                    <a:lnTo>
                      <a:pt x="1988" y="322"/>
                    </a:lnTo>
                    <a:lnTo>
                      <a:pt x="1984" y="318"/>
                    </a:lnTo>
                    <a:lnTo>
                      <a:pt x="1980" y="314"/>
                    </a:lnTo>
                    <a:lnTo>
                      <a:pt x="1978" y="310"/>
                    </a:lnTo>
                    <a:lnTo>
                      <a:pt x="1974" y="306"/>
                    </a:lnTo>
                    <a:lnTo>
                      <a:pt x="1972" y="304"/>
                    </a:lnTo>
                    <a:lnTo>
                      <a:pt x="1968" y="300"/>
                    </a:lnTo>
                    <a:lnTo>
                      <a:pt x="1966" y="296"/>
                    </a:lnTo>
                    <a:lnTo>
                      <a:pt x="1966" y="296"/>
                    </a:lnTo>
                    <a:lnTo>
                      <a:pt x="1966" y="294"/>
                    </a:lnTo>
                    <a:lnTo>
                      <a:pt x="1966" y="290"/>
                    </a:lnTo>
                    <a:lnTo>
                      <a:pt x="1968" y="286"/>
                    </a:lnTo>
                    <a:lnTo>
                      <a:pt x="1968" y="284"/>
                    </a:lnTo>
                    <a:lnTo>
                      <a:pt x="1968" y="284"/>
                    </a:lnTo>
                    <a:lnTo>
                      <a:pt x="1968" y="284"/>
                    </a:lnTo>
                    <a:lnTo>
                      <a:pt x="1966" y="282"/>
                    </a:lnTo>
                    <a:lnTo>
                      <a:pt x="1966" y="282"/>
                    </a:lnTo>
                    <a:lnTo>
                      <a:pt x="1966" y="280"/>
                    </a:lnTo>
                    <a:lnTo>
                      <a:pt x="1964" y="278"/>
                    </a:lnTo>
                    <a:lnTo>
                      <a:pt x="1964" y="278"/>
                    </a:lnTo>
                    <a:lnTo>
                      <a:pt x="1964" y="278"/>
                    </a:lnTo>
                    <a:lnTo>
                      <a:pt x="1962" y="276"/>
                    </a:lnTo>
                    <a:lnTo>
                      <a:pt x="1962" y="276"/>
                    </a:lnTo>
                    <a:lnTo>
                      <a:pt x="1962" y="276"/>
                    </a:lnTo>
                    <a:lnTo>
                      <a:pt x="1960" y="274"/>
                    </a:lnTo>
                    <a:lnTo>
                      <a:pt x="1958" y="274"/>
                    </a:lnTo>
                    <a:lnTo>
                      <a:pt x="1954" y="272"/>
                    </a:lnTo>
                    <a:lnTo>
                      <a:pt x="1952" y="270"/>
                    </a:lnTo>
                    <a:lnTo>
                      <a:pt x="1948" y="270"/>
                    </a:lnTo>
                    <a:lnTo>
                      <a:pt x="1944" y="268"/>
                    </a:lnTo>
                    <a:lnTo>
                      <a:pt x="1940" y="268"/>
                    </a:lnTo>
                    <a:lnTo>
                      <a:pt x="1934" y="268"/>
                    </a:lnTo>
                    <a:lnTo>
                      <a:pt x="1924" y="266"/>
                    </a:lnTo>
                    <a:lnTo>
                      <a:pt x="1920" y="266"/>
                    </a:lnTo>
                    <a:lnTo>
                      <a:pt x="1916" y="264"/>
                    </a:lnTo>
                    <a:lnTo>
                      <a:pt x="1914" y="264"/>
                    </a:lnTo>
                    <a:lnTo>
                      <a:pt x="1910" y="262"/>
                    </a:lnTo>
                    <a:lnTo>
                      <a:pt x="1906" y="260"/>
                    </a:lnTo>
                    <a:lnTo>
                      <a:pt x="1900" y="256"/>
                    </a:lnTo>
                    <a:lnTo>
                      <a:pt x="1896" y="254"/>
                    </a:lnTo>
                    <a:lnTo>
                      <a:pt x="1890" y="252"/>
                    </a:lnTo>
                    <a:lnTo>
                      <a:pt x="1884" y="250"/>
                    </a:lnTo>
                    <a:lnTo>
                      <a:pt x="1876" y="248"/>
                    </a:lnTo>
                    <a:lnTo>
                      <a:pt x="1870" y="248"/>
                    </a:lnTo>
                    <a:lnTo>
                      <a:pt x="1870" y="248"/>
                    </a:lnTo>
                    <a:lnTo>
                      <a:pt x="1866" y="248"/>
                    </a:lnTo>
                    <a:lnTo>
                      <a:pt x="1862" y="248"/>
                    </a:lnTo>
                    <a:lnTo>
                      <a:pt x="1852" y="250"/>
                    </a:lnTo>
                    <a:lnTo>
                      <a:pt x="1848" y="252"/>
                    </a:lnTo>
                    <a:lnTo>
                      <a:pt x="1844" y="254"/>
                    </a:lnTo>
                    <a:lnTo>
                      <a:pt x="1840" y="254"/>
                    </a:lnTo>
                    <a:lnTo>
                      <a:pt x="1836" y="256"/>
                    </a:lnTo>
                    <a:lnTo>
                      <a:pt x="1832" y="258"/>
                    </a:lnTo>
                    <a:lnTo>
                      <a:pt x="1828" y="260"/>
                    </a:lnTo>
                    <a:lnTo>
                      <a:pt x="1828" y="260"/>
                    </a:lnTo>
                    <a:lnTo>
                      <a:pt x="1828" y="260"/>
                    </a:lnTo>
                    <a:lnTo>
                      <a:pt x="1824" y="264"/>
                    </a:lnTo>
                    <a:lnTo>
                      <a:pt x="1824" y="264"/>
                    </a:lnTo>
                    <a:lnTo>
                      <a:pt x="1824" y="264"/>
                    </a:lnTo>
                    <a:lnTo>
                      <a:pt x="1822" y="266"/>
                    </a:lnTo>
                    <a:lnTo>
                      <a:pt x="1822" y="266"/>
                    </a:lnTo>
                    <a:lnTo>
                      <a:pt x="1822" y="268"/>
                    </a:lnTo>
                    <a:lnTo>
                      <a:pt x="1820" y="270"/>
                    </a:lnTo>
                    <a:lnTo>
                      <a:pt x="1820" y="274"/>
                    </a:lnTo>
                    <a:lnTo>
                      <a:pt x="1818" y="274"/>
                    </a:lnTo>
                    <a:lnTo>
                      <a:pt x="1818" y="274"/>
                    </a:lnTo>
                    <a:lnTo>
                      <a:pt x="1818" y="270"/>
                    </a:lnTo>
                    <a:lnTo>
                      <a:pt x="1818" y="266"/>
                    </a:lnTo>
                    <a:lnTo>
                      <a:pt x="1818" y="264"/>
                    </a:lnTo>
                    <a:lnTo>
                      <a:pt x="1818" y="262"/>
                    </a:lnTo>
                    <a:lnTo>
                      <a:pt x="1818" y="262"/>
                    </a:lnTo>
                    <a:lnTo>
                      <a:pt x="1818" y="262"/>
                    </a:lnTo>
                    <a:lnTo>
                      <a:pt x="1816" y="262"/>
                    </a:lnTo>
                    <a:lnTo>
                      <a:pt x="1816" y="260"/>
                    </a:lnTo>
                    <a:lnTo>
                      <a:pt x="1816" y="260"/>
                    </a:lnTo>
                    <a:lnTo>
                      <a:pt x="1814" y="260"/>
                    </a:lnTo>
                    <a:lnTo>
                      <a:pt x="1814" y="260"/>
                    </a:lnTo>
                    <a:lnTo>
                      <a:pt x="1814" y="260"/>
                    </a:lnTo>
                    <a:lnTo>
                      <a:pt x="1812" y="260"/>
                    </a:lnTo>
                    <a:lnTo>
                      <a:pt x="1812" y="260"/>
                    </a:lnTo>
                    <a:lnTo>
                      <a:pt x="1812" y="260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08" y="266"/>
                    </a:lnTo>
                    <a:lnTo>
                      <a:pt x="1806" y="268"/>
                    </a:lnTo>
                    <a:lnTo>
                      <a:pt x="1806" y="272"/>
                    </a:lnTo>
                    <a:lnTo>
                      <a:pt x="1804" y="276"/>
                    </a:lnTo>
                    <a:lnTo>
                      <a:pt x="1804" y="278"/>
                    </a:lnTo>
                    <a:lnTo>
                      <a:pt x="1804" y="280"/>
                    </a:lnTo>
                    <a:lnTo>
                      <a:pt x="1804" y="280"/>
                    </a:lnTo>
                    <a:lnTo>
                      <a:pt x="1804" y="282"/>
                    </a:lnTo>
                    <a:lnTo>
                      <a:pt x="1804" y="282"/>
                    </a:lnTo>
                    <a:lnTo>
                      <a:pt x="1804" y="282"/>
                    </a:lnTo>
                    <a:lnTo>
                      <a:pt x="1804" y="284"/>
                    </a:lnTo>
                    <a:lnTo>
                      <a:pt x="1806" y="284"/>
                    </a:lnTo>
                    <a:lnTo>
                      <a:pt x="1806" y="284"/>
                    </a:lnTo>
                    <a:lnTo>
                      <a:pt x="1806" y="286"/>
                    </a:lnTo>
                    <a:lnTo>
                      <a:pt x="1808" y="286"/>
                    </a:lnTo>
                    <a:lnTo>
                      <a:pt x="1810" y="286"/>
                    </a:lnTo>
                    <a:lnTo>
                      <a:pt x="1812" y="288"/>
                    </a:lnTo>
                    <a:lnTo>
                      <a:pt x="1814" y="288"/>
                    </a:lnTo>
                    <a:lnTo>
                      <a:pt x="1814" y="290"/>
                    </a:lnTo>
                    <a:lnTo>
                      <a:pt x="1814" y="292"/>
                    </a:lnTo>
                    <a:lnTo>
                      <a:pt x="1816" y="294"/>
                    </a:lnTo>
                    <a:lnTo>
                      <a:pt x="1816" y="298"/>
                    </a:lnTo>
                    <a:lnTo>
                      <a:pt x="1816" y="302"/>
                    </a:lnTo>
                    <a:lnTo>
                      <a:pt x="1816" y="304"/>
                    </a:lnTo>
                    <a:lnTo>
                      <a:pt x="1816" y="308"/>
                    </a:lnTo>
                    <a:lnTo>
                      <a:pt x="1816" y="310"/>
                    </a:lnTo>
                    <a:lnTo>
                      <a:pt x="1814" y="310"/>
                    </a:lnTo>
                    <a:lnTo>
                      <a:pt x="1814" y="310"/>
                    </a:lnTo>
                    <a:lnTo>
                      <a:pt x="1812" y="310"/>
                    </a:lnTo>
                    <a:lnTo>
                      <a:pt x="1808" y="310"/>
                    </a:lnTo>
                    <a:lnTo>
                      <a:pt x="1802" y="308"/>
                    </a:lnTo>
                    <a:lnTo>
                      <a:pt x="1800" y="306"/>
                    </a:lnTo>
                    <a:lnTo>
                      <a:pt x="1798" y="306"/>
                    </a:lnTo>
                    <a:lnTo>
                      <a:pt x="1798" y="306"/>
                    </a:lnTo>
                    <a:lnTo>
                      <a:pt x="1796" y="306"/>
                    </a:lnTo>
                    <a:lnTo>
                      <a:pt x="1794" y="306"/>
                    </a:lnTo>
                    <a:lnTo>
                      <a:pt x="1794" y="306"/>
                    </a:lnTo>
                    <a:lnTo>
                      <a:pt x="1792" y="308"/>
                    </a:lnTo>
                    <a:lnTo>
                      <a:pt x="1790" y="308"/>
                    </a:lnTo>
                    <a:lnTo>
                      <a:pt x="1790" y="308"/>
                    </a:lnTo>
                    <a:lnTo>
                      <a:pt x="1788" y="308"/>
                    </a:lnTo>
                    <a:lnTo>
                      <a:pt x="1786" y="308"/>
                    </a:lnTo>
                    <a:lnTo>
                      <a:pt x="1782" y="308"/>
                    </a:lnTo>
                    <a:lnTo>
                      <a:pt x="1780" y="308"/>
                    </a:lnTo>
                    <a:lnTo>
                      <a:pt x="1774" y="308"/>
                    </a:lnTo>
                    <a:lnTo>
                      <a:pt x="1770" y="308"/>
                    </a:lnTo>
                    <a:lnTo>
                      <a:pt x="1766" y="308"/>
                    </a:lnTo>
                    <a:lnTo>
                      <a:pt x="1760" y="308"/>
                    </a:lnTo>
                    <a:lnTo>
                      <a:pt x="1756" y="308"/>
                    </a:lnTo>
                    <a:lnTo>
                      <a:pt x="1754" y="308"/>
                    </a:lnTo>
                    <a:lnTo>
                      <a:pt x="1752" y="308"/>
                    </a:lnTo>
                    <a:lnTo>
                      <a:pt x="1752" y="308"/>
                    </a:lnTo>
                    <a:lnTo>
                      <a:pt x="1750" y="308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6" y="310"/>
                    </a:lnTo>
                    <a:lnTo>
                      <a:pt x="1746" y="312"/>
                    </a:lnTo>
                    <a:lnTo>
                      <a:pt x="1744" y="314"/>
                    </a:lnTo>
                    <a:lnTo>
                      <a:pt x="1744" y="314"/>
                    </a:lnTo>
                    <a:lnTo>
                      <a:pt x="1742" y="314"/>
                    </a:lnTo>
                    <a:lnTo>
                      <a:pt x="1742" y="314"/>
                    </a:lnTo>
                    <a:lnTo>
                      <a:pt x="1740" y="314"/>
                    </a:lnTo>
                    <a:lnTo>
                      <a:pt x="1734" y="316"/>
                    </a:lnTo>
                    <a:lnTo>
                      <a:pt x="1730" y="316"/>
                    </a:lnTo>
                    <a:lnTo>
                      <a:pt x="1728" y="316"/>
                    </a:lnTo>
                    <a:lnTo>
                      <a:pt x="1728" y="316"/>
                    </a:lnTo>
                    <a:lnTo>
                      <a:pt x="1726" y="314"/>
                    </a:lnTo>
                    <a:lnTo>
                      <a:pt x="1722" y="312"/>
                    </a:lnTo>
                    <a:lnTo>
                      <a:pt x="1724" y="312"/>
                    </a:lnTo>
                    <a:lnTo>
                      <a:pt x="1722" y="310"/>
                    </a:lnTo>
                    <a:lnTo>
                      <a:pt x="1720" y="306"/>
                    </a:lnTo>
                    <a:lnTo>
                      <a:pt x="1720" y="306"/>
                    </a:lnTo>
                    <a:lnTo>
                      <a:pt x="1720" y="304"/>
                    </a:lnTo>
                    <a:lnTo>
                      <a:pt x="1718" y="302"/>
                    </a:lnTo>
                    <a:lnTo>
                      <a:pt x="1718" y="296"/>
                    </a:lnTo>
                    <a:lnTo>
                      <a:pt x="1718" y="294"/>
                    </a:lnTo>
                    <a:lnTo>
                      <a:pt x="1718" y="292"/>
                    </a:lnTo>
                    <a:lnTo>
                      <a:pt x="1718" y="290"/>
                    </a:lnTo>
                    <a:lnTo>
                      <a:pt x="1718" y="290"/>
                    </a:lnTo>
                    <a:lnTo>
                      <a:pt x="1716" y="288"/>
                    </a:lnTo>
                    <a:lnTo>
                      <a:pt x="1716" y="288"/>
                    </a:lnTo>
                    <a:lnTo>
                      <a:pt x="1716" y="288"/>
                    </a:lnTo>
                    <a:lnTo>
                      <a:pt x="1714" y="286"/>
                    </a:lnTo>
                    <a:lnTo>
                      <a:pt x="1714" y="286"/>
                    </a:lnTo>
                    <a:lnTo>
                      <a:pt x="1714" y="286"/>
                    </a:lnTo>
                    <a:lnTo>
                      <a:pt x="1712" y="288"/>
                    </a:lnTo>
                    <a:lnTo>
                      <a:pt x="1710" y="288"/>
                    </a:lnTo>
                    <a:lnTo>
                      <a:pt x="1710" y="288"/>
                    </a:lnTo>
                    <a:lnTo>
                      <a:pt x="1710" y="288"/>
                    </a:lnTo>
                    <a:lnTo>
                      <a:pt x="1708" y="290"/>
                    </a:lnTo>
                    <a:lnTo>
                      <a:pt x="1706" y="292"/>
                    </a:lnTo>
                    <a:lnTo>
                      <a:pt x="1704" y="296"/>
                    </a:lnTo>
                    <a:lnTo>
                      <a:pt x="1702" y="298"/>
                    </a:lnTo>
                    <a:lnTo>
                      <a:pt x="1702" y="300"/>
                    </a:lnTo>
                    <a:lnTo>
                      <a:pt x="1700" y="302"/>
                    </a:lnTo>
                    <a:lnTo>
                      <a:pt x="1700" y="302"/>
                    </a:lnTo>
                    <a:lnTo>
                      <a:pt x="1700" y="304"/>
                    </a:lnTo>
                    <a:lnTo>
                      <a:pt x="1700" y="306"/>
                    </a:lnTo>
                    <a:lnTo>
                      <a:pt x="1700" y="308"/>
                    </a:lnTo>
                    <a:lnTo>
                      <a:pt x="1700" y="312"/>
                    </a:lnTo>
                    <a:lnTo>
                      <a:pt x="1700" y="316"/>
                    </a:lnTo>
                    <a:lnTo>
                      <a:pt x="1700" y="318"/>
                    </a:lnTo>
                    <a:lnTo>
                      <a:pt x="1698" y="322"/>
                    </a:lnTo>
                    <a:lnTo>
                      <a:pt x="1696" y="326"/>
                    </a:lnTo>
                    <a:lnTo>
                      <a:pt x="1696" y="330"/>
                    </a:lnTo>
                    <a:lnTo>
                      <a:pt x="1694" y="334"/>
                    </a:lnTo>
                    <a:lnTo>
                      <a:pt x="1692" y="338"/>
                    </a:lnTo>
                    <a:lnTo>
                      <a:pt x="1690" y="342"/>
                    </a:lnTo>
                    <a:lnTo>
                      <a:pt x="1688" y="344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4" y="344"/>
                    </a:lnTo>
                    <a:lnTo>
                      <a:pt x="1682" y="342"/>
                    </a:lnTo>
                    <a:lnTo>
                      <a:pt x="1680" y="340"/>
                    </a:lnTo>
                    <a:lnTo>
                      <a:pt x="1678" y="336"/>
                    </a:lnTo>
                    <a:lnTo>
                      <a:pt x="1674" y="334"/>
                    </a:lnTo>
                    <a:lnTo>
                      <a:pt x="1672" y="330"/>
                    </a:lnTo>
                    <a:lnTo>
                      <a:pt x="1668" y="326"/>
                    </a:lnTo>
                    <a:lnTo>
                      <a:pt x="1666" y="322"/>
                    </a:lnTo>
                    <a:lnTo>
                      <a:pt x="1664" y="318"/>
                    </a:lnTo>
                    <a:lnTo>
                      <a:pt x="1662" y="314"/>
                    </a:lnTo>
                    <a:lnTo>
                      <a:pt x="1660" y="312"/>
                    </a:lnTo>
                    <a:lnTo>
                      <a:pt x="1660" y="308"/>
                    </a:lnTo>
                    <a:lnTo>
                      <a:pt x="1658" y="302"/>
                    </a:lnTo>
                    <a:lnTo>
                      <a:pt x="1658" y="294"/>
                    </a:lnTo>
                    <a:lnTo>
                      <a:pt x="1658" y="288"/>
                    </a:lnTo>
                    <a:lnTo>
                      <a:pt x="1658" y="286"/>
                    </a:lnTo>
                    <a:lnTo>
                      <a:pt x="1658" y="284"/>
                    </a:lnTo>
                    <a:lnTo>
                      <a:pt x="1658" y="284"/>
                    </a:lnTo>
                    <a:lnTo>
                      <a:pt x="1660" y="280"/>
                    </a:lnTo>
                    <a:lnTo>
                      <a:pt x="1662" y="276"/>
                    </a:lnTo>
                    <a:lnTo>
                      <a:pt x="1664" y="274"/>
                    </a:lnTo>
                    <a:lnTo>
                      <a:pt x="1664" y="274"/>
                    </a:lnTo>
                    <a:lnTo>
                      <a:pt x="1664" y="274"/>
                    </a:lnTo>
                    <a:lnTo>
                      <a:pt x="1664" y="272"/>
                    </a:lnTo>
                    <a:lnTo>
                      <a:pt x="1664" y="268"/>
                    </a:lnTo>
                    <a:lnTo>
                      <a:pt x="1664" y="264"/>
                    </a:lnTo>
                    <a:lnTo>
                      <a:pt x="1664" y="258"/>
                    </a:lnTo>
                    <a:lnTo>
                      <a:pt x="1664" y="250"/>
                    </a:lnTo>
                    <a:lnTo>
                      <a:pt x="1664" y="244"/>
                    </a:lnTo>
                    <a:lnTo>
                      <a:pt x="1664" y="244"/>
                    </a:lnTo>
                    <a:lnTo>
                      <a:pt x="1664" y="244"/>
                    </a:lnTo>
                    <a:lnTo>
                      <a:pt x="1662" y="240"/>
                    </a:lnTo>
                    <a:lnTo>
                      <a:pt x="1662" y="238"/>
                    </a:lnTo>
                    <a:lnTo>
                      <a:pt x="1658" y="232"/>
                    </a:lnTo>
                    <a:lnTo>
                      <a:pt x="1658" y="232"/>
                    </a:lnTo>
                    <a:lnTo>
                      <a:pt x="1658" y="232"/>
                    </a:lnTo>
                    <a:lnTo>
                      <a:pt x="1654" y="226"/>
                    </a:lnTo>
                    <a:lnTo>
                      <a:pt x="1648" y="222"/>
                    </a:lnTo>
                    <a:lnTo>
                      <a:pt x="1648" y="222"/>
                    </a:lnTo>
                    <a:lnTo>
                      <a:pt x="1648" y="222"/>
                    </a:lnTo>
                    <a:lnTo>
                      <a:pt x="1646" y="220"/>
                    </a:lnTo>
                    <a:lnTo>
                      <a:pt x="1646" y="220"/>
                    </a:lnTo>
                    <a:lnTo>
                      <a:pt x="1646" y="220"/>
                    </a:lnTo>
                    <a:lnTo>
                      <a:pt x="1642" y="218"/>
                    </a:lnTo>
                    <a:lnTo>
                      <a:pt x="1642" y="218"/>
                    </a:lnTo>
                    <a:lnTo>
                      <a:pt x="1642" y="218"/>
                    </a:lnTo>
                    <a:lnTo>
                      <a:pt x="1636" y="216"/>
                    </a:lnTo>
                    <a:lnTo>
                      <a:pt x="1630" y="216"/>
                    </a:lnTo>
                    <a:lnTo>
                      <a:pt x="1626" y="216"/>
                    </a:lnTo>
                    <a:lnTo>
                      <a:pt x="1624" y="214"/>
                    </a:lnTo>
                    <a:lnTo>
                      <a:pt x="1618" y="214"/>
                    </a:lnTo>
                    <a:lnTo>
                      <a:pt x="1614" y="212"/>
                    </a:lnTo>
                    <a:lnTo>
                      <a:pt x="1610" y="210"/>
                    </a:lnTo>
                    <a:lnTo>
                      <a:pt x="1606" y="210"/>
                    </a:lnTo>
                    <a:lnTo>
                      <a:pt x="1606" y="210"/>
                    </a:lnTo>
                    <a:lnTo>
                      <a:pt x="1604" y="208"/>
                    </a:lnTo>
                    <a:lnTo>
                      <a:pt x="1604" y="208"/>
                    </a:lnTo>
                    <a:lnTo>
                      <a:pt x="1602" y="206"/>
                    </a:lnTo>
                    <a:lnTo>
                      <a:pt x="1600" y="204"/>
                    </a:lnTo>
                    <a:lnTo>
                      <a:pt x="1598" y="202"/>
                    </a:lnTo>
                    <a:lnTo>
                      <a:pt x="1596" y="200"/>
                    </a:lnTo>
                    <a:lnTo>
                      <a:pt x="1596" y="200"/>
                    </a:lnTo>
                    <a:lnTo>
                      <a:pt x="1596" y="200"/>
                    </a:lnTo>
                    <a:lnTo>
                      <a:pt x="1594" y="198"/>
                    </a:lnTo>
                    <a:lnTo>
                      <a:pt x="1594" y="198"/>
                    </a:lnTo>
                    <a:lnTo>
                      <a:pt x="1594" y="198"/>
                    </a:lnTo>
                    <a:lnTo>
                      <a:pt x="1592" y="196"/>
                    </a:lnTo>
                    <a:lnTo>
                      <a:pt x="1592" y="196"/>
                    </a:lnTo>
                    <a:lnTo>
                      <a:pt x="1592" y="196"/>
                    </a:lnTo>
                    <a:lnTo>
                      <a:pt x="1586" y="196"/>
                    </a:lnTo>
                    <a:lnTo>
                      <a:pt x="1586" y="196"/>
                    </a:lnTo>
                    <a:lnTo>
                      <a:pt x="1582" y="198"/>
                    </a:lnTo>
                    <a:lnTo>
                      <a:pt x="1582" y="198"/>
                    </a:lnTo>
                    <a:lnTo>
                      <a:pt x="1582" y="198"/>
                    </a:lnTo>
                    <a:lnTo>
                      <a:pt x="1578" y="198"/>
                    </a:lnTo>
                    <a:lnTo>
                      <a:pt x="1578" y="198"/>
                    </a:lnTo>
                    <a:lnTo>
                      <a:pt x="1578" y="198"/>
                    </a:lnTo>
                    <a:lnTo>
                      <a:pt x="1576" y="200"/>
                    </a:lnTo>
                    <a:lnTo>
                      <a:pt x="1574" y="200"/>
                    </a:lnTo>
                    <a:lnTo>
                      <a:pt x="1574" y="200"/>
                    </a:lnTo>
                    <a:lnTo>
                      <a:pt x="1574" y="200"/>
                    </a:lnTo>
                    <a:lnTo>
                      <a:pt x="1572" y="202"/>
                    </a:lnTo>
                    <a:lnTo>
                      <a:pt x="1572" y="202"/>
                    </a:lnTo>
                    <a:lnTo>
                      <a:pt x="1572" y="204"/>
                    </a:lnTo>
                    <a:lnTo>
                      <a:pt x="1570" y="206"/>
                    </a:lnTo>
                    <a:lnTo>
                      <a:pt x="1570" y="206"/>
                    </a:lnTo>
                    <a:lnTo>
                      <a:pt x="1570" y="206"/>
                    </a:lnTo>
                    <a:lnTo>
                      <a:pt x="1568" y="210"/>
                    </a:lnTo>
                    <a:lnTo>
                      <a:pt x="1568" y="210"/>
                    </a:lnTo>
                    <a:lnTo>
                      <a:pt x="1568" y="210"/>
                    </a:lnTo>
                    <a:lnTo>
                      <a:pt x="1568" y="214"/>
                    </a:lnTo>
                    <a:lnTo>
                      <a:pt x="1568" y="214"/>
                    </a:lnTo>
                    <a:lnTo>
                      <a:pt x="1568" y="216"/>
                    </a:lnTo>
                    <a:lnTo>
                      <a:pt x="1568" y="216"/>
                    </a:lnTo>
                    <a:lnTo>
                      <a:pt x="1568" y="216"/>
                    </a:lnTo>
                    <a:lnTo>
                      <a:pt x="1570" y="220"/>
                    </a:lnTo>
                    <a:lnTo>
                      <a:pt x="1570" y="222"/>
                    </a:lnTo>
                    <a:lnTo>
                      <a:pt x="1572" y="224"/>
                    </a:lnTo>
                    <a:lnTo>
                      <a:pt x="1574" y="226"/>
                    </a:lnTo>
                    <a:lnTo>
                      <a:pt x="1574" y="228"/>
                    </a:lnTo>
                    <a:lnTo>
                      <a:pt x="1576" y="230"/>
                    </a:lnTo>
                    <a:lnTo>
                      <a:pt x="1576" y="232"/>
                    </a:lnTo>
                    <a:lnTo>
                      <a:pt x="1576" y="232"/>
                    </a:lnTo>
                    <a:lnTo>
                      <a:pt x="1576" y="234"/>
                    </a:lnTo>
                    <a:lnTo>
                      <a:pt x="1574" y="236"/>
                    </a:lnTo>
                    <a:lnTo>
                      <a:pt x="1570" y="238"/>
                    </a:lnTo>
                    <a:lnTo>
                      <a:pt x="1572" y="238"/>
                    </a:lnTo>
                    <a:lnTo>
                      <a:pt x="1570" y="238"/>
                    </a:lnTo>
                    <a:lnTo>
                      <a:pt x="1570" y="238"/>
                    </a:lnTo>
                    <a:lnTo>
                      <a:pt x="1568" y="236"/>
                    </a:lnTo>
                    <a:lnTo>
                      <a:pt x="1566" y="234"/>
                    </a:lnTo>
                    <a:lnTo>
                      <a:pt x="1566" y="234"/>
                    </a:lnTo>
                    <a:lnTo>
                      <a:pt x="1566" y="234"/>
                    </a:lnTo>
                    <a:lnTo>
                      <a:pt x="1564" y="234"/>
                    </a:lnTo>
                    <a:lnTo>
                      <a:pt x="1564" y="234"/>
                    </a:lnTo>
                    <a:lnTo>
                      <a:pt x="1564" y="234"/>
                    </a:lnTo>
                    <a:lnTo>
                      <a:pt x="1562" y="232"/>
                    </a:lnTo>
                    <a:lnTo>
                      <a:pt x="1560" y="232"/>
                    </a:lnTo>
                    <a:lnTo>
                      <a:pt x="1558" y="234"/>
                    </a:lnTo>
                    <a:lnTo>
                      <a:pt x="1556" y="234"/>
                    </a:lnTo>
                    <a:lnTo>
                      <a:pt x="1550" y="234"/>
                    </a:lnTo>
                    <a:lnTo>
                      <a:pt x="1544" y="236"/>
                    </a:lnTo>
                    <a:lnTo>
                      <a:pt x="1542" y="238"/>
                    </a:lnTo>
                    <a:lnTo>
                      <a:pt x="1540" y="238"/>
                    </a:lnTo>
                    <a:lnTo>
                      <a:pt x="1534" y="238"/>
                    </a:lnTo>
                    <a:lnTo>
                      <a:pt x="1530" y="238"/>
                    </a:lnTo>
                    <a:lnTo>
                      <a:pt x="1526" y="238"/>
                    </a:lnTo>
                    <a:lnTo>
                      <a:pt x="1526" y="238"/>
                    </a:lnTo>
                    <a:lnTo>
                      <a:pt x="1524" y="238"/>
                    </a:lnTo>
                    <a:lnTo>
                      <a:pt x="1524" y="238"/>
                    </a:lnTo>
                    <a:lnTo>
                      <a:pt x="1524" y="238"/>
                    </a:lnTo>
                    <a:lnTo>
                      <a:pt x="1522" y="236"/>
                    </a:lnTo>
                    <a:lnTo>
                      <a:pt x="1524" y="238"/>
                    </a:lnTo>
                    <a:lnTo>
                      <a:pt x="1522" y="234"/>
                    </a:lnTo>
                    <a:lnTo>
                      <a:pt x="1522" y="232"/>
                    </a:lnTo>
                    <a:lnTo>
                      <a:pt x="1522" y="230"/>
                    </a:lnTo>
                    <a:lnTo>
                      <a:pt x="1522" y="230"/>
                    </a:lnTo>
                    <a:lnTo>
                      <a:pt x="1522" y="230"/>
                    </a:lnTo>
                    <a:lnTo>
                      <a:pt x="1522" y="228"/>
                    </a:lnTo>
                    <a:lnTo>
                      <a:pt x="1522" y="228"/>
                    </a:lnTo>
                    <a:lnTo>
                      <a:pt x="1520" y="228"/>
                    </a:lnTo>
                    <a:lnTo>
                      <a:pt x="1520" y="228"/>
                    </a:lnTo>
                    <a:lnTo>
                      <a:pt x="1520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4" y="228"/>
                    </a:lnTo>
                    <a:lnTo>
                      <a:pt x="1512" y="230"/>
                    </a:lnTo>
                    <a:lnTo>
                      <a:pt x="1512" y="232"/>
                    </a:lnTo>
                    <a:lnTo>
                      <a:pt x="1510" y="234"/>
                    </a:lnTo>
                    <a:lnTo>
                      <a:pt x="1510" y="234"/>
                    </a:lnTo>
                    <a:lnTo>
                      <a:pt x="1508" y="234"/>
                    </a:lnTo>
                    <a:lnTo>
                      <a:pt x="1508" y="234"/>
                    </a:lnTo>
                    <a:lnTo>
                      <a:pt x="1508" y="234"/>
                    </a:lnTo>
                    <a:lnTo>
                      <a:pt x="1506" y="232"/>
                    </a:lnTo>
                    <a:lnTo>
                      <a:pt x="1504" y="230"/>
                    </a:lnTo>
                    <a:lnTo>
                      <a:pt x="1504" y="228"/>
                    </a:lnTo>
                    <a:lnTo>
                      <a:pt x="1504" y="228"/>
                    </a:lnTo>
                    <a:lnTo>
                      <a:pt x="1504" y="226"/>
                    </a:lnTo>
                    <a:lnTo>
                      <a:pt x="1506" y="220"/>
                    </a:lnTo>
                    <a:lnTo>
                      <a:pt x="1506" y="218"/>
                    </a:lnTo>
                    <a:lnTo>
                      <a:pt x="1506" y="218"/>
                    </a:lnTo>
                    <a:lnTo>
                      <a:pt x="1508" y="218"/>
                    </a:lnTo>
                    <a:lnTo>
                      <a:pt x="1508" y="216"/>
                    </a:lnTo>
                    <a:lnTo>
                      <a:pt x="1508" y="214"/>
                    </a:lnTo>
                    <a:lnTo>
                      <a:pt x="1508" y="212"/>
                    </a:lnTo>
                    <a:lnTo>
                      <a:pt x="1508" y="212"/>
                    </a:lnTo>
                    <a:lnTo>
                      <a:pt x="1506" y="210"/>
                    </a:lnTo>
                    <a:lnTo>
                      <a:pt x="1506" y="208"/>
                    </a:lnTo>
                    <a:lnTo>
                      <a:pt x="1506" y="208"/>
                    </a:lnTo>
                    <a:lnTo>
                      <a:pt x="1504" y="208"/>
                    </a:lnTo>
                    <a:lnTo>
                      <a:pt x="1502" y="206"/>
                    </a:lnTo>
                    <a:lnTo>
                      <a:pt x="1502" y="206"/>
                    </a:lnTo>
                    <a:lnTo>
                      <a:pt x="1502" y="206"/>
                    </a:lnTo>
                    <a:lnTo>
                      <a:pt x="1498" y="206"/>
                    </a:lnTo>
                    <a:lnTo>
                      <a:pt x="1494" y="204"/>
                    </a:lnTo>
                    <a:lnTo>
                      <a:pt x="1488" y="204"/>
                    </a:lnTo>
                    <a:lnTo>
                      <a:pt x="1480" y="204"/>
                    </a:lnTo>
                    <a:lnTo>
                      <a:pt x="1476" y="204"/>
                    </a:lnTo>
                    <a:lnTo>
                      <a:pt x="1472" y="202"/>
                    </a:lnTo>
                    <a:lnTo>
                      <a:pt x="1466" y="202"/>
                    </a:lnTo>
                    <a:lnTo>
                      <a:pt x="1458" y="202"/>
                    </a:lnTo>
                    <a:lnTo>
                      <a:pt x="1452" y="202"/>
                    </a:lnTo>
                    <a:lnTo>
                      <a:pt x="1446" y="202"/>
                    </a:lnTo>
                    <a:lnTo>
                      <a:pt x="1442" y="204"/>
                    </a:lnTo>
                    <a:lnTo>
                      <a:pt x="1438" y="204"/>
                    </a:lnTo>
                    <a:lnTo>
                      <a:pt x="1432" y="204"/>
                    </a:lnTo>
                    <a:lnTo>
                      <a:pt x="1428" y="204"/>
                    </a:lnTo>
                    <a:lnTo>
                      <a:pt x="1424" y="204"/>
                    </a:lnTo>
                    <a:lnTo>
                      <a:pt x="1424" y="204"/>
                    </a:lnTo>
                    <a:lnTo>
                      <a:pt x="1424" y="204"/>
                    </a:lnTo>
                    <a:lnTo>
                      <a:pt x="1422" y="204"/>
                    </a:lnTo>
                    <a:lnTo>
                      <a:pt x="1422" y="204"/>
                    </a:lnTo>
                    <a:lnTo>
                      <a:pt x="1420" y="206"/>
                    </a:lnTo>
                    <a:lnTo>
                      <a:pt x="1420" y="206"/>
                    </a:lnTo>
                    <a:lnTo>
                      <a:pt x="1418" y="202"/>
                    </a:lnTo>
                    <a:lnTo>
                      <a:pt x="1418" y="198"/>
                    </a:lnTo>
                    <a:lnTo>
                      <a:pt x="1416" y="194"/>
                    </a:lnTo>
                    <a:lnTo>
                      <a:pt x="1416" y="194"/>
                    </a:lnTo>
                    <a:lnTo>
                      <a:pt x="1416" y="194"/>
                    </a:lnTo>
                    <a:lnTo>
                      <a:pt x="1416" y="192"/>
                    </a:lnTo>
                    <a:lnTo>
                      <a:pt x="1416" y="192"/>
                    </a:lnTo>
                    <a:lnTo>
                      <a:pt x="1416" y="192"/>
                    </a:lnTo>
                    <a:lnTo>
                      <a:pt x="1414" y="190"/>
                    </a:lnTo>
                    <a:lnTo>
                      <a:pt x="1414" y="190"/>
                    </a:lnTo>
                    <a:lnTo>
                      <a:pt x="1414" y="190"/>
                    </a:lnTo>
                    <a:lnTo>
                      <a:pt x="1414" y="188"/>
                    </a:lnTo>
                    <a:lnTo>
                      <a:pt x="1414" y="188"/>
                    </a:lnTo>
                    <a:lnTo>
                      <a:pt x="1414" y="186"/>
                    </a:lnTo>
                    <a:lnTo>
                      <a:pt x="1414" y="186"/>
                    </a:lnTo>
                    <a:lnTo>
                      <a:pt x="1416" y="186"/>
                    </a:lnTo>
                    <a:lnTo>
                      <a:pt x="1416" y="186"/>
                    </a:lnTo>
                    <a:lnTo>
                      <a:pt x="1416" y="186"/>
                    </a:lnTo>
                    <a:lnTo>
                      <a:pt x="1418" y="184"/>
                    </a:lnTo>
                    <a:lnTo>
                      <a:pt x="1418" y="184"/>
                    </a:lnTo>
                    <a:lnTo>
                      <a:pt x="1420" y="184"/>
                    </a:lnTo>
                    <a:lnTo>
                      <a:pt x="1420" y="182"/>
                    </a:lnTo>
                    <a:lnTo>
                      <a:pt x="1420" y="182"/>
                    </a:lnTo>
                    <a:lnTo>
                      <a:pt x="1420" y="180"/>
                    </a:lnTo>
                    <a:lnTo>
                      <a:pt x="1420" y="178"/>
                    </a:lnTo>
                    <a:lnTo>
                      <a:pt x="1418" y="176"/>
                    </a:lnTo>
                    <a:lnTo>
                      <a:pt x="1418" y="172"/>
                    </a:lnTo>
                    <a:lnTo>
                      <a:pt x="1416" y="168"/>
                    </a:lnTo>
                    <a:lnTo>
                      <a:pt x="1416" y="166"/>
                    </a:lnTo>
                    <a:lnTo>
                      <a:pt x="1414" y="162"/>
                    </a:lnTo>
                    <a:lnTo>
                      <a:pt x="1412" y="160"/>
                    </a:lnTo>
                    <a:lnTo>
                      <a:pt x="1412" y="160"/>
                    </a:lnTo>
                    <a:lnTo>
                      <a:pt x="1412" y="160"/>
                    </a:lnTo>
                    <a:lnTo>
                      <a:pt x="1410" y="158"/>
                    </a:lnTo>
                    <a:lnTo>
                      <a:pt x="1410" y="158"/>
                    </a:lnTo>
                    <a:lnTo>
                      <a:pt x="1410" y="158"/>
                    </a:lnTo>
                    <a:lnTo>
                      <a:pt x="1408" y="156"/>
                    </a:lnTo>
                    <a:lnTo>
                      <a:pt x="1408" y="156"/>
                    </a:lnTo>
                    <a:lnTo>
                      <a:pt x="1408" y="156"/>
                    </a:lnTo>
                    <a:lnTo>
                      <a:pt x="1406" y="156"/>
                    </a:lnTo>
                    <a:lnTo>
                      <a:pt x="1406" y="156"/>
                    </a:lnTo>
                    <a:lnTo>
                      <a:pt x="1406" y="156"/>
                    </a:lnTo>
                    <a:lnTo>
                      <a:pt x="1400" y="156"/>
                    </a:lnTo>
                    <a:lnTo>
                      <a:pt x="1400" y="156"/>
                    </a:lnTo>
                    <a:lnTo>
                      <a:pt x="1398" y="156"/>
                    </a:lnTo>
                    <a:lnTo>
                      <a:pt x="1398" y="156"/>
                    </a:lnTo>
                    <a:lnTo>
                      <a:pt x="1398" y="156"/>
                    </a:lnTo>
                    <a:lnTo>
                      <a:pt x="1396" y="156"/>
                    </a:lnTo>
                    <a:lnTo>
                      <a:pt x="1396" y="156"/>
                    </a:lnTo>
                    <a:lnTo>
                      <a:pt x="1396" y="156"/>
                    </a:lnTo>
                    <a:lnTo>
                      <a:pt x="1394" y="158"/>
                    </a:lnTo>
                    <a:lnTo>
                      <a:pt x="1394" y="158"/>
                    </a:lnTo>
                    <a:lnTo>
                      <a:pt x="1392" y="158"/>
                    </a:lnTo>
                    <a:lnTo>
                      <a:pt x="1392" y="158"/>
                    </a:lnTo>
                    <a:lnTo>
                      <a:pt x="1392" y="158"/>
                    </a:lnTo>
                    <a:lnTo>
                      <a:pt x="1392" y="160"/>
                    </a:lnTo>
                    <a:lnTo>
                      <a:pt x="1390" y="162"/>
                    </a:lnTo>
                    <a:lnTo>
                      <a:pt x="1390" y="162"/>
                    </a:lnTo>
                    <a:lnTo>
                      <a:pt x="1390" y="162"/>
                    </a:lnTo>
                    <a:lnTo>
                      <a:pt x="1390" y="164"/>
                    </a:lnTo>
                    <a:lnTo>
                      <a:pt x="1390" y="164"/>
                    </a:lnTo>
                    <a:lnTo>
                      <a:pt x="1390" y="170"/>
                    </a:lnTo>
                    <a:lnTo>
                      <a:pt x="1390" y="170"/>
                    </a:lnTo>
                    <a:lnTo>
                      <a:pt x="1390" y="170"/>
                    </a:lnTo>
                    <a:lnTo>
                      <a:pt x="1392" y="174"/>
                    </a:lnTo>
                    <a:lnTo>
                      <a:pt x="1392" y="174"/>
                    </a:lnTo>
                    <a:lnTo>
                      <a:pt x="1392" y="176"/>
                    </a:lnTo>
                    <a:lnTo>
                      <a:pt x="1394" y="178"/>
                    </a:lnTo>
                    <a:lnTo>
                      <a:pt x="1394" y="180"/>
                    </a:lnTo>
                    <a:lnTo>
                      <a:pt x="1394" y="180"/>
                    </a:lnTo>
                    <a:lnTo>
                      <a:pt x="1394" y="180"/>
                    </a:lnTo>
                    <a:lnTo>
                      <a:pt x="1396" y="182"/>
                    </a:lnTo>
                    <a:lnTo>
                      <a:pt x="1396" y="182"/>
                    </a:lnTo>
                    <a:lnTo>
                      <a:pt x="1396" y="182"/>
                    </a:lnTo>
                    <a:lnTo>
                      <a:pt x="1398" y="182"/>
                    </a:lnTo>
                    <a:lnTo>
                      <a:pt x="1398" y="182"/>
                    </a:lnTo>
                    <a:lnTo>
                      <a:pt x="1398" y="182"/>
                    </a:lnTo>
                    <a:lnTo>
                      <a:pt x="1404" y="184"/>
                    </a:lnTo>
                    <a:lnTo>
                      <a:pt x="1404" y="184"/>
                    </a:lnTo>
                    <a:lnTo>
                      <a:pt x="1404" y="184"/>
                    </a:lnTo>
                    <a:lnTo>
                      <a:pt x="1404" y="188"/>
                    </a:lnTo>
                    <a:lnTo>
                      <a:pt x="1404" y="188"/>
                    </a:lnTo>
                    <a:lnTo>
                      <a:pt x="1404" y="188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8" y="192"/>
                    </a:lnTo>
                    <a:lnTo>
                      <a:pt x="1408" y="194"/>
                    </a:lnTo>
                    <a:lnTo>
                      <a:pt x="1408" y="196"/>
                    </a:lnTo>
                    <a:lnTo>
                      <a:pt x="1406" y="200"/>
                    </a:lnTo>
                    <a:lnTo>
                      <a:pt x="1406" y="202"/>
                    </a:lnTo>
                    <a:lnTo>
                      <a:pt x="1404" y="204"/>
                    </a:lnTo>
                    <a:lnTo>
                      <a:pt x="1404" y="204"/>
                    </a:lnTo>
                    <a:lnTo>
                      <a:pt x="1402" y="200"/>
                    </a:lnTo>
                    <a:lnTo>
                      <a:pt x="1402" y="196"/>
                    </a:lnTo>
                    <a:lnTo>
                      <a:pt x="1400" y="192"/>
                    </a:lnTo>
                    <a:lnTo>
                      <a:pt x="1396" y="188"/>
                    </a:lnTo>
                    <a:lnTo>
                      <a:pt x="1394" y="186"/>
                    </a:lnTo>
                    <a:lnTo>
                      <a:pt x="1394" y="186"/>
                    </a:lnTo>
                    <a:lnTo>
                      <a:pt x="1394" y="186"/>
                    </a:lnTo>
                    <a:lnTo>
                      <a:pt x="1394" y="184"/>
                    </a:lnTo>
                    <a:lnTo>
                      <a:pt x="1394" y="184"/>
                    </a:lnTo>
                    <a:lnTo>
                      <a:pt x="1392" y="184"/>
                    </a:lnTo>
                    <a:lnTo>
                      <a:pt x="1392" y="184"/>
                    </a:lnTo>
                    <a:lnTo>
                      <a:pt x="1392" y="184"/>
                    </a:lnTo>
                    <a:lnTo>
                      <a:pt x="1390" y="184"/>
                    </a:lnTo>
                    <a:lnTo>
                      <a:pt x="1390" y="184"/>
                    </a:lnTo>
                    <a:lnTo>
                      <a:pt x="1390" y="184"/>
                    </a:lnTo>
                    <a:lnTo>
                      <a:pt x="1388" y="184"/>
                    </a:lnTo>
                    <a:lnTo>
                      <a:pt x="1388" y="184"/>
                    </a:lnTo>
                    <a:lnTo>
                      <a:pt x="1388" y="184"/>
                    </a:lnTo>
                    <a:lnTo>
                      <a:pt x="1386" y="184"/>
                    </a:lnTo>
                    <a:lnTo>
                      <a:pt x="1384" y="186"/>
                    </a:lnTo>
                    <a:lnTo>
                      <a:pt x="1384" y="186"/>
                    </a:lnTo>
                    <a:lnTo>
                      <a:pt x="1384" y="188"/>
                    </a:lnTo>
                    <a:lnTo>
                      <a:pt x="1382" y="190"/>
                    </a:lnTo>
                    <a:lnTo>
                      <a:pt x="1382" y="192"/>
                    </a:lnTo>
                    <a:lnTo>
                      <a:pt x="1382" y="192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78" y="190"/>
                    </a:lnTo>
                    <a:lnTo>
                      <a:pt x="1378" y="190"/>
                    </a:lnTo>
                    <a:lnTo>
                      <a:pt x="1376" y="190"/>
                    </a:lnTo>
                    <a:lnTo>
                      <a:pt x="1374" y="190"/>
                    </a:lnTo>
                    <a:lnTo>
                      <a:pt x="1370" y="188"/>
                    </a:lnTo>
                    <a:lnTo>
                      <a:pt x="1368" y="190"/>
                    </a:lnTo>
                    <a:lnTo>
                      <a:pt x="1364" y="190"/>
                    </a:lnTo>
                    <a:lnTo>
                      <a:pt x="1362" y="190"/>
                    </a:lnTo>
                    <a:lnTo>
                      <a:pt x="1362" y="190"/>
                    </a:lnTo>
                    <a:lnTo>
                      <a:pt x="1362" y="190"/>
                    </a:lnTo>
                    <a:lnTo>
                      <a:pt x="1362" y="192"/>
                    </a:lnTo>
                    <a:lnTo>
                      <a:pt x="1362" y="192"/>
                    </a:lnTo>
                    <a:lnTo>
                      <a:pt x="1360" y="192"/>
                    </a:lnTo>
                    <a:lnTo>
                      <a:pt x="1360" y="192"/>
                    </a:lnTo>
                    <a:lnTo>
                      <a:pt x="1360" y="192"/>
                    </a:lnTo>
                    <a:lnTo>
                      <a:pt x="1360" y="194"/>
                    </a:lnTo>
                    <a:lnTo>
                      <a:pt x="1360" y="196"/>
                    </a:lnTo>
                    <a:lnTo>
                      <a:pt x="1360" y="196"/>
                    </a:lnTo>
                    <a:lnTo>
                      <a:pt x="1360" y="196"/>
                    </a:lnTo>
                    <a:lnTo>
                      <a:pt x="1362" y="198"/>
                    </a:lnTo>
                    <a:lnTo>
                      <a:pt x="1364" y="200"/>
                    </a:lnTo>
                    <a:lnTo>
                      <a:pt x="1366" y="202"/>
                    </a:lnTo>
                    <a:lnTo>
                      <a:pt x="1368" y="204"/>
                    </a:lnTo>
                    <a:lnTo>
                      <a:pt x="1370" y="206"/>
                    </a:lnTo>
                    <a:lnTo>
                      <a:pt x="1368" y="206"/>
                    </a:lnTo>
                    <a:lnTo>
                      <a:pt x="1366" y="208"/>
                    </a:lnTo>
                    <a:lnTo>
                      <a:pt x="1366" y="210"/>
                    </a:lnTo>
                    <a:lnTo>
                      <a:pt x="1362" y="212"/>
                    </a:lnTo>
                    <a:lnTo>
                      <a:pt x="1356" y="214"/>
                    </a:lnTo>
                    <a:lnTo>
                      <a:pt x="1352" y="216"/>
                    </a:lnTo>
                    <a:lnTo>
                      <a:pt x="1352" y="216"/>
                    </a:lnTo>
                    <a:lnTo>
                      <a:pt x="1352" y="216"/>
                    </a:lnTo>
                    <a:lnTo>
                      <a:pt x="1348" y="218"/>
                    </a:lnTo>
                    <a:lnTo>
                      <a:pt x="1348" y="218"/>
                    </a:lnTo>
                    <a:lnTo>
                      <a:pt x="1348" y="218"/>
                    </a:lnTo>
                    <a:lnTo>
                      <a:pt x="1346" y="218"/>
                    </a:lnTo>
                    <a:lnTo>
                      <a:pt x="1346" y="218"/>
                    </a:lnTo>
                    <a:lnTo>
                      <a:pt x="1346" y="220"/>
                    </a:lnTo>
                    <a:lnTo>
                      <a:pt x="1344" y="222"/>
                    </a:lnTo>
                    <a:lnTo>
                      <a:pt x="1344" y="222"/>
                    </a:lnTo>
                    <a:lnTo>
                      <a:pt x="1344" y="222"/>
                    </a:lnTo>
                    <a:lnTo>
                      <a:pt x="1342" y="226"/>
                    </a:lnTo>
                    <a:lnTo>
                      <a:pt x="1342" y="228"/>
                    </a:lnTo>
                    <a:lnTo>
                      <a:pt x="1340" y="230"/>
                    </a:lnTo>
                    <a:lnTo>
                      <a:pt x="1340" y="230"/>
                    </a:lnTo>
                    <a:lnTo>
                      <a:pt x="1338" y="230"/>
                    </a:lnTo>
                    <a:lnTo>
                      <a:pt x="1336" y="232"/>
                    </a:lnTo>
                    <a:lnTo>
                      <a:pt x="1332" y="232"/>
                    </a:lnTo>
                    <a:lnTo>
                      <a:pt x="1330" y="232"/>
                    </a:lnTo>
                    <a:lnTo>
                      <a:pt x="1330" y="232"/>
                    </a:lnTo>
                    <a:lnTo>
                      <a:pt x="1328" y="232"/>
                    </a:lnTo>
                    <a:lnTo>
                      <a:pt x="1326" y="232"/>
                    </a:lnTo>
                    <a:lnTo>
                      <a:pt x="1324" y="234"/>
                    </a:lnTo>
                    <a:lnTo>
                      <a:pt x="1322" y="234"/>
                    </a:lnTo>
                    <a:lnTo>
                      <a:pt x="1320" y="236"/>
                    </a:lnTo>
                    <a:lnTo>
                      <a:pt x="1318" y="238"/>
                    </a:lnTo>
                    <a:lnTo>
                      <a:pt x="1314" y="240"/>
                    </a:lnTo>
                    <a:lnTo>
                      <a:pt x="1310" y="242"/>
                    </a:lnTo>
                    <a:lnTo>
                      <a:pt x="1306" y="244"/>
                    </a:lnTo>
                    <a:lnTo>
                      <a:pt x="1306" y="244"/>
                    </a:lnTo>
                    <a:lnTo>
                      <a:pt x="1306" y="244"/>
                    </a:lnTo>
                    <a:lnTo>
                      <a:pt x="1310" y="238"/>
                    </a:lnTo>
                    <a:lnTo>
                      <a:pt x="1312" y="236"/>
                    </a:lnTo>
                    <a:lnTo>
                      <a:pt x="1314" y="234"/>
                    </a:lnTo>
                    <a:lnTo>
                      <a:pt x="1314" y="232"/>
                    </a:lnTo>
                    <a:lnTo>
                      <a:pt x="1316" y="230"/>
                    </a:lnTo>
                    <a:lnTo>
                      <a:pt x="1318" y="226"/>
                    </a:lnTo>
                    <a:lnTo>
                      <a:pt x="1320" y="224"/>
                    </a:lnTo>
                    <a:lnTo>
                      <a:pt x="1322" y="222"/>
                    </a:lnTo>
                    <a:lnTo>
                      <a:pt x="1322" y="222"/>
                    </a:lnTo>
                    <a:lnTo>
                      <a:pt x="1322" y="222"/>
                    </a:lnTo>
                    <a:lnTo>
                      <a:pt x="1322" y="220"/>
                    </a:lnTo>
                    <a:lnTo>
                      <a:pt x="1322" y="220"/>
                    </a:lnTo>
                    <a:lnTo>
                      <a:pt x="1324" y="220"/>
                    </a:lnTo>
                    <a:lnTo>
                      <a:pt x="1324" y="218"/>
                    </a:lnTo>
                    <a:lnTo>
                      <a:pt x="1324" y="218"/>
                    </a:lnTo>
                    <a:lnTo>
                      <a:pt x="1324" y="216"/>
                    </a:lnTo>
                    <a:lnTo>
                      <a:pt x="1324" y="216"/>
                    </a:lnTo>
                    <a:lnTo>
                      <a:pt x="1324" y="216"/>
                    </a:lnTo>
                    <a:lnTo>
                      <a:pt x="1322" y="214"/>
                    </a:lnTo>
                    <a:lnTo>
                      <a:pt x="1322" y="212"/>
                    </a:lnTo>
                    <a:lnTo>
                      <a:pt x="1322" y="214"/>
                    </a:lnTo>
                    <a:lnTo>
                      <a:pt x="1322" y="214"/>
                    </a:lnTo>
                    <a:lnTo>
                      <a:pt x="1324" y="214"/>
                    </a:lnTo>
                    <a:lnTo>
                      <a:pt x="1326" y="214"/>
                    </a:lnTo>
                    <a:lnTo>
                      <a:pt x="1326" y="214"/>
                    </a:lnTo>
                    <a:lnTo>
                      <a:pt x="1326" y="214"/>
                    </a:lnTo>
                    <a:lnTo>
                      <a:pt x="1330" y="214"/>
                    </a:lnTo>
                    <a:lnTo>
                      <a:pt x="1330" y="214"/>
                    </a:lnTo>
                    <a:lnTo>
                      <a:pt x="1334" y="212"/>
                    </a:lnTo>
                    <a:lnTo>
                      <a:pt x="1334" y="212"/>
                    </a:lnTo>
                    <a:lnTo>
                      <a:pt x="1334" y="212"/>
                    </a:lnTo>
                    <a:lnTo>
                      <a:pt x="1338" y="210"/>
                    </a:lnTo>
                    <a:lnTo>
                      <a:pt x="1338" y="210"/>
                    </a:lnTo>
                    <a:lnTo>
                      <a:pt x="1338" y="210"/>
                    </a:lnTo>
                    <a:lnTo>
                      <a:pt x="1342" y="208"/>
                    </a:lnTo>
                    <a:lnTo>
                      <a:pt x="1342" y="208"/>
                    </a:lnTo>
                    <a:lnTo>
                      <a:pt x="1342" y="208"/>
                    </a:lnTo>
                    <a:lnTo>
                      <a:pt x="1344" y="206"/>
                    </a:lnTo>
                    <a:lnTo>
                      <a:pt x="1344" y="206"/>
                    </a:lnTo>
                    <a:lnTo>
                      <a:pt x="1344" y="206"/>
                    </a:lnTo>
                    <a:lnTo>
                      <a:pt x="1346" y="204"/>
                    </a:lnTo>
                    <a:lnTo>
                      <a:pt x="1348" y="200"/>
                    </a:lnTo>
                    <a:lnTo>
                      <a:pt x="1352" y="196"/>
                    </a:lnTo>
                    <a:lnTo>
                      <a:pt x="1354" y="192"/>
                    </a:lnTo>
                    <a:lnTo>
                      <a:pt x="1356" y="188"/>
                    </a:lnTo>
                    <a:lnTo>
                      <a:pt x="1358" y="184"/>
                    </a:lnTo>
                    <a:lnTo>
                      <a:pt x="1360" y="180"/>
                    </a:lnTo>
                    <a:lnTo>
                      <a:pt x="1364" y="176"/>
                    </a:lnTo>
                    <a:lnTo>
                      <a:pt x="1366" y="174"/>
                    </a:lnTo>
                    <a:lnTo>
                      <a:pt x="1368" y="172"/>
                    </a:lnTo>
                    <a:lnTo>
                      <a:pt x="1374" y="166"/>
                    </a:lnTo>
                    <a:lnTo>
                      <a:pt x="1378" y="160"/>
                    </a:lnTo>
                    <a:lnTo>
                      <a:pt x="1380" y="158"/>
                    </a:lnTo>
                    <a:lnTo>
                      <a:pt x="1384" y="156"/>
                    </a:lnTo>
                    <a:lnTo>
                      <a:pt x="1386" y="154"/>
                    </a:lnTo>
                    <a:lnTo>
                      <a:pt x="1388" y="154"/>
                    </a:lnTo>
                    <a:lnTo>
                      <a:pt x="1394" y="152"/>
                    </a:lnTo>
                    <a:lnTo>
                      <a:pt x="1396" y="150"/>
                    </a:lnTo>
                    <a:lnTo>
                      <a:pt x="1400" y="148"/>
                    </a:lnTo>
                    <a:lnTo>
                      <a:pt x="1402" y="146"/>
                    </a:lnTo>
                    <a:lnTo>
                      <a:pt x="1404" y="144"/>
                    </a:lnTo>
                    <a:lnTo>
                      <a:pt x="1408" y="140"/>
                    </a:lnTo>
                    <a:lnTo>
                      <a:pt x="1412" y="138"/>
                    </a:lnTo>
                    <a:lnTo>
                      <a:pt x="1414" y="134"/>
                    </a:lnTo>
                    <a:lnTo>
                      <a:pt x="1418" y="130"/>
                    </a:lnTo>
                    <a:lnTo>
                      <a:pt x="1422" y="124"/>
                    </a:lnTo>
                    <a:lnTo>
                      <a:pt x="1424" y="120"/>
                    </a:lnTo>
                    <a:lnTo>
                      <a:pt x="1426" y="118"/>
                    </a:lnTo>
                    <a:lnTo>
                      <a:pt x="1428" y="114"/>
                    </a:lnTo>
                    <a:lnTo>
                      <a:pt x="1430" y="112"/>
                    </a:lnTo>
                    <a:lnTo>
                      <a:pt x="1430" y="112"/>
                    </a:lnTo>
                    <a:lnTo>
                      <a:pt x="1430" y="110"/>
                    </a:lnTo>
                    <a:lnTo>
                      <a:pt x="1430" y="108"/>
                    </a:lnTo>
                    <a:lnTo>
                      <a:pt x="1430" y="108"/>
                    </a:lnTo>
                    <a:lnTo>
                      <a:pt x="1430" y="108"/>
                    </a:lnTo>
                    <a:lnTo>
                      <a:pt x="1430" y="106"/>
                    </a:lnTo>
                    <a:lnTo>
                      <a:pt x="1430" y="106"/>
                    </a:lnTo>
                    <a:lnTo>
                      <a:pt x="1428" y="104"/>
                    </a:lnTo>
                    <a:lnTo>
                      <a:pt x="1428" y="102"/>
                    </a:lnTo>
                    <a:lnTo>
                      <a:pt x="1426" y="98"/>
                    </a:lnTo>
                    <a:lnTo>
                      <a:pt x="1426" y="100"/>
                    </a:lnTo>
                    <a:lnTo>
                      <a:pt x="1426" y="98"/>
                    </a:lnTo>
                    <a:lnTo>
                      <a:pt x="1426" y="98"/>
                    </a:lnTo>
                    <a:lnTo>
                      <a:pt x="1426" y="98"/>
                    </a:lnTo>
                    <a:lnTo>
                      <a:pt x="1426" y="96"/>
                    </a:lnTo>
                    <a:lnTo>
                      <a:pt x="1430" y="94"/>
                    </a:lnTo>
                    <a:lnTo>
                      <a:pt x="1432" y="92"/>
                    </a:lnTo>
                    <a:lnTo>
                      <a:pt x="1432" y="92"/>
                    </a:lnTo>
                    <a:lnTo>
                      <a:pt x="1432" y="90"/>
                    </a:lnTo>
                    <a:lnTo>
                      <a:pt x="1434" y="90"/>
                    </a:lnTo>
                    <a:lnTo>
                      <a:pt x="1434" y="90"/>
                    </a:lnTo>
                    <a:lnTo>
                      <a:pt x="1434" y="88"/>
                    </a:lnTo>
                    <a:lnTo>
                      <a:pt x="1434" y="86"/>
                    </a:lnTo>
                    <a:lnTo>
                      <a:pt x="1434" y="86"/>
                    </a:lnTo>
                    <a:lnTo>
                      <a:pt x="1434" y="84"/>
                    </a:lnTo>
                    <a:lnTo>
                      <a:pt x="1434" y="84"/>
                    </a:lnTo>
                    <a:lnTo>
                      <a:pt x="1434" y="82"/>
                    </a:lnTo>
                    <a:lnTo>
                      <a:pt x="1432" y="80"/>
                    </a:lnTo>
                    <a:lnTo>
                      <a:pt x="1430" y="76"/>
                    </a:lnTo>
                    <a:lnTo>
                      <a:pt x="1428" y="70"/>
                    </a:lnTo>
                    <a:lnTo>
                      <a:pt x="1426" y="68"/>
                    </a:lnTo>
                    <a:lnTo>
                      <a:pt x="1426" y="66"/>
                    </a:lnTo>
                    <a:lnTo>
                      <a:pt x="1426" y="66"/>
                    </a:lnTo>
                    <a:lnTo>
                      <a:pt x="1426" y="64"/>
                    </a:lnTo>
                    <a:lnTo>
                      <a:pt x="1426" y="62"/>
                    </a:lnTo>
                    <a:lnTo>
                      <a:pt x="1426" y="56"/>
                    </a:lnTo>
                    <a:lnTo>
                      <a:pt x="1426" y="54"/>
                    </a:lnTo>
                    <a:lnTo>
                      <a:pt x="1428" y="52"/>
                    </a:lnTo>
                    <a:lnTo>
                      <a:pt x="1428" y="50"/>
                    </a:lnTo>
                    <a:lnTo>
                      <a:pt x="1428" y="50"/>
                    </a:lnTo>
                    <a:lnTo>
                      <a:pt x="1426" y="48"/>
                    </a:lnTo>
                    <a:lnTo>
                      <a:pt x="1426" y="48"/>
                    </a:lnTo>
                    <a:lnTo>
                      <a:pt x="1426" y="48"/>
                    </a:lnTo>
                    <a:lnTo>
                      <a:pt x="1424" y="46"/>
                    </a:lnTo>
                    <a:lnTo>
                      <a:pt x="1424" y="46"/>
                    </a:lnTo>
                    <a:lnTo>
                      <a:pt x="1424" y="46"/>
                    </a:lnTo>
                    <a:lnTo>
                      <a:pt x="1422" y="46"/>
                    </a:lnTo>
                    <a:lnTo>
                      <a:pt x="1420" y="46"/>
                    </a:lnTo>
                    <a:lnTo>
                      <a:pt x="1418" y="46"/>
                    </a:lnTo>
                    <a:lnTo>
                      <a:pt x="1416" y="48"/>
                    </a:lnTo>
                    <a:lnTo>
                      <a:pt x="1410" y="48"/>
                    </a:lnTo>
                    <a:lnTo>
                      <a:pt x="1408" y="50"/>
                    </a:lnTo>
                    <a:lnTo>
                      <a:pt x="1408" y="50"/>
                    </a:lnTo>
                    <a:lnTo>
                      <a:pt x="1408" y="48"/>
                    </a:lnTo>
                    <a:lnTo>
                      <a:pt x="1408" y="46"/>
                    </a:lnTo>
                    <a:lnTo>
                      <a:pt x="1408" y="42"/>
                    </a:lnTo>
                    <a:lnTo>
                      <a:pt x="1408" y="42"/>
                    </a:lnTo>
                    <a:lnTo>
                      <a:pt x="1408" y="42"/>
                    </a:lnTo>
                    <a:lnTo>
                      <a:pt x="1406" y="42"/>
                    </a:lnTo>
                    <a:lnTo>
                      <a:pt x="1406" y="42"/>
                    </a:lnTo>
                    <a:lnTo>
                      <a:pt x="1406" y="40"/>
                    </a:lnTo>
                    <a:lnTo>
                      <a:pt x="1404" y="38"/>
                    </a:lnTo>
                    <a:lnTo>
                      <a:pt x="1402" y="36"/>
                    </a:lnTo>
                    <a:lnTo>
                      <a:pt x="1400" y="34"/>
                    </a:lnTo>
                    <a:lnTo>
                      <a:pt x="1400" y="34"/>
                    </a:lnTo>
                    <a:lnTo>
                      <a:pt x="1400" y="34"/>
                    </a:lnTo>
                    <a:lnTo>
                      <a:pt x="1398" y="32"/>
                    </a:lnTo>
                    <a:lnTo>
                      <a:pt x="1394" y="32"/>
                    </a:lnTo>
                    <a:lnTo>
                      <a:pt x="1392" y="30"/>
                    </a:lnTo>
                    <a:lnTo>
                      <a:pt x="1388" y="30"/>
                    </a:lnTo>
                    <a:lnTo>
                      <a:pt x="1386" y="28"/>
                    </a:lnTo>
                    <a:lnTo>
                      <a:pt x="1384" y="28"/>
                    </a:lnTo>
                    <a:lnTo>
                      <a:pt x="1378" y="28"/>
                    </a:lnTo>
                    <a:lnTo>
                      <a:pt x="1372" y="26"/>
                    </a:lnTo>
                    <a:lnTo>
                      <a:pt x="1366" y="26"/>
                    </a:lnTo>
                    <a:lnTo>
                      <a:pt x="1358" y="26"/>
                    </a:lnTo>
                    <a:lnTo>
                      <a:pt x="1352" y="26"/>
                    </a:lnTo>
                    <a:lnTo>
                      <a:pt x="1348" y="24"/>
                    </a:lnTo>
                    <a:lnTo>
                      <a:pt x="1346" y="26"/>
                    </a:lnTo>
                    <a:lnTo>
                      <a:pt x="1344" y="26"/>
                    </a:lnTo>
                    <a:lnTo>
                      <a:pt x="1344" y="26"/>
                    </a:lnTo>
                    <a:lnTo>
                      <a:pt x="1340" y="26"/>
                    </a:lnTo>
                    <a:lnTo>
                      <a:pt x="1340" y="26"/>
                    </a:lnTo>
                    <a:lnTo>
                      <a:pt x="1340" y="26"/>
                    </a:lnTo>
                    <a:lnTo>
                      <a:pt x="1338" y="28"/>
                    </a:lnTo>
                    <a:lnTo>
                      <a:pt x="1338" y="28"/>
                    </a:lnTo>
                    <a:lnTo>
                      <a:pt x="1338" y="28"/>
                    </a:lnTo>
                    <a:lnTo>
                      <a:pt x="1336" y="30"/>
                    </a:lnTo>
                    <a:lnTo>
                      <a:pt x="1336" y="30"/>
                    </a:lnTo>
                    <a:lnTo>
                      <a:pt x="1336" y="30"/>
                    </a:lnTo>
                    <a:lnTo>
                      <a:pt x="1336" y="32"/>
                    </a:lnTo>
                    <a:lnTo>
                      <a:pt x="1336" y="32"/>
                    </a:lnTo>
                    <a:lnTo>
                      <a:pt x="1336" y="32"/>
                    </a:lnTo>
                    <a:lnTo>
                      <a:pt x="1336" y="34"/>
                    </a:lnTo>
                    <a:lnTo>
                      <a:pt x="1336" y="34"/>
                    </a:lnTo>
                    <a:lnTo>
                      <a:pt x="1336" y="34"/>
                    </a:lnTo>
                    <a:lnTo>
                      <a:pt x="1334" y="36"/>
                    </a:lnTo>
                    <a:lnTo>
                      <a:pt x="1332" y="36"/>
                    </a:lnTo>
                    <a:lnTo>
                      <a:pt x="1326" y="38"/>
                    </a:lnTo>
                    <a:lnTo>
                      <a:pt x="1326" y="38"/>
                    </a:lnTo>
                    <a:lnTo>
                      <a:pt x="1322" y="38"/>
                    </a:lnTo>
                    <a:lnTo>
                      <a:pt x="1322" y="38"/>
                    </a:lnTo>
                    <a:lnTo>
                      <a:pt x="1322" y="38"/>
                    </a:lnTo>
                    <a:lnTo>
                      <a:pt x="1322" y="36"/>
                    </a:lnTo>
                    <a:lnTo>
                      <a:pt x="1324" y="36"/>
                    </a:lnTo>
                    <a:lnTo>
                      <a:pt x="1324" y="36"/>
                    </a:lnTo>
                    <a:lnTo>
                      <a:pt x="1324" y="36"/>
                    </a:lnTo>
                    <a:lnTo>
                      <a:pt x="1326" y="34"/>
                    </a:lnTo>
                    <a:lnTo>
                      <a:pt x="1326" y="30"/>
                    </a:lnTo>
                    <a:lnTo>
                      <a:pt x="1328" y="28"/>
                    </a:lnTo>
                    <a:lnTo>
                      <a:pt x="1330" y="24"/>
                    </a:lnTo>
                    <a:lnTo>
                      <a:pt x="1330" y="20"/>
                    </a:lnTo>
                    <a:lnTo>
                      <a:pt x="1332" y="16"/>
                    </a:lnTo>
                    <a:lnTo>
                      <a:pt x="1332" y="12"/>
                    </a:lnTo>
                    <a:lnTo>
                      <a:pt x="1332" y="10"/>
                    </a:lnTo>
                    <a:lnTo>
                      <a:pt x="1332" y="10"/>
                    </a:lnTo>
                    <a:lnTo>
                      <a:pt x="1332" y="8"/>
                    </a:lnTo>
                    <a:lnTo>
                      <a:pt x="1332" y="6"/>
                    </a:lnTo>
                    <a:lnTo>
                      <a:pt x="1332" y="6"/>
                    </a:lnTo>
                    <a:lnTo>
                      <a:pt x="1332" y="6"/>
                    </a:lnTo>
                    <a:lnTo>
                      <a:pt x="1330" y="4"/>
                    </a:lnTo>
                    <a:lnTo>
                      <a:pt x="1330" y="4"/>
                    </a:lnTo>
                    <a:lnTo>
                      <a:pt x="1330" y="2"/>
                    </a:lnTo>
                    <a:lnTo>
                      <a:pt x="1328" y="2"/>
                    </a:lnTo>
                    <a:lnTo>
                      <a:pt x="1328" y="2"/>
                    </a:lnTo>
                    <a:lnTo>
                      <a:pt x="1326" y="2"/>
                    </a:lnTo>
                    <a:lnTo>
                      <a:pt x="1324" y="0"/>
                    </a:lnTo>
                    <a:lnTo>
                      <a:pt x="1324" y="0"/>
                    </a:lnTo>
                    <a:lnTo>
                      <a:pt x="1322" y="0"/>
                    </a:lnTo>
                    <a:lnTo>
                      <a:pt x="1318" y="0"/>
                    </a:lnTo>
                    <a:lnTo>
                      <a:pt x="1314" y="0"/>
                    </a:lnTo>
                    <a:lnTo>
                      <a:pt x="1310" y="0"/>
                    </a:lnTo>
                    <a:lnTo>
                      <a:pt x="1304" y="0"/>
                    </a:lnTo>
                    <a:lnTo>
                      <a:pt x="1302" y="0"/>
                    </a:lnTo>
                    <a:lnTo>
                      <a:pt x="1298" y="0"/>
                    </a:lnTo>
                    <a:lnTo>
                      <a:pt x="1294" y="0"/>
                    </a:lnTo>
                    <a:lnTo>
                      <a:pt x="1290" y="0"/>
                    </a:lnTo>
                    <a:lnTo>
                      <a:pt x="1280" y="0"/>
                    </a:lnTo>
                    <a:lnTo>
                      <a:pt x="1270" y="0"/>
                    </a:lnTo>
                    <a:lnTo>
                      <a:pt x="1260" y="0"/>
                    </a:lnTo>
                    <a:lnTo>
                      <a:pt x="1250" y="0"/>
                    </a:lnTo>
                    <a:lnTo>
                      <a:pt x="1246" y="0"/>
                    </a:lnTo>
                    <a:lnTo>
                      <a:pt x="1242" y="0"/>
                    </a:lnTo>
                    <a:lnTo>
                      <a:pt x="1240" y="0"/>
                    </a:lnTo>
                    <a:lnTo>
                      <a:pt x="1236" y="0"/>
                    </a:lnTo>
                    <a:lnTo>
                      <a:pt x="1234" y="0"/>
                    </a:lnTo>
                    <a:lnTo>
                      <a:pt x="1232" y="0"/>
                    </a:lnTo>
                    <a:lnTo>
                      <a:pt x="1232" y="0"/>
                    </a:lnTo>
                    <a:lnTo>
                      <a:pt x="1232" y="0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28" y="2"/>
                    </a:lnTo>
                    <a:lnTo>
                      <a:pt x="1228" y="2"/>
                    </a:lnTo>
                    <a:lnTo>
                      <a:pt x="1228" y="6"/>
                    </a:lnTo>
                    <a:lnTo>
                      <a:pt x="1228" y="6"/>
                    </a:lnTo>
                    <a:lnTo>
                      <a:pt x="1228" y="6"/>
                    </a:lnTo>
                    <a:lnTo>
                      <a:pt x="1228" y="8"/>
                    </a:lnTo>
                    <a:lnTo>
                      <a:pt x="1230" y="8"/>
                    </a:lnTo>
                    <a:lnTo>
                      <a:pt x="1230" y="10"/>
                    </a:lnTo>
                    <a:lnTo>
                      <a:pt x="1230" y="10"/>
                    </a:lnTo>
                    <a:lnTo>
                      <a:pt x="1230" y="12"/>
                    </a:lnTo>
                    <a:lnTo>
                      <a:pt x="1230" y="14"/>
                    </a:lnTo>
                    <a:lnTo>
                      <a:pt x="1232" y="16"/>
                    </a:lnTo>
                    <a:lnTo>
                      <a:pt x="1232" y="20"/>
                    </a:lnTo>
                    <a:lnTo>
                      <a:pt x="1234" y="24"/>
                    </a:lnTo>
                    <a:lnTo>
                      <a:pt x="1234" y="26"/>
                    </a:lnTo>
                    <a:lnTo>
                      <a:pt x="1234" y="28"/>
                    </a:lnTo>
                    <a:lnTo>
                      <a:pt x="1234" y="28"/>
                    </a:lnTo>
                    <a:lnTo>
                      <a:pt x="1232" y="30"/>
                    </a:lnTo>
                    <a:lnTo>
                      <a:pt x="1232" y="36"/>
                    </a:lnTo>
                    <a:lnTo>
                      <a:pt x="1232" y="34"/>
                    </a:lnTo>
                    <a:lnTo>
                      <a:pt x="1228" y="38"/>
                    </a:lnTo>
                    <a:lnTo>
                      <a:pt x="1230" y="38"/>
                    </a:lnTo>
                    <a:lnTo>
                      <a:pt x="1228" y="40"/>
                    </a:lnTo>
                    <a:lnTo>
                      <a:pt x="1228" y="40"/>
                    </a:lnTo>
                    <a:lnTo>
                      <a:pt x="1226" y="40"/>
                    </a:lnTo>
                    <a:lnTo>
                      <a:pt x="1224" y="42"/>
                    </a:lnTo>
                    <a:lnTo>
                      <a:pt x="1216" y="42"/>
                    </a:lnTo>
                    <a:lnTo>
                      <a:pt x="1214" y="42"/>
                    </a:lnTo>
                    <a:lnTo>
                      <a:pt x="1214" y="42"/>
                    </a:lnTo>
                    <a:lnTo>
                      <a:pt x="1212" y="42"/>
                    </a:lnTo>
                    <a:lnTo>
                      <a:pt x="1210" y="42"/>
                    </a:lnTo>
                    <a:lnTo>
                      <a:pt x="1210" y="42"/>
                    </a:lnTo>
                    <a:lnTo>
                      <a:pt x="1210" y="42"/>
                    </a:lnTo>
                    <a:lnTo>
                      <a:pt x="1208" y="44"/>
                    </a:lnTo>
                    <a:lnTo>
                      <a:pt x="1208" y="44"/>
                    </a:lnTo>
                    <a:lnTo>
                      <a:pt x="1206" y="44"/>
                    </a:lnTo>
                    <a:lnTo>
                      <a:pt x="1206" y="46"/>
                    </a:lnTo>
                    <a:lnTo>
                      <a:pt x="1206" y="46"/>
                    </a:lnTo>
                    <a:lnTo>
                      <a:pt x="1206" y="48"/>
                    </a:lnTo>
                    <a:lnTo>
                      <a:pt x="1206" y="50"/>
                    </a:lnTo>
                    <a:lnTo>
                      <a:pt x="1206" y="50"/>
                    </a:lnTo>
                    <a:lnTo>
                      <a:pt x="1206" y="52"/>
                    </a:lnTo>
                    <a:lnTo>
                      <a:pt x="1208" y="54"/>
                    </a:lnTo>
                    <a:lnTo>
                      <a:pt x="1208" y="58"/>
                    </a:lnTo>
                    <a:lnTo>
                      <a:pt x="1210" y="60"/>
                    </a:lnTo>
                    <a:lnTo>
                      <a:pt x="1210" y="60"/>
                    </a:lnTo>
                    <a:lnTo>
                      <a:pt x="1208" y="60"/>
                    </a:lnTo>
                    <a:lnTo>
                      <a:pt x="1204" y="58"/>
                    </a:lnTo>
                    <a:lnTo>
                      <a:pt x="1204" y="58"/>
                    </a:lnTo>
                    <a:lnTo>
                      <a:pt x="1204" y="58"/>
                    </a:lnTo>
                    <a:lnTo>
                      <a:pt x="1202" y="56"/>
                    </a:lnTo>
                    <a:lnTo>
                      <a:pt x="1202" y="56"/>
                    </a:lnTo>
                    <a:lnTo>
                      <a:pt x="1202" y="56"/>
                    </a:lnTo>
                    <a:lnTo>
                      <a:pt x="1200" y="56"/>
                    </a:lnTo>
                    <a:lnTo>
                      <a:pt x="1198" y="56"/>
                    </a:lnTo>
                    <a:lnTo>
                      <a:pt x="1196" y="56"/>
                    </a:lnTo>
                    <a:lnTo>
                      <a:pt x="1192" y="56"/>
                    </a:lnTo>
                    <a:lnTo>
                      <a:pt x="1188" y="58"/>
                    </a:lnTo>
                    <a:lnTo>
                      <a:pt x="1182" y="62"/>
                    </a:lnTo>
                    <a:lnTo>
                      <a:pt x="1176" y="64"/>
                    </a:lnTo>
                    <a:lnTo>
                      <a:pt x="1176" y="64"/>
                    </a:lnTo>
                    <a:lnTo>
                      <a:pt x="1174" y="64"/>
                    </a:lnTo>
                    <a:lnTo>
                      <a:pt x="1172" y="66"/>
                    </a:lnTo>
                    <a:lnTo>
                      <a:pt x="1170" y="70"/>
                    </a:lnTo>
                    <a:lnTo>
                      <a:pt x="1166" y="74"/>
                    </a:lnTo>
                    <a:lnTo>
                      <a:pt x="1164" y="76"/>
                    </a:lnTo>
                    <a:lnTo>
                      <a:pt x="1162" y="78"/>
                    </a:lnTo>
                    <a:lnTo>
                      <a:pt x="1160" y="78"/>
                    </a:lnTo>
                    <a:lnTo>
                      <a:pt x="1160" y="78"/>
                    </a:lnTo>
                    <a:lnTo>
                      <a:pt x="1158" y="78"/>
                    </a:lnTo>
                    <a:lnTo>
                      <a:pt x="1158" y="78"/>
                    </a:lnTo>
                    <a:lnTo>
                      <a:pt x="1158" y="78"/>
                    </a:lnTo>
                    <a:lnTo>
                      <a:pt x="1156" y="76"/>
                    </a:lnTo>
                    <a:lnTo>
                      <a:pt x="1152" y="72"/>
                    </a:lnTo>
                    <a:lnTo>
                      <a:pt x="1150" y="70"/>
                    </a:lnTo>
                    <a:lnTo>
                      <a:pt x="1148" y="66"/>
                    </a:lnTo>
                    <a:lnTo>
                      <a:pt x="1144" y="62"/>
                    </a:lnTo>
                    <a:lnTo>
                      <a:pt x="1142" y="58"/>
                    </a:lnTo>
                    <a:lnTo>
                      <a:pt x="1142" y="58"/>
                    </a:lnTo>
                    <a:lnTo>
                      <a:pt x="1142" y="58"/>
                    </a:lnTo>
                    <a:lnTo>
                      <a:pt x="1140" y="58"/>
                    </a:lnTo>
                    <a:lnTo>
                      <a:pt x="1140" y="58"/>
                    </a:lnTo>
                    <a:lnTo>
                      <a:pt x="1140" y="58"/>
                    </a:lnTo>
                    <a:lnTo>
                      <a:pt x="1140" y="56"/>
                    </a:lnTo>
                    <a:lnTo>
                      <a:pt x="1140" y="56"/>
                    </a:lnTo>
                    <a:lnTo>
                      <a:pt x="1138" y="56"/>
                    </a:lnTo>
                    <a:lnTo>
                      <a:pt x="1136" y="56"/>
                    </a:lnTo>
                    <a:lnTo>
                      <a:pt x="1136" y="56"/>
                    </a:lnTo>
                    <a:lnTo>
                      <a:pt x="1136" y="56"/>
                    </a:lnTo>
                    <a:lnTo>
                      <a:pt x="1134" y="56"/>
                    </a:lnTo>
                    <a:lnTo>
                      <a:pt x="1134" y="56"/>
                    </a:lnTo>
                    <a:lnTo>
                      <a:pt x="1132" y="56"/>
                    </a:lnTo>
                    <a:lnTo>
                      <a:pt x="1132" y="58"/>
                    </a:lnTo>
                    <a:lnTo>
                      <a:pt x="1132" y="58"/>
                    </a:lnTo>
                    <a:lnTo>
                      <a:pt x="1130" y="58"/>
                    </a:lnTo>
                    <a:lnTo>
                      <a:pt x="1130" y="60"/>
                    </a:lnTo>
                    <a:lnTo>
                      <a:pt x="1130" y="60"/>
                    </a:lnTo>
                    <a:lnTo>
                      <a:pt x="1130" y="60"/>
                    </a:lnTo>
                    <a:lnTo>
                      <a:pt x="1126" y="62"/>
                    </a:lnTo>
                    <a:lnTo>
                      <a:pt x="1124" y="66"/>
                    </a:lnTo>
                    <a:lnTo>
                      <a:pt x="1120" y="70"/>
                    </a:lnTo>
                    <a:lnTo>
                      <a:pt x="1118" y="74"/>
                    </a:lnTo>
                    <a:lnTo>
                      <a:pt x="1114" y="78"/>
                    </a:lnTo>
                    <a:lnTo>
                      <a:pt x="1112" y="82"/>
                    </a:lnTo>
                    <a:lnTo>
                      <a:pt x="1112" y="82"/>
                    </a:lnTo>
                    <a:lnTo>
                      <a:pt x="1112" y="82"/>
                    </a:lnTo>
                    <a:lnTo>
                      <a:pt x="1112" y="84"/>
                    </a:lnTo>
                    <a:lnTo>
                      <a:pt x="1112" y="84"/>
                    </a:lnTo>
                    <a:lnTo>
                      <a:pt x="1112" y="84"/>
                    </a:lnTo>
                    <a:lnTo>
                      <a:pt x="1112" y="86"/>
                    </a:lnTo>
                    <a:lnTo>
                      <a:pt x="1112" y="86"/>
                    </a:lnTo>
                    <a:lnTo>
                      <a:pt x="1112" y="90"/>
                    </a:lnTo>
                    <a:lnTo>
                      <a:pt x="1112" y="92"/>
                    </a:lnTo>
                    <a:lnTo>
                      <a:pt x="1112" y="92"/>
                    </a:lnTo>
                    <a:lnTo>
                      <a:pt x="1112" y="92"/>
                    </a:lnTo>
                    <a:lnTo>
                      <a:pt x="1110" y="92"/>
                    </a:lnTo>
                    <a:lnTo>
                      <a:pt x="1108" y="94"/>
                    </a:lnTo>
                    <a:lnTo>
                      <a:pt x="1106" y="94"/>
                    </a:lnTo>
                    <a:lnTo>
                      <a:pt x="1102" y="94"/>
                    </a:lnTo>
                    <a:lnTo>
                      <a:pt x="1096" y="94"/>
                    </a:lnTo>
                    <a:lnTo>
                      <a:pt x="1086" y="94"/>
                    </a:lnTo>
                    <a:lnTo>
                      <a:pt x="1084" y="94"/>
                    </a:lnTo>
                    <a:lnTo>
                      <a:pt x="1080" y="94"/>
                    </a:lnTo>
                    <a:lnTo>
                      <a:pt x="1076" y="94"/>
                    </a:lnTo>
                    <a:lnTo>
                      <a:pt x="1072" y="94"/>
                    </a:lnTo>
                    <a:lnTo>
                      <a:pt x="1070" y="94"/>
                    </a:lnTo>
                    <a:lnTo>
                      <a:pt x="1064" y="96"/>
                    </a:lnTo>
                    <a:lnTo>
                      <a:pt x="1056" y="98"/>
                    </a:lnTo>
                    <a:lnTo>
                      <a:pt x="1054" y="98"/>
                    </a:lnTo>
                    <a:lnTo>
                      <a:pt x="1050" y="100"/>
                    </a:lnTo>
                    <a:lnTo>
                      <a:pt x="1050" y="100"/>
                    </a:lnTo>
                    <a:lnTo>
                      <a:pt x="1050" y="100"/>
                    </a:lnTo>
                    <a:lnTo>
                      <a:pt x="1048" y="102"/>
                    </a:lnTo>
                    <a:lnTo>
                      <a:pt x="1048" y="102"/>
                    </a:lnTo>
                    <a:lnTo>
                      <a:pt x="1048" y="102"/>
                    </a:lnTo>
                    <a:lnTo>
                      <a:pt x="1046" y="106"/>
                    </a:lnTo>
                    <a:lnTo>
                      <a:pt x="1042" y="110"/>
                    </a:lnTo>
                    <a:lnTo>
                      <a:pt x="1040" y="116"/>
                    </a:lnTo>
                    <a:lnTo>
                      <a:pt x="1038" y="118"/>
                    </a:lnTo>
                    <a:lnTo>
                      <a:pt x="1038" y="118"/>
                    </a:lnTo>
                    <a:lnTo>
                      <a:pt x="1036" y="120"/>
                    </a:lnTo>
                    <a:lnTo>
                      <a:pt x="1036" y="120"/>
                    </a:lnTo>
                    <a:lnTo>
                      <a:pt x="1032" y="122"/>
                    </a:lnTo>
                    <a:lnTo>
                      <a:pt x="1028" y="122"/>
                    </a:lnTo>
                    <a:lnTo>
                      <a:pt x="1028" y="122"/>
                    </a:lnTo>
                    <a:lnTo>
                      <a:pt x="1028" y="124"/>
                    </a:lnTo>
                    <a:lnTo>
                      <a:pt x="1026" y="124"/>
                    </a:lnTo>
                    <a:lnTo>
                      <a:pt x="1026" y="124"/>
                    </a:lnTo>
                    <a:lnTo>
                      <a:pt x="1026" y="124"/>
                    </a:lnTo>
                    <a:lnTo>
                      <a:pt x="1024" y="126"/>
                    </a:lnTo>
                    <a:lnTo>
                      <a:pt x="1024" y="126"/>
                    </a:lnTo>
                    <a:lnTo>
                      <a:pt x="1024" y="126"/>
                    </a:lnTo>
                    <a:lnTo>
                      <a:pt x="1024" y="128"/>
                    </a:lnTo>
                    <a:lnTo>
                      <a:pt x="1024" y="128"/>
                    </a:lnTo>
                    <a:lnTo>
                      <a:pt x="1024" y="130"/>
                    </a:lnTo>
                    <a:lnTo>
                      <a:pt x="1022" y="132"/>
                    </a:lnTo>
                    <a:lnTo>
                      <a:pt x="1024" y="136"/>
                    </a:lnTo>
                    <a:lnTo>
                      <a:pt x="1024" y="138"/>
                    </a:lnTo>
                    <a:lnTo>
                      <a:pt x="1024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18" y="140"/>
                    </a:lnTo>
                    <a:lnTo>
                      <a:pt x="1016" y="140"/>
                    </a:lnTo>
                    <a:lnTo>
                      <a:pt x="1012" y="140"/>
                    </a:lnTo>
                    <a:lnTo>
                      <a:pt x="1010" y="140"/>
                    </a:lnTo>
                    <a:lnTo>
                      <a:pt x="1010" y="140"/>
                    </a:lnTo>
                    <a:lnTo>
                      <a:pt x="1008" y="140"/>
                    </a:lnTo>
                    <a:lnTo>
                      <a:pt x="1008" y="140"/>
                    </a:lnTo>
                    <a:lnTo>
                      <a:pt x="1006" y="140"/>
                    </a:lnTo>
                    <a:lnTo>
                      <a:pt x="1006" y="140"/>
                    </a:lnTo>
                    <a:lnTo>
                      <a:pt x="1006" y="140"/>
                    </a:lnTo>
                    <a:lnTo>
                      <a:pt x="1004" y="142"/>
                    </a:lnTo>
                    <a:lnTo>
                      <a:pt x="1004" y="142"/>
                    </a:lnTo>
                    <a:lnTo>
                      <a:pt x="1004" y="142"/>
                    </a:lnTo>
                    <a:lnTo>
                      <a:pt x="1004" y="144"/>
                    </a:lnTo>
                    <a:lnTo>
                      <a:pt x="1004" y="146"/>
                    </a:lnTo>
                    <a:lnTo>
                      <a:pt x="1004" y="146"/>
                    </a:lnTo>
                    <a:lnTo>
                      <a:pt x="1004" y="146"/>
                    </a:lnTo>
                    <a:lnTo>
                      <a:pt x="1004" y="148"/>
                    </a:lnTo>
                    <a:lnTo>
                      <a:pt x="1006" y="150"/>
                    </a:lnTo>
                    <a:lnTo>
                      <a:pt x="1008" y="154"/>
                    </a:lnTo>
                    <a:lnTo>
                      <a:pt x="1010" y="156"/>
                    </a:lnTo>
                    <a:lnTo>
                      <a:pt x="1010" y="158"/>
                    </a:lnTo>
                    <a:lnTo>
                      <a:pt x="1012" y="162"/>
                    </a:lnTo>
                    <a:lnTo>
                      <a:pt x="1014" y="166"/>
                    </a:lnTo>
                    <a:lnTo>
                      <a:pt x="1016" y="172"/>
                    </a:lnTo>
                    <a:lnTo>
                      <a:pt x="1018" y="176"/>
                    </a:lnTo>
                    <a:lnTo>
                      <a:pt x="1020" y="180"/>
                    </a:lnTo>
                    <a:lnTo>
                      <a:pt x="1022" y="184"/>
                    </a:lnTo>
                    <a:lnTo>
                      <a:pt x="1022" y="184"/>
                    </a:lnTo>
                    <a:lnTo>
                      <a:pt x="1022" y="186"/>
                    </a:lnTo>
                    <a:lnTo>
                      <a:pt x="1022" y="188"/>
                    </a:lnTo>
                    <a:lnTo>
                      <a:pt x="1022" y="188"/>
                    </a:lnTo>
                    <a:lnTo>
                      <a:pt x="1020" y="190"/>
                    </a:lnTo>
                    <a:lnTo>
                      <a:pt x="1020" y="188"/>
                    </a:lnTo>
                    <a:lnTo>
                      <a:pt x="1018" y="190"/>
                    </a:lnTo>
                    <a:lnTo>
                      <a:pt x="1016" y="192"/>
                    </a:lnTo>
                    <a:lnTo>
                      <a:pt x="1014" y="192"/>
                    </a:lnTo>
                    <a:lnTo>
                      <a:pt x="1008" y="194"/>
                    </a:lnTo>
                    <a:lnTo>
                      <a:pt x="1004" y="196"/>
                    </a:lnTo>
                    <a:lnTo>
                      <a:pt x="1002" y="196"/>
                    </a:lnTo>
                    <a:lnTo>
                      <a:pt x="996" y="198"/>
                    </a:lnTo>
                    <a:lnTo>
                      <a:pt x="990" y="198"/>
                    </a:lnTo>
                    <a:lnTo>
                      <a:pt x="984" y="200"/>
                    </a:lnTo>
                    <a:lnTo>
                      <a:pt x="978" y="202"/>
                    </a:lnTo>
                    <a:lnTo>
                      <a:pt x="972" y="204"/>
                    </a:lnTo>
                    <a:lnTo>
                      <a:pt x="968" y="206"/>
                    </a:lnTo>
                    <a:lnTo>
                      <a:pt x="964" y="208"/>
                    </a:lnTo>
                    <a:lnTo>
                      <a:pt x="962" y="208"/>
                    </a:lnTo>
                    <a:lnTo>
                      <a:pt x="960" y="208"/>
                    </a:lnTo>
                    <a:lnTo>
                      <a:pt x="956" y="208"/>
                    </a:lnTo>
                    <a:lnTo>
                      <a:pt x="952" y="208"/>
                    </a:lnTo>
                    <a:lnTo>
                      <a:pt x="944" y="208"/>
                    </a:lnTo>
                    <a:lnTo>
                      <a:pt x="940" y="208"/>
                    </a:lnTo>
                    <a:lnTo>
                      <a:pt x="936" y="208"/>
                    </a:lnTo>
                    <a:lnTo>
                      <a:pt x="932" y="208"/>
                    </a:lnTo>
                    <a:lnTo>
                      <a:pt x="928" y="208"/>
                    </a:lnTo>
                    <a:lnTo>
                      <a:pt x="928" y="208"/>
                    </a:lnTo>
                    <a:lnTo>
                      <a:pt x="928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4" y="210"/>
                    </a:lnTo>
                    <a:lnTo>
                      <a:pt x="924" y="212"/>
                    </a:lnTo>
                    <a:lnTo>
                      <a:pt x="924" y="212"/>
                    </a:lnTo>
                    <a:lnTo>
                      <a:pt x="922" y="212"/>
                    </a:lnTo>
                    <a:lnTo>
                      <a:pt x="920" y="216"/>
                    </a:lnTo>
                    <a:lnTo>
                      <a:pt x="920" y="216"/>
                    </a:lnTo>
                    <a:lnTo>
                      <a:pt x="920" y="216"/>
                    </a:lnTo>
                    <a:lnTo>
                      <a:pt x="918" y="220"/>
                    </a:lnTo>
                    <a:lnTo>
                      <a:pt x="918" y="220"/>
                    </a:lnTo>
                    <a:lnTo>
                      <a:pt x="918" y="220"/>
                    </a:lnTo>
                    <a:lnTo>
                      <a:pt x="918" y="224"/>
                    </a:lnTo>
                    <a:lnTo>
                      <a:pt x="918" y="224"/>
                    </a:lnTo>
                    <a:lnTo>
                      <a:pt x="918" y="226"/>
                    </a:lnTo>
                    <a:lnTo>
                      <a:pt x="918" y="226"/>
                    </a:lnTo>
                    <a:lnTo>
                      <a:pt x="918" y="226"/>
                    </a:lnTo>
                    <a:lnTo>
                      <a:pt x="920" y="228"/>
                    </a:lnTo>
                    <a:lnTo>
                      <a:pt x="920" y="228"/>
                    </a:lnTo>
                    <a:lnTo>
                      <a:pt x="920" y="228"/>
                    </a:lnTo>
                    <a:lnTo>
                      <a:pt x="922" y="232"/>
                    </a:lnTo>
                    <a:lnTo>
                      <a:pt x="924" y="234"/>
                    </a:lnTo>
                    <a:lnTo>
                      <a:pt x="924" y="234"/>
                    </a:lnTo>
                    <a:lnTo>
                      <a:pt x="926" y="234"/>
                    </a:lnTo>
                    <a:lnTo>
                      <a:pt x="926" y="236"/>
                    </a:lnTo>
                    <a:lnTo>
                      <a:pt x="926" y="236"/>
                    </a:lnTo>
                    <a:lnTo>
                      <a:pt x="926" y="238"/>
                    </a:lnTo>
                    <a:lnTo>
                      <a:pt x="926" y="236"/>
                    </a:lnTo>
                    <a:lnTo>
                      <a:pt x="926" y="240"/>
                    </a:lnTo>
                    <a:lnTo>
                      <a:pt x="924" y="244"/>
                    </a:lnTo>
                    <a:lnTo>
                      <a:pt x="924" y="248"/>
                    </a:lnTo>
                    <a:lnTo>
                      <a:pt x="924" y="252"/>
                    </a:lnTo>
                    <a:lnTo>
                      <a:pt x="924" y="256"/>
                    </a:lnTo>
                    <a:lnTo>
                      <a:pt x="924" y="260"/>
                    </a:lnTo>
                    <a:lnTo>
                      <a:pt x="924" y="262"/>
                    </a:lnTo>
                    <a:lnTo>
                      <a:pt x="924" y="262"/>
                    </a:lnTo>
                    <a:lnTo>
                      <a:pt x="924" y="262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8" y="268"/>
                    </a:lnTo>
                    <a:lnTo>
                      <a:pt x="928" y="268"/>
                    </a:lnTo>
                    <a:lnTo>
                      <a:pt x="930" y="268"/>
                    </a:lnTo>
                    <a:lnTo>
                      <a:pt x="932" y="270"/>
                    </a:lnTo>
                    <a:lnTo>
                      <a:pt x="934" y="272"/>
                    </a:lnTo>
                    <a:lnTo>
                      <a:pt x="938" y="272"/>
                    </a:lnTo>
                    <a:lnTo>
                      <a:pt x="940" y="274"/>
                    </a:lnTo>
                    <a:lnTo>
                      <a:pt x="944" y="274"/>
                    </a:lnTo>
                    <a:lnTo>
                      <a:pt x="946" y="274"/>
                    </a:lnTo>
                    <a:lnTo>
                      <a:pt x="946" y="276"/>
                    </a:lnTo>
                    <a:lnTo>
                      <a:pt x="946" y="276"/>
                    </a:lnTo>
                    <a:lnTo>
                      <a:pt x="948" y="278"/>
                    </a:lnTo>
                    <a:lnTo>
                      <a:pt x="948" y="278"/>
                    </a:lnTo>
                    <a:lnTo>
                      <a:pt x="948" y="282"/>
                    </a:lnTo>
                    <a:lnTo>
                      <a:pt x="948" y="282"/>
                    </a:lnTo>
                    <a:lnTo>
                      <a:pt x="948" y="282"/>
                    </a:lnTo>
                    <a:lnTo>
                      <a:pt x="948" y="284"/>
                    </a:lnTo>
                    <a:lnTo>
                      <a:pt x="948" y="284"/>
                    </a:lnTo>
                    <a:lnTo>
                      <a:pt x="948" y="284"/>
                    </a:lnTo>
                    <a:lnTo>
                      <a:pt x="948" y="288"/>
                    </a:lnTo>
                    <a:lnTo>
                      <a:pt x="948" y="288"/>
                    </a:lnTo>
                    <a:lnTo>
                      <a:pt x="950" y="288"/>
                    </a:lnTo>
                    <a:lnTo>
                      <a:pt x="952" y="290"/>
                    </a:lnTo>
                    <a:lnTo>
                      <a:pt x="954" y="292"/>
                    </a:lnTo>
                    <a:lnTo>
                      <a:pt x="954" y="292"/>
                    </a:lnTo>
                    <a:lnTo>
                      <a:pt x="954" y="292"/>
                    </a:lnTo>
                    <a:lnTo>
                      <a:pt x="956" y="294"/>
                    </a:lnTo>
                    <a:lnTo>
                      <a:pt x="956" y="294"/>
                    </a:lnTo>
                    <a:lnTo>
                      <a:pt x="956" y="296"/>
                    </a:lnTo>
                    <a:lnTo>
                      <a:pt x="958" y="296"/>
                    </a:lnTo>
                    <a:lnTo>
                      <a:pt x="958" y="296"/>
                    </a:lnTo>
                    <a:lnTo>
                      <a:pt x="956" y="298"/>
                    </a:lnTo>
                    <a:lnTo>
                      <a:pt x="954" y="298"/>
                    </a:lnTo>
                    <a:lnTo>
                      <a:pt x="948" y="300"/>
                    </a:lnTo>
                    <a:lnTo>
                      <a:pt x="946" y="302"/>
                    </a:lnTo>
                    <a:lnTo>
                      <a:pt x="944" y="302"/>
                    </a:lnTo>
                    <a:lnTo>
                      <a:pt x="944" y="302"/>
                    </a:lnTo>
                    <a:lnTo>
                      <a:pt x="944" y="302"/>
                    </a:lnTo>
                    <a:lnTo>
                      <a:pt x="942" y="300"/>
                    </a:lnTo>
                    <a:lnTo>
                      <a:pt x="940" y="298"/>
                    </a:lnTo>
                    <a:lnTo>
                      <a:pt x="938" y="296"/>
                    </a:lnTo>
                    <a:lnTo>
                      <a:pt x="936" y="296"/>
                    </a:lnTo>
                    <a:lnTo>
                      <a:pt x="934" y="294"/>
                    </a:lnTo>
                    <a:lnTo>
                      <a:pt x="932" y="292"/>
                    </a:lnTo>
                    <a:lnTo>
                      <a:pt x="928" y="288"/>
                    </a:lnTo>
                    <a:lnTo>
                      <a:pt x="926" y="284"/>
                    </a:lnTo>
                    <a:lnTo>
                      <a:pt x="922" y="282"/>
                    </a:lnTo>
                    <a:lnTo>
                      <a:pt x="918" y="278"/>
                    </a:lnTo>
                    <a:lnTo>
                      <a:pt x="914" y="274"/>
                    </a:lnTo>
                    <a:lnTo>
                      <a:pt x="910" y="272"/>
                    </a:lnTo>
                    <a:lnTo>
                      <a:pt x="908" y="270"/>
                    </a:lnTo>
                    <a:lnTo>
                      <a:pt x="904" y="268"/>
                    </a:lnTo>
                    <a:lnTo>
                      <a:pt x="902" y="266"/>
                    </a:lnTo>
                    <a:lnTo>
                      <a:pt x="900" y="266"/>
                    </a:lnTo>
                    <a:lnTo>
                      <a:pt x="900" y="266"/>
                    </a:lnTo>
                    <a:lnTo>
                      <a:pt x="900" y="266"/>
                    </a:lnTo>
                    <a:lnTo>
                      <a:pt x="898" y="264"/>
                    </a:lnTo>
                    <a:lnTo>
                      <a:pt x="896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0" y="262"/>
                    </a:lnTo>
                    <a:lnTo>
                      <a:pt x="888" y="260"/>
                    </a:lnTo>
                    <a:lnTo>
                      <a:pt x="886" y="258"/>
                    </a:lnTo>
                    <a:lnTo>
                      <a:pt x="886" y="258"/>
                    </a:lnTo>
                    <a:lnTo>
                      <a:pt x="886" y="258"/>
                    </a:lnTo>
                    <a:lnTo>
                      <a:pt x="884" y="258"/>
                    </a:lnTo>
                    <a:lnTo>
                      <a:pt x="884" y="256"/>
                    </a:lnTo>
                    <a:lnTo>
                      <a:pt x="884" y="256"/>
                    </a:lnTo>
                    <a:lnTo>
                      <a:pt x="882" y="256"/>
                    </a:lnTo>
                    <a:lnTo>
                      <a:pt x="882" y="256"/>
                    </a:lnTo>
                    <a:lnTo>
                      <a:pt x="882" y="256"/>
                    </a:lnTo>
                    <a:lnTo>
                      <a:pt x="880" y="256"/>
                    </a:lnTo>
                    <a:lnTo>
                      <a:pt x="878" y="256"/>
                    </a:lnTo>
                    <a:lnTo>
                      <a:pt x="878" y="256"/>
                    </a:lnTo>
                    <a:lnTo>
                      <a:pt x="878" y="256"/>
                    </a:lnTo>
                    <a:lnTo>
                      <a:pt x="876" y="258"/>
                    </a:lnTo>
                    <a:lnTo>
                      <a:pt x="874" y="258"/>
                    </a:lnTo>
                    <a:lnTo>
                      <a:pt x="872" y="260"/>
                    </a:lnTo>
                    <a:lnTo>
                      <a:pt x="870" y="262"/>
                    </a:lnTo>
                    <a:lnTo>
                      <a:pt x="868" y="264"/>
                    </a:lnTo>
                    <a:lnTo>
                      <a:pt x="866" y="266"/>
                    </a:lnTo>
                    <a:lnTo>
                      <a:pt x="866" y="266"/>
                    </a:lnTo>
                    <a:lnTo>
                      <a:pt x="866" y="266"/>
                    </a:lnTo>
                    <a:lnTo>
                      <a:pt x="866" y="268"/>
                    </a:lnTo>
                    <a:lnTo>
                      <a:pt x="866" y="268"/>
                    </a:lnTo>
                    <a:lnTo>
                      <a:pt x="866" y="268"/>
                    </a:lnTo>
                    <a:lnTo>
                      <a:pt x="866" y="270"/>
                    </a:lnTo>
                    <a:lnTo>
                      <a:pt x="866" y="270"/>
                    </a:lnTo>
                    <a:lnTo>
                      <a:pt x="866" y="272"/>
                    </a:lnTo>
                    <a:lnTo>
                      <a:pt x="866" y="272"/>
                    </a:lnTo>
                    <a:lnTo>
                      <a:pt x="866" y="272"/>
                    </a:lnTo>
                    <a:lnTo>
                      <a:pt x="868" y="272"/>
                    </a:lnTo>
                    <a:lnTo>
                      <a:pt x="868" y="274"/>
                    </a:lnTo>
                    <a:lnTo>
                      <a:pt x="868" y="274"/>
                    </a:lnTo>
                    <a:lnTo>
                      <a:pt x="870" y="274"/>
                    </a:lnTo>
                    <a:lnTo>
                      <a:pt x="870" y="274"/>
                    </a:lnTo>
                    <a:lnTo>
                      <a:pt x="874" y="276"/>
                    </a:lnTo>
                    <a:lnTo>
                      <a:pt x="876" y="276"/>
                    </a:lnTo>
                    <a:lnTo>
                      <a:pt x="876" y="278"/>
                    </a:lnTo>
                    <a:lnTo>
                      <a:pt x="878" y="278"/>
                    </a:lnTo>
                    <a:lnTo>
                      <a:pt x="880" y="280"/>
                    </a:lnTo>
                    <a:lnTo>
                      <a:pt x="882" y="284"/>
                    </a:lnTo>
                    <a:lnTo>
                      <a:pt x="882" y="284"/>
                    </a:lnTo>
                    <a:lnTo>
                      <a:pt x="882" y="286"/>
                    </a:lnTo>
                    <a:lnTo>
                      <a:pt x="882" y="286"/>
                    </a:lnTo>
                    <a:lnTo>
                      <a:pt x="882" y="286"/>
                    </a:lnTo>
                    <a:lnTo>
                      <a:pt x="882" y="290"/>
                    </a:lnTo>
                    <a:lnTo>
                      <a:pt x="882" y="290"/>
                    </a:lnTo>
                    <a:lnTo>
                      <a:pt x="882" y="292"/>
                    </a:lnTo>
                    <a:lnTo>
                      <a:pt x="882" y="292"/>
                    </a:lnTo>
                    <a:lnTo>
                      <a:pt x="880" y="292"/>
                    </a:lnTo>
                    <a:lnTo>
                      <a:pt x="878" y="290"/>
                    </a:lnTo>
                    <a:lnTo>
                      <a:pt x="878" y="288"/>
                    </a:lnTo>
                    <a:lnTo>
                      <a:pt x="874" y="286"/>
                    </a:lnTo>
                    <a:lnTo>
                      <a:pt x="872" y="284"/>
                    </a:lnTo>
                    <a:lnTo>
                      <a:pt x="870" y="282"/>
                    </a:lnTo>
                    <a:lnTo>
                      <a:pt x="870" y="282"/>
                    </a:lnTo>
                    <a:lnTo>
                      <a:pt x="870" y="282"/>
                    </a:lnTo>
                    <a:lnTo>
                      <a:pt x="868" y="280"/>
                    </a:lnTo>
                    <a:lnTo>
                      <a:pt x="868" y="280"/>
                    </a:lnTo>
                    <a:lnTo>
                      <a:pt x="868" y="280"/>
                    </a:lnTo>
                    <a:lnTo>
                      <a:pt x="866" y="280"/>
                    </a:lnTo>
                    <a:lnTo>
                      <a:pt x="866" y="280"/>
                    </a:lnTo>
                    <a:lnTo>
                      <a:pt x="866" y="280"/>
                    </a:lnTo>
                    <a:lnTo>
                      <a:pt x="864" y="282"/>
                    </a:lnTo>
                    <a:lnTo>
                      <a:pt x="864" y="282"/>
                    </a:lnTo>
                    <a:lnTo>
                      <a:pt x="864" y="282"/>
                    </a:lnTo>
                    <a:lnTo>
                      <a:pt x="862" y="282"/>
                    </a:lnTo>
                    <a:lnTo>
                      <a:pt x="862" y="282"/>
                    </a:lnTo>
                    <a:lnTo>
                      <a:pt x="862" y="282"/>
                    </a:lnTo>
                    <a:lnTo>
                      <a:pt x="860" y="284"/>
                    </a:lnTo>
                    <a:lnTo>
                      <a:pt x="860" y="284"/>
                    </a:lnTo>
                    <a:lnTo>
                      <a:pt x="858" y="286"/>
                    </a:lnTo>
                    <a:lnTo>
                      <a:pt x="858" y="286"/>
                    </a:lnTo>
                    <a:lnTo>
                      <a:pt x="858" y="288"/>
                    </a:lnTo>
                    <a:lnTo>
                      <a:pt x="856" y="290"/>
                    </a:lnTo>
                    <a:lnTo>
                      <a:pt x="856" y="290"/>
                    </a:lnTo>
                    <a:lnTo>
                      <a:pt x="856" y="288"/>
                    </a:lnTo>
                    <a:lnTo>
                      <a:pt x="856" y="286"/>
                    </a:lnTo>
                    <a:lnTo>
                      <a:pt x="856" y="282"/>
                    </a:lnTo>
                    <a:lnTo>
                      <a:pt x="856" y="278"/>
                    </a:lnTo>
                    <a:lnTo>
                      <a:pt x="856" y="274"/>
                    </a:lnTo>
                    <a:lnTo>
                      <a:pt x="856" y="268"/>
                    </a:lnTo>
                    <a:lnTo>
                      <a:pt x="854" y="264"/>
                    </a:lnTo>
                    <a:lnTo>
                      <a:pt x="854" y="260"/>
                    </a:lnTo>
                    <a:lnTo>
                      <a:pt x="854" y="256"/>
                    </a:lnTo>
                    <a:lnTo>
                      <a:pt x="852" y="252"/>
                    </a:lnTo>
                    <a:lnTo>
                      <a:pt x="850" y="250"/>
                    </a:lnTo>
                    <a:lnTo>
                      <a:pt x="848" y="244"/>
                    </a:lnTo>
                    <a:lnTo>
                      <a:pt x="846" y="240"/>
                    </a:lnTo>
                    <a:lnTo>
                      <a:pt x="844" y="238"/>
                    </a:lnTo>
                    <a:lnTo>
                      <a:pt x="842" y="236"/>
                    </a:lnTo>
                    <a:lnTo>
                      <a:pt x="840" y="236"/>
                    </a:lnTo>
                    <a:lnTo>
                      <a:pt x="840" y="236"/>
                    </a:lnTo>
                    <a:lnTo>
                      <a:pt x="840" y="234"/>
                    </a:lnTo>
                    <a:lnTo>
                      <a:pt x="838" y="234"/>
                    </a:lnTo>
                    <a:lnTo>
                      <a:pt x="838" y="234"/>
                    </a:lnTo>
                    <a:lnTo>
                      <a:pt x="836" y="234"/>
                    </a:lnTo>
                    <a:lnTo>
                      <a:pt x="836" y="234"/>
                    </a:lnTo>
                    <a:lnTo>
                      <a:pt x="836" y="234"/>
                    </a:lnTo>
                    <a:lnTo>
                      <a:pt x="834" y="236"/>
                    </a:lnTo>
                    <a:lnTo>
                      <a:pt x="834" y="236"/>
                    </a:lnTo>
                    <a:lnTo>
                      <a:pt x="834" y="236"/>
                    </a:lnTo>
                    <a:lnTo>
                      <a:pt x="832" y="236"/>
                    </a:lnTo>
                    <a:lnTo>
                      <a:pt x="832" y="238"/>
                    </a:lnTo>
                    <a:lnTo>
                      <a:pt x="832" y="238"/>
                    </a:lnTo>
                    <a:lnTo>
                      <a:pt x="832" y="238"/>
                    </a:lnTo>
                    <a:lnTo>
                      <a:pt x="830" y="242"/>
                    </a:lnTo>
                    <a:lnTo>
                      <a:pt x="830" y="242"/>
                    </a:lnTo>
                    <a:lnTo>
                      <a:pt x="830" y="242"/>
                    </a:lnTo>
                    <a:lnTo>
                      <a:pt x="830" y="244"/>
                    </a:lnTo>
                    <a:lnTo>
                      <a:pt x="830" y="244"/>
                    </a:lnTo>
                    <a:lnTo>
                      <a:pt x="830" y="246"/>
                    </a:lnTo>
                    <a:lnTo>
                      <a:pt x="830" y="246"/>
                    </a:lnTo>
                    <a:lnTo>
                      <a:pt x="830" y="246"/>
                    </a:lnTo>
                    <a:lnTo>
                      <a:pt x="830" y="248"/>
                    </a:lnTo>
                    <a:lnTo>
                      <a:pt x="830" y="250"/>
                    </a:lnTo>
                    <a:lnTo>
                      <a:pt x="830" y="250"/>
                    </a:lnTo>
                    <a:lnTo>
                      <a:pt x="832" y="250"/>
                    </a:lnTo>
                    <a:lnTo>
                      <a:pt x="834" y="252"/>
                    </a:lnTo>
                    <a:lnTo>
                      <a:pt x="836" y="254"/>
                    </a:lnTo>
                    <a:lnTo>
                      <a:pt x="838" y="256"/>
                    </a:lnTo>
                    <a:lnTo>
                      <a:pt x="840" y="256"/>
                    </a:lnTo>
                    <a:lnTo>
                      <a:pt x="842" y="258"/>
                    </a:lnTo>
                    <a:lnTo>
                      <a:pt x="842" y="258"/>
                    </a:lnTo>
                    <a:lnTo>
                      <a:pt x="844" y="260"/>
                    </a:lnTo>
                    <a:lnTo>
                      <a:pt x="844" y="262"/>
                    </a:lnTo>
                    <a:lnTo>
                      <a:pt x="844" y="264"/>
                    </a:lnTo>
                    <a:lnTo>
                      <a:pt x="844" y="266"/>
                    </a:lnTo>
                    <a:lnTo>
                      <a:pt x="842" y="270"/>
                    </a:lnTo>
                    <a:lnTo>
                      <a:pt x="840" y="274"/>
                    </a:lnTo>
                    <a:lnTo>
                      <a:pt x="836" y="280"/>
                    </a:lnTo>
                    <a:lnTo>
                      <a:pt x="834" y="282"/>
                    </a:lnTo>
                    <a:lnTo>
                      <a:pt x="834" y="284"/>
                    </a:lnTo>
                    <a:lnTo>
                      <a:pt x="832" y="286"/>
                    </a:lnTo>
                    <a:lnTo>
                      <a:pt x="832" y="286"/>
                    </a:lnTo>
                    <a:lnTo>
                      <a:pt x="830" y="286"/>
                    </a:lnTo>
                    <a:lnTo>
                      <a:pt x="828" y="286"/>
                    </a:lnTo>
                    <a:lnTo>
                      <a:pt x="828" y="286"/>
                    </a:lnTo>
                    <a:lnTo>
                      <a:pt x="828" y="286"/>
                    </a:lnTo>
                    <a:lnTo>
                      <a:pt x="826" y="286"/>
                    </a:lnTo>
                    <a:lnTo>
                      <a:pt x="826" y="286"/>
                    </a:lnTo>
                    <a:lnTo>
                      <a:pt x="824" y="288"/>
                    </a:lnTo>
                    <a:lnTo>
                      <a:pt x="824" y="288"/>
                    </a:lnTo>
                    <a:lnTo>
                      <a:pt x="824" y="288"/>
                    </a:lnTo>
                    <a:lnTo>
                      <a:pt x="822" y="290"/>
                    </a:lnTo>
                    <a:lnTo>
                      <a:pt x="822" y="290"/>
                    </a:lnTo>
                    <a:lnTo>
                      <a:pt x="820" y="292"/>
                    </a:lnTo>
                    <a:lnTo>
                      <a:pt x="820" y="292"/>
                    </a:lnTo>
                    <a:lnTo>
                      <a:pt x="820" y="292"/>
                    </a:lnTo>
                    <a:lnTo>
                      <a:pt x="820" y="294"/>
                    </a:lnTo>
                    <a:lnTo>
                      <a:pt x="820" y="298"/>
                    </a:lnTo>
                    <a:lnTo>
                      <a:pt x="820" y="300"/>
                    </a:lnTo>
                    <a:lnTo>
                      <a:pt x="820" y="304"/>
                    </a:lnTo>
                    <a:lnTo>
                      <a:pt x="818" y="308"/>
                    </a:lnTo>
                    <a:lnTo>
                      <a:pt x="818" y="318"/>
                    </a:lnTo>
                    <a:lnTo>
                      <a:pt x="820" y="324"/>
                    </a:lnTo>
                    <a:lnTo>
                      <a:pt x="820" y="334"/>
                    </a:lnTo>
                    <a:lnTo>
                      <a:pt x="820" y="346"/>
                    </a:lnTo>
                    <a:lnTo>
                      <a:pt x="820" y="356"/>
                    </a:lnTo>
                    <a:lnTo>
                      <a:pt x="820" y="360"/>
                    </a:lnTo>
                    <a:lnTo>
                      <a:pt x="820" y="364"/>
                    </a:lnTo>
                    <a:lnTo>
                      <a:pt x="820" y="370"/>
                    </a:lnTo>
                    <a:lnTo>
                      <a:pt x="820" y="372"/>
                    </a:lnTo>
                    <a:lnTo>
                      <a:pt x="820" y="378"/>
                    </a:lnTo>
                    <a:lnTo>
                      <a:pt x="820" y="382"/>
                    </a:lnTo>
                    <a:lnTo>
                      <a:pt x="820" y="386"/>
                    </a:lnTo>
                    <a:lnTo>
                      <a:pt x="820" y="390"/>
                    </a:lnTo>
                    <a:lnTo>
                      <a:pt x="818" y="392"/>
                    </a:lnTo>
                    <a:lnTo>
                      <a:pt x="818" y="394"/>
                    </a:lnTo>
                    <a:lnTo>
                      <a:pt x="818" y="396"/>
                    </a:lnTo>
                    <a:lnTo>
                      <a:pt x="818" y="400"/>
                    </a:lnTo>
                    <a:lnTo>
                      <a:pt x="818" y="404"/>
                    </a:lnTo>
                    <a:lnTo>
                      <a:pt x="816" y="410"/>
                    </a:lnTo>
                    <a:lnTo>
                      <a:pt x="818" y="412"/>
                    </a:lnTo>
                    <a:lnTo>
                      <a:pt x="818" y="412"/>
                    </a:lnTo>
                    <a:lnTo>
                      <a:pt x="818" y="414"/>
                    </a:lnTo>
                    <a:lnTo>
                      <a:pt x="818" y="416"/>
                    </a:lnTo>
                    <a:lnTo>
                      <a:pt x="818" y="416"/>
                    </a:lnTo>
                    <a:lnTo>
                      <a:pt x="818" y="416"/>
                    </a:lnTo>
                    <a:lnTo>
                      <a:pt x="820" y="418"/>
                    </a:lnTo>
                    <a:lnTo>
                      <a:pt x="820" y="418"/>
                    </a:lnTo>
                    <a:lnTo>
                      <a:pt x="820" y="418"/>
                    </a:lnTo>
                    <a:lnTo>
                      <a:pt x="822" y="420"/>
                    </a:lnTo>
                    <a:lnTo>
                      <a:pt x="822" y="420"/>
                    </a:lnTo>
                    <a:lnTo>
                      <a:pt x="824" y="420"/>
                    </a:lnTo>
                    <a:lnTo>
                      <a:pt x="826" y="420"/>
                    </a:lnTo>
                    <a:lnTo>
                      <a:pt x="826" y="420"/>
                    </a:lnTo>
                    <a:lnTo>
                      <a:pt x="826" y="420"/>
                    </a:lnTo>
                    <a:lnTo>
                      <a:pt x="830" y="420"/>
                    </a:lnTo>
                    <a:lnTo>
                      <a:pt x="836" y="420"/>
                    </a:lnTo>
                    <a:lnTo>
                      <a:pt x="834" y="422"/>
                    </a:lnTo>
                    <a:lnTo>
                      <a:pt x="832" y="426"/>
                    </a:lnTo>
                    <a:lnTo>
                      <a:pt x="830" y="430"/>
                    </a:lnTo>
                    <a:lnTo>
                      <a:pt x="828" y="434"/>
                    </a:lnTo>
                    <a:lnTo>
                      <a:pt x="828" y="438"/>
                    </a:lnTo>
                    <a:lnTo>
                      <a:pt x="826" y="442"/>
                    </a:lnTo>
                    <a:lnTo>
                      <a:pt x="826" y="444"/>
                    </a:lnTo>
                    <a:lnTo>
                      <a:pt x="826" y="444"/>
                    </a:lnTo>
                    <a:lnTo>
                      <a:pt x="826" y="446"/>
                    </a:lnTo>
                    <a:lnTo>
                      <a:pt x="826" y="446"/>
                    </a:lnTo>
                    <a:lnTo>
                      <a:pt x="826" y="448"/>
                    </a:lnTo>
                    <a:lnTo>
                      <a:pt x="828" y="450"/>
                    </a:lnTo>
                    <a:lnTo>
                      <a:pt x="828" y="450"/>
                    </a:lnTo>
                    <a:lnTo>
                      <a:pt x="828" y="450"/>
                    </a:lnTo>
                    <a:lnTo>
                      <a:pt x="828" y="452"/>
                    </a:lnTo>
                    <a:lnTo>
                      <a:pt x="828" y="454"/>
                    </a:lnTo>
                    <a:lnTo>
                      <a:pt x="828" y="454"/>
                    </a:lnTo>
                    <a:lnTo>
                      <a:pt x="828" y="456"/>
                    </a:lnTo>
                    <a:lnTo>
                      <a:pt x="828" y="460"/>
                    </a:lnTo>
                    <a:lnTo>
                      <a:pt x="828" y="462"/>
                    </a:lnTo>
                    <a:lnTo>
                      <a:pt x="828" y="466"/>
                    </a:lnTo>
                    <a:lnTo>
                      <a:pt x="828" y="470"/>
                    </a:lnTo>
                    <a:lnTo>
                      <a:pt x="826" y="476"/>
                    </a:lnTo>
                    <a:lnTo>
                      <a:pt x="826" y="482"/>
                    </a:lnTo>
                    <a:lnTo>
                      <a:pt x="824" y="486"/>
                    </a:lnTo>
                    <a:lnTo>
                      <a:pt x="824" y="488"/>
                    </a:lnTo>
                    <a:lnTo>
                      <a:pt x="822" y="490"/>
                    </a:lnTo>
                    <a:lnTo>
                      <a:pt x="820" y="492"/>
                    </a:lnTo>
                    <a:lnTo>
                      <a:pt x="820" y="492"/>
                    </a:lnTo>
                    <a:lnTo>
                      <a:pt x="818" y="494"/>
                    </a:lnTo>
                    <a:lnTo>
                      <a:pt x="818" y="494"/>
                    </a:lnTo>
                    <a:lnTo>
                      <a:pt x="816" y="496"/>
                    </a:lnTo>
                    <a:lnTo>
                      <a:pt x="814" y="496"/>
                    </a:lnTo>
                    <a:lnTo>
                      <a:pt x="812" y="498"/>
                    </a:lnTo>
                    <a:lnTo>
                      <a:pt x="806" y="500"/>
                    </a:lnTo>
                    <a:lnTo>
                      <a:pt x="802" y="502"/>
                    </a:lnTo>
                    <a:lnTo>
                      <a:pt x="796" y="506"/>
                    </a:lnTo>
                    <a:lnTo>
                      <a:pt x="790" y="508"/>
                    </a:lnTo>
                    <a:lnTo>
                      <a:pt x="788" y="510"/>
                    </a:lnTo>
                    <a:lnTo>
                      <a:pt x="790" y="508"/>
                    </a:lnTo>
                    <a:lnTo>
                      <a:pt x="792" y="504"/>
                    </a:lnTo>
                    <a:lnTo>
                      <a:pt x="796" y="500"/>
                    </a:lnTo>
                    <a:lnTo>
                      <a:pt x="798" y="496"/>
                    </a:lnTo>
                    <a:lnTo>
                      <a:pt x="800" y="494"/>
                    </a:lnTo>
                    <a:lnTo>
                      <a:pt x="800" y="494"/>
                    </a:lnTo>
                    <a:lnTo>
                      <a:pt x="800" y="494"/>
                    </a:lnTo>
                    <a:lnTo>
                      <a:pt x="800" y="492"/>
                    </a:lnTo>
                    <a:lnTo>
                      <a:pt x="800" y="492"/>
                    </a:lnTo>
                    <a:lnTo>
                      <a:pt x="802" y="490"/>
                    </a:lnTo>
                    <a:lnTo>
                      <a:pt x="802" y="488"/>
                    </a:lnTo>
                    <a:lnTo>
                      <a:pt x="802" y="488"/>
                    </a:lnTo>
                    <a:lnTo>
                      <a:pt x="802" y="488"/>
                    </a:lnTo>
                    <a:lnTo>
                      <a:pt x="802" y="484"/>
                    </a:lnTo>
                    <a:lnTo>
                      <a:pt x="800" y="480"/>
                    </a:lnTo>
                    <a:lnTo>
                      <a:pt x="800" y="476"/>
                    </a:lnTo>
                    <a:lnTo>
                      <a:pt x="800" y="472"/>
                    </a:lnTo>
                    <a:lnTo>
                      <a:pt x="800" y="470"/>
                    </a:lnTo>
                    <a:lnTo>
                      <a:pt x="800" y="470"/>
                    </a:lnTo>
                    <a:lnTo>
                      <a:pt x="800" y="468"/>
                    </a:lnTo>
                    <a:lnTo>
                      <a:pt x="800" y="466"/>
                    </a:lnTo>
                    <a:lnTo>
                      <a:pt x="800" y="462"/>
                    </a:lnTo>
                    <a:lnTo>
                      <a:pt x="800" y="458"/>
                    </a:lnTo>
                    <a:lnTo>
                      <a:pt x="800" y="454"/>
                    </a:lnTo>
                    <a:lnTo>
                      <a:pt x="800" y="452"/>
                    </a:lnTo>
                    <a:lnTo>
                      <a:pt x="800" y="448"/>
                    </a:lnTo>
                    <a:lnTo>
                      <a:pt x="800" y="442"/>
                    </a:lnTo>
                    <a:lnTo>
                      <a:pt x="800" y="436"/>
                    </a:lnTo>
                    <a:lnTo>
                      <a:pt x="800" y="430"/>
                    </a:lnTo>
                    <a:lnTo>
                      <a:pt x="800" y="424"/>
                    </a:lnTo>
                    <a:lnTo>
                      <a:pt x="802" y="418"/>
                    </a:lnTo>
                    <a:lnTo>
                      <a:pt x="802" y="402"/>
                    </a:lnTo>
                    <a:lnTo>
                      <a:pt x="802" y="388"/>
                    </a:lnTo>
                    <a:lnTo>
                      <a:pt x="804" y="382"/>
                    </a:lnTo>
                    <a:lnTo>
                      <a:pt x="804" y="376"/>
                    </a:lnTo>
                    <a:lnTo>
                      <a:pt x="804" y="370"/>
                    </a:lnTo>
                    <a:lnTo>
                      <a:pt x="804" y="364"/>
                    </a:lnTo>
                    <a:lnTo>
                      <a:pt x="804" y="360"/>
                    </a:lnTo>
                    <a:lnTo>
                      <a:pt x="804" y="354"/>
                    </a:lnTo>
                    <a:lnTo>
                      <a:pt x="804" y="352"/>
                    </a:lnTo>
                    <a:lnTo>
                      <a:pt x="804" y="350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2"/>
                    </a:lnTo>
                    <a:lnTo>
                      <a:pt x="802" y="338"/>
                    </a:lnTo>
                    <a:lnTo>
                      <a:pt x="802" y="332"/>
                    </a:lnTo>
                    <a:lnTo>
                      <a:pt x="802" y="326"/>
                    </a:lnTo>
                    <a:lnTo>
                      <a:pt x="802" y="320"/>
                    </a:lnTo>
                    <a:lnTo>
                      <a:pt x="802" y="320"/>
                    </a:lnTo>
                    <a:lnTo>
                      <a:pt x="802" y="316"/>
                    </a:lnTo>
                    <a:lnTo>
                      <a:pt x="802" y="316"/>
                    </a:lnTo>
                    <a:lnTo>
                      <a:pt x="802" y="314"/>
                    </a:lnTo>
                    <a:lnTo>
                      <a:pt x="802" y="312"/>
                    </a:lnTo>
                    <a:lnTo>
                      <a:pt x="802" y="312"/>
                    </a:lnTo>
                    <a:lnTo>
                      <a:pt x="800" y="312"/>
                    </a:lnTo>
                    <a:lnTo>
                      <a:pt x="800" y="310"/>
                    </a:lnTo>
                    <a:lnTo>
                      <a:pt x="800" y="310"/>
                    </a:lnTo>
                    <a:lnTo>
                      <a:pt x="800" y="310"/>
                    </a:lnTo>
                    <a:lnTo>
                      <a:pt x="798" y="310"/>
                    </a:lnTo>
                    <a:lnTo>
                      <a:pt x="798" y="310"/>
                    </a:lnTo>
                    <a:lnTo>
                      <a:pt x="798" y="308"/>
                    </a:lnTo>
                    <a:lnTo>
                      <a:pt x="796" y="308"/>
                    </a:lnTo>
                    <a:lnTo>
                      <a:pt x="796" y="308"/>
                    </a:lnTo>
                    <a:lnTo>
                      <a:pt x="796" y="308"/>
                    </a:lnTo>
                    <a:lnTo>
                      <a:pt x="792" y="308"/>
                    </a:lnTo>
                    <a:lnTo>
                      <a:pt x="790" y="306"/>
                    </a:lnTo>
                    <a:lnTo>
                      <a:pt x="784" y="306"/>
                    </a:lnTo>
                    <a:lnTo>
                      <a:pt x="778" y="306"/>
                    </a:lnTo>
                    <a:lnTo>
                      <a:pt x="770" y="308"/>
                    </a:lnTo>
                    <a:lnTo>
                      <a:pt x="764" y="310"/>
                    </a:lnTo>
                    <a:lnTo>
                      <a:pt x="762" y="310"/>
                    </a:lnTo>
                    <a:lnTo>
                      <a:pt x="762" y="310"/>
                    </a:lnTo>
                    <a:lnTo>
                      <a:pt x="762" y="310"/>
                    </a:lnTo>
                    <a:lnTo>
                      <a:pt x="760" y="312"/>
                    </a:lnTo>
                    <a:lnTo>
                      <a:pt x="758" y="312"/>
                    </a:lnTo>
                    <a:lnTo>
                      <a:pt x="758" y="312"/>
                    </a:lnTo>
                    <a:lnTo>
                      <a:pt x="758" y="314"/>
                    </a:lnTo>
                    <a:lnTo>
                      <a:pt x="756" y="314"/>
                    </a:lnTo>
                    <a:lnTo>
                      <a:pt x="756" y="314"/>
                    </a:lnTo>
                    <a:lnTo>
                      <a:pt x="756" y="316"/>
                    </a:lnTo>
                    <a:lnTo>
                      <a:pt x="756" y="318"/>
                    </a:lnTo>
                    <a:lnTo>
                      <a:pt x="756" y="318"/>
                    </a:lnTo>
                    <a:lnTo>
                      <a:pt x="754" y="318"/>
                    </a:lnTo>
                    <a:lnTo>
                      <a:pt x="754" y="320"/>
                    </a:lnTo>
                    <a:lnTo>
                      <a:pt x="754" y="320"/>
                    </a:lnTo>
                    <a:lnTo>
                      <a:pt x="754" y="322"/>
                    </a:lnTo>
                    <a:lnTo>
                      <a:pt x="754" y="322"/>
                    </a:lnTo>
                    <a:lnTo>
                      <a:pt x="754" y="322"/>
                    </a:lnTo>
                    <a:lnTo>
                      <a:pt x="756" y="326"/>
                    </a:lnTo>
                    <a:lnTo>
                      <a:pt x="758" y="330"/>
                    </a:lnTo>
                    <a:lnTo>
                      <a:pt x="760" y="336"/>
                    </a:lnTo>
                    <a:lnTo>
                      <a:pt x="762" y="342"/>
                    </a:lnTo>
                    <a:lnTo>
                      <a:pt x="764" y="348"/>
                    </a:lnTo>
                    <a:lnTo>
                      <a:pt x="766" y="354"/>
                    </a:lnTo>
                    <a:lnTo>
                      <a:pt x="766" y="356"/>
                    </a:lnTo>
                    <a:lnTo>
                      <a:pt x="766" y="358"/>
                    </a:lnTo>
                    <a:lnTo>
                      <a:pt x="766" y="370"/>
                    </a:lnTo>
                    <a:lnTo>
                      <a:pt x="764" y="380"/>
                    </a:lnTo>
                    <a:lnTo>
                      <a:pt x="762" y="392"/>
                    </a:lnTo>
                    <a:lnTo>
                      <a:pt x="760" y="398"/>
                    </a:lnTo>
                    <a:lnTo>
                      <a:pt x="758" y="404"/>
                    </a:lnTo>
                    <a:lnTo>
                      <a:pt x="758" y="408"/>
                    </a:lnTo>
                    <a:lnTo>
                      <a:pt x="756" y="412"/>
                    </a:lnTo>
                    <a:lnTo>
                      <a:pt x="754" y="420"/>
                    </a:lnTo>
                    <a:lnTo>
                      <a:pt x="750" y="430"/>
                    </a:lnTo>
                    <a:lnTo>
                      <a:pt x="746" y="440"/>
                    </a:lnTo>
                    <a:lnTo>
                      <a:pt x="742" y="450"/>
                    </a:lnTo>
                    <a:lnTo>
                      <a:pt x="740" y="454"/>
                    </a:lnTo>
                    <a:lnTo>
                      <a:pt x="740" y="458"/>
                    </a:lnTo>
                    <a:lnTo>
                      <a:pt x="738" y="460"/>
                    </a:lnTo>
                    <a:lnTo>
                      <a:pt x="736" y="462"/>
                    </a:lnTo>
                    <a:lnTo>
                      <a:pt x="736" y="452"/>
                    </a:lnTo>
                    <a:lnTo>
                      <a:pt x="736" y="448"/>
                    </a:lnTo>
                    <a:lnTo>
                      <a:pt x="736" y="446"/>
                    </a:lnTo>
                    <a:lnTo>
                      <a:pt x="736" y="442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4" y="438"/>
                    </a:lnTo>
                    <a:lnTo>
                      <a:pt x="734" y="436"/>
                    </a:lnTo>
                    <a:lnTo>
                      <a:pt x="734" y="436"/>
                    </a:lnTo>
                    <a:lnTo>
                      <a:pt x="732" y="436"/>
                    </a:lnTo>
                    <a:lnTo>
                      <a:pt x="730" y="436"/>
                    </a:lnTo>
                    <a:lnTo>
                      <a:pt x="730" y="436"/>
                    </a:lnTo>
                    <a:lnTo>
                      <a:pt x="730" y="434"/>
                    </a:lnTo>
                    <a:lnTo>
                      <a:pt x="728" y="434"/>
                    </a:lnTo>
                    <a:lnTo>
                      <a:pt x="728" y="434"/>
                    </a:lnTo>
                    <a:lnTo>
                      <a:pt x="726" y="434"/>
                    </a:lnTo>
                    <a:lnTo>
                      <a:pt x="722" y="434"/>
                    </a:lnTo>
                    <a:lnTo>
                      <a:pt x="722" y="434"/>
                    </a:lnTo>
                    <a:lnTo>
                      <a:pt x="722" y="434"/>
                    </a:lnTo>
                    <a:lnTo>
                      <a:pt x="720" y="434"/>
                    </a:lnTo>
                    <a:lnTo>
                      <a:pt x="718" y="434"/>
                    </a:lnTo>
                    <a:lnTo>
                      <a:pt x="716" y="434"/>
                    </a:lnTo>
                    <a:lnTo>
                      <a:pt x="716" y="432"/>
                    </a:lnTo>
                    <a:lnTo>
                      <a:pt x="716" y="432"/>
                    </a:lnTo>
                    <a:lnTo>
                      <a:pt x="716" y="432"/>
                    </a:lnTo>
                    <a:lnTo>
                      <a:pt x="716" y="430"/>
                    </a:lnTo>
                    <a:lnTo>
                      <a:pt x="714" y="428"/>
                    </a:lnTo>
                    <a:lnTo>
                      <a:pt x="710" y="428"/>
                    </a:lnTo>
                    <a:lnTo>
                      <a:pt x="708" y="426"/>
                    </a:lnTo>
                    <a:lnTo>
                      <a:pt x="702" y="424"/>
                    </a:lnTo>
                    <a:lnTo>
                      <a:pt x="698" y="422"/>
                    </a:lnTo>
                    <a:lnTo>
                      <a:pt x="694" y="418"/>
                    </a:lnTo>
                    <a:lnTo>
                      <a:pt x="690" y="412"/>
                    </a:lnTo>
                    <a:lnTo>
                      <a:pt x="684" y="408"/>
                    </a:lnTo>
                    <a:lnTo>
                      <a:pt x="680" y="402"/>
                    </a:lnTo>
                    <a:lnTo>
                      <a:pt x="674" y="398"/>
                    </a:lnTo>
                    <a:lnTo>
                      <a:pt x="674" y="398"/>
                    </a:lnTo>
                    <a:lnTo>
                      <a:pt x="672" y="398"/>
                    </a:lnTo>
                    <a:lnTo>
                      <a:pt x="670" y="398"/>
                    </a:lnTo>
                    <a:lnTo>
                      <a:pt x="666" y="398"/>
                    </a:lnTo>
                    <a:lnTo>
                      <a:pt x="662" y="396"/>
                    </a:lnTo>
                    <a:lnTo>
                      <a:pt x="656" y="392"/>
                    </a:lnTo>
                    <a:lnTo>
                      <a:pt x="654" y="392"/>
                    </a:lnTo>
                    <a:lnTo>
                      <a:pt x="650" y="390"/>
                    </a:lnTo>
                    <a:lnTo>
                      <a:pt x="650" y="390"/>
                    </a:lnTo>
                    <a:lnTo>
                      <a:pt x="650" y="390"/>
                    </a:lnTo>
                    <a:lnTo>
                      <a:pt x="638" y="390"/>
                    </a:lnTo>
                    <a:lnTo>
                      <a:pt x="626" y="388"/>
                    </a:lnTo>
                    <a:lnTo>
                      <a:pt x="622" y="388"/>
                    </a:lnTo>
                    <a:lnTo>
                      <a:pt x="620" y="386"/>
                    </a:lnTo>
                    <a:lnTo>
                      <a:pt x="616" y="384"/>
                    </a:lnTo>
                    <a:lnTo>
                      <a:pt x="614" y="380"/>
                    </a:lnTo>
                    <a:lnTo>
                      <a:pt x="610" y="374"/>
                    </a:lnTo>
                    <a:lnTo>
                      <a:pt x="606" y="372"/>
                    </a:lnTo>
                    <a:lnTo>
                      <a:pt x="606" y="372"/>
                    </a:lnTo>
                    <a:lnTo>
                      <a:pt x="606" y="372"/>
                    </a:lnTo>
                    <a:lnTo>
                      <a:pt x="604" y="368"/>
                    </a:lnTo>
                    <a:lnTo>
                      <a:pt x="602" y="368"/>
                    </a:lnTo>
                    <a:lnTo>
                      <a:pt x="602" y="368"/>
                    </a:lnTo>
                    <a:lnTo>
                      <a:pt x="600" y="368"/>
                    </a:lnTo>
                    <a:lnTo>
                      <a:pt x="600" y="366"/>
                    </a:lnTo>
                    <a:lnTo>
                      <a:pt x="600" y="366"/>
                    </a:lnTo>
                    <a:lnTo>
                      <a:pt x="598" y="366"/>
                    </a:lnTo>
                    <a:lnTo>
                      <a:pt x="596" y="366"/>
                    </a:lnTo>
                    <a:lnTo>
                      <a:pt x="596" y="366"/>
                    </a:lnTo>
                    <a:lnTo>
                      <a:pt x="596" y="366"/>
                    </a:lnTo>
                    <a:lnTo>
                      <a:pt x="594" y="366"/>
                    </a:lnTo>
                    <a:lnTo>
                      <a:pt x="594" y="366"/>
                    </a:lnTo>
                    <a:lnTo>
                      <a:pt x="594" y="368"/>
                    </a:lnTo>
                    <a:lnTo>
                      <a:pt x="592" y="368"/>
                    </a:lnTo>
                    <a:lnTo>
                      <a:pt x="592" y="368"/>
                    </a:lnTo>
                    <a:lnTo>
                      <a:pt x="592" y="368"/>
                    </a:lnTo>
                    <a:lnTo>
                      <a:pt x="592" y="370"/>
                    </a:lnTo>
                    <a:lnTo>
                      <a:pt x="590" y="372"/>
                    </a:lnTo>
                    <a:lnTo>
                      <a:pt x="590" y="372"/>
                    </a:lnTo>
                    <a:lnTo>
                      <a:pt x="590" y="376"/>
                    </a:lnTo>
                    <a:lnTo>
                      <a:pt x="592" y="380"/>
                    </a:lnTo>
                    <a:lnTo>
                      <a:pt x="594" y="382"/>
                    </a:lnTo>
                    <a:lnTo>
                      <a:pt x="594" y="386"/>
                    </a:lnTo>
                    <a:lnTo>
                      <a:pt x="596" y="388"/>
                    </a:lnTo>
                    <a:lnTo>
                      <a:pt x="596" y="388"/>
                    </a:lnTo>
                    <a:lnTo>
                      <a:pt x="598" y="390"/>
                    </a:lnTo>
                    <a:lnTo>
                      <a:pt x="600" y="392"/>
                    </a:lnTo>
                    <a:lnTo>
                      <a:pt x="602" y="396"/>
                    </a:lnTo>
                    <a:lnTo>
                      <a:pt x="606" y="398"/>
                    </a:lnTo>
                    <a:lnTo>
                      <a:pt x="610" y="402"/>
                    </a:lnTo>
                    <a:lnTo>
                      <a:pt x="614" y="406"/>
                    </a:lnTo>
                    <a:lnTo>
                      <a:pt x="616" y="408"/>
                    </a:lnTo>
                    <a:lnTo>
                      <a:pt x="618" y="412"/>
                    </a:lnTo>
                    <a:lnTo>
                      <a:pt x="620" y="414"/>
                    </a:lnTo>
                    <a:lnTo>
                      <a:pt x="620" y="418"/>
                    </a:lnTo>
                    <a:lnTo>
                      <a:pt x="622" y="422"/>
                    </a:lnTo>
                    <a:lnTo>
                      <a:pt x="622" y="422"/>
                    </a:lnTo>
                    <a:lnTo>
                      <a:pt x="622" y="424"/>
                    </a:lnTo>
                    <a:lnTo>
                      <a:pt x="622" y="424"/>
                    </a:lnTo>
                    <a:lnTo>
                      <a:pt x="620" y="424"/>
                    </a:lnTo>
                    <a:lnTo>
                      <a:pt x="618" y="426"/>
                    </a:lnTo>
                    <a:lnTo>
                      <a:pt x="616" y="426"/>
                    </a:lnTo>
                    <a:lnTo>
                      <a:pt x="614" y="426"/>
                    </a:lnTo>
                    <a:lnTo>
                      <a:pt x="610" y="426"/>
                    </a:lnTo>
                    <a:lnTo>
                      <a:pt x="608" y="426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2"/>
                    </a:lnTo>
                    <a:lnTo>
                      <a:pt x="604" y="422"/>
                    </a:lnTo>
                    <a:lnTo>
                      <a:pt x="604" y="422"/>
                    </a:lnTo>
                    <a:lnTo>
                      <a:pt x="604" y="420"/>
                    </a:lnTo>
                    <a:lnTo>
                      <a:pt x="602" y="416"/>
                    </a:lnTo>
                    <a:lnTo>
                      <a:pt x="600" y="414"/>
                    </a:lnTo>
                    <a:lnTo>
                      <a:pt x="598" y="412"/>
                    </a:lnTo>
                    <a:lnTo>
                      <a:pt x="598" y="412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4" y="410"/>
                    </a:lnTo>
                    <a:lnTo>
                      <a:pt x="592" y="410"/>
                    </a:lnTo>
                    <a:lnTo>
                      <a:pt x="592" y="410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4"/>
                    </a:lnTo>
                    <a:lnTo>
                      <a:pt x="590" y="414"/>
                    </a:lnTo>
                    <a:lnTo>
                      <a:pt x="590" y="414"/>
                    </a:lnTo>
                    <a:lnTo>
                      <a:pt x="590" y="416"/>
                    </a:lnTo>
                    <a:lnTo>
                      <a:pt x="588" y="418"/>
                    </a:lnTo>
                    <a:lnTo>
                      <a:pt x="588" y="422"/>
                    </a:lnTo>
                    <a:lnTo>
                      <a:pt x="588" y="426"/>
                    </a:lnTo>
                    <a:lnTo>
                      <a:pt x="588" y="430"/>
                    </a:lnTo>
                    <a:lnTo>
                      <a:pt x="586" y="432"/>
                    </a:lnTo>
                    <a:lnTo>
                      <a:pt x="582" y="434"/>
                    </a:lnTo>
                    <a:lnTo>
                      <a:pt x="576" y="436"/>
                    </a:lnTo>
                    <a:lnTo>
                      <a:pt x="572" y="440"/>
                    </a:lnTo>
                    <a:lnTo>
                      <a:pt x="568" y="440"/>
                    </a:lnTo>
                    <a:lnTo>
                      <a:pt x="562" y="438"/>
                    </a:lnTo>
                    <a:lnTo>
                      <a:pt x="556" y="438"/>
                    </a:lnTo>
                    <a:lnTo>
                      <a:pt x="550" y="438"/>
                    </a:lnTo>
                    <a:lnTo>
                      <a:pt x="544" y="438"/>
                    </a:lnTo>
                    <a:lnTo>
                      <a:pt x="544" y="438"/>
                    </a:lnTo>
                    <a:lnTo>
                      <a:pt x="544" y="438"/>
                    </a:lnTo>
                    <a:lnTo>
                      <a:pt x="540" y="440"/>
                    </a:lnTo>
                    <a:lnTo>
                      <a:pt x="540" y="440"/>
                    </a:lnTo>
                    <a:lnTo>
                      <a:pt x="538" y="440"/>
                    </a:lnTo>
                    <a:lnTo>
                      <a:pt x="534" y="442"/>
                    </a:lnTo>
                    <a:lnTo>
                      <a:pt x="534" y="442"/>
                    </a:lnTo>
                    <a:lnTo>
                      <a:pt x="534" y="444"/>
                    </a:lnTo>
                    <a:lnTo>
                      <a:pt x="532" y="444"/>
                    </a:lnTo>
                    <a:lnTo>
                      <a:pt x="532" y="444"/>
                    </a:lnTo>
                    <a:lnTo>
                      <a:pt x="532" y="446"/>
                    </a:lnTo>
                    <a:lnTo>
                      <a:pt x="530" y="446"/>
                    </a:lnTo>
                    <a:lnTo>
                      <a:pt x="528" y="446"/>
                    </a:lnTo>
                    <a:lnTo>
                      <a:pt x="524" y="448"/>
                    </a:lnTo>
                    <a:lnTo>
                      <a:pt x="522" y="448"/>
                    </a:lnTo>
                    <a:lnTo>
                      <a:pt x="520" y="448"/>
                    </a:lnTo>
                    <a:lnTo>
                      <a:pt x="520" y="448"/>
                    </a:lnTo>
                    <a:lnTo>
                      <a:pt x="520" y="448"/>
                    </a:lnTo>
                    <a:lnTo>
                      <a:pt x="518" y="446"/>
                    </a:lnTo>
                    <a:lnTo>
                      <a:pt x="520" y="442"/>
                    </a:lnTo>
                    <a:lnTo>
                      <a:pt x="520" y="442"/>
                    </a:lnTo>
                    <a:lnTo>
                      <a:pt x="520" y="440"/>
                    </a:lnTo>
                    <a:lnTo>
                      <a:pt x="522" y="438"/>
                    </a:lnTo>
                    <a:lnTo>
                      <a:pt x="524" y="436"/>
                    </a:lnTo>
                    <a:lnTo>
                      <a:pt x="524" y="436"/>
                    </a:lnTo>
                    <a:lnTo>
                      <a:pt x="524" y="434"/>
                    </a:lnTo>
                    <a:lnTo>
                      <a:pt x="524" y="434"/>
                    </a:lnTo>
                    <a:lnTo>
                      <a:pt x="524" y="434"/>
                    </a:lnTo>
                    <a:lnTo>
                      <a:pt x="524" y="432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0" y="430"/>
                    </a:lnTo>
                    <a:lnTo>
                      <a:pt x="520" y="430"/>
                    </a:lnTo>
                    <a:lnTo>
                      <a:pt x="518" y="430"/>
                    </a:lnTo>
                    <a:lnTo>
                      <a:pt x="516" y="430"/>
                    </a:lnTo>
                    <a:lnTo>
                      <a:pt x="514" y="430"/>
                    </a:lnTo>
                    <a:lnTo>
                      <a:pt x="510" y="428"/>
                    </a:lnTo>
                    <a:lnTo>
                      <a:pt x="506" y="428"/>
                    </a:lnTo>
                    <a:lnTo>
                      <a:pt x="506" y="428"/>
                    </a:lnTo>
                    <a:lnTo>
                      <a:pt x="504" y="428"/>
                    </a:lnTo>
                    <a:lnTo>
                      <a:pt x="498" y="434"/>
                    </a:lnTo>
                    <a:lnTo>
                      <a:pt x="494" y="436"/>
                    </a:lnTo>
                    <a:lnTo>
                      <a:pt x="490" y="438"/>
                    </a:lnTo>
                    <a:lnTo>
                      <a:pt x="490" y="438"/>
                    </a:lnTo>
                    <a:lnTo>
                      <a:pt x="486" y="438"/>
                    </a:lnTo>
                    <a:lnTo>
                      <a:pt x="484" y="438"/>
                    </a:lnTo>
                    <a:lnTo>
                      <a:pt x="476" y="440"/>
                    </a:lnTo>
                    <a:lnTo>
                      <a:pt x="474" y="442"/>
                    </a:lnTo>
                    <a:lnTo>
                      <a:pt x="474" y="442"/>
                    </a:lnTo>
                    <a:lnTo>
                      <a:pt x="474" y="442"/>
                    </a:lnTo>
                    <a:lnTo>
                      <a:pt x="472" y="442"/>
                    </a:lnTo>
                    <a:lnTo>
                      <a:pt x="472" y="442"/>
                    </a:lnTo>
                    <a:lnTo>
                      <a:pt x="470" y="444"/>
                    </a:lnTo>
                    <a:lnTo>
                      <a:pt x="468" y="446"/>
                    </a:lnTo>
                    <a:lnTo>
                      <a:pt x="468" y="446"/>
                    </a:lnTo>
                    <a:lnTo>
                      <a:pt x="468" y="446"/>
                    </a:lnTo>
                    <a:lnTo>
                      <a:pt x="466" y="448"/>
                    </a:lnTo>
                    <a:lnTo>
                      <a:pt x="462" y="454"/>
                    </a:lnTo>
                    <a:lnTo>
                      <a:pt x="460" y="460"/>
                    </a:lnTo>
                    <a:lnTo>
                      <a:pt x="458" y="462"/>
                    </a:lnTo>
                    <a:lnTo>
                      <a:pt x="456" y="464"/>
                    </a:lnTo>
                    <a:lnTo>
                      <a:pt x="452" y="464"/>
                    </a:lnTo>
                    <a:lnTo>
                      <a:pt x="452" y="464"/>
                    </a:lnTo>
                    <a:lnTo>
                      <a:pt x="452" y="464"/>
                    </a:lnTo>
                    <a:lnTo>
                      <a:pt x="446" y="466"/>
                    </a:lnTo>
                    <a:lnTo>
                      <a:pt x="446" y="466"/>
                    </a:lnTo>
                    <a:lnTo>
                      <a:pt x="446" y="466"/>
                    </a:lnTo>
                    <a:lnTo>
                      <a:pt x="442" y="470"/>
                    </a:lnTo>
                    <a:lnTo>
                      <a:pt x="438" y="472"/>
                    </a:lnTo>
                    <a:lnTo>
                      <a:pt x="434" y="476"/>
                    </a:lnTo>
                    <a:lnTo>
                      <a:pt x="430" y="480"/>
                    </a:lnTo>
                    <a:lnTo>
                      <a:pt x="424" y="488"/>
                    </a:lnTo>
                    <a:lnTo>
                      <a:pt x="422" y="490"/>
                    </a:lnTo>
                    <a:lnTo>
                      <a:pt x="420" y="492"/>
                    </a:lnTo>
                    <a:lnTo>
                      <a:pt x="420" y="492"/>
                    </a:lnTo>
                    <a:lnTo>
                      <a:pt x="420" y="492"/>
                    </a:lnTo>
                    <a:lnTo>
                      <a:pt x="418" y="494"/>
                    </a:lnTo>
                    <a:lnTo>
                      <a:pt x="418" y="494"/>
                    </a:lnTo>
                    <a:lnTo>
                      <a:pt x="418" y="494"/>
                    </a:lnTo>
                    <a:lnTo>
                      <a:pt x="416" y="496"/>
                    </a:lnTo>
                    <a:lnTo>
                      <a:pt x="416" y="496"/>
                    </a:lnTo>
                    <a:lnTo>
                      <a:pt x="416" y="496"/>
                    </a:lnTo>
                    <a:lnTo>
                      <a:pt x="416" y="498"/>
                    </a:lnTo>
                    <a:lnTo>
                      <a:pt x="416" y="498"/>
                    </a:lnTo>
                    <a:lnTo>
                      <a:pt x="416" y="498"/>
                    </a:lnTo>
                    <a:lnTo>
                      <a:pt x="416" y="500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2" y="504"/>
                    </a:lnTo>
                    <a:lnTo>
                      <a:pt x="408" y="504"/>
                    </a:lnTo>
                    <a:lnTo>
                      <a:pt x="404" y="504"/>
                    </a:lnTo>
                    <a:lnTo>
                      <a:pt x="400" y="506"/>
                    </a:lnTo>
                    <a:lnTo>
                      <a:pt x="398" y="504"/>
                    </a:lnTo>
                    <a:lnTo>
                      <a:pt x="396" y="502"/>
                    </a:lnTo>
                    <a:lnTo>
                      <a:pt x="392" y="502"/>
                    </a:lnTo>
                    <a:lnTo>
                      <a:pt x="390" y="500"/>
                    </a:lnTo>
                    <a:lnTo>
                      <a:pt x="388" y="498"/>
                    </a:lnTo>
                    <a:lnTo>
                      <a:pt x="388" y="496"/>
                    </a:lnTo>
                    <a:lnTo>
                      <a:pt x="388" y="494"/>
                    </a:lnTo>
                    <a:lnTo>
                      <a:pt x="388" y="490"/>
                    </a:lnTo>
                    <a:lnTo>
                      <a:pt x="388" y="488"/>
                    </a:lnTo>
                    <a:lnTo>
                      <a:pt x="388" y="486"/>
                    </a:lnTo>
                    <a:lnTo>
                      <a:pt x="388" y="484"/>
                    </a:lnTo>
                    <a:lnTo>
                      <a:pt x="388" y="482"/>
                    </a:lnTo>
                    <a:lnTo>
                      <a:pt x="390" y="480"/>
                    </a:lnTo>
                    <a:lnTo>
                      <a:pt x="396" y="476"/>
                    </a:lnTo>
                    <a:lnTo>
                      <a:pt x="398" y="474"/>
                    </a:lnTo>
                    <a:lnTo>
                      <a:pt x="400" y="472"/>
                    </a:lnTo>
                    <a:lnTo>
                      <a:pt x="400" y="472"/>
                    </a:lnTo>
                    <a:lnTo>
                      <a:pt x="402" y="472"/>
                    </a:lnTo>
                    <a:lnTo>
                      <a:pt x="404" y="468"/>
                    </a:lnTo>
                    <a:lnTo>
                      <a:pt x="404" y="468"/>
                    </a:lnTo>
                    <a:lnTo>
                      <a:pt x="404" y="468"/>
                    </a:lnTo>
                    <a:lnTo>
                      <a:pt x="406" y="464"/>
                    </a:lnTo>
                    <a:lnTo>
                      <a:pt x="406" y="464"/>
                    </a:lnTo>
                    <a:lnTo>
                      <a:pt x="406" y="462"/>
                    </a:lnTo>
                    <a:lnTo>
                      <a:pt x="404" y="460"/>
                    </a:lnTo>
                    <a:lnTo>
                      <a:pt x="402" y="460"/>
                    </a:lnTo>
                    <a:lnTo>
                      <a:pt x="402" y="460"/>
                    </a:lnTo>
                    <a:lnTo>
                      <a:pt x="400" y="458"/>
                    </a:lnTo>
                    <a:lnTo>
                      <a:pt x="400" y="458"/>
                    </a:lnTo>
                    <a:lnTo>
                      <a:pt x="400" y="454"/>
                    </a:lnTo>
                    <a:lnTo>
                      <a:pt x="400" y="454"/>
                    </a:lnTo>
                    <a:lnTo>
                      <a:pt x="400" y="454"/>
                    </a:lnTo>
                    <a:lnTo>
                      <a:pt x="398" y="452"/>
                    </a:lnTo>
                    <a:lnTo>
                      <a:pt x="396" y="450"/>
                    </a:lnTo>
                    <a:lnTo>
                      <a:pt x="396" y="450"/>
                    </a:lnTo>
                    <a:lnTo>
                      <a:pt x="396" y="448"/>
                    </a:lnTo>
                    <a:lnTo>
                      <a:pt x="394" y="448"/>
                    </a:lnTo>
                    <a:lnTo>
                      <a:pt x="394" y="448"/>
                    </a:lnTo>
                    <a:lnTo>
                      <a:pt x="392" y="448"/>
                    </a:lnTo>
                    <a:lnTo>
                      <a:pt x="390" y="446"/>
                    </a:lnTo>
                    <a:lnTo>
                      <a:pt x="384" y="446"/>
                    </a:lnTo>
                    <a:lnTo>
                      <a:pt x="378" y="444"/>
                    </a:lnTo>
                    <a:lnTo>
                      <a:pt x="376" y="444"/>
                    </a:lnTo>
                    <a:lnTo>
                      <a:pt x="372" y="444"/>
                    </a:lnTo>
                    <a:lnTo>
                      <a:pt x="370" y="442"/>
                    </a:lnTo>
                    <a:lnTo>
                      <a:pt x="368" y="442"/>
                    </a:lnTo>
                    <a:lnTo>
                      <a:pt x="368" y="440"/>
                    </a:lnTo>
                    <a:lnTo>
                      <a:pt x="366" y="438"/>
                    </a:lnTo>
                    <a:lnTo>
                      <a:pt x="364" y="438"/>
                    </a:lnTo>
                    <a:lnTo>
                      <a:pt x="364" y="438"/>
                    </a:lnTo>
                    <a:lnTo>
                      <a:pt x="362" y="438"/>
                    </a:lnTo>
                    <a:lnTo>
                      <a:pt x="362" y="438"/>
                    </a:lnTo>
                    <a:lnTo>
                      <a:pt x="362" y="438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58" y="442"/>
                    </a:lnTo>
                    <a:lnTo>
                      <a:pt x="358" y="442"/>
                    </a:lnTo>
                    <a:lnTo>
                      <a:pt x="358" y="444"/>
                    </a:lnTo>
                    <a:lnTo>
                      <a:pt x="358" y="444"/>
                    </a:lnTo>
                    <a:lnTo>
                      <a:pt x="358" y="446"/>
                    </a:lnTo>
                    <a:lnTo>
                      <a:pt x="358" y="446"/>
                    </a:lnTo>
                    <a:lnTo>
                      <a:pt x="358" y="448"/>
                    </a:lnTo>
                    <a:lnTo>
                      <a:pt x="360" y="448"/>
                    </a:lnTo>
                    <a:lnTo>
                      <a:pt x="360" y="452"/>
                    </a:lnTo>
                    <a:lnTo>
                      <a:pt x="362" y="454"/>
                    </a:lnTo>
                    <a:lnTo>
                      <a:pt x="364" y="458"/>
                    </a:lnTo>
                    <a:lnTo>
                      <a:pt x="366" y="462"/>
                    </a:lnTo>
                    <a:lnTo>
                      <a:pt x="366" y="464"/>
                    </a:lnTo>
                    <a:lnTo>
                      <a:pt x="368" y="466"/>
                    </a:lnTo>
                    <a:lnTo>
                      <a:pt x="368" y="470"/>
                    </a:lnTo>
                    <a:lnTo>
                      <a:pt x="368" y="474"/>
                    </a:lnTo>
                    <a:lnTo>
                      <a:pt x="366" y="476"/>
                    </a:lnTo>
                    <a:lnTo>
                      <a:pt x="366" y="478"/>
                    </a:lnTo>
                    <a:lnTo>
                      <a:pt x="364" y="480"/>
                    </a:lnTo>
                    <a:lnTo>
                      <a:pt x="362" y="482"/>
                    </a:lnTo>
                    <a:lnTo>
                      <a:pt x="362" y="482"/>
                    </a:lnTo>
                    <a:lnTo>
                      <a:pt x="362" y="482"/>
                    </a:lnTo>
                    <a:lnTo>
                      <a:pt x="360" y="486"/>
                    </a:lnTo>
                    <a:lnTo>
                      <a:pt x="360" y="486"/>
                    </a:lnTo>
                    <a:lnTo>
                      <a:pt x="360" y="486"/>
                    </a:lnTo>
                    <a:lnTo>
                      <a:pt x="360" y="490"/>
                    </a:lnTo>
                    <a:lnTo>
                      <a:pt x="360" y="490"/>
                    </a:lnTo>
                    <a:lnTo>
                      <a:pt x="360" y="492"/>
                    </a:lnTo>
                    <a:lnTo>
                      <a:pt x="362" y="496"/>
                    </a:lnTo>
                    <a:lnTo>
                      <a:pt x="364" y="500"/>
                    </a:lnTo>
                    <a:lnTo>
                      <a:pt x="366" y="502"/>
                    </a:lnTo>
                    <a:lnTo>
                      <a:pt x="368" y="504"/>
                    </a:lnTo>
                    <a:lnTo>
                      <a:pt x="368" y="506"/>
                    </a:lnTo>
                    <a:lnTo>
                      <a:pt x="370" y="510"/>
                    </a:lnTo>
                    <a:lnTo>
                      <a:pt x="370" y="514"/>
                    </a:lnTo>
                    <a:lnTo>
                      <a:pt x="370" y="518"/>
                    </a:lnTo>
                    <a:lnTo>
                      <a:pt x="370" y="520"/>
                    </a:lnTo>
                    <a:lnTo>
                      <a:pt x="368" y="524"/>
                    </a:lnTo>
                    <a:lnTo>
                      <a:pt x="368" y="528"/>
                    </a:lnTo>
                    <a:lnTo>
                      <a:pt x="366" y="530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58" y="530"/>
                    </a:lnTo>
                    <a:lnTo>
                      <a:pt x="354" y="530"/>
                    </a:lnTo>
                    <a:lnTo>
                      <a:pt x="352" y="530"/>
                    </a:lnTo>
                    <a:lnTo>
                      <a:pt x="348" y="530"/>
                    </a:lnTo>
                    <a:lnTo>
                      <a:pt x="344" y="530"/>
                    </a:lnTo>
                    <a:lnTo>
                      <a:pt x="338" y="530"/>
                    </a:lnTo>
                    <a:lnTo>
                      <a:pt x="338" y="530"/>
                    </a:lnTo>
                    <a:lnTo>
                      <a:pt x="338" y="530"/>
                    </a:lnTo>
                    <a:lnTo>
                      <a:pt x="334" y="530"/>
                    </a:lnTo>
                    <a:lnTo>
                      <a:pt x="332" y="530"/>
                    </a:lnTo>
                    <a:lnTo>
                      <a:pt x="332" y="530"/>
                    </a:lnTo>
                    <a:lnTo>
                      <a:pt x="332" y="530"/>
                    </a:lnTo>
                    <a:lnTo>
                      <a:pt x="328" y="534"/>
                    </a:lnTo>
                    <a:lnTo>
                      <a:pt x="324" y="536"/>
                    </a:lnTo>
                    <a:lnTo>
                      <a:pt x="320" y="538"/>
                    </a:lnTo>
                    <a:lnTo>
                      <a:pt x="316" y="538"/>
                    </a:lnTo>
                    <a:lnTo>
                      <a:pt x="314" y="540"/>
                    </a:lnTo>
                    <a:lnTo>
                      <a:pt x="314" y="540"/>
                    </a:lnTo>
                    <a:lnTo>
                      <a:pt x="314" y="540"/>
                    </a:lnTo>
                    <a:lnTo>
                      <a:pt x="312" y="542"/>
                    </a:lnTo>
                    <a:lnTo>
                      <a:pt x="312" y="542"/>
                    </a:lnTo>
                    <a:lnTo>
                      <a:pt x="310" y="542"/>
                    </a:lnTo>
                    <a:lnTo>
                      <a:pt x="308" y="544"/>
                    </a:lnTo>
                    <a:lnTo>
                      <a:pt x="306" y="546"/>
                    </a:lnTo>
                    <a:lnTo>
                      <a:pt x="306" y="548"/>
                    </a:lnTo>
                    <a:lnTo>
                      <a:pt x="302" y="548"/>
                    </a:lnTo>
                    <a:lnTo>
                      <a:pt x="302" y="548"/>
                    </a:lnTo>
                    <a:lnTo>
                      <a:pt x="302" y="548"/>
                    </a:ln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50"/>
                    </a:lnTo>
                    <a:lnTo>
                      <a:pt x="298" y="550"/>
                    </a:lnTo>
                    <a:lnTo>
                      <a:pt x="298" y="550"/>
                    </a:lnTo>
                    <a:lnTo>
                      <a:pt x="298" y="550"/>
                    </a:lnTo>
                    <a:lnTo>
                      <a:pt x="296" y="552"/>
                    </a:lnTo>
                    <a:lnTo>
                      <a:pt x="296" y="552"/>
                    </a:lnTo>
                    <a:lnTo>
                      <a:pt x="296" y="554"/>
                    </a:lnTo>
                    <a:lnTo>
                      <a:pt x="296" y="554"/>
                    </a:lnTo>
                    <a:lnTo>
                      <a:pt x="296" y="554"/>
                    </a:lnTo>
                    <a:lnTo>
                      <a:pt x="296" y="556"/>
                    </a:lnTo>
                    <a:lnTo>
                      <a:pt x="296" y="558"/>
                    </a:lnTo>
                    <a:lnTo>
                      <a:pt x="296" y="558"/>
                    </a:lnTo>
                    <a:lnTo>
                      <a:pt x="296" y="558"/>
                    </a:lnTo>
                    <a:lnTo>
                      <a:pt x="298" y="562"/>
                    </a:lnTo>
                    <a:lnTo>
                      <a:pt x="298" y="562"/>
                    </a:lnTo>
                    <a:lnTo>
                      <a:pt x="298" y="562"/>
                    </a:lnTo>
                    <a:lnTo>
                      <a:pt x="302" y="564"/>
                    </a:lnTo>
                    <a:lnTo>
                      <a:pt x="302" y="564"/>
                    </a:lnTo>
                    <a:lnTo>
                      <a:pt x="304" y="566"/>
                    </a:lnTo>
                    <a:lnTo>
                      <a:pt x="306" y="568"/>
                    </a:lnTo>
                    <a:lnTo>
                      <a:pt x="306" y="570"/>
                    </a:lnTo>
                    <a:lnTo>
                      <a:pt x="306" y="572"/>
                    </a:lnTo>
                    <a:lnTo>
                      <a:pt x="308" y="576"/>
                    </a:lnTo>
                    <a:lnTo>
                      <a:pt x="308" y="578"/>
                    </a:lnTo>
                    <a:lnTo>
                      <a:pt x="308" y="580"/>
                    </a:lnTo>
                    <a:lnTo>
                      <a:pt x="304" y="580"/>
                    </a:lnTo>
                    <a:lnTo>
                      <a:pt x="298" y="580"/>
                    </a:lnTo>
                    <a:lnTo>
                      <a:pt x="290" y="580"/>
                    </a:lnTo>
                    <a:lnTo>
                      <a:pt x="288" y="580"/>
                    </a:lnTo>
                    <a:lnTo>
                      <a:pt x="284" y="578"/>
                    </a:lnTo>
                    <a:lnTo>
                      <a:pt x="280" y="576"/>
                    </a:lnTo>
                    <a:lnTo>
                      <a:pt x="276" y="576"/>
                    </a:lnTo>
                    <a:lnTo>
                      <a:pt x="270" y="572"/>
                    </a:lnTo>
                    <a:lnTo>
                      <a:pt x="266" y="570"/>
                    </a:lnTo>
                    <a:lnTo>
                      <a:pt x="266" y="570"/>
                    </a:lnTo>
                    <a:lnTo>
                      <a:pt x="266" y="570"/>
                    </a:lnTo>
                    <a:lnTo>
                      <a:pt x="266" y="568"/>
                    </a:lnTo>
                    <a:lnTo>
                      <a:pt x="264" y="568"/>
                    </a:lnTo>
                    <a:lnTo>
                      <a:pt x="260" y="568"/>
                    </a:lnTo>
                    <a:lnTo>
                      <a:pt x="258" y="568"/>
                    </a:lnTo>
                    <a:lnTo>
                      <a:pt x="254" y="566"/>
                    </a:lnTo>
                    <a:lnTo>
                      <a:pt x="250" y="566"/>
                    </a:lnTo>
                    <a:lnTo>
                      <a:pt x="246" y="568"/>
                    </a:lnTo>
                    <a:lnTo>
                      <a:pt x="246" y="568"/>
                    </a:lnTo>
                    <a:lnTo>
                      <a:pt x="246" y="568"/>
                    </a:lnTo>
                    <a:lnTo>
                      <a:pt x="244" y="568"/>
                    </a:lnTo>
                    <a:lnTo>
                      <a:pt x="242" y="568"/>
                    </a:lnTo>
                    <a:lnTo>
                      <a:pt x="240" y="568"/>
                    </a:lnTo>
                    <a:lnTo>
                      <a:pt x="238" y="570"/>
                    </a:lnTo>
                    <a:lnTo>
                      <a:pt x="238" y="570"/>
                    </a:lnTo>
                    <a:lnTo>
                      <a:pt x="236" y="570"/>
                    </a:lnTo>
                    <a:lnTo>
                      <a:pt x="236" y="570"/>
                    </a:lnTo>
                    <a:lnTo>
                      <a:pt x="236" y="570"/>
                    </a:lnTo>
                    <a:lnTo>
                      <a:pt x="236" y="574"/>
                    </a:lnTo>
                    <a:lnTo>
                      <a:pt x="236" y="574"/>
                    </a:lnTo>
                    <a:lnTo>
                      <a:pt x="236" y="574"/>
                    </a:lnTo>
                    <a:lnTo>
                      <a:pt x="238" y="576"/>
                    </a:lnTo>
                    <a:lnTo>
                      <a:pt x="238" y="576"/>
                    </a:lnTo>
                    <a:lnTo>
                      <a:pt x="240" y="578"/>
                    </a:lnTo>
                    <a:lnTo>
                      <a:pt x="242" y="578"/>
                    </a:lnTo>
                    <a:lnTo>
                      <a:pt x="242" y="578"/>
                    </a:lnTo>
                    <a:lnTo>
                      <a:pt x="242" y="580"/>
                    </a:lnTo>
                    <a:lnTo>
                      <a:pt x="242" y="580"/>
                    </a:lnTo>
                    <a:lnTo>
                      <a:pt x="244" y="580"/>
                    </a:lnTo>
                    <a:lnTo>
                      <a:pt x="246" y="582"/>
                    </a:lnTo>
                    <a:lnTo>
                      <a:pt x="250" y="584"/>
                    </a:lnTo>
                    <a:lnTo>
                      <a:pt x="252" y="586"/>
                    </a:lnTo>
                    <a:lnTo>
                      <a:pt x="254" y="588"/>
                    </a:lnTo>
                    <a:lnTo>
                      <a:pt x="254" y="588"/>
                    </a:lnTo>
                    <a:lnTo>
                      <a:pt x="254" y="588"/>
                    </a:lnTo>
                    <a:lnTo>
                      <a:pt x="256" y="590"/>
                    </a:lnTo>
                    <a:lnTo>
                      <a:pt x="262" y="592"/>
                    </a:lnTo>
                    <a:lnTo>
                      <a:pt x="268" y="596"/>
                    </a:lnTo>
                    <a:lnTo>
                      <a:pt x="272" y="600"/>
                    </a:lnTo>
                    <a:lnTo>
                      <a:pt x="274" y="602"/>
                    </a:lnTo>
                    <a:lnTo>
                      <a:pt x="276" y="606"/>
                    </a:lnTo>
                    <a:lnTo>
                      <a:pt x="276" y="606"/>
                    </a:lnTo>
                    <a:lnTo>
                      <a:pt x="278" y="608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2" y="612"/>
                    </a:lnTo>
                    <a:lnTo>
                      <a:pt x="268" y="612"/>
                    </a:lnTo>
                    <a:lnTo>
                      <a:pt x="262" y="612"/>
                    </a:lnTo>
                    <a:lnTo>
                      <a:pt x="256" y="612"/>
                    </a:lnTo>
                    <a:lnTo>
                      <a:pt x="252" y="610"/>
                    </a:lnTo>
                    <a:lnTo>
                      <a:pt x="250" y="610"/>
                    </a:lnTo>
                    <a:lnTo>
                      <a:pt x="250" y="610"/>
                    </a:lnTo>
                    <a:lnTo>
                      <a:pt x="248" y="610"/>
                    </a:lnTo>
                    <a:lnTo>
                      <a:pt x="248" y="608"/>
                    </a:lnTo>
                    <a:lnTo>
                      <a:pt x="246" y="606"/>
                    </a:lnTo>
                    <a:lnTo>
                      <a:pt x="244" y="602"/>
                    </a:lnTo>
                    <a:lnTo>
                      <a:pt x="244" y="600"/>
                    </a:lnTo>
                    <a:lnTo>
                      <a:pt x="242" y="598"/>
                    </a:lnTo>
                    <a:lnTo>
                      <a:pt x="242" y="594"/>
                    </a:lnTo>
                    <a:lnTo>
                      <a:pt x="240" y="592"/>
                    </a:lnTo>
                    <a:lnTo>
                      <a:pt x="238" y="584"/>
                    </a:lnTo>
                    <a:lnTo>
                      <a:pt x="236" y="576"/>
                    </a:lnTo>
                    <a:lnTo>
                      <a:pt x="232" y="566"/>
                    </a:lnTo>
                    <a:lnTo>
                      <a:pt x="230" y="558"/>
                    </a:lnTo>
                    <a:lnTo>
                      <a:pt x="228" y="552"/>
                    </a:lnTo>
                    <a:lnTo>
                      <a:pt x="228" y="548"/>
                    </a:lnTo>
                    <a:lnTo>
                      <a:pt x="226" y="546"/>
                    </a:lnTo>
                    <a:lnTo>
                      <a:pt x="226" y="546"/>
                    </a:lnTo>
                    <a:lnTo>
                      <a:pt x="226" y="544"/>
                    </a:lnTo>
                    <a:lnTo>
                      <a:pt x="222" y="542"/>
                    </a:lnTo>
                    <a:lnTo>
                      <a:pt x="220" y="540"/>
                    </a:lnTo>
                    <a:lnTo>
                      <a:pt x="220" y="538"/>
                    </a:lnTo>
                    <a:lnTo>
                      <a:pt x="218" y="536"/>
                    </a:lnTo>
                    <a:lnTo>
                      <a:pt x="218" y="530"/>
                    </a:lnTo>
                    <a:lnTo>
                      <a:pt x="216" y="524"/>
                    </a:lnTo>
                    <a:lnTo>
                      <a:pt x="216" y="524"/>
                    </a:lnTo>
                    <a:lnTo>
                      <a:pt x="214" y="522"/>
                    </a:lnTo>
                    <a:lnTo>
                      <a:pt x="210" y="520"/>
                    </a:lnTo>
                    <a:lnTo>
                      <a:pt x="206" y="518"/>
                    </a:lnTo>
                    <a:lnTo>
                      <a:pt x="200" y="516"/>
                    </a:lnTo>
                    <a:lnTo>
                      <a:pt x="196" y="512"/>
                    </a:lnTo>
                    <a:lnTo>
                      <a:pt x="196" y="512"/>
                    </a:lnTo>
                    <a:lnTo>
                      <a:pt x="192" y="508"/>
                    </a:lnTo>
                    <a:lnTo>
                      <a:pt x="190" y="506"/>
                    </a:lnTo>
                    <a:lnTo>
                      <a:pt x="188" y="504"/>
                    </a:lnTo>
                    <a:lnTo>
                      <a:pt x="188" y="504"/>
                    </a:lnTo>
                    <a:lnTo>
                      <a:pt x="188" y="500"/>
                    </a:lnTo>
                    <a:lnTo>
                      <a:pt x="188" y="500"/>
                    </a:lnTo>
                    <a:lnTo>
                      <a:pt x="188" y="498"/>
                    </a:lnTo>
                    <a:lnTo>
                      <a:pt x="188" y="498"/>
                    </a:lnTo>
                    <a:lnTo>
                      <a:pt x="190" y="498"/>
                    </a:lnTo>
                    <a:lnTo>
                      <a:pt x="192" y="498"/>
                    </a:lnTo>
                    <a:lnTo>
                      <a:pt x="192" y="498"/>
                    </a:lnTo>
                    <a:lnTo>
                      <a:pt x="192" y="498"/>
                    </a:lnTo>
                    <a:lnTo>
                      <a:pt x="192" y="500"/>
                    </a:lnTo>
                    <a:lnTo>
                      <a:pt x="196" y="502"/>
                    </a:lnTo>
                    <a:lnTo>
                      <a:pt x="198" y="506"/>
                    </a:lnTo>
                    <a:lnTo>
                      <a:pt x="200" y="510"/>
                    </a:lnTo>
                    <a:lnTo>
                      <a:pt x="200" y="510"/>
                    </a:lnTo>
                    <a:lnTo>
                      <a:pt x="202" y="510"/>
                    </a:lnTo>
                    <a:lnTo>
                      <a:pt x="206" y="512"/>
                    </a:lnTo>
                    <a:lnTo>
                      <a:pt x="212" y="512"/>
                    </a:lnTo>
                    <a:lnTo>
                      <a:pt x="218" y="514"/>
                    </a:lnTo>
                    <a:lnTo>
                      <a:pt x="222" y="516"/>
                    </a:lnTo>
                    <a:lnTo>
                      <a:pt x="222" y="516"/>
                    </a:lnTo>
                    <a:lnTo>
                      <a:pt x="222" y="516"/>
                    </a:lnTo>
                    <a:lnTo>
                      <a:pt x="224" y="518"/>
                    </a:lnTo>
                    <a:lnTo>
                      <a:pt x="226" y="518"/>
                    </a:lnTo>
                    <a:lnTo>
                      <a:pt x="228" y="518"/>
                    </a:lnTo>
                    <a:lnTo>
                      <a:pt x="228" y="520"/>
                    </a:lnTo>
                    <a:lnTo>
                      <a:pt x="230" y="522"/>
                    </a:lnTo>
                    <a:lnTo>
                      <a:pt x="232" y="524"/>
                    </a:lnTo>
                    <a:lnTo>
                      <a:pt x="234" y="526"/>
                    </a:lnTo>
                    <a:lnTo>
                      <a:pt x="234" y="526"/>
                    </a:lnTo>
                    <a:lnTo>
                      <a:pt x="236" y="526"/>
                    </a:lnTo>
                    <a:lnTo>
                      <a:pt x="240" y="526"/>
                    </a:lnTo>
                    <a:lnTo>
                      <a:pt x="244" y="528"/>
                    </a:lnTo>
                    <a:lnTo>
                      <a:pt x="248" y="530"/>
                    </a:lnTo>
                    <a:lnTo>
                      <a:pt x="252" y="532"/>
                    </a:lnTo>
                    <a:lnTo>
                      <a:pt x="252" y="532"/>
                    </a:lnTo>
                    <a:lnTo>
                      <a:pt x="254" y="532"/>
                    </a:lnTo>
                    <a:lnTo>
                      <a:pt x="258" y="532"/>
                    </a:lnTo>
                    <a:lnTo>
                      <a:pt x="264" y="534"/>
                    </a:lnTo>
                    <a:lnTo>
                      <a:pt x="272" y="536"/>
                    </a:lnTo>
                    <a:lnTo>
                      <a:pt x="276" y="536"/>
                    </a:lnTo>
                    <a:lnTo>
                      <a:pt x="282" y="536"/>
                    </a:lnTo>
                    <a:lnTo>
                      <a:pt x="286" y="538"/>
                    </a:lnTo>
                    <a:lnTo>
                      <a:pt x="292" y="538"/>
                    </a:lnTo>
                    <a:lnTo>
                      <a:pt x="292" y="538"/>
                    </a:lnTo>
                    <a:lnTo>
                      <a:pt x="294" y="538"/>
                    </a:lnTo>
                    <a:lnTo>
                      <a:pt x="298" y="534"/>
                    </a:lnTo>
                    <a:lnTo>
                      <a:pt x="302" y="532"/>
                    </a:lnTo>
                    <a:lnTo>
                      <a:pt x="306" y="530"/>
                    </a:lnTo>
                    <a:lnTo>
                      <a:pt x="312" y="526"/>
                    </a:lnTo>
                    <a:lnTo>
                      <a:pt x="316" y="522"/>
                    </a:lnTo>
                    <a:lnTo>
                      <a:pt x="316" y="522"/>
                    </a:lnTo>
                    <a:lnTo>
                      <a:pt x="316" y="522"/>
                    </a:lnTo>
                    <a:lnTo>
                      <a:pt x="318" y="518"/>
                    </a:lnTo>
                    <a:lnTo>
                      <a:pt x="318" y="518"/>
                    </a:lnTo>
                    <a:lnTo>
                      <a:pt x="320" y="518"/>
                    </a:lnTo>
                    <a:lnTo>
                      <a:pt x="320" y="516"/>
                    </a:lnTo>
                    <a:lnTo>
                      <a:pt x="322" y="512"/>
                    </a:lnTo>
                    <a:lnTo>
                      <a:pt x="322" y="510"/>
                    </a:lnTo>
                    <a:lnTo>
                      <a:pt x="324" y="506"/>
                    </a:lnTo>
                    <a:lnTo>
                      <a:pt x="324" y="502"/>
                    </a:lnTo>
                    <a:lnTo>
                      <a:pt x="324" y="496"/>
                    </a:lnTo>
                    <a:lnTo>
                      <a:pt x="324" y="496"/>
                    </a:lnTo>
                    <a:lnTo>
                      <a:pt x="324" y="496"/>
                    </a:lnTo>
                    <a:lnTo>
                      <a:pt x="324" y="492"/>
                    </a:lnTo>
                    <a:lnTo>
                      <a:pt x="322" y="490"/>
                    </a:lnTo>
                    <a:lnTo>
                      <a:pt x="322" y="486"/>
                    </a:lnTo>
                    <a:lnTo>
                      <a:pt x="322" y="486"/>
                    </a:lnTo>
                    <a:lnTo>
                      <a:pt x="322" y="486"/>
                    </a:lnTo>
                    <a:lnTo>
                      <a:pt x="318" y="482"/>
                    </a:lnTo>
                    <a:lnTo>
                      <a:pt x="316" y="480"/>
                    </a:lnTo>
                    <a:lnTo>
                      <a:pt x="316" y="480"/>
                    </a:lnTo>
                    <a:lnTo>
                      <a:pt x="316" y="478"/>
                    </a:lnTo>
                    <a:lnTo>
                      <a:pt x="312" y="476"/>
                    </a:lnTo>
                    <a:lnTo>
                      <a:pt x="308" y="474"/>
                    </a:lnTo>
                    <a:lnTo>
                      <a:pt x="306" y="472"/>
                    </a:lnTo>
                    <a:lnTo>
                      <a:pt x="304" y="468"/>
                    </a:lnTo>
                    <a:lnTo>
                      <a:pt x="300" y="462"/>
                    </a:lnTo>
                    <a:lnTo>
                      <a:pt x="298" y="458"/>
                    </a:lnTo>
                    <a:lnTo>
                      <a:pt x="296" y="454"/>
                    </a:lnTo>
                    <a:lnTo>
                      <a:pt x="292" y="448"/>
                    </a:lnTo>
                    <a:lnTo>
                      <a:pt x="292" y="448"/>
                    </a:lnTo>
                    <a:lnTo>
                      <a:pt x="286" y="442"/>
                    </a:lnTo>
                    <a:lnTo>
                      <a:pt x="282" y="438"/>
                    </a:lnTo>
                    <a:lnTo>
                      <a:pt x="276" y="434"/>
                    </a:lnTo>
                    <a:lnTo>
                      <a:pt x="276" y="434"/>
                    </a:lnTo>
                    <a:lnTo>
                      <a:pt x="274" y="434"/>
                    </a:lnTo>
                    <a:lnTo>
                      <a:pt x="270" y="434"/>
                    </a:lnTo>
                    <a:lnTo>
                      <a:pt x="266" y="432"/>
                    </a:lnTo>
                    <a:lnTo>
                      <a:pt x="262" y="430"/>
                    </a:lnTo>
                    <a:lnTo>
                      <a:pt x="258" y="428"/>
                    </a:lnTo>
                    <a:lnTo>
                      <a:pt x="248" y="424"/>
                    </a:lnTo>
                    <a:lnTo>
                      <a:pt x="244" y="422"/>
                    </a:lnTo>
                    <a:lnTo>
                      <a:pt x="240" y="418"/>
                    </a:lnTo>
                    <a:lnTo>
                      <a:pt x="240" y="418"/>
                    </a:lnTo>
                    <a:lnTo>
                      <a:pt x="238" y="418"/>
                    </a:lnTo>
                    <a:lnTo>
                      <a:pt x="234" y="418"/>
                    </a:lnTo>
                    <a:lnTo>
                      <a:pt x="230" y="418"/>
                    </a:lnTo>
                    <a:lnTo>
                      <a:pt x="224" y="418"/>
                    </a:lnTo>
                    <a:lnTo>
                      <a:pt x="218" y="418"/>
                    </a:lnTo>
                    <a:lnTo>
                      <a:pt x="214" y="418"/>
                    </a:lnTo>
                    <a:lnTo>
                      <a:pt x="210" y="418"/>
                    </a:lnTo>
                    <a:lnTo>
                      <a:pt x="206" y="418"/>
                    </a:lnTo>
                    <a:lnTo>
                      <a:pt x="206" y="418"/>
                    </a:lnTo>
                    <a:lnTo>
                      <a:pt x="206" y="418"/>
                    </a:lnTo>
                    <a:lnTo>
                      <a:pt x="204" y="418"/>
                    </a:lnTo>
                    <a:lnTo>
                      <a:pt x="204" y="416"/>
                    </a:lnTo>
                    <a:lnTo>
                      <a:pt x="204" y="414"/>
                    </a:lnTo>
                    <a:lnTo>
                      <a:pt x="204" y="410"/>
                    </a:lnTo>
                    <a:lnTo>
                      <a:pt x="204" y="406"/>
                    </a:lnTo>
                    <a:lnTo>
                      <a:pt x="202" y="402"/>
                    </a:lnTo>
                    <a:lnTo>
                      <a:pt x="202" y="402"/>
                    </a:lnTo>
                    <a:lnTo>
                      <a:pt x="200" y="400"/>
                    </a:lnTo>
                    <a:lnTo>
                      <a:pt x="196" y="400"/>
                    </a:lnTo>
                    <a:lnTo>
                      <a:pt x="194" y="398"/>
                    </a:lnTo>
                    <a:lnTo>
                      <a:pt x="186" y="396"/>
                    </a:lnTo>
                    <a:lnTo>
                      <a:pt x="180" y="396"/>
                    </a:lnTo>
                    <a:lnTo>
                      <a:pt x="174" y="396"/>
                    </a:lnTo>
                    <a:lnTo>
                      <a:pt x="174" y="396"/>
                    </a:lnTo>
                    <a:lnTo>
                      <a:pt x="172" y="396"/>
                    </a:lnTo>
                    <a:lnTo>
                      <a:pt x="164" y="400"/>
                    </a:lnTo>
                    <a:lnTo>
                      <a:pt x="156" y="406"/>
                    </a:lnTo>
                    <a:lnTo>
                      <a:pt x="152" y="410"/>
                    </a:lnTo>
                    <a:lnTo>
                      <a:pt x="148" y="412"/>
                    </a:lnTo>
                    <a:lnTo>
                      <a:pt x="144" y="416"/>
                    </a:lnTo>
                    <a:lnTo>
                      <a:pt x="142" y="420"/>
                    </a:lnTo>
                    <a:lnTo>
                      <a:pt x="140" y="422"/>
                    </a:lnTo>
                    <a:lnTo>
                      <a:pt x="138" y="424"/>
                    </a:lnTo>
                    <a:lnTo>
                      <a:pt x="134" y="426"/>
                    </a:lnTo>
                    <a:lnTo>
                      <a:pt x="132" y="428"/>
                    </a:lnTo>
                    <a:lnTo>
                      <a:pt x="132" y="428"/>
                    </a:lnTo>
                    <a:lnTo>
                      <a:pt x="132" y="428"/>
                    </a:lnTo>
                    <a:lnTo>
                      <a:pt x="130" y="428"/>
                    </a:lnTo>
                    <a:lnTo>
                      <a:pt x="130" y="428"/>
                    </a:lnTo>
                    <a:lnTo>
                      <a:pt x="130" y="430"/>
                    </a:lnTo>
                    <a:lnTo>
                      <a:pt x="128" y="432"/>
                    </a:lnTo>
                    <a:lnTo>
                      <a:pt x="128" y="432"/>
                    </a:lnTo>
                    <a:lnTo>
                      <a:pt x="128" y="432"/>
                    </a:lnTo>
                    <a:lnTo>
                      <a:pt x="128" y="434"/>
                    </a:lnTo>
                    <a:lnTo>
                      <a:pt x="128" y="434"/>
                    </a:lnTo>
                    <a:lnTo>
                      <a:pt x="128" y="434"/>
                    </a:lnTo>
                    <a:lnTo>
                      <a:pt x="128" y="436"/>
                    </a:lnTo>
                    <a:lnTo>
                      <a:pt x="128" y="436"/>
                    </a:lnTo>
                    <a:lnTo>
                      <a:pt x="130" y="438"/>
                    </a:lnTo>
                    <a:lnTo>
                      <a:pt x="130" y="440"/>
                    </a:lnTo>
                    <a:lnTo>
                      <a:pt x="132" y="442"/>
                    </a:lnTo>
                    <a:lnTo>
                      <a:pt x="134" y="446"/>
                    </a:lnTo>
                    <a:lnTo>
                      <a:pt x="138" y="448"/>
                    </a:lnTo>
                    <a:lnTo>
                      <a:pt x="138" y="450"/>
                    </a:lnTo>
                    <a:lnTo>
                      <a:pt x="140" y="452"/>
                    </a:lnTo>
                    <a:lnTo>
                      <a:pt x="140" y="452"/>
                    </a:lnTo>
                    <a:lnTo>
                      <a:pt x="140" y="452"/>
                    </a:lnTo>
                    <a:lnTo>
                      <a:pt x="140" y="454"/>
                    </a:lnTo>
                    <a:lnTo>
                      <a:pt x="142" y="454"/>
                    </a:lnTo>
                    <a:lnTo>
                      <a:pt x="142" y="454"/>
                    </a:lnTo>
                    <a:lnTo>
                      <a:pt x="142" y="456"/>
                    </a:lnTo>
                    <a:lnTo>
                      <a:pt x="142" y="456"/>
                    </a:lnTo>
                    <a:lnTo>
                      <a:pt x="142" y="456"/>
                    </a:lnTo>
                    <a:lnTo>
                      <a:pt x="142" y="458"/>
                    </a:lnTo>
                    <a:lnTo>
                      <a:pt x="142" y="458"/>
                    </a:lnTo>
                    <a:lnTo>
                      <a:pt x="142" y="460"/>
                    </a:lnTo>
                    <a:lnTo>
                      <a:pt x="142" y="460"/>
                    </a:lnTo>
                    <a:lnTo>
                      <a:pt x="142" y="460"/>
                    </a:lnTo>
                    <a:lnTo>
                      <a:pt x="142" y="464"/>
                    </a:lnTo>
                    <a:lnTo>
                      <a:pt x="144" y="466"/>
                    </a:lnTo>
                    <a:lnTo>
                      <a:pt x="146" y="472"/>
                    </a:lnTo>
                    <a:lnTo>
                      <a:pt x="148" y="476"/>
                    </a:lnTo>
                    <a:lnTo>
                      <a:pt x="148" y="478"/>
                    </a:lnTo>
                    <a:lnTo>
                      <a:pt x="150" y="482"/>
                    </a:lnTo>
                    <a:lnTo>
                      <a:pt x="150" y="484"/>
                    </a:lnTo>
                    <a:lnTo>
                      <a:pt x="148" y="486"/>
                    </a:lnTo>
                    <a:lnTo>
                      <a:pt x="146" y="490"/>
                    </a:lnTo>
                    <a:lnTo>
                      <a:pt x="144" y="492"/>
                    </a:lnTo>
                    <a:lnTo>
                      <a:pt x="144" y="492"/>
                    </a:lnTo>
                    <a:lnTo>
                      <a:pt x="144" y="492"/>
                    </a:lnTo>
                    <a:lnTo>
                      <a:pt x="144" y="494"/>
                    </a:lnTo>
                    <a:lnTo>
                      <a:pt x="144" y="494"/>
                    </a:lnTo>
                    <a:lnTo>
                      <a:pt x="144" y="496"/>
                    </a:lnTo>
                    <a:lnTo>
                      <a:pt x="144" y="498"/>
                    </a:lnTo>
                    <a:lnTo>
                      <a:pt x="144" y="502"/>
                    </a:lnTo>
                    <a:lnTo>
                      <a:pt x="144" y="504"/>
                    </a:lnTo>
                    <a:lnTo>
                      <a:pt x="144" y="508"/>
                    </a:lnTo>
                    <a:lnTo>
                      <a:pt x="144" y="508"/>
                    </a:lnTo>
                    <a:lnTo>
                      <a:pt x="144" y="510"/>
                    </a:lnTo>
                    <a:lnTo>
                      <a:pt x="148" y="514"/>
                    </a:lnTo>
                    <a:lnTo>
                      <a:pt x="148" y="516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52" y="532"/>
                    </a:lnTo>
                    <a:lnTo>
                      <a:pt x="154" y="542"/>
                    </a:lnTo>
                    <a:lnTo>
                      <a:pt x="154" y="544"/>
                    </a:lnTo>
                    <a:lnTo>
                      <a:pt x="154" y="544"/>
                    </a:lnTo>
                    <a:lnTo>
                      <a:pt x="154" y="546"/>
                    </a:lnTo>
                    <a:lnTo>
                      <a:pt x="156" y="546"/>
                    </a:lnTo>
                    <a:lnTo>
                      <a:pt x="156" y="550"/>
                    </a:lnTo>
                    <a:lnTo>
                      <a:pt x="158" y="552"/>
                    </a:lnTo>
                    <a:lnTo>
                      <a:pt x="158" y="554"/>
                    </a:lnTo>
                    <a:lnTo>
                      <a:pt x="158" y="556"/>
                    </a:lnTo>
                    <a:lnTo>
                      <a:pt x="158" y="560"/>
                    </a:lnTo>
                    <a:lnTo>
                      <a:pt x="158" y="564"/>
                    </a:lnTo>
                    <a:lnTo>
                      <a:pt x="158" y="570"/>
                    </a:lnTo>
                    <a:lnTo>
                      <a:pt x="156" y="576"/>
                    </a:lnTo>
                    <a:lnTo>
                      <a:pt x="156" y="584"/>
                    </a:lnTo>
                    <a:lnTo>
                      <a:pt x="154" y="592"/>
                    </a:lnTo>
                    <a:lnTo>
                      <a:pt x="154" y="598"/>
                    </a:lnTo>
                    <a:lnTo>
                      <a:pt x="154" y="606"/>
                    </a:lnTo>
                    <a:lnTo>
                      <a:pt x="154" y="612"/>
                    </a:lnTo>
                    <a:lnTo>
                      <a:pt x="154" y="612"/>
                    </a:lnTo>
                    <a:lnTo>
                      <a:pt x="154" y="612"/>
                    </a:lnTo>
                    <a:lnTo>
                      <a:pt x="156" y="616"/>
                    </a:lnTo>
                    <a:lnTo>
                      <a:pt x="158" y="622"/>
                    </a:lnTo>
                    <a:lnTo>
                      <a:pt x="164" y="628"/>
                    </a:lnTo>
                    <a:lnTo>
                      <a:pt x="166" y="632"/>
                    </a:lnTo>
                    <a:lnTo>
                      <a:pt x="168" y="636"/>
                    </a:lnTo>
                    <a:lnTo>
                      <a:pt x="170" y="640"/>
                    </a:lnTo>
                    <a:lnTo>
                      <a:pt x="172" y="644"/>
                    </a:lnTo>
                    <a:lnTo>
                      <a:pt x="170" y="648"/>
                    </a:lnTo>
                    <a:lnTo>
                      <a:pt x="170" y="648"/>
                    </a:lnTo>
                    <a:lnTo>
                      <a:pt x="170" y="650"/>
                    </a:lnTo>
                    <a:lnTo>
                      <a:pt x="170" y="656"/>
                    </a:lnTo>
                    <a:lnTo>
                      <a:pt x="168" y="662"/>
                    </a:lnTo>
                    <a:lnTo>
                      <a:pt x="168" y="666"/>
                    </a:lnTo>
                    <a:lnTo>
                      <a:pt x="168" y="668"/>
                    </a:lnTo>
                    <a:lnTo>
                      <a:pt x="166" y="668"/>
                    </a:lnTo>
                    <a:lnTo>
                      <a:pt x="166" y="668"/>
                    </a:lnTo>
                    <a:lnTo>
                      <a:pt x="164" y="668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58" y="670"/>
                    </a:lnTo>
                    <a:lnTo>
                      <a:pt x="158" y="672"/>
                    </a:lnTo>
                    <a:lnTo>
                      <a:pt x="158" y="672"/>
                    </a:lnTo>
                    <a:lnTo>
                      <a:pt x="156" y="672"/>
                    </a:lnTo>
                    <a:lnTo>
                      <a:pt x="156" y="674"/>
                    </a:lnTo>
                    <a:lnTo>
                      <a:pt x="156" y="674"/>
                    </a:lnTo>
                    <a:lnTo>
                      <a:pt x="156" y="674"/>
                    </a:lnTo>
                    <a:lnTo>
                      <a:pt x="156" y="676"/>
                    </a:lnTo>
                    <a:lnTo>
                      <a:pt x="156" y="680"/>
                    </a:lnTo>
                    <a:lnTo>
                      <a:pt x="156" y="684"/>
                    </a:lnTo>
                    <a:lnTo>
                      <a:pt x="154" y="686"/>
                    </a:lnTo>
                    <a:lnTo>
                      <a:pt x="154" y="686"/>
                    </a:lnTo>
                    <a:lnTo>
                      <a:pt x="150" y="688"/>
                    </a:lnTo>
                    <a:lnTo>
                      <a:pt x="146" y="692"/>
                    </a:lnTo>
                    <a:lnTo>
                      <a:pt x="144" y="696"/>
                    </a:lnTo>
                    <a:lnTo>
                      <a:pt x="144" y="696"/>
                    </a:lnTo>
                    <a:lnTo>
                      <a:pt x="144" y="698"/>
                    </a:lnTo>
                    <a:lnTo>
                      <a:pt x="142" y="700"/>
                    </a:lnTo>
                    <a:lnTo>
                      <a:pt x="140" y="702"/>
                    </a:lnTo>
                    <a:lnTo>
                      <a:pt x="138" y="704"/>
                    </a:lnTo>
                    <a:lnTo>
                      <a:pt x="136" y="706"/>
                    </a:lnTo>
                    <a:lnTo>
                      <a:pt x="134" y="708"/>
                    </a:lnTo>
                    <a:lnTo>
                      <a:pt x="134" y="710"/>
                    </a:lnTo>
                    <a:lnTo>
                      <a:pt x="134" y="710"/>
                    </a:lnTo>
                    <a:lnTo>
                      <a:pt x="134" y="710"/>
                    </a:lnTo>
                    <a:lnTo>
                      <a:pt x="132" y="712"/>
                    </a:lnTo>
                    <a:lnTo>
                      <a:pt x="132" y="712"/>
                    </a:lnTo>
                    <a:lnTo>
                      <a:pt x="132" y="712"/>
                    </a:lnTo>
                    <a:lnTo>
                      <a:pt x="132" y="714"/>
                    </a:lnTo>
                    <a:lnTo>
                      <a:pt x="132" y="714"/>
                    </a:lnTo>
                    <a:lnTo>
                      <a:pt x="132" y="716"/>
                    </a:lnTo>
                    <a:lnTo>
                      <a:pt x="134" y="718"/>
                    </a:lnTo>
                    <a:lnTo>
                      <a:pt x="134" y="718"/>
                    </a:lnTo>
                    <a:lnTo>
                      <a:pt x="134" y="718"/>
                    </a:lnTo>
                    <a:lnTo>
                      <a:pt x="136" y="722"/>
                    </a:lnTo>
                    <a:lnTo>
                      <a:pt x="138" y="724"/>
                    </a:lnTo>
                    <a:lnTo>
                      <a:pt x="140" y="728"/>
                    </a:lnTo>
                    <a:lnTo>
                      <a:pt x="140" y="728"/>
                    </a:lnTo>
                    <a:lnTo>
                      <a:pt x="142" y="728"/>
                    </a:lnTo>
                    <a:lnTo>
                      <a:pt x="144" y="732"/>
                    </a:lnTo>
                    <a:lnTo>
                      <a:pt x="146" y="734"/>
                    </a:lnTo>
                    <a:lnTo>
                      <a:pt x="148" y="736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2" y="738"/>
                    </a:lnTo>
                    <a:lnTo>
                      <a:pt x="140" y="740"/>
                    </a:lnTo>
                    <a:lnTo>
                      <a:pt x="140" y="740"/>
                    </a:lnTo>
                    <a:lnTo>
                      <a:pt x="140" y="740"/>
                    </a:lnTo>
                    <a:lnTo>
                      <a:pt x="138" y="740"/>
                    </a:lnTo>
                    <a:lnTo>
                      <a:pt x="138" y="740"/>
                    </a:lnTo>
                    <a:lnTo>
                      <a:pt x="136" y="740"/>
                    </a:lnTo>
                    <a:lnTo>
                      <a:pt x="134" y="742"/>
                    </a:lnTo>
                    <a:lnTo>
                      <a:pt x="134" y="742"/>
                    </a:lnTo>
                    <a:lnTo>
                      <a:pt x="134" y="742"/>
                    </a:lnTo>
                    <a:lnTo>
                      <a:pt x="132" y="744"/>
                    </a:lnTo>
                    <a:lnTo>
                      <a:pt x="132" y="744"/>
                    </a:lnTo>
                    <a:lnTo>
                      <a:pt x="132" y="746"/>
                    </a:lnTo>
                    <a:lnTo>
                      <a:pt x="132" y="748"/>
                    </a:lnTo>
                    <a:lnTo>
                      <a:pt x="130" y="748"/>
                    </a:lnTo>
                    <a:lnTo>
                      <a:pt x="130" y="748"/>
                    </a:lnTo>
                    <a:lnTo>
                      <a:pt x="130" y="750"/>
                    </a:lnTo>
                    <a:lnTo>
                      <a:pt x="130" y="750"/>
                    </a:lnTo>
                    <a:lnTo>
                      <a:pt x="130" y="750"/>
                    </a:lnTo>
                    <a:lnTo>
                      <a:pt x="130" y="752"/>
                    </a:lnTo>
                    <a:lnTo>
                      <a:pt x="128" y="756"/>
                    </a:lnTo>
                    <a:lnTo>
                      <a:pt x="128" y="756"/>
                    </a:lnTo>
                    <a:lnTo>
                      <a:pt x="128" y="756"/>
                    </a:lnTo>
                    <a:lnTo>
                      <a:pt x="128" y="760"/>
                    </a:lnTo>
                    <a:lnTo>
                      <a:pt x="128" y="762"/>
                    </a:lnTo>
                    <a:lnTo>
                      <a:pt x="128" y="766"/>
                    </a:lnTo>
                    <a:lnTo>
                      <a:pt x="126" y="768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124" y="774"/>
                    </a:lnTo>
                    <a:lnTo>
                      <a:pt x="124" y="774"/>
                    </a:lnTo>
                    <a:lnTo>
                      <a:pt x="124" y="776"/>
                    </a:lnTo>
                    <a:lnTo>
                      <a:pt x="124" y="778"/>
                    </a:lnTo>
                    <a:lnTo>
                      <a:pt x="124" y="778"/>
                    </a:lnTo>
                    <a:lnTo>
                      <a:pt x="124" y="778"/>
                    </a:lnTo>
                    <a:lnTo>
                      <a:pt x="124" y="780"/>
                    </a:lnTo>
                    <a:lnTo>
                      <a:pt x="124" y="782"/>
                    </a:lnTo>
                    <a:lnTo>
                      <a:pt x="122" y="784"/>
                    </a:lnTo>
                    <a:lnTo>
                      <a:pt x="122" y="788"/>
                    </a:lnTo>
                    <a:lnTo>
                      <a:pt x="122" y="790"/>
                    </a:lnTo>
                    <a:lnTo>
                      <a:pt x="122" y="792"/>
                    </a:lnTo>
                    <a:lnTo>
                      <a:pt x="122" y="792"/>
                    </a:lnTo>
                    <a:lnTo>
                      <a:pt x="122" y="792"/>
                    </a:lnTo>
                    <a:lnTo>
                      <a:pt x="124" y="794"/>
                    </a:lnTo>
                    <a:lnTo>
                      <a:pt x="124" y="794"/>
                    </a:lnTo>
                    <a:lnTo>
                      <a:pt x="124" y="794"/>
                    </a:lnTo>
                    <a:lnTo>
                      <a:pt x="124" y="796"/>
                    </a:lnTo>
                    <a:lnTo>
                      <a:pt x="124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8" y="796"/>
                    </a:lnTo>
                    <a:lnTo>
                      <a:pt x="128" y="796"/>
                    </a:lnTo>
                    <a:lnTo>
                      <a:pt x="128" y="796"/>
                    </a:lnTo>
                    <a:lnTo>
                      <a:pt x="128" y="798"/>
                    </a:lnTo>
                    <a:lnTo>
                      <a:pt x="130" y="800"/>
                    </a:lnTo>
                    <a:lnTo>
                      <a:pt x="130" y="800"/>
                    </a:lnTo>
                    <a:lnTo>
                      <a:pt x="130" y="800"/>
                    </a:lnTo>
                    <a:lnTo>
                      <a:pt x="132" y="802"/>
                    </a:lnTo>
                    <a:lnTo>
                      <a:pt x="134" y="802"/>
                    </a:lnTo>
                    <a:lnTo>
                      <a:pt x="134" y="804"/>
                    </a:lnTo>
                    <a:lnTo>
                      <a:pt x="134" y="804"/>
                    </a:lnTo>
                    <a:lnTo>
                      <a:pt x="132" y="806"/>
                    </a:lnTo>
                    <a:lnTo>
                      <a:pt x="132" y="808"/>
                    </a:lnTo>
                    <a:lnTo>
                      <a:pt x="132" y="810"/>
                    </a:lnTo>
                    <a:lnTo>
                      <a:pt x="130" y="814"/>
                    </a:lnTo>
                    <a:lnTo>
                      <a:pt x="130" y="818"/>
                    </a:lnTo>
                    <a:lnTo>
                      <a:pt x="128" y="822"/>
                    </a:lnTo>
                    <a:lnTo>
                      <a:pt x="128" y="826"/>
                    </a:lnTo>
                    <a:lnTo>
                      <a:pt x="128" y="828"/>
                    </a:lnTo>
                    <a:lnTo>
                      <a:pt x="128" y="828"/>
                    </a:lnTo>
                    <a:lnTo>
                      <a:pt x="128" y="830"/>
                    </a:lnTo>
                    <a:lnTo>
                      <a:pt x="128" y="832"/>
                    </a:lnTo>
                    <a:lnTo>
                      <a:pt x="128" y="832"/>
                    </a:lnTo>
                    <a:lnTo>
                      <a:pt x="128" y="832"/>
                    </a:lnTo>
                    <a:lnTo>
                      <a:pt x="130" y="834"/>
                    </a:lnTo>
                    <a:lnTo>
                      <a:pt x="130" y="834"/>
                    </a:lnTo>
                    <a:lnTo>
                      <a:pt x="130" y="836"/>
                    </a:lnTo>
                    <a:lnTo>
                      <a:pt x="132" y="838"/>
                    </a:lnTo>
                    <a:lnTo>
                      <a:pt x="132" y="838"/>
                    </a:lnTo>
                    <a:lnTo>
                      <a:pt x="132" y="838"/>
                    </a:lnTo>
                    <a:lnTo>
                      <a:pt x="136" y="840"/>
                    </a:lnTo>
                    <a:lnTo>
                      <a:pt x="140" y="844"/>
                    </a:lnTo>
                    <a:lnTo>
                      <a:pt x="144" y="846"/>
                    </a:lnTo>
                    <a:lnTo>
                      <a:pt x="148" y="848"/>
                    </a:lnTo>
                    <a:lnTo>
                      <a:pt x="152" y="852"/>
                    </a:lnTo>
                    <a:lnTo>
                      <a:pt x="154" y="856"/>
                    </a:lnTo>
                    <a:lnTo>
                      <a:pt x="158" y="858"/>
                    </a:lnTo>
                    <a:lnTo>
                      <a:pt x="160" y="860"/>
                    </a:lnTo>
                    <a:lnTo>
                      <a:pt x="160" y="860"/>
                    </a:lnTo>
                    <a:lnTo>
                      <a:pt x="162" y="862"/>
                    </a:lnTo>
                    <a:lnTo>
                      <a:pt x="162" y="862"/>
                    </a:lnTo>
                    <a:lnTo>
                      <a:pt x="164" y="864"/>
                    </a:lnTo>
                    <a:lnTo>
                      <a:pt x="164" y="866"/>
                    </a:lnTo>
                    <a:lnTo>
                      <a:pt x="164" y="868"/>
                    </a:lnTo>
                    <a:lnTo>
                      <a:pt x="166" y="872"/>
                    </a:lnTo>
                    <a:lnTo>
                      <a:pt x="168" y="878"/>
                    </a:lnTo>
                    <a:lnTo>
                      <a:pt x="170" y="882"/>
                    </a:lnTo>
                    <a:lnTo>
                      <a:pt x="172" y="886"/>
                    </a:lnTo>
                    <a:lnTo>
                      <a:pt x="172" y="890"/>
                    </a:lnTo>
                    <a:lnTo>
                      <a:pt x="172" y="892"/>
                    </a:lnTo>
                    <a:lnTo>
                      <a:pt x="172" y="898"/>
                    </a:lnTo>
                    <a:lnTo>
                      <a:pt x="172" y="902"/>
                    </a:lnTo>
                    <a:lnTo>
                      <a:pt x="172" y="906"/>
                    </a:lnTo>
                    <a:lnTo>
                      <a:pt x="172" y="906"/>
                    </a:lnTo>
                    <a:lnTo>
                      <a:pt x="172" y="906"/>
                    </a:lnTo>
                    <a:lnTo>
                      <a:pt x="172" y="908"/>
                    </a:lnTo>
                    <a:lnTo>
                      <a:pt x="172" y="910"/>
                    </a:lnTo>
                    <a:lnTo>
                      <a:pt x="172" y="912"/>
                    </a:lnTo>
                    <a:lnTo>
                      <a:pt x="174" y="916"/>
                    </a:lnTo>
                    <a:lnTo>
                      <a:pt x="174" y="918"/>
                    </a:lnTo>
                    <a:lnTo>
                      <a:pt x="174" y="920"/>
                    </a:lnTo>
                    <a:lnTo>
                      <a:pt x="174" y="922"/>
                    </a:lnTo>
                    <a:lnTo>
                      <a:pt x="174" y="922"/>
                    </a:lnTo>
                    <a:lnTo>
                      <a:pt x="174" y="924"/>
                    </a:lnTo>
                    <a:lnTo>
                      <a:pt x="172" y="926"/>
                    </a:lnTo>
                    <a:lnTo>
                      <a:pt x="170" y="928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68" y="932"/>
                    </a:lnTo>
                    <a:lnTo>
                      <a:pt x="168" y="932"/>
                    </a:lnTo>
                    <a:lnTo>
                      <a:pt x="168" y="934"/>
                    </a:lnTo>
                    <a:lnTo>
                      <a:pt x="168" y="936"/>
                    </a:lnTo>
                    <a:lnTo>
                      <a:pt x="168" y="936"/>
                    </a:lnTo>
                    <a:lnTo>
                      <a:pt x="170" y="936"/>
                    </a:lnTo>
                    <a:lnTo>
                      <a:pt x="170" y="938"/>
                    </a:lnTo>
                    <a:lnTo>
                      <a:pt x="170" y="938"/>
                    </a:lnTo>
                    <a:lnTo>
                      <a:pt x="170" y="938"/>
                    </a:lnTo>
                    <a:lnTo>
                      <a:pt x="172" y="940"/>
                    </a:lnTo>
                    <a:lnTo>
                      <a:pt x="172" y="940"/>
                    </a:lnTo>
                    <a:lnTo>
                      <a:pt x="172" y="940"/>
                    </a:lnTo>
                    <a:lnTo>
                      <a:pt x="174" y="940"/>
                    </a:lnTo>
                    <a:lnTo>
                      <a:pt x="176" y="942"/>
                    </a:lnTo>
                    <a:lnTo>
                      <a:pt x="178" y="942"/>
                    </a:lnTo>
                    <a:lnTo>
                      <a:pt x="182" y="942"/>
                    </a:lnTo>
                    <a:lnTo>
                      <a:pt x="188" y="942"/>
                    </a:lnTo>
                    <a:lnTo>
                      <a:pt x="194" y="942"/>
                    </a:lnTo>
                    <a:lnTo>
                      <a:pt x="200" y="942"/>
                    </a:lnTo>
                    <a:lnTo>
                      <a:pt x="206" y="942"/>
                    </a:lnTo>
                    <a:lnTo>
                      <a:pt x="210" y="942"/>
                    </a:lnTo>
                    <a:lnTo>
                      <a:pt x="212" y="942"/>
                    </a:lnTo>
                    <a:lnTo>
                      <a:pt x="214" y="942"/>
                    </a:lnTo>
                    <a:lnTo>
                      <a:pt x="216" y="942"/>
                    </a:lnTo>
                    <a:lnTo>
                      <a:pt x="216" y="944"/>
                    </a:lnTo>
                    <a:lnTo>
                      <a:pt x="218" y="946"/>
                    </a:lnTo>
                    <a:lnTo>
                      <a:pt x="218" y="946"/>
                    </a:lnTo>
                    <a:lnTo>
                      <a:pt x="218" y="952"/>
                    </a:lnTo>
                    <a:lnTo>
                      <a:pt x="218" y="954"/>
                    </a:lnTo>
                    <a:lnTo>
                      <a:pt x="218" y="954"/>
                    </a:lnTo>
                    <a:lnTo>
                      <a:pt x="220" y="954"/>
                    </a:lnTo>
                    <a:lnTo>
                      <a:pt x="220" y="956"/>
                    </a:lnTo>
                    <a:lnTo>
                      <a:pt x="220" y="956"/>
                    </a:lnTo>
                    <a:lnTo>
                      <a:pt x="220" y="956"/>
                    </a:lnTo>
                    <a:lnTo>
                      <a:pt x="222" y="958"/>
                    </a:lnTo>
                    <a:lnTo>
                      <a:pt x="222" y="958"/>
                    </a:lnTo>
                    <a:lnTo>
                      <a:pt x="222" y="958"/>
                    </a:lnTo>
                    <a:lnTo>
                      <a:pt x="224" y="960"/>
                    </a:lnTo>
                    <a:lnTo>
                      <a:pt x="224" y="960"/>
                    </a:lnTo>
                    <a:lnTo>
                      <a:pt x="224" y="960"/>
                    </a:lnTo>
                    <a:lnTo>
                      <a:pt x="228" y="962"/>
                    </a:lnTo>
                    <a:lnTo>
                      <a:pt x="232" y="964"/>
                    </a:lnTo>
                    <a:lnTo>
                      <a:pt x="232" y="964"/>
                    </a:lnTo>
                    <a:lnTo>
                      <a:pt x="234" y="966"/>
                    </a:lnTo>
                    <a:lnTo>
                      <a:pt x="234" y="966"/>
                    </a:lnTo>
                    <a:lnTo>
                      <a:pt x="234" y="966"/>
                    </a:lnTo>
                    <a:lnTo>
                      <a:pt x="238" y="970"/>
                    </a:lnTo>
                    <a:lnTo>
                      <a:pt x="242" y="974"/>
                    </a:lnTo>
                    <a:lnTo>
                      <a:pt x="248" y="978"/>
                    </a:lnTo>
                    <a:lnTo>
                      <a:pt x="252" y="980"/>
                    </a:lnTo>
                    <a:lnTo>
                      <a:pt x="252" y="980"/>
                    </a:lnTo>
                    <a:lnTo>
                      <a:pt x="252" y="982"/>
                    </a:lnTo>
                    <a:lnTo>
                      <a:pt x="254" y="982"/>
                    </a:lnTo>
                    <a:lnTo>
                      <a:pt x="254" y="982"/>
                    </a:lnTo>
                    <a:lnTo>
                      <a:pt x="256" y="982"/>
                    </a:lnTo>
                    <a:lnTo>
                      <a:pt x="260" y="982"/>
                    </a:lnTo>
                    <a:lnTo>
                      <a:pt x="266" y="984"/>
                    </a:lnTo>
                    <a:lnTo>
                      <a:pt x="268" y="986"/>
                    </a:lnTo>
                    <a:lnTo>
                      <a:pt x="270" y="986"/>
                    </a:lnTo>
                    <a:lnTo>
                      <a:pt x="272" y="988"/>
                    </a:lnTo>
                    <a:lnTo>
                      <a:pt x="272" y="988"/>
                    </a:lnTo>
                    <a:lnTo>
                      <a:pt x="274" y="988"/>
                    </a:lnTo>
                    <a:lnTo>
                      <a:pt x="274" y="990"/>
                    </a:lnTo>
                    <a:lnTo>
                      <a:pt x="274" y="990"/>
                    </a:lnTo>
                    <a:lnTo>
                      <a:pt x="276" y="990"/>
                    </a:lnTo>
                    <a:lnTo>
                      <a:pt x="278" y="990"/>
                    </a:lnTo>
                    <a:lnTo>
                      <a:pt x="278" y="990"/>
                    </a:lnTo>
                    <a:lnTo>
                      <a:pt x="278" y="990"/>
                    </a:lnTo>
                    <a:lnTo>
                      <a:pt x="280" y="990"/>
                    </a:lnTo>
                    <a:lnTo>
                      <a:pt x="280" y="988"/>
                    </a:lnTo>
                    <a:lnTo>
                      <a:pt x="282" y="988"/>
                    </a:lnTo>
                    <a:lnTo>
                      <a:pt x="284" y="988"/>
                    </a:lnTo>
                    <a:lnTo>
                      <a:pt x="286" y="988"/>
                    </a:lnTo>
                    <a:lnTo>
                      <a:pt x="288" y="988"/>
                    </a:lnTo>
                    <a:lnTo>
                      <a:pt x="290" y="990"/>
                    </a:lnTo>
                    <a:lnTo>
                      <a:pt x="296" y="992"/>
                    </a:lnTo>
                    <a:lnTo>
                      <a:pt x="300" y="994"/>
                    </a:lnTo>
                    <a:lnTo>
                      <a:pt x="304" y="996"/>
                    </a:lnTo>
                    <a:lnTo>
                      <a:pt x="306" y="998"/>
                    </a:lnTo>
                    <a:lnTo>
                      <a:pt x="306" y="998"/>
                    </a:lnTo>
                    <a:lnTo>
                      <a:pt x="308" y="1000"/>
                    </a:lnTo>
                    <a:lnTo>
                      <a:pt x="308" y="1004"/>
                    </a:lnTo>
                    <a:lnTo>
                      <a:pt x="308" y="1004"/>
                    </a:lnTo>
                    <a:lnTo>
                      <a:pt x="310" y="1006"/>
                    </a:lnTo>
                    <a:lnTo>
                      <a:pt x="308" y="1008"/>
                    </a:lnTo>
                    <a:lnTo>
                      <a:pt x="308" y="1010"/>
                    </a:lnTo>
                    <a:lnTo>
                      <a:pt x="308" y="1014"/>
                    </a:lnTo>
                    <a:lnTo>
                      <a:pt x="306" y="1018"/>
                    </a:lnTo>
                    <a:lnTo>
                      <a:pt x="304" y="1024"/>
                    </a:lnTo>
                    <a:lnTo>
                      <a:pt x="302" y="1028"/>
                    </a:lnTo>
                    <a:lnTo>
                      <a:pt x="302" y="1030"/>
                    </a:lnTo>
                    <a:lnTo>
                      <a:pt x="298" y="1036"/>
                    </a:lnTo>
                    <a:lnTo>
                      <a:pt x="298" y="1036"/>
                    </a:lnTo>
                    <a:lnTo>
                      <a:pt x="296" y="1040"/>
                    </a:lnTo>
                    <a:lnTo>
                      <a:pt x="292" y="1042"/>
                    </a:lnTo>
                    <a:lnTo>
                      <a:pt x="290" y="1044"/>
                    </a:lnTo>
                    <a:lnTo>
                      <a:pt x="290" y="1044"/>
                    </a:lnTo>
                    <a:lnTo>
                      <a:pt x="288" y="1044"/>
                    </a:lnTo>
                    <a:lnTo>
                      <a:pt x="288" y="1044"/>
                    </a:lnTo>
                    <a:lnTo>
                      <a:pt x="286" y="1044"/>
                    </a:lnTo>
                    <a:lnTo>
                      <a:pt x="284" y="1042"/>
                    </a:lnTo>
                    <a:lnTo>
                      <a:pt x="284" y="1042"/>
                    </a:lnTo>
                    <a:lnTo>
                      <a:pt x="284" y="1042"/>
                    </a:lnTo>
                    <a:lnTo>
                      <a:pt x="282" y="1042"/>
                    </a:lnTo>
                    <a:lnTo>
                      <a:pt x="282" y="1042"/>
                    </a:lnTo>
                    <a:lnTo>
                      <a:pt x="280" y="1044"/>
                    </a:lnTo>
                    <a:lnTo>
                      <a:pt x="280" y="1044"/>
                    </a:lnTo>
                    <a:lnTo>
                      <a:pt x="280" y="1044"/>
                    </a:lnTo>
                    <a:lnTo>
                      <a:pt x="278" y="1046"/>
                    </a:lnTo>
                    <a:lnTo>
                      <a:pt x="278" y="1046"/>
                    </a:lnTo>
                    <a:lnTo>
                      <a:pt x="278" y="1046"/>
                    </a:lnTo>
                    <a:lnTo>
                      <a:pt x="278" y="1048"/>
                    </a:lnTo>
                    <a:lnTo>
                      <a:pt x="280" y="1050"/>
                    </a:lnTo>
                    <a:lnTo>
                      <a:pt x="284" y="1052"/>
                    </a:lnTo>
                    <a:lnTo>
                      <a:pt x="286" y="1052"/>
                    </a:lnTo>
                    <a:lnTo>
                      <a:pt x="286" y="1054"/>
                    </a:lnTo>
                    <a:lnTo>
                      <a:pt x="288" y="1056"/>
                    </a:lnTo>
                    <a:lnTo>
                      <a:pt x="288" y="1058"/>
                    </a:lnTo>
                    <a:lnTo>
                      <a:pt x="288" y="1058"/>
                    </a:lnTo>
                    <a:lnTo>
                      <a:pt x="288" y="1062"/>
                    </a:lnTo>
                    <a:lnTo>
                      <a:pt x="288" y="1064"/>
                    </a:lnTo>
                    <a:lnTo>
                      <a:pt x="288" y="1066"/>
                    </a:lnTo>
                    <a:lnTo>
                      <a:pt x="288" y="1066"/>
                    </a:lnTo>
                    <a:lnTo>
                      <a:pt x="286" y="1066"/>
                    </a:lnTo>
                    <a:lnTo>
                      <a:pt x="282" y="1066"/>
                    </a:lnTo>
                    <a:lnTo>
                      <a:pt x="282" y="1066"/>
                    </a:lnTo>
                    <a:lnTo>
                      <a:pt x="282" y="1066"/>
                    </a:lnTo>
                    <a:lnTo>
                      <a:pt x="280" y="1068"/>
                    </a:lnTo>
                    <a:lnTo>
                      <a:pt x="280" y="1068"/>
                    </a:lnTo>
                    <a:lnTo>
                      <a:pt x="280" y="1068"/>
                    </a:lnTo>
                    <a:lnTo>
                      <a:pt x="280" y="1070"/>
                    </a:lnTo>
                    <a:lnTo>
                      <a:pt x="280" y="1070"/>
                    </a:lnTo>
                    <a:lnTo>
                      <a:pt x="278" y="1070"/>
                    </a:lnTo>
                    <a:lnTo>
                      <a:pt x="278" y="1072"/>
                    </a:lnTo>
                    <a:lnTo>
                      <a:pt x="278" y="1078"/>
                    </a:lnTo>
                    <a:lnTo>
                      <a:pt x="278" y="1080"/>
                    </a:lnTo>
                    <a:lnTo>
                      <a:pt x="278" y="1082"/>
                    </a:lnTo>
                    <a:lnTo>
                      <a:pt x="278" y="1086"/>
                    </a:lnTo>
                    <a:lnTo>
                      <a:pt x="276" y="1090"/>
                    </a:lnTo>
                    <a:lnTo>
                      <a:pt x="276" y="1092"/>
                    </a:lnTo>
                    <a:lnTo>
                      <a:pt x="276" y="1092"/>
                    </a:lnTo>
                    <a:lnTo>
                      <a:pt x="276" y="1092"/>
                    </a:lnTo>
                    <a:lnTo>
                      <a:pt x="274" y="1092"/>
                    </a:lnTo>
                    <a:lnTo>
                      <a:pt x="272" y="1092"/>
                    </a:lnTo>
                    <a:lnTo>
                      <a:pt x="272" y="1092"/>
                    </a:lnTo>
                    <a:lnTo>
                      <a:pt x="272" y="1092"/>
                    </a:lnTo>
                    <a:lnTo>
                      <a:pt x="270" y="1094"/>
                    </a:lnTo>
                    <a:lnTo>
                      <a:pt x="270" y="1094"/>
                    </a:lnTo>
                    <a:lnTo>
                      <a:pt x="270" y="1094"/>
                    </a:lnTo>
                    <a:lnTo>
                      <a:pt x="268" y="1096"/>
                    </a:lnTo>
                    <a:lnTo>
                      <a:pt x="268" y="1096"/>
                    </a:lnTo>
                    <a:lnTo>
                      <a:pt x="268" y="1096"/>
                    </a:lnTo>
                    <a:lnTo>
                      <a:pt x="266" y="1098"/>
                    </a:lnTo>
                    <a:lnTo>
                      <a:pt x="266" y="1100"/>
                    </a:lnTo>
                    <a:lnTo>
                      <a:pt x="266" y="1102"/>
                    </a:lnTo>
                    <a:lnTo>
                      <a:pt x="266" y="1102"/>
                    </a:lnTo>
                    <a:lnTo>
                      <a:pt x="266" y="1104"/>
                    </a:lnTo>
                    <a:lnTo>
                      <a:pt x="266" y="1104"/>
                    </a:lnTo>
                    <a:lnTo>
                      <a:pt x="274" y="1108"/>
                    </a:lnTo>
                    <a:lnTo>
                      <a:pt x="280" y="1112"/>
                    </a:lnTo>
                    <a:lnTo>
                      <a:pt x="284" y="1116"/>
                    </a:lnTo>
                    <a:lnTo>
                      <a:pt x="286" y="1118"/>
                    </a:lnTo>
                    <a:lnTo>
                      <a:pt x="288" y="1120"/>
                    </a:lnTo>
                    <a:lnTo>
                      <a:pt x="292" y="1124"/>
                    </a:lnTo>
                    <a:lnTo>
                      <a:pt x="292" y="1124"/>
                    </a:lnTo>
                    <a:lnTo>
                      <a:pt x="294" y="1124"/>
                    </a:lnTo>
                    <a:lnTo>
                      <a:pt x="296" y="1126"/>
                    </a:lnTo>
                    <a:lnTo>
                      <a:pt x="298" y="1126"/>
                    </a:lnTo>
                    <a:lnTo>
                      <a:pt x="302" y="1128"/>
                    </a:lnTo>
                    <a:lnTo>
                      <a:pt x="306" y="1132"/>
                    </a:lnTo>
                    <a:lnTo>
                      <a:pt x="310" y="1134"/>
                    </a:lnTo>
                    <a:lnTo>
                      <a:pt x="310" y="1134"/>
                    </a:lnTo>
                    <a:lnTo>
                      <a:pt x="312" y="1134"/>
                    </a:lnTo>
                    <a:lnTo>
                      <a:pt x="318" y="1136"/>
                    </a:lnTo>
                    <a:lnTo>
                      <a:pt x="324" y="1138"/>
                    </a:lnTo>
                    <a:lnTo>
                      <a:pt x="330" y="1140"/>
                    </a:lnTo>
                    <a:lnTo>
                      <a:pt x="332" y="1140"/>
                    </a:lnTo>
                    <a:lnTo>
                      <a:pt x="334" y="1142"/>
                    </a:lnTo>
                    <a:lnTo>
                      <a:pt x="334" y="1142"/>
                    </a:lnTo>
                    <a:lnTo>
                      <a:pt x="336" y="1144"/>
                    </a:lnTo>
                    <a:lnTo>
                      <a:pt x="336" y="1144"/>
                    </a:lnTo>
                    <a:lnTo>
                      <a:pt x="338" y="1144"/>
                    </a:lnTo>
                    <a:lnTo>
                      <a:pt x="340" y="1144"/>
                    </a:lnTo>
                    <a:lnTo>
                      <a:pt x="342" y="1144"/>
                    </a:lnTo>
                    <a:lnTo>
                      <a:pt x="348" y="1146"/>
                    </a:lnTo>
                    <a:lnTo>
                      <a:pt x="350" y="1146"/>
                    </a:lnTo>
                    <a:lnTo>
                      <a:pt x="354" y="1146"/>
                    </a:lnTo>
                    <a:lnTo>
                      <a:pt x="360" y="1146"/>
                    </a:lnTo>
                    <a:lnTo>
                      <a:pt x="364" y="1148"/>
                    </a:lnTo>
                    <a:lnTo>
                      <a:pt x="370" y="1150"/>
                    </a:lnTo>
                    <a:lnTo>
                      <a:pt x="370" y="1150"/>
                    </a:lnTo>
                    <a:lnTo>
                      <a:pt x="374" y="1152"/>
                    </a:lnTo>
                    <a:lnTo>
                      <a:pt x="374" y="1152"/>
                    </a:lnTo>
                    <a:lnTo>
                      <a:pt x="376" y="1152"/>
                    </a:lnTo>
                    <a:lnTo>
                      <a:pt x="380" y="1152"/>
                    </a:lnTo>
                    <a:lnTo>
                      <a:pt x="382" y="1152"/>
                    </a:lnTo>
                    <a:lnTo>
                      <a:pt x="388" y="1154"/>
                    </a:lnTo>
                    <a:lnTo>
                      <a:pt x="390" y="1154"/>
                    </a:lnTo>
                    <a:lnTo>
                      <a:pt x="392" y="1154"/>
                    </a:lnTo>
                    <a:lnTo>
                      <a:pt x="394" y="1156"/>
                    </a:lnTo>
                    <a:lnTo>
                      <a:pt x="396" y="1158"/>
                    </a:lnTo>
                    <a:lnTo>
                      <a:pt x="396" y="1158"/>
                    </a:lnTo>
                    <a:lnTo>
                      <a:pt x="396" y="1158"/>
                    </a:lnTo>
                    <a:lnTo>
                      <a:pt x="398" y="1158"/>
                    </a:lnTo>
                    <a:lnTo>
                      <a:pt x="400" y="1160"/>
                    </a:lnTo>
                    <a:lnTo>
                      <a:pt x="400" y="1160"/>
                    </a:lnTo>
                    <a:lnTo>
                      <a:pt x="400" y="1160"/>
                    </a:lnTo>
                    <a:lnTo>
                      <a:pt x="402" y="1162"/>
                    </a:lnTo>
                    <a:lnTo>
                      <a:pt x="404" y="1166"/>
                    </a:lnTo>
                    <a:lnTo>
                      <a:pt x="408" y="1172"/>
                    </a:lnTo>
                    <a:lnTo>
                      <a:pt x="408" y="1172"/>
                    </a:lnTo>
                    <a:lnTo>
                      <a:pt x="408" y="1172"/>
                    </a:lnTo>
                    <a:lnTo>
                      <a:pt x="410" y="1176"/>
                    </a:lnTo>
                    <a:lnTo>
                      <a:pt x="414" y="1178"/>
                    </a:lnTo>
                    <a:lnTo>
                      <a:pt x="416" y="1180"/>
                    </a:lnTo>
                    <a:lnTo>
                      <a:pt x="418" y="1182"/>
                    </a:lnTo>
                    <a:lnTo>
                      <a:pt x="418" y="1182"/>
                    </a:lnTo>
                    <a:lnTo>
                      <a:pt x="418" y="1182"/>
                    </a:lnTo>
                    <a:lnTo>
                      <a:pt x="420" y="1182"/>
                    </a:lnTo>
                    <a:lnTo>
                      <a:pt x="420" y="1182"/>
                    </a:lnTo>
                    <a:lnTo>
                      <a:pt x="420" y="1182"/>
                    </a:lnTo>
                    <a:lnTo>
                      <a:pt x="422" y="1182"/>
                    </a:lnTo>
                    <a:lnTo>
                      <a:pt x="422" y="1182"/>
                    </a:lnTo>
                    <a:lnTo>
                      <a:pt x="424" y="1182"/>
                    </a:lnTo>
                    <a:lnTo>
                      <a:pt x="424" y="1180"/>
                    </a:lnTo>
                    <a:lnTo>
                      <a:pt x="424" y="1180"/>
                    </a:lnTo>
                    <a:lnTo>
                      <a:pt x="426" y="1180"/>
                    </a:lnTo>
                    <a:lnTo>
                      <a:pt x="426" y="1178"/>
                    </a:lnTo>
                    <a:lnTo>
                      <a:pt x="426" y="1178"/>
                    </a:lnTo>
                    <a:lnTo>
                      <a:pt x="426" y="1178"/>
                    </a:lnTo>
                    <a:lnTo>
                      <a:pt x="428" y="1176"/>
                    </a:lnTo>
                    <a:lnTo>
                      <a:pt x="428" y="1176"/>
                    </a:lnTo>
                    <a:lnTo>
                      <a:pt x="428" y="1176"/>
                    </a:lnTo>
                    <a:lnTo>
                      <a:pt x="428" y="1174"/>
                    </a:lnTo>
                    <a:lnTo>
                      <a:pt x="428" y="1170"/>
                    </a:lnTo>
                    <a:lnTo>
                      <a:pt x="428" y="1168"/>
                    </a:lnTo>
                    <a:lnTo>
                      <a:pt x="428" y="1166"/>
                    </a:lnTo>
                    <a:lnTo>
                      <a:pt x="428" y="1166"/>
                    </a:lnTo>
                    <a:lnTo>
                      <a:pt x="428" y="1164"/>
                    </a:lnTo>
                    <a:lnTo>
                      <a:pt x="426" y="1162"/>
                    </a:lnTo>
                    <a:lnTo>
                      <a:pt x="426" y="1162"/>
                    </a:lnTo>
                    <a:lnTo>
                      <a:pt x="424" y="1162"/>
                    </a:lnTo>
                    <a:lnTo>
                      <a:pt x="424" y="1160"/>
                    </a:lnTo>
                    <a:lnTo>
                      <a:pt x="426" y="1158"/>
                    </a:lnTo>
                    <a:lnTo>
                      <a:pt x="426" y="1152"/>
                    </a:lnTo>
                    <a:lnTo>
                      <a:pt x="426" y="1150"/>
                    </a:lnTo>
                    <a:lnTo>
                      <a:pt x="426" y="1150"/>
                    </a:lnTo>
                    <a:lnTo>
                      <a:pt x="426" y="1150"/>
                    </a:lnTo>
                    <a:lnTo>
                      <a:pt x="426" y="1146"/>
                    </a:lnTo>
                    <a:lnTo>
                      <a:pt x="426" y="1146"/>
                    </a:lnTo>
                    <a:lnTo>
                      <a:pt x="426" y="1144"/>
                    </a:lnTo>
                    <a:lnTo>
                      <a:pt x="422" y="1136"/>
                    </a:lnTo>
                    <a:lnTo>
                      <a:pt x="420" y="1128"/>
                    </a:lnTo>
                    <a:lnTo>
                      <a:pt x="418" y="1120"/>
                    </a:lnTo>
                    <a:lnTo>
                      <a:pt x="418" y="1118"/>
                    </a:lnTo>
                    <a:lnTo>
                      <a:pt x="418" y="1114"/>
                    </a:lnTo>
                    <a:lnTo>
                      <a:pt x="420" y="1112"/>
                    </a:lnTo>
                    <a:lnTo>
                      <a:pt x="420" y="1108"/>
                    </a:lnTo>
                    <a:lnTo>
                      <a:pt x="422" y="1106"/>
                    </a:lnTo>
                    <a:lnTo>
                      <a:pt x="422" y="1104"/>
                    </a:lnTo>
                    <a:lnTo>
                      <a:pt x="424" y="1102"/>
                    </a:lnTo>
                    <a:lnTo>
                      <a:pt x="424" y="1102"/>
                    </a:lnTo>
                    <a:lnTo>
                      <a:pt x="424" y="1102"/>
                    </a:lnTo>
                    <a:lnTo>
                      <a:pt x="426" y="1100"/>
                    </a:lnTo>
                    <a:lnTo>
                      <a:pt x="426" y="1100"/>
                    </a:lnTo>
                    <a:lnTo>
                      <a:pt x="426" y="1100"/>
                    </a:lnTo>
                    <a:lnTo>
                      <a:pt x="428" y="1098"/>
                    </a:lnTo>
                    <a:lnTo>
                      <a:pt x="428" y="1098"/>
                    </a:lnTo>
                    <a:lnTo>
                      <a:pt x="428" y="1098"/>
                    </a:lnTo>
                    <a:lnTo>
                      <a:pt x="430" y="1094"/>
                    </a:lnTo>
                    <a:lnTo>
                      <a:pt x="430" y="1092"/>
                    </a:lnTo>
                    <a:lnTo>
                      <a:pt x="430" y="1090"/>
                    </a:lnTo>
                    <a:lnTo>
                      <a:pt x="432" y="1088"/>
                    </a:lnTo>
                    <a:lnTo>
                      <a:pt x="432" y="1088"/>
                    </a:lnTo>
                    <a:lnTo>
                      <a:pt x="432" y="1086"/>
                    </a:lnTo>
                    <a:lnTo>
                      <a:pt x="434" y="1084"/>
                    </a:lnTo>
                    <a:lnTo>
                      <a:pt x="434" y="1084"/>
                    </a:lnTo>
                    <a:lnTo>
                      <a:pt x="436" y="1084"/>
                    </a:lnTo>
                    <a:lnTo>
                      <a:pt x="438" y="1082"/>
                    </a:lnTo>
                    <a:lnTo>
                      <a:pt x="438" y="1082"/>
                    </a:lnTo>
                    <a:lnTo>
                      <a:pt x="438" y="1082"/>
                    </a:lnTo>
                    <a:lnTo>
                      <a:pt x="440" y="1080"/>
                    </a:lnTo>
                    <a:lnTo>
                      <a:pt x="440" y="1080"/>
                    </a:lnTo>
                    <a:lnTo>
                      <a:pt x="440" y="1080"/>
                    </a:lnTo>
                    <a:lnTo>
                      <a:pt x="440" y="1078"/>
                    </a:lnTo>
                    <a:lnTo>
                      <a:pt x="440" y="1078"/>
                    </a:lnTo>
                    <a:lnTo>
                      <a:pt x="440" y="1076"/>
                    </a:lnTo>
                    <a:lnTo>
                      <a:pt x="440" y="1074"/>
                    </a:lnTo>
                    <a:lnTo>
                      <a:pt x="440" y="1074"/>
                    </a:lnTo>
                    <a:lnTo>
                      <a:pt x="440" y="1074"/>
                    </a:lnTo>
                    <a:lnTo>
                      <a:pt x="440" y="1072"/>
                    </a:lnTo>
                    <a:lnTo>
                      <a:pt x="438" y="1066"/>
                    </a:lnTo>
                    <a:lnTo>
                      <a:pt x="438" y="1066"/>
                    </a:lnTo>
                    <a:lnTo>
                      <a:pt x="436" y="1064"/>
                    </a:lnTo>
                    <a:lnTo>
                      <a:pt x="434" y="1064"/>
                    </a:lnTo>
                    <a:lnTo>
                      <a:pt x="432" y="1062"/>
                    </a:lnTo>
                    <a:lnTo>
                      <a:pt x="432" y="1062"/>
                    </a:lnTo>
                    <a:lnTo>
                      <a:pt x="432" y="1062"/>
                    </a:lnTo>
                    <a:lnTo>
                      <a:pt x="430" y="1060"/>
                    </a:lnTo>
                    <a:lnTo>
                      <a:pt x="430" y="1058"/>
                    </a:lnTo>
                    <a:lnTo>
                      <a:pt x="430" y="1056"/>
                    </a:lnTo>
                    <a:lnTo>
                      <a:pt x="430" y="1054"/>
                    </a:lnTo>
                    <a:lnTo>
                      <a:pt x="430" y="1050"/>
                    </a:lnTo>
                    <a:lnTo>
                      <a:pt x="430" y="1050"/>
                    </a:lnTo>
                    <a:lnTo>
                      <a:pt x="428" y="1048"/>
                    </a:lnTo>
                    <a:lnTo>
                      <a:pt x="426" y="1048"/>
                    </a:lnTo>
                    <a:lnTo>
                      <a:pt x="424" y="1048"/>
                    </a:lnTo>
                    <a:lnTo>
                      <a:pt x="422" y="1048"/>
                    </a:lnTo>
                    <a:lnTo>
                      <a:pt x="420" y="1046"/>
                    </a:lnTo>
                    <a:lnTo>
                      <a:pt x="420" y="1046"/>
                    </a:lnTo>
                    <a:lnTo>
                      <a:pt x="420" y="1046"/>
                    </a:lnTo>
                    <a:lnTo>
                      <a:pt x="420" y="1044"/>
                    </a:lnTo>
                    <a:lnTo>
                      <a:pt x="418" y="1042"/>
                    </a:lnTo>
                    <a:lnTo>
                      <a:pt x="418" y="1042"/>
                    </a:lnTo>
                    <a:lnTo>
                      <a:pt x="416" y="1042"/>
                    </a:lnTo>
                    <a:lnTo>
                      <a:pt x="414" y="1040"/>
                    </a:lnTo>
                    <a:lnTo>
                      <a:pt x="410" y="1038"/>
                    </a:lnTo>
                    <a:lnTo>
                      <a:pt x="404" y="1034"/>
                    </a:lnTo>
                    <a:lnTo>
                      <a:pt x="404" y="1034"/>
                    </a:lnTo>
                    <a:lnTo>
                      <a:pt x="404" y="1034"/>
                    </a:lnTo>
                    <a:lnTo>
                      <a:pt x="400" y="1032"/>
                    </a:lnTo>
                    <a:lnTo>
                      <a:pt x="402" y="1032"/>
                    </a:lnTo>
                    <a:lnTo>
                      <a:pt x="400" y="1032"/>
                    </a:lnTo>
                    <a:lnTo>
                      <a:pt x="400" y="1032"/>
                    </a:lnTo>
                    <a:lnTo>
                      <a:pt x="400" y="1032"/>
                    </a:lnTo>
                    <a:lnTo>
                      <a:pt x="400" y="1030"/>
                    </a:lnTo>
                    <a:lnTo>
                      <a:pt x="400" y="1030"/>
                    </a:lnTo>
                    <a:lnTo>
                      <a:pt x="400" y="1028"/>
                    </a:lnTo>
                    <a:lnTo>
                      <a:pt x="400" y="1026"/>
                    </a:lnTo>
                    <a:lnTo>
                      <a:pt x="400" y="1026"/>
                    </a:lnTo>
                    <a:lnTo>
                      <a:pt x="400" y="1024"/>
                    </a:lnTo>
                    <a:lnTo>
                      <a:pt x="402" y="1024"/>
                    </a:lnTo>
                    <a:lnTo>
                      <a:pt x="404" y="1022"/>
                    </a:lnTo>
                    <a:lnTo>
                      <a:pt x="408" y="1020"/>
                    </a:lnTo>
                    <a:lnTo>
                      <a:pt x="408" y="1020"/>
                    </a:lnTo>
                    <a:lnTo>
                      <a:pt x="408" y="1020"/>
                    </a:lnTo>
                    <a:lnTo>
                      <a:pt x="410" y="1018"/>
                    </a:lnTo>
                    <a:lnTo>
                      <a:pt x="410" y="1018"/>
                    </a:lnTo>
                    <a:lnTo>
                      <a:pt x="410" y="1018"/>
                    </a:lnTo>
                    <a:lnTo>
                      <a:pt x="412" y="1018"/>
                    </a:lnTo>
                    <a:lnTo>
                      <a:pt x="412" y="1018"/>
                    </a:lnTo>
                    <a:lnTo>
                      <a:pt x="412" y="1016"/>
                    </a:lnTo>
                    <a:lnTo>
                      <a:pt x="414" y="1014"/>
                    </a:lnTo>
                    <a:lnTo>
                      <a:pt x="414" y="1014"/>
                    </a:lnTo>
                    <a:lnTo>
                      <a:pt x="414" y="1012"/>
                    </a:lnTo>
                    <a:lnTo>
                      <a:pt x="414" y="1010"/>
                    </a:lnTo>
                    <a:lnTo>
                      <a:pt x="414" y="1006"/>
                    </a:lnTo>
                    <a:lnTo>
                      <a:pt x="416" y="1004"/>
                    </a:lnTo>
                    <a:lnTo>
                      <a:pt x="416" y="1002"/>
                    </a:lnTo>
                    <a:lnTo>
                      <a:pt x="416" y="1002"/>
                    </a:lnTo>
                    <a:lnTo>
                      <a:pt x="416" y="1000"/>
                    </a:lnTo>
                    <a:lnTo>
                      <a:pt x="416" y="998"/>
                    </a:lnTo>
                    <a:lnTo>
                      <a:pt x="416" y="994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20" y="992"/>
                    </a:lnTo>
                    <a:lnTo>
                      <a:pt x="422" y="994"/>
                    </a:lnTo>
                    <a:lnTo>
                      <a:pt x="424" y="994"/>
                    </a:lnTo>
                    <a:lnTo>
                      <a:pt x="426" y="996"/>
                    </a:lnTo>
                    <a:lnTo>
                      <a:pt x="426" y="996"/>
                    </a:lnTo>
                    <a:lnTo>
                      <a:pt x="426" y="996"/>
                    </a:lnTo>
                    <a:lnTo>
                      <a:pt x="428" y="996"/>
                    </a:lnTo>
                    <a:lnTo>
                      <a:pt x="428" y="996"/>
                    </a:lnTo>
                    <a:lnTo>
                      <a:pt x="428" y="996"/>
                    </a:lnTo>
                    <a:lnTo>
                      <a:pt x="430" y="996"/>
                    </a:lnTo>
                    <a:lnTo>
                      <a:pt x="430" y="996"/>
                    </a:lnTo>
                    <a:lnTo>
                      <a:pt x="430" y="996"/>
                    </a:lnTo>
                    <a:lnTo>
                      <a:pt x="432" y="996"/>
                    </a:lnTo>
                    <a:lnTo>
                      <a:pt x="432" y="996"/>
                    </a:lnTo>
                    <a:lnTo>
                      <a:pt x="432" y="994"/>
                    </a:lnTo>
                    <a:lnTo>
                      <a:pt x="432" y="994"/>
                    </a:lnTo>
                    <a:lnTo>
                      <a:pt x="432" y="994"/>
                    </a:lnTo>
                    <a:lnTo>
                      <a:pt x="434" y="994"/>
                    </a:lnTo>
                    <a:lnTo>
                      <a:pt x="434" y="992"/>
                    </a:lnTo>
                    <a:lnTo>
                      <a:pt x="434" y="992"/>
                    </a:lnTo>
                    <a:lnTo>
                      <a:pt x="434" y="992"/>
                    </a:lnTo>
                    <a:lnTo>
                      <a:pt x="434" y="990"/>
                    </a:lnTo>
                    <a:lnTo>
                      <a:pt x="434" y="988"/>
                    </a:lnTo>
                    <a:lnTo>
                      <a:pt x="436" y="986"/>
                    </a:lnTo>
                    <a:lnTo>
                      <a:pt x="436" y="984"/>
                    </a:lnTo>
                    <a:lnTo>
                      <a:pt x="438" y="980"/>
                    </a:lnTo>
                    <a:lnTo>
                      <a:pt x="438" y="978"/>
                    </a:lnTo>
                    <a:lnTo>
                      <a:pt x="440" y="978"/>
                    </a:lnTo>
                    <a:lnTo>
                      <a:pt x="442" y="976"/>
                    </a:lnTo>
                    <a:lnTo>
                      <a:pt x="444" y="976"/>
                    </a:lnTo>
                    <a:lnTo>
                      <a:pt x="444" y="976"/>
                    </a:lnTo>
                    <a:lnTo>
                      <a:pt x="444" y="976"/>
                    </a:lnTo>
                    <a:lnTo>
                      <a:pt x="446" y="974"/>
                    </a:lnTo>
                    <a:lnTo>
                      <a:pt x="446" y="974"/>
                    </a:lnTo>
                    <a:lnTo>
                      <a:pt x="446" y="974"/>
                    </a:lnTo>
                    <a:lnTo>
                      <a:pt x="448" y="972"/>
                    </a:lnTo>
                    <a:lnTo>
                      <a:pt x="448" y="972"/>
                    </a:lnTo>
                    <a:lnTo>
                      <a:pt x="448" y="972"/>
                    </a:lnTo>
                    <a:lnTo>
                      <a:pt x="448" y="970"/>
                    </a:lnTo>
                    <a:lnTo>
                      <a:pt x="448" y="970"/>
                    </a:lnTo>
                    <a:lnTo>
                      <a:pt x="448" y="970"/>
                    </a:lnTo>
                    <a:lnTo>
                      <a:pt x="448" y="968"/>
                    </a:lnTo>
                    <a:lnTo>
                      <a:pt x="450" y="968"/>
                    </a:lnTo>
                    <a:lnTo>
                      <a:pt x="454" y="966"/>
                    </a:lnTo>
                    <a:lnTo>
                      <a:pt x="458" y="964"/>
                    </a:lnTo>
                    <a:lnTo>
                      <a:pt x="462" y="960"/>
                    </a:lnTo>
                    <a:lnTo>
                      <a:pt x="464" y="960"/>
                    </a:lnTo>
                    <a:lnTo>
                      <a:pt x="466" y="958"/>
                    </a:lnTo>
                    <a:lnTo>
                      <a:pt x="470" y="956"/>
                    </a:lnTo>
                    <a:lnTo>
                      <a:pt x="476" y="956"/>
                    </a:lnTo>
                    <a:lnTo>
                      <a:pt x="482" y="954"/>
                    </a:lnTo>
                    <a:lnTo>
                      <a:pt x="486" y="954"/>
                    </a:lnTo>
                    <a:lnTo>
                      <a:pt x="490" y="954"/>
                    </a:lnTo>
                    <a:lnTo>
                      <a:pt x="492" y="954"/>
                    </a:lnTo>
                    <a:lnTo>
                      <a:pt x="496" y="956"/>
                    </a:lnTo>
                    <a:lnTo>
                      <a:pt x="502" y="958"/>
                    </a:lnTo>
                    <a:lnTo>
                      <a:pt x="506" y="960"/>
                    </a:lnTo>
                    <a:lnTo>
                      <a:pt x="506" y="960"/>
                    </a:lnTo>
                    <a:lnTo>
                      <a:pt x="506" y="960"/>
                    </a:lnTo>
                    <a:lnTo>
                      <a:pt x="508" y="960"/>
                    </a:lnTo>
                    <a:lnTo>
                      <a:pt x="510" y="962"/>
                    </a:lnTo>
                    <a:lnTo>
                      <a:pt x="510" y="962"/>
                    </a:lnTo>
                    <a:lnTo>
                      <a:pt x="512" y="962"/>
                    </a:lnTo>
                    <a:lnTo>
                      <a:pt x="514" y="966"/>
                    </a:lnTo>
                    <a:lnTo>
                      <a:pt x="516" y="966"/>
                    </a:lnTo>
                    <a:lnTo>
                      <a:pt x="518" y="968"/>
                    </a:lnTo>
                    <a:lnTo>
                      <a:pt x="518" y="968"/>
                    </a:lnTo>
                    <a:lnTo>
                      <a:pt x="518" y="970"/>
                    </a:lnTo>
                    <a:lnTo>
                      <a:pt x="522" y="970"/>
                    </a:lnTo>
                    <a:lnTo>
                      <a:pt x="524" y="972"/>
                    </a:lnTo>
                    <a:lnTo>
                      <a:pt x="530" y="974"/>
                    </a:lnTo>
                    <a:lnTo>
                      <a:pt x="536" y="976"/>
                    </a:lnTo>
                    <a:lnTo>
                      <a:pt x="540" y="978"/>
                    </a:lnTo>
                    <a:lnTo>
                      <a:pt x="544" y="980"/>
                    </a:lnTo>
                    <a:lnTo>
                      <a:pt x="544" y="980"/>
                    </a:lnTo>
                    <a:lnTo>
                      <a:pt x="546" y="978"/>
                    </a:lnTo>
                    <a:lnTo>
                      <a:pt x="548" y="976"/>
                    </a:lnTo>
                    <a:lnTo>
                      <a:pt x="552" y="976"/>
                    </a:lnTo>
                    <a:lnTo>
                      <a:pt x="558" y="974"/>
                    </a:lnTo>
                    <a:lnTo>
                      <a:pt x="560" y="972"/>
                    </a:lnTo>
                    <a:lnTo>
                      <a:pt x="562" y="972"/>
                    </a:lnTo>
                    <a:lnTo>
                      <a:pt x="566" y="970"/>
                    </a:lnTo>
                    <a:lnTo>
                      <a:pt x="570" y="970"/>
                    </a:lnTo>
                    <a:lnTo>
                      <a:pt x="572" y="972"/>
                    </a:lnTo>
                    <a:lnTo>
                      <a:pt x="576" y="972"/>
                    </a:lnTo>
                    <a:lnTo>
                      <a:pt x="580" y="974"/>
                    </a:lnTo>
                    <a:lnTo>
                      <a:pt x="582" y="976"/>
                    </a:lnTo>
                    <a:lnTo>
                      <a:pt x="586" y="976"/>
                    </a:lnTo>
                    <a:lnTo>
                      <a:pt x="590" y="978"/>
                    </a:lnTo>
                    <a:lnTo>
                      <a:pt x="596" y="980"/>
                    </a:lnTo>
                    <a:lnTo>
                      <a:pt x="600" y="982"/>
                    </a:lnTo>
                    <a:lnTo>
                      <a:pt x="600" y="982"/>
                    </a:lnTo>
                    <a:lnTo>
                      <a:pt x="600" y="982"/>
                    </a:lnTo>
                    <a:lnTo>
                      <a:pt x="604" y="982"/>
                    </a:lnTo>
                    <a:lnTo>
                      <a:pt x="606" y="982"/>
                    </a:lnTo>
                    <a:lnTo>
                      <a:pt x="612" y="980"/>
                    </a:lnTo>
                    <a:lnTo>
                      <a:pt x="616" y="980"/>
                    </a:lnTo>
                    <a:lnTo>
                      <a:pt x="618" y="980"/>
                    </a:lnTo>
                    <a:lnTo>
                      <a:pt x="622" y="978"/>
                    </a:lnTo>
                    <a:lnTo>
                      <a:pt x="624" y="978"/>
                    </a:lnTo>
                    <a:lnTo>
                      <a:pt x="624" y="978"/>
                    </a:lnTo>
                    <a:lnTo>
                      <a:pt x="624" y="978"/>
                    </a:lnTo>
                    <a:lnTo>
                      <a:pt x="626" y="976"/>
                    </a:lnTo>
                    <a:lnTo>
                      <a:pt x="626" y="976"/>
                    </a:lnTo>
                    <a:lnTo>
                      <a:pt x="628" y="974"/>
                    </a:lnTo>
                    <a:lnTo>
                      <a:pt x="628" y="972"/>
                    </a:lnTo>
                    <a:lnTo>
                      <a:pt x="628" y="972"/>
                    </a:lnTo>
                    <a:lnTo>
                      <a:pt x="630" y="972"/>
                    </a:lnTo>
                    <a:lnTo>
                      <a:pt x="630" y="968"/>
                    </a:lnTo>
                    <a:lnTo>
                      <a:pt x="630" y="968"/>
                    </a:lnTo>
                    <a:lnTo>
                      <a:pt x="630" y="968"/>
                    </a:lnTo>
                    <a:lnTo>
                      <a:pt x="630" y="966"/>
                    </a:lnTo>
                    <a:lnTo>
                      <a:pt x="630" y="966"/>
                    </a:lnTo>
                    <a:lnTo>
                      <a:pt x="630" y="964"/>
                    </a:lnTo>
                    <a:lnTo>
                      <a:pt x="628" y="964"/>
                    </a:lnTo>
                    <a:lnTo>
                      <a:pt x="628" y="964"/>
                    </a:lnTo>
                    <a:lnTo>
                      <a:pt x="628" y="962"/>
                    </a:lnTo>
                    <a:lnTo>
                      <a:pt x="626" y="960"/>
                    </a:lnTo>
                    <a:lnTo>
                      <a:pt x="624" y="958"/>
                    </a:lnTo>
                    <a:lnTo>
                      <a:pt x="618" y="954"/>
                    </a:lnTo>
                    <a:lnTo>
                      <a:pt x="614" y="950"/>
                    </a:lnTo>
                    <a:lnTo>
                      <a:pt x="612" y="948"/>
                    </a:lnTo>
                    <a:lnTo>
                      <a:pt x="614" y="948"/>
                    </a:lnTo>
                    <a:lnTo>
                      <a:pt x="614" y="948"/>
                    </a:lnTo>
                    <a:lnTo>
                      <a:pt x="614" y="946"/>
                    </a:lnTo>
                    <a:lnTo>
                      <a:pt x="618" y="942"/>
                    </a:lnTo>
                    <a:lnTo>
                      <a:pt x="618" y="942"/>
                    </a:lnTo>
                    <a:lnTo>
                      <a:pt x="618" y="942"/>
                    </a:lnTo>
                    <a:lnTo>
                      <a:pt x="620" y="938"/>
                    </a:lnTo>
                    <a:lnTo>
                      <a:pt x="620" y="938"/>
                    </a:lnTo>
                    <a:lnTo>
                      <a:pt x="622" y="936"/>
                    </a:lnTo>
                    <a:lnTo>
                      <a:pt x="622" y="934"/>
                    </a:lnTo>
                    <a:lnTo>
                      <a:pt x="622" y="934"/>
                    </a:lnTo>
                    <a:lnTo>
                      <a:pt x="622" y="934"/>
                    </a:lnTo>
                    <a:lnTo>
                      <a:pt x="622" y="932"/>
                    </a:lnTo>
                    <a:lnTo>
                      <a:pt x="624" y="928"/>
                    </a:lnTo>
                    <a:lnTo>
                      <a:pt x="626" y="924"/>
                    </a:lnTo>
                    <a:lnTo>
                      <a:pt x="628" y="920"/>
                    </a:lnTo>
                    <a:lnTo>
                      <a:pt x="628" y="918"/>
                    </a:lnTo>
                    <a:lnTo>
                      <a:pt x="628" y="914"/>
                    </a:lnTo>
                    <a:lnTo>
                      <a:pt x="628" y="910"/>
                    </a:lnTo>
                    <a:lnTo>
                      <a:pt x="628" y="906"/>
                    </a:lnTo>
                    <a:lnTo>
                      <a:pt x="628" y="902"/>
                    </a:lnTo>
                    <a:lnTo>
                      <a:pt x="630" y="902"/>
                    </a:lnTo>
                    <a:lnTo>
                      <a:pt x="630" y="900"/>
                    </a:lnTo>
                    <a:lnTo>
                      <a:pt x="632" y="900"/>
                    </a:lnTo>
                    <a:lnTo>
                      <a:pt x="634" y="898"/>
                    </a:lnTo>
                    <a:lnTo>
                      <a:pt x="638" y="898"/>
                    </a:lnTo>
                    <a:lnTo>
                      <a:pt x="642" y="898"/>
                    </a:lnTo>
                    <a:lnTo>
                      <a:pt x="646" y="898"/>
                    </a:lnTo>
                    <a:lnTo>
                      <a:pt x="652" y="898"/>
                    </a:lnTo>
                    <a:lnTo>
                      <a:pt x="658" y="896"/>
                    </a:lnTo>
                    <a:lnTo>
                      <a:pt x="660" y="896"/>
                    </a:lnTo>
                    <a:lnTo>
                      <a:pt x="664" y="896"/>
                    </a:lnTo>
                    <a:lnTo>
                      <a:pt x="668" y="894"/>
                    </a:lnTo>
                    <a:lnTo>
                      <a:pt x="672" y="894"/>
                    </a:lnTo>
                    <a:lnTo>
                      <a:pt x="678" y="894"/>
                    </a:lnTo>
                    <a:lnTo>
                      <a:pt x="678" y="894"/>
                    </a:lnTo>
                    <a:lnTo>
                      <a:pt x="678" y="894"/>
                    </a:lnTo>
                    <a:lnTo>
                      <a:pt x="680" y="892"/>
                    </a:lnTo>
                    <a:lnTo>
                      <a:pt x="680" y="892"/>
                    </a:lnTo>
                    <a:lnTo>
                      <a:pt x="682" y="892"/>
                    </a:lnTo>
                    <a:lnTo>
                      <a:pt x="682" y="892"/>
                    </a:lnTo>
                    <a:lnTo>
                      <a:pt x="682" y="892"/>
                    </a:lnTo>
                    <a:lnTo>
                      <a:pt x="684" y="890"/>
                    </a:lnTo>
                    <a:lnTo>
                      <a:pt x="684" y="890"/>
                    </a:lnTo>
                    <a:lnTo>
                      <a:pt x="686" y="888"/>
                    </a:lnTo>
                    <a:lnTo>
                      <a:pt x="688" y="886"/>
                    </a:lnTo>
                    <a:lnTo>
                      <a:pt x="688" y="886"/>
                    </a:lnTo>
                    <a:lnTo>
                      <a:pt x="690" y="886"/>
                    </a:lnTo>
                    <a:lnTo>
                      <a:pt x="690" y="886"/>
                    </a:lnTo>
                    <a:lnTo>
                      <a:pt x="692" y="884"/>
                    </a:lnTo>
                    <a:lnTo>
                      <a:pt x="696" y="884"/>
                    </a:lnTo>
                    <a:lnTo>
                      <a:pt x="698" y="884"/>
                    </a:lnTo>
                    <a:lnTo>
                      <a:pt x="702" y="882"/>
                    </a:lnTo>
                    <a:lnTo>
                      <a:pt x="706" y="882"/>
                    </a:lnTo>
                    <a:lnTo>
                      <a:pt x="712" y="880"/>
                    </a:lnTo>
                    <a:lnTo>
                      <a:pt x="718" y="878"/>
                    </a:lnTo>
                    <a:lnTo>
                      <a:pt x="720" y="880"/>
                    </a:lnTo>
                    <a:lnTo>
                      <a:pt x="722" y="878"/>
                    </a:lnTo>
                    <a:lnTo>
                      <a:pt x="724" y="876"/>
                    </a:lnTo>
                    <a:lnTo>
                      <a:pt x="730" y="874"/>
                    </a:lnTo>
                    <a:lnTo>
                      <a:pt x="734" y="874"/>
                    </a:lnTo>
                    <a:lnTo>
                      <a:pt x="738" y="872"/>
                    </a:lnTo>
                    <a:lnTo>
                      <a:pt x="742" y="870"/>
                    </a:lnTo>
                    <a:lnTo>
                      <a:pt x="744" y="870"/>
                    </a:lnTo>
                    <a:lnTo>
                      <a:pt x="748" y="868"/>
                    </a:lnTo>
                    <a:lnTo>
                      <a:pt x="748" y="868"/>
                    </a:lnTo>
                    <a:lnTo>
                      <a:pt x="750" y="872"/>
                    </a:lnTo>
                    <a:lnTo>
                      <a:pt x="754" y="876"/>
                    </a:lnTo>
                    <a:lnTo>
                      <a:pt x="758" y="880"/>
                    </a:lnTo>
                    <a:lnTo>
                      <a:pt x="762" y="884"/>
                    </a:lnTo>
                    <a:lnTo>
                      <a:pt x="764" y="888"/>
                    </a:lnTo>
                    <a:lnTo>
                      <a:pt x="766" y="890"/>
                    </a:lnTo>
                    <a:lnTo>
                      <a:pt x="766" y="890"/>
                    </a:lnTo>
                    <a:lnTo>
                      <a:pt x="766" y="890"/>
                    </a:lnTo>
                    <a:lnTo>
                      <a:pt x="768" y="890"/>
                    </a:lnTo>
                    <a:lnTo>
                      <a:pt x="768" y="890"/>
                    </a:lnTo>
                    <a:lnTo>
                      <a:pt x="768" y="890"/>
                    </a:lnTo>
                    <a:lnTo>
                      <a:pt x="770" y="890"/>
                    </a:lnTo>
                    <a:lnTo>
                      <a:pt x="770" y="890"/>
                    </a:lnTo>
                    <a:lnTo>
                      <a:pt x="772" y="892"/>
                    </a:lnTo>
                    <a:lnTo>
                      <a:pt x="772" y="892"/>
                    </a:lnTo>
                    <a:lnTo>
                      <a:pt x="772" y="890"/>
                    </a:lnTo>
                    <a:lnTo>
                      <a:pt x="774" y="890"/>
                    </a:lnTo>
                    <a:lnTo>
                      <a:pt x="774" y="890"/>
                    </a:lnTo>
                    <a:lnTo>
                      <a:pt x="776" y="890"/>
                    </a:lnTo>
                    <a:lnTo>
                      <a:pt x="778" y="888"/>
                    </a:lnTo>
                    <a:lnTo>
                      <a:pt x="780" y="886"/>
                    </a:lnTo>
                    <a:lnTo>
                      <a:pt x="782" y="884"/>
                    </a:lnTo>
                    <a:lnTo>
                      <a:pt x="782" y="884"/>
                    </a:lnTo>
                    <a:lnTo>
                      <a:pt x="784" y="884"/>
                    </a:lnTo>
                    <a:lnTo>
                      <a:pt x="784" y="882"/>
                    </a:lnTo>
                    <a:lnTo>
                      <a:pt x="788" y="882"/>
                    </a:lnTo>
                    <a:lnTo>
                      <a:pt x="790" y="884"/>
                    </a:lnTo>
                    <a:lnTo>
                      <a:pt x="794" y="886"/>
                    </a:lnTo>
                    <a:lnTo>
                      <a:pt x="800" y="888"/>
                    </a:lnTo>
                    <a:lnTo>
                      <a:pt x="806" y="890"/>
                    </a:lnTo>
                    <a:lnTo>
                      <a:pt x="810" y="892"/>
                    </a:lnTo>
                    <a:lnTo>
                      <a:pt x="816" y="896"/>
                    </a:lnTo>
                    <a:lnTo>
                      <a:pt x="818" y="898"/>
                    </a:lnTo>
                    <a:lnTo>
                      <a:pt x="822" y="900"/>
                    </a:lnTo>
                    <a:lnTo>
                      <a:pt x="822" y="902"/>
                    </a:lnTo>
                    <a:lnTo>
                      <a:pt x="824" y="902"/>
                    </a:lnTo>
                    <a:lnTo>
                      <a:pt x="824" y="904"/>
                    </a:lnTo>
                    <a:lnTo>
                      <a:pt x="822" y="904"/>
                    </a:lnTo>
                    <a:lnTo>
                      <a:pt x="822" y="906"/>
                    </a:lnTo>
                    <a:lnTo>
                      <a:pt x="822" y="908"/>
                    </a:lnTo>
                    <a:lnTo>
                      <a:pt x="822" y="908"/>
                    </a:lnTo>
                    <a:lnTo>
                      <a:pt x="822" y="908"/>
                    </a:lnTo>
                    <a:lnTo>
                      <a:pt x="822" y="910"/>
                    </a:lnTo>
                    <a:lnTo>
                      <a:pt x="822" y="910"/>
                    </a:lnTo>
                    <a:lnTo>
                      <a:pt x="824" y="912"/>
                    </a:lnTo>
                    <a:lnTo>
                      <a:pt x="824" y="912"/>
                    </a:lnTo>
                    <a:lnTo>
                      <a:pt x="824" y="912"/>
                    </a:lnTo>
                    <a:lnTo>
                      <a:pt x="826" y="912"/>
                    </a:lnTo>
                    <a:lnTo>
                      <a:pt x="828" y="912"/>
                    </a:lnTo>
                    <a:lnTo>
                      <a:pt x="828" y="912"/>
                    </a:lnTo>
                    <a:lnTo>
                      <a:pt x="828" y="912"/>
                    </a:lnTo>
                    <a:lnTo>
                      <a:pt x="830" y="912"/>
                    </a:lnTo>
                    <a:lnTo>
                      <a:pt x="832" y="910"/>
                    </a:lnTo>
                    <a:lnTo>
                      <a:pt x="834" y="908"/>
                    </a:lnTo>
                    <a:lnTo>
                      <a:pt x="838" y="906"/>
                    </a:lnTo>
                    <a:lnTo>
                      <a:pt x="844" y="902"/>
                    </a:lnTo>
                    <a:lnTo>
                      <a:pt x="846" y="900"/>
                    </a:lnTo>
                    <a:lnTo>
                      <a:pt x="850" y="898"/>
                    </a:lnTo>
                    <a:lnTo>
                      <a:pt x="856" y="894"/>
                    </a:lnTo>
                    <a:lnTo>
                      <a:pt x="858" y="894"/>
                    </a:lnTo>
                    <a:lnTo>
                      <a:pt x="862" y="892"/>
                    </a:lnTo>
                    <a:lnTo>
                      <a:pt x="864" y="892"/>
                    </a:lnTo>
                    <a:lnTo>
                      <a:pt x="864" y="892"/>
                    </a:lnTo>
                    <a:lnTo>
                      <a:pt x="866" y="892"/>
                    </a:lnTo>
                    <a:lnTo>
                      <a:pt x="866" y="892"/>
                    </a:lnTo>
                    <a:lnTo>
                      <a:pt x="866" y="894"/>
                    </a:lnTo>
                    <a:lnTo>
                      <a:pt x="866" y="896"/>
                    </a:lnTo>
                    <a:lnTo>
                      <a:pt x="866" y="902"/>
                    </a:lnTo>
                    <a:lnTo>
                      <a:pt x="866" y="902"/>
                    </a:lnTo>
                    <a:lnTo>
                      <a:pt x="866" y="902"/>
                    </a:lnTo>
                    <a:lnTo>
                      <a:pt x="868" y="906"/>
                    </a:lnTo>
                    <a:lnTo>
                      <a:pt x="868" y="906"/>
                    </a:lnTo>
                    <a:lnTo>
                      <a:pt x="868" y="906"/>
                    </a:lnTo>
                    <a:lnTo>
                      <a:pt x="870" y="908"/>
                    </a:lnTo>
                    <a:lnTo>
                      <a:pt x="870" y="908"/>
                    </a:lnTo>
                    <a:lnTo>
                      <a:pt x="870" y="908"/>
                    </a:lnTo>
                    <a:lnTo>
                      <a:pt x="872" y="910"/>
                    </a:lnTo>
                    <a:lnTo>
                      <a:pt x="872" y="910"/>
                    </a:lnTo>
                    <a:lnTo>
                      <a:pt x="872" y="910"/>
                    </a:lnTo>
                    <a:lnTo>
                      <a:pt x="874" y="912"/>
                    </a:lnTo>
                    <a:lnTo>
                      <a:pt x="880" y="916"/>
                    </a:lnTo>
                    <a:lnTo>
                      <a:pt x="886" y="918"/>
                    </a:lnTo>
                    <a:lnTo>
                      <a:pt x="888" y="920"/>
                    </a:lnTo>
                    <a:lnTo>
                      <a:pt x="890" y="922"/>
                    </a:lnTo>
                    <a:lnTo>
                      <a:pt x="890" y="922"/>
                    </a:lnTo>
                    <a:lnTo>
                      <a:pt x="894" y="928"/>
                    </a:lnTo>
                    <a:lnTo>
                      <a:pt x="898" y="932"/>
                    </a:lnTo>
                    <a:lnTo>
                      <a:pt x="900" y="938"/>
                    </a:lnTo>
                    <a:lnTo>
                      <a:pt x="902" y="942"/>
                    </a:lnTo>
                    <a:lnTo>
                      <a:pt x="904" y="944"/>
                    </a:lnTo>
                    <a:lnTo>
                      <a:pt x="904" y="948"/>
                    </a:lnTo>
                    <a:lnTo>
                      <a:pt x="904" y="954"/>
                    </a:lnTo>
                    <a:lnTo>
                      <a:pt x="906" y="958"/>
                    </a:lnTo>
                    <a:lnTo>
                      <a:pt x="906" y="960"/>
                    </a:lnTo>
                    <a:lnTo>
                      <a:pt x="906" y="964"/>
                    </a:lnTo>
                    <a:lnTo>
                      <a:pt x="906" y="968"/>
                    </a:lnTo>
                    <a:lnTo>
                      <a:pt x="908" y="970"/>
                    </a:lnTo>
                    <a:lnTo>
                      <a:pt x="908" y="970"/>
                    </a:lnTo>
                    <a:lnTo>
                      <a:pt x="908" y="970"/>
                    </a:lnTo>
                    <a:lnTo>
                      <a:pt x="910" y="972"/>
                    </a:lnTo>
                    <a:lnTo>
                      <a:pt x="910" y="972"/>
                    </a:lnTo>
                    <a:lnTo>
                      <a:pt x="910" y="974"/>
                    </a:lnTo>
                    <a:lnTo>
                      <a:pt x="912" y="976"/>
                    </a:lnTo>
                    <a:lnTo>
                      <a:pt x="912" y="976"/>
                    </a:lnTo>
                    <a:lnTo>
                      <a:pt x="914" y="976"/>
                    </a:lnTo>
                    <a:lnTo>
                      <a:pt x="914" y="976"/>
                    </a:lnTo>
                    <a:lnTo>
                      <a:pt x="914" y="976"/>
                    </a:lnTo>
                    <a:lnTo>
                      <a:pt x="916" y="976"/>
                    </a:lnTo>
                    <a:lnTo>
                      <a:pt x="918" y="974"/>
                    </a:lnTo>
                    <a:lnTo>
                      <a:pt x="920" y="974"/>
                    </a:lnTo>
                    <a:lnTo>
                      <a:pt x="922" y="972"/>
                    </a:lnTo>
                    <a:lnTo>
                      <a:pt x="924" y="970"/>
                    </a:lnTo>
                    <a:lnTo>
                      <a:pt x="926" y="970"/>
                    </a:lnTo>
                    <a:lnTo>
                      <a:pt x="926" y="970"/>
                    </a:lnTo>
                    <a:lnTo>
                      <a:pt x="928" y="970"/>
                    </a:lnTo>
                    <a:lnTo>
                      <a:pt x="930" y="970"/>
                    </a:lnTo>
                    <a:lnTo>
                      <a:pt x="932" y="970"/>
                    </a:lnTo>
                    <a:lnTo>
                      <a:pt x="934" y="970"/>
                    </a:lnTo>
                    <a:lnTo>
                      <a:pt x="938" y="974"/>
                    </a:lnTo>
                    <a:lnTo>
                      <a:pt x="942" y="976"/>
                    </a:lnTo>
                    <a:lnTo>
                      <a:pt x="942" y="976"/>
                    </a:lnTo>
                    <a:lnTo>
                      <a:pt x="942" y="976"/>
                    </a:lnTo>
                    <a:lnTo>
                      <a:pt x="944" y="978"/>
                    </a:lnTo>
                    <a:lnTo>
                      <a:pt x="944" y="978"/>
                    </a:lnTo>
                    <a:lnTo>
                      <a:pt x="946" y="978"/>
                    </a:lnTo>
                    <a:lnTo>
                      <a:pt x="948" y="978"/>
                    </a:lnTo>
                    <a:lnTo>
                      <a:pt x="948" y="978"/>
                    </a:lnTo>
                    <a:lnTo>
                      <a:pt x="948" y="978"/>
                    </a:lnTo>
                    <a:lnTo>
                      <a:pt x="952" y="978"/>
                    </a:lnTo>
                    <a:lnTo>
                      <a:pt x="952" y="978"/>
                    </a:lnTo>
                    <a:lnTo>
                      <a:pt x="956" y="978"/>
                    </a:lnTo>
                    <a:lnTo>
                      <a:pt x="958" y="976"/>
                    </a:lnTo>
                    <a:lnTo>
                      <a:pt x="962" y="976"/>
                    </a:lnTo>
                    <a:lnTo>
                      <a:pt x="964" y="974"/>
                    </a:lnTo>
                    <a:lnTo>
                      <a:pt x="966" y="974"/>
                    </a:lnTo>
                    <a:lnTo>
                      <a:pt x="970" y="974"/>
                    </a:lnTo>
                    <a:lnTo>
                      <a:pt x="972" y="974"/>
                    </a:lnTo>
                    <a:lnTo>
                      <a:pt x="974" y="976"/>
                    </a:lnTo>
                    <a:lnTo>
                      <a:pt x="976" y="978"/>
                    </a:lnTo>
                    <a:lnTo>
                      <a:pt x="980" y="982"/>
                    </a:lnTo>
                    <a:lnTo>
                      <a:pt x="982" y="986"/>
                    </a:lnTo>
                    <a:lnTo>
                      <a:pt x="986" y="990"/>
                    </a:lnTo>
                    <a:lnTo>
                      <a:pt x="990" y="994"/>
                    </a:lnTo>
                    <a:lnTo>
                      <a:pt x="992" y="996"/>
                    </a:lnTo>
                    <a:lnTo>
                      <a:pt x="996" y="998"/>
                    </a:lnTo>
                    <a:lnTo>
                      <a:pt x="998" y="1000"/>
                    </a:lnTo>
                    <a:lnTo>
                      <a:pt x="1000" y="1002"/>
                    </a:lnTo>
                    <a:lnTo>
                      <a:pt x="1002" y="1002"/>
                    </a:lnTo>
                    <a:lnTo>
                      <a:pt x="1002" y="1002"/>
                    </a:lnTo>
                    <a:lnTo>
                      <a:pt x="1002" y="1002"/>
                    </a:lnTo>
                    <a:lnTo>
                      <a:pt x="1004" y="1004"/>
                    </a:lnTo>
                    <a:lnTo>
                      <a:pt x="1006" y="1004"/>
                    </a:lnTo>
                    <a:lnTo>
                      <a:pt x="1008" y="1004"/>
                    </a:lnTo>
                    <a:lnTo>
                      <a:pt x="1012" y="1004"/>
                    </a:lnTo>
                    <a:lnTo>
                      <a:pt x="1014" y="1004"/>
                    </a:lnTo>
                    <a:lnTo>
                      <a:pt x="1018" y="1004"/>
                    </a:lnTo>
                    <a:lnTo>
                      <a:pt x="1024" y="1006"/>
                    </a:lnTo>
                    <a:lnTo>
                      <a:pt x="1028" y="1006"/>
                    </a:lnTo>
                    <a:lnTo>
                      <a:pt x="1034" y="1008"/>
                    </a:lnTo>
                    <a:lnTo>
                      <a:pt x="1040" y="1008"/>
                    </a:lnTo>
                    <a:lnTo>
                      <a:pt x="1044" y="1008"/>
                    </a:lnTo>
                    <a:lnTo>
                      <a:pt x="1050" y="1008"/>
                    </a:lnTo>
                    <a:lnTo>
                      <a:pt x="1050" y="1008"/>
                    </a:lnTo>
                    <a:lnTo>
                      <a:pt x="1052" y="1008"/>
                    </a:lnTo>
                    <a:lnTo>
                      <a:pt x="1052" y="1008"/>
                    </a:lnTo>
                    <a:lnTo>
                      <a:pt x="1052" y="1008"/>
                    </a:lnTo>
                    <a:lnTo>
                      <a:pt x="1054" y="1008"/>
                    </a:lnTo>
                    <a:lnTo>
                      <a:pt x="1054" y="1008"/>
                    </a:lnTo>
                    <a:lnTo>
                      <a:pt x="1054" y="1008"/>
                    </a:lnTo>
                    <a:lnTo>
                      <a:pt x="1054" y="1006"/>
                    </a:lnTo>
                    <a:lnTo>
                      <a:pt x="1054" y="1006"/>
                    </a:lnTo>
                    <a:lnTo>
                      <a:pt x="1056" y="1004"/>
                    </a:lnTo>
                    <a:lnTo>
                      <a:pt x="1056" y="1004"/>
                    </a:lnTo>
                    <a:lnTo>
                      <a:pt x="1056" y="1004"/>
                    </a:lnTo>
                    <a:lnTo>
                      <a:pt x="1054" y="1002"/>
                    </a:lnTo>
                    <a:lnTo>
                      <a:pt x="1054" y="1000"/>
                    </a:lnTo>
                    <a:lnTo>
                      <a:pt x="1052" y="998"/>
                    </a:lnTo>
                    <a:lnTo>
                      <a:pt x="1052" y="998"/>
                    </a:lnTo>
                    <a:lnTo>
                      <a:pt x="1052" y="998"/>
                    </a:lnTo>
                    <a:lnTo>
                      <a:pt x="1054" y="998"/>
                    </a:lnTo>
                    <a:lnTo>
                      <a:pt x="1058" y="998"/>
                    </a:lnTo>
                    <a:lnTo>
                      <a:pt x="1058" y="998"/>
                    </a:lnTo>
                    <a:lnTo>
                      <a:pt x="1060" y="998"/>
                    </a:lnTo>
                    <a:lnTo>
                      <a:pt x="1062" y="998"/>
                    </a:lnTo>
                    <a:lnTo>
                      <a:pt x="1064" y="998"/>
                    </a:lnTo>
                    <a:lnTo>
                      <a:pt x="1064" y="998"/>
                    </a:lnTo>
                    <a:lnTo>
                      <a:pt x="1064" y="998"/>
                    </a:lnTo>
                    <a:lnTo>
                      <a:pt x="1068" y="998"/>
                    </a:lnTo>
                    <a:lnTo>
                      <a:pt x="1068" y="998"/>
                    </a:lnTo>
                    <a:lnTo>
                      <a:pt x="1068" y="996"/>
                    </a:lnTo>
                    <a:lnTo>
                      <a:pt x="1070" y="996"/>
                    </a:lnTo>
                    <a:lnTo>
                      <a:pt x="1074" y="992"/>
                    </a:lnTo>
                    <a:lnTo>
                      <a:pt x="1076" y="990"/>
                    </a:lnTo>
                    <a:lnTo>
                      <a:pt x="1082" y="986"/>
                    </a:lnTo>
                    <a:lnTo>
                      <a:pt x="1084" y="984"/>
                    </a:lnTo>
                    <a:lnTo>
                      <a:pt x="1086" y="984"/>
                    </a:lnTo>
                    <a:lnTo>
                      <a:pt x="1092" y="982"/>
                    </a:lnTo>
                    <a:lnTo>
                      <a:pt x="1096" y="980"/>
                    </a:lnTo>
                    <a:lnTo>
                      <a:pt x="1102" y="978"/>
                    </a:lnTo>
                    <a:lnTo>
                      <a:pt x="1100" y="978"/>
                    </a:lnTo>
                    <a:lnTo>
                      <a:pt x="1102" y="978"/>
                    </a:lnTo>
                    <a:lnTo>
                      <a:pt x="1106" y="978"/>
                    </a:lnTo>
                    <a:lnTo>
                      <a:pt x="1108" y="978"/>
                    </a:lnTo>
                    <a:lnTo>
                      <a:pt x="1110" y="980"/>
                    </a:lnTo>
                    <a:lnTo>
                      <a:pt x="1118" y="982"/>
                    </a:lnTo>
                    <a:lnTo>
                      <a:pt x="1124" y="984"/>
                    </a:lnTo>
                    <a:lnTo>
                      <a:pt x="1128" y="986"/>
                    </a:lnTo>
                    <a:lnTo>
                      <a:pt x="1130" y="986"/>
                    </a:lnTo>
                    <a:lnTo>
                      <a:pt x="1132" y="988"/>
                    </a:lnTo>
                    <a:lnTo>
                      <a:pt x="1134" y="990"/>
                    </a:lnTo>
                    <a:lnTo>
                      <a:pt x="1138" y="994"/>
                    </a:lnTo>
                    <a:lnTo>
                      <a:pt x="1140" y="996"/>
                    </a:lnTo>
                    <a:lnTo>
                      <a:pt x="1142" y="998"/>
                    </a:lnTo>
                    <a:lnTo>
                      <a:pt x="1142" y="998"/>
                    </a:lnTo>
                    <a:lnTo>
                      <a:pt x="1142" y="998"/>
                    </a:lnTo>
                    <a:lnTo>
                      <a:pt x="1146" y="1000"/>
                    </a:lnTo>
                    <a:lnTo>
                      <a:pt x="1146" y="1000"/>
                    </a:lnTo>
                    <a:lnTo>
                      <a:pt x="1146" y="1000"/>
                    </a:lnTo>
                    <a:lnTo>
                      <a:pt x="1150" y="1002"/>
                    </a:lnTo>
                    <a:lnTo>
                      <a:pt x="1152" y="1002"/>
                    </a:lnTo>
                    <a:lnTo>
                      <a:pt x="1158" y="1002"/>
                    </a:lnTo>
                    <a:lnTo>
                      <a:pt x="1162" y="1004"/>
                    </a:lnTo>
                    <a:lnTo>
                      <a:pt x="1168" y="1004"/>
                    </a:lnTo>
                    <a:lnTo>
                      <a:pt x="1174" y="1002"/>
                    </a:lnTo>
                    <a:lnTo>
                      <a:pt x="1178" y="1002"/>
                    </a:lnTo>
                    <a:lnTo>
                      <a:pt x="1178" y="1002"/>
                    </a:lnTo>
                    <a:lnTo>
                      <a:pt x="1178" y="1002"/>
                    </a:lnTo>
                    <a:lnTo>
                      <a:pt x="1184" y="1000"/>
                    </a:lnTo>
                    <a:lnTo>
                      <a:pt x="1184" y="1000"/>
                    </a:lnTo>
                    <a:lnTo>
                      <a:pt x="1184" y="1000"/>
                    </a:lnTo>
                    <a:lnTo>
                      <a:pt x="1188" y="998"/>
                    </a:lnTo>
                    <a:lnTo>
                      <a:pt x="1188" y="998"/>
                    </a:lnTo>
                    <a:lnTo>
                      <a:pt x="1188" y="998"/>
                    </a:lnTo>
                    <a:lnTo>
                      <a:pt x="1190" y="996"/>
                    </a:lnTo>
                    <a:lnTo>
                      <a:pt x="1190" y="996"/>
                    </a:lnTo>
                    <a:lnTo>
                      <a:pt x="1190" y="996"/>
                    </a:lnTo>
                    <a:lnTo>
                      <a:pt x="1190" y="994"/>
                    </a:lnTo>
                    <a:lnTo>
                      <a:pt x="1190" y="994"/>
                    </a:lnTo>
                    <a:lnTo>
                      <a:pt x="1190" y="992"/>
                    </a:lnTo>
                    <a:lnTo>
                      <a:pt x="1192" y="990"/>
                    </a:lnTo>
                    <a:lnTo>
                      <a:pt x="1192" y="988"/>
                    </a:lnTo>
                    <a:lnTo>
                      <a:pt x="1192" y="982"/>
                    </a:lnTo>
                    <a:lnTo>
                      <a:pt x="1192" y="974"/>
                    </a:lnTo>
                    <a:lnTo>
                      <a:pt x="1194" y="968"/>
                    </a:lnTo>
                    <a:lnTo>
                      <a:pt x="1194" y="962"/>
                    </a:lnTo>
                    <a:lnTo>
                      <a:pt x="1194" y="960"/>
                    </a:lnTo>
                    <a:lnTo>
                      <a:pt x="1194" y="958"/>
                    </a:lnTo>
                    <a:lnTo>
                      <a:pt x="1196" y="956"/>
                    </a:lnTo>
                    <a:lnTo>
                      <a:pt x="1196" y="956"/>
                    </a:lnTo>
                    <a:lnTo>
                      <a:pt x="1200" y="954"/>
                    </a:lnTo>
                    <a:lnTo>
                      <a:pt x="1202" y="954"/>
                    </a:lnTo>
                    <a:lnTo>
                      <a:pt x="1208" y="954"/>
                    </a:lnTo>
                    <a:lnTo>
                      <a:pt x="1212" y="954"/>
                    </a:lnTo>
                    <a:lnTo>
                      <a:pt x="1218" y="954"/>
                    </a:lnTo>
                    <a:lnTo>
                      <a:pt x="1222" y="956"/>
                    </a:lnTo>
                    <a:lnTo>
                      <a:pt x="1228" y="956"/>
                    </a:lnTo>
                    <a:lnTo>
                      <a:pt x="1230" y="958"/>
                    </a:lnTo>
                    <a:lnTo>
                      <a:pt x="1234" y="958"/>
                    </a:lnTo>
                    <a:lnTo>
                      <a:pt x="1236" y="958"/>
                    </a:lnTo>
                    <a:lnTo>
                      <a:pt x="1242" y="960"/>
                    </a:lnTo>
                    <a:lnTo>
                      <a:pt x="1242" y="960"/>
                    </a:lnTo>
                    <a:lnTo>
                      <a:pt x="1246" y="962"/>
                    </a:lnTo>
                    <a:lnTo>
                      <a:pt x="1248" y="966"/>
                    </a:lnTo>
                    <a:lnTo>
                      <a:pt x="1250" y="968"/>
                    </a:lnTo>
                    <a:lnTo>
                      <a:pt x="1250" y="970"/>
                    </a:lnTo>
                    <a:lnTo>
                      <a:pt x="1252" y="972"/>
                    </a:lnTo>
                    <a:lnTo>
                      <a:pt x="1254" y="976"/>
                    </a:lnTo>
                    <a:lnTo>
                      <a:pt x="1254" y="980"/>
                    </a:lnTo>
                    <a:lnTo>
                      <a:pt x="1254" y="980"/>
                    </a:lnTo>
                    <a:lnTo>
                      <a:pt x="1256" y="980"/>
                    </a:lnTo>
                    <a:lnTo>
                      <a:pt x="1258" y="984"/>
                    </a:lnTo>
                    <a:lnTo>
                      <a:pt x="1258" y="984"/>
                    </a:lnTo>
                    <a:lnTo>
                      <a:pt x="1258" y="984"/>
                    </a:lnTo>
                    <a:lnTo>
                      <a:pt x="1260" y="986"/>
                    </a:lnTo>
                    <a:lnTo>
                      <a:pt x="1260" y="986"/>
                    </a:lnTo>
                    <a:lnTo>
                      <a:pt x="1260" y="988"/>
                    </a:lnTo>
                    <a:lnTo>
                      <a:pt x="1264" y="990"/>
                    </a:lnTo>
                    <a:lnTo>
                      <a:pt x="1264" y="990"/>
                    </a:lnTo>
                    <a:lnTo>
                      <a:pt x="1266" y="990"/>
                    </a:lnTo>
                    <a:lnTo>
                      <a:pt x="1270" y="990"/>
                    </a:lnTo>
                    <a:lnTo>
                      <a:pt x="1270" y="990"/>
                    </a:lnTo>
                    <a:lnTo>
                      <a:pt x="1270" y="990"/>
                    </a:lnTo>
                    <a:lnTo>
                      <a:pt x="1276" y="990"/>
                    </a:lnTo>
                    <a:lnTo>
                      <a:pt x="1284" y="990"/>
                    </a:lnTo>
                    <a:lnTo>
                      <a:pt x="1290" y="990"/>
                    </a:lnTo>
                    <a:lnTo>
                      <a:pt x="1298" y="988"/>
                    </a:lnTo>
                    <a:lnTo>
                      <a:pt x="1304" y="988"/>
                    </a:lnTo>
                    <a:lnTo>
                      <a:pt x="1310" y="988"/>
                    </a:lnTo>
                    <a:lnTo>
                      <a:pt x="1310" y="988"/>
                    </a:lnTo>
                    <a:lnTo>
                      <a:pt x="1316" y="990"/>
                    </a:lnTo>
                    <a:lnTo>
                      <a:pt x="1320" y="992"/>
                    </a:lnTo>
                    <a:lnTo>
                      <a:pt x="1322" y="994"/>
                    </a:lnTo>
                    <a:lnTo>
                      <a:pt x="1324" y="996"/>
                    </a:lnTo>
                    <a:lnTo>
                      <a:pt x="1328" y="1000"/>
                    </a:lnTo>
                    <a:lnTo>
                      <a:pt x="1330" y="1004"/>
                    </a:lnTo>
                    <a:lnTo>
                      <a:pt x="1332" y="1008"/>
                    </a:lnTo>
                    <a:lnTo>
                      <a:pt x="1332" y="1008"/>
                    </a:lnTo>
                    <a:lnTo>
                      <a:pt x="1332" y="1008"/>
                    </a:lnTo>
                    <a:lnTo>
                      <a:pt x="1336" y="1010"/>
                    </a:lnTo>
                    <a:lnTo>
                      <a:pt x="1336" y="1010"/>
                    </a:lnTo>
                    <a:lnTo>
                      <a:pt x="1336" y="1012"/>
                    </a:lnTo>
                    <a:lnTo>
                      <a:pt x="1340" y="1014"/>
                    </a:lnTo>
                    <a:lnTo>
                      <a:pt x="1340" y="1014"/>
                    </a:lnTo>
                    <a:lnTo>
                      <a:pt x="1340" y="1014"/>
                    </a:lnTo>
                    <a:lnTo>
                      <a:pt x="1346" y="1014"/>
                    </a:lnTo>
                    <a:lnTo>
                      <a:pt x="1352" y="1016"/>
                    </a:lnTo>
                    <a:lnTo>
                      <a:pt x="1358" y="1016"/>
                    </a:lnTo>
                    <a:lnTo>
                      <a:pt x="1364" y="1016"/>
                    </a:lnTo>
                    <a:lnTo>
                      <a:pt x="1378" y="1016"/>
                    </a:lnTo>
                    <a:lnTo>
                      <a:pt x="1384" y="1014"/>
                    </a:lnTo>
                    <a:lnTo>
                      <a:pt x="1390" y="1014"/>
                    </a:lnTo>
                    <a:lnTo>
                      <a:pt x="1398" y="1012"/>
                    </a:lnTo>
                    <a:lnTo>
                      <a:pt x="1404" y="1008"/>
                    </a:lnTo>
                    <a:lnTo>
                      <a:pt x="1412" y="1006"/>
                    </a:lnTo>
                    <a:lnTo>
                      <a:pt x="1418" y="1002"/>
                    </a:lnTo>
                    <a:lnTo>
                      <a:pt x="1426" y="998"/>
                    </a:lnTo>
                    <a:lnTo>
                      <a:pt x="1432" y="996"/>
                    </a:lnTo>
                    <a:lnTo>
                      <a:pt x="1438" y="994"/>
                    </a:lnTo>
                    <a:lnTo>
                      <a:pt x="1442" y="992"/>
                    </a:lnTo>
                    <a:lnTo>
                      <a:pt x="1442" y="992"/>
                    </a:lnTo>
                    <a:lnTo>
                      <a:pt x="1446" y="992"/>
                    </a:lnTo>
                    <a:lnTo>
                      <a:pt x="1448" y="992"/>
                    </a:lnTo>
                    <a:lnTo>
                      <a:pt x="1450" y="992"/>
                    </a:lnTo>
                    <a:lnTo>
                      <a:pt x="1450" y="994"/>
                    </a:lnTo>
                    <a:lnTo>
                      <a:pt x="1452" y="996"/>
                    </a:lnTo>
                    <a:lnTo>
                      <a:pt x="1454" y="996"/>
                    </a:lnTo>
                    <a:lnTo>
                      <a:pt x="1454" y="996"/>
                    </a:lnTo>
                    <a:lnTo>
                      <a:pt x="1454" y="996"/>
                    </a:lnTo>
                    <a:lnTo>
                      <a:pt x="1456" y="998"/>
                    </a:lnTo>
                    <a:lnTo>
                      <a:pt x="1456" y="998"/>
                    </a:lnTo>
                    <a:lnTo>
                      <a:pt x="1458" y="998"/>
                    </a:lnTo>
                    <a:lnTo>
                      <a:pt x="1460" y="998"/>
                    </a:lnTo>
                    <a:lnTo>
                      <a:pt x="1464" y="998"/>
                    </a:lnTo>
                    <a:lnTo>
                      <a:pt x="1468" y="1000"/>
                    </a:lnTo>
                    <a:lnTo>
                      <a:pt x="1478" y="1000"/>
                    </a:lnTo>
                    <a:lnTo>
                      <a:pt x="1488" y="1000"/>
                    </a:lnTo>
                    <a:lnTo>
                      <a:pt x="1492" y="998"/>
                    </a:lnTo>
                    <a:lnTo>
                      <a:pt x="1496" y="998"/>
                    </a:lnTo>
                    <a:lnTo>
                      <a:pt x="1498" y="998"/>
                    </a:lnTo>
                    <a:lnTo>
                      <a:pt x="1500" y="998"/>
                    </a:lnTo>
                    <a:lnTo>
                      <a:pt x="1502" y="996"/>
                    </a:lnTo>
                    <a:lnTo>
                      <a:pt x="1504" y="996"/>
                    </a:lnTo>
                    <a:lnTo>
                      <a:pt x="1504" y="996"/>
                    </a:lnTo>
                    <a:lnTo>
                      <a:pt x="1504" y="996"/>
                    </a:lnTo>
                    <a:lnTo>
                      <a:pt x="1506" y="994"/>
                    </a:lnTo>
                    <a:lnTo>
                      <a:pt x="1506" y="994"/>
                    </a:lnTo>
                    <a:lnTo>
                      <a:pt x="1506" y="994"/>
                    </a:lnTo>
                    <a:lnTo>
                      <a:pt x="1508" y="992"/>
                    </a:lnTo>
                    <a:lnTo>
                      <a:pt x="1510" y="990"/>
                    </a:lnTo>
                    <a:lnTo>
                      <a:pt x="1512" y="988"/>
                    </a:lnTo>
                    <a:lnTo>
                      <a:pt x="1514" y="984"/>
                    </a:lnTo>
                    <a:lnTo>
                      <a:pt x="1516" y="980"/>
                    </a:lnTo>
                    <a:lnTo>
                      <a:pt x="1518" y="974"/>
                    </a:lnTo>
                    <a:lnTo>
                      <a:pt x="1522" y="970"/>
                    </a:lnTo>
                    <a:lnTo>
                      <a:pt x="1524" y="964"/>
                    </a:lnTo>
                    <a:lnTo>
                      <a:pt x="1526" y="958"/>
                    </a:lnTo>
                    <a:lnTo>
                      <a:pt x="1528" y="952"/>
                    </a:lnTo>
                    <a:lnTo>
                      <a:pt x="1530" y="946"/>
                    </a:lnTo>
                    <a:lnTo>
                      <a:pt x="1530" y="946"/>
                    </a:lnTo>
                    <a:lnTo>
                      <a:pt x="1530" y="946"/>
                    </a:lnTo>
                    <a:lnTo>
                      <a:pt x="1530" y="940"/>
                    </a:lnTo>
                    <a:lnTo>
                      <a:pt x="1530" y="940"/>
                    </a:lnTo>
                    <a:lnTo>
                      <a:pt x="1528" y="934"/>
                    </a:lnTo>
                    <a:lnTo>
                      <a:pt x="1528" y="930"/>
                    </a:lnTo>
                    <a:lnTo>
                      <a:pt x="1526" y="924"/>
                    </a:lnTo>
                    <a:lnTo>
                      <a:pt x="1524" y="920"/>
                    </a:lnTo>
                    <a:lnTo>
                      <a:pt x="1522" y="916"/>
                    </a:lnTo>
                    <a:lnTo>
                      <a:pt x="1522" y="916"/>
                    </a:lnTo>
                    <a:lnTo>
                      <a:pt x="1522" y="912"/>
                    </a:lnTo>
                    <a:lnTo>
                      <a:pt x="1522" y="912"/>
                    </a:lnTo>
                    <a:lnTo>
                      <a:pt x="1522" y="912"/>
                    </a:lnTo>
                    <a:lnTo>
                      <a:pt x="1524" y="912"/>
                    </a:lnTo>
                    <a:lnTo>
                      <a:pt x="1526" y="910"/>
                    </a:lnTo>
                    <a:lnTo>
                      <a:pt x="1528" y="908"/>
                    </a:lnTo>
                    <a:lnTo>
                      <a:pt x="1528" y="908"/>
                    </a:lnTo>
                    <a:lnTo>
                      <a:pt x="1532" y="906"/>
                    </a:lnTo>
                    <a:lnTo>
                      <a:pt x="1536" y="904"/>
                    </a:lnTo>
                    <a:lnTo>
                      <a:pt x="1542" y="904"/>
                    </a:lnTo>
                    <a:lnTo>
                      <a:pt x="1548" y="904"/>
                    </a:lnTo>
                    <a:lnTo>
                      <a:pt x="1558" y="902"/>
                    </a:lnTo>
                    <a:lnTo>
                      <a:pt x="1564" y="902"/>
                    </a:lnTo>
                    <a:lnTo>
                      <a:pt x="1570" y="902"/>
                    </a:lnTo>
                    <a:lnTo>
                      <a:pt x="1576" y="902"/>
                    </a:lnTo>
                    <a:lnTo>
                      <a:pt x="1582" y="902"/>
                    </a:lnTo>
                    <a:lnTo>
                      <a:pt x="1588" y="904"/>
                    </a:lnTo>
                    <a:lnTo>
                      <a:pt x="1594" y="904"/>
                    </a:lnTo>
                    <a:lnTo>
                      <a:pt x="1598" y="906"/>
                    </a:lnTo>
                    <a:lnTo>
                      <a:pt x="1602" y="908"/>
                    </a:lnTo>
                    <a:lnTo>
                      <a:pt x="1606" y="910"/>
                    </a:lnTo>
                    <a:lnTo>
                      <a:pt x="1604" y="910"/>
                    </a:lnTo>
                    <a:lnTo>
                      <a:pt x="1608" y="914"/>
                    </a:lnTo>
                    <a:lnTo>
                      <a:pt x="1608" y="918"/>
                    </a:lnTo>
                    <a:lnTo>
                      <a:pt x="1610" y="922"/>
                    </a:lnTo>
                    <a:lnTo>
                      <a:pt x="1610" y="928"/>
                    </a:lnTo>
                    <a:lnTo>
                      <a:pt x="1612" y="932"/>
                    </a:lnTo>
                    <a:lnTo>
                      <a:pt x="1612" y="936"/>
                    </a:lnTo>
                    <a:lnTo>
                      <a:pt x="1614" y="940"/>
                    </a:lnTo>
                    <a:lnTo>
                      <a:pt x="1614" y="940"/>
                    </a:lnTo>
                    <a:lnTo>
                      <a:pt x="1614" y="940"/>
                    </a:lnTo>
                    <a:lnTo>
                      <a:pt x="1616" y="944"/>
                    </a:lnTo>
                    <a:lnTo>
                      <a:pt x="1618" y="946"/>
                    </a:lnTo>
                    <a:lnTo>
                      <a:pt x="1618" y="946"/>
                    </a:lnTo>
                    <a:lnTo>
                      <a:pt x="1618" y="946"/>
                    </a:lnTo>
                    <a:lnTo>
                      <a:pt x="1620" y="950"/>
                    </a:lnTo>
                    <a:lnTo>
                      <a:pt x="1622" y="950"/>
                    </a:lnTo>
                    <a:lnTo>
                      <a:pt x="1624" y="952"/>
                    </a:lnTo>
                    <a:lnTo>
                      <a:pt x="1626" y="954"/>
                    </a:lnTo>
                    <a:lnTo>
                      <a:pt x="1626" y="954"/>
                    </a:lnTo>
                    <a:lnTo>
                      <a:pt x="1626" y="956"/>
                    </a:lnTo>
                    <a:lnTo>
                      <a:pt x="1628" y="958"/>
                    </a:lnTo>
                    <a:lnTo>
                      <a:pt x="1628" y="958"/>
                    </a:lnTo>
                    <a:lnTo>
                      <a:pt x="1630" y="962"/>
                    </a:lnTo>
                    <a:lnTo>
                      <a:pt x="1630" y="966"/>
                    </a:lnTo>
                    <a:lnTo>
                      <a:pt x="1632" y="972"/>
                    </a:lnTo>
                    <a:lnTo>
                      <a:pt x="1632" y="978"/>
                    </a:lnTo>
                    <a:lnTo>
                      <a:pt x="1634" y="984"/>
                    </a:lnTo>
                    <a:lnTo>
                      <a:pt x="1634" y="988"/>
                    </a:lnTo>
                    <a:lnTo>
                      <a:pt x="1636" y="994"/>
                    </a:lnTo>
                    <a:lnTo>
                      <a:pt x="1638" y="996"/>
                    </a:lnTo>
                    <a:lnTo>
                      <a:pt x="1638" y="996"/>
                    </a:lnTo>
                    <a:lnTo>
                      <a:pt x="1638" y="998"/>
                    </a:lnTo>
                    <a:lnTo>
                      <a:pt x="1640" y="1000"/>
                    </a:lnTo>
                    <a:lnTo>
                      <a:pt x="1640" y="1000"/>
                    </a:lnTo>
                    <a:lnTo>
                      <a:pt x="1640" y="1000"/>
                    </a:lnTo>
                    <a:lnTo>
                      <a:pt x="1642" y="1002"/>
                    </a:lnTo>
                    <a:lnTo>
                      <a:pt x="1642" y="1002"/>
                    </a:lnTo>
                    <a:lnTo>
                      <a:pt x="1642" y="1004"/>
                    </a:lnTo>
                    <a:lnTo>
                      <a:pt x="1646" y="1006"/>
                    </a:lnTo>
                    <a:lnTo>
                      <a:pt x="1648" y="1006"/>
                    </a:lnTo>
                    <a:lnTo>
                      <a:pt x="1650" y="1008"/>
                    </a:lnTo>
                    <a:lnTo>
                      <a:pt x="1654" y="1010"/>
                    </a:lnTo>
                    <a:lnTo>
                      <a:pt x="1656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60" y="1010"/>
                    </a:lnTo>
                    <a:lnTo>
                      <a:pt x="1660" y="1010"/>
                    </a:lnTo>
                    <a:lnTo>
                      <a:pt x="1660" y="1010"/>
                    </a:lnTo>
                    <a:lnTo>
                      <a:pt x="1662" y="1008"/>
                    </a:lnTo>
                    <a:lnTo>
                      <a:pt x="1662" y="1010"/>
                    </a:lnTo>
                    <a:lnTo>
                      <a:pt x="1666" y="1012"/>
                    </a:lnTo>
                    <a:lnTo>
                      <a:pt x="1668" y="1014"/>
                    </a:lnTo>
                    <a:lnTo>
                      <a:pt x="1674" y="1018"/>
                    </a:lnTo>
                    <a:lnTo>
                      <a:pt x="1676" y="1022"/>
                    </a:lnTo>
                    <a:lnTo>
                      <a:pt x="1678" y="1024"/>
                    </a:lnTo>
                    <a:lnTo>
                      <a:pt x="1678" y="1024"/>
                    </a:lnTo>
                    <a:lnTo>
                      <a:pt x="1678" y="1026"/>
                    </a:lnTo>
                    <a:lnTo>
                      <a:pt x="1680" y="1030"/>
                    </a:lnTo>
                    <a:lnTo>
                      <a:pt x="1682" y="1036"/>
                    </a:lnTo>
                    <a:lnTo>
                      <a:pt x="1682" y="1040"/>
                    </a:lnTo>
                    <a:lnTo>
                      <a:pt x="1684" y="1044"/>
                    </a:lnTo>
                    <a:lnTo>
                      <a:pt x="1684" y="1046"/>
                    </a:lnTo>
                    <a:lnTo>
                      <a:pt x="1684" y="1046"/>
                    </a:lnTo>
                    <a:lnTo>
                      <a:pt x="1686" y="1046"/>
                    </a:lnTo>
                    <a:lnTo>
                      <a:pt x="1686" y="1048"/>
                    </a:lnTo>
                    <a:lnTo>
                      <a:pt x="1686" y="1048"/>
                    </a:lnTo>
                    <a:lnTo>
                      <a:pt x="1688" y="1048"/>
                    </a:lnTo>
                    <a:lnTo>
                      <a:pt x="1690" y="1050"/>
                    </a:lnTo>
                    <a:lnTo>
                      <a:pt x="1690" y="1050"/>
                    </a:lnTo>
                    <a:lnTo>
                      <a:pt x="1690" y="1050"/>
                    </a:lnTo>
                    <a:lnTo>
                      <a:pt x="1692" y="1050"/>
                    </a:lnTo>
                    <a:lnTo>
                      <a:pt x="1692" y="1050"/>
                    </a:lnTo>
                    <a:lnTo>
                      <a:pt x="1692" y="1050"/>
                    </a:lnTo>
                    <a:lnTo>
                      <a:pt x="1694" y="1050"/>
                    </a:lnTo>
                    <a:lnTo>
                      <a:pt x="1696" y="1050"/>
                    </a:lnTo>
                    <a:lnTo>
                      <a:pt x="1696" y="1050"/>
                    </a:lnTo>
                    <a:lnTo>
                      <a:pt x="1698" y="1050"/>
                    </a:lnTo>
                    <a:lnTo>
                      <a:pt x="1702" y="1048"/>
                    </a:lnTo>
                    <a:lnTo>
                      <a:pt x="1708" y="1046"/>
                    </a:lnTo>
                    <a:lnTo>
                      <a:pt x="1710" y="1044"/>
                    </a:lnTo>
                    <a:lnTo>
                      <a:pt x="1712" y="1044"/>
                    </a:lnTo>
                    <a:lnTo>
                      <a:pt x="1718" y="1040"/>
                    </a:lnTo>
                    <a:lnTo>
                      <a:pt x="1722" y="1036"/>
                    </a:lnTo>
                    <a:lnTo>
                      <a:pt x="1728" y="1032"/>
                    </a:lnTo>
                    <a:lnTo>
                      <a:pt x="1734" y="1028"/>
                    </a:lnTo>
                    <a:lnTo>
                      <a:pt x="1736" y="1026"/>
                    </a:lnTo>
                    <a:lnTo>
                      <a:pt x="1738" y="1026"/>
                    </a:lnTo>
                    <a:lnTo>
                      <a:pt x="1740" y="1024"/>
                    </a:lnTo>
                    <a:lnTo>
                      <a:pt x="1740" y="1026"/>
                    </a:lnTo>
                    <a:lnTo>
                      <a:pt x="1740" y="1028"/>
                    </a:lnTo>
                    <a:lnTo>
                      <a:pt x="1738" y="1032"/>
                    </a:lnTo>
                    <a:lnTo>
                      <a:pt x="1738" y="1036"/>
                    </a:lnTo>
                    <a:lnTo>
                      <a:pt x="1736" y="1040"/>
                    </a:lnTo>
                    <a:lnTo>
                      <a:pt x="1736" y="1044"/>
                    </a:lnTo>
                    <a:lnTo>
                      <a:pt x="1732" y="1056"/>
                    </a:lnTo>
                    <a:lnTo>
                      <a:pt x="1728" y="1066"/>
                    </a:lnTo>
                    <a:lnTo>
                      <a:pt x="1726" y="1070"/>
                    </a:lnTo>
                    <a:lnTo>
                      <a:pt x="1724" y="1076"/>
                    </a:lnTo>
                    <a:lnTo>
                      <a:pt x="1722" y="1080"/>
                    </a:lnTo>
                    <a:lnTo>
                      <a:pt x="1720" y="1084"/>
                    </a:lnTo>
                    <a:lnTo>
                      <a:pt x="1720" y="1088"/>
                    </a:lnTo>
                    <a:lnTo>
                      <a:pt x="1718" y="1090"/>
                    </a:lnTo>
                    <a:lnTo>
                      <a:pt x="1716" y="1092"/>
                    </a:lnTo>
                    <a:lnTo>
                      <a:pt x="1716" y="1092"/>
                    </a:lnTo>
                    <a:lnTo>
                      <a:pt x="1716" y="1092"/>
                    </a:lnTo>
                    <a:lnTo>
                      <a:pt x="1714" y="1092"/>
                    </a:lnTo>
                    <a:lnTo>
                      <a:pt x="1712" y="1094"/>
                    </a:lnTo>
                    <a:lnTo>
                      <a:pt x="1708" y="1092"/>
                    </a:lnTo>
                    <a:lnTo>
                      <a:pt x="1708" y="1092"/>
                    </a:lnTo>
                    <a:lnTo>
                      <a:pt x="1704" y="1092"/>
                    </a:lnTo>
                    <a:lnTo>
                      <a:pt x="1700" y="1090"/>
                    </a:lnTo>
                    <a:lnTo>
                      <a:pt x="1696" y="1090"/>
                    </a:lnTo>
                    <a:lnTo>
                      <a:pt x="1694" y="1090"/>
                    </a:lnTo>
                    <a:lnTo>
                      <a:pt x="1694" y="1090"/>
                    </a:lnTo>
                    <a:lnTo>
                      <a:pt x="1694" y="1090"/>
                    </a:lnTo>
                    <a:lnTo>
                      <a:pt x="1692" y="1090"/>
                    </a:lnTo>
                    <a:lnTo>
                      <a:pt x="1692" y="1090"/>
                    </a:lnTo>
                    <a:lnTo>
                      <a:pt x="1690" y="1090"/>
                    </a:lnTo>
                    <a:lnTo>
                      <a:pt x="1690" y="1092"/>
                    </a:lnTo>
                    <a:lnTo>
                      <a:pt x="1690" y="1092"/>
                    </a:lnTo>
                    <a:lnTo>
                      <a:pt x="1688" y="1092"/>
                    </a:lnTo>
                    <a:lnTo>
                      <a:pt x="1688" y="1094"/>
                    </a:lnTo>
                    <a:lnTo>
                      <a:pt x="1688" y="1094"/>
                    </a:lnTo>
                    <a:lnTo>
                      <a:pt x="1688" y="1094"/>
                    </a:lnTo>
                    <a:lnTo>
                      <a:pt x="1686" y="1096"/>
                    </a:lnTo>
                    <a:lnTo>
                      <a:pt x="1686" y="1100"/>
                    </a:lnTo>
                    <a:lnTo>
                      <a:pt x="1684" y="1102"/>
                    </a:lnTo>
                    <a:lnTo>
                      <a:pt x="1684" y="1106"/>
                    </a:lnTo>
                    <a:lnTo>
                      <a:pt x="1684" y="1112"/>
                    </a:lnTo>
                    <a:lnTo>
                      <a:pt x="1682" y="1120"/>
                    </a:lnTo>
                    <a:lnTo>
                      <a:pt x="1682" y="1128"/>
                    </a:lnTo>
                    <a:lnTo>
                      <a:pt x="1684" y="1134"/>
                    </a:lnTo>
                    <a:lnTo>
                      <a:pt x="1684" y="1138"/>
                    </a:lnTo>
                    <a:lnTo>
                      <a:pt x="1684" y="1140"/>
                    </a:lnTo>
                    <a:lnTo>
                      <a:pt x="1686" y="1142"/>
                    </a:lnTo>
                    <a:lnTo>
                      <a:pt x="1686" y="1142"/>
                    </a:lnTo>
                    <a:lnTo>
                      <a:pt x="1686" y="1144"/>
                    </a:lnTo>
                    <a:lnTo>
                      <a:pt x="1686" y="1144"/>
                    </a:lnTo>
                    <a:lnTo>
                      <a:pt x="1686" y="1144"/>
                    </a:lnTo>
                    <a:lnTo>
                      <a:pt x="1686" y="1146"/>
                    </a:lnTo>
                    <a:lnTo>
                      <a:pt x="1690" y="1148"/>
                    </a:lnTo>
                    <a:lnTo>
                      <a:pt x="1690" y="1148"/>
                    </a:lnTo>
                    <a:lnTo>
                      <a:pt x="1690" y="1148"/>
                    </a:lnTo>
                    <a:lnTo>
                      <a:pt x="1694" y="1150"/>
                    </a:lnTo>
                    <a:lnTo>
                      <a:pt x="1694" y="1150"/>
                    </a:lnTo>
                    <a:lnTo>
                      <a:pt x="1696" y="1150"/>
                    </a:lnTo>
                    <a:lnTo>
                      <a:pt x="1700" y="1152"/>
                    </a:lnTo>
                    <a:lnTo>
                      <a:pt x="1700" y="1152"/>
                    </a:lnTo>
                    <a:lnTo>
                      <a:pt x="1706" y="1152"/>
                    </a:lnTo>
                    <a:lnTo>
                      <a:pt x="1712" y="1152"/>
                    </a:lnTo>
                    <a:lnTo>
                      <a:pt x="1718" y="1152"/>
                    </a:lnTo>
                    <a:lnTo>
                      <a:pt x="1724" y="1150"/>
                    </a:lnTo>
                    <a:lnTo>
                      <a:pt x="1730" y="1148"/>
                    </a:lnTo>
                    <a:lnTo>
                      <a:pt x="1736" y="1146"/>
                    </a:lnTo>
                    <a:lnTo>
                      <a:pt x="1740" y="1142"/>
                    </a:lnTo>
                    <a:lnTo>
                      <a:pt x="1746" y="1138"/>
                    </a:lnTo>
                    <a:lnTo>
                      <a:pt x="1750" y="1134"/>
                    </a:lnTo>
                    <a:lnTo>
                      <a:pt x="1756" y="1130"/>
                    </a:lnTo>
                    <a:lnTo>
                      <a:pt x="1760" y="1124"/>
                    </a:lnTo>
                    <a:lnTo>
                      <a:pt x="1766" y="1116"/>
                    </a:lnTo>
                    <a:lnTo>
                      <a:pt x="1772" y="1110"/>
                    </a:lnTo>
                    <a:lnTo>
                      <a:pt x="1774" y="1104"/>
                    </a:lnTo>
                    <a:lnTo>
                      <a:pt x="1778" y="1100"/>
                    </a:lnTo>
                    <a:lnTo>
                      <a:pt x="1782" y="1094"/>
                    </a:lnTo>
                    <a:lnTo>
                      <a:pt x="1786" y="1088"/>
                    </a:lnTo>
                    <a:lnTo>
                      <a:pt x="1794" y="1074"/>
                    </a:lnTo>
                    <a:lnTo>
                      <a:pt x="1804" y="1060"/>
                    </a:lnTo>
                    <a:lnTo>
                      <a:pt x="1812" y="1048"/>
                    </a:lnTo>
                    <a:lnTo>
                      <a:pt x="1820" y="1034"/>
                    </a:lnTo>
                    <a:lnTo>
                      <a:pt x="1824" y="1028"/>
                    </a:lnTo>
                    <a:lnTo>
                      <a:pt x="1826" y="1022"/>
                    </a:lnTo>
                    <a:lnTo>
                      <a:pt x="1830" y="1016"/>
                    </a:lnTo>
                    <a:lnTo>
                      <a:pt x="1832" y="1012"/>
                    </a:lnTo>
                    <a:lnTo>
                      <a:pt x="1834" y="1008"/>
                    </a:lnTo>
                    <a:lnTo>
                      <a:pt x="1834" y="1004"/>
                    </a:lnTo>
                    <a:lnTo>
                      <a:pt x="1836" y="1000"/>
                    </a:lnTo>
                    <a:lnTo>
                      <a:pt x="1836" y="996"/>
                    </a:lnTo>
                    <a:lnTo>
                      <a:pt x="1836" y="992"/>
                    </a:lnTo>
                    <a:lnTo>
                      <a:pt x="1836" y="986"/>
                    </a:lnTo>
                    <a:lnTo>
                      <a:pt x="1834" y="984"/>
                    </a:lnTo>
                    <a:lnTo>
                      <a:pt x="1832" y="980"/>
                    </a:lnTo>
                    <a:lnTo>
                      <a:pt x="1832" y="976"/>
                    </a:lnTo>
                    <a:lnTo>
                      <a:pt x="1832" y="976"/>
                    </a:lnTo>
                    <a:lnTo>
                      <a:pt x="1832" y="972"/>
                    </a:lnTo>
                    <a:lnTo>
                      <a:pt x="1832" y="968"/>
                    </a:lnTo>
                    <a:lnTo>
                      <a:pt x="1834" y="962"/>
                    </a:lnTo>
                    <a:lnTo>
                      <a:pt x="1836" y="952"/>
                    </a:lnTo>
                    <a:lnTo>
                      <a:pt x="1838" y="946"/>
                    </a:lnTo>
                    <a:lnTo>
                      <a:pt x="1840" y="940"/>
                    </a:lnTo>
                    <a:lnTo>
                      <a:pt x="1840" y="936"/>
                    </a:lnTo>
                    <a:lnTo>
                      <a:pt x="1840" y="930"/>
                    </a:lnTo>
                    <a:lnTo>
                      <a:pt x="1842" y="926"/>
                    </a:lnTo>
                    <a:lnTo>
                      <a:pt x="1842" y="924"/>
                    </a:lnTo>
                    <a:lnTo>
                      <a:pt x="1840" y="920"/>
                    </a:lnTo>
                    <a:lnTo>
                      <a:pt x="1840" y="918"/>
                    </a:lnTo>
                    <a:lnTo>
                      <a:pt x="1840" y="918"/>
                    </a:lnTo>
                    <a:lnTo>
                      <a:pt x="1840" y="918"/>
                    </a:lnTo>
                    <a:lnTo>
                      <a:pt x="1838" y="912"/>
                    </a:lnTo>
                    <a:lnTo>
                      <a:pt x="1836" y="908"/>
                    </a:lnTo>
                    <a:lnTo>
                      <a:pt x="1834" y="904"/>
                    </a:lnTo>
                    <a:lnTo>
                      <a:pt x="1832" y="902"/>
                    </a:lnTo>
                    <a:lnTo>
                      <a:pt x="1826" y="896"/>
                    </a:lnTo>
                    <a:lnTo>
                      <a:pt x="1822" y="892"/>
                    </a:lnTo>
                    <a:lnTo>
                      <a:pt x="1818" y="890"/>
                    </a:lnTo>
                    <a:lnTo>
                      <a:pt x="1816" y="888"/>
                    </a:lnTo>
                    <a:lnTo>
                      <a:pt x="1814" y="888"/>
                    </a:lnTo>
                    <a:lnTo>
                      <a:pt x="1814" y="888"/>
                    </a:lnTo>
                    <a:lnTo>
                      <a:pt x="1814" y="886"/>
                    </a:lnTo>
                    <a:lnTo>
                      <a:pt x="1812" y="886"/>
                    </a:lnTo>
                    <a:lnTo>
                      <a:pt x="1812" y="886"/>
                    </a:lnTo>
                    <a:lnTo>
                      <a:pt x="1812" y="886"/>
                    </a:lnTo>
                    <a:lnTo>
                      <a:pt x="1808" y="886"/>
                    </a:lnTo>
                    <a:lnTo>
                      <a:pt x="1808" y="886"/>
                    </a:lnTo>
                    <a:lnTo>
                      <a:pt x="1806" y="886"/>
                    </a:lnTo>
                    <a:lnTo>
                      <a:pt x="1804" y="888"/>
                    </a:lnTo>
                    <a:lnTo>
                      <a:pt x="1804" y="888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0" y="888"/>
                    </a:lnTo>
                    <a:lnTo>
                      <a:pt x="1800" y="890"/>
                    </a:lnTo>
                    <a:lnTo>
                      <a:pt x="1800" y="890"/>
                    </a:lnTo>
                    <a:lnTo>
                      <a:pt x="1800" y="890"/>
                    </a:lnTo>
                    <a:lnTo>
                      <a:pt x="1798" y="892"/>
                    </a:lnTo>
                    <a:lnTo>
                      <a:pt x="1798" y="892"/>
                    </a:lnTo>
                    <a:lnTo>
                      <a:pt x="1798" y="894"/>
                    </a:lnTo>
                    <a:lnTo>
                      <a:pt x="1798" y="896"/>
                    </a:lnTo>
                    <a:lnTo>
                      <a:pt x="1798" y="898"/>
                    </a:lnTo>
                    <a:lnTo>
                      <a:pt x="1800" y="902"/>
                    </a:lnTo>
                    <a:lnTo>
                      <a:pt x="1800" y="904"/>
                    </a:lnTo>
                    <a:lnTo>
                      <a:pt x="1800" y="906"/>
                    </a:lnTo>
                    <a:lnTo>
                      <a:pt x="1800" y="908"/>
                    </a:lnTo>
                    <a:lnTo>
                      <a:pt x="1798" y="908"/>
                    </a:lnTo>
                    <a:lnTo>
                      <a:pt x="1798" y="908"/>
                    </a:lnTo>
                    <a:lnTo>
                      <a:pt x="1796" y="908"/>
                    </a:lnTo>
                    <a:lnTo>
                      <a:pt x="1794" y="908"/>
                    </a:lnTo>
                    <a:lnTo>
                      <a:pt x="1792" y="906"/>
                    </a:lnTo>
                    <a:lnTo>
                      <a:pt x="1792" y="906"/>
                    </a:lnTo>
                    <a:lnTo>
                      <a:pt x="1792" y="904"/>
                    </a:lnTo>
                    <a:lnTo>
                      <a:pt x="1792" y="904"/>
                    </a:lnTo>
                    <a:lnTo>
                      <a:pt x="1792" y="904"/>
                    </a:lnTo>
                    <a:lnTo>
                      <a:pt x="1792" y="900"/>
                    </a:lnTo>
                    <a:lnTo>
                      <a:pt x="1794" y="894"/>
                    </a:lnTo>
                    <a:lnTo>
                      <a:pt x="1796" y="890"/>
                    </a:lnTo>
                    <a:lnTo>
                      <a:pt x="1798" y="884"/>
                    </a:lnTo>
                    <a:lnTo>
                      <a:pt x="1798" y="880"/>
                    </a:lnTo>
                    <a:lnTo>
                      <a:pt x="1800" y="876"/>
                    </a:lnTo>
                    <a:lnTo>
                      <a:pt x="1800" y="874"/>
                    </a:lnTo>
                    <a:lnTo>
                      <a:pt x="1800" y="874"/>
                    </a:lnTo>
                    <a:lnTo>
                      <a:pt x="1800" y="872"/>
                    </a:lnTo>
                    <a:lnTo>
                      <a:pt x="1800" y="872"/>
                    </a:lnTo>
                    <a:lnTo>
                      <a:pt x="1798" y="870"/>
                    </a:lnTo>
                    <a:lnTo>
                      <a:pt x="1798" y="870"/>
                    </a:lnTo>
                    <a:lnTo>
                      <a:pt x="1798" y="870"/>
                    </a:lnTo>
                    <a:lnTo>
                      <a:pt x="1796" y="870"/>
                    </a:lnTo>
                    <a:lnTo>
                      <a:pt x="1794" y="870"/>
                    </a:lnTo>
                    <a:lnTo>
                      <a:pt x="1794" y="870"/>
                    </a:lnTo>
                    <a:lnTo>
                      <a:pt x="1794" y="870"/>
                    </a:lnTo>
                    <a:lnTo>
                      <a:pt x="1792" y="872"/>
                    </a:lnTo>
                    <a:lnTo>
                      <a:pt x="1790" y="872"/>
                    </a:lnTo>
                    <a:lnTo>
                      <a:pt x="1786" y="876"/>
                    </a:lnTo>
                    <a:lnTo>
                      <a:pt x="1782" y="878"/>
                    </a:lnTo>
                    <a:lnTo>
                      <a:pt x="1780" y="878"/>
                    </a:lnTo>
                    <a:lnTo>
                      <a:pt x="1778" y="880"/>
                    </a:lnTo>
                    <a:lnTo>
                      <a:pt x="1772" y="880"/>
                    </a:lnTo>
                    <a:lnTo>
                      <a:pt x="1768" y="880"/>
                    </a:lnTo>
                    <a:lnTo>
                      <a:pt x="1764" y="880"/>
                    </a:lnTo>
                    <a:lnTo>
                      <a:pt x="1758" y="880"/>
                    </a:lnTo>
                    <a:lnTo>
                      <a:pt x="1754" y="880"/>
                    </a:lnTo>
                    <a:lnTo>
                      <a:pt x="1752" y="880"/>
                    </a:lnTo>
                    <a:lnTo>
                      <a:pt x="1750" y="880"/>
                    </a:lnTo>
                    <a:lnTo>
                      <a:pt x="1748" y="880"/>
                    </a:lnTo>
                    <a:lnTo>
                      <a:pt x="1748" y="878"/>
                    </a:lnTo>
                    <a:lnTo>
                      <a:pt x="1750" y="878"/>
                    </a:lnTo>
                    <a:lnTo>
                      <a:pt x="1750" y="876"/>
                    </a:lnTo>
                    <a:lnTo>
                      <a:pt x="1754" y="872"/>
                    </a:lnTo>
                    <a:lnTo>
                      <a:pt x="1754" y="872"/>
                    </a:lnTo>
                    <a:lnTo>
                      <a:pt x="1758" y="868"/>
                    </a:lnTo>
                    <a:lnTo>
                      <a:pt x="1760" y="866"/>
                    </a:lnTo>
                    <a:lnTo>
                      <a:pt x="1762" y="864"/>
                    </a:lnTo>
                    <a:lnTo>
                      <a:pt x="1770" y="860"/>
                    </a:lnTo>
                    <a:lnTo>
                      <a:pt x="1772" y="858"/>
                    </a:lnTo>
                    <a:lnTo>
                      <a:pt x="1776" y="854"/>
                    </a:lnTo>
                    <a:lnTo>
                      <a:pt x="1780" y="850"/>
                    </a:lnTo>
                    <a:lnTo>
                      <a:pt x="1786" y="846"/>
                    </a:lnTo>
                    <a:lnTo>
                      <a:pt x="1790" y="842"/>
                    </a:lnTo>
                    <a:lnTo>
                      <a:pt x="1794" y="838"/>
                    </a:lnTo>
                    <a:lnTo>
                      <a:pt x="1796" y="836"/>
                    </a:lnTo>
                    <a:lnTo>
                      <a:pt x="1796" y="836"/>
                    </a:lnTo>
                    <a:lnTo>
                      <a:pt x="1796" y="836"/>
                    </a:lnTo>
                    <a:lnTo>
                      <a:pt x="1798" y="834"/>
                    </a:lnTo>
                    <a:lnTo>
                      <a:pt x="1798" y="834"/>
                    </a:lnTo>
                    <a:lnTo>
                      <a:pt x="1798" y="834"/>
                    </a:lnTo>
                    <a:lnTo>
                      <a:pt x="1798" y="830"/>
                    </a:lnTo>
                    <a:lnTo>
                      <a:pt x="1800" y="826"/>
                    </a:lnTo>
                    <a:lnTo>
                      <a:pt x="1800" y="828"/>
                    </a:lnTo>
                    <a:lnTo>
                      <a:pt x="1800" y="826"/>
                    </a:lnTo>
                    <a:lnTo>
                      <a:pt x="1802" y="824"/>
                    </a:lnTo>
                    <a:lnTo>
                      <a:pt x="1802" y="824"/>
                    </a:lnTo>
                    <a:lnTo>
                      <a:pt x="1804" y="822"/>
                    </a:lnTo>
                    <a:lnTo>
                      <a:pt x="1808" y="820"/>
                    </a:lnTo>
                    <a:lnTo>
                      <a:pt x="1812" y="818"/>
                    </a:lnTo>
                    <a:lnTo>
                      <a:pt x="1814" y="816"/>
                    </a:lnTo>
                    <a:lnTo>
                      <a:pt x="1816" y="816"/>
                    </a:lnTo>
                    <a:lnTo>
                      <a:pt x="1818" y="814"/>
                    </a:lnTo>
                    <a:lnTo>
                      <a:pt x="1818" y="812"/>
                    </a:lnTo>
                    <a:lnTo>
                      <a:pt x="1818" y="812"/>
                    </a:lnTo>
                    <a:lnTo>
                      <a:pt x="1818" y="812"/>
                    </a:lnTo>
                    <a:lnTo>
                      <a:pt x="1820" y="810"/>
                    </a:lnTo>
                    <a:lnTo>
                      <a:pt x="1822" y="808"/>
                    </a:lnTo>
                    <a:lnTo>
                      <a:pt x="1822" y="806"/>
                    </a:lnTo>
                    <a:lnTo>
                      <a:pt x="1824" y="804"/>
                    </a:lnTo>
                    <a:lnTo>
                      <a:pt x="1828" y="800"/>
                    </a:lnTo>
                    <a:lnTo>
                      <a:pt x="1828" y="800"/>
                    </a:lnTo>
                    <a:lnTo>
                      <a:pt x="1830" y="800"/>
                    </a:lnTo>
                    <a:lnTo>
                      <a:pt x="1832" y="796"/>
                    </a:lnTo>
                    <a:lnTo>
                      <a:pt x="1832" y="796"/>
                    </a:lnTo>
                    <a:lnTo>
                      <a:pt x="1832" y="796"/>
                    </a:lnTo>
                    <a:lnTo>
                      <a:pt x="1832" y="794"/>
                    </a:lnTo>
                    <a:lnTo>
                      <a:pt x="1832" y="792"/>
                    </a:lnTo>
                    <a:lnTo>
                      <a:pt x="1834" y="788"/>
                    </a:lnTo>
                    <a:lnTo>
                      <a:pt x="1834" y="786"/>
                    </a:lnTo>
                    <a:lnTo>
                      <a:pt x="1834" y="784"/>
                    </a:lnTo>
                    <a:lnTo>
                      <a:pt x="1834" y="782"/>
                    </a:lnTo>
                    <a:lnTo>
                      <a:pt x="1836" y="782"/>
                    </a:lnTo>
                    <a:lnTo>
                      <a:pt x="1836" y="782"/>
                    </a:lnTo>
                    <a:lnTo>
                      <a:pt x="1838" y="782"/>
                    </a:lnTo>
                    <a:lnTo>
                      <a:pt x="1842" y="784"/>
                    </a:lnTo>
                    <a:lnTo>
                      <a:pt x="1842" y="784"/>
                    </a:lnTo>
                    <a:lnTo>
                      <a:pt x="1842" y="784"/>
                    </a:lnTo>
                    <a:lnTo>
                      <a:pt x="1844" y="784"/>
                    </a:lnTo>
                    <a:lnTo>
                      <a:pt x="1844" y="784"/>
                    </a:lnTo>
                    <a:lnTo>
                      <a:pt x="1844" y="784"/>
                    </a:lnTo>
                    <a:lnTo>
                      <a:pt x="1846" y="782"/>
                    </a:lnTo>
                    <a:lnTo>
                      <a:pt x="1846" y="782"/>
                    </a:lnTo>
                    <a:lnTo>
                      <a:pt x="1848" y="782"/>
                    </a:lnTo>
                    <a:lnTo>
                      <a:pt x="1848" y="782"/>
                    </a:lnTo>
                    <a:lnTo>
                      <a:pt x="1848" y="782"/>
                    </a:lnTo>
                    <a:lnTo>
                      <a:pt x="1848" y="780"/>
                    </a:lnTo>
                    <a:lnTo>
                      <a:pt x="1850" y="778"/>
                    </a:lnTo>
                    <a:lnTo>
                      <a:pt x="1850" y="778"/>
                    </a:lnTo>
                    <a:lnTo>
                      <a:pt x="1850" y="778"/>
                    </a:lnTo>
                    <a:lnTo>
                      <a:pt x="1850" y="774"/>
                    </a:lnTo>
                    <a:lnTo>
                      <a:pt x="1850" y="772"/>
                    </a:lnTo>
                    <a:lnTo>
                      <a:pt x="1850" y="770"/>
                    </a:lnTo>
                    <a:lnTo>
                      <a:pt x="1850" y="770"/>
                    </a:lnTo>
                    <a:lnTo>
                      <a:pt x="1854" y="764"/>
                    </a:lnTo>
                    <a:lnTo>
                      <a:pt x="1854" y="760"/>
                    </a:lnTo>
                    <a:lnTo>
                      <a:pt x="1856" y="758"/>
                    </a:lnTo>
                    <a:lnTo>
                      <a:pt x="1856" y="760"/>
                    </a:lnTo>
                    <a:lnTo>
                      <a:pt x="1856" y="758"/>
                    </a:lnTo>
                    <a:lnTo>
                      <a:pt x="1858" y="758"/>
                    </a:lnTo>
                    <a:lnTo>
                      <a:pt x="1862" y="756"/>
                    </a:lnTo>
                    <a:lnTo>
                      <a:pt x="1866" y="754"/>
                    </a:lnTo>
                    <a:lnTo>
                      <a:pt x="1870" y="754"/>
                    </a:lnTo>
                    <a:lnTo>
                      <a:pt x="1874" y="754"/>
                    </a:lnTo>
                    <a:lnTo>
                      <a:pt x="1878" y="754"/>
                    </a:lnTo>
                    <a:lnTo>
                      <a:pt x="1884" y="754"/>
                    </a:lnTo>
                    <a:lnTo>
                      <a:pt x="1888" y="754"/>
                    </a:lnTo>
                    <a:lnTo>
                      <a:pt x="1892" y="754"/>
                    </a:lnTo>
                    <a:lnTo>
                      <a:pt x="1896" y="754"/>
                    </a:lnTo>
                    <a:lnTo>
                      <a:pt x="1900" y="754"/>
                    </a:lnTo>
                    <a:lnTo>
                      <a:pt x="1902" y="754"/>
                    </a:lnTo>
                    <a:lnTo>
                      <a:pt x="1902" y="754"/>
                    </a:lnTo>
                    <a:lnTo>
                      <a:pt x="1904" y="756"/>
                    </a:lnTo>
                    <a:lnTo>
                      <a:pt x="1904" y="754"/>
                    </a:lnTo>
                    <a:lnTo>
                      <a:pt x="1906" y="758"/>
                    </a:lnTo>
                    <a:lnTo>
                      <a:pt x="1908" y="760"/>
                    </a:lnTo>
                    <a:lnTo>
                      <a:pt x="1908" y="760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2" y="762"/>
                    </a:lnTo>
                    <a:lnTo>
                      <a:pt x="1912" y="762"/>
                    </a:lnTo>
                    <a:lnTo>
                      <a:pt x="1914" y="762"/>
                    </a:lnTo>
                    <a:lnTo>
                      <a:pt x="1914" y="760"/>
                    </a:lnTo>
                    <a:lnTo>
                      <a:pt x="1914" y="760"/>
                    </a:lnTo>
                    <a:lnTo>
                      <a:pt x="1916" y="760"/>
                    </a:lnTo>
                    <a:lnTo>
                      <a:pt x="1916" y="758"/>
                    </a:lnTo>
                    <a:lnTo>
                      <a:pt x="1914" y="756"/>
                    </a:lnTo>
                    <a:lnTo>
                      <a:pt x="1916" y="758"/>
                    </a:lnTo>
                    <a:lnTo>
                      <a:pt x="1918" y="760"/>
                    </a:lnTo>
                    <a:lnTo>
                      <a:pt x="1918" y="760"/>
                    </a:lnTo>
                    <a:lnTo>
                      <a:pt x="1918" y="760"/>
                    </a:lnTo>
                    <a:lnTo>
                      <a:pt x="1920" y="762"/>
                    </a:lnTo>
                    <a:lnTo>
                      <a:pt x="1920" y="762"/>
                    </a:lnTo>
                    <a:lnTo>
                      <a:pt x="1922" y="762"/>
                    </a:lnTo>
                    <a:lnTo>
                      <a:pt x="1924" y="762"/>
                    </a:lnTo>
                    <a:lnTo>
                      <a:pt x="1924" y="762"/>
                    </a:lnTo>
                    <a:lnTo>
                      <a:pt x="1924" y="762"/>
                    </a:lnTo>
                    <a:lnTo>
                      <a:pt x="1926" y="762"/>
                    </a:lnTo>
                    <a:lnTo>
                      <a:pt x="1930" y="760"/>
                    </a:lnTo>
                    <a:lnTo>
                      <a:pt x="1934" y="758"/>
                    </a:lnTo>
                    <a:lnTo>
                      <a:pt x="1938" y="756"/>
                    </a:lnTo>
                    <a:lnTo>
                      <a:pt x="1940" y="756"/>
                    </a:lnTo>
                    <a:lnTo>
                      <a:pt x="1942" y="756"/>
                    </a:lnTo>
                    <a:lnTo>
                      <a:pt x="1942" y="756"/>
                    </a:lnTo>
                    <a:lnTo>
                      <a:pt x="1944" y="756"/>
                    </a:lnTo>
                    <a:lnTo>
                      <a:pt x="1946" y="756"/>
                    </a:lnTo>
                    <a:lnTo>
                      <a:pt x="1950" y="756"/>
                    </a:lnTo>
                    <a:lnTo>
                      <a:pt x="1954" y="758"/>
                    </a:lnTo>
                    <a:lnTo>
                      <a:pt x="1954" y="758"/>
                    </a:lnTo>
                    <a:lnTo>
                      <a:pt x="1954" y="758"/>
                    </a:lnTo>
                    <a:lnTo>
                      <a:pt x="1956" y="758"/>
                    </a:lnTo>
                    <a:lnTo>
                      <a:pt x="1956" y="758"/>
                    </a:lnTo>
                    <a:lnTo>
                      <a:pt x="1956" y="758"/>
                    </a:lnTo>
                    <a:lnTo>
                      <a:pt x="1958" y="756"/>
                    </a:lnTo>
                    <a:lnTo>
                      <a:pt x="1958" y="756"/>
                    </a:lnTo>
                    <a:lnTo>
                      <a:pt x="1960" y="756"/>
                    </a:lnTo>
                    <a:lnTo>
                      <a:pt x="1960" y="754"/>
                    </a:lnTo>
                    <a:lnTo>
                      <a:pt x="1960" y="754"/>
                    </a:lnTo>
                    <a:lnTo>
                      <a:pt x="1960" y="754"/>
                    </a:lnTo>
                    <a:lnTo>
                      <a:pt x="1960" y="752"/>
                    </a:lnTo>
                    <a:lnTo>
                      <a:pt x="1960" y="752"/>
                    </a:lnTo>
                    <a:lnTo>
                      <a:pt x="1960" y="750"/>
                    </a:lnTo>
                    <a:lnTo>
                      <a:pt x="1960" y="748"/>
                    </a:lnTo>
                    <a:lnTo>
                      <a:pt x="1960" y="746"/>
                    </a:lnTo>
                    <a:lnTo>
                      <a:pt x="1960" y="744"/>
                    </a:lnTo>
                    <a:lnTo>
                      <a:pt x="1960" y="742"/>
                    </a:lnTo>
                    <a:lnTo>
                      <a:pt x="1960" y="740"/>
                    </a:lnTo>
                    <a:lnTo>
                      <a:pt x="1960" y="740"/>
                    </a:lnTo>
                    <a:lnTo>
                      <a:pt x="1962" y="740"/>
                    </a:lnTo>
                    <a:lnTo>
                      <a:pt x="1964" y="740"/>
                    </a:lnTo>
                    <a:lnTo>
                      <a:pt x="1964" y="740"/>
                    </a:lnTo>
                    <a:lnTo>
                      <a:pt x="1966" y="742"/>
                    </a:lnTo>
                    <a:lnTo>
                      <a:pt x="1968" y="742"/>
                    </a:lnTo>
                    <a:lnTo>
                      <a:pt x="1970" y="744"/>
                    </a:lnTo>
                    <a:lnTo>
                      <a:pt x="1976" y="748"/>
                    </a:lnTo>
                    <a:lnTo>
                      <a:pt x="1982" y="752"/>
                    </a:lnTo>
                    <a:lnTo>
                      <a:pt x="1984" y="754"/>
                    </a:lnTo>
                    <a:lnTo>
                      <a:pt x="1986" y="756"/>
                    </a:lnTo>
                    <a:lnTo>
                      <a:pt x="1988" y="758"/>
                    </a:lnTo>
                    <a:lnTo>
                      <a:pt x="1988" y="758"/>
                    </a:lnTo>
                    <a:lnTo>
                      <a:pt x="1990" y="762"/>
                    </a:lnTo>
                    <a:lnTo>
                      <a:pt x="1992" y="764"/>
                    </a:lnTo>
                    <a:lnTo>
                      <a:pt x="1992" y="764"/>
                    </a:lnTo>
                    <a:lnTo>
                      <a:pt x="1994" y="764"/>
                    </a:lnTo>
                    <a:lnTo>
                      <a:pt x="1996" y="764"/>
                    </a:lnTo>
                    <a:lnTo>
                      <a:pt x="1996" y="764"/>
                    </a:lnTo>
                    <a:lnTo>
                      <a:pt x="1996" y="766"/>
                    </a:lnTo>
                    <a:lnTo>
                      <a:pt x="1998" y="766"/>
                    </a:lnTo>
                    <a:lnTo>
                      <a:pt x="1998" y="766"/>
                    </a:lnTo>
                    <a:lnTo>
                      <a:pt x="1998" y="766"/>
                    </a:lnTo>
                    <a:lnTo>
                      <a:pt x="2000" y="766"/>
                    </a:lnTo>
                    <a:lnTo>
                      <a:pt x="2000" y="766"/>
                    </a:lnTo>
                    <a:lnTo>
                      <a:pt x="2002" y="766"/>
                    </a:lnTo>
                    <a:lnTo>
                      <a:pt x="2002" y="766"/>
                    </a:lnTo>
                    <a:lnTo>
                      <a:pt x="2004" y="766"/>
                    </a:lnTo>
                    <a:lnTo>
                      <a:pt x="2008" y="764"/>
                    </a:lnTo>
                    <a:lnTo>
                      <a:pt x="2012" y="762"/>
                    </a:lnTo>
                    <a:lnTo>
                      <a:pt x="2018" y="760"/>
                    </a:lnTo>
                    <a:lnTo>
                      <a:pt x="2018" y="760"/>
                    </a:lnTo>
                    <a:lnTo>
                      <a:pt x="2022" y="758"/>
                    </a:lnTo>
                    <a:lnTo>
                      <a:pt x="2028" y="758"/>
                    </a:lnTo>
                    <a:lnTo>
                      <a:pt x="2030" y="758"/>
                    </a:lnTo>
                    <a:lnTo>
                      <a:pt x="2032" y="758"/>
                    </a:lnTo>
                    <a:lnTo>
                      <a:pt x="2032" y="758"/>
                    </a:lnTo>
                    <a:lnTo>
                      <a:pt x="2034" y="758"/>
                    </a:lnTo>
                    <a:lnTo>
                      <a:pt x="2036" y="758"/>
                    </a:lnTo>
                    <a:lnTo>
                      <a:pt x="2036" y="758"/>
                    </a:lnTo>
                    <a:lnTo>
                      <a:pt x="2036" y="756"/>
                    </a:lnTo>
                    <a:lnTo>
                      <a:pt x="2038" y="756"/>
                    </a:lnTo>
                    <a:lnTo>
                      <a:pt x="2038" y="756"/>
                    </a:lnTo>
                    <a:lnTo>
                      <a:pt x="2038" y="754"/>
                    </a:lnTo>
                    <a:lnTo>
                      <a:pt x="2040" y="752"/>
                    </a:lnTo>
                    <a:lnTo>
                      <a:pt x="2040" y="752"/>
                    </a:lnTo>
                    <a:lnTo>
                      <a:pt x="2040" y="752"/>
                    </a:lnTo>
                    <a:lnTo>
                      <a:pt x="2042" y="748"/>
                    </a:lnTo>
                    <a:lnTo>
                      <a:pt x="2042" y="744"/>
                    </a:lnTo>
                    <a:lnTo>
                      <a:pt x="2042" y="742"/>
                    </a:lnTo>
                    <a:lnTo>
                      <a:pt x="2042" y="734"/>
                    </a:lnTo>
                    <a:lnTo>
                      <a:pt x="2044" y="730"/>
                    </a:lnTo>
                    <a:lnTo>
                      <a:pt x="2044" y="732"/>
                    </a:lnTo>
                    <a:lnTo>
                      <a:pt x="2044" y="728"/>
                    </a:lnTo>
                    <a:lnTo>
                      <a:pt x="2046" y="726"/>
                    </a:lnTo>
                    <a:lnTo>
                      <a:pt x="2046" y="726"/>
                    </a:lnTo>
                    <a:lnTo>
                      <a:pt x="2048" y="724"/>
                    </a:lnTo>
                    <a:lnTo>
                      <a:pt x="2048" y="726"/>
                    </a:lnTo>
                    <a:lnTo>
                      <a:pt x="2054" y="722"/>
                    </a:lnTo>
                    <a:lnTo>
                      <a:pt x="2058" y="720"/>
                    </a:lnTo>
                    <a:lnTo>
                      <a:pt x="2060" y="718"/>
                    </a:lnTo>
                    <a:lnTo>
                      <a:pt x="2060" y="718"/>
                    </a:lnTo>
                    <a:lnTo>
                      <a:pt x="2062" y="718"/>
                    </a:lnTo>
                    <a:lnTo>
                      <a:pt x="2062" y="716"/>
                    </a:lnTo>
                    <a:lnTo>
                      <a:pt x="2062" y="716"/>
                    </a:lnTo>
                    <a:lnTo>
                      <a:pt x="2064" y="716"/>
                    </a:lnTo>
                    <a:lnTo>
                      <a:pt x="2064" y="714"/>
                    </a:lnTo>
                    <a:lnTo>
                      <a:pt x="2066" y="712"/>
                    </a:lnTo>
                    <a:lnTo>
                      <a:pt x="2066" y="712"/>
                    </a:lnTo>
                    <a:lnTo>
                      <a:pt x="2066" y="712"/>
                    </a:lnTo>
                    <a:lnTo>
                      <a:pt x="2068" y="708"/>
                    </a:lnTo>
                    <a:lnTo>
                      <a:pt x="2068" y="706"/>
                    </a:lnTo>
                    <a:lnTo>
                      <a:pt x="2070" y="704"/>
                    </a:lnTo>
                    <a:lnTo>
                      <a:pt x="2072" y="700"/>
                    </a:lnTo>
                    <a:lnTo>
                      <a:pt x="2072" y="696"/>
                    </a:lnTo>
                    <a:lnTo>
                      <a:pt x="2074" y="694"/>
                    </a:lnTo>
                    <a:lnTo>
                      <a:pt x="2076" y="692"/>
                    </a:lnTo>
                    <a:lnTo>
                      <a:pt x="2076" y="690"/>
                    </a:lnTo>
                    <a:lnTo>
                      <a:pt x="2078" y="688"/>
                    </a:lnTo>
                    <a:lnTo>
                      <a:pt x="2080" y="686"/>
                    </a:lnTo>
                    <a:lnTo>
                      <a:pt x="2084" y="684"/>
                    </a:lnTo>
                    <a:lnTo>
                      <a:pt x="2086" y="684"/>
                    </a:lnTo>
                    <a:lnTo>
                      <a:pt x="2088" y="682"/>
                    </a:lnTo>
                    <a:lnTo>
                      <a:pt x="2092" y="682"/>
                    </a:lnTo>
                    <a:lnTo>
                      <a:pt x="2098" y="680"/>
                    </a:lnTo>
                    <a:lnTo>
                      <a:pt x="2100" y="680"/>
                    </a:lnTo>
                    <a:lnTo>
                      <a:pt x="2104" y="678"/>
                    </a:lnTo>
                    <a:lnTo>
                      <a:pt x="2106" y="680"/>
                    </a:lnTo>
                    <a:lnTo>
                      <a:pt x="2106" y="680"/>
                    </a:lnTo>
                    <a:lnTo>
                      <a:pt x="2108" y="680"/>
                    </a:lnTo>
                    <a:lnTo>
                      <a:pt x="2110" y="682"/>
                    </a:lnTo>
                    <a:lnTo>
                      <a:pt x="2112" y="684"/>
                    </a:lnTo>
                    <a:lnTo>
                      <a:pt x="2114" y="686"/>
                    </a:lnTo>
                    <a:lnTo>
                      <a:pt x="2114" y="686"/>
                    </a:lnTo>
                    <a:lnTo>
                      <a:pt x="2114" y="686"/>
                    </a:lnTo>
                    <a:lnTo>
                      <a:pt x="2114" y="690"/>
                    </a:lnTo>
                    <a:lnTo>
                      <a:pt x="2114" y="694"/>
                    </a:lnTo>
                    <a:lnTo>
                      <a:pt x="2114" y="696"/>
                    </a:lnTo>
                    <a:lnTo>
                      <a:pt x="2114" y="698"/>
                    </a:lnTo>
                    <a:lnTo>
                      <a:pt x="2114" y="700"/>
                    </a:lnTo>
                    <a:lnTo>
                      <a:pt x="2116" y="702"/>
                    </a:lnTo>
                    <a:lnTo>
                      <a:pt x="2116" y="708"/>
                    </a:lnTo>
                    <a:lnTo>
                      <a:pt x="2118" y="710"/>
                    </a:lnTo>
                    <a:lnTo>
                      <a:pt x="2118" y="712"/>
                    </a:lnTo>
                    <a:lnTo>
                      <a:pt x="2118" y="712"/>
                    </a:lnTo>
                    <a:lnTo>
                      <a:pt x="2118" y="712"/>
                    </a:lnTo>
                    <a:lnTo>
                      <a:pt x="2120" y="714"/>
                    </a:lnTo>
                    <a:lnTo>
                      <a:pt x="2120" y="714"/>
                    </a:lnTo>
                    <a:lnTo>
                      <a:pt x="2120" y="716"/>
                    </a:lnTo>
                    <a:lnTo>
                      <a:pt x="2122" y="716"/>
                    </a:lnTo>
                    <a:lnTo>
                      <a:pt x="2122" y="716"/>
                    </a:lnTo>
                    <a:lnTo>
                      <a:pt x="2122" y="716"/>
                    </a:lnTo>
                    <a:lnTo>
                      <a:pt x="2124" y="718"/>
                    </a:lnTo>
                    <a:lnTo>
                      <a:pt x="2124" y="718"/>
                    </a:lnTo>
                    <a:lnTo>
                      <a:pt x="2124" y="718"/>
                    </a:lnTo>
                    <a:lnTo>
                      <a:pt x="2126" y="718"/>
                    </a:lnTo>
                    <a:lnTo>
                      <a:pt x="2126" y="718"/>
                    </a:lnTo>
                    <a:lnTo>
                      <a:pt x="2128" y="718"/>
                    </a:lnTo>
                    <a:lnTo>
                      <a:pt x="2130" y="716"/>
                    </a:lnTo>
                    <a:lnTo>
                      <a:pt x="2130" y="716"/>
                    </a:lnTo>
                    <a:lnTo>
                      <a:pt x="2130" y="716"/>
                    </a:lnTo>
                    <a:lnTo>
                      <a:pt x="2132" y="714"/>
                    </a:lnTo>
                    <a:lnTo>
                      <a:pt x="2138" y="712"/>
                    </a:lnTo>
                    <a:lnTo>
                      <a:pt x="2142" y="708"/>
                    </a:lnTo>
                    <a:lnTo>
                      <a:pt x="2144" y="706"/>
                    </a:lnTo>
                    <a:lnTo>
                      <a:pt x="2148" y="704"/>
                    </a:lnTo>
                    <a:lnTo>
                      <a:pt x="2152" y="696"/>
                    </a:lnTo>
                    <a:lnTo>
                      <a:pt x="2156" y="690"/>
                    </a:lnTo>
                    <a:lnTo>
                      <a:pt x="2158" y="688"/>
                    </a:lnTo>
                    <a:lnTo>
                      <a:pt x="2160" y="686"/>
                    </a:lnTo>
                    <a:lnTo>
                      <a:pt x="2162" y="684"/>
                    </a:lnTo>
                    <a:lnTo>
                      <a:pt x="2162" y="684"/>
                    </a:lnTo>
                    <a:lnTo>
                      <a:pt x="2166" y="682"/>
                    </a:lnTo>
                    <a:lnTo>
                      <a:pt x="2168" y="680"/>
                    </a:lnTo>
                    <a:lnTo>
                      <a:pt x="2168" y="680"/>
                    </a:lnTo>
                    <a:lnTo>
                      <a:pt x="2168" y="680"/>
                    </a:lnTo>
                    <a:lnTo>
                      <a:pt x="2170" y="678"/>
                    </a:lnTo>
                    <a:lnTo>
                      <a:pt x="2170" y="678"/>
                    </a:lnTo>
                    <a:lnTo>
                      <a:pt x="2170" y="678"/>
                    </a:lnTo>
                    <a:lnTo>
                      <a:pt x="2170" y="676"/>
                    </a:lnTo>
                    <a:lnTo>
                      <a:pt x="2170" y="676"/>
                    </a:lnTo>
                    <a:lnTo>
                      <a:pt x="2172" y="676"/>
                    </a:lnTo>
                    <a:lnTo>
                      <a:pt x="2172" y="674"/>
                    </a:lnTo>
                    <a:lnTo>
                      <a:pt x="2172" y="674"/>
                    </a:lnTo>
                    <a:lnTo>
                      <a:pt x="2172" y="672"/>
                    </a:lnTo>
                    <a:lnTo>
                      <a:pt x="2170" y="672"/>
                    </a:lnTo>
                    <a:lnTo>
                      <a:pt x="2170" y="672"/>
                    </a:lnTo>
                    <a:lnTo>
                      <a:pt x="2170" y="670"/>
                    </a:lnTo>
                    <a:lnTo>
                      <a:pt x="2168" y="666"/>
                    </a:lnTo>
                    <a:lnTo>
                      <a:pt x="2168" y="664"/>
                    </a:lnTo>
                    <a:lnTo>
                      <a:pt x="2168" y="664"/>
                    </a:lnTo>
                    <a:lnTo>
                      <a:pt x="2166" y="662"/>
                    </a:lnTo>
                    <a:lnTo>
                      <a:pt x="2166" y="662"/>
                    </a:lnTo>
                    <a:lnTo>
                      <a:pt x="2168" y="658"/>
                    </a:lnTo>
                    <a:lnTo>
                      <a:pt x="2168" y="656"/>
                    </a:lnTo>
                    <a:lnTo>
                      <a:pt x="2168" y="656"/>
                    </a:lnTo>
                    <a:lnTo>
                      <a:pt x="2168" y="656"/>
                    </a:lnTo>
                    <a:lnTo>
                      <a:pt x="2170" y="654"/>
                    </a:lnTo>
                    <a:lnTo>
                      <a:pt x="2170" y="654"/>
                    </a:lnTo>
                    <a:lnTo>
                      <a:pt x="2172" y="654"/>
                    </a:lnTo>
                    <a:lnTo>
                      <a:pt x="2172" y="654"/>
                    </a:lnTo>
                    <a:lnTo>
                      <a:pt x="2174" y="654"/>
                    </a:lnTo>
                    <a:lnTo>
                      <a:pt x="2176" y="654"/>
                    </a:lnTo>
                    <a:lnTo>
                      <a:pt x="2180" y="654"/>
                    </a:lnTo>
                    <a:lnTo>
                      <a:pt x="2184" y="654"/>
                    </a:lnTo>
                    <a:lnTo>
                      <a:pt x="2188" y="654"/>
                    </a:lnTo>
                    <a:lnTo>
                      <a:pt x="2192" y="654"/>
                    </a:lnTo>
                    <a:lnTo>
                      <a:pt x="2190" y="654"/>
                    </a:lnTo>
                    <a:lnTo>
                      <a:pt x="2186" y="658"/>
                    </a:lnTo>
                    <a:lnTo>
                      <a:pt x="2186" y="658"/>
                    </a:lnTo>
                    <a:lnTo>
                      <a:pt x="2186" y="658"/>
                    </a:lnTo>
                    <a:lnTo>
                      <a:pt x="2184" y="662"/>
                    </a:lnTo>
                    <a:lnTo>
                      <a:pt x="2184" y="662"/>
                    </a:lnTo>
                    <a:lnTo>
                      <a:pt x="2184" y="662"/>
                    </a:lnTo>
                    <a:lnTo>
                      <a:pt x="2182" y="664"/>
                    </a:lnTo>
                    <a:lnTo>
                      <a:pt x="2182" y="664"/>
                    </a:lnTo>
                    <a:lnTo>
                      <a:pt x="2182" y="666"/>
                    </a:lnTo>
                    <a:lnTo>
                      <a:pt x="2180" y="668"/>
                    </a:lnTo>
                    <a:lnTo>
                      <a:pt x="2180" y="670"/>
                    </a:lnTo>
                    <a:lnTo>
                      <a:pt x="2180" y="674"/>
                    </a:lnTo>
                    <a:lnTo>
                      <a:pt x="2180" y="684"/>
                    </a:lnTo>
                    <a:lnTo>
                      <a:pt x="2180" y="688"/>
                    </a:lnTo>
                    <a:lnTo>
                      <a:pt x="2180" y="694"/>
                    </a:lnTo>
                    <a:lnTo>
                      <a:pt x="2178" y="698"/>
                    </a:lnTo>
                    <a:lnTo>
                      <a:pt x="2178" y="700"/>
                    </a:lnTo>
                    <a:lnTo>
                      <a:pt x="2176" y="704"/>
                    </a:lnTo>
                    <a:lnTo>
                      <a:pt x="2172" y="706"/>
                    </a:lnTo>
                    <a:lnTo>
                      <a:pt x="2174" y="706"/>
                    </a:lnTo>
                    <a:lnTo>
                      <a:pt x="2170" y="708"/>
                    </a:lnTo>
                    <a:lnTo>
                      <a:pt x="2166" y="710"/>
                    </a:lnTo>
                    <a:lnTo>
                      <a:pt x="2158" y="714"/>
                    </a:lnTo>
                    <a:lnTo>
                      <a:pt x="2154" y="716"/>
                    </a:lnTo>
                    <a:lnTo>
                      <a:pt x="2152" y="718"/>
                    </a:lnTo>
                    <a:lnTo>
                      <a:pt x="2148" y="720"/>
                    </a:lnTo>
                    <a:lnTo>
                      <a:pt x="2146" y="722"/>
                    </a:lnTo>
                    <a:lnTo>
                      <a:pt x="2142" y="724"/>
                    </a:lnTo>
                    <a:lnTo>
                      <a:pt x="2140" y="726"/>
                    </a:lnTo>
                    <a:lnTo>
                      <a:pt x="2136" y="728"/>
                    </a:lnTo>
                    <a:lnTo>
                      <a:pt x="2134" y="732"/>
                    </a:lnTo>
                    <a:lnTo>
                      <a:pt x="2132" y="734"/>
                    </a:lnTo>
                    <a:lnTo>
                      <a:pt x="2130" y="738"/>
                    </a:lnTo>
                    <a:lnTo>
                      <a:pt x="2126" y="742"/>
                    </a:lnTo>
                    <a:lnTo>
                      <a:pt x="2122" y="746"/>
                    </a:lnTo>
                    <a:lnTo>
                      <a:pt x="2120" y="752"/>
                    </a:lnTo>
                    <a:lnTo>
                      <a:pt x="2112" y="762"/>
                    </a:lnTo>
                    <a:lnTo>
                      <a:pt x="2110" y="766"/>
                    </a:lnTo>
                    <a:lnTo>
                      <a:pt x="2106" y="770"/>
                    </a:lnTo>
                    <a:lnTo>
                      <a:pt x="2098" y="776"/>
                    </a:lnTo>
                    <a:lnTo>
                      <a:pt x="2092" y="784"/>
                    </a:lnTo>
                    <a:lnTo>
                      <a:pt x="2084" y="790"/>
                    </a:lnTo>
                    <a:lnTo>
                      <a:pt x="2078" y="796"/>
                    </a:lnTo>
                    <a:lnTo>
                      <a:pt x="2074" y="800"/>
                    </a:lnTo>
                    <a:lnTo>
                      <a:pt x="2070" y="802"/>
                    </a:lnTo>
                    <a:lnTo>
                      <a:pt x="2064" y="808"/>
                    </a:lnTo>
                    <a:lnTo>
                      <a:pt x="2062" y="812"/>
                    </a:lnTo>
                    <a:lnTo>
                      <a:pt x="2058" y="816"/>
                    </a:lnTo>
                    <a:lnTo>
                      <a:pt x="2056" y="820"/>
                    </a:lnTo>
                    <a:lnTo>
                      <a:pt x="2054" y="824"/>
                    </a:lnTo>
                    <a:lnTo>
                      <a:pt x="2052" y="830"/>
                    </a:lnTo>
                    <a:lnTo>
                      <a:pt x="2050" y="836"/>
                    </a:lnTo>
                    <a:lnTo>
                      <a:pt x="2048" y="844"/>
                    </a:lnTo>
                    <a:lnTo>
                      <a:pt x="2048" y="850"/>
                    </a:lnTo>
                    <a:lnTo>
                      <a:pt x="2048" y="858"/>
                    </a:lnTo>
                    <a:lnTo>
                      <a:pt x="2048" y="866"/>
                    </a:lnTo>
                    <a:lnTo>
                      <a:pt x="2046" y="872"/>
                    </a:lnTo>
                    <a:lnTo>
                      <a:pt x="2048" y="878"/>
                    </a:lnTo>
                    <a:lnTo>
                      <a:pt x="2048" y="882"/>
                    </a:lnTo>
                    <a:lnTo>
                      <a:pt x="2048" y="882"/>
                    </a:lnTo>
                    <a:lnTo>
                      <a:pt x="2048" y="882"/>
                    </a:lnTo>
                    <a:lnTo>
                      <a:pt x="2050" y="884"/>
                    </a:lnTo>
                    <a:lnTo>
                      <a:pt x="2050" y="884"/>
                    </a:lnTo>
                    <a:lnTo>
                      <a:pt x="2050" y="886"/>
                    </a:lnTo>
                    <a:lnTo>
                      <a:pt x="2052" y="888"/>
                    </a:lnTo>
                    <a:lnTo>
                      <a:pt x="2052" y="888"/>
                    </a:lnTo>
                    <a:lnTo>
                      <a:pt x="2052" y="888"/>
                    </a:lnTo>
                    <a:lnTo>
                      <a:pt x="2054" y="890"/>
                    </a:lnTo>
                    <a:lnTo>
                      <a:pt x="2058" y="894"/>
                    </a:lnTo>
                    <a:lnTo>
                      <a:pt x="2058" y="894"/>
                    </a:lnTo>
                    <a:lnTo>
                      <a:pt x="2058" y="896"/>
                    </a:lnTo>
                    <a:lnTo>
                      <a:pt x="2060" y="898"/>
                    </a:lnTo>
                    <a:lnTo>
                      <a:pt x="2060" y="900"/>
                    </a:lnTo>
                    <a:lnTo>
                      <a:pt x="2060" y="904"/>
                    </a:lnTo>
                    <a:lnTo>
                      <a:pt x="2060" y="910"/>
                    </a:lnTo>
                    <a:lnTo>
                      <a:pt x="2058" y="918"/>
                    </a:lnTo>
                    <a:lnTo>
                      <a:pt x="2058" y="922"/>
                    </a:lnTo>
                    <a:lnTo>
                      <a:pt x="2058" y="924"/>
                    </a:lnTo>
                    <a:lnTo>
                      <a:pt x="2058" y="926"/>
                    </a:lnTo>
                    <a:lnTo>
                      <a:pt x="2058" y="928"/>
                    </a:lnTo>
                    <a:lnTo>
                      <a:pt x="2058" y="928"/>
                    </a:lnTo>
                    <a:lnTo>
                      <a:pt x="2060" y="928"/>
                    </a:lnTo>
                    <a:lnTo>
                      <a:pt x="2060" y="930"/>
                    </a:lnTo>
                    <a:lnTo>
                      <a:pt x="2062" y="934"/>
                    </a:lnTo>
                    <a:lnTo>
                      <a:pt x="2064" y="938"/>
                    </a:lnTo>
                    <a:lnTo>
                      <a:pt x="2064" y="940"/>
                    </a:lnTo>
                    <a:lnTo>
                      <a:pt x="2066" y="942"/>
                    </a:lnTo>
                    <a:lnTo>
                      <a:pt x="2066" y="944"/>
                    </a:lnTo>
                    <a:lnTo>
                      <a:pt x="2066" y="948"/>
                    </a:lnTo>
                    <a:lnTo>
                      <a:pt x="2066" y="952"/>
                    </a:lnTo>
                    <a:lnTo>
                      <a:pt x="2066" y="956"/>
                    </a:lnTo>
                    <a:lnTo>
                      <a:pt x="2066" y="960"/>
                    </a:lnTo>
                    <a:lnTo>
                      <a:pt x="2064" y="964"/>
                    </a:lnTo>
                    <a:lnTo>
                      <a:pt x="2066" y="968"/>
                    </a:lnTo>
                    <a:lnTo>
                      <a:pt x="2066" y="970"/>
                    </a:lnTo>
                    <a:lnTo>
                      <a:pt x="2066" y="970"/>
                    </a:lnTo>
                    <a:lnTo>
                      <a:pt x="2066" y="970"/>
                    </a:lnTo>
                    <a:lnTo>
                      <a:pt x="2066" y="972"/>
                    </a:lnTo>
                    <a:lnTo>
                      <a:pt x="2066" y="972"/>
                    </a:lnTo>
                    <a:lnTo>
                      <a:pt x="2070" y="972"/>
                    </a:lnTo>
                    <a:lnTo>
                      <a:pt x="2070" y="972"/>
                    </a:lnTo>
                    <a:lnTo>
                      <a:pt x="2070" y="972"/>
                    </a:lnTo>
                    <a:lnTo>
                      <a:pt x="2072" y="972"/>
                    </a:lnTo>
                    <a:lnTo>
                      <a:pt x="2072" y="970"/>
                    </a:lnTo>
                    <a:lnTo>
                      <a:pt x="2074" y="970"/>
                    </a:lnTo>
                    <a:lnTo>
                      <a:pt x="2076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82" y="966"/>
                    </a:lnTo>
                    <a:lnTo>
                      <a:pt x="2084" y="966"/>
                    </a:lnTo>
                    <a:lnTo>
                      <a:pt x="2084" y="966"/>
                    </a:lnTo>
                    <a:lnTo>
                      <a:pt x="2084" y="966"/>
                    </a:lnTo>
                    <a:lnTo>
                      <a:pt x="2086" y="966"/>
                    </a:lnTo>
                    <a:lnTo>
                      <a:pt x="2086" y="966"/>
                    </a:lnTo>
                    <a:lnTo>
                      <a:pt x="2086" y="966"/>
                    </a:lnTo>
                    <a:lnTo>
                      <a:pt x="2088" y="964"/>
                    </a:lnTo>
                    <a:lnTo>
                      <a:pt x="2088" y="964"/>
                    </a:lnTo>
                    <a:lnTo>
                      <a:pt x="2088" y="964"/>
                    </a:lnTo>
                    <a:lnTo>
                      <a:pt x="2090" y="962"/>
                    </a:lnTo>
                    <a:lnTo>
                      <a:pt x="2090" y="962"/>
                    </a:lnTo>
                    <a:lnTo>
                      <a:pt x="2090" y="962"/>
                    </a:lnTo>
                    <a:lnTo>
                      <a:pt x="2092" y="960"/>
                    </a:lnTo>
                    <a:lnTo>
                      <a:pt x="2094" y="956"/>
                    </a:lnTo>
                    <a:lnTo>
                      <a:pt x="2096" y="954"/>
                    </a:lnTo>
                    <a:lnTo>
                      <a:pt x="2098" y="950"/>
                    </a:lnTo>
                    <a:lnTo>
                      <a:pt x="2100" y="942"/>
                    </a:lnTo>
                    <a:lnTo>
                      <a:pt x="2102" y="940"/>
                    </a:lnTo>
                    <a:lnTo>
                      <a:pt x="2102" y="936"/>
                    </a:lnTo>
                    <a:lnTo>
                      <a:pt x="2104" y="932"/>
                    </a:lnTo>
                    <a:lnTo>
                      <a:pt x="2106" y="926"/>
                    </a:lnTo>
                    <a:lnTo>
                      <a:pt x="2108" y="924"/>
                    </a:lnTo>
                    <a:lnTo>
                      <a:pt x="2108" y="922"/>
                    </a:lnTo>
                    <a:lnTo>
                      <a:pt x="2110" y="922"/>
                    </a:lnTo>
                    <a:lnTo>
                      <a:pt x="2110" y="922"/>
                    </a:lnTo>
                    <a:lnTo>
                      <a:pt x="2110" y="922"/>
                    </a:lnTo>
                    <a:lnTo>
                      <a:pt x="2112" y="922"/>
                    </a:lnTo>
                    <a:lnTo>
                      <a:pt x="2112" y="924"/>
                    </a:lnTo>
                    <a:lnTo>
                      <a:pt x="2114" y="926"/>
                    </a:lnTo>
                    <a:lnTo>
                      <a:pt x="2116" y="928"/>
                    </a:lnTo>
                    <a:lnTo>
                      <a:pt x="2116" y="928"/>
                    </a:lnTo>
                    <a:lnTo>
                      <a:pt x="2118" y="928"/>
                    </a:lnTo>
                    <a:lnTo>
                      <a:pt x="2118" y="928"/>
                    </a:lnTo>
                    <a:lnTo>
                      <a:pt x="2118" y="928"/>
                    </a:lnTo>
                    <a:lnTo>
                      <a:pt x="2122" y="928"/>
                    </a:lnTo>
                    <a:lnTo>
                      <a:pt x="2122" y="926"/>
                    </a:lnTo>
                    <a:lnTo>
                      <a:pt x="2122" y="926"/>
                    </a:lnTo>
                    <a:lnTo>
                      <a:pt x="2124" y="924"/>
                    </a:lnTo>
                    <a:lnTo>
                      <a:pt x="2124" y="924"/>
                    </a:lnTo>
                    <a:lnTo>
                      <a:pt x="2124" y="922"/>
                    </a:lnTo>
                    <a:lnTo>
                      <a:pt x="2122" y="920"/>
                    </a:lnTo>
                    <a:lnTo>
                      <a:pt x="2122" y="918"/>
                    </a:lnTo>
                    <a:lnTo>
                      <a:pt x="2122" y="914"/>
                    </a:lnTo>
                    <a:lnTo>
                      <a:pt x="2120" y="910"/>
                    </a:lnTo>
                    <a:lnTo>
                      <a:pt x="2120" y="908"/>
                    </a:lnTo>
                    <a:lnTo>
                      <a:pt x="2120" y="904"/>
                    </a:lnTo>
                    <a:lnTo>
                      <a:pt x="2118" y="902"/>
                    </a:lnTo>
                    <a:lnTo>
                      <a:pt x="2120" y="902"/>
                    </a:lnTo>
                    <a:lnTo>
                      <a:pt x="2120" y="900"/>
                    </a:lnTo>
                    <a:lnTo>
                      <a:pt x="2120" y="900"/>
                    </a:lnTo>
                    <a:lnTo>
                      <a:pt x="2122" y="898"/>
                    </a:lnTo>
                    <a:lnTo>
                      <a:pt x="2124" y="896"/>
                    </a:lnTo>
                    <a:lnTo>
                      <a:pt x="2126" y="894"/>
                    </a:lnTo>
                    <a:lnTo>
                      <a:pt x="2128" y="892"/>
                    </a:lnTo>
                    <a:lnTo>
                      <a:pt x="2132" y="890"/>
                    </a:lnTo>
                    <a:lnTo>
                      <a:pt x="2130" y="890"/>
                    </a:lnTo>
                    <a:lnTo>
                      <a:pt x="2134" y="888"/>
                    </a:lnTo>
                    <a:lnTo>
                      <a:pt x="2134" y="888"/>
                    </a:lnTo>
                    <a:lnTo>
                      <a:pt x="2134" y="888"/>
                    </a:lnTo>
                    <a:lnTo>
                      <a:pt x="2138" y="888"/>
                    </a:lnTo>
                    <a:lnTo>
                      <a:pt x="2142" y="890"/>
                    </a:lnTo>
                    <a:lnTo>
                      <a:pt x="2142" y="890"/>
                    </a:lnTo>
                    <a:lnTo>
                      <a:pt x="2142" y="890"/>
                    </a:lnTo>
                    <a:lnTo>
                      <a:pt x="2144" y="890"/>
                    </a:lnTo>
                    <a:lnTo>
                      <a:pt x="2144" y="890"/>
                    </a:lnTo>
                    <a:lnTo>
                      <a:pt x="2144" y="888"/>
                    </a:lnTo>
                    <a:lnTo>
                      <a:pt x="2146" y="888"/>
                    </a:lnTo>
                    <a:lnTo>
                      <a:pt x="2146" y="888"/>
                    </a:lnTo>
                    <a:lnTo>
                      <a:pt x="2146" y="888"/>
                    </a:lnTo>
                    <a:lnTo>
                      <a:pt x="2148" y="886"/>
                    </a:lnTo>
                    <a:lnTo>
                      <a:pt x="2148" y="886"/>
                    </a:lnTo>
                    <a:lnTo>
                      <a:pt x="2148" y="886"/>
                    </a:lnTo>
                    <a:lnTo>
                      <a:pt x="2152" y="884"/>
                    </a:lnTo>
                    <a:lnTo>
                      <a:pt x="2154" y="880"/>
                    </a:lnTo>
                    <a:lnTo>
                      <a:pt x="2154" y="880"/>
                    </a:lnTo>
                    <a:lnTo>
                      <a:pt x="2154" y="880"/>
                    </a:lnTo>
                    <a:lnTo>
                      <a:pt x="2154" y="878"/>
                    </a:lnTo>
                    <a:lnTo>
                      <a:pt x="2154" y="878"/>
                    </a:lnTo>
                    <a:lnTo>
                      <a:pt x="2154" y="878"/>
                    </a:lnTo>
                    <a:lnTo>
                      <a:pt x="2156" y="874"/>
                    </a:lnTo>
                    <a:lnTo>
                      <a:pt x="2156" y="874"/>
                    </a:lnTo>
                    <a:lnTo>
                      <a:pt x="2156" y="872"/>
                    </a:lnTo>
                    <a:lnTo>
                      <a:pt x="2156" y="868"/>
                    </a:lnTo>
                    <a:lnTo>
                      <a:pt x="2154" y="864"/>
                    </a:lnTo>
                    <a:lnTo>
                      <a:pt x="2154" y="860"/>
                    </a:lnTo>
                    <a:lnTo>
                      <a:pt x="2154" y="856"/>
                    </a:lnTo>
                    <a:lnTo>
                      <a:pt x="2154" y="852"/>
                    </a:lnTo>
                    <a:lnTo>
                      <a:pt x="2154" y="852"/>
                    </a:lnTo>
                    <a:lnTo>
                      <a:pt x="2154" y="850"/>
                    </a:lnTo>
                    <a:lnTo>
                      <a:pt x="2154" y="850"/>
                    </a:lnTo>
                    <a:lnTo>
                      <a:pt x="2156" y="850"/>
                    </a:lnTo>
                    <a:lnTo>
                      <a:pt x="2158" y="852"/>
                    </a:lnTo>
                    <a:lnTo>
                      <a:pt x="2162" y="852"/>
                    </a:lnTo>
                    <a:lnTo>
                      <a:pt x="2166" y="852"/>
                    </a:lnTo>
                    <a:lnTo>
                      <a:pt x="2168" y="852"/>
                    </a:lnTo>
                    <a:lnTo>
                      <a:pt x="2168" y="852"/>
                    </a:lnTo>
                    <a:lnTo>
                      <a:pt x="2170" y="852"/>
                    </a:lnTo>
                    <a:lnTo>
                      <a:pt x="2170" y="852"/>
                    </a:lnTo>
                    <a:lnTo>
                      <a:pt x="2172" y="852"/>
                    </a:lnTo>
                    <a:lnTo>
                      <a:pt x="2174" y="852"/>
                    </a:lnTo>
                    <a:lnTo>
                      <a:pt x="2174" y="852"/>
                    </a:lnTo>
                    <a:lnTo>
                      <a:pt x="2174" y="850"/>
                    </a:lnTo>
                    <a:lnTo>
                      <a:pt x="2176" y="848"/>
                    </a:lnTo>
                    <a:lnTo>
                      <a:pt x="2176" y="848"/>
                    </a:lnTo>
                    <a:lnTo>
                      <a:pt x="2176" y="848"/>
                    </a:lnTo>
                    <a:lnTo>
                      <a:pt x="2176" y="846"/>
                    </a:lnTo>
                    <a:lnTo>
                      <a:pt x="2176" y="846"/>
                    </a:lnTo>
                    <a:lnTo>
                      <a:pt x="2176" y="846"/>
                    </a:lnTo>
                    <a:lnTo>
                      <a:pt x="2176" y="844"/>
                    </a:lnTo>
                    <a:lnTo>
                      <a:pt x="2176" y="840"/>
                    </a:lnTo>
                    <a:lnTo>
                      <a:pt x="2174" y="836"/>
                    </a:lnTo>
                    <a:lnTo>
                      <a:pt x="2174" y="830"/>
                    </a:lnTo>
                    <a:lnTo>
                      <a:pt x="2174" y="828"/>
                    </a:lnTo>
                    <a:lnTo>
                      <a:pt x="2174" y="828"/>
                    </a:lnTo>
                    <a:lnTo>
                      <a:pt x="2174" y="828"/>
                    </a:lnTo>
                    <a:lnTo>
                      <a:pt x="2172" y="824"/>
                    </a:lnTo>
                    <a:lnTo>
                      <a:pt x="2168" y="820"/>
                    </a:lnTo>
                    <a:lnTo>
                      <a:pt x="2168" y="818"/>
                    </a:lnTo>
                    <a:lnTo>
                      <a:pt x="2166" y="816"/>
                    </a:lnTo>
                    <a:lnTo>
                      <a:pt x="2166" y="814"/>
                    </a:lnTo>
                    <a:lnTo>
                      <a:pt x="2166" y="812"/>
                    </a:lnTo>
                    <a:lnTo>
                      <a:pt x="2166" y="812"/>
                    </a:lnTo>
                    <a:lnTo>
                      <a:pt x="2166" y="810"/>
                    </a:lnTo>
                    <a:lnTo>
                      <a:pt x="2168" y="808"/>
                    </a:lnTo>
                    <a:lnTo>
                      <a:pt x="2170" y="806"/>
                    </a:lnTo>
                    <a:lnTo>
                      <a:pt x="2172" y="804"/>
                    </a:lnTo>
                    <a:lnTo>
                      <a:pt x="2174" y="804"/>
                    </a:lnTo>
                    <a:lnTo>
                      <a:pt x="2174" y="804"/>
                    </a:lnTo>
                    <a:lnTo>
                      <a:pt x="2174" y="802"/>
                    </a:lnTo>
                    <a:lnTo>
                      <a:pt x="2174" y="802"/>
                    </a:lnTo>
                    <a:lnTo>
                      <a:pt x="2174" y="802"/>
                    </a:lnTo>
                    <a:lnTo>
                      <a:pt x="2174" y="800"/>
                    </a:lnTo>
                    <a:lnTo>
                      <a:pt x="2174" y="800"/>
                    </a:lnTo>
                    <a:lnTo>
                      <a:pt x="2174" y="800"/>
                    </a:lnTo>
                    <a:lnTo>
                      <a:pt x="2174" y="798"/>
                    </a:lnTo>
                    <a:lnTo>
                      <a:pt x="2174" y="796"/>
                    </a:lnTo>
                    <a:lnTo>
                      <a:pt x="2172" y="796"/>
                    </a:lnTo>
                    <a:lnTo>
                      <a:pt x="2172" y="796"/>
                    </a:lnTo>
                    <a:lnTo>
                      <a:pt x="2172" y="796"/>
                    </a:lnTo>
                    <a:lnTo>
                      <a:pt x="2168" y="796"/>
                    </a:lnTo>
                    <a:lnTo>
                      <a:pt x="2166" y="796"/>
                    </a:lnTo>
                    <a:lnTo>
                      <a:pt x="2164" y="798"/>
                    </a:lnTo>
                    <a:lnTo>
                      <a:pt x="2160" y="798"/>
                    </a:lnTo>
                    <a:lnTo>
                      <a:pt x="2158" y="798"/>
                    </a:lnTo>
                    <a:lnTo>
                      <a:pt x="2158" y="798"/>
                    </a:lnTo>
                    <a:lnTo>
                      <a:pt x="2156" y="798"/>
                    </a:lnTo>
                    <a:lnTo>
                      <a:pt x="2156" y="798"/>
                    </a:lnTo>
                    <a:lnTo>
                      <a:pt x="2156" y="798"/>
                    </a:lnTo>
                    <a:lnTo>
                      <a:pt x="2156" y="794"/>
                    </a:lnTo>
                    <a:lnTo>
                      <a:pt x="2156" y="790"/>
                    </a:lnTo>
                    <a:lnTo>
                      <a:pt x="2156" y="786"/>
                    </a:lnTo>
                    <a:lnTo>
                      <a:pt x="2156" y="782"/>
                    </a:lnTo>
                    <a:lnTo>
                      <a:pt x="2156" y="780"/>
                    </a:lnTo>
                    <a:lnTo>
                      <a:pt x="2156" y="776"/>
                    </a:lnTo>
                    <a:lnTo>
                      <a:pt x="2158" y="774"/>
                    </a:lnTo>
                    <a:lnTo>
                      <a:pt x="2158" y="772"/>
                    </a:lnTo>
                    <a:lnTo>
                      <a:pt x="2160" y="770"/>
                    </a:lnTo>
                    <a:lnTo>
                      <a:pt x="2162" y="768"/>
                    </a:lnTo>
                    <a:lnTo>
                      <a:pt x="2164" y="766"/>
                    </a:lnTo>
                    <a:lnTo>
                      <a:pt x="2166" y="766"/>
                    </a:lnTo>
                    <a:lnTo>
                      <a:pt x="2168" y="766"/>
                    </a:lnTo>
                    <a:lnTo>
                      <a:pt x="2168" y="766"/>
                    </a:lnTo>
                    <a:lnTo>
                      <a:pt x="2168" y="770"/>
                    </a:lnTo>
                    <a:lnTo>
                      <a:pt x="2168" y="772"/>
                    </a:lnTo>
                    <a:lnTo>
                      <a:pt x="2168" y="772"/>
                    </a:lnTo>
                    <a:lnTo>
                      <a:pt x="2168" y="774"/>
                    </a:lnTo>
                    <a:lnTo>
                      <a:pt x="2168" y="774"/>
                    </a:lnTo>
                    <a:lnTo>
                      <a:pt x="2168" y="776"/>
                    </a:lnTo>
                    <a:lnTo>
                      <a:pt x="2170" y="776"/>
                    </a:lnTo>
                    <a:lnTo>
                      <a:pt x="2170" y="776"/>
                    </a:lnTo>
                    <a:lnTo>
                      <a:pt x="2172" y="778"/>
                    </a:lnTo>
                    <a:lnTo>
                      <a:pt x="2172" y="778"/>
                    </a:lnTo>
                    <a:lnTo>
                      <a:pt x="2172" y="778"/>
                    </a:lnTo>
                    <a:lnTo>
                      <a:pt x="2174" y="778"/>
                    </a:lnTo>
                    <a:lnTo>
                      <a:pt x="2176" y="778"/>
                    </a:lnTo>
                    <a:lnTo>
                      <a:pt x="2178" y="778"/>
                    </a:lnTo>
                    <a:lnTo>
                      <a:pt x="2182" y="778"/>
                    </a:lnTo>
                    <a:lnTo>
                      <a:pt x="2184" y="776"/>
                    </a:lnTo>
                    <a:lnTo>
                      <a:pt x="2188" y="776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2" y="772"/>
                    </a:lnTo>
                    <a:lnTo>
                      <a:pt x="2194" y="770"/>
                    </a:lnTo>
                    <a:lnTo>
                      <a:pt x="2194" y="770"/>
                    </a:lnTo>
                    <a:lnTo>
                      <a:pt x="2194" y="768"/>
                    </a:lnTo>
                    <a:lnTo>
                      <a:pt x="2194" y="766"/>
                    </a:lnTo>
                    <a:lnTo>
                      <a:pt x="2194" y="766"/>
                    </a:lnTo>
                    <a:lnTo>
                      <a:pt x="2194" y="764"/>
                    </a:lnTo>
                    <a:lnTo>
                      <a:pt x="2194" y="762"/>
                    </a:lnTo>
                    <a:lnTo>
                      <a:pt x="2194" y="762"/>
                    </a:lnTo>
                    <a:lnTo>
                      <a:pt x="2194" y="762"/>
                    </a:lnTo>
                    <a:lnTo>
                      <a:pt x="2194" y="760"/>
                    </a:lnTo>
                    <a:lnTo>
                      <a:pt x="2194" y="760"/>
                    </a:lnTo>
                    <a:lnTo>
                      <a:pt x="2194" y="760"/>
                    </a:lnTo>
                    <a:lnTo>
                      <a:pt x="2192" y="758"/>
                    </a:lnTo>
                    <a:lnTo>
                      <a:pt x="2192" y="758"/>
                    </a:lnTo>
                    <a:lnTo>
                      <a:pt x="2192" y="758"/>
                    </a:lnTo>
                    <a:lnTo>
                      <a:pt x="2190" y="756"/>
                    </a:lnTo>
                    <a:lnTo>
                      <a:pt x="2190" y="756"/>
                    </a:lnTo>
                    <a:lnTo>
                      <a:pt x="2190" y="756"/>
                    </a:lnTo>
                    <a:lnTo>
                      <a:pt x="2188" y="756"/>
                    </a:lnTo>
                    <a:lnTo>
                      <a:pt x="2188" y="756"/>
                    </a:lnTo>
                    <a:lnTo>
                      <a:pt x="2184" y="756"/>
                    </a:lnTo>
                    <a:lnTo>
                      <a:pt x="2180" y="758"/>
                    </a:lnTo>
                    <a:lnTo>
                      <a:pt x="2178" y="758"/>
                    </a:lnTo>
                    <a:lnTo>
                      <a:pt x="2178" y="758"/>
                    </a:lnTo>
                    <a:lnTo>
                      <a:pt x="2176" y="756"/>
                    </a:lnTo>
                    <a:lnTo>
                      <a:pt x="2174" y="756"/>
                    </a:lnTo>
                    <a:lnTo>
                      <a:pt x="2168" y="754"/>
                    </a:lnTo>
                    <a:lnTo>
                      <a:pt x="2166" y="754"/>
                    </a:lnTo>
                    <a:lnTo>
                      <a:pt x="2166" y="754"/>
                    </a:lnTo>
                    <a:lnTo>
                      <a:pt x="2166" y="752"/>
                    </a:lnTo>
                    <a:lnTo>
                      <a:pt x="2168" y="752"/>
                    </a:lnTo>
                    <a:lnTo>
                      <a:pt x="2172" y="750"/>
                    </a:lnTo>
                    <a:lnTo>
                      <a:pt x="2178" y="746"/>
                    </a:lnTo>
                    <a:lnTo>
                      <a:pt x="2182" y="744"/>
                    </a:lnTo>
                    <a:lnTo>
                      <a:pt x="2184" y="744"/>
                    </a:lnTo>
                    <a:lnTo>
                      <a:pt x="2190" y="742"/>
                    </a:lnTo>
                    <a:lnTo>
                      <a:pt x="2196" y="740"/>
                    </a:lnTo>
                    <a:lnTo>
                      <a:pt x="2202" y="738"/>
                    </a:lnTo>
                    <a:lnTo>
                      <a:pt x="2204" y="736"/>
                    </a:lnTo>
                    <a:lnTo>
                      <a:pt x="2204" y="736"/>
                    </a:lnTo>
                    <a:lnTo>
                      <a:pt x="2204" y="736"/>
                    </a:lnTo>
                    <a:lnTo>
                      <a:pt x="2206" y="736"/>
                    </a:lnTo>
                    <a:lnTo>
                      <a:pt x="2206" y="736"/>
                    </a:lnTo>
                    <a:lnTo>
                      <a:pt x="2208" y="734"/>
                    </a:lnTo>
                    <a:lnTo>
                      <a:pt x="2208" y="734"/>
                    </a:lnTo>
                    <a:lnTo>
                      <a:pt x="2208" y="734"/>
                    </a:lnTo>
                    <a:lnTo>
                      <a:pt x="2210" y="732"/>
                    </a:lnTo>
                    <a:lnTo>
                      <a:pt x="2210" y="730"/>
                    </a:lnTo>
                    <a:lnTo>
                      <a:pt x="2210" y="730"/>
                    </a:lnTo>
                    <a:lnTo>
                      <a:pt x="2212" y="730"/>
                    </a:lnTo>
                    <a:lnTo>
                      <a:pt x="2214" y="726"/>
                    </a:lnTo>
                    <a:lnTo>
                      <a:pt x="2214" y="724"/>
                    </a:lnTo>
                    <a:lnTo>
                      <a:pt x="2214" y="726"/>
                    </a:lnTo>
                    <a:lnTo>
                      <a:pt x="2214" y="728"/>
                    </a:lnTo>
                    <a:lnTo>
                      <a:pt x="2216" y="730"/>
                    </a:lnTo>
                    <a:lnTo>
                      <a:pt x="2216" y="730"/>
                    </a:lnTo>
                    <a:lnTo>
                      <a:pt x="2216" y="730"/>
                    </a:lnTo>
                    <a:lnTo>
                      <a:pt x="2216" y="732"/>
                    </a:lnTo>
                    <a:lnTo>
                      <a:pt x="2216" y="732"/>
                    </a:lnTo>
                    <a:lnTo>
                      <a:pt x="2218" y="734"/>
                    </a:lnTo>
                    <a:lnTo>
                      <a:pt x="2218" y="734"/>
                    </a:lnTo>
                    <a:lnTo>
                      <a:pt x="2218" y="734"/>
                    </a:lnTo>
                    <a:lnTo>
                      <a:pt x="2220" y="734"/>
                    </a:lnTo>
                    <a:lnTo>
                      <a:pt x="2222" y="734"/>
                    </a:lnTo>
                    <a:lnTo>
                      <a:pt x="2222" y="734"/>
                    </a:lnTo>
                    <a:lnTo>
                      <a:pt x="2222" y="734"/>
                    </a:lnTo>
                    <a:lnTo>
                      <a:pt x="2224" y="734"/>
                    </a:lnTo>
                    <a:lnTo>
                      <a:pt x="2224" y="734"/>
                    </a:lnTo>
                    <a:lnTo>
                      <a:pt x="2226" y="734"/>
                    </a:lnTo>
                    <a:lnTo>
                      <a:pt x="2228" y="732"/>
                    </a:lnTo>
                    <a:lnTo>
                      <a:pt x="2230" y="732"/>
                    </a:lnTo>
                    <a:lnTo>
                      <a:pt x="2236" y="728"/>
                    </a:lnTo>
                    <a:lnTo>
                      <a:pt x="2238" y="726"/>
                    </a:lnTo>
                    <a:lnTo>
                      <a:pt x="2240" y="726"/>
                    </a:lnTo>
                    <a:lnTo>
                      <a:pt x="2238" y="726"/>
                    </a:lnTo>
                    <a:lnTo>
                      <a:pt x="2242" y="724"/>
                    </a:lnTo>
                    <a:lnTo>
                      <a:pt x="2246" y="724"/>
                    </a:lnTo>
                    <a:lnTo>
                      <a:pt x="2250" y="724"/>
                    </a:lnTo>
                    <a:lnTo>
                      <a:pt x="2254" y="724"/>
                    </a:lnTo>
                    <a:lnTo>
                      <a:pt x="2258" y="724"/>
                    </a:lnTo>
                    <a:lnTo>
                      <a:pt x="2260" y="724"/>
                    </a:lnTo>
                    <a:lnTo>
                      <a:pt x="2262" y="724"/>
                    </a:lnTo>
                    <a:lnTo>
                      <a:pt x="2264" y="724"/>
                    </a:lnTo>
                    <a:lnTo>
                      <a:pt x="2264" y="724"/>
                    </a:lnTo>
                    <a:lnTo>
                      <a:pt x="2264" y="726"/>
                    </a:lnTo>
                    <a:lnTo>
                      <a:pt x="2266" y="726"/>
                    </a:lnTo>
                    <a:lnTo>
                      <a:pt x="2266" y="730"/>
                    </a:lnTo>
                    <a:lnTo>
                      <a:pt x="2266" y="732"/>
                    </a:lnTo>
                    <a:lnTo>
                      <a:pt x="2268" y="734"/>
                    </a:lnTo>
                    <a:lnTo>
                      <a:pt x="2268" y="736"/>
                    </a:lnTo>
                    <a:lnTo>
                      <a:pt x="2268" y="736"/>
                    </a:lnTo>
                    <a:lnTo>
                      <a:pt x="2268" y="738"/>
                    </a:lnTo>
                    <a:lnTo>
                      <a:pt x="2270" y="738"/>
                    </a:lnTo>
                    <a:lnTo>
                      <a:pt x="2270" y="738"/>
                    </a:lnTo>
                    <a:lnTo>
                      <a:pt x="2272" y="738"/>
                    </a:lnTo>
                    <a:lnTo>
                      <a:pt x="2272" y="738"/>
                    </a:lnTo>
                    <a:lnTo>
                      <a:pt x="2272" y="738"/>
                    </a:lnTo>
                    <a:lnTo>
                      <a:pt x="2274" y="738"/>
                    </a:lnTo>
                    <a:lnTo>
                      <a:pt x="2274" y="738"/>
                    </a:lnTo>
                    <a:lnTo>
                      <a:pt x="2274" y="738"/>
                    </a:lnTo>
                    <a:lnTo>
                      <a:pt x="2276" y="736"/>
                    </a:lnTo>
                    <a:lnTo>
                      <a:pt x="2276" y="736"/>
                    </a:lnTo>
                    <a:lnTo>
                      <a:pt x="2276" y="734"/>
                    </a:lnTo>
                    <a:lnTo>
                      <a:pt x="2278" y="730"/>
                    </a:lnTo>
                    <a:lnTo>
                      <a:pt x="2278" y="730"/>
                    </a:lnTo>
                    <a:lnTo>
                      <a:pt x="2280" y="728"/>
                    </a:lnTo>
                    <a:lnTo>
                      <a:pt x="2280" y="728"/>
                    </a:lnTo>
                    <a:lnTo>
                      <a:pt x="2282" y="728"/>
                    </a:lnTo>
                    <a:lnTo>
                      <a:pt x="2284" y="726"/>
                    </a:lnTo>
                    <a:lnTo>
                      <a:pt x="2286" y="726"/>
                    </a:lnTo>
                    <a:lnTo>
                      <a:pt x="2286" y="726"/>
                    </a:lnTo>
                    <a:lnTo>
                      <a:pt x="2286" y="726"/>
                    </a:lnTo>
                    <a:lnTo>
                      <a:pt x="2288" y="724"/>
                    </a:lnTo>
                    <a:lnTo>
                      <a:pt x="2288" y="724"/>
                    </a:lnTo>
                    <a:lnTo>
                      <a:pt x="2292" y="722"/>
                    </a:lnTo>
                    <a:lnTo>
                      <a:pt x="2294" y="720"/>
                    </a:lnTo>
                    <a:lnTo>
                      <a:pt x="2298" y="714"/>
                    </a:lnTo>
                    <a:lnTo>
                      <a:pt x="2304" y="708"/>
                    </a:lnTo>
                    <a:lnTo>
                      <a:pt x="2308" y="704"/>
                    </a:lnTo>
                    <a:lnTo>
                      <a:pt x="2312" y="700"/>
                    </a:lnTo>
                    <a:lnTo>
                      <a:pt x="2316" y="694"/>
                    </a:lnTo>
                    <a:lnTo>
                      <a:pt x="2318" y="692"/>
                    </a:lnTo>
                    <a:lnTo>
                      <a:pt x="2322" y="690"/>
                    </a:lnTo>
                    <a:lnTo>
                      <a:pt x="2324" y="688"/>
                    </a:lnTo>
                    <a:lnTo>
                      <a:pt x="2328" y="684"/>
                    </a:lnTo>
                    <a:lnTo>
                      <a:pt x="2332" y="682"/>
                    </a:lnTo>
                    <a:lnTo>
                      <a:pt x="2334" y="682"/>
                    </a:lnTo>
                    <a:lnTo>
                      <a:pt x="2340" y="678"/>
                    </a:lnTo>
                    <a:lnTo>
                      <a:pt x="2348" y="674"/>
                    </a:lnTo>
                    <a:lnTo>
                      <a:pt x="2356" y="672"/>
                    </a:lnTo>
                    <a:lnTo>
                      <a:pt x="2362" y="668"/>
                    </a:lnTo>
                    <a:lnTo>
                      <a:pt x="2370" y="664"/>
                    </a:lnTo>
                    <a:lnTo>
                      <a:pt x="2376" y="662"/>
                    </a:lnTo>
                    <a:lnTo>
                      <a:pt x="2378" y="660"/>
                    </a:lnTo>
                    <a:lnTo>
                      <a:pt x="2386" y="658"/>
                    </a:lnTo>
                    <a:lnTo>
                      <a:pt x="2386" y="656"/>
                    </a:lnTo>
                    <a:lnTo>
                      <a:pt x="2388" y="656"/>
                    </a:lnTo>
                    <a:lnTo>
                      <a:pt x="2388" y="656"/>
                    </a:lnTo>
                    <a:lnTo>
                      <a:pt x="2388" y="656"/>
                    </a:lnTo>
                    <a:lnTo>
                      <a:pt x="2390" y="656"/>
                    </a:lnTo>
                    <a:lnTo>
                      <a:pt x="2392" y="658"/>
                    </a:lnTo>
                    <a:lnTo>
                      <a:pt x="2394" y="658"/>
                    </a:lnTo>
                    <a:lnTo>
                      <a:pt x="2400" y="660"/>
                    </a:lnTo>
                    <a:lnTo>
                      <a:pt x="2402" y="662"/>
                    </a:lnTo>
                    <a:lnTo>
                      <a:pt x="2404" y="662"/>
                    </a:lnTo>
                    <a:lnTo>
                      <a:pt x="2404" y="662"/>
                    </a:lnTo>
                    <a:lnTo>
                      <a:pt x="2404" y="662"/>
                    </a:lnTo>
                    <a:lnTo>
                      <a:pt x="2408" y="664"/>
                    </a:lnTo>
                    <a:lnTo>
                      <a:pt x="2408" y="664"/>
                    </a:lnTo>
                    <a:lnTo>
                      <a:pt x="2410" y="662"/>
                    </a:lnTo>
                    <a:lnTo>
                      <a:pt x="2410" y="662"/>
                    </a:lnTo>
                    <a:lnTo>
                      <a:pt x="2410" y="662"/>
                    </a:lnTo>
                    <a:lnTo>
                      <a:pt x="2412" y="662"/>
                    </a:lnTo>
                    <a:lnTo>
                      <a:pt x="2412" y="662"/>
                    </a:lnTo>
                    <a:lnTo>
                      <a:pt x="2414" y="660"/>
                    </a:lnTo>
                    <a:lnTo>
                      <a:pt x="2414" y="660"/>
                    </a:lnTo>
                    <a:lnTo>
                      <a:pt x="2414" y="660"/>
                    </a:lnTo>
                    <a:lnTo>
                      <a:pt x="2416" y="658"/>
                    </a:lnTo>
                    <a:lnTo>
                      <a:pt x="2416" y="656"/>
                    </a:lnTo>
                    <a:lnTo>
                      <a:pt x="2418" y="654"/>
                    </a:lnTo>
                    <a:lnTo>
                      <a:pt x="2420" y="648"/>
                    </a:lnTo>
                    <a:lnTo>
                      <a:pt x="2420" y="644"/>
                    </a:lnTo>
                    <a:lnTo>
                      <a:pt x="2422" y="642"/>
                    </a:lnTo>
                    <a:lnTo>
                      <a:pt x="2422" y="642"/>
                    </a:lnTo>
                    <a:lnTo>
                      <a:pt x="2422" y="642"/>
                    </a:lnTo>
                    <a:lnTo>
                      <a:pt x="2420" y="640"/>
                    </a:lnTo>
                    <a:lnTo>
                      <a:pt x="2420" y="640"/>
                    </a:lnTo>
                    <a:lnTo>
                      <a:pt x="2420" y="638"/>
                    </a:lnTo>
                    <a:lnTo>
                      <a:pt x="2420" y="638"/>
                    </a:lnTo>
                    <a:lnTo>
                      <a:pt x="2420" y="638"/>
                    </a:lnTo>
                    <a:lnTo>
                      <a:pt x="2420" y="636"/>
                    </a:lnTo>
                    <a:lnTo>
                      <a:pt x="2418" y="636"/>
                    </a:lnTo>
                    <a:lnTo>
                      <a:pt x="2416" y="634"/>
                    </a:lnTo>
                    <a:lnTo>
                      <a:pt x="2414" y="630"/>
                    </a:lnTo>
                    <a:lnTo>
                      <a:pt x="2412" y="628"/>
                    </a:lnTo>
                    <a:lnTo>
                      <a:pt x="2410" y="626"/>
                    </a:lnTo>
                    <a:lnTo>
                      <a:pt x="2410" y="624"/>
                    </a:lnTo>
                    <a:lnTo>
                      <a:pt x="2408" y="622"/>
                    </a:lnTo>
                    <a:lnTo>
                      <a:pt x="2404" y="614"/>
                    </a:lnTo>
                    <a:lnTo>
                      <a:pt x="2404" y="612"/>
                    </a:lnTo>
                    <a:lnTo>
                      <a:pt x="2402" y="608"/>
                    </a:lnTo>
                    <a:lnTo>
                      <a:pt x="2400" y="604"/>
                    </a:lnTo>
                    <a:lnTo>
                      <a:pt x="2398" y="602"/>
                    </a:lnTo>
                    <a:lnTo>
                      <a:pt x="2398" y="600"/>
                    </a:lnTo>
                    <a:lnTo>
                      <a:pt x="2396" y="600"/>
                    </a:lnTo>
                    <a:lnTo>
                      <a:pt x="2396" y="600"/>
                    </a:lnTo>
                    <a:lnTo>
                      <a:pt x="2396" y="598"/>
                    </a:lnTo>
                    <a:lnTo>
                      <a:pt x="2394" y="596"/>
                    </a:lnTo>
                    <a:lnTo>
                      <a:pt x="2392" y="594"/>
                    </a:lnTo>
                    <a:lnTo>
                      <a:pt x="2390" y="592"/>
                    </a:lnTo>
                    <a:lnTo>
                      <a:pt x="2386" y="592"/>
                    </a:lnTo>
                    <a:lnTo>
                      <a:pt x="2386" y="592"/>
                    </a:lnTo>
                    <a:lnTo>
                      <a:pt x="2386" y="590"/>
                    </a:lnTo>
                    <a:lnTo>
                      <a:pt x="2384" y="590"/>
                    </a:lnTo>
                    <a:lnTo>
                      <a:pt x="2382" y="588"/>
                    </a:lnTo>
                    <a:lnTo>
                      <a:pt x="2382" y="588"/>
                    </a:lnTo>
                    <a:lnTo>
                      <a:pt x="2380" y="584"/>
                    </a:lnTo>
                    <a:lnTo>
                      <a:pt x="2378" y="582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8" y="578"/>
                    </a:lnTo>
                    <a:lnTo>
                      <a:pt x="2382" y="576"/>
                    </a:lnTo>
                    <a:lnTo>
                      <a:pt x="2382" y="576"/>
                    </a:lnTo>
                    <a:lnTo>
                      <a:pt x="2384" y="576"/>
                    </a:lnTo>
                    <a:lnTo>
                      <a:pt x="2384" y="578"/>
                    </a:lnTo>
                    <a:lnTo>
                      <a:pt x="2384" y="578"/>
                    </a:lnTo>
                    <a:lnTo>
                      <a:pt x="2386" y="580"/>
                    </a:lnTo>
                    <a:lnTo>
                      <a:pt x="2388" y="584"/>
                    </a:lnTo>
                    <a:lnTo>
                      <a:pt x="2388" y="584"/>
                    </a:lnTo>
                    <a:lnTo>
                      <a:pt x="2390" y="584"/>
                    </a:lnTo>
                    <a:lnTo>
                      <a:pt x="2390" y="584"/>
                    </a:lnTo>
                    <a:lnTo>
                      <a:pt x="2390" y="584"/>
                    </a:lnTo>
                    <a:lnTo>
                      <a:pt x="2392" y="586"/>
                    </a:lnTo>
                    <a:lnTo>
                      <a:pt x="2394" y="586"/>
                    </a:lnTo>
                    <a:lnTo>
                      <a:pt x="2394" y="586"/>
                    </a:lnTo>
                    <a:lnTo>
                      <a:pt x="2394" y="586"/>
                    </a:lnTo>
                    <a:lnTo>
                      <a:pt x="2396" y="586"/>
                    </a:lnTo>
                    <a:lnTo>
                      <a:pt x="2400" y="586"/>
                    </a:lnTo>
                    <a:lnTo>
                      <a:pt x="2406" y="586"/>
                    </a:lnTo>
                    <a:lnTo>
                      <a:pt x="2412" y="584"/>
                    </a:lnTo>
                    <a:lnTo>
                      <a:pt x="2414" y="584"/>
                    </a:lnTo>
                    <a:lnTo>
                      <a:pt x="2416" y="582"/>
                    </a:lnTo>
                    <a:lnTo>
                      <a:pt x="2416" y="582"/>
                    </a:lnTo>
                    <a:lnTo>
                      <a:pt x="2418" y="582"/>
                    </a:lnTo>
                    <a:lnTo>
                      <a:pt x="2420" y="580"/>
                    </a:lnTo>
                    <a:lnTo>
                      <a:pt x="2420" y="580"/>
                    </a:lnTo>
                    <a:lnTo>
                      <a:pt x="2420" y="580"/>
                    </a:lnTo>
                    <a:lnTo>
                      <a:pt x="2422" y="578"/>
                    </a:lnTo>
                    <a:lnTo>
                      <a:pt x="2424" y="576"/>
                    </a:lnTo>
                    <a:lnTo>
                      <a:pt x="2424" y="572"/>
                    </a:lnTo>
                    <a:lnTo>
                      <a:pt x="2426" y="570"/>
                    </a:lnTo>
                    <a:lnTo>
                      <a:pt x="2426" y="570"/>
                    </a:lnTo>
                    <a:lnTo>
                      <a:pt x="2426" y="570"/>
                    </a:lnTo>
                    <a:lnTo>
                      <a:pt x="2426" y="566"/>
                    </a:lnTo>
                    <a:lnTo>
                      <a:pt x="2428" y="564"/>
                    </a:lnTo>
                    <a:lnTo>
                      <a:pt x="2428" y="562"/>
                    </a:lnTo>
                    <a:lnTo>
                      <a:pt x="2428" y="560"/>
                    </a:lnTo>
                    <a:lnTo>
                      <a:pt x="2430" y="560"/>
                    </a:lnTo>
                    <a:lnTo>
                      <a:pt x="2432" y="558"/>
                    </a:lnTo>
                    <a:lnTo>
                      <a:pt x="2432" y="558"/>
                    </a:lnTo>
                    <a:lnTo>
                      <a:pt x="2432" y="558"/>
                    </a:lnTo>
                    <a:lnTo>
                      <a:pt x="2432" y="556"/>
                    </a:lnTo>
                    <a:lnTo>
                      <a:pt x="2432" y="556"/>
                    </a:lnTo>
                    <a:lnTo>
                      <a:pt x="2432" y="556"/>
                    </a:lnTo>
                    <a:lnTo>
                      <a:pt x="2432" y="558"/>
                    </a:lnTo>
                    <a:lnTo>
                      <a:pt x="2434" y="560"/>
                    </a:lnTo>
                    <a:lnTo>
                      <a:pt x="2434" y="560"/>
                    </a:lnTo>
                    <a:lnTo>
                      <a:pt x="2434" y="560"/>
                    </a:lnTo>
                    <a:lnTo>
                      <a:pt x="2436" y="562"/>
                    </a:lnTo>
                    <a:lnTo>
                      <a:pt x="2436" y="562"/>
                    </a:lnTo>
                    <a:lnTo>
                      <a:pt x="2436" y="562"/>
                    </a:lnTo>
                    <a:lnTo>
                      <a:pt x="2438" y="562"/>
                    </a:lnTo>
                    <a:lnTo>
                      <a:pt x="2438" y="562"/>
                    </a:lnTo>
                    <a:lnTo>
                      <a:pt x="2440" y="564"/>
                    </a:lnTo>
                    <a:lnTo>
                      <a:pt x="2442" y="564"/>
                    </a:lnTo>
                    <a:lnTo>
                      <a:pt x="2444" y="564"/>
                    </a:lnTo>
                    <a:lnTo>
                      <a:pt x="2450" y="562"/>
                    </a:lnTo>
                    <a:lnTo>
                      <a:pt x="2452" y="562"/>
                    </a:lnTo>
                    <a:lnTo>
                      <a:pt x="2456" y="562"/>
                    </a:lnTo>
                    <a:lnTo>
                      <a:pt x="2458" y="562"/>
                    </a:lnTo>
                    <a:lnTo>
                      <a:pt x="2458" y="562"/>
                    </a:lnTo>
                    <a:lnTo>
                      <a:pt x="2458" y="562"/>
                    </a:lnTo>
                    <a:lnTo>
                      <a:pt x="2460" y="560"/>
                    </a:lnTo>
                    <a:lnTo>
                      <a:pt x="2460" y="560"/>
                    </a:lnTo>
                    <a:lnTo>
                      <a:pt x="2460" y="560"/>
                    </a:lnTo>
                    <a:lnTo>
                      <a:pt x="2462" y="558"/>
                    </a:lnTo>
                    <a:lnTo>
                      <a:pt x="2466" y="556"/>
                    </a:lnTo>
                    <a:lnTo>
                      <a:pt x="2466" y="556"/>
                    </a:lnTo>
                    <a:lnTo>
                      <a:pt x="2466" y="556"/>
                    </a:lnTo>
                    <a:lnTo>
                      <a:pt x="2468" y="556"/>
                    </a:lnTo>
                    <a:lnTo>
                      <a:pt x="2472" y="556"/>
                    </a:lnTo>
                    <a:lnTo>
                      <a:pt x="2472" y="556"/>
                    </a:lnTo>
                    <a:lnTo>
                      <a:pt x="2474" y="556"/>
                    </a:lnTo>
                    <a:lnTo>
                      <a:pt x="2474" y="556"/>
                    </a:lnTo>
                    <a:lnTo>
                      <a:pt x="2474" y="558"/>
                    </a:lnTo>
                    <a:lnTo>
                      <a:pt x="2474" y="560"/>
                    </a:lnTo>
                    <a:lnTo>
                      <a:pt x="2472" y="564"/>
                    </a:lnTo>
                    <a:lnTo>
                      <a:pt x="2470" y="566"/>
                    </a:lnTo>
                    <a:lnTo>
                      <a:pt x="2470" y="570"/>
                    </a:lnTo>
                    <a:lnTo>
                      <a:pt x="2470" y="570"/>
                    </a:lnTo>
                    <a:lnTo>
                      <a:pt x="2470" y="572"/>
                    </a:lnTo>
                    <a:lnTo>
                      <a:pt x="2470" y="572"/>
                    </a:lnTo>
                    <a:lnTo>
                      <a:pt x="2470" y="572"/>
                    </a:lnTo>
                    <a:lnTo>
                      <a:pt x="2470" y="574"/>
                    </a:lnTo>
                    <a:lnTo>
                      <a:pt x="2470" y="574"/>
                    </a:lnTo>
                    <a:lnTo>
                      <a:pt x="2470" y="576"/>
                    </a:lnTo>
                    <a:lnTo>
                      <a:pt x="2472" y="578"/>
                    </a:lnTo>
                    <a:lnTo>
                      <a:pt x="2472" y="578"/>
                    </a:lnTo>
                    <a:lnTo>
                      <a:pt x="2472" y="578"/>
                    </a:lnTo>
                    <a:lnTo>
                      <a:pt x="2474" y="578"/>
                    </a:lnTo>
                    <a:lnTo>
                      <a:pt x="2474" y="578"/>
                    </a:lnTo>
                    <a:lnTo>
                      <a:pt x="2476" y="580"/>
                    </a:lnTo>
                    <a:lnTo>
                      <a:pt x="2478" y="580"/>
                    </a:lnTo>
                    <a:lnTo>
                      <a:pt x="2480" y="580"/>
                    </a:lnTo>
                    <a:lnTo>
                      <a:pt x="2486" y="580"/>
                    </a:lnTo>
                    <a:lnTo>
                      <a:pt x="2488" y="580"/>
                    </a:lnTo>
                    <a:lnTo>
                      <a:pt x="2490" y="582"/>
                    </a:lnTo>
                    <a:lnTo>
                      <a:pt x="2492" y="582"/>
                    </a:lnTo>
                    <a:lnTo>
                      <a:pt x="2492" y="584"/>
                    </a:lnTo>
                    <a:lnTo>
                      <a:pt x="2494" y="588"/>
                    </a:lnTo>
                    <a:lnTo>
                      <a:pt x="2496" y="592"/>
                    </a:lnTo>
                    <a:lnTo>
                      <a:pt x="2498" y="594"/>
                    </a:lnTo>
                    <a:lnTo>
                      <a:pt x="2500" y="596"/>
                    </a:lnTo>
                    <a:lnTo>
                      <a:pt x="2500" y="596"/>
                    </a:lnTo>
                    <a:lnTo>
                      <a:pt x="2500" y="596"/>
                    </a:lnTo>
                    <a:lnTo>
                      <a:pt x="2502" y="598"/>
                    </a:lnTo>
                    <a:lnTo>
                      <a:pt x="2504" y="600"/>
                    </a:lnTo>
                    <a:lnTo>
                      <a:pt x="2510" y="602"/>
                    </a:lnTo>
                    <a:lnTo>
                      <a:pt x="2512" y="604"/>
                    </a:lnTo>
                    <a:lnTo>
                      <a:pt x="2514" y="604"/>
                    </a:lnTo>
                    <a:lnTo>
                      <a:pt x="2514" y="604"/>
                    </a:lnTo>
                    <a:lnTo>
                      <a:pt x="2516" y="604"/>
                    </a:lnTo>
                    <a:lnTo>
                      <a:pt x="2516" y="604"/>
                    </a:lnTo>
                    <a:lnTo>
                      <a:pt x="2518" y="604"/>
                    </a:lnTo>
                    <a:lnTo>
                      <a:pt x="2520" y="604"/>
                    </a:lnTo>
                    <a:lnTo>
                      <a:pt x="2520" y="604"/>
                    </a:lnTo>
                    <a:lnTo>
                      <a:pt x="2520" y="602"/>
                    </a:lnTo>
                    <a:lnTo>
                      <a:pt x="2522" y="602"/>
                    </a:lnTo>
                    <a:lnTo>
                      <a:pt x="2522" y="602"/>
                    </a:lnTo>
                    <a:lnTo>
                      <a:pt x="2522" y="600"/>
                    </a:lnTo>
                    <a:lnTo>
                      <a:pt x="2522" y="598"/>
                    </a:lnTo>
                    <a:lnTo>
                      <a:pt x="2522" y="596"/>
                    </a:lnTo>
                    <a:lnTo>
                      <a:pt x="2522" y="594"/>
                    </a:lnTo>
                    <a:lnTo>
                      <a:pt x="2522" y="588"/>
                    </a:lnTo>
                    <a:lnTo>
                      <a:pt x="2522" y="586"/>
                    </a:lnTo>
                    <a:lnTo>
                      <a:pt x="2522" y="586"/>
                    </a:lnTo>
                    <a:lnTo>
                      <a:pt x="2522" y="584"/>
                    </a:lnTo>
                    <a:lnTo>
                      <a:pt x="2522" y="584"/>
                    </a:lnTo>
                    <a:lnTo>
                      <a:pt x="2524" y="580"/>
                    </a:lnTo>
                    <a:lnTo>
                      <a:pt x="2526" y="578"/>
                    </a:lnTo>
                    <a:lnTo>
                      <a:pt x="2528" y="574"/>
                    </a:lnTo>
                    <a:lnTo>
                      <a:pt x="2530" y="570"/>
                    </a:lnTo>
                    <a:lnTo>
                      <a:pt x="2534" y="566"/>
                    </a:lnTo>
                    <a:lnTo>
                      <a:pt x="2536" y="562"/>
                    </a:lnTo>
                    <a:lnTo>
                      <a:pt x="2538" y="560"/>
                    </a:lnTo>
                    <a:lnTo>
                      <a:pt x="2538" y="560"/>
                    </a:lnTo>
                    <a:lnTo>
                      <a:pt x="2538" y="560"/>
                    </a:lnTo>
                    <a:lnTo>
                      <a:pt x="2540" y="558"/>
                    </a:lnTo>
                    <a:lnTo>
                      <a:pt x="2540" y="558"/>
                    </a:lnTo>
                    <a:lnTo>
                      <a:pt x="2540" y="556"/>
                    </a:lnTo>
                    <a:lnTo>
                      <a:pt x="2540" y="556"/>
                    </a:lnTo>
                    <a:lnTo>
                      <a:pt x="2540" y="556"/>
                    </a:lnTo>
                    <a:lnTo>
                      <a:pt x="2540" y="554"/>
                    </a:lnTo>
                    <a:lnTo>
                      <a:pt x="2542" y="554"/>
                    </a:lnTo>
                    <a:lnTo>
                      <a:pt x="2544" y="554"/>
                    </a:lnTo>
                    <a:lnTo>
                      <a:pt x="2548" y="556"/>
                    </a:lnTo>
                    <a:lnTo>
                      <a:pt x="2548" y="556"/>
                    </a:lnTo>
                    <a:lnTo>
                      <a:pt x="2548" y="556"/>
                    </a:lnTo>
                    <a:lnTo>
                      <a:pt x="2552" y="554"/>
                    </a:lnTo>
                    <a:lnTo>
                      <a:pt x="2552" y="554"/>
                    </a:lnTo>
                    <a:lnTo>
                      <a:pt x="2552" y="554"/>
                    </a:lnTo>
                    <a:lnTo>
                      <a:pt x="2554" y="554"/>
                    </a:lnTo>
                    <a:lnTo>
                      <a:pt x="2554" y="554"/>
                    </a:lnTo>
                    <a:lnTo>
                      <a:pt x="2556" y="554"/>
                    </a:lnTo>
                    <a:lnTo>
                      <a:pt x="2558" y="552"/>
                    </a:lnTo>
                    <a:lnTo>
                      <a:pt x="2558" y="552"/>
                    </a:lnTo>
                    <a:lnTo>
                      <a:pt x="2558" y="552"/>
                    </a:lnTo>
                    <a:lnTo>
                      <a:pt x="2560" y="550"/>
                    </a:lnTo>
                    <a:lnTo>
                      <a:pt x="2562" y="548"/>
                    </a:lnTo>
                    <a:lnTo>
                      <a:pt x="2564" y="546"/>
                    </a:lnTo>
                    <a:lnTo>
                      <a:pt x="2566" y="542"/>
                    </a:lnTo>
                    <a:lnTo>
                      <a:pt x="2566" y="542"/>
                    </a:lnTo>
                    <a:lnTo>
                      <a:pt x="2566" y="540"/>
                    </a:lnTo>
                    <a:lnTo>
                      <a:pt x="2566" y="538"/>
                    </a:lnTo>
                    <a:lnTo>
                      <a:pt x="2566" y="538"/>
                    </a:lnTo>
                    <a:lnTo>
                      <a:pt x="2566" y="538"/>
                    </a:lnTo>
                    <a:lnTo>
                      <a:pt x="2568" y="536"/>
                    </a:lnTo>
                    <a:lnTo>
                      <a:pt x="2568" y="536"/>
                    </a:lnTo>
                    <a:lnTo>
                      <a:pt x="2568" y="534"/>
                    </a:lnTo>
                    <a:lnTo>
                      <a:pt x="2568" y="534"/>
                    </a:lnTo>
                    <a:lnTo>
                      <a:pt x="2568" y="532"/>
                    </a:lnTo>
                    <a:lnTo>
                      <a:pt x="2568" y="530"/>
                    </a:lnTo>
                    <a:close/>
                    <a:moveTo>
                      <a:pt x="874" y="436"/>
                    </a:moveTo>
                    <a:lnTo>
                      <a:pt x="872" y="434"/>
                    </a:lnTo>
                    <a:lnTo>
                      <a:pt x="870" y="434"/>
                    </a:lnTo>
                    <a:lnTo>
                      <a:pt x="870" y="432"/>
                    </a:lnTo>
                    <a:lnTo>
                      <a:pt x="868" y="428"/>
                    </a:lnTo>
                    <a:lnTo>
                      <a:pt x="866" y="426"/>
                    </a:lnTo>
                    <a:lnTo>
                      <a:pt x="864" y="422"/>
                    </a:lnTo>
                    <a:lnTo>
                      <a:pt x="862" y="418"/>
                    </a:lnTo>
                    <a:lnTo>
                      <a:pt x="862" y="414"/>
                    </a:lnTo>
                    <a:lnTo>
                      <a:pt x="860" y="414"/>
                    </a:lnTo>
                    <a:lnTo>
                      <a:pt x="862" y="414"/>
                    </a:lnTo>
                    <a:lnTo>
                      <a:pt x="864" y="414"/>
                    </a:lnTo>
                    <a:lnTo>
                      <a:pt x="864" y="414"/>
                    </a:lnTo>
                    <a:lnTo>
                      <a:pt x="866" y="414"/>
                    </a:lnTo>
                    <a:lnTo>
                      <a:pt x="868" y="416"/>
                    </a:lnTo>
                    <a:lnTo>
                      <a:pt x="868" y="414"/>
                    </a:lnTo>
                    <a:lnTo>
                      <a:pt x="870" y="416"/>
                    </a:lnTo>
                    <a:lnTo>
                      <a:pt x="874" y="420"/>
                    </a:lnTo>
                    <a:lnTo>
                      <a:pt x="876" y="422"/>
                    </a:lnTo>
                    <a:lnTo>
                      <a:pt x="880" y="424"/>
                    </a:lnTo>
                    <a:lnTo>
                      <a:pt x="880" y="428"/>
                    </a:lnTo>
                    <a:lnTo>
                      <a:pt x="880" y="428"/>
                    </a:lnTo>
                    <a:lnTo>
                      <a:pt x="882" y="430"/>
                    </a:lnTo>
                    <a:lnTo>
                      <a:pt x="882" y="432"/>
                    </a:lnTo>
                    <a:lnTo>
                      <a:pt x="882" y="438"/>
                    </a:lnTo>
                    <a:lnTo>
                      <a:pt x="882" y="442"/>
                    </a:lnTo>
                    <a:lnTo>
                      <a:pt x="880" y="442"/>
                    </a:lnTo>
                    <a:lnTo>
                      <a:pt x="880" y="442"/>
                    </a:lnTo>
                    <a:lnTo>
                      <a:pt x="880" y="442"/>
                    </a:lnTo>
                    <a:lnTo>
                      <a:pt x="880" y="440"/>
                    </a:lnTo>
                    <a:lnTo>
                      <a:pt x="878" y="440"/>
                    </a:lnTo>
                    <a:lnTo>
                      <a:pt x="876" y="438"/>
                    </a:lnTo>
                    <a:lnTo>
                      <a:pt x="874" y="436"/>
                    </a:lnTo>
                    <a:close/>
                    <a:moveTo>
                      <a:pt x="886" y="474"/>
                    </a:moveTo>
                    <a:lnTo>
                      <a:pt x="882" y="472"/>
                    </a:lnTo>
                    <a:lnTo>
                      <a:pt x="880" y="470"/>
                    </a:lnTo>
                    <a:lnTo>
                      <a:pt x="878" y="466"/>
                    </a:lnTo>
                    <a:lnTo>
                      <a:pt x="880" y="468"/>
                    </a:lnTo>
                    <a:lnTo>
                      <a:pt x="878" y="466"/>
                    </a:lnTo>
                    <a:lnTo>
                      <a:pt x="878" y="464"/>
                    </a:lnTo>
                    <a:lnTo>
                      <a:pt x="878" y="462"/>
                    </a:lnTo>
                    <a:lnTo>
                      <a:pt x="878" y="458"/>
                    </a:lnTo>
                    <a:lnTo>
                      <a:pt x="880" y="456"/>
                    </a:lnTo>
                    <a:lnTo>
                      <a:pt x="880" y="450"/>
                    </a:lnTo>
                    <a:lnTo>
                      <a:pt x="880" y="452"/>
                    </a:lnTo>
                    <a:lnTo>
                      <a:pt x="880" y="454"/>
                    </a:lnTo>
                    <a:lnTo>
                      <a:pt x="882" y="456"/>
                    </a:lnTo>
                    <a:lnTo>
                      <a:pt x="882" y="458"/>
                    </a:lnTo>
                    <a:lnTo>
                      <a:pt x="882" y="460"/>
                    </a:lnTo>
                    <a:lnTo>
                      <a:pt x="882" y="462"/>
                    </a:lnTo>
                    <a:lnTo>
                      <a:pt x="884" y="466"/>
                    </a:lnTo>
                    <a:lnTo>
                      <a:pt x="884" y="468"/>
                    </a:lnTo>
                    <a:lnTo>
                      <a:pt x="886" y="472"/>
                    </a:lnTo>
                    <a:lnTo>
                      <a:pt x="886" y="474"/>
                    </a:lnTo>
                    <a:lnTo>
                      <a:pt x="886" y="474"/>
                    </a:lnTo>
                    <a:close/>
                    <a:moveTo>
                      <a:pt x="888" y="330"/>
                    </a:moveTo>
                    <a:lnTo>
                      <a:pt x="886" y="330"/>
                    </a:lnTo>
                    <a:lnTo>
                      <a:pt x="882" y="330"/>
                    </a:lnTo>
                    <a:lnTo>
                      <a:pt x="878" y="330"/>
                    </a:lnTo>
                    <a:lnTo>
                      <a:pt x="874" y="330"/>
                    </a:lnTo>
                    <a:lnTo>
                      <a:pt x="872" y="328"/>
                    </a:lnTo>
                    <a:lnTo>
                      <a:pt x="868" y="328"/>
                    </a:lnTo>
                    <a:lnTo>
                      <a:pt x="866" y="326"/>
                    </a:lnTo>
                    <a:lnTo>
                      <a:pt x="862" y="324"/>
                    </a:lnTo>
                    <a:lnTo>
                      <a:pt x="858" y="320"/>
                    </a:lnTo>
                    <a:lnTo>
                      <a:pt x="854" y="318"/>
                    </a:lnTo>
                    <a:lnTo>
                      <a:pt x="852" y="316"/>
                    </a:lnTo>
                    <a:lnTo>
                      <a:pt x="848" y="314"/>
                    </a:lnTo>
                    <a:lnTo>
                      <a:pt x="846" y="310"/>
                    </a:lnTo>
                    <a:lnTo>
                      <a:pt x="848" y="312"/>
                    </a:lnTo>
                    <a:lnTo>
                      <a:pt x="846" y="310"/>
                    </a:lnTo>
                    <a:lnTo>
                      <a:pt x="846" y="308"/>
                    </a:lnTo>
                    <a:lnTo>
                      <a:pt x="846" y="308"/>
                    </a:lnTo>
                    <a:lnTo>
                      <a:pt x="846" y="306"/>
                    </a:lnTo>
                    <a:lnTo>
                      <a:pt x="846" y="304"/>
                    </a:lnTo>
                    <a:lnTo>
                      <a:pt x="846" y="300"/>
                    </a:lnTo>
                    <a:lnTo>
                      <a:pt x="848" y="296"/>
                    </a:lnTo>
                    <a:lnTo>
                      <a:pt x="848" y="296"/>
                    </a:lnTo>
                    <a:lnTo>
                      <a:pt x="848" y="296"/>
                    </a:lnTo>
                    <a:lnTo>
                      <a:pt x="850" y="296"/>
                    </a:lnTo>
                    <a:lnTo>
                      <a:pt x="852" y="296"/>
                    </a:lnTo>
                    <a:lnTo>
                      <a:pt x="852" y="296"/>
                    </a:lnTo>
                    <a:lnTo>
                      <a:pt x="852" y="294"/>
                    </a:lnTo>
                    <a:lnTo>
                      <a:pt x="854" y="294"/>
                    </a:lnTo>
                    <a:lnTo>
                      <a:pt x="854" y="294"/>
                    </a:lnTo>
                    <a:lnTo>
                      <a:pt x="854" y="294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4" y="294"/>
                    </a:lnTo>
                    <a:lnTo>
                      <a:pt x="854" y="298"/>
                    </a:lnTo>
                    <a:lnTo>
                      <a:pt x="854" y="298"/>
                    </a:lnTo>
                    <a:lnTo>
                      <a:pt x="856" y="300"/>
                    </a:lnTo>
                    <a:lnTo>
                      <a:pt x="856" y="302"/>
                    </a:lnTo>
                    <a:lnTo>
                      <a:pt x="856" y="302"/>
                    </a:lnTo>
                    <a:lnTo>
                      <a:pt x="856" y="302"/>
                    </a:lnTo>
                    <a:lnTo>
                      <a:pt x="856" y="304"/>
                    </a:lnTo>
                    <a:lnTo>
                      <a:pt x="856" y="304"/>
                    </a:lnTo>
                    <a:lnTo>
                      <a:pt x="856" y="304"/>
                    </a:lnTo>
                    <a:lnTo>
                      <a:pt x="858" y="306"/>
                    </a:lnTo>
                    <a:lnTo>
                      <a:pt x="858" y="306"/>
                    </a:lnTo>
                    <a:lnTo>
                      <a:pt x="858" y="308"/>
                    </a:lnTo>
                    <a:lnTo>
                      <a:pt x="860" y="310"/>
                    </a:lnTo>
                    <a:lnTo>
                      <a:pt x="862" y="312"/>
                    </a:lnTo>
                    <a:lnTo>
                      <a:pt x="864" y="312"/>
                    </a:lnTo>
                    <a:lnTo>
                      <a:pt x="868" y="316"/>
                    </a:lnTo>
                    <a:lnTo>
                      <a:pt x="874" y="318"/>
                    </a:lnTo>
                    <a:lnTo>
                      <a:pt x="878" y="322"/>
                    </a:lnTo>
                    <a:lnTo>
                      <a:pt x="884" y="324"/>
                    </a:lnTo>
                    <a:lnTo>
                      <a:pt x="888" y="326"/>
                    </a:lnTo>
                    <a:lnTo>
                      <a:pt x="888" y="328"/>
                    </a:lnTo>
                    <a:lnTo>
                      <a:pt x="890" y="328"/>
                    </a:lnTo>
                    <a:lnTo>
                      <a:pt x="888" y="330"/>
                    </a:lnTo>
                    <a:close/>
                    <a:moveTo>
                      <a:pt x="966" y="316"/>
                    </a:moveTo>
                    <a:lnTo>
                      <a:pt x="966" y="320"/>
                    </a:lnTo>
                    <a:lnTo>
                      <a:pt x="966" y="322"/>
                    </a:lnTo>
                    <a:lnTo>
                      <a:pt x="966" y="330"/>
                    </a:lnTo>
                    <a:lnTo>
                      <a:pt x="966" y="332"/>
                    </a:lnTo>
                    <a:lnTo>
                      <a:pt x="964" y="334"/>
                    </a:lnTo>
                    <a:lnTo>
                      <a:pt x="964" y="336"/>
                    </a:lnTo>
                    <a:lnTo>
                      <a:pt x="964" y="336"/>
                    </a:lnTo>
                    <a:lnTo>
                      <a:pt x="964" y="338"/>
                    </a:lnTo>
                    <a:lnTo>
                      <a:pt x="964" y="338"/>
                    </a:lnTo>
                    <a:lnTo>
                      <a:pt x="962" y="338"/>
                    </a:lnTo>
                    <a:lnTo>
                      <a:pt x="960" y="338"/>
                    </a:lnTo>
                    <a:lnTo>
                      <a:pt x="958" y="336"/>
                    </a:lnTo>
                    <a:lnTo>
                      <a:pt x="956" y="336"/>
                    </a:lnTo>
                    <a:lnTo>
                      <a:pt x="954" y="334"/>
                    </a:lnTo>
                    <a:lnTo>
                      <a:pt x="954" y="334"/>
                    </a:lnTo>
                    <a:lnTo>
                      <a:pt x="952" y="332"/>
                    </a:lnTo>
                    <a:lnTo>
                      <a:pt x="952" y="332"/>
                    </a:lnTo>
                    <a:lnTo>
                      <a:pt x="952" y="330"/>
                    </a:lnTo>
                    <a:lnTo>
                      <a:pt x="952" y="328"/>
                    </a:lnTo>
                    <a:lnTo>
                      <a:pt x="952" y="324"/>
                    </a:lnTo>
                    <a:lnTo>
                      <a:pt x="952" y="322"/>
                    </a:lnTo>
                    <a:lnTo>
                      <a:pt x="952" y="322"/>
                    </a:lnTo>
                    <a:lnTo>
                      <a:pt x="954" y="320"/>
                    </a:lnTo>
                    <a:lnTo>
                      <a:pt x="956" y="320"/>
                    </a:lnTo>
                    <a:lnTo>
                      <a:pt x="960" y="318"/>
                    </a:lnTo>
                    <a:lnTo>
                      <a:pt x="962" y="316"/>
                    </a:lnTo>
                    <a:lnTo>
                      <a:pt x="964" y="316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6"/>
                    </a:lnTo>
                    <a:close/>
                    <a:moveTo>
                      <a:pt x="1746" y="118"/>
                    </a:moveTo>
                    <a:lnTo>
                      <a:pt x="1746" y="118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50" y="122"/>
                    </a:lnTo>
                    <a:lnTo>
                      <a:pt x="1750" y="122"/>
                    </a:lnTo>
                    <a:lnTo>
                      <a:pt x="1752" y="118"/>
                    </a:lnTo>
                    <a:lnTo>
                      <a:pt x="1752" y="118"/>
                    </a:lnTo>
                    <a:lnTo>
                      <a:pt x="1752" y="118"/>
                    </a:lnTo>
                    <a:lnTo>
                      <a:pt x="1756" y="118"/>
                    </a:lnTo>
                    <a:lnTo>
                      <a:pt x="1756" y="118"/>
                    </a:lnTo>
                    <a:lnTo>
                      <a:pt x="1756" y="118"/>
                    </a:lnTo>
                    <a:lnTo>
                      <a:pt x="1760" y="116"/>
                    </a:lnTo>
                    <a:lnTo>
                      <a:pt x="1760" y="116"/>
                    </a:lnTo>
                    <a:lnTo>
                      <a:pt x="1760" y="116"/>
                    </a:lnTo>
                    <a:lnTo>
                      <a:pt x="1762" y="114"/>
                    </a:lnTo>
                    <a:lnTo>
                      <a:pt x="1762" y="114"/>
                    </a:lnTo>
                    <a:lnTo>
                      <a:pt x="1764" y="112"/>
                    </a:lnTo>
                    <a:lnTo>
                      <a:pt x="1766" y="110"/>
                    </a:lnTo>
                    <a:lnTo>
                      <a:pt x="1766" y="110"/>
                    </a:lnTo>
                    <a:lnTo>
                      <a:pt x="1766" y="110"/>
                    </a:lnTo>
                    <a:lnTo>
                      <a:pt x="1766" y="106"/>
                    </a:lnTo>
                    <a:lnTo>
                      <a:pt x="1766" y="106"/>
                    </a:lnTo>
                    <a:lnTo>
                      <a:pt x="1766" y="106"/>
                    </a:lnTo>
                    <a:lnTo>
                      <a:pt x="1766" y="102"/>
                    </a:lnTo>
                    <a:lnTo>
                      <a:pt x="1766" y="102"/>
                    </a:lnTo>
                    <a:lnTo>
                      <a:pt x="1764" y="102"/>
                    </a:lnTo>
                    <a:lnTo>
                      <a:pt x="1762" y="98"/>
                    </a:lnTo>
                    <a:lnTo>
                      <a:pt x="1762" y="98"/>
                    </a:lnTo>
                    <a:lnTo>
                      <a:pt x="1762" y="96"/>
                    </a:lnTo>
                    <a:lnTo>
                      <a:pt x="1760" y="92"/>
                    </a:lnTo>
                    <a:lnTo>
                      <a:pt x="1760" y="90"/>
                    </a:lnTo>
                    <a:lnTo>
                      <a:pt x="1760" y="88"/>
                    </a:lnTo>
                    <a:lnTo>
                      <a:pt x="1760" y="88"/>
                    </a:lnTo>
                    <a:lnTo>
                      <a:pt x="1760" y="88"/>
                    </a:lnTo>
                    <a:lnTo>
                      <a:pt x="1758" y="86"/>
                    </a:lnTo>
                    <a:lnTo>
                      <a:pt x="1758" y="86"/>
                    </a:lnTo>
                    <a:lnTo>
                      <a:pt x="1758" y="84"/>
                    </a:lnTo>
                    <a:lnTo>
                      <a:pt x="1756" y="84"/>
                    </a:lnTo>
                    <a:lnTo>
                      <a:pt x="1756" y="84"/>
                    </a:lnTo>
                    <a:lnTo>
                      <a:pt x="1754" y="84"/>
                    </a:lnTo>
                    <a:lnTo>
                      <a:pt x="1752" y="86"/>
                    </a:lnTo>
                    <a:lnTo>
                      <a:pt x="1752" y="86"/>
                    </a:lnTo>
                    <a:lnTo>
                      <a:pt x="1752" y="86"/>
                    </a:lnTo>
                    <a:lnTo>
                      <a:pt x="1752" y="88"/>
                    </a:lnTo>
                    <a:lnTo>
                      <a:pt x="1752" y="90"/>
                    </a:lnTo>
                    <a:lnTo>
                      <a:pt x="1750" y="92"/>
                    </a:lnTo>
                    <a:lnTo>
                      <a:pt x="1750" y="98"/>
                    </a:lnTo>
                    <a:lnTo>
                      <a:pt x="1748" y="102"/>
                    </a:lnTo>
                    <a:lnTo>
                      <a:pt x="1746" y="108"/>
                    </a:lnTo>
                    <a:lnTo>
                      <a:pt x="1746" y="110"/>
                    </a:lnTo>
                    <a:lnTo>
                      <a:pt x="1746" y="112"/>
                    </a:lnTo>
                    <a:lnTo>
                      <a:pt x="1746" y="112"/>
                    </a:lnTo>
                    <a:lnTo>
                      <a:pt x="1746" y="114"/>
                    </a:lnTo>
                    <a:lnTo>
                      <a:pt x="1746" y="116"/>
                    </a:lnTo>
                    <a:lnTo>
                      <a:pt x="1746" y="118"/>
                    </a:lnTo>
                    <a:close/>
                    <a:moveTo>
                      <a:pt x="1942" y="36"/>
                    </a:moveTo>
                    <a:lnTo>
                      <a:pt x="1944" y="38"/>
                    </a:lnTo>
                    <a:lnTo>
                      <a:pt x="1944" y="38"/>
                    </a:lnTo>
                    <a:lnTo>
                      <a:pt x="1944" y="40"/>
                    </a:lnTo>
                    <a:lnTo>
                      <a:pt x="1946" y="40"/>
                    </a:lnTo>
                    <a:lnTo>
                      <a:pt x="1950" y="40"/>
                    </a:lnTo>
                    <a:lnTo>
                      <a:pt x="1954" y="40"/>
                    </a:lnTo>
                    <a:lnTo>
                      <a:pt x="1956" y="38"/>
                    </a:lnTo>
                    <a:lnTo>
                      <a:pt x="1960" y="38"/>
                    </a:lnTo>
                    <a:lnTo>
                      <a:pt x="1960" y="38"/>
                    </a:lnTo>
                    <a:lnTo>
                      <a:pt x="1960" y="38"/>
                    </a:lnTo>
                    <a:lnTo>
                      <a:pt x="1962" y="38"/>
                    </a:lnTo>
                    <a:lnTo>
                      <a:pt x="1962" y="38"/>
                    </a:lnTo>
                    <a:lnTo>
                      <a:pt x="1962" y="36"/>
                    </a:lnTo>
                    <a:lnTo>
                      <a:pt x="1964" y="36"/>
                    </a:lnTo>
                    <a:lnTo>
                      <a:pt x="1964" y="36"/>
                    </a:lnTo>
                    <a:lnTo>
                      <a:pt x="1964" y="36"/>
                    </a:lnTo>
                    <a:lnTo>
                      <a:pt x="1966" y="34"/>
                    </a:lnTo>
                    <a:lnTo>
                      <a:pt x="1966" y="34"/>
                    </a:lnTo>
                    <a:lnTo>
                      <a:pt x="1966" y="32"/>
                    </a:lnTo>
                    <a:lnTo>
                      <a:pt x="1968" y="30"/>
                    </a:lnTo>
                    <a:lnTo>
                      <a:pt x="1968" y="30"/>
                    </a:lnTo>
                    <a:lnTo>
                      <a:pt x="1968" y="28"/>
                    </a:lnTo>
                    <a:lnTo>
                      <a:pt x="1968" y="28"/>
                    </a:lnTo>
                    <a:lnTo>
                      <a:pt x="1968" y="26"/>
                    </a:lnTo>
                    <a:lnTo>
                      <a:pt x="1964" y="24"/>
                    </a:lnTo>
                    <a:lnTo>
                      <a:pt x="1964" y="24"/>
                    </a:lnTo>
                    <a:lnTo>
                      <a:pt x="1962" y="24"/>
                    </a:lnTo>
                    <a:lnTo>
                      <a:pt x="1958" y="24"/>
                    </a:lnTo>
                    <a:lnTo>
                      <a:pt x="1958" y="24"/>
                    </a:lnTo>
                    <a:lnTo>
                      <a:pt x="1958" y="24"/>
                    </a:lnTo>
                    <a:lnTo>
                      <a:pt x="1954" y="24"/>
                    </a:lnTo>
                    <a:lnTo>
                      <a:pt x="1954" y="24"/>
                    </a:lnTo>
                    <a:lnTo>
                      <a:pt x="1954" y="24"/>
                    </a:lnTo>
                    <a:lnTo>
                      <a:pt x="1950" y="24"/>
                    </a:lnTo>
                    <a:lnTo>
                      <a:pt x="1950" y="24"/>
                    </a:lnTo>
                    <a:lnTo>
                      <a:pt x="1950" y="24"/>
                    </a:lnTo>
                    <a:lnTo>
                      <a:pt x="1946" y="26"/>
                    </a:lnTo>
                    <a:lnTo>
                      <a:pt x="1946" y="26"/>
                    </a:lnTo>
                    <a:lnTo>
                      <a:pt x="1946" y="26"/>
                    </a:lnTo>
                    <a:lnTo>
                      <a:pt x="1944" y="30"/>
                    </a:lnTo>
                    <a:lnTo>
                      <a:pt x="1944" y="30"/>
                    </a:lnTo>
                    <a:lnTo>
                      <a:pt x="1944" y="30"/>
                    </a:lnTo>
                    <a:lnTo>
                      <a:pt x="1942" y="32"/>
                    </a:lnTo>
                    <a:lnTo>
                      <a:pt x="1942" y="32"/>
                    </a:lnTo>
                    <a:lnTo>
                      <a:pt x="1942" y="32"/>
                    </a:lnTo>
                    <a:lnTo>
                      <a:pt x="1942" y="34"/>
                    </a:lnTo>
                    <a:lnTo>
                      <a:pt x="1942" y="34"/>
                    </a:lnTo>
                    <a:lnTo>
                      <a:pt x="1942" y="34"/>
                    </a:lnTo>
                    <a:lnTo>
                      <a:pt x="1942" y="36"/>
                    </a:lnTo>
                    <a:lnTo>
                      <a:pt x="1942" y="36"/>
                    </a:lnTo>
                    <a:lnTo>
                      <a:pt x="1942" y="36"/>
                    </a:lnTo>
                    <a:lnTo>
                      <a:pt x="1942" y="36"/>
                    </a:lnTo>
                    <a:close/>
                    <a:moveTo>
                      <a:pt x="1764" y="180"/>
                    </a:moveTo>
                    <a:lnTo>
                      <a:pt x="1762" y="180"/>
                    </a:lnTo>
                    <a:lnTo>
                      <a:pt x="1762" y="180"/>
                    </a:lnTo>
                    <a:lnTo>
                      <a:pt x="1762" y="180"/>
                    </a:lnTo>
                    <a:lnTo>
                      <a:pt x="1760" y="178"/>
                    </a:lnTo>
                    <a:lnTo>
                      <a:pt x="1760" y="178"/>
                    </a:lnTo>
                    <a:lnTo>
                      <a:pt x="1760" y="178"/>
                    </a:lnTo>
                    <a:lnTo>
                      <a:pt x="1758" y="176"/>
                    </a:lnTo>
                    <a:lnTo>
                      <a:pt x="1758" y="176"/>
                    </a:lnTo>
                    <a:lnTo>
                      <a:pt x="1756" y="176"/>
                    </a:lnTo>
                    <a:lnTo>
                      <a:pt x="1754" y="176"/>
                    </a:lnTo>
                    <a:lnTo>
                      <a:pt x="1754" y="176"/>
                    </a:lnTo>
                    <a:lnTo>
                      <a:pt x="1752" y="176"/>
                    </a:lnTo>
                    <a:lnTo>
                      <a:pt x="1748" y="178"/>
                    </a:lnTo>
                    <a:lnTo>
                      <a:pt x="1748" y="178"/>
                    </a:lnTo>
                    <a:lnTo>
                      <a:pt x="1748" y="178"/>
                    </a:lnTo>
                    <a:lnTo>
                      <a:pt x="1748" y="180"/>
                    </a:lnTo>
                    <a:lnTo>
                      <a:pt x="1748" y="180"/>
                    </a:lnTo>
                    <a:lnTo>
                      <a:pt x="1746" y="182"/>
                    </a:lnTo>
                    <a:lnTo>
                      <a:pt x="1746" y="182"/>
                    </a:lnTo>
                    <a:lnTo>
                      <a:pt x="1746" y="182"/>
                    </a:lnTo>
                    <a:lnTo>
                      <a:pt x="1746" y="184"/>
                    </a:lnTo>
                    <a:lnTo>
                      <a:pt x="1746" y="184"/>
                    </a:lnTo>
                    <a:lnTo>
                      <a:pt x="1746" y="184"/>
                    </a:lnTo>
                    <a:lnTo>
                      <a:pt x="1746" y="186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8" y="190"/>
                    </a:lnTo>
                    <a:lnTo>
                      <a:pt x="1750" y="192"/>
                    </a:lnTo>
                    <a:lnTo>
                      <a:pt x="1752" y="194"/>
                    </a:lnTo>
                    <a:lnTo>
                      <a:pt x="1752" y="194"/>
                    </a:lnTo>
                    <a:lnTo>
                      <a:pt x="1752" y="194"/>
                    </a:lnTo>
                    <a:lnTo>
                      <a:pt x="1756" y="196"/>
                    </a:lnTo>
                    <a:lnTo>
                      <a:pt x="1760" y="198"/>
                    </a:lnTo>
                    <a:lnTo>
                      <a:pt x="1762" y="198"/>
                    </a:lnTo>
                    <a:lnTo>
                      <a:pt x="1762" y="198"/>
                    </a:lnTo>
                    <a:lnTo>
                      <a:pt x="1762" y="200"/>
                    </a:lnTo>
                    <a:lnTo>
                      <a:pt x="1764" y="200"/>
                    </a:lnTo>
                    <a:lnTo>
                      <a:pt x="1764" y="200"/>
                    </a:lnTo>
                    <a:lnTo>
                      <a:pt x="1766" y="200"/>
                    </a:lnTo>
                    <a:lnTo>
                      <a:pt x="1768" y="198"/>
                    </a:lnTo>
                    <a:lnTo>
                      <a:pt x="1768" y="198"/>
                    </a:lnTo>
                    <a:lnTo>
                      <a:pt x="1768" y="198"/>
                    </a:lnTo>
                    <a:lnTo>
                      <a:pt x="1770" y="196"/>
                    </a:lnTo>
                    <a:lnTo>
                      <a:pt x="1770" y="196"/>
                    </a:lnTo>
                    <a:lnTo>
                      <a:pt x="1770" y="196"/>
                    </a:lnTo>
                    <a:lnTo>
                      <a:pt x="1772" y="194"/>
                    </a:lnTo>
                    <a:lnTo>
                      <a:pt x="1772" y="194"/>
                    </a:lnTo>
                    <a:lnTo>
                      <a:pt x="1772" y="194"/>
                    </a:lnTo>
                    <a:lnTo>
                      <a:pt x="1774" y="190"/>
                    </a:lnTo>
                    <a:lnTo>
                      <a:pt x="1774" y="190"/>
                    </a:lnTo>
                    <a:lnTo>
                      <a:pt x="1774" y="188"/>
                    </a:lnTo>
                    <a:lnTo>
                      <a:pt x="1774" y="188"/>
                    </a:lnTo>
                    <a:lnTo>
                      <a:pt x="1772" y="186"/>
                    </a:lnTo>
                    <a:lnTo>
                      <a:pt x="1768" y="184"/>
                    </a:lnTo>
                    <a:lnTo>
                      <a:pt x="1768" y="184"/>
                    </a:lnTo>
                    <a:lnTo>
                      <a:pt x="1766" y="182"/>
                    </a:lnTo>
                    <a:lnTo>
                      <a:pt x="1764" y="180"/>
                    </a:lnTo>
                    <a:close/>
                    <a:moveTo>
                      <a:pt x="1774" y="106"/>
                    </a:moveTo>
                    <a:lnTo>
                      <a:pt x="1774" y="112"/>
                    </a:lnTo>
                    <a:lnTo>
                      <a:pt x="1774" y="116"/>
                    </a:lnTo>
                    <a:lnTo>
                      <a:pt x="1774" y="118"/>
                    </a:lnTo>
                    <a:lnTo>
                      <a:pt x="1774" y="122"/>
                    </a:lnTo>
                    <a:lnTo>
                      <a:pt x="1774" y="124"/>
                    </a:lnTo>
                    <a:lnTo>
                      <a:pt x="1774" y="128"/>
                    </a:lnTo>
                    <a:lnTo>
                      <a:pt x="1774" y="128"/>
                    </a:lnTo>
                    <a:lnTo>
                      <a:pt x="1774" y="128"/>
                    </a:lnTo>
                    <a:lnTo>
                      <a:pt x="1776" y="132"/>
                    </a:lnTo>
                    <a:lnTo>
                      <a:pt x="1776" y="132"/>
                    </a:lnTo>
                    <a:lnTo>
                      <a:pt x="1776" y="132"/>
                    </a:lnTo>
                    <a:lnTo>
                      <a:pt x="1776" y="134"/>
                    </a:lnTo>
                    <a:lnTo>
                      <a:pt x="1778" y="136"/>
                    </a:lnTo>
                    <a:lnTo>
                      <a:pt x="1778" y="136"/>
                    </a:lnTo>
                    <a:lnTo>
                      <a:pt x="1778" y="136"/>
                    </a:lnTo>
                    <a:lnTo>
                      <a:pt x="1780" y="138"/>
                    </a:lnTo>
                    <a:lnTo>
                      <a:pt x="1780" y="138"/>
                    </a:lnTo>
                    <a:lnTo>
                      <a:pt x="1780" y="138"/>
                    </a:lnTo>
                    <a:lnTo>
                      <a:pt x="1782" y="140"/>
                    </a:lnTo>
                    <a:lnTo>
                      <a:pt x="1784" y="142"/>
                    </a:lnTo>
                    <a:lnTo>
                      <a:pt x="1786" y="144"/>
                    </a:lnTo>
                    <a:lnTo>
                      <a:pt x="1792" y="148"/>
                    </a:lnTo>
                    <a:lnTo>
                      <a:pt x="1796" y="150"/>
                    </a:lnTo>
                    <a:lnTo>
                      <a:pt x="1798" y="152"/>
                    </a:lnTo>
                    <a:lnTo>
                      <a:pt x="1802" y="154"/>
                    </a:lnTo>
                    <a:lnTo>
                      <a:pt x="1804" y="156"/>
                    </a:lnTo>
                    <a:lnTo>
                      <a:pt x="1806" y="156"/>
                    </a:lnTo>
                    <a:lnTo>
                      <a:pt x="1808" y="158"/>
                    </a:lnTo>
                    <a:lnTo>
                      <a:pt x="1808" y="158"/>
                    </a:lnTo>
                    <a:lnTo>
                      <a:pt x="1808" y="158"/>
                    </a:lnTo>
                    <a:lnTo>
                      <a:pt x="1810" y="158"/>
                    </a:lnTo>
                    <a:lnTo>
                      <a:pt x="1810" y="158"/>
                    </a:lnTo>
                    <a:lnTo>
                      <a:pt x="1810" y="158"/>
                    </a:lnTo>
                    <a:lnTo>
                      <a:pt x="1812" y="156"/>
                    </a:lnTo>
                    <a:lnTo>
                      <a:pt x="1812" y="156"/>
                    </a:lnTo>
                    <a:lnTo>
                      <a:pt x="1812" y="156"/>
                    </a:lnTo>
                    <a:lnTo>
                      <a:pt x="1814" y="154"/>
                    </a:lnTo>
                    <a:lnTo>
                      <a:pt x="1814" y="154"/>
                    </a:lnTo>
                    <a:lnTo>
                      <a:pt x="1814" y="154"/>
                    </a:lnTo>
                    <a:lnTo>
                      <a:pt x="1814" y="152"/>
                    </a:lnTo>
                    <a:lnTo>
                      <a:pt x="1814" y="148"/>
                    </a:lnTo>
                    <a:lnTo>
                      <a:pt x="1812" y="146"/>
                    </a:lnTo>
                    <a:lnTo>
                      <a:pt x="1812" y="144"/>
                    </a:lnTo>
                    <a:lnTo>
                      <a:pt x="1812" y="142"/>
                    </a:lnTo>
                    <a:lnTo>
                      <a:pt x="1812" y="142"/>
                    </a:lnTo>
                    <a:lnTo>
                      <a:pt x="1812" y="142"/>
                    </a:lnTo>
                    <a:lnTo>
                      <a:pt x="1814" y="142"/>
                    </a:lnTo>
                    <a:lnTo>
                      <a:pt x="1816" y="142"/>
                    </a:lnTo>
                    <a:lnTo>
                      <a:pt x="1818" y="142"/>
                    </a:lnTo>
                    <a:lnTo>
                      <a:pt x="1824" y="142"/>
                    </a:lnTo>
                    <a:lnTo>
                      <a:pt x="1828" y="144"/>
                    </a:lnTo>
                    <a:lnTo>
                      <a:pt x="1830" y="144"/>
                    </a:lnTo>
                    <a:lnTo>
                      <a:pt x="1830" y="144"/>
                    </a:lnTo>
                    <a:lnTo>
                      <a:pt x="1830" y="144"/>
                    </a:lnTo>
                    <a:lnTo>
                      <a:pt x="1832" y="142"/>
                    </a:lnTo>
                    <a:lnTo>
                      <a:pt x="1832" y="142"/>
                    </a:lnTo>
                    <a:lnTo>
                      <a:pt x="1832" y="142"/>
                    </a:lnTo>
                    <a:lnTo>
                      <a:pt x="1834" y="142"/>
                    </a:lnTo>
                    <a:lnTo>
                      <a:pt x="1838" y="140"/>
                    </a:lnTo>
                    <a:lnTo>
                      <a:pt x="1842" y="140"/>
                    </a:lnTo>
                    <a:lnTo>
                      <a:pt x="1842" y="140"/>
                    </a:lnTo>
                    <a:lnTo>
                      <a:pt x="1844" y="140"/>
                    </a:lnTo>
                    <a:lnTo>
                      <a:pt x="1844" y="140"/>
                    </a:lnTo>
                    <a:lnTo>
                      <a:pt x="1844" y="140"/>
                    </a:lnTo>
                    <a:lnTo>
                      <a:pt x="1846" y="142"/>
                    </a:lnTo>
                    <a:lnTo>
                      <a:pt x="1848" y="144"/>
                    </a:lnTo>
                    <a:lnTo>
                      <a:pt x="1848" y="144"/>
                    </a:lnTo>
                    <a:lnTo>
                      <a:pt x="1848" y="146"/>
                    </a:lnTo>
                    <a:lnTo>
                      <a:pt x="1850" y="146"/>
                    </a:lnTo>
                    <a:lnTo>
                      <a:pt x="1850" y="146"/>
                    </a:lnTo>
                    <a:lnTo>
                      <a:pt x="1850" y="146"/>
                    </a:lnTo>
                    <a:lnTo>
                      <a:pt x="1852" y="148"/>
                    </a:lnTo>
                    <a:lnTo>
                      <a:pt x="1852" y="148"/>
                    </a:lnTo>
                    <a:lnTo>
                      <a:pt x="1852" y="148"/>
                    </a:lnTo>
                    <a:lnTo>
                      <a:pt x="1856" y="150"/>
                    </a:lnTo>
                    <a:lnTo>
                      <a:pt x="1856" y="150"/>
                    </a:lnTo>
                    <a:lnTo>
                      <a:pt x="1856" y="150"/>
                    </a:lnTo>
                    <a:lnTo>
                      <a:pt x="1860" y="150"/>
                    </a:lnTo>
                    <a:lnTo>
                      <a:pt x="1860" y="150"/>
                    </a:lnTo>
                    <a:lnTo>
                      <a:pt x="1860" y="150"/>
                    </a:lnTo>
                    <a:lnTo>
                      <a:pt x="1864" y="150"/>
                    </a:lnTo>
                    <a:lnTo>
                      <a:pt x="1864" y="150"/>
                    </a:lnTo>
                    <a:lnTo>
                      <a:pt x="1864" y="150"/>
                    </a:lnTo>
                    <a:lnTo>
                      <a:pt x="1868" y="148"/>
                    </a:lnTo>
                    <a:lnTo>
                      <a:pt x="1868" y="148"/>
                    </a:lnTo>
                    <a:lnTo>
                      <a:pt x="1868" y="148"/>
                    </a:lnTo>
                    <a:lnTo>
                      <a:pt x="1870" y="146"/>
                    </a:lnTo>
                    <a:lnTo>
                      <a:pt x="1870" y="146"/>
                    </a:lnTo>
                    <a:lnTo>
                      <a:pt x="1870" y="146"/>
                    </a:lnTo>
                    <a:lnTo>
                      <a:pt x="1870" y="144"/>
                    </a:lnTo>
                    <a:lnTo>
                      <a:pt x="1870" y="144"/>
                    </a:lnTo>
                    <a:lnTo>
                      <a:pt x="1870" y="144"/>
                    </a:lnTo>
                    <a:lnTo>
                      <a:pt x="1872" y="140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6" y="136"/>
                    </a:lnTo>
                    <a:lnTo>
                      <a:pt x="1878" y="136"/>
                    </a:lnTo>
                    <a:lnTo>
                      <a:pt x="1882" y="134"/>
                    </a:lnTo>
                    <a:lnTo>
                      <a:pt x="1882" y="134"/>
                    </a:lnTo>
                    <a:lnTo>
                      <a:pt x="1882" y="134"/>
                    </a:lnTo>
                    <a:lnTo>
                      <a:pt x="1884" y="134"/>
                    </a:lnTo>
                    <a:lnTo>
                      <a:pt x="1884" y="134"/>
                    </a:lnTo>
                    <a:lnTo>
                      <a:pt x="1884" y="134"/>
                    </a:lnTo>
                    <a:lnTo>
                      <a:pt x="1886" y="132"/>
                    </a:lnTo>
                    <a:lnTo>
                      <a:pt x="1886" y="132"/>
                    </a:lnTo>
                    <a:lnTo>
                      <a:pt x="1886" y="132"/>
                    </a:lnTo>
                    <a:lnTo>
                      <a:pt x="1888" y="130"/>
                    </a:lnTo>
                    <a:lnTo>
                      <a:pt x="1890" y="128"/>
                    </a:lnTo>
                    <a:lnTo>
                      <a:pt x="1892" y="124"/>
                    </a:lnTo>
                    <a:lnTo>
                      <a:pt x="1894" y="118"/>
                    </a:lnTo>
                    <a:lnTo>
                      <a:pt x="1894" y="116"/>
                    </a:lnTo>
                    <a:lnTo>
                      <a:pt x="1896" y="114"/>
                    </a:lnTo>
                    <a:lnTo>
                      <a:pt x="1898" y="114"/>
                    </a:lnTo>
                    <a:lnTo>
                      <a:pt x="1898" y="112"/>
                    </a:lnTo>
                    <a:lnTo>
                      <a:pt x="1902" y="110"/>
                    </a:lnTo>
                    <a:lnTo>
                      <a:pt x="1902" y="108"/>
                    </a:lnTo>
                    <a:lnTo>
                      <a:pt x="1904" y="106"/>
                    </a:lnTo>
                    <a:lnTo>
                      <a:pt x="1904" y="106"/>
                    </a:lnTo>
                    <a:lnTo>
                      <a:pt x="1904" y="106"/>
                    </a:lnTo>
                    <a:lnTo>
                      <a:pt x="1906" y="104"/>
                    </a:lnTo>
                    <a:lnTo>
                      <a:pt x="1906" y="104"/>
                    </a:lnTo>
                    <a:lnTo>
                      <a:pt x="1906" y="102"/>
                    </a:lnTo>
                    <a:lnTo>
                      <a:pt x="1906" y="102"/>
                    </a:lnTo>
                    <a:lnTo>
                      <a:pt x="1906" y="102"/>
                    </a:lnTo>
                    <a:lnTo>
                      <a:pt x="1906" y="100"/>
                    </a:lnTo>
                    <a:lnTo>
                      <a:pt x="1904" y="98"/>
                    </a:lnTo>
                    <a:lnTo>
                      <a:pt x="1904" y="98"/>
                    </a:lnTo>
                    <a:lnTo>
                      <a:pt x="1904" y="98"/>
                    </a:lnTo>
                    <a:lnTo>
                      <a:pt x="1902" y="96"/>
                    </a:lnTo>
                    <a:lnTo>
                      <a:pt x="1902" y="96"/>
                    </a:lnTo>
                    <a:lnTo>
                      <a:pt x="1902" y="96"/>
                    </a:lnTo>
                    <a:lnTo>
                      <a:pt x="1900" y="96"/>
                    </a:lnTo>
                    <a:lnTo>
                      <a:pt x="1898" y="94"/>
                    </a:lnTo>
                    <a:lnTo>
                      <a:pt x="1892" y="92"/>
                    </a:lnTo>
                    <a:lnTo>
                      <a:pt x="1890" y="90"/>
                    </a:lnTo>
                    <a:lnTo>
                      <a:pt x="1888" y="90"/>
                    </a:lnTo>
                    <a:lnTo>
                      <a:pt x="1886" y="88"/>
                    </a:lnTo>
                    <a:lnTo>
                      <a:pt x="1884" y="84"/>
                    </a:lnTo>
                    <a:lnTo>
                      <a:pt x="1880" y="82"/>
                    </a:lnTo>
                    <a:lnTo>
                      <a:pt x="1876" y="80"/>
                    </a:lnTo>
                    <a:lnTo>
                      <a:pt x="1876" y="80"/>
                    </a:lnTo>
                    <a:lnTo>
                      <a:pt x="1876" y="80"/>
                    </a:lnTo>
                    <a:lnTo>
                      <a:pt x="1874" y="80"/>
                    </a:lnTo>
                    <a:lnTo>
                      <a:pt x="1874" y="80"/>
                    </a:lnTo>
                    <a:lnTo>
                      <a:pt x="1874" y="78"/>
                    </a:lnTo>
                    <a:lnTo>
                      <a:pt x="1872" y="78"/>
                    </a:lnTo>
                    <a:lnTo>
                      <a:pt x="1868" y="78"/>
                    </a:lnTo>
                    <a:lnTo>
                      <a:pt x="1862" y="78"/>
                    </a:lnTo>
                    <a:lnTo>
                      <a:pt x="1862" y="78"/>
                    </a:lnTo>
                    <a:lnTo>
                      <a:pt x="1860" y="76"/>
                    </a:lnTo>
                    <a:lnTo>
                      <a:pt x="1858" y="76"/>
                    </a:lnTo>
                    <a:lnTo>
                      <a:pt x="1856" y="74"/>
                    </a:lnTo>
                    <a:lnTo>
                      <a:pt x="1854" y="70"/>
                    </a:lnTo>
                    <a:lnTo>
                      <a:pt x="1854" y="70"/>
                    </a:lnTo>
                    <a:lnTo>
                      <a:pt x="1854" y="70"/>
                    </a:lnTo>
                    <a:lnTo>
                      <a:pt x="1852" y="68"/>
                    </a:lnTo>
                    <a:lnTo>
                      <a:pt x="1852" y="68"/>
                    </a:lnTo>
                    <a:lnTo>
                      <a:pt x="1852" y="68"/>
                    </a:lnTo>
                    <a:lnTo>
                      <a:pt x="1850" y="68"/>
                    </a:lnTo>
                    <a:lnTo>
                      <a:pt x="1848" y="66"/>
                    </a:lnTo>
                    <a:lnTo>
                      <a:pt x="1842" y="64"/>
                    </a:lnTo>
                    <a:lnTo>
                      <a:pt x="1842" y="64"/>
                    </a:lnTo>
                    <a:lnTo>
                      <a:pt x="1842" y="64"/>
                    </a:lnTo>
                    <a:lnTo>
                      <a:pt x="1838" y="64"/>
                    </a:lnTo>
                    <a:lnTo>
                      <a:pt x="1838" y="64"/>
                    </a:lnTo>
                    <a:lnTo>
                      <a:pt x="1838" y="64"/>
                    </a:lnTo>
                    <a:lnTo>
                      <a:pt x="1836" y="64"/>
                    </a:lnTo>
                    <a:lnTo>
                      <a:pt x="1836" y="64"/>
                    </a:lnTo>
                    <a:lnTo>
                      <a:pt x="1834" y="64"/>
                    </a:lnTo>
                    <a:lnTo>
                      <a:pt x="1834" y="64"/>
                    </a:lnTo>
                    <a:lnTo>
                      <a:pt x="1834" y="64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0" y="68"/>
                    </a:lnTo>
                    <a:lnTo>
                      <a:pt x="1830" y="68"/>
                    </a:lnTo>
                    <a:lnTo>
                      <a:pt x="1830" y="68"/>
                    </a:lnTo>
                    <a:lnTo>
                      <a:pt x="1830" y="72"/>
                    </a:lnTo>
                    <a:lnTo>
                      <a:pt x="1830" y="72"/>
                    </a:lnTo>
                    <a:lnTo>
                      <a:pt x="1830" y="72"/>
                    </a:lnTo>
                    <a:lnTo>
                      <a:pt x="1828" y="76"/>
                    </a:lnTo>
                    <a:lnTo>
                      <a:pt x="1828" y="80"/>
                    </a:lnTo>
                    <a:lnTo>
                      <a:pt x="1828" y="82"/>
                    </a:lnTo>
                    <a:lnTo>
                      <a:pt x="1830" y="84"/>
                    </a:lnTo>
                    <a:lnTo>
                      <a:pt x="1830" y="88"/>
                    </a:lnTo>
                    <a:lnTo>
                      <a:pt x="1830" y="86"/>
                    </a:lnTo>
                    <a:lnTo>
                      <a:pt x="1826" y="82"/>
                    </a:lnTo>
                    <a:lnTo>
                      <a:pt x="1824" y="78"/>
                    </a:lnTo>
                    <a:lnTo>
                      <a:pt x="1820" y="74"/>
                    </a:lnTo>
                    <a:lnTo>
                      <a:pt x="1818" y="72"/>
                    </a:lnTo>
                    <a:lnTo>
                      <a:pt x="1814" y="66"/>
                    </a:lnTo>
                    <a:lnTo>
                      <a:pt x="1810" y="62"/>
                    </a:lnTo>
                    <a:lnTo>
                      <a:pt x="1808" y="60"/>
                    </a:lnTo>
                    <a:lnTo>
                      <a:pt x="1806" y="58"/>
                    </a:lnTo>
                    <a:lnTo>
                      <a:pt x="1804" y="58"/>
                    </a:lnTo>
                    <a:lnTo>
                      <a:pt x="1804" y="58"/>
                    </a:lnTo>
                    <a:lnTo>
                      <a:pt x="1804" y="58"/>
                    </a:lnTo>
                    <a:lnTo>
                      <a:pt x="1802" y="56"/>
                    </a:lnTo>
                    <a:lnTo>
                      <a:pt x="1802" y="56"/>
                    </a:lnTo>
                    <a:lnTo>
                      <a:pt x="1800" y="56"/>
                    </a:lnTo>
                    <a:lnTo>
                      <a:pt x="1800" y="58"/>
                    </a:lnTo>
                    <a:lnTo>
                      <a:pt x="1800" y="58"/>
                    </a:lnTo>
                    <a:lnTo>
                      <a:pt x="1798" y="58"/>
                    </a:lnTo>
                    <a:lnTo>
                      <a:pt x="1796" y="58"/>
                    </a:lnTo>
                    <a:lnTo>
                      <a:pt x="1796" y="58"/>
                    </a:lnTo>
                    <a:lnTo>
                      <a:pt x="1796" y="60"/>
                    </a:lnTo>
                    <a:lnTo>
                      <a:pt x="1796" y="60"/>
                    </a:lnTo>
                    <a:lnTo>
                      <a:pt x="1794" y="62"/>
                    </a:lnTo>
                    <a:lnTo>
                      <a:pt x="1792" y="66"/>
                    </a:lnTo>
                    <a:lnTo>
                      <a:pt x="1792" y="68"/>
                    </a:lnTo>
                    <a:lnTo>
                      <a:pt x="1792" y="68"/>
                    </a:lnTo>
                    <a:lnTo>
                      <a:pt x="1788" y="70"/>
                    </a:lnTo>
                    <a:lnTo>
                      <a:pt x="1786" y="72"/>
                    </a:lnTo>
                    <a:lnTo>
                      <a:pt x="1784" y="74"/>
                    </a:lnTo>
                    <a:lnTo>
                      <a:pt x="1784" y="74"/>
                    </a:lnTo>
                    <a:lnTo>
                      <a:pt x="1784" y="74"/>
                    </a:lnTo>
                    <a:lnTo>
                      <a:pt x="1782" y="76"/>
                    </a:lnTo>
                    <a:lnTo>
                      <a:pt x="1782" y="76"/>
                    </a:lnTo>
                    <a:lnTo>
                      <a:pt x="1780" y="76"/>
                    </a:lnTo>
                    <a:lnTo>
                      <a:pt x="1778" y="78"/>
                    </a:lnTo>
                    <a:lnTo>
                      <a:pt x="1778" y="78"/>
                    </a:lnTo>
                    <a:lnTo>
                      <a:pt x="1778" y="78"/>
                    </a:lnTo>
                    <a:lnTo>
                      <a:pt x="1778" y="80"/>
                    </a:lnTo>
                    <a:lnTo>
                      <a:pt x="1778" y="80"/>
                    </a:lnTo>
                    <a:lnTo>
                      <a:pt x="1778" y="80"/>
                    </a:lnTo>
                    <a:lnTo>
                      <a:pt x="1776" y="80"/>
                    </a:lnTo>
                    <a:lnTo>
                      <a:pt x="1776" y="80"/>
                    </a:lnTo>
                    <a:lnTo>
                      <a:pt x="1776" y="82"/>
                    </a:lnTo>
                    <a:lnTo>
                      <a:pt x="1776" y="84"/>
                    </a:lnTo>
                    <a:lnTo>
                      <a:pt x="1776" y="84"/>
                    </a:lnTo>
                    <a:lnTo>
                      <a:pt x="1776" y="84"/>
                    </a:lnTo>
                    <a:lnTo>
                      <a:pt x="1774" y="86"/>
                    </a:lnTo>
                    <a:lnTo>
                      <a:pt x="1774" y="90"/>
                    </a:lnTo>
                    <a:lnTo>
                      <a:pt x="1774" y="94"/>
                    </a:lnTo>
                    <a:lnTo>
                      <a:pt x="1774" y="98"/>
                    </a:lnTo>
                    <a:lnTo>
                      <a:pt x="1774" y="102"/>
                    </a:lnTo>
                    <a:lnTo>
                      <a:pt x="1774" y="106"/>
                    </a:lnTo>
                    <a:close/>
                    <a:moveTo>
                      <a:pt x="1912" y="124"/>
                    </a:moveTo>
                    <a:lnTo>
                      <a:pt x="1912" y="126"/>
                    </a:lnTo>
                    <a:lnTo>
                      <a:pt x="1912" y="126"/>
                    </a:lnTo>
                    <a:lnTo>
                      <a:pt x="1912" y="126"/>
                    </a:lnTo>
                    <a:lnTo>
                      <a:pt x="1914" y="128"/>
                    </a:lnTo>
                    <a:lnTo>
                      <a:pt x="1916" y="130"/>
                    </a:lnTo>
                    <a:lnTo>
                      <a:pt x="1918" y="132"/>
                    </a:lnTo>
                    <a:lnTo>
                      <a:pt x="1922" y="134"/>
                    </a:lnTo>
                    <a:lnTo>
                      <a:pt x="1924" y="136"/>
                    </a:lnTo>
                    <a:lnTo>
                      <a:pt x="1932" y="140"/>
                    </a:lnTo>
                    <a:lnTo>
                      <a:pt x="1934" y="142"/>
                    </a:lnTo>
                    <a:lnTo>
                      <a:pt x="1936" y="144"/>
                    </a:lnTo>
                    <a:lnTo>
                      <a:pt x="1938" y="144"/>
                    </a:lnTo>
                    <a:lnTo>
                      <a:pt x="1938" y="144"/>
                    </a:lnTo>
                    <a:lnTo>
                      <a:pt x="1938" y="144"/>
                    </a:lnTo>
                    <a:lnTo>
                      <a:pt x="1940" y="146"/>
                    </a:lnTo>
                    <a:lnTo>
                      <a:pt x="1940" y="146"/>
                    </a:lnTo>
                    <a:lnTo>
                      <a:pt x="1940" y="146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4" y="150"/>
                    </a:lnTo>
                    <a:lnTo>
                      <a:pt x="1944" y="150"/>
                    </a:lnTo>
                    <a:lnTo>
                      <a:pt x="1948" y="150"/>
                    </a:lnTo>
                    <a:lnTo>
                      <a:pt x="1950" y="150"/>
                    </a:lnTo>
                    <a:lnTo>
                      <a:pt x="1956" y="150"/>
                    </a:lnTo>
                    <a:lnTo>
                      <a:pt x="1960" y="150"/>
                    </a:lnTo>
                    <a:lnTo>
                      <a:pt x="1964" y="150"/>
                    </a:lnTo>
                    <a:lnTo>
                      <a:pt x="1966" y="150"/>
                    </a:lnTo>
                    <a:lnTo>
                      <a:pt x="1966" y="150"/>
                    </a:lnTo>
                    <a:lnTo>
                      <a:pt x="1966" y="150"/>
                    </a:lnTo>
                    <a:lnTo>
                      <a:pt x="1968" y="150"/>
                    </a:lnTo>
                    <a:lnTo>
                      <a:pt x="1968" y="150"/>
                    </a:lnTo>
                    <a:lnTo>
                      <a:pt x="1970" y="148"/>
                    </a:lnTo>
                    <a:lnTo>
                      <a:pt x="1972" y="148"/>
                    </a:lnTo>
                    <a:lnTo>
                      <a:pt x="1972" y="148"/>
                    </a:lnTo>
                    <a:lnTo>
                      <a:pt x="1972" y="148"/>
                    </a:lnTo>
                    <a:lnTo>
                      <a:pt x="1972" y="146"/>
                    </a:lnTo>
                    <a:lnTo>
                      <a:pt x="1972" y="146"/>
                    </a:lnTo>
                    <a:lnTo>
                      <a:pt x="1972" y="144"/>
                    </a:lnTo>
                    <a:lnTo>
                      <a:pt x="1974" y="142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6" y="136"/>
                    </a:lnTo>
                    <a:lnTo>
                      <a:pt x="1976" y="136"/>
                    </a:lnTo>
                    <a:lnTo>
                      <a:pt x="1982" y="136"/>
                    </a:lnTo>
                    <a:lnTo>
                      <a:pt x="1984" y="138"/>
                    </a:lnTo>
                    <a:lnTo>
                      <a:pt x="1986" y="138"/>
                    </a:lnTo>
                    <a:lnTo>
                      <a:pt x="1988" y="138"/>
                    </a:lnTo>
                    <a:lnTo>
                      <a:pt x="1988" y="138"/>
                    </a:lnTo>
                    <a:lnTo>
                      <a:pt x="1990" y="136"/>
                    </a:lnTo>
                    <a:lnTo>
                      <a:pt x="1990" y="136"/>
                    </a:lnTo>
                    <a:lnTo>
                      <a:pt x="1990" y="136"/>
                    </a:lnTo>
                    <a:lnTo>
                      <a:pt x="1990" y="132"/>
                    </a:lnTo>
                    <a:lnTo>
                      <a:pt x="1990" y="132"/>
                    </a:lnTo>
                    <a:lnTo>
                      <a:pt x="1990" y="132"/>
                    </a:lnTo>
                    <a:lnTo>
                      <a:pt x="1990" y="130"/>
                    </a:lnTo>
                    <a:lnTo>
                      <a:pt x="1988" y="130"/>
                    </a:lnTo>
                    <a:lnTo>
                      <a:pt x="1986" y="128"/>
                    </a:lnTo>
                    <a:lnTo>
                      <a:pt x="1984" y="126"/>
                    </a:lnTo>
                    <a:lnTo>
                      <a:pt x="1978" y="122"/>
                    </a:lnTo>
                    <a:lnTo>
                      <a:pt x="1974" y="120"/>
                    </a:lnTo>
                    <a:lnTo>
                      <a:pt x="1972" y="118"/>
                    </a:lnTo>
                    <a:lnTo>
                      <a:pt x="1972" y="118"/>
                    </a:lnTo>
                    <a:lnTo>
                      <a:pt x="1972" y="118"/>
                    </a:lnTo>
                    <a:lnTo>
                      <a:pt x="1966" y="118"/>
                    </a:lnTo>
                    <a:lnTo>
                      <a:pt x="1962" y="118"/>
                    </a:lnTo>
                    <a:lnTo>
                      <a:pt x="1956" y="116"/>
                    </a:lnTo>
                    <a:lnTo>
                      <a:pt x="1956" y="116"/>
                    </a:lnTo>
                    <a:lnTo>
                      <a:pt x="1954" y="116"/>
                    </a:lnTo>
                    <a:lnTo>
                      <a:pt x="1954" y="116"/>
                    </a:lnTo>
                    <a:lnTo>
                      <a:pt x="1952" y="114"/>
                    </a:lnTo>
                    <a:lnTo>
                      <a:pt x="1952" y="112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48" y="106"/>
                    </a:lnTo>
                    <a:lnTo>
                      <a:pt x="1948" y="106"/>
                    </a:lnTo>
                    <a:lnTo>
                      <a:pt x="1948" y="106"/>
                    </a:lnTo>
                    <a:lnTo>
                      <a:pt x="1946" y="104"/>
                    </a:lnTo>
                    <a:lnTo>
                      <a:pt x="1944" y="104"/>
                    </a:lnTo>
                    <a:lnTo>
                      <a:pt x="1944" y="104"/>
                    </a:lnTo>
                    <a:lnTo>
                      <a:pt x="1944" y="104"/>
                    </a:lnTo>
                    <a:lnTo>
                      <a:pt x="1940" y="104"/>
                    </a:lnTo>
                    <a:lnTo>
                      <a:pt x="1940" y="104"/>
                    </a:lnTo>
                    <a:lnTo>
                      <a:pt x="1936" y="104"/>
                    </a:lnTo>
                    <a:lnTo>
                      <a:pt x="1932" y="104"/>
                    </a:lnTo>
                    <a:lnTo>
                      <a:pt x="1932" y="104"/>
                    </a:lnTo>
                    <a:lnTo>
                      <a:pt x="1932" y="104"/>
                    </a:lnTo>
                    <a:lnTo>
                      <a:pt x="1932" y="106"/>
                    </a:lnTo>
                    <a:lnTo>
                      <a:pt x="1932" y="106"/>
                    </a:lnTo>
                    <a:lnTo>
                      <a:pt x="1930" y="106"/>
                    </a:lnTo>
                    <a:lnTo>
                      <a:pt x="1930" y="106"/>
                    </a:lnTo>
                    <a:lnTo>
                      <a:pt x="1928" y="108"/>
                    </a:lnTo>
                    <a:lnTo>
                      <a:pt x="1926" y="110"/>
                    </a:lnTo>
                    <a:lnTo>
                      <a:pt x="1926" y="110"/>
                    </a:lnTo>
                    <a:lnTo>
                      <a:pt x="1924" y="108"/>
                    </a:lnTo>
                    <a:lnTo>
                      <a:pt x="1924" y="106"/>
                    </a:lnTo>
                    <a:lnTo>
                      <a:pt x="1922" y="104"/>
                    </a:lnTo>
                    <a:lnTo>
                      <a:pt x="1922" y="104"/>
                    </a:lnTo>
                    <a:lnTo>
                      <a:pt x="1922" y="104"/>
                    </a:lnTo>
                    <a:lnTo>
                      <a:pt x="1922" y="102"/>
                    </a:lnTo>
                    <a:lnTo>
                      <a:pt x="1922" y="102"/>
                    </a:lnTo>
                    <a:lnTo>
                      <a:pt x="1920" y="102"/>
                    </a:lnTo>
                    <a:lnTo>
                      <a:pt x="1920" y="100"/>
                    </a:lnTo>
                    <a:lnTo>
                      <a:pt x="1920" y="100"/>
                    </a:lnTo>
                    <a:lnTo>
                      <a:pt x="1918" y="100"/>
                    </a:lnTo>
                    <a:lnTo>
                      <a:pt x="1916" y="102"/>
                    </a:lnTo>
                    <a:lnTo>
                      <a:pt x="1916" y="102"/>
                    </a:lnTo>
                    <a:lnTo>
                      <a:pt x="1916" y="102"/>
                    </a:lnTo>
                    <a:lnTo>
                      <a:pt x="1914" y="104"/>
                    </a:lnTo>
                    <a:lnTo>
                      <a:pt x="1914" y="104"/>
                    </a:lnTo>
                    <a:lnTo>
                      <a:pt x="1914" y="104"/>
                    </a:lnTo>
                    <a:lnTo>
                      <a:pt x="1914" y="106"/>
                    </a:lnTo>
                    <a:lnTo>
                      <a:pt x="1914" y="108"/>
                    </a:lnTo>
                    <a:lnTo>
                      <a:pt x="1912" y="112"/>
                    </a:lnTo>
                    <a:lnTo>
                      <a:pt x="1912" y="114"/>
                    </a:lnTo>
                    <a:lnTo>
                      <a:pt x="1912" y="116"/>
                    </a:lnTo>
                    <a:lnTo>
                      <a:pt x="1912" y="118"/>
                    </a:lnTo>
                    <a:lnTo>
                      <a:pt x="1912" y="120"/>
                    </a:lnTo>
                    <a:lnTo>
                      <a:pt x="1912" y="120"/>
                    </a:lnTo>
                    <a:lnTo>
                      <a:pt x="1912" y="122"/>
                    </a:lnTo>
                    <a:lnTo>
                      <a:pt x="1912" y="122"/>
                    </a:lnTo>
                    <a:lnTo>
                      <a:pt x="1912" y="124"/>
                    </a:lnTo>
                    <a:lnTo>
                      <a:pt x="1912" y="124"/>
                    </a:lnTo>
                    <a:lnTo>
                      <a:pt x="1912" y="124"/>
                    </a:lnTo>
                    <a:lnTo>
                      <a:pt x="1912" y="124"/>
                    </a:lnTo>
                    <a:close/>
                    <a:moveTo>
                      <a:pt x="1880" y="222"/>
                    </a:moveTo>
                    <a:lnTo>
                      <a:pt x="1878" y="218"/>
                    </a:lnTo>
                    <a:lnTo>
                      <a:pt x="1878" y="216"/>
                    </a:lnTo>
                    <a:lnTo>
                      <a:pt x="1874" y="210"/>
                    </a:lnTo>
                    <a:lnTo>
                      <a:pt x="1872" y="206"/>
                    </a:lnTo>
                    <a:lnTo>
                      <a:pt x="1872" y="204"/>
                    </a:lnTo>
                    <a:lnTo>
                      <a:pt x="1870" y="202"/>
                    </a:lnTo>
                    <a:lnTo>
                      <a:pt x="1870" y="202"/>
                    </a:lnTo>
                    <a:lnTo>
                      <a:pt x="1870" y="202"/>
                    </a:lnTo>
                    <a:lnTo>
                      <a:pt x="1868" y="198"/>
                    </a:lnTo>
                    <a:lnTo>
                      <a:pt x="1866" y="196"/>
                    </a:lnTo>
                    <a:lnTo>
                      <a:pt x="1864" y="194"/>
                    </a:lnTo>
                    <a:lnTo>
                      <a:pt x="1862" y="192"/>
                    </a:lnTo>
                    <a:lnTo>
                      <a:pt x="1860" y="190"/>
                    </a:lnTo>
                    <a:lnTo>
                      <a:pt x="1858" y="190"/>
                    </a:lnTo>
                    <a:lnTo>
                      <a:pt x="1858" y="190"/>
                    </a:lnTo>
                    <a:lnTo>
                      <a:pt x="1856" y="188"/>
                    </a:lnTo>
                    <a:lnTo>
                      <a:pt x="1856" y="188"/>
                    </a:lnTo>
                    <a:lnTo>
                      <a:pt x="1856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2" y="188"/>
                    </a:lnTo>
                    <a:lnTo>
                      <a:pt x="1850" y="188"/>
                    </a:lnTo>
                    <a:lnTo>
                      <a:pt x="1846" y="190"/>
                    </a:lnTo>
                    <a:lnTo>
                      <a:pt x="1846" y="190"/>
                    </a:lnTo>
                    <a:lnTo>
                      <a:pt x="1844" y="190"/>
                    </a:lnTo>
                    <a:lnTo>
                      <a:pt x="1840" y="192"/>
                    </a:lnTo>
                    <a:lnTo>
                      <a:pt x="1840" y="192"/>
                    </a:lnTo>
                    <a:lnTo>
                      <a:pt x="1840" y="192"/>
                    </a:lnTo>
                    <a:lnTo>
                      <a:pt x="1838" y="192"/>
                    </a:lnTo>
                    <a:lnTo>
                      <a:pt x="1838" y="192"/>
                    </a:lnTo>
                    <a:lnTo>
                      <a:pt x="1838" y="194"/>
                    </a:lnTo>
                    <a:lnTo>
                      <a:pt x="1836" y="194"/>
                    </a:lnTo>
                    <a:lnTo>
                      <a:pt x="1836" y="194"/>
                    </a:lnTo>
                    <a:lnTo>
                      <a:pt x="1836" y="196"/>
                    </a:lnTo>
                    <a:lnTo>
                      <a:pt x="1834" y="198"/>
                    </a:lnTo>
                    <a:lnTo>
                      <a:pt x="1834" y="198"/>
                    </a:lnTo>
                    <a:lnTo>
                      <a:pt x="1834" y="198"/>
                    </a:lnTo>
                    <a:lnTo>
                      <a:pt x="1834" y="200"/>
                    </a:lnTo>
                    <a:lnTo>
                      <a:pt x="1834" y="200"/>
                    </a:lnTo>
                    <a:lnTo>
                      <a:pt x="1834" y="200"/>
                    </a:lnTo>
                    <a:lnTo>
                      <a:pt x="1834" y="206"/>
                    </a:lnTo>
                    <a:lnTo>
                      <a:pt x="1834" y="210"/>
                    </a:lnTo>
                    <a:lnTo>
                      <a:pt x="1834" y="212"/>
                    </a:lnTo>
                    <a:lnTo>
                      <a:pt x="1834" y="212"/>
                    </a:lnTo>
                    <a:lnTo>
                      <a:pt x="1832" y="212"/>
                    </a:lnTo>
                    <a:lnTo>
                      <a:pt x="1830" y="212"/>
                    </a:lnTo>
                    <a:lnTo>
                      <a:pt x="1826" y="214"/>
                    </a:lnTo>
                    <a:lnTo>
                      <a:pt x="1824" y="214"/>
                    </a:lnTo>
                    <a:lnTo>
                      <a:pt x="1822" y="214"/>
                    </a:lnTo>
                    <a:lnTo>
                      <a:pt x="1820" y="214"/>
                    </a:lnTo>
                    <a:lnTo>
                      <a:pt x="1820" y="214"/>
                    </a:lnTo>
                    <a:lnTo>
                      <a:pt x="1818" y="216"/>
                    </a:lnTo>
                    <a:lnTo>
                      <a:pt x="1818" y="216"/>
                    </a:lnTo>
                    <a:lnTo>
                      <a:pt x="1818" y="216"/>
                    </a:lnTo>
                    <a:lnTo>
                      <a:pt x="1818" y="218"/>
                    </a:lnTo>
                    <a:lnTo>
                      <a:pt x="1818" y="218"/>
                    </a:lnTo>
                    <a:lnTo>
                      <a:pt x="1820" y="220"/>
                    </a:lnTo>
                    <a:lnTo>
                      <a:pt x="1820" y="220"/>
                    </a:lnTo>
                    <a:lnTo>
                      <a:pt x="1820" y="220"/>
                    </a:lnTo>
                    <a:lnTo>
                      <a:pt x="1822" y="220"/>
                    </a:lnTo>
                    <a:lnTo>
                      <a:pt x="1824" y="220"/>
                    </a:lnTo>
                    <a:lnTo>
                      <a:pt x="1826" y="220"/>
                    </a:lnTo>
                    <a:lnTo>
                      <a:pt x="1828" y="220"/>
                    </a:lnTo>
                    <a:lnTo>
                      <a:pt x="1834" y="222"/>
                    </a:lnTo>
                    <a:lnTo>
                      <a:pt x="1836" y="222"/>
                    </a:lnTo>
                    <a:lnTo>
                      <a:pt x="1838" y="222"/>
                    </a:lnTo>
                    <a:lnTo>
                      <a:pt x="1840" y="224"/>
                    </a:lnTo>
                    <a:lnTo>
                      <a:pt x="1842" y="224"/>
                    </a:lnTo>
                    <a:lnTo>
                      <a:pt x="1844" y="228"/>
                    </a:lnTo>
                    <a:lnTo>
                      <a:pt x="1848" y="230"/>
                    </a:lnTo>
                    <a:lnTo>
                      <a:pt x="1848" y="230"/>
                    </a:lnTo>
                    <a:lnTo>
                      <a:pt x="1848" y="230"/>
                    </a:lnTo>
                    <a:lnTo>
                      <a:pt x="1850" y="232"/>
                    </a:lnTo>
                    <a:lnTo>
                      <a:pt x="1850" y="232"/>
                    </a:lnTo>
                    <a:lnTo>
                      <a:pt x="1852" y="232"/>
                    </a:lnTo>
                    <a:lnTo>
                      <a:pt x="1854" y="232"/>
                    </a:lnTo>
                    <a:lnTo>
                      <a:pt x="1854" y="232"/>
                    </a:lnTo>
                    <a:lnTo>
                      <a:pt x="1854" y="232"/>
                    </a:lnTo>
                    <a:lnTo>
                      <a:pt x="1856" y="234"/>
                    </a:lnTo>
                    <a:lnTo>
                      <a:pt x="1860" y="234"/>
                    </a:lnTo>
                    <a:lnTo>
                      <a:pt x="1868" y="234"/>
                    </a:lnTo>
                    <a:lnTo>
                      <a:pt x="1872" y="232"/>
                    </a:lnTo>
                    <a:lnTo>
                      <a:pt x="1874" y="232"/>
                    </a:lnTo>
                    <a:lnTo>
                      <a:pt x="1874" y="232"/>
                    </a:lnTo>
                    <a:lnTo>
                      <a:pt x="1876" y="232"/>
                    </a:lnTo>
                    <a:lnTo>
                      <a:pt x="1878" y="232"/>
                    </a:lnTo>
                    <a:lnTo>
                      <a:pt x="1878" y="232"/>
                    </a:lnTo>
                    <a:lnTo>
                      <a:pt x="1878" y="230"/>
                    </a:lnTo>
                    <a:lnTo>
                      <a:pt x="1880" y="230"/>
                    </a:lnTo>
                    <a:lnTo>
                      <a:pt x="1880" y="230"/>
                    </a:lnTo>
                    <a:lnTo>
                      <a:pt x="1880" y="228"/>
                    </a:lnTo>
                    <a:lnTo>
                      <a:pt x="1880" y="226"/>
                    </a:lnTo>
                    <a:lnTo>
                      <a:pt x="1880" y="226"/>
                    </a:lnTo>
                    <a:lnTo>
                      <a:pt x="1880" y="224"/>
                    </a:lnTo>
                    <a:lnTo>
                      <a:pt x="1880" y="222"/>
                    </a:lnTo>
                    <a:lnTo>
                      <a:pt x="1880" y="222"/>
                    </a:lnTo>
                    <a:lnTo>
                      <a:pt x="1880" y="222"/>
                    </a:lnTo>
                    <a:lnTo>
                      <a:pt x="1880" y="222"/>
                    </a:lnTo>
                    <a:close/>
                    <a:moveTo>
                      <a:pt x="2236" y="868"/>
                    </a:moveTo>
                    <a:lnTo>
                      <a:pt x="2236" y="868"/>
                    </a:lnTo>
                    <a:lnTo>
                      <a:pt x="2236" y="868"/>
                    </a:lnTo>
                    <a:lnTo>
                      <a:pt x="2234" y="866"/>
                    </a:lnTo>
                    <a:lnTo>
                      <a:pt x="2234" y="866"/>
                    </a:lnTo>
                    <a:lnTo>
                      <a:pt x="2232" y="864"/>
                    </a:lnTo>
                    <a:lnTo>
                      <a:pt x="2228" y="862"/>
                    </a:lnTo>
                    <a:lnTo>
                      <a:pt x="2226" y="860"/>
                    </a:lnTo>
                    <a:lnTo>
                      <a:pt x="2222" y="860"/>
                    </a:lnTo>
                    <a:lnTo>
                      <a:pt x="2218" y="858"/>
                    </a:lnTo>
                    <a:lnTo>
                      <a:pt x="2214" y="856"/>
                    </a:lnTo>
                    <a:lnTo>
                      <a:pt x="2208" y="856"/>
                    </a:lnTo>
                    <a:lnTo>
                      <a:pt x="2208" y="856"/>
                    </a:lnTo>
                    <a:lnTo>
                      <a:pt x="2206" y="856"/>
                    </a:lnTo>
                    <a:lnTo>
                      <a:pt x="2206" y="856"/>
                    </a:lnTo>
                    <a:lnTo>
                      <a:pt x="2204" y="858"/>
                    </a:lnTo>
                    <a:lnTo>
                      <a:pt x="2204" y="862"/>
                    </a:lnTo>
                    <a:lnTo>
                      <a:pt x="2204" y="864"/>
                    </a:lnTo>
                    <a:lnTo>
                      <a:pt x="2204" y="868"/>
                    </a:lnTo>
                    <a:lnTo>
                      <a:pt x="2204" y="870"/>
                    </a:lnTo>
                    <a:lnTo>
                      <a:pt x="2204" y="872"/>
                    </a:lnTo>
                    <a:lnTo>
                      <a:pt x="2204" y="874"/>
                    </a:lnTo>
                    <a:lnTo>
                      <a:pt x="2204" y="874"/>
                    </a:lnTo>
                    <a:lnTo>
                      <a:pt x="2204" y="876"/>
                    </a:lnTo>
                    <a:lnTo>
                      <a:pt x="2206" y="878"/>
                    </a:lnTo>
                    <a:lnTo>
                      <a:pt x="2206" y="878"/>
                    </a:lnTo>
                    <a:lnTo>
                      <a:pt x="2206" y="878"/>
                    </a:lnTo>
                    <a:lnTo>
                      <a:pt x="2206" y="880"/>
                    </a:lnTo>
                    <a:lnTo>
                      <a:pt x="2208" y="880"/>
                    </a:lnTo>
                    <a:lnTo>
                      <a:pt x="2210" y="882"/>
                    </a:lnTo>
                    <a:lnTo>
                      <a:pt x="2212" y="884"/>
                    </a:lnTo>
                    <a:lnTo>
                      <a:pt x="2212" y="888"/>
                    </a:lnTo>
                    <a:lnTo>
                      <a:pt x="2216" y="892"/>
                    </a:lnTo>
                    <a:lnTo>
                      <a:pt x="2216" y="892"/>
                    </a:lnTo>
                    <a:lnTo>
                      <a:pt x="2218" y="892"/>
                    </a:lnTo>
                    <a:lnTo>
                      <a:pt x="2218" y="892"/>
                    </a:lnTo>
                    <a:lnTo>
                      <a:pt x="2220" y="892"/>
                    </a:lnTo>
                    <a:lnTo>
                      <a:pt x="2224" y="888"/>
                    </a:lnTo>
                    <a:lnTo>
                      <a:pt x="2228" y="886"/>
                    </a:lnTo>
                    <a:lnTo>
                      <a:pt x="2232" y="882"/>
                    </a:lnTo>
                    <a:lnTo>
                      <a:pt x="2234" y="880"/>
                    </a:lnTo>
                    <a:lnTo>
                      <a:pt x="2234" y="880"/>
                    </a:lnTo>
                    <a:lnTo>
                      <a:pt x="2236" y="878"/>
                    </a:lnTo>
                    <a:lnTo>
                      <a:pt x="2236" y="878"/>
                    </a:lnTo>
                    <a:lnTo>
                      <a:pt x="2236" y="876"/>
                    </a:lnTo>
                    <a:lnTo>
                      <a:pt x="2236" y="874"/>
                    </a:lnTo>
                    <a:lnTo>
                      <a:pt x="2236" y="874"/>
                    </a:lnTo>
                    <a:lnTo>
                      <a:pt x="2236" y="874"/>
                    </a:lnTo>
                    <a:lnTo>
                      <a:pt x="2236" y="872"/>
                    </a:lnTo>
                    <a:lnTo>
                      <a:pt x="2236" y="872"/>
                    </a:lnTo>
                    <a:lnTo>
                      <a:pt x="2236" y="870"/>
                    </a:lnTo>
                    <a:lnTo>
                      <a:pt x="2236" y="86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3" name="Freeform 171">
                <a:extLst>
                  <a:ext uri="{FF2B5EF4-FFF2-40B4-BE49-F238E27FC236}">
                    <a16:creationId xmlns:a16="http://schemas.microsoft.com/office/drawing/2014/main" id="{9167574D-18E3-4D66-9C05-749C35F0D4D6}"/>
                  </a:ext>
                </a:extLst>
              </p:cNvPr>
              <p:cNvSpPr>
                <a:spLocks/>
              </p:cNvSpPr>
              <p:nvPr>
                <p:custDataLst>
                  <p:tags r:id="rId202"/>
                </p:custDataLst>
              </p:nvPr>
            </p:nvSpPr>
            <p:spPr bwMode="gray">
              <a:xfrm>
                <a:off x="4225133" y="2794794"/>
                <a:ext cx="330050" cy="323637"/>
              </a:xfrm>
              <a:custGeom>
                <a:avLst/>
                <a:gdLst/>
                <a:ahLst/>
                <a:cxnLst/>
                <a:rect l="l" t="t" r="r" b="b"/>
                <a:pathLst>
                  <a:path w="330050" h="323637">
                    <a:moveTo>
                      <a:pt x="318742" y="280797"/>
                    </a:moveTo>
                    <a:cubicBezTo>
                      <a:pt x="322512" y="280018"/>
                      <a:pt x="327275" y="280404"/>
                      <a:pt x="328069" y="281954"/>
                    </a:cubicBezTo>
                    <a:cubicBezTo>
                      <a:pt x="331241" y="292853"/>
                      <a:pt x="329653" y="303747"/>
                      <a:pt x="329653" y="314646"/>
                    </a:cubicBezTo>
                    <a:cubicBezTo>
                      <a:pt x="325154" y="323205"/>
                      <a:pt x="310605" y="326083"/>
                      <a:pt x="308223" y="321408"/>
                    </a:cubicBezTo>
                    <a:cubicBezTo>
                      <a:pt x="330450" y="318299"/>
                      <a:pt x="312195" y="305301"/>
                      <a:pt x="315368" y="286629"/>
                    </a:cubicBezTo>
                    <a:cubicBezTo>
                      <a:pt x="312194" y="283520"/>
                      <a:pt x="314972" y="281576"/>
                      <a:pt x="318742" y="280797"/>
                    </a:cubicBezTo>
                    <a:close/>
                    <a:moveTo>
                      <a:pt x="177056" y="323"/>
                    </a:moveTo>
                    <a:cubicBezTo>
                      <a:pt x="181620" y="-260"/>
                      <a:pt x="185986" y="-260"/>
                      <a:pt x="189954" y="2071"/>
                    </a:cubicBezTo>
                    <a:cubicBezTo>
                      <a:pt x="205829" y="12950"/>
                      <a:pt x="232817" y="44031"/>
                      <a:pt x="243929" y="61126"/>
                    </a:cubicBezTo>
                    <a:cubicBezTo>
                      <a:pt x="264567" y="73559"/>
                      <a:pt x="293142" y="61126"/>
                      <a:pt x="296317" y="81329"/>
                    </a:cubicBezTo>
                    <a:cubicBezTo>
                      <a:pt x="302667" y="89100"/>
                      <a:pt x="283617" y="98424"/>
                      <a:pt x="282029" y="104640"/>
                    </a:cubicBezTo>
                    <a:cubicBezTo>
                      <a:pt x="280442" y="110857"/>
                      <a:pt x="291554" y="112411"/>
                      <a:pt x="285204" y="123289"/>
                    </a:cubicBezTo>
                    <a:cubicBezTo>
                      <a:pt x="270917" y="127952"/>
                      <a:pt x="239167" y="143492"/>
                      <a:pt x="253454" y="160587"/>
                    </a:cubicBezTo>
                    <a:cubicBezTo>
                      <a:pt x="283617" y="177682"/>
                      <a:pt x="275679" y="168358"/>
                      <a:pt x="277267" y="219642"/>
                    </a:cubicBezTo>
                    <a:cubicBezTo>
                      <a:pt x="302667" y="267819"/>
                      <a:pt x="261392" y="256940"/>
                      <a:pt x="215354" y="258494"/>
                    </a:cubicBezTo>
                    <a:cubicBezTo>
                      <a:pt x="199479" y="256940"/>
                      <a:pt x="193129" y="252278"/>
                      <a:pt x="189954" y="267819"/>
                    </a:cubicBezTo>
                    <a:cubicBezTo>
                      <a:pt x="186779" y="275589"/>
                      <a:pt x="182017" y="281806"/>
                      <a:pt x="177254" y="289576"/>
                    </a:cubicBezTo>
                    <a:cubicBezTo>
                      <a:pt x="172492" y="292684"/>
                      <a:pt x="162967" y="289576"/>
                      <a:pt x="158204" y="286468"/>
                    </a:cubicBezTo>
                    <a:cubicBezTo>
                      <a:pt x="153442" y="283360"/>
                      <a:pt x="156617" y="275589"/>
                      <a:pt x="143917" y="272481"/>
                    </a:cubicBezTo>
                    <a:cubicBezTo>
                      <a:pt x="112167" y="270927"/>
                      <a:pt x="105817" y="274035"/>
                      <a:pt x="85179" y="258494"/>
                    </a:cubicBezTo>
                    <a:cubicBezTo>
                      <a:pt x="66129" y="255386"/>
                      <a:pt x="77242" y="230521"/>
                      <a:pt x="77242" y="214980"/>
                    </a:cubicBezTo>
                    <a:cubicBezTo>
                      <a:pt x="86767" y="210318"/>
                      <a:pt x="89942" y="208764"/>
                      <a:pt x="91529" y="197885"/>
                    </a:cubicBezTo>
                    <a:cubicBezTo>
                      <a:pt x="85179" y="188561"/>
                      <a:pt x="77242" y="183898"/>
                      <a:pt x="72479" y="173020"/>
                    </a:cubicBezTo>
                    <a:cubicBezTo>
                      <a:pt x="64542" y="155925"/>
                      <a:pt x="72479" y="138830"/>
                      <a:pt x="56604" y="127952"/>
                    </a:cubicBezTo>
                    <a:cubicBezTo>
                      <a:pt x="45492" y="126397"/>
                      <a:pt x="32792" y="123289"/>
                      <a:pt x="23267" y="117073"/>
                    </a:cubicBezTo>
                    <a:cubicBezTo>
                      <a:pt x="1042" y="112411"/>
                      <a:pt x="-2133" y="107748"/>
                      <a:pt x="1042" y="84437"/>
                    </a:cubicBezTo>
                    <a:cubicBezTo>
                      <a:pt x="31204" y="79775"/>
                      <a:pt x="28029" y="76667"/>
                      <a:pt x="48667" y="90654"/>
                    </a:cubicBezTo>
                    <a:cubicBezTo>
                      <a:pt x="61367" y="87545"/>
                      <a:pt x="70892" y="87545"/>
                      <a:pt x="75654" y="75113"/>
                    </a:cubicBezTo>
                    <a:cubicBezTo>
                      <a:pt x="70892" y="67342"/>
                      <a:pt x="66129" y="62680"/>
                      <a:pt x="56604" y="58018"/>
                    </a:cubicBezTo>
                    <a:cubicBezTo>
                      <a:pt x="45492" y="56464"/>
                      <a:pt x="43507" y="54133"/>
                      <a:pt x="45492" y="51413"/>
                    </a:cubicBezTo>
                    <a:lnTo>
                      <a:pt x="58192" y="42477"/>
                    </a:lnTo>
                    <a:cubicBezTo>
                      <a:pt x="69304" y="48693"/>
                      <a:pt x="75654" y="56464"/>
                      <a:pt x="85179" y="62680"/>
                    </a:cubicBezTo>
                    <a:cubicBezTo>
                      <a:pt x="148679" y="67342"/>
                      <a:pt x="110579" y="72005"/>
                      <a:pt x="129629" y="47139"/>
                    </a:cubicBezTo>
                    <a:cubicBezTo>
                      <a:pt x="155029" y="33153"/>
                      <a:pt x="132804" y="8287"/>
                      <a:pt x="162967" y="2071"/>
                    </a:cubicBezTo>
                    <a:cubicBezTo>
                      <a:pt x="167729" y="2071"/>
                      <a:pt x="172492" y="906"/>
                      <a:pt x="177056" y="323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4" name="Freeform 172">
                <a:extLst>
                  <a:ext uri="{FF2B5EF4-FFF2-40B4-BE49-F238E27FC236}">
                    <a16:creationId xmlns:a16="http://schemas.microsoft.com/office/drawing/2014/main" id="{ECB92851-9BCD-4F31-9A35-4C66597D4C19}"/>
                  </a:ext>
                </a:extLst>
              </p:cNvPr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gray">
              <a:xfrm>
                <a:off x="4501784" y="2948030"/>
                <a:ext cx="278077" cy="311019"/>
              </a:xfrm>
              <a:custGeom>
                <a:avLst/>
                <a:gdLst/>
                <a:ahLst/>
                <a:cxnLst/>
                <a:rect l="l" t="t" r="r" b="b"/>
                <a:pathLst>
                  <a:path w="278077" h="311019">
                    <a:moveTo>
                      <a:pt x="42763" y="185722"/>
                    </a:moveTo>
                    <a:cubicBezTo>
                      <a:pt x="50272" y="185101"/>
                      <a:pt x="58295" y="185679"/>
                      <a:pt x="61734" y="188662"/>
                    </a:cubicBezTo>
                    <a:cubicBezTo>
                      <a:pt x="68612" y="194629"/>
                      <a:pt x="66025" y="217687"/>
                      <a:pt x="68150" y="225777"/>
                    </a:cubicBezTo>
                    <a:cubicBezTo>
                      <a:pt x="61802" y="233553"/>
                      <a:pt x="58626" y="239786"/>
                      <a:pt x="55450" y="249118"/>
                    </a:cubicBezTo>
                    <a:cubicBezTo>
                      <a:pt x="48441" y="248550"/>
                      <a:pt x="30843" y="232229"/>
                      <a:pt x="26081" y="222364"/>
                    </a:cubicBezTo>
                    <a:cubicBezTo>
                      <a:pt x="21323" y="212524"/>
                      <a:pt x="21980" y="198485"/>
                      <a:pt x="26874" y="189981"/>
                    </a:cubicBezTo>
                    <a:cubicBezTo>
                      <a:pt x="28258" y="188165"/>
                      <a:pt x="35254" y="186344"/>
                      <a:pt x="42763" y="185722"/>
                    </a:cubicBezTo>
                    <a:close/>
                    <a:moveTo>
                      <a:pt x="34737" y="93844"/>
                    </a:moveTo>
                    <a:lnTo>
                      <a:pt x="12511" y="103195"/>
                    </a:lnTo>
                    <a:lnTo>
                      <a:pt x="22869" y="96731"/>
                    </a:lnTo>
                    <a:cubicBezTo>
                      <a:pt x="27546" y="96686"/>
                      <a:pt x="32592" y="93844"/>
                      <a:pt x="34737" y="93844"/>
                    </a:cubicBezTo>
                    <a:close/>
                    <a:moveTo>
                      <a:pt x="104795" y="94"/>
                    </a:moveTo>
                    <a:cubicBezTo>
                      <a:pt x="113330" y="-297"/>
                      <a:pt x="121268" y="477"/>
                      <a:pt x="126817" y="3589"/>
                    </a:cubicBezTo>
                    <a:cubicBezTo>
                      <a:pt x="145868" y="6716"/>
                      <a:pt x="149043" y="26934"/>
                      <a:pt x="141120" y="42509"/>
                    </a:cubicBezTo>
                    <a:cubicBezTo>
                      <a:pt x="118893" y="50280"/>
                      <a:pt x="125244" y="51828"/>
                      <a:pt x="122069" y="79850"/>
                    </a:cubicBezTo>
                    <a:lnTo>
                      <a:pt x="141120" y="107871"/>
                    </a:lnTo>
                    <a:cubicBezTo>
                      <a:pt x="153820" y="115642"/>
                      <a:pt x="161744" y="128089"/>
                      <a:pt x="168094" y="140536"/>
                    </a:cubicBezTo>
                    <a:cubicBezTo>
                      <a:pt x="176046" y="145212"/>
                      <a:pt x="179222" y="151435"/>
                      <a:pt x="183970" y="159207"/>
                    </a:cubicBezTo>
                    <a:cubicBezTo>
                      <a:pt x="183970" y="159207"/>
                      <a:pt x="203021" y="160755"/>
                      <a:pt x="212547" y="163882"/>
                    </a:cubicBezTo>
                    <a:cubicBezTo>
                      <a:pt x="217324" y="165430"/>
                      <a:pt x="217324" y="173233"/>
                      <a:pt x="222072" y="176329"/>
                    </a:cubicBezTo>
                    <a:cubicBezTo>
                      <a:pt x="234773" y="179457"/>
                      <a:pt x="249075" y="188776"/>
                      <a:pt x="255426" y="199675"/>
                    </a:cubicBezTo>
                    <a:cubicBezTo>
                      <a:pt x="255426" y="199675"/>
                      <a:pt x="274477" y="207446"/>
                      <a:pt x="277652" y="215249"/>
                    </a:cubicBezTo>
                    <a:cubicBezTo>
                      <a:pt x="279225" y="218345"/>
                      <a:pt x="276050" y="219893"/>
                      <a:pt x="274477" y="223021"/>
                    </a:cubicBezTo>
                    <a:cubicBezTo>
                      <a:pt x="256999" y="226117"/>
                      <a:pt x="255426" y="227696"/>
                      <a:pt x="250649" y="209026"/>
                    </a:cubicBezTo>
                    <a:cubicBezTo>
                      <a:pt x="241123" y="204350"/>
                      <a:pt x="236375" y="207446"/>
                      <a:pt x="234773" y="218345"/>
                    </a:cubicBezTo>
                    <a:cubicBezTo>
                      <a:pt x="230024" y="229244"/>
                      <a:pt x="237948" y="230792"/>
                      <a:pt x="244298" y="238564"/>
                    </a:cubicBezTo>
                    <a:cubicBezTo>
                      <a:pt x="239550" y="246367"/>
                      <a:pt x="234773" y="252590"/>
                      <a:pt x="230024" y="260362"/>
                    </a:cubicBezTo>
                    <a:cubicBezTo>
                      <a:pt x="206196" y="274356"/>
                      <a:pt x="214148" y="286835"/>
                      <a:pt x="203021" y="308601"/>
                    </a:cubicBezTo>
                    <a:cubicBezTo>
                      <a:pt x="183970" y="311729"/>
                      <a:pt x="182397" y="313277"/>
                      <a:pt x="168094" y="303926"/>
                    </a:cubicBezTo>
                    <a:cubicBezTo>
                      <a:pt x="158569" y="302378"/>
                      <a:pt x="152219" y="299282"/>
                      <a:pt x="144295" y="294606"/>
                    </a:cubicBezTo>
                    <a:cubicBezTo>
                      <a:pt x="129992" y="291479"/>
                      <a:pt x="129992" y="291479"/>
                      <a:pt x="126817" y="275936"/>
                    </a:cubicBezTo>
                    <a:cubicBezTo>
                      <a:pt x="180795" y="271260"/>
                      <a:pt x="209372" y="289931"/>
                      <a:pt x="212547" y="237016"/>
                    </a:cubicBezTo>
                    <a:cubicBezTo>
                      <a:pt x="210973" y="227696"/>
                      <a:pt x="206196" y="223021"/>
                      <a:pt x="201448" y="215249"/>
                    </a:cubicBezTo>
                    <a:cubicBezTo>
                      <a:pt x="190321" y="213670"/>
                      <a:pt x="193496" y="209026"/>
                      <a:pt x="187145" y="199675"/>
                    </a:cubicBezTo>
                    <a:cubicBezTo>
                      <a:pt x="176046" y="193451"/>
                      <a:pt x="174445" y="182552"/>
                      <a:pt x="163346" y="177877"/>
                    </a:cubicBezTo>
                    <a:cubicBezTo>
                      <a:pt x="147470" y="174781"/>
                      <a:pt x="123642" y="159207"/>
                      <a:pt x="117292" y="145212"/>
                    </a:cubicBezTo>
                    <a:cubicBezTo>
                      <a:pt x="107766" y="137409"/>
                      <a:pt x="106193" y="128089"/>
                      <a:pt x="96667" y="121866"/>
                    </a:cubicBezTo>
                    <a:cubicBezTo>
                      <a:pt x="82365" y="118738"/>
                      <a:pt x="83967" y="112515"/>
                      <a:pt x="82365" y="98520"/>
                    </a:cubicBezTo>
                    <a:cubicBezTo>
                      <a:pt x="76015" y="84525"/>
                      <a:pt x="56964" y="89169"/>
                      <a:pt x="44263" y="87621"/>
                    </a:cubicBezTo>
                    <a:cubicBezTo>
                      <a:pt x="35798" y="88653"/>
                      <a:pt x="29454" y="92463"/>
                      <a:pt x="22869" y="96731"/>
                    </a:cubicBezTo>
                    <a:lnTo>
                      <a:pt x="17288" y="96972"/>
                    </a:lnTo>
                    <a:cubicBezTo>
                      <a:pt x="12511" y="93844"/>
                      <a:pt x="4587" y="82946"/>
                      <a:pt x="1412" y="75174"/>
                    </a:cubicBezTo>
                    <a:cubicBezTo>
                      <a:pt x="-1763" y="67403"/>
                      <a:pt x="1412" y="58052"/>
                      <a:pt x="1412" y="50280"/>
                    </a:cubicBezTo>
                    <a:cubicBezTo>
                      <a:pt x="2986" y="42509"/>
                      <a:pt x="6161" y="36285"/>
                      <a:pt x="7763" y="28482"/>
                    </a:cubicBezTo>
                    <a:cubicBezTo>
                      <a:pt x="17288" y="26934"/>
                      <a:pt x="26814" y="28482"/>
                      <a:pt x="34737" y="22259"/>
                    </a:cubicBezTo>
                    <a:cubicBezTo>
                      <a:pt x="45865" y="17583"/>
                      <a:pt x="63314" y="6716"/>
                      <a:pt x="79190" y="3589"/>
                    </a:cubicBezTo>
                    <a:cubicBezTo>
                      <a:pt x="87128" y="2041"/>
                      <a:pt x="96260" y="485"/>
                      <a:pt x="104795" y="94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425" name="Freeform 56">
                <a:extLst>
                  <a:ext uri="{FF2B5EF4-FFF2-40B4-BE49-F238E27FC236}">
                    <a16:creationId xmlns:a16="http://schemas.microsoft.com/office/drawing/2014/main" id="{AE62467E-0F88-43C7-B79E-227D56A61F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2575" y="4060826"/>
                <a:ext cx="1114425" cy="400050"/>
              </a:xfrm>
              <a:custGeom>
                <a:avLst/>
                <a:gdLst>
                  <a:gd name="T0" fmla="*/ 628 w 702"/>
                  <a:gd name="T1" fmla="*/ 114 h 252"/>
                  <a:gd name="T2" fmla="*/ 576 w 702"/>
                  <a:gd name="T3" fmla="*/ 84 h 252"/>
                  <a:gd name="T4" fmla="*/ 542 w 702"/>
                  <a:gd name="T5" fmla="*/ 106 h 252"/>
                  <a:gd name="T6" fmla="*/ 564 w 702"/>
                  <a:gd name="T7" fmla="*/ 122 h 252"/>
                  <a:gd name="T8" fmla="*/ 574 w 702"/>
                  <a:gd name="T9" fmla="*/ 146 h 252"/>
                  <a:gd name="T10" fmla="*/ 646 w 702"/>
                  <a:gd name="T11" fmla="*/ 212 h 252"/>
                  <a:gd name="T12" fmla="*/ 702 w 702"/>
                  <a:gd name="T13" fmla="*/ 218 h 252"/>
                  <a:gd name="T14" fmla="*/ 32 w 702"/>
                  <a:gd name="T15" fmla="*/ 56 h 252"/>
                  <a:gd name="T16" fmla="*/ 50 w 702"/>
                  <a:gd name="T17" fmla="*/ 80 h 252"/>
                  <a:gd name="T18" fmla="*/ 50 w 702"/>
                  <a:gd name="T19" fmla="*/ 100 h 252"/>
                  <a:gd name="T20" fmla="*/ 74 w 702"/>
                  <a:gd name="T21" fmla="*/ 96 h 252"/>
                  <a:gd name="T22" fmla="*/ 530 w 702"/>
                  <a:gd name="T23" fmla="*/ 222 h 252"/>
                  <a:gd name="T24" fmla="*/ 556 w 702"/>
                  <a:gd name="T25" fmla="*/ 200 h 252"/>
                  <a:gd name="T26" fmla="*/ 274 w 702"/>
                  <a:gd name="T27" fmla="*/ 198 h 252"/>
                  <a:gd name="T28" fmla="*/ 232 w 702"/>
                  <a:gd name="T29" fmla="*/ 182 h 252"/>
                  <a:gd name="T30" fmla="*/ 170 w 702"/>
                  <a:gd name="T31" fmla="*/ 168 h 252"/>
                  <a:gd name="T32" fmla="*/ 196 w 702"/>
                  <a:gd name="T33" fmla="*/ 204 h 252"/>
                  <a:gd name="T34" fmla="*/ 296 w 702"/>
                  <a:gd name="T35" fmla="*/ 208 h 252"/>
                  <a:gd name="T36" fmla="*/ 612 w 702"/>
                  <a:gd name="T37" fmla="*/ 172 h 252"/>
                  <a:gd name="T38" fmla="*/ 206 w 702"/>
                  <a:gd name="T39" fmla="*/ 144 h 252"/>
                  <a:gd name="T40" fmla="*/ 188 w 702"/>
                  <a:gd name="T41" fmla="*/ 122 h 252"/>
                  <a:gd name="T42" fmla="*/ 382 w 702"/>
                  <a:gd name="T43" fmla="*/ 228 h 252"/>
                  <a:gd name="T44" fmla="*/ 388 w 702"/>
                  <a:gd name="T45" fmla="*/ 252 h 252"/>
                  <a:gd name="T46" fmla="*/ 458 w 702"/>
                  <a:gd name="T47" fmla="*/ 208 h 252"/>
                  <a:gd name="T48" fmla="*/ 450 w 702"/>
                  <a:gd name="T49" fmla="*/ 244 h 252"/>
                  <a:gd name="T50" fmla="*/ 224 w 702"/>
                  <a:gd name="T51" fmla="*/ 106 h 252"/>
                  <a:gd name="T52" fmla="*/ 254 w 702"/>
                  <a:gd name="T53" fmla="*/ 138 h 252"/>
                  <a:gd name="T54" fmla="*/ 326 w 702"/>
                  <a:gd name="T55" fmla="*/ 136 h 252"/>
                  <a:gd name="T56" fmla="*/ 352 w 702"/>
                  <a:gd name="T57" fmla="*/ 80 h 252"/>
                  <a:gd name="T58" fmla="*/ 352 w 702"/>
                  <a:gd name="T59" fmla="*/ 54 h 252"/>
                  <a:gd name="T60" fmla="*/ 350 w 702"/>
                  <a:gd name="T61" fmla="*/ 20 h 252"/>
                  <a:gd name="T62" fmla="*/ 262 w 702"/>
                  <a:gd name="T63" fmla="*/ 56 h 252"/>
                  <a:gd name="T64" fmla="*/ 204 w 702"/>
                  <a:gd name="T65" fmla="*/ 66 h 252"/>
                  <a:gd name="T66" fmla="*/ 172 w 702"/>
                  <a:gd name="T67" fmla="*/ 134 h 252"/>
                  <a:gd name="T68" fmla="*/ 182 w 702"/>
                  <a:gd name="T69" fmla="*/ 124 h 252"/>
                  <a:gd name="T70" fmla="*/ 152 w 702"/>
                  <a:gd name="T71" fmla="*/ 114 h 252"/>
                  <a:gd name="T72" fmla="*/ 124 w 702"/>
                  <a:gd name="T73" fmla="*/ 76 h 252"/>
                  <a:gd name="T74" fmla="*/ 34 w 702"/>
                  <a:gd name="T75" fmla="*/ 8 h 252"/>
                  <a:gd name="T76" fmla="*/ 2 w 702"/>
                  <a:gd name="T77" fmla="*/ 14 h 252"/>
                  <a:gd name="T78" fmla="*/ 60 w 702"/>
                  <a:gd name="T79" fmla="*/ 80 h 252"/>
                  <a:gd name="T80" fmla="*/ 158 w 702"/>
                  <a:gd name="T81" fmla="*/ 174 h 252"/>
                  <a:gd name="T82" fmla="*/ 324 w 702"/>
                  <a:gd name="T83" fmla="*/ 208 h 252"/>
                  <a:gd name="T84" fmla="*/ 334 w 702"/>
                  <a:gd name="T85" fmla="*/ 232 h 252"/>
                  <a:gd name="T86" fmla="*/ 442 w 702"/>
                  <a:gd name="T87" fmla="*/ 210 h 252"/>
                  <a:gd name="T88" fmla="*/ 368 w 702"/>
                  <a:gd name="T89" fmla="*/ 138 h 252"/>
                  <a:gd name="T90" fmla="*/ 382 w 702"/>
                  <a:gd name="T91" fmla="*/ 164 h 252"/>
                  <a:gd name="T92" fmla="*/ 388 w 702"/>
                  <a:gd name="T93" fmla="*/ 138 h 252"/>
                  <a:gd name="T94" fmla="*/ 416 w 702"/>
                  <a:gd name="T95" fmla="*/ 172 h 252"/>
                  <a:gd name="T96" fmla="*/ 430 w 702"/>
                  <a:gd name="T97" fmla="*/ 154 h 252"/>
                  <a:gd name="T98" fmla="*/ 404 w 702"/>
                  <a:gd name="T99" fmla="*/ 116 h 252"/>
                  <a:gd name="T100" fmla="*/ 426 w 702"/>
                  <a:gd name="T101" fmla="*/ 96 h 252"/>
                  <a:gd name="T102" fmla="*/ 390 w 702"/>
                  <a:gd name="T103" fmla="*/ 82 h 252"/>
                  <a:gd name="T104" fmla="*/ 454 w 702"/>
                  <a:gd name="T105" fmla="*/ 56 h 252"/>
                  <a:gd name="T106" fmla="*/ 386 w 702"/>
                  <a:gd name="T107" fmla="*/ 76 h 252"/>
                  <a:gd name="T108" fmla="*/ 494 w 702"/>
                  <a:gd name="T109" fmla="*/ 90 h 252"/>
                  <a:gd name="T110" fmla="*/ 508 w 702"/>
                  <a:gd name="T111" fmla="*/ 98 h 252"/>
                  <a:gd name="T112" fmla="*/ 508 w 702"/>
                  <a:gd name="T113" fmla="*/ 58 h 252"/>
                  <a:gd name="T114" fmla="*/ 496 w 702"/>
                  <a:gd name="T115" fmla="*/ 48 h 252"/>
                  <a:gd name="T116" fmla="*/ 494 w 702"/>
                  <a:gd name="T117" fmla="*/ 90 h 252"/>
                  <a:gd name="T118" fmla="*/ 488 w 702"/>
                  <a:gd name="T119" fmla="*/ 156 h 252"/>
                  <a:gd name="T120" fmla="*/ 544 w 702"/>
                  <a:gd name="T121" fmla="*/ 146 h 252"/>
                  <a:gd name="T122" fmla="*/ 528 w 702"/>
                  <a:gd name="T123" fmla="*/ 122 h 252"/>
                  <a:gd name="T124" fmla="*/ 544 w 702"/>
                  <a:gd name="T125" fmla="*/ 146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" h="252">
                    <a:moveTo>
                      <a:pt x="700" y="124"/>
                    </a:moveTo>
                    <a:lnTo>
                      <a:pt x="698" y="124"/>
                    </a:lnTo>
                    <a:lnTo>
                      <a:pt x="700" y="122"/>
                    </a:lnTo>
                    <a:lnTo>
                      <a:pt x="650" y="104"/>
                    </a:lnTo>
                    <a:lnTo>
                      <a:pt x="650" y="104"/>
                    </a:lnTo>
                    <a:lnTo>
                      <a:pt x="648" y="104"/>
                    </a:lnTo>
                    <a:lnTo>
                      <a:pt x="628" y="114"/>
                    </a:lnTo>
                    <a:lnTo>
                      <a:pt x="628" y="114"/>
                    </a:lnTo>
                    <a:lnTo>
                      <a:pt x="628" y="114"/>
                    </a:lnTo>
                    <a:lnTo>
                      <a:pt x="612" y="130"/>
                    </a:lnTo>
                    <a:lnTo>
                      <a:pt x="594" y="114"/>
                    </a:lnTo>
                    <a:lnTo>
                      <a:pt x="594" y="98"/>
                    </a:lnTo>
                    <a:lnTo>
                      <a:pt x="594" y="98"/>
                    </a:lnTo>
                    <a:lnTo>
                      <a:pt x="594" y="96"/>
                    </a:lnTo>
                    <a:lnTo>
                      <a:pt x="576" y="84"/>
                    </a:lnTo>
                    <a:lnTo>
                      <a:pt x="576" y="84"/>
                    </a:lnTo>
                    <a:lnTo>
                      <a:pt x="574" y="84"/>
                    </a:lnTo>
                    <a:lnTo>
                      <a:pt x="564" y="84"/>
                    </a:lnTo>
                    <a:lnTo>
                      <a:pt x="564" y="84"/>
                    </a:lnTo>
                    <a:lnTo>
                      <a:pt x="562" y="86"/>
                    </a:lnTo>
                    <a:lnTo>
                      <a:pt x="542" y="104"/>
                    </a:lnTo>
                    <a:lnTo>
                      <a:pt x="542" y="104"/>
                    </a:lnTo>
                    <a:lnTo>
                      <a:pt x="542" y="106"/>
                    </a:lnTo>
                    <a:lnTo>
                      <a:pt x="542" y="106"/>
                    </a:lnTo>
                    <a:lnTo>
                      <a:pt x="544" y="108"/>
                    </a:lnTo>
                    <a:lnTo>
                      <a:pt x="550" y="108"/>
                    </a:lnTo>
                    <a:lnTo>
                      <a:pt x="562" y="118"/>
                    </a:lnTo>
                    <a:lnTo>
                      <a:pt x="562" y="118"/>
                    </a:lnTo>
                    <a:lnTo>
                      <a:pt x="564" y="120"/>
                    </a:lnTo>
                    <a:lnTo>
                      <a:pt x="584" y="120"/>
                    </a:lnTo>
                    <a:lnTo>
                      <a:pt x="580" y="122"/>
                    </a:lnTo>
                    <a:lnTo>
                      <a:pt x="564" y="122"/>
                    </a:lnTo>
                    <a:lnTo>
                      <a:pt x="564" y="122"/>
                    </a:lnTo>
                    <a:lnTo>
                      <a:pt x="560" y="124"/>
                    </a:lnTo>
                    <a:lnTo>
                      <a:pt x="560" y="124"/>
                    </a:lnTo>
                    <a:lnTo>
                      <a:pt x="562" y="126"/>
                    </a:lnTo>
                    <a:lnTo>
                      <a:pt x="572" y="136"/>
                    </a:lnTo>
                    <a:lnTo>
                      <a:pt x="572" y="144"/>
                    </a:lnTo>
                    <a:lnTo>
                      <a:pt x="572" y="144"/>
                    </a:lnTo>
                    <a:lnTo>
                      <a:pt x="574" y="146"/>
                    </a:lnTo>
                    <a:lnTo>
                      <a:pt x="574" y="146"/>
                    </a:lnTo>
                    <a:lnTo>
                      <a:pt x="576" y="146"/>
                    </a:lnTo>
                    <a:lnTo>
                      <a:pt x="582" y="138"/>
                    </a:lnTo>
                    <a:lnTo>
                      <a:pt x="646" y="172"/>
                    </a:lnTo>
                    <a:lnTo>
                      <a:pt x="656" y="19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6" y="212"/>
                    </a:lnTo>
                    <a:lnTo>
                      <a:pt x="646" y="212"/>
                    </a:lnTo>
                    <a:lnTo>
                      <a:pt x="650" y="214"/>
                    </a:lnTo>
                    <a:lnTo>
                      <a:pt x="678" y="204"/>
                    </a:lnTo>
                    <a:lnTo>
                      <a:pt x="698" y="220"/>
                    </a:lnTo>
                    <a:lnTo>
                      <a:pt x="698" y="220"/>
                    </a:lnTo>
                    <a:lnTo>
                      <a:pt x="700" y="220"/>
                    </a:lnTo>
                    <a:lnTo>
                      <a:pt x="700" y="220"/>
                    </a:lnTo>
                    <a:lnTo>
                      <a:pt x="702" y="218"/>
                    </a:lnTo>
                    <a:lnTo>
                      <a:pt x="702" y="124"/>
                    </a:lnTo>
                    <a:lnTo>
                      <a:pt x="700" y="124"/>
                    </a:lnTo>
                    <a:close/>
                    <a:moveTo>
                      <a:pt x="54" y="80"/>
                    </a:moveTo>
                    <a:lnTo>
                      <a:pt x="54" y="80"/>
                    </a:lnTo>
                    <a:lnTo>
                      <a:pt x="54" y="78"/>
                    </a:lnTo>
                    <a:lnTo>
                      <a:pt x="52" y="7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8"/>
                    </a:lnTo>
                    <a:lnTo>
                      <a:pt x="28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2" y="80"/>
                    </a:lnTo>
                    <a:lnTo>
                      <a:pt x="54" y="80"/>
                    </a:lnTo>
                    <a:lnTo>
                      <a:pt x="54" y="80"/>
                    </a:lnTo>
                    <a:close/>
                    <a:moveTo>
                      <a:pt x="72" y="96"/>
                    </a:moveTo>
                    <a:lnTo>
                      <a:pt x="52" y="96"/>
                    </a:lnTo>
                    <a:lnTo>
                      <a:pt x="52" y="98"/>
                    </a:lnTo>
                    <a:lnTo>
                      <a:pt x="50" y="100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4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4" y="96"/>
                    </a:lnTo>
                    <a:lnTo>
                      <a:pt x="72" y="96"/>
                    </a:lnTo>
                    <a:lnTo>
                      <a:pt x="72" y="96"/>
                    </a:lnTo>
                    <a:close/>
                    <a:moveTo>
                      <a:pt x="552" y="200"/>
                    </a:moveTo>
                    <a:lnTo>
                      <a:pt x="534" y="200"/>
                    </a:lnTo>
                    <a:lnTo>
                      <a:pt x="534" y="200"/>
                    </a:lnTo>
                    <a:lnTo>
                      <a:pt x="532" y="200"/>
                    </a:lnTo>
                    <a:lnTo>
                      <a:pt x="530" y="202"/>
                    </a:lnTo>
                    <a:lnTo>
                      <a:pt x="530" y="222"/>
                    </a:lnTo>
                    <a:lnTo>
                      <a:pt x="534" y="222"/>
                    </a:lnTo>
                    <a:lnTo>
                      <a:pt x="534" y="224"/>
                    </a:lnTo>
                    <a:lnTo>
                      <a:pt x="544" y="224"/>
                    </a:lnTo>
                    <a:lnTo>
                      <a:pt x="544" y="224"/>
                    </a:lnTo>
                    <a:lnTo>
                      <a:pt x="546" y="222"/>
                    </a:lnTo>
                    <a:lnTo>
                      <a:pt x="556" y="204"/>
                    </a:lnTo>
                    <a:lnTo>
                      <a:pt x="556" y="204"/>
                    </a:lnTo>
                    <a:lnTo>
                      <a:pt x="556" y="200"/>
                    </a:lnTo>
                    <a:lnTo>
                      <a:pt x="556" y="200"/>
                    </a:lnTo>
                    <a:lnTo>
                      <a:pt x="552" y="200"/>
                    </a:lnTo>
                    <a:lnTo>
                      <a:pt x="552" y="200"/>
                    </a:lnTo>
                    <a:close/>
                    <a:moveTo>
                      <a:pt x="296" y="200"/>
                    </a:moveTo>
                    <a:lnTo>
                      <a:pt x="296" y="200"/>
                    </a:lnTo>
                    <a:lnTo>
                      <a:pt x="296" y="198"/>
                    </a:lnTo>
                    <a:lnTo>
                      <a:pt x="294" y="198"/>
                    </a:lnTo>
                    <a:lnTo>
                      <a:pt x="274" y="198"/>
                    </a:lnTo>
                    <a:lnTo>
                      <a:pt x="266" y="190"/>
                    </a:lnTo>
                    <a:lnTo>
                      <a:pt x="266" y="190"/>
                    </a:lnTo>
                    <a:lnTo>
                      <a:pt x="266" y="188"/>
                    </a:lnTo>
                    <a:lnTo>
                      <a:pt x="236" y="180"/>
                    </a:lnTo>
                    <a:lnTo>
                      <a:pt x="236" y="180"/>
                    </a:lnTo>
                    <a:lnTo>
                      <a:pt x="234" y="180"/>
                    </a:lnTo>
                    <a:lnTo>
                      <a:pt x="234" y="180"/>
                    </a:lnTo>
                    <a:lnTo>
                      <a:pt x="232" y="182"/>
                    </a:lnTo>
                    <a:lnTo>
                      <a:pt x="232" y="186"/>
                    </a:lnTo>
                    <a:lnTo>
                      <a:pt x="218" y="180"/>
                    </a:lnTo>
                    <a:lnTo>
                      <a:pt x="218" y="180"/>
                    </a:lnTo>
                    <a:lnTo>
                      <a:pt x="218" y="180"/>
                    </a:lnTo>
                    <a:lnTo>
                      <a:pt x="188" y="168"/>
                    </a:lnTo>
                    <a:lnTo>
                      <a:pt x="188" y="168"/>
                    </a:lnTo>
                    <a:lnTo>
                      <a:pt x="188" y="168"/>
                    </a:lnTo>
                    <a:lnTo>
                      <a:pt x="170" y="168"/>
                    </a:lnTo>
                    <a:lnTo>
                      <a:pt x="170" y="168"/>
                    </a:lnTo>
                    <a:lnTo>
                      <a:pt x="168" y="170"/>
                    </a:lnTo>
                    <a:lnTo>
                      <a:pt x="156" y="180"/>
                    </a:lnTo>
                    <a:lnTo>
                      <a:pt x="158" y="182"/>
                    </a:lnTo>
                    <a:lnTo>
                      <a:pt x="158" y="184"/>
                    </a:lnTo>
                    <a:lnTo>
                      <a:pt x="196" y="204"/>
                    </a:lnTo>
                    <a:lnTo>
                      <a:pt x="196" y="204"/>
                    </a:lnTo>
                    <a:lnTo>
                      <a:pt x="196" y="204"/>
                    </a:lnTo>
                    <a:lnTo>
                      <a:pt x="294" y="214"/>
                    </a:lnTo>
                    <a:lnTo>
                      <a:pt x="294" y="214"/>
                    </a:lnTo>
                    <a:lnTo>
                      <a:pt x="296" y="214"/>
                    </a:lnTo>
                    <a:lnTo>
                      <a:pt x="296" y="214"/>
                    </a:lnTo>
                    <a:lnTo>
                      <a:pt x="296" y="214"/>
                    </a:lnTo>
                    <a:lnTo>
                      <a:pt x="318" y="214"/>
                    </a:lnTo>
                    <a:lnTo>
                      <a:pt x="318" y="208"/>
                    </a:lnTo>
                    <a:lnTo>
                      <a:pt x="296" y="208"/>
                    </a:lnTo>
                    <a:lnTo>
                      <a:pt x="296" y="200"/>
                    </a:lnTo>
                    <a:close/>
                    <a:moveTo>
                      <a:pt x="612" y="160"/>
                    </a:moveTo>
                    <a:lnTo>
                      <a:pt x="612" y="160"/>
                    </a:lnTo>
                    <a:lnTo>
                      <a:pt x="608" y="162"/>
                    </a:lnTo>
                    <a:lnTo>
                      <a:pt x="590" y="188"/>
                    </a:lnTo>
                    <a:lnTo>
                      <a:pt x="592" y="190"/>
                    </a:lnTo>
                    <a:lnTo>
                      <a:pt x="594" y="192"/>
                    </a:lnTo>
                    <a:lnTo>
                      <a:pt x="612" y="172"/>
                    </a:lnTo>
                    <a:lnTo>
                      <a:pt x="612" y="172"/>
                    </a:lnTo>
                    <a:lnTo>
                      <a:pt x="614" y="170"/>
                    </a:lnTo>
                    <a:lnTo>
                      <a:pt x="614" y="162"/>
                    </a:lnTo>
                    <a:lnTo>
                      <a:pt x="614" y="162"/>
                    </a:lnTo>
                    <a:lnTo>
                      <a:pt x="612" y="160"/>
                    </a:lnTo>
                    <a:lnTo>
                      <a:pt x="612" y="160"/>
                    </a:lnTo>
                    <a:close/>
                    <a:moveTo>
                      <a:pt x="188" y="144"/>
                    </a:moveTo>
                    <a:lnTo>
                      <a:pt x="206" y="144"/>
                    </a:lnTo>
                    <a:lnTo>
                      <a:pt x="206" y="144"/>
                    </a:lnTo>
                    <a:lnTo>
                      <a:pt x="208" y="144"/>
                    </a:lnTo>
                    <a:lnTo>
                      <a:pt x="210" y="142"/>
                    </a:lnTo>
                    <a:lnTo>
                      <a:pt x="210" y="124"/>
                    </a:lnTo>
                    <a:lnTo>
                      <a:pt x="210" y="124"/>
                    </a:lnTo>
                    <a:lnTo>
                      <a:pt x="208" y="122"/>
                    </a:lnTo>
                    <a:lnTo>
                      <a:pt x="206" y="122"/>
                    </a:lnTo>
                    <a:lnTo>
                      <a:pt x="188" y="122"/>
                    </a:lnTo>
                    <a:lnTo>
                      <a:pt x="188" y="122"/>
                    </a:lnTo>
                    <a:lnTo>
                      <a:pt x="186" y="122"/>
                    </a:lnTo>
                    <a:lnTo>
                      <a:pt x="184" y="124"/>
                    </a:lnTo>
                    <a:lnTo>
                      <a:pt x="184" y="142"/>
                    </a:lnTo>
                    <a:lnTo>
                      <a:pt x="188" y="142"/>
                    </a:lnTo>
                    <a:lnTo>
                      <a:pt x="188" y="144"/>
                    </a:lnTo>
                    <a:close/>
                    <a:moveTo>
                      <a:pt x="382" y="228"/>
                    </a:moveTo>
                    <a:lnTo>
                      <a:pt x="382" y="228"/>
                    </a:lnTo>
                    <a:lnTo>
                      <a:pt x="380" y="228"/>
                    </a:lnTo>
                    <a:lnTo>
                      <a:pt x="360" y="228"/>
                    </a:lnTo>
                    <a:lnTo>
                      <a:pt x="360" y="230"/>
                    </a:lnTo>
                    <a:lnTo>
                      <a:pt x="358" y="232"/>
                    </a:lnTo>
                    <a:lnTo>
                      <a:pt x="378" y="252"/>
                    </a:lnTo>
                    <a:lnTo>
                      <a:pt x="378" y="252"/>
                    </a:lnTo>
                    <a:lnTo>
                      <a:pt x="380" y="252"/>
                    </a:lnTo>
                    <a:lnTo>
                      <a:pt x="388" y="252"/>
                    </a:lnTo>
                    <a:lnTo>
                      <a:pt x="388" y="252"/>
                    </a:lnTo>
                    <a:lnTo>
                      <a:pt x="392" y="250"/>
                    </a:lnTo>
                    <a:lnTo>
                      <a:pt x="392" y="250"/>
                    </a:lnTo>
                    <a:lnTo>
                      <a:pt x="392" y="248"/>
                    </a:lnTo>
                    <a:lnTo>
                      <a:pt x="382" y="228"/>
                    </a:lnTo>
                    <a:close/>
                    <a:moveTo>
                      <a:pt x="486" y="208"/>
                    </a:moveTo>
                    <a:lnTo>
                      <a:pt x="458" y="208"/>
                    </a:lnTo>
                    <a:lnTo>
                      <a:pt x="458" y="208"/>
                    </a:lnTo>
                    <a:lnTo>
                      <a:pt x="454" y="208"/>
                    </a:lnTo>
                    <a:lnTo>
                      <a:pt x="436" y="228"/>
                    </a:lnTo>
                    <a:lnTo>
                      <a:pt x="426" y="240"/>
                    </a:lnTo>
                    <a:lnTo>
                      <a:pt x="428" y="242"/>
                    </a:lnTo>
                    <a:lnTo>
                      <a:pt x="428" y="244"/>
                    </a:lnTo>
                    <a:lnTo>
                      <a:pt x="448" y="244"/>
                    </a:lnTo>
                    <a:lnTo>
                      <a:pt x="448" y="244"/>
                    </a:lnTo>
                    <a:lnTo>
                      <a:pt x="450" y="244"/>
                    </a:lnTo>
                    <a:lnTo>
                      <a:pt x="488" y="214"/>
                    </a:lnTo>
                    <a:lnTo>
                      <a:pt x="488" y="214"/>
                    </a:lnTo>
                    <a:lnTo>
                      <a:pt x="490" y="210"/>
                    </a:lnTo>
                    <a:lnTo>
                      <a:pt x="490" y="210"/>
                    </a:lnTo>
                    <a:lnTo>
                      <a:pt x="486" y="208"/>
                    </a:lnTo>
                    <a:lnTo>
                      <a:pt x="486" y="208"/>
                    </a:lnTo>
                    <a:close/>
                    <a:moveTo>
                      <a:pt x="214" y="88"/>
                    </a:moveTo>
                    <a:lnTo>
                      <a:pt x="224" y="106"/>
                    </a:lnTo>
                    <a:lnTo>
                      <a:pt x="232" y="126"/>
                    </a:lnTo>
                    <a:lnTo>
                      <a:pt x="232" y="126"/>
                    </a:lnTo>
                    <a:lnTo>
                      <a:pt x="236" y="126"/>
                    </a:lnTo>
                    <a:lnTo>
                      <a:pt x="252" y="126"/>
                    </a:lnTo>
                    <a:lnTo>
                      <a:pt x="252" y="134"/>
                    </a:lnTo>
                    <a:lnTo>
                      <a:pt x="252" y="134"/>
                    </a:lnTo>
                    <a:lnTo>
                      <a:pt x="252" y="136"/>
                    </a:lnTo>
                    <a:lnTo>
                      <a:pt x="254" y="138"/>
                    </a:lnTo>
                    <a:lnTo>
                      <a:pt x="294" y="138"/>
                    </a:lnTo>
                    <a:lnTo>
                      <a:pt x="300" y="146"/>
                    </a:lnTo>
                    <a:lnTo>
                      <a:pt x="300" y="146"/>
                    </a:lnTo>
                    <a:lnTo>
                      <a:pt x="300" y="146"/>
                    </a:lnTo>
                    <a:lnTo>
                      <a:pt x="302" y="146"/>
                    </a:lnTo>
                    <a:lnTo>
                      <a:pt x="324" y="136"/>
                    </a:lnTo>
                    <a:lnTo>
                      <a:pt x="324" y="136"/>
                    </a:lnTo>
                    <a:lnTo>
                      <a:pt x="326" y="136"/>
                    </a:lnTo>
                    <a:lnTo>
                      <a:pt x="334" y="116"/>
                    </a:lnTo>
                    <a:lnTo>
                      <a:pt x="334" y="116"/>
                    </a:lnTo>
                    <a:lnTo>
                      <a:pt x="334" y="114"/>
                    </a:lnTo>
                    <a:lnTo>
                      <a:pt x="334" y="114"/>
                    </a:lnTo>
                    <a:lnTo>
                      <a:pt x="332" y="112"/>
                    </a:lnTo>
                    <a:lnTo>
                      <a:pt x="328" y="112"/>
                    </a:lnTo>
                    <a:lnTo>
                      <a:pt x="334" y="98"/>
                    </a:lnTo>
                    <a:lnTo>
                      <a:pt x="352" y="80"/>
                    </a:lnTo>
                    <a:lnTo>
                      <a:pt x="362" y="70"/>
                    </a:lnTo>
                    <a:lnTo>
                      <a:pt x="362" y="70"/>
                    </a:lnTo>
                    <a:lnTo>
                      <a:pt x="362" y="68"/>
                    </a:lnTo>
                    <a:lnTo>
                      <a:pt x="362" y="68"/>
                    </a:lnTo>
                    <a:lnTo>
                      <a:pt x="362" y="66"/>
                    </a:lnTo>
                    <a:lnTo>
                      <a:pt x="348" y="58"/>
                    </a:lnTo>
                    <a:lnTo>
                      <a:pt x="352" y="54"/>
                    </a:lnTo>
                    <a:lnTo>
                      <a:pt x="352" y="54"/>
                    </a:lnTo>
                    <a:lnTo>
                      <a:pt x="354" y="52"/>
                    </a:lnTo>
                    <a:lnTo>
                      <a:pt x="352" y="50"/>
                    </a:lnTo>
                    <a:lnTo>
                      <a:pt x="346" y="40"/>
                    </a:lnTo>
                    <a:lnTo>
                      <a:pt x="354" y="24"/>
                    </a:lnTo>
                    <a:lnTo>
                      <a:pt x="354" y="24"/>
                    </a:lnTo>
                    <a:lnTo>
                      <a:pt x="352" y="20"/>
                    </a:lnTo>
                    <a:lnTo>
                      <a:pt x="352" y="20"/>
                    </a:lnTo>
                    <a:lnTo>
                      <a:pt x="350" y="20"/>
                    </a:lnTo>
                    <a:lnTo>
                      <a:pt x="324" y="20"/>
                    </a:lnTo>
                    <a:lnTo>
                      <a:pt x="324" y="20"/>
                    </a:lnTo>
                    <a:lnTo>
                      <a:pt x="320" y="20"/>
                    </a:lnTo>
                    <a:lnTo>
                      <a:pt x="292" y="56"/>
                    </a:lnTo>
                    <a:lnTo>
                      <a:pt x="284" y="64"/>
                    </a:lnTo>
                    <a:lnTo>
                      <a:pt x="266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2" y="66"/>
                    </a:lnTo>
                    <a:lnTo>
                      <a:pt x="236" y="66"/>
                    </a:lnTo>
                    <a:lnTo>
                      <a:pt x="218" y="56"/>
                    </a:lnTo>
                    <a:lnTo>
                      <a:pt x="218" y="58"/>
                    </a:lnTo>
                    <a:lnTo>
                      <a:pt x="218" y="58"/>
                    </a:lnTo>
                    <a:lnTo>
                      <a:pt x="218" y="58"/>
                    </a:lnTo>
                    <a:lnTo>
                      <a:pt x="216" y="56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8"/>
                    </a:lnTo>
                    <a:lnTo>
                      <a:pt x="204" y="70"/>
                    </a:lnTo>
                    <a:lnTo>
                      <a:pt x="214" y="88"/>
                    </a:lnTo>
                    <a:close/>
                    <a:moveTo>
                      <a:pt x="160" y="172"/>
                    </a:moveTo>
                    <a:lnTo>
                      <a:pt x="172" y="136"/>
                    </a:lnTo>
                    <a:lnTo>
                      <a:pt x="172" y="136"/>
                    </a:lnTo>
                    <a:lnTo>
                      <a:pt x="172" y="134"/>
                    </a:lnTo>
                    <a:lnTo>
                      <a:pt x="168" y="128"/>
                    </a:lnTo>
                    <a:lnTo>
                      <a:pt x="176" y="136"/>
                    </a:lnTo>
                    <a:lnTo>
                      <a:pt x="176" y="136"/>
                    </a:lnTo>
                    <a:lnTo>
                      <a:pt x="180" y="138"/>
                    </a:lnTo>
                    <a:lnTo>
                      <a:pt x="180" y="138"/>
                    </a:lnTo>
                    <a:lnTo>
                      <a:pt x="182" y="134"/>
                    </a:lnTo>
                    <a:lnTo>
                      <a:pt x="182" y="124"/>
                    </a:lnTo>
                    <a:lnTo>
                      <a:pt x="182" y="124"/>
                    </a:lnTo>
                    <a:lnTo>
                      <a:pt x="182" y="122"/>
                    </a:lnTo>
                    <a:lnTo>
                      <a:pt x="172" y="104"/>
                    </a:lnTo>
                    <a:lnTo>
                      <a:pt x="172" y="104"/>
                    </a:lnTo>
                    <a:lnTo>
                      <a:pt x="168" y="102"/>
                    </a:lnTo>
                    <a:lnTo>
                      <a:pt x="168" y="102"/>
                    </a:lnTo>
                    <a:lnTo>
                      <a:pt x="166" y="104"/>
                    </a:lnTo>
                    <a:lnTo>
                      <a:pt x="156" y="114"/>
                    </a:lnTo>
                    <a:lnTo>
                      <a:pt x="152" y="114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40" y="94"/>
                    </a:lnTo>
                    <a:lnTo>
                      <a:pt x="134" y="94"/>
                    </a:lnTo>
                    <a:lnTo>
                      <a:pt x="134" y="88"/>
                    </a:lnTo>
                    <a:lnTo>
                      <a:pt x="134" y="88"/>
                    </a:lnTo>
                    <a:lnTo>
                      <a:pt x="134" y="84"/>
                    </a:lnTo>
                    <a:lnTo>
                      <a:pt x="124" y="76"/>
                    </a:lnTo>
                    <a:lnTo>
                      <a:pt x="124" y="68"/>
                    </a:lnTo>
                    <a:lnTo>
                      <a:pt x="124" y="68"/>
                    </a:lnTo>
                    <a:lnTo>
                      <a:pt x="122" y="66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2" y="48"/>
                    </a:lnTo>
                    <a:lnTo>
                      <a:pt x="82" y="4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4" y="3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2" y="54"/>
                    </a:lnTo>
                    <a:lnTo>
                      <a:pt x="52" y="60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0"/>
                    </a:lnTo>
                    <a:lnTo>
                      <a:pt x="78" y="100"/>
                    </a:lnTo>
                    <a:lnTo>
                      <a:pt x="100" y="136"/>
                    </a:lnTo>
                    <a:lnTo>
                      <a:pt x="100" y="136"/>
                    </a:lnTo>
                    <a:lnTo>
                      <a:pt x="100" y="138"/>
                    </a:lnTo>
                    <a:lnTo>
                      <a:pt x="138" y="174"/>
                    </a:lnTo>
                    <a:lnTo>
                      <a:pt x="138" y="174"/>
                    </a:lnTo>
                    <a:lnTo>
                      <a:pt x="140" y="174"/>
                    </a:lnTo>
                    <a:lnTo>
                      <a:pt x="158" y="174"/>
                    </a:lnTo>
                    <a:lnTo>
                      <a:pt x="158" y="174"/>
                    </a:lnTo>
                    <a:lnTo>
                      <a:pt x="160" y="172"/>
                    </a:lnTo>
                    <a:lnTo>
                      <a:pt x="160" y="172"/>
                    </a:lnTo>
                    <a:close/>
                    <a:moveTo>
                      <a:pt x="442" y="210"/>
                    </a:moveTo>
                    <a:lnTo>
                      <a:pt x="442" y="210"/>
                    </a:lnTo>
                    <a:lnTo>
                      <a:pt x="440" y="208"/>
                    </a:lnTo>
                    <a:lnTo>
                      <a:pt x="324" y="208"/>
                    </a:lnTo>
                    <a:lnTo>
                      <a:pt x="324" y="208"/>
                    </a:lnTo>
                    <a:lnTo>
                      <a:pt x="322" y="208"/>
                    </a:lnTo>
                    <a:lnTo>
                      <a:pt x="320" y="210"/>
                    </a:lnTo>
                    <a:lnTo>
                      <a:pt x="320" y="230"/>
                    </a:lnTo>
                    <a:lnTo>
                      <a:pt x="324" y="230"/>
                    </a:lnTo>
                    <a:lnTo>
                      <a:pt x="324" y="232"/>
                    </a:lnTo>
                    <a:lnTo>
                      <a:pt x="332" y="232"/>
                    </a:lnTo>
                    <a:lnTo>
                      <a:pt x="332" y="232"/>
                    </a:lnTo>
                    <a:lnTo>
                      <a:pt x="334" y="232"/>
                    </a:lnTo>
                    <a:lnTo>
                      <a:pt x="372" y="214"/>
                    </a:lnTo>
                    <a:lnTo>
                      <a:pt x="410" y="232"/>
                    </a:lnTo>
                    <a:lnTo>
                      <a:pt x="410" y="232"/>
                    </a:lnTo>
                    <a:lnTo>
                      <a:pt x="412" y="232"/>
                    </a:lnTo>
                    <a:lnTo>
                      <a:pt x="442" y="214"/>
                    </a:lnTo>
                    <a:lnTo>
                      <a:pt x="442" y="214"/>
                    </a:lnTo>
                    <a:lnTo>
                      <a:pt x="442" y="210"/>
                    </a:lnTo>
                    <a:lnTo>
                      <a:pt x="442" y="210"/>
                    </a:lnTo>
                    <a:close/>
                    <a:moveTo>
                      <a:pt x="360" y="124"/>
                    </a:moveTo>
                    <a:lnTo>
                      <a:pt x="360" y="124"/>
                    </a:lnTo>
                    <a:lnTo>
                      <a:pt x="358" y="124"/>
                    </a:lnTo>
                    <a:lnTo>
                      <a:pt x="358" y="136"/>
                    </a:lnTo>
                    <a:lnTo>
                      <a:pt x="358" y="136"/>
                    </a:lnTo>
                    <a:lnTo>
                      <a:pt x="358" y="138"/>
                    </a:lnTo>
                    <a:lnTo>
                      <a:pt x="360" y="138"/>
                    </a:lnTo>
                    <a:lnTo>
                      <a:pt x="368" y="138"/>
                    </a:lnTo>
                    <a:lnTo>
                      <a:pt x="368" y="172"/>
                    </a:lnTo>
                    <a:lnTo>
                      <a:pt x="368" y="172"/>
                    </a:lnTo>
                    <a:lnTo>
                      <a:pt x="370" y="174"/>
                    </a:lnTo>
                    <a:lnTo>
                      <a:pt x="370" y="174"/>
                    </a:lnTo>
                    <a:lnTo>
                      <a:pt x="374" y="174"/>
                    </a:lnTo>
                    <a:lnTo>
                      <a:pt x="382" y="166"/>
                    </a:lnTo>
                    <a:lnTo>
                      <a:pt x="382" y="166"/>
                    </a:lnTo>
                    <a:lnTo>
                      <a:pt x="382" y="164"/>
                    </a:lnTo>
                    <a:lnTo>
                      <a:pt x="382" y="136"/>
                    </a:lnTo>
                    <a:lnTo>
                      <a:pt x="390" y="128"/>
                    </a:lnTo>
                    <a:lnTo>
                      <a:pt x="392" y="128"/>
                    </a:lnTo>
                    <a:lnTo>
                      <a:pt x="388" y="134"/>
                    </a:lnTo>
                    <a:lnTo>
                      <a:pt x="388" y="134"/>
                    </a:lnTo>
                    <a:lnTo>
                      <a:pt x="386" y="136"/>
                    </a:lnTo>
                    <a:lnTo>
                      <a:pt x="386" y="136"/>
                    </a:lnTo>
                    <a:lnTo>
                      <a:pt x="388" y="138"/>
                    </a:lnTo>
                    <a:lnTo>
                      <a:pt x="398" y="146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6"/>
                    </a:lnTo>
                    <a:lnTo>
                      <a:pt x="400" y="156"/>
                    </a:lnTo>
                    <a:lnTo>
                      <a:pt x="416" y="156"/>
                    </a:lnTo>
                    <a:lnTo>
                      <a:pt x="416" y="172"/>
                    </a:lnTo>
                    <a:lnTo>
                      <a:pt x="416" y="172"/>
                    </a:lnTo>
                    <a:lnTo>
                      <a:pt x="418" y="174"/>
                    </a:lnTo>
                    <a:lnTo>
                      <a:pt x="418" y="174"/>
                    </a:lnTo>
                    <a:lnTo>
                      <a:pt x="420" y="174"/>
                    </a:lnTo>
                    <a:lnTo>
                      <a:pt x="428" y="166"/>
                    </a:lnTo>
                    <a:lnTo>
                      <a:pt x="428" y="166"/>
                    </a:lnTo>
                    <a:lnTo>
                      <a:pt x="430" y="164"/>
                    </a:lnTo>
                    <a:lnTo>
                      <a:pt x="430" y="154"/>
                    </a:lnTo>
                    <a:lnTo>
                      <a:pt x="430" y="154"/>
                    </a:lnTo>
                    <a:lnTo>
                      <a:pt x="428" y="152"/>
                    </a:lnTo>
                    <a:lnTo>
                      <a:pt x="416" y="138"/>
                    </a:lnTo>
                    <a:lnTo>
                      <a:pt x="418" y="138"/>
                    </a:lnTo>
                    <a:lnTo>
                      <a:pt x="418" y="138"/>
                    </a:lnTo>
                    <a:lnTo>
                      <a:pt x="422" y="136"/>
                    </a:lnTo>
                    <a:lnTo>
                      <a:pt x="422" y="136"/>
                    </a:lnTo>
                    <a:lnTo>
                      <a:pt x="420" y="134"/>
                    </a:lnTo>
                    <a:lnTo>
                      <a:pt x="404" y="116"/>
                    </a:lnTo>
                    <a:lnTo>
                      <a:pt x="418" y="102"/>
                    </a:lnTo>
                    <a:lnTo>
                      <a:pt x="428" y="100"/>
                    </a:lnTo>
                    <a:lnTo>
                      <a:pt x="428" y="100"/>
                    </a:lnTo>
                    <a:lnTo>
                      <a:pt x="430" y="100"/>
                    </a:lnTo>
                    <a:lnTo>
                      <a:pt x="430" y="98"/>
                    </a:lnTo>
                    <a:lnTo>
                      <a:pt x="430" y="98"/>
                    </a:lnTo>
                    <a:lnTo>
                      <a:pt x="428" y="96"/>
                    </a:lnTo>
                    <a:lnTo>
                      <a:pt x="426" y="96"/>
                    </a:lnTo>
                    <a:lnTo>
                      <a:pt x="418" y="96"/>
                    </a:lnTo>
                    <a:lnTo>
                      <a:pt x="418" y="96"/>
                    </a:lnTo>
                    <a:lnTo>
                      <a:pt x="416" y="96"/>
                    </a:lnTo>
                    <a:lnTo>
                      <a:pt x="414" y="98"/>
                    </a:lnTo>
                    <a:lnTo>
                      <a:pt x="390" y="104"/>
                    </a:lnTo>
                    <a:lnTo>
                      <a:pt x="382" y="96"/>
                    </a:lnTo>
                    <a:lnTo>
                      <a:pt x="382" y="88"/>
                    </a:lnTo>
                    <a:lnTo>
                      <a:pt x="390" y="82"/>
                    </a:lnTo>
                    <a:lnTo>
                      <a:pt x="448" y="82"/>
                    </a:lnTo>
                    <a:lnTo>
                      <a:pt x="448" y="82"/>
                    </a:lnTo>
                    <a:lnTo>
                      <a:pt x="450" y="80"/>
                    </a:lnTo>
                    <a:lnTo>
                      <a:pt x="458" y="60"/>
                    </a:lnTo>
                    <a:lnTo>
                      <a:pt x="458" y="60"/>
                    </a:lnTo>
                    <a:lnTo>
                      <a:pt x="458" y="56"/>
                    </a:lnTo>
                    <a:lnTo>
                      <a:pt x="458" y="56"/>
                    </a:lnTo>
                    <a:lnTo>
                      <a:pt x="454" y="56"/>
                    </a:lnTo>
                    <a:lnTo>
                      <a:pt x="436" y="66"/>
                    </a:lnTo>
                    <a:lnTo>
                      <a:pt x="418" y="76"/>
                    </a:lnTo>
                    <a:lnTo>
                      <a:pt x="390" y="66"/>
                    </a:lnTo>
                    <a:lnTo>
                      <a:pt x="390" y="66"/>
                    </a:lnTo>
                    <a:lnTo>
                      <a:pt x="388" y="66"/>
                    </a:lnTo>
                    <a:lnTo>
                      <a:pt x="388" y="66"/>
                    </a:lnTo>
                    <a:lnTo>
                      <a:pt x="386" y="68"/>
                    </a:lnTo>
                    <a:lnTo>
                      <a:pt x="386" y="76"/>
                    </a:lnTo>
                    <a:lnTo>
                      <a:pt x="380" y="76"/>
                    </a:lnTo>
                    <a:lnTo>
                      <a:pt x="380" y="76"/>
                    </a:lnTo>
                    <a:lnTo>
                      <a:pt x="378" y="76"/>
                    </a:lnTo>
                    <a:lnTo>
                      <a:pt x="378" y="78"/>
                    </a:lnTo>
                    <a:lnTo>
                      <a:pt x="378" y="98"/>
                    </a:lnTo>
                    <a:lnTo>
                      <a:pt x="358" y="124"/>
                    </a:lnTo>
                    <a:lnTo>
                      <a:pt x="360" y="124"/>
                    </a:lnTo>
                    <a:close/>
                    <a:moveTo>
                      <a:pt x="494" y="90"/>
                    </a:moveTo>
                    <a:lnTo>
                      <a:pt x="494" y="90"/>
                    </a:lnTo>
                    <a:lnTo>
                      <a:pt x="494" y="90"/>
                    </a:lnTo>
                    <a:lnTo>
                      <a:pt x="504" y="100"/>
                    </a:lnTo>
                    <a:lnTo>
                      <a:pt x="504" y="100"/>
                    </a:lnTo>
                    <a:lnTo>
                      <a:pt x="506" y="102"/>
                    </a:lnTo>
                    <a:lnTo>
                      <a:pt x="508" y="100"/>
                    </a:lnTo>
                    <a:lnTo>
                      <a:pt x="508" y="100"/>
                    </a:lnTo>
                    <a:lnTo>
                      <a:pt x="508" y="98"/>
                    </a:lnTo>
                    <a:lnTo>
                      <a:pt x="508" y="96"/>
                    </a:lnTo>
                    <a:lnTo>
                      <a:pt x="500" y="86"/>
                    </a:lnTo>
                    <a:lnTo>
                      <a:pt x="500" y="82"/>
                    </a:lnTo>
                    <a:lnTo>
                      <a:pt x="506" y="82"/>
                    </a:lnTo>
                    <a:lnTo>
                      <a:pt x="506" y="82"/>
                    </a:lnTo>
                    <a:lnTo>
                      <a:pt x="508" y="80"/>
                    </a:lnTo>
                    <a:lnTo>
                      <a:pt x="508" y="78"/>
                    </a:lnTo>
                    <a:lnTo>
                      <a:pt x="508" y="58"/>
                    </a:lnTo>
                    <a:lnTo>
                      <a:pt x="508" y="58"/>
                    </a:lnTo>
                    <a:lnTo>
                      <a:pt x="508" y="56"/>
                    </a:lnTo>
                    <a:lnTo>
                      <a:pt x="506" y="56"/>
                    </a:lnTo>
                    <a:lnTo>
                      <a:pt x="504" y="56"/>
                    </a:lnTo>
                    <a:lnTo>
                      <a:pt x="504" y="58"/>
                    </a:lnTo>
                    <a:lnTo>
                      <a:pt x="498" y="50"/>
                    </a:lnTo>
                    <a:lnTo>
                      <a:pt x="498" y="50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4" y="50"/>
                    </a:lnTo>
                    <a:lnTo>
                      <a:pt x="484" y="68"/>
                    </a:lnTo>
                    <a:lnTo>
                      <a:pt x="486" y="70"/>
                    </a:lnTo>
                    <a:lnTo>
                      <a:pt x="486" y="70"/>
                    </a:lnTo>
                    <a:lnTo>
                      <a:pt x="486" y="70"/>
                    </a:lnTo>
                    <a:lnTo>
                      <a:pt x="484" y="70"/>
                    </a:lnTo>
                    <a:lnTo>
                      <a:pt x="494" y="90"/>
                    </a:lnTo>
                    <a:close/>
                    <a:moveTo>
                      <a:pt x="486" y="132"/>
                    </a:moveTo>
                    <a:lnTo>
                      <a:pt x="468" y="132"/>
                    </a:lnTo>
                    <a:lnTo>
                      <a:pt x="468" y="136"/>
                    </a:lnTo>
                    <a:lnTo>
                      <a:pt x="466" y="138"/>
                    </a:lnTo>
                    <a:lnTo>
                      <a:pt x="484" y="156"/>
                    </a:lnTo>
                    <a:lnTo>
                      <a:pt x="484" y="156"/>
                    </a:lnTo>
                    <a:lnTo>
                      <a:pt x="488" y="156"/>
                    </a:lnTo>
                    <a:lnTo>
                      <a:pt x="488" y="156"/>
                    </a:lnTo>
                    <a:lnTo>
                      <a:pt x="490" y="154"/>
                    </a:lnTo>
                    <a:lnTo>
                      <a:pt x="490" y="136"/>
                    </a:lnTo>
                    <a:lnTo>
                      <a:pt x="490" y="136"/>
                    </a:lnTo>
                    <a:lnTo>
                      <a:pt x="488" y="134"/>
                    </a:lnTo>
                    <a:lnTo>
                      <a:pt x="486" y="132"/>
                    </a:lnTo>
                    <a:lnTo>
                      <a:pt x="486" y="132"/>
                    </a:lnTo>
                    <a:close/>
                    <a:moveTo>
                      <a:pt x="544" y="146"/>
                    </a:move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44"/>
                    </a:lnTo>
                    <a:lnTo>
                      <a:pt x="546" y="144"/>
                    </a:lnTo>
                    <a:lnTo>
                      <a:pt x="548" y="142"/>
                    </a:lnTo>
                    <a:lnTo>
                      <a:pt x="546" y="142"/>
                    </a:lnTo>
                    <a:lnTo>
                      <a:pt x="536" y="132"/>
                    </a:lnTo>
                    <a:lnTo>
                      <a:pt x="528" y="122"/>
                    </a:lnTo>
                    <a:lnTo>
                      <a:pt x="528" y="122"/>
                    </a:lnTo>
                    <a:lnTo>
                      <a:pt x="524" y="122"/>
                    </a:lnTo>
                    <a:lnTo>
                      <a:pt x="504" y="122"/>
                    </a:lnTo>
                    <a:lnTo>
                      <a:pt x="504" y="122"/>
                    </a:lnTo>
                    <a:lnTo>
                      <a:pt x="500" y="122"/>
                    </a:lnTo>
                    <a:lnTo>
                      <a:pt x="492" y="132"/>
                    </a:lnTo>
                    <a:lnTo>
                      <a:pt x="494" y="134"/>
                    </a:lnTo>
                    <a:lnTo>
                      <a:pt x="494" y="138"/>
                    </a:lnTo>
                    <a:lnTo>
                      <a:pt x="544" y="14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3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232" name="Freeform 280">
              <a:extLst>
                <a:ext uri="{FF2B5EF4-FFF2-40B4-BE49-F238E27FC236}">
                  <a16:creationId xmlns:a16="http://schemas.microsoft.com/office/drawing/2014/main" id="{BFA5A304-22C9-4745-94E9-AB3304F83B3B}"/>
                </a:ext>
              </a:extLst>
            </p:cNvPr>
            <p:cNvSpPr/>
            <p:nvPr/>
          </p:nvSpPr>
          <p:spPr>
            <a:xfrm>
              <a:off x="4161615" y="2301874"/>
              <a:ext cx="30973" cy="49473"/>
            </a:xfrm>
            <a:custGeom>
              <a:avLst/>
              <a:gdLst>
                <a:gd name="connsiteX0" fmla="*/ 0 w 45244"/>
                <a:gd name="connsiteY0" fmla="*/ 23812 h 23812"/>
                <a:gd name="connsiteX1" fmla="*/ 45244 w 45244"/>
                <a:gd name="connsiteY1" fmla="*/ 0 h 23812"/>
                <a:gd name="connsiteX2" fmla="*/ 0 w 45244"/>
                <a:gd name="connsiteY2" fmla="*/ 23812 h 23812"/>
                <a:gd name="connsiteX0" fmla="*/ 0 w 23813"/>
                <a:gd name="connsiteY0" fmla="*/ 0 h 33338"/>
                <a:gd name="connsiteX1" fmla="*/ 23813 w 23813"/>
                <a:gd name="connsiteY1" fmla="*/ 33338 h 33338"/>
                <a:gd name="connsiteX2" fmla="*/ 0 w 23813"/>
                <a:gd name="connsiteY2" fmla="*/ 0 h 33338"/>
                <a:gd name="connsiteX0" fmla="*/ 0 w 35942"/>
                <a:gd name="connsiteY0" fmla="*/ 1209 h 55714"/>
                <a:gd name="connsiteX1" fmla="*/ 23813 w 35942"/>
                <a:gd name="connsiteY1" fmla="*/ 34547 h 55714"/>
                <a:gd name="connsiteX2" fmla="*/ 0 w 35942"/>
                <a:gd name="connsiteY2" fmla="*/ 1209 h 55714"/>
                <a:gd name="connsiteX0" fmla="*/ 262 w 24331"/>
                <a:gd name="connsiteY0" fmla="*/ 11 h 35874"/>
                <a:gd name="connsiteX1" fmla="*/ 24075 w 24331"/>
                <a:gd name="connsiteY1" fmla="*/ 33349 h 35874"/>
                <a:gd name="connsiteX2" fmla="*/ 12116 w 24331"/>
                <a:gd name="connsiteY2" fmla="*/ 29784 h 35874"/>
                <a:gd name="connsiteX3" fmla="*/ 262 w 24331"/>
                <a:gd name="connsiteY3" fmla="*/ 11 h 35874"/>
                <a:gd name="connsiteX0" fmla="*/ 639 w 34065"/>
                <a:gd name="connsiteY0" fmla="*/ 1389 h 36767"/>
                <a:gd name="connsiteX1" fmla="*/ 33087 w 34065"/>
                <a:gd name="connsiteY1" fmla="*/ 7946 h 36767"/>
                <a:gd name="connsiteX2" fmla="*/ 24452 w 34065"/>
                <a:gd name="connsiteY2" fmla="*/ 34727 h 36767"/>
                <a:gd name="connsiteX3" fmla="*/ 12493 w 34065"/>
                <a:gd name="connsiteY3" fmla="*/ 31162 h 36767"/>
                <a:gd name="connsiteX4" fmla="*/ 639 w 34065"/>
                <a:gd name="connsiteY4" fmla="*/ 1389 h 36767"/>
                <a:gd name="connsiteX0" fmla="*/ 639 w 35387"/>
                <a:gd name="connsiteY0" fmla="*/ 1389 h 44263"/>
                <a:gd name="connsiteX1" fmla="*/ 33087 w 35387"/>
                <a:gd name="connsiteY1" fmla="*/ 7946 h 44263"/>
                <a:gd name="connsiteX2" fmla="*/ 31940 w 35387"/>
                <a:gd name="connsiteY2" fmla="*/ 43432 h 44263"/>
                <a:gd name="connsiteX3" fmla="*/ 12493 w 35387"/>
                <a:gd name="connsiteY3" fmla="*/ 31162 h 44263"/>
                <a:gd name="connsiteX4" fmla="*/ 639 w 35387"/>
                <a:gd name="connsiteY4" fmla="*/ 1389 h 44263"/>
                <a:gd name="connsiteX0" fmla="*/ 639 w 35118"/>
                <a:gd name="connsiteY0" fmla="*/ 1389 h 60290"/>
                <a:gd name="connsiteX1" fmla="*/ 33087 w 35118"/>
                <a:gd name="connsiteY1" fmla="*/ 7946 h 60290"/>
                <a:gd name="connsiteX2" fmla="*/ 31940 w 35118"/>
                <a:gd name="connsiteY2" fmla="*/ 43432 h 60290"/>
                <a:gd name="connsiteX3" fmla="*/ 18293 w 35118"/>
                <a:gd name="connsiteY3" fmla="*/ 60021 h 60290"/>
                <a:gd name="connsiteX4" fmla="*/ 12493 w 35118"/>
                <a:gd name="connsiteY4" fmla="*/ 31162 h 60290"/>
                <a:gd name="connsiteX5" fmla="*/ 639 w 35118"/>
                <a:gd name="connsiteY5" fmla="*/ 1389 h 60290"/>
                <a:gd name="connsiteX0" fmla="*/ 6372 w 24002"/>
                <a:gd name="connsiteY0" fmla="*/ 12252 h 53744"/>
                <a:gd name="connsiteX1" fmla="*/ 21971 w 24002"/>
                <a:gd name="connsiteY1" fmla="*/ 1398 h 53744"/>
                <a:gd name="connsiteX2" fmla="*/ 20824 w 24002"/>
                <a:gd name="connsiteY2" fmla="*/ 36884 h 53744"/>
                <a:gd name="connsiteX3" fmla="*/ 7177 w 24002"/>
                <a:gd name="connsiteY3" fmla="*/ 53473 h 53744"/>
                <a:gd name="connsiteX4" fmla="*/ 1377 w 24002"/>
                <a:gd name="connsiteY4" fmla="*/ 24614 h 53744"/>
                <a:gd name="connsiteX5" fmla="*/ 6372 w 24002"/>
                <a:gd name="connsiteY5" fmla="*/ 12252 h 53744"/>
                <a:gd name="connsiteX0" fmla="*/ 4848 w 24350"/>
                <a:gd name="connsiteY0" fmla="*/ 1388 h 60289"/>
                <a:gd name="connsiteX1" fmla="*/ 22319 w 24350"/>
                <a:gd name="connsiteY1" fmla="*/ 7944 h 60289"/>
                <a:gd name="connsiteX2" fmla="*/ 21172 w 24350"/>
                <a:gd name="connsiteY2" fmla="*/ 43430 h 60289"/>
                <a:gd name="connsiteX3" fmla="*/ 7525 w 24350"/>
                <a:gd name="connsiteY3" fmla="*/ 60019 h 60289"/>
                <a:gd name="connsiteX4" fmla="*/ 1725 w 24350"/>
                <a:gd name="connsiteY4" fmla="*/ 31160 h 60289"/>
                <a:gd name="connsiteX5" fmla="*/ 4848 w 24350"/>
                <a:gd name="connsiteY5" fmla="*/ 1388 h 60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50" h="60289">
                  <a:moveTo>
                    <a:pt x="4848" y="1388"/>
                  </a:moveTo>
                  <a:cubicBezTo>
                    <a:pt x="8280" y="-2481"/>
                    <a:pt x="18350" y="2388"/>
                    <a:pt x="22319" y="7944"/>
                  </a:cubicBezTo>
                  <a:cubicBezTo>
                    <a:pt x="26288" y="13500"/>
                    <a:pt x="23638" y="34751"/>
                    <a:pt x="21172" y="43430"/>
                  </a:cubicBezTo>
                  <a:cubicBezTo>
                    <a:pt x="18706" y="52109"/>
                    <a:pt x="10766" y="62064"/>
                    <a:pt x="7525" y="60019"/>
                  </a:cubicBezTo>
                  <a:cubicBezTo>
                    <a:pt x="4284" y="57974"/>
                    <a:pt x="4667" y="38030"/>
                    <a:pt x="1725" y="31160"/>
                  </a:cubicBezTo>
                  <a:cubicBezTo>
                    <a:pt x="-2244" y="25604"/>
                    <a:pt x="1416" y="5257"/>
                    <a:pt x="4848" y="1388"/>
                  </a:cubicBezTo>
                  <a:close/>
                </a:path>
              </a:pathLst>
            </a:custGeom>
            <a:grpFill/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34" name="Freeform 244">
              <a:extLst>
                <a:ext uri="{FF2B5EF4-FFF2-40B4-BE49-F238E27FC236}">
                  <a16:creationId xmlns:a16="http://schemas.microsoft.com/office/drawing/2014/main" id="{C3781922-DA38-4A75-B29A-BFB19055C5FB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4121151" y="2377009"/>
              <a:ext cx="247650" cy="456256"/>
            </a:xfrm>
            <a:custGeom>
              <a:avLst/>
              <a:gdLst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52388 w 247650"/>
                <a:gd name="connsiteY61" fmla="*/ 37322 h 526236"/>
                <a:gd name="connsiteX62" fmla="*/ 36513 w 247650"/>
                <a:gd name="connsiteY62" fmla="*/ 23326 h 526236"/>
                <a:gd name="connsiteX63" fmla="*/ 46038 w 247650"/>
                <a:gd name="connsiteY63" fmla="*/ 0 h 526236"/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36513 w 247650"/>
                <a:gd name="connsiteY61" fmla="*/ 23326 h 526236"/>
                <a:gd name="connsiteX62" fmla="*/ 46038 w 247650"/>
                <a:gd name="connsiteY62" fmla="*/ 0 h 526236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44798 w 247650"/>
                <a:gd name="connsiteY60" fmla="*/ 26024 h 502910"/>
                <a:gd name="connsiteX61" fmla="*/ 36513 w 247650"/>
                <a:gd name="connsiteY61" fmla="*/ 0 h 502910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36513 w 247650"/>
                <a:gd name="connsiteY60" fmla="*/ 0 h 502910"/>
                <a:gd name="connsiteX0" fmla="*/ 23812 w 247650"/>
                <a:gd name="connsiteY0" fmla="*/ 247492 h 456256"/>
                <a:gd name="connsiteX1" fmla="*/ 60325 w 247650"/>
                <a:gd name="connsiteY1" fmla="*/ 266176 h 456256"/>
                <a:gd name="connsiteX2" fmla="*/ 66675 w 247650"/>
                <a:gd name="connsiteY2" fmla="*/ 280189 h 456256"/>
                <a:gd name="connsiteX3" fmla="*/ 77787 w 247650"/>
                <a:gd name="connsiteY3" fmla="*/ 314442 h 456256"/>
                <a:gd name="connsiteX4" fmla="*/ 52387 w 247650"/>
                <a:gd name="connsiteY4" fmla="*/ 325341 h 456256"/>
                <a:gd name="connsiteX5" fmla="*/ 20637 w 247650"/>
                <a:gd name="connsiteY5" fmla="*/ 319113 h 456256"/>
                <a:gd name="connsiteX6" fmla="*/ 0 w 247650"/>
                <a:gd name="connsiteY6" fmla="*/ 300429 h 456256"/>
                <a:gd name="connsiteX7" fmla="*/ 4762 w 247650"/>
                <a:gd name="connsiteY7" fmla="*/ 281746 h 456256"/>
                <a:gd name="connsiteX8" fmla="*/ 23812 w 247650"/>
                <a:gd name="connsiteY8" fmla="*/ 247492 h 456256"/>
                <a:gd name="connsiteX9" fmla="*/ 147637 w 247650"/>
                <a:gd name="connsiteY9" fmla="*/ 73089 h 456256"/>
                <a:gd name="connsiteX10" fmla="*/ 150812 w 247650"/>
                <a:gd name="connsiteY10" fmla="*/ 111967 h 456256"/>
                <a:gd name="connsiteX11" fmla="*/ 122237 w 247650"/>
                <a:gd name="connsiteY11" fmla="*/ 149289 h 456256"/>
                <a:gd name="connsiteX12" fmla="*/ 174625 w 247650"/>
                <a:gd name="connsiteY12" fmla="*/ 158620 h 456256"/>
                <a:gd name="connsiteX13" fmla="*/ 152400 w 247650"/>
                <a:gd name="connsiteY13" fmla="*/ 205273 h 456256"/>
                <a:gd name="connsiteX14" fmla="*/ 161925 w 247650"/>
                <a:gd name="connsiteY14" fmla="*/ 228600 h 456256"/>
                <a:gd name="connsiteX15" fmla="*/ 174625 w 247650"/>
                <a:gd name="connsiteY15" fmla="*/ 250371 h 456256"/>
                <a:gd name="connsiteX16" fmla="*/ 185738 w 247650"/>
                <a:gd name="connsiteY16" fmla="*/ 275253 h 456256"/>
                <a:gd name="connsiteX17" fmla="*/ 214313 w 247650"/>
                <a:gd name="connsiteY17" fmla="*/ 307910 h 456256"/>
                <a:gd name="connsiteX18" fmla="*/ 223838 w 247650"/>
                <a:gd name="connsiteY18" fmla="*/ 335902 h 456256"/>
                <a:gd name="connsiteX19" fmla="*/ 247650 w 247650"/>
                <a:gd name="connsiteY19" fmla="*/ 381000 h 456256"/>
                <a:gd name="connsiteX20" fmla="*/ 219075 w 247650"/>
                <a:gd name="connsiteY20" fmla="*/ 399661 h 456256"/>
                <a:gd name="connsiteX21" fmla="*/ 236538 w 247650"/>
                <a:gd name="connsiteY21" fmla="*/ 422988 h 456256"/>
                <a:gd name="connsiteX22" fmla="*/ 204788 w 247650"/>
                <a:gd name="connsiteY22" fmla="*/ 429208 h 456256"/>
                <a:gd name="connsiteX23" fmla="*/ 150812 w 247650"/>
                <a:gd name="connsiteY23" fmla="*/ 432318 h 456256"/>
                <a:gd name="connsiteX24" fmla="*/ 127000 w 247650"/>
                <a:gd name="connsiteY24" fmla="*/ 443204 h 456256"/>
                <a:gd name="connsiteX25" fmla="*/ 98425 w 247650"/>
                <a:gd name="connsiteY25" fmla="*/ 450979 h 456256"/>
                <a:gd name="connsiteX26" fmla="*/ 76200 w 247650"/>
                <a:gd name="connsiteY26" fmla="*/ 452535 h 456256"/>
                <a:gd name="connsiteX27" fmla="*/ 61912 w 247650"/>
                <a:gd name="connsiteY27" fmla="*/ 450979 h 456256"/>
                <a:gd name="connsiteX28" fmla="*/ 69850 w 247650"/>
                <a:gd name="connsiteY28" fmla="*/ 447869 h 456256"/>
                <a:gd name="connsiteX29" fmla="*/ 98425 w 247650"/>
                <a:gd name="connsiteY29" fmla="*/ 424543 h 456256"/>
                <a:gd name="connsiteX30" fmla="*/ 112712 w 247650"/>
                <a:gd name="connsiteY30" fmla="*/ 396551 h 456256"/>
                <a:gd name="connsiteX31" fmla="*/ 93662 w 247650"/>
                <a:gd name="connsiteY31" fmla="*/ 376334 h 456256"/>
                <a:gd name="connsiteX32" fmla="*/ 107950 w 247650"/>
                <a:gd name="connsiteY32" fmla="*/ 343677 h 456256"/>
                <a:gd name="connsiteX33" fmla="*/ 104824 w 247650"/>
                <a:gd name="connsiteY33" fmla="*/ 335877 h 456256"/>
                <a:gd name="connsiteX34" fmla="*/ 136525 w 247650"/>
                <a:gd name="connsiteY34" fmla="*/ 334347 h 456256"/>
                <a:gd name="connsiteX35" fmla="*/ 138112 w 247650"/>
                <a:gd name="connsiteY35" fmla="*/ 301689 h 456256"/>
                <a:gd name="connsiteX36" fmla="*/ 127000 w 247650"/>
                <a:gd name="connsiteY36" fmla="*/ 278363 h 456256"/>
                <a:gd name="connsiteX37" fmla="*/ 128587 w 247650"/>
                <a:gd name="connsiteY37" fmla="*/ 265922 h 456256"/>
                <a:gd name="connsiteX38" fmla="*/ 90487 w 247650"/>
                <a:gd name="connsiteY38" fmla="*/ 259702 h 456256"/>
                <a:gd name="connsiteX39" fmla="*/ 60325 w 247650"/>
                <a:gd name="connsiteY39" fmla="*/ 214604 h 456256"/>
                <a:gd name="connsiteX40" fmla="*/ 61912 w 247650"/>
                <a:gd name="connsiteY40" fmla="*/ 189722 h 456256"/>
                <a:gd name="connsiteX41" fmla="*/ 36512 w 247650"/>
                <a:gd name="connsiteY41" fmla="*/ 171061 h 456256"/>
                <a:gd name="connsiteX42" fmla="*/ 38100 w 247650"/>
                <a:gd name="connsiteY42" fmla="*/ 130628 h 456256"/>
                <a:gd name="connsiteX43" fmla="*/ 61912 w 247650"/>
                <a:gd name="connsiteY43" fmla="*/ 116632 h 456256"/>
                <a:gd name="connsiteX44" fmla="*/ 74191 w 247650"/>
                <a:gd name="connsiteY44" fmla="*/ 140250 h 456256"/>
                <a:gd name="connsiteX45" fmla="*/ 76200 w 247650"/>
                <a:gd name="connsiteY45" fmla="*/ 133738 h 456256"/>
                <a:gd name="connsiteX46" fmla="*/ 104775 w 247650"/>
                <a:gd name="connsiteY46" fmla="*/ 110412 h 456256"/>
                <a:gd name="connsiteX47" fmla="*/ 128587 w 247650"/>
                <a:gd name="connsiteY47" fmla="*/ 91750 h 456256"/>
                <a:gd name="connsiteX48" fmla="*/ 147637 w 247650"/>
                <a:gd name="connsiteY48" fmla="*/ 73089 h 456256"/>
                <a:gd name="connsiteX49" fmla="*/ 195263 w 247650"/>
                <a:gd name="connsiteY49" fmla="*/ 0 h 456256"/>
                <a:gd name="connsiteX50" fmla="*/ 204788 w 247650"/>
                <a:gd name="connsiteY50" fmla="*/ 18661 h 456256"/>
                <a:gd name="connsiteX51" fmla="*/ 193676 w 247650"/>
                <a:gd name="connsiteY51" fmla="*/ 49763 h 456256"/>
                <a:gd name="connsiteX52" fmla="*/ 179388 w 247650"/>
                <a:gd name="connsiteY52" fmla="*/ 69980 h 456256"/>
                <a:gd name="connsiteX53" fmla="*/ 174625 w 247650"/>
                <a:gd name="connsiteY53" fmla="*/ 77755 h 456256"/>
                <a:gd name="connsiteX54" fmla="*/ 176213 w 247650"/>
                <a:gd name="connsiteY54" fmla="*/ 68424 h 456256"/>
                <a:gd name="connsiteX55" fmla="*/ 179388 w 247650"/>
                <a:gd name="connsiteY55" fmla="*/ 41988 h 456256"/>
                <a:gd name="connsiteX56" fmla="*/ 176213 w 247650"/>
                <a:gd name="connsiteY56" fmla="*/ 13996 h 456256"/>
                <a:gd name="connsiteX57" fmla="*/ 195263 w 247650"/>
                <a:gd name="connsiteY57" fmla="*/ 0 h 45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47650" h="456256">
                  <a:moveTo>
                    <a:pt x="23812" y="247492"/>
                  </a:moveTo>
                  <a:cubicBezTo>
                    <a:pt x="33337" y="244378"/>
                    <a:pt x="53975" y="261505"/>
                    <a:pt x="60325" y="266176"/>
                  </a:cubicBezTo>
                  <a:cubicBezTo>
                    <a:pt x="66675" y="270847"/>
                    <a:pt x="61912" y="272404"/>
                    <a:pt x="66675" y="280189"/>
                  </a:cubicBezTo>
                  <a:cubicBezTo>
                    <a:pt x="69850" y="287974"/>
                    <a:pt x="79375" y="306657"/>
                    <a:pt x="77787" y="314442"/>
                  </a:cubicBezTo>
                  <a:lnTo>
                    <a:pt x="52387" y="325341"/>
                  </a:lnTo>
                  <a:lnTo>
                    <a:pt x="20637" y="319113"/>
                  </a:lnTo>
                  <a:lnTo>
                    <a:pt x="0" y="300429"/>
                  </a:lnTo>
                  <a:lnTo>
                    <a:pt x="4762" y="281746"/>
                  </a:lnTo>
                  <a:lnTo>
                    <a:pt x="23812" y="247492"/>
                  </a:lnTo>
                  <a:close/>
                  <a:moveTo>
                    <a:pt x="147637" y="73089"/>
                  </a:moveTo>
                  <a:cubicBezTo>
                    <a:pt x="161925" y="90195"/>
                    <a:pt x="155575" y="77754"/>
                    <a:pt x="150812" y="111967"/>
                  </a:cubicBezTo>
                  <a:cubicBezTo>
                    <a:pt x="133350" y="122852"/>
                    <a:pt x="133350" y="135293"/>
                    <a:pt x="122237" y="149289"/>
                  </a:cubicBezTo>
                  <a:cubicBezTo>
                    <a:pt x="139700" y="153955"/>
                    <a:pt x="158750" y="149289"/>
                    <a:pt x="174625" y="158620"/>
                  </a:cubicBezTo>
                  <a:cubicBezTo>
                    <a:pt x="169862" y="172616"/>
                    <a:pt x="160337" y="194387"/>
                    <a:pt x="152400" y="205273"/>
                  </a:cubicBezTo>
                  <a:cubicBezTo>
                    <a:pt x="157162" y="214604"/>
                    <a:pt x="160337" y="219269"/>
                    <a:pt x="161925" y="228600"/>
                  </a:cubicBezTo>
                  <a:cubicBezTo>
                    <a:pt x="165100" y="236375"/>
                    <a:pt x="169862" y="242595"/>
                    <a:pt x="174625" y="250371"/>
                  </a:cubicBezTo>
                  <a:cubicBezTo>
                    <a:pt x="187325" y="259702"/>
                    <a:pt x="177800" y="264367"/>
                    <a:pt x="185738" y="275253"/>
                  </a:cubicBezTo>
                  <a:cubicBezTo>
                    <a:pt x="203200" y="284583"/>
                    <a:pt x="211138" y="287693"/>
                    <a:pt x="214313" y="307910"/>
                  </a:cubicBezTo>
                  <a:cubicBezTo>
                    <a:pt x="219075" y="320351"/>
                    <a:pt x="222250" y="321906"/>
                    <a:pt x="223838" y="335902"/>
                  </a:cubicBezTo>
                  <a:cubicBezTo>
                    <a:pt x="228600" y="348343"/>
                    <a:pt x="247650" y="370114"/>
                    <a:pt x="247650" y="381000"/>
                  </a:cubicBezTo>
                  <a:cubicBezTo>
                    <a:pt x="247650" y="391885"/>
                    <a:pt x="219075" y="390330"/>
                    <a:pt x="219075" y="399661"/>
                  </a:cubicBezTo>
                  <a:cubicBezTo>
                    <a:pt x="207963" y="405881"/>
                    <a:pt x="242888" y="413657"/>
                    <a:pt x="236538" y="422988"/>
                  </a:cubicBezTo>
                  <a:cubicBezTo>
                    <a:pt x="222250" y="424543"/>
                    <a:pt x="217488" y="426098"/>
                    <a:pt x="204788" y="429208"/>
                  </a:cubicBezTo>
                  <a:cubicBezTo>
                    <a:pt x="187325" y="427653"/>
                    <a:pt x="168275" y="424543"/>
                    <a:pt x="150812" y="432318"/>
                  </a:cubicBezTo>
                  <a:cubicBezTo>
                    <a:pt x="138112" y="433873"/>
                    <a:pt x="134937" y="433873"/>
                    <a:pt x="127000" y="443204"/>
                  </a:cubicBezTo>
                  <a:cubicBezTo>
                    <a:pt x="117475" y="446314"/>
                    <a:pt x="107950" y="447869"/>
                    <a:pt x="98425" y="450979"/>
                  </a:cubicBezTo>
                  <a:cubicBezTo>
                    <a:pt x="90487" y="450979"/>
                    <a:pt x="84137" y="450979"/>
                    <a:pt x="76200" y="452535"/>
                  </a:cubicBezTo>
                  <a:cubicBezTo>
                    <a:pt x="74612" y="452535"/>
                    <a:pt x="61912" y="461865"/>
                    <a:pt x="61912" y="450979"/>
                  </a:cubicBezTo>
                  <a:cubicBezTo>
                    <a:pt x="61912" y="447869"/>
                    <a:pt x="66675" y="449424"/>
                    <a:pt x="69850" y="447869"/>
                  </a:cubicBezTo>
                  <a:cubicBezTo>
                    <a:pt x="90487" y="446314"/>
                    <a:pt x="93662" y="443204"/>
                    <a:pt x="98425" y="424543"/>
                  </a:cubicBezTo>
                  <a:cubicBezTo>
                    <a:pt x="107950" y="412102"/>
                    <a:pt x="109537" y="416767"/>
                    <a:pt x="112712" y="396551"/>
                  </a:cubicBezTo>
                  <a:cubicBezTo>
                    <a:pt x="96837" y="394996"/>
                    <a:pt x="84137" y="394996"/>
                    <a:pt x="93662" y="376334"/>
                  </a:cubicBezTo>
                  <a:cubicBezTo>
                    <a:pt x="115887" y="368559"/>
                    <a:pt x="111125" y="362338"/>
                    <a:pt x="107950" y="343677"/>
                  </a:cubicBezTo>
                  <a:lnTo>
                    <a:pt x="104824" y="335877"/>
                  </a:lnTo>
                  <a:cubicBezTo>
                    <a:pt x="105569" y="335804"/>
                    <a:pt x="117475" y="353008"/>
                    <a:pt x="136525" y="334347"/>
                  </a:cubicBezTo>
                  <a:cubicBezTo>
                    <a:pt x="144462" y="326571"/>
                    <a:pt x="138112" y="312575"/>
                    <a:pt x="138112" y="301689"/>
                  </a:cubicBezTo>
                  <a:cubicBezTo>
                    <a:pt x="136525" y="289249"/>
                    <a:pt x="128587" y="290804"/>
                    <a:pt x="127000" y="278363"/>
                  </a:cubicBezTo>
                  <a:cubicBezTo>
                    <a:pt x="125412" y="272142"/>
                    <a:pt x="134937" y="269032"/>
                    <a:pt x="128587" y="265922"/>
                  </a:cubicBezTo>
                  <a:cubicBezTo>
                    <a:pt x="122717" y="260789"/>
                    <a:pt x="81223" y="253219"/>
                    <a:pt x="90487" y="259702"/>
                  </a:cubicBezTo>
                  <a:cubicBezTo>
                    <a:pt x="109537" y="256591"/>
                    <a:pt x="58737" y="228600"/>
                    <a:pt x="60325" y="214604"/>
                  </a:cubicBezTo>
                  <a:cubicBezTo>
                    <a:pt x="46037" y="211493"/>
                    <a:pt x="57150" y="202163"/>
                    <a:pt x="61912" y="189722"/>
                  </a:cubicBezTo>
                  <a:cubicBezTo>
                    <a:pt x="53975" y="178836"/>
                    <a:pt x="38100" y="186612"/>
                    <a:pt x="36512" y="171061"/>
                  </a:cubicBezTo>
                  <a:cubicBezTo>
                    <a:pt x="38100" y="158620"/>
                    <a:pt x="34925" y="143069"/>
                    <a:pt x="38100" y="130628"/>
                  </a:cubicBezTo>
                  <a:cubicBezTo>
                    <a:pt x="49212" y="124408"/>
                    <a:pt x="49212" y="119742"/>
                    <a:pt x="61912" y="116632"/>
                  </a:cubicBezTo>
                  <a:cubicBezTo>
                    <a:pt x="70247" y="120131"/>
                    <a:pt x="72330" y="139376"/>
                    <a:pt x="74191" y="140250"/>
                  </a:cubicBezTo>
                  <a:lnTo>
                    <a:pt x="76200" y="133738"/>
                  </a:lnTo>
                  <a:cubicBezTo>
                    <a:pt x="90487" y="125963"/>
                    <a:pt x="84137" y="113522"/>
                    <a:pt x="104775" y="110412"/>
                  </a:cubicBezTo>
                  <a:cubicBezTo>
                    <a:pt x="125412" y="111967"/>
                    <a:pt x="127000" y="111967"/>
                    <a:pt x="128587" y="91750"/>
                  </a:cubicBezTo>
                  <a:cubicBezTo>
                    <a:pt x="133350" y="82420"/>
                    <a:pt x="139700" y="80865"/>
                    <a:pt x="147637" y="73089"/>
                  </a:cubicBezTo>
                  <a:close/>
                  <a:moveTo>
                    <a:pt x="195263" y="0"/>
                  </a:moveTo>
                  <a:cubicBezTo>
                    <a:pt x="195263" y="13996"/>
                    <a:pt x="201613" y="3110"/>
                    <a:pt x="204788" y="18661"/>
                  </a:cubicBezTo>
                  <a:cubicBezTo>
                    <a:pt x="201613" y="34212"/>
                    <a:pt x="195263" y="29547"/>
                    <a:pt x="193676" y="49763"/>
                  </a:cubicBezTo>
                  <a:cubicBezTo>
                    <a:pt x="182563" y="55984"/>
                    <a:pt x="180975" y="57539"/>
                    <a:pt x="179388" y="69980"/>
                  </a:cubicBezTo>
                  <a:cubicBezTo>
                    <a:pt x="177800" y="73090"/>
                    <a:pt x="177800" y="79310"/>
                    <a:pt x="174625" y="77755"/>
                  </a:cubicBezTo>
                  <a:cubicBezTo>
                    <a:pt x="171450" y="76200"/>
                    <a:pt x="176213" y="71535"/>
                    <a:pt x="176213" y="68424"/>
                  </a:cubicBezTo>
                  <a:cubicBezTo>
                    <a:pt x="177800" y="59094"/>
                    <a:pt x="177800" y="51318"/>
                    <a:pt x="179388" y="41988"/>
                  </a:cubicBezTo>
                  <a:cubicBezTo>
                    <a:pt x="174625" y="32657"/>
                    <a:pt x="174625" y="24882"/>
                    <a:pt x="176213" y="13996"/>
                  </a:cubicBezTo>
                  <a:cubicBezTo>
                    <a:pt x="188913" y="12441"/>
                    <a:pt x="185738" y="7776"/>
                    <a:pt x="195263" y="0"/>
                  </a:cubicBezTo>
                  <a:close/>
                </a:path>
              </a:pathLst>
            </a:custGeom>
            <a:grpFill/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224" name="Rectangle 223">
            <a:extLst>
              <a:ext uri="{FF2B5EF4-FFF2-40B4-BE49-F238E27FC236}">
                <a16:creationId xmlns:a16="http://schemas.microsoft.com/office/drawing/2014/main" id="{83590C50-2347-4AFA-B9F1-6D2B7CCBC6CA}"/>
              </a:ext>
            </a:extLst>
          </p:cNvPr>
          <p:cNvSpPr/>
          <p:nvPr/>
        </p:nvSpPr>
        <p:spPr>
          <a:xfrm>
            <a:off x="147976" y="1954323"/>
            <a:ext cx="2132267" cy="4418311"/>
          </a:xfrm>
          <a:prstGeom prst="rect">
            <a:avLst/>
          </a:prstGeom>
          <a:ln>
            <a:solidFill>
              <a:srgbClr val="4C6C9C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91" y="301290"/>
            <a:ext cx="11845347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The growth in heavy-duty transport emissions is concentrated in Asia</a:t>
            </a:r>
            <a:endParaRPr lang="en-GB" sz="1800" b="0" dirty="0"/>
          </a:p>
        </p:txBody>
      </p:sp>
      <p:graphicFrame>
        <p:nvGraphicFramePr>
          <p:cNvPr id="453" name="Chart 452">
            <a:extLst>
              <a:ext uri="{FF2B5EF4-FFF2-40B4-BE49-F238E27FC236}">
                <a16:creationId xmlns:a16="http://schemas.microsoft.com/office/drawing/2014/main" id="{E75861A1-677F-411A-9B2D-222ABE296B3B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10888663" y="987425"/>
          <a:ext cx="1133475" cy="544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6"/>
          </a:graphicData>
        </a:graphic>
      </p:graphicFrame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8B1E862E-2876-4EFC-A4A6-55509167A63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534775" y="1495425"/>
            <a:ext cx="3238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fld id="{2B5C40A0-7E90-49EE-8572-2FF57CEC4FA4}" type="datetime'''''20''''5''0''''''''''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ctr" defTabSz="89525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335F"/>
                </a:buClr>
                <a:buSzPct val="100000"/>
                <a:buFontTx/>
                <a:buNone/>
                <a:tabLst/>
                <a:defRPr/>
              </a:pPr>
              <a:t>2050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3F1CB818-95B9-44F2-A60E-9650287E17A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050588" y="1495425"/>
            <a:ext cx="3238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2014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graphicFrame>
        <p:nvGraphicFramePr>
          <p:cNvPr id="496" name="Chart 495">
            <a:extLst>
              <a:ext uri="{FF2B5EF4-FFF2-40B4-BE49-F238E27FC236}">
                <a16:creationId xmlns:a16="http://schemas.microsoft.com/office/drawing/2014/main" id="{901ED775-6220-4EEB-A70E-7EF2E9B4D432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4132263" y="2228850"/>
          <a:ext cx="1052512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7"/>
          </a:graphicData>
        </a:graphic>
      </p:graphicFrame>
      <p:sp>
        <p:nvSpPr>
          <p:cNvPr id="295" name="Rectangle 294">
            <a:extLst>
              <a:ext uri="{FF2B5EF4-FFF2-40B4-BE49-F238E27FC236}">
                <a16:creationId xmlns:a16="http://schemas.microsoft.com/office/drawing/2014/main" id="{0ABF42CF-01B6-4C3A-A3CB-C19CFE2FADFF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4332288" y="3522663"/>
            <a:ext cx="209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94947D0-336E-4510-A73B-776FFDB22784}" type="datetime'''''''''''''''''''''''''''''0''.''''''9'''''''''''''''''''''''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9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9B4F243E-5313-4253-9985-04551DBC3665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4775200" y="3435350"/>
            <a:ext cx="209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87590A2-DBB4-4D76-B52B-3383032846BD}" type="datetime'''''1''''''''''''''.''''''''''''''''''''''''''''''''1'''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1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ECCC725F-7F9A-42C8-93A3-DD5FDD00C5D4}"/>
              </a:ext>
            </a:extLst>
          </p:cNvPr>
          <p:cNvSpPr txBox="1"/>
          <p:nvPr/>
        </p:nvSpPr>
        <p:spPr>
          <a:xfrm>
            <a:off x="7240290" y="3404912"/>
            <a:ext cx="66516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</a:rPr>
              <a:t>Europe</a:t>
            </a:r>
          </a:p>
        </p:txBody>
      </p:sp>
      <p:graphicFrame>
        <p:nvGraphicFramePr>
          <p:cNvPr id="441" name="Chart 440">
            <a:extLst>
              <a:ext uri="{FF2B5EF4-FFF2-40B4-BE49-F238E27FC236}">
                <a16:creationId xmlns:a16="http://schemas.microsoft.com/office/drawing/2014/main" id="{38F522F9-62C6-4F9B-B504-A590921732D0}"/>
              </a:ext>
            </a:extLst>
          </p:cNvPr>
          <p:cNvGraphicFramePr/>
          <p:nvPr>
            <p:custDataLst>
              <p:tags r:id="rId11"/>
            </p:custDataLst>
            <p:extLst/>
          </p:nvPr>
        </p:nvGraphicFramePr>
        <p:xfrm>
          <a:off x="6953250" y="1266825"/>
          <a:ext cx="1052513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8"/>
          </a:graphicData>
        </a:graphic>
      </p:graphicFrame>
      <p:sp>
        <p:nvSpPr>
          <p:cNvPr id="439" name="Rectangle 438">
            <a:extLst>
              <a:ext uri="{FF2B5EF4-FFF2-40B4-BE49-F238E27FC236}">
                <a16:creationId xmlns:a16="http://schemas.microsoft.com/office/drawing/2014/main" id="{FF15601F-4BFC-451E-AD47-95F24425DCC6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7583487" y="2762250"/>
            <a:ext cx="2349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4BA61FD-3A75-4D50-BB73-DE4DA3773BB8}" type="datetime'''0.''''''''''''''''''''''''''''''''''''''''''''''''6''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6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B5E0B96B-70EA-418A-81B5-D9AA7B332614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140574" y="2752725"/>
            <a:ext cx="2349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F2F0E00-710E-4C52-B746-092A8EC11EE4}" type="datetime'''''''''''''''''''''''''''0''''.''''''''6''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6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graphicFrame>
        <p:nvGraphicFramePr>
          <p:cNvPr id="448" name="Chart 447">
            <a:extLst>
              <a:ext uri="{FF2B5EF4-FFF2-40B4-BE49-F238E27FC236}">
                <a16:creationId xmlns:a16="http://schemas.microsoft.com/office/drawing/2014/main" id="{315AD3BC-BB3B-4EA0-B001-282393A8A404}"/>
              </a:ext>
            </a:extLst>
          </p:cNvPr>
          <p:cNvGraphicFramePr/>
          <p:nvPr>
            <p:custDataLst>
              <p:tags r:id="rId14"/>
            </p:custDataLst>
            <p:extLst/>
          </p:nvPr>
        </p:nvGraphicFramePr>
        <p:xfrm>
          <a:off x="6921500" y="3482975"/>
          <a:ext cx="1052513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9"/>
          </a:graphicData>
        </a:graphic>
      </p:graphicFrame>
      <p:sp>
        <p:nvSpPr>
          <p:cNvPr id="446" name="Rectangle 445">
            <a:extLst>
              <a:ext uri="{FF2B5EF4-FFF2-40B4-BE49-F238E27FC236}">
                <a16:creationId xmlns:a16="http://schemas.microsoft.com/office/drawing/2014/main" id="{565F0BE2-79F1-4C3C-8BFD-021ECD8CEF4A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7108825" y="5338763"/>
            <a:ext cx="2349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57BF9EF-D75B-4CA7-9B6E-912E567A3167}" type="datetime'''''''''''''''''''''0''''''''.''0''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0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47" name="Rectangle 446">
            <a:extLst>
              <a:ext uri="{FF2B5EF4-FFF2-40B4-BE49-F238E27FC236}">
                <a16:creationId xmlns:a16="http://schemas.microsoft.com/office/drawing/2014/main" id="{B9C34319-7FA5-4AE7-BE2E-44AB6E1B5569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7551738" y="5314950"/>
            <a:ext cx="2349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4C027C4-00C8-4C85-BC86-655393BBB1A6}" type="datetime'''''''''''''''''''''''''''''''0''''''.''''''''''''1''''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1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00C8C3A2-B475-40B4-84E2-5F6AC0194F4C}"/>
              </a:ext>
            </a:extLst>
          </p:cNvPr>
          <p:cNvSpPr txBox="1"/>
          <p:nvPr/>
        </p:nvSpPr>
        <p:spPr>
          <a:xfrm>
            <a:off x="7077015" y="5634038"/>
            <a:ext cx="820738" cy="1698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th Africa</a:t>
            </a:r>
          </a:p>
        </p:txBody>
      </p:sp>
      <p:graphicFrame>
        <p:nvGraphicFramePr>
          <p:cNvPr id="474" name="Chart 473">
            <a:extLst>
              <a:ext uri="{FF2B5EF4-FFF2-40B4-BE49-F238E27FC236}">
                <a16:creationId xmlns:a16="http://schemas.microsoft.com/office/drawing/2014/main" id="{B4842E7A-73B5-4BB5-83F2-A7BCFA2EE0B1}"/>
              </a:ext>
            </a:extLst>
          </p:cNvPr>
          <p:cNvGraphicFramePr/>
          <p:nvPr>
            <p:custDataLst>
              <p:tags r:id="rId17"/>
            </p:custDataLst>
            <p:extLst/>
          </p:nvPr>
        </p:nvGraphicFramePr>
        <p:xfrm>
          <a:off x="8269288" y="1943100"/>
          <a:ext cx="1052512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0"/>
          </a:graphicData>
        </a:graphic>
      </p:graphicFrame>
      <p:sp>
        <p:nvSpPr>
          <p:cNvPr id="471" name="Rectangle 470">
            <a:extLst>
              <a:ext uri="{FF2B5EF4-FFF2-40B4-BE49-F238E27FC236}">
                <a16:creationId xmlns:a16="http://schemas.microsoft.com/office/drawing/2014/main" id="{BA3207EF-5E48-4B10-95C2-61C7F2FD5CD3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8456612" y="3700463"/>
            <a:ext cx="2349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ED50889-412D-4666-A8FE-A741EAA3F893}" type="datetime'''''''''''''''''''0.''''''''''''''''''2''''''''''''''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2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72" name="Rectangle 471">
            <a:extLst>
              <a:ext uri="{FF2B5EF4-FFF2-40B4-BE49-F238E27FC236}">
                <a16:creationId xmlns:a16="http://schemas.microsoft.com/office/drawing/2014/main" id="{5B373326-BE70-48C3-893E-E71A518DEE72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899524" y="3165475"/>
            <a:ext cx="2349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783BFEF-4806-4203-B698-9FBD31E3E25F}" type="datetime'''''''1''''.0''''''''''''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0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3AC11D7B-117C-474B-9E25-BF741A0FC132}"/>
              </a:ext>
            </a:extLst>
          </p:cNvPr>
          <p:cNvSpPr txBox="1"/>
          <p:nvPr/>
        </p:nvSpPr>
        <p:spPr>
          <a:xfrm>
            <a:off x="8677923" y="4081664"/>
            <a:ext cx="344488" cy="1698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dia</a:t>
            </a:r>
          </a:p>
        </p:txBody>
      </p:sp>
      <p:graphicFrame>
        <p:nvGraphicFramePr>
          <p:cNvPr id="493" name="Chart 492">
            <a:extLst>
              <a:ext uri="{FF2B5EF4-FFF2-40B4-BE49-F238E27FC236}">
                <a16:creationId xmlns:a16="http://schemas.microsoft.com/office/drawing/2014/main" id="{E3BD0F2A-D921-49AD-90CD-72052B6EF88C}"/>
              </a:ext>
            </a:extLst>
          </p:cNvPr>
          <p:cNvGraphicFramePr/>
          <p:nvPr>
            <p:custDataLst>
              <p:tags r:id="rId20"/>
            </p:custDataLst>
            <p:extLst/>
          </p:nvPr>
        </p:nvGraphicFramePr>
        <p:xfrm>
          <a:off x="10242550" y="1152525"/>
          <a:ext cx="1052513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1"/>
          </a:graphicData>
        </a:graphic>
      </p:graphicFrame>
      <p:sp>
        <p:nvSpPr>
          <p:cNvPr id="486" name="Rectangle 485">
            <a:extLst>
              <a:ext uri="{FF2B5EF4-FFF2-40B4-BE49-F238E27FC236}">
                <a16:creationId xmlns:a16="http://schemas.microsoft.com/office/drawing/2014/main" id="{85D0E6D3-0D5F-4E5A-BCC4-F1F81C09F1E6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10429875" y="2547938"/>
            <a:ext cx="2349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14A4B70-C8D2-446C-BD02-818044D3DB3A}" type="datetime'''''''''''0''''''''''''''.''''''7''''''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7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A45481CB-8F90-4566-8325-2390E4EB4B9D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10872788" y="1941513"/>
            <a:ext cx="2349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3753A07-AE07-46DB-B434-3E8F28449747}" type="datetime'''''1''''''''''''''''''''''''''''''''.''''''''''7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7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37917E37-1FB4-4A4A-9CA9-BEECC4243B7F}"/>
              </a:ext>
            </a:extLst>
          </p:cNvPr>
          <p:cNvSpPr txBox="1"/>
          <p:nvPr/>
        </p:nvSpPr>
        <p:spPr>
          <a:xfrm>
            <a:off x="10551081" y="3229472"/>
            <a:ext cx="406400" cy="1698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ina</a:t>
            </a:r>
            <a:endParaRPr kumimoji="0" lang="en-US" sz="1100" b="1" i="0" u="none" strike="noStrike" kern="1200" cap="none" spc="0" normalizeH="0" baseline="3000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aphicFrame>
        <p:nvGraphicFramePr>
          <p:cNvPr id="481" name="Chart 480">
            <a:extLst>
              <a:ext uri="{FF2B5EF4-FFF2-40B4-BE49-F238E27FC236}">
                <a16:creationId xmlns:a16="http://schemas.microsoft.com/office/drawing/2014/main" id="{412F148A-7F90-4A22-86CA-8C12D0392E0C}"/>
              </a:ext>
            </a:extLst>
          </p:cNvPr>
          <p:cNvGraphicFramePr/>
          <p:nvPr>
            <p:custDataLst>
              <p:tags r:id="rId23"/>
            </p:custDataLst>
            <p:extLst/>
          </p:nvPr>
        </p:nvGraphicFramePr>
        <p:xfrm>
          <a:off x="9361488" y="2697163"/>
          <a:ext cx="1046162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2"/>
          </a:graphicData>
        </a:graphic>
      </p:graphicFrame>
      <p:sp>
        <p:nvSpPr>
          <p:cNvPr id="480" name="Rectangle 479">
            <a:extLst>
              <a:ext uri="{FF2B5EF4-FFF2-40B4-BE49-F238E27FC236}">
                <a16:creationId xmlns:a16="http://schemas.microsoft.com/office/drawing/2014/main" id="{821B750F-7C22-4F79-850C-E51EFCCBF45A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9986963" y="4016375"/>
            <a:ext cx="2349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7AB3257-5D3F-4CED-BC97-D04CD3F47641}" type="datetime'0''''''''''.''''''''''''''''9''''''''''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9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79" name="Rectangle 478">
            <a:extLst>
              <a:ext uri="{FF2B5EF4-FFF2-40B4-BE49-F238E27FC236}">
                <a16:creationId xmlns:a16="http://schemas.microsoft.com/office/drawing/2014/main" id="{F8D5C6A0-6A5A-41FE-885D-D173BA5A8688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9545638" y="4397375"/>
            <a:ext cx="2349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5F03503-7BF9-4445-9FFF-99FA02E5C988}" type="datetime'''''''''''''''''0''.''''''''''''3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3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E6E8B477-BE66-45A8-BA95-0EC4FB0D05C9}"/>
              </a:ext>
            </a:extLst>
          </p:cNvPr>
          <p:cNvSpPr txBox="1"/>
          <p:nvPr/>
        </p:nvSpPr>
        <p:spPr>
          <a:xfrm>
            <a:off x="9671378" y="4811713"/>
            <a:ext cx="460062" cy="1698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SEAN</a:t>
            </a:r>
          </a:p>
        </p:txBody>
      </p:sp>
      <p:graphicFrame>
        <p:nvGraphicFramePr>
          <p:cNvPr id="492" name="Chart 491">
            <a:extLst>
              <a:ext uri="{FF2B5EF4-FFF2-40B4-BE49-F238E27FC236}">
                <a16:creationId xmlns:a16="http://schemas.microsoft.com/office/drawing/2014/main" id="{79022EB7-E060-4758-96E3-54DE71803287}"/>
              </a:ext>
            </a:extLst>
          </p:cNvPr>
          <p:cNvGraphicFramePr/>
          <p:nvPr>
            <p:custDataLst>
              <p:tags r:id="rId26"/>
            </p:custDataLst>
            <p:extLst/>
          </p:nvPr>
        </p:nvGraphicFramePr>
        <p:xfrm>
          <a:off x="93663" y="2346325"/>
          <a:ext cx="2182812" cy="3617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3"/>
          </a:graphicData>
        </a:graphic>
      </p:graphicFrame>
      <p:sp>
        <p:nvSpPr>
          <p:cNvPr id="298" name="Rectangle 297">
            <a:extLst>
              <a:ext uri="{FF2B5EF4-FFF2-40B4-BE49-F238E27FC236}">
                <a16:creationId xmlns:a16="http://schemas.microsoft.com/office/drawing/2014/main" id="{70094DB0-4D83-4404-9AED-29F1851E2C69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06413" y="5932488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64A81EF-D2CC-42F0-8A06-FD636149E32D}" type="datetime'''''''2''''''0''''''1''''''''''''4''''''''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F774B3EC-F85E-4387-B6D0-289B0269B3D4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1514475" y="5932488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6609381-14CE-4C3E-B5EA-0BA6AD6E9823}" type="datetime'''''''''''''''''''''''''2''''0''''''''5''''''''''0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5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graphicFrame>
        <p:nvGraphicFramePr>
          <p:cNvPr id="494" name="Chart 493">
            <a:extLst>
              <a:ext uri="{FF2B5EF4-FFF2-40B4-BE49-F238E27FC236}">
                <a16:creationId xmlns:a16="http://schemas.microsoft.com/office/drawing/2014/main" id="{EE189AAD-B882-44C1-A5B1-89D840B87686}"/>
              </a:ext>
            </a:extLst>
          </p:cNvPr>
          <p:cNvGraphicFramePr/>
          <p:nvPr>
            <p:custDataLst>
              <p:tags r:id="rId29"/>
            </p:custDataLst>
            <p:extLst/>
          </p:nvPr>
        </p:nvGraphicFramePr>
        <p:xfrm>
          <a:off x="8691563" y="500063"/>
          <a:ext cx="1052512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4"/>
          </a:graphicData>
        </a:graphic>
      </p:graphicFrame>
      <p:sp>
        <p:nvSpPr>
          <p:cNvPr id="458" name="Rectangle 457">
            <a:extLst>
              <a:ext uri="{FF2B5EF4-FFF2-40B4-BE49-F238E27FC236}">
                <a16:creationId xmlns:a16="http://schemas.microsoft.com/office/drawing/2014/main" id="{8BCC9251-1442-4ADD-9779-C2B9971B5D30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878887" y="2311400"/>
            <a:ext cx="2349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A33A57F-F763-4D37-B91F-C46F77E01F4E}" type="datetime'0''''''''''''''''''''''''''''''''''''.''''''1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1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59" name="Rectangle 458">
            <a:extLst>
              <a:ext uri="{FF2B5EF4-FFF2-40B4-BE49-F238E27FC236}">
                <a16:creationId xmlns:a16="http://schemas.microsoft.com/office/drawing/2014/main" id="{5B577423-3B83-4D8F-82CD-5FC1151B44C8}"/>
              </a:ext>
            </a:extLst>
          </p:cNvPr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9321799" y="2290763"/>
            <a:ext cx="2349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3D7ABCF-91BD-49EB-87C7-F0372D7B6F89}" type="datetime'''''''0''''''''''''''''''''''''''''.''''''''''''1'''''''">
              <a:rPr kumimoji="0" lang="en-GB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1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51" name="TextBox 350">
            <a:extLst>
              <a:ext uri="{FF2B5EF4-FFF2-40B4-BE49-F238E27FC236}">
                <a16:creationId xmlns:a16="http://schemas.microsoft.com/office/drawing/2014/main" id="{455CEE20-A304-4BEE-B5A7-3B227390CA63}"/>
              </a:ext>
            </a:extLst>
          </p:cNvPr>
          <p:cNvSpPr txBox="1"/>
          <p:nvPr/>
        </p:nvSpPr>
        <p:spPr>
          <a:xfrm>
            <a:off x="8969599" y="2609544"/>
            <a:ext cx="418384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Russia</a:t>
            </a:r>
          </a:p>
        </p:txBody>
      </p:sp>
      <p:sp>
        <p:nvSpPr>
          <p:cNvPr id="221" name="5. Source">
            <a:extLst>
              <a:ext uri="{FF2B5EF4-FFF2-40B4-BE49-F238E27FC236}">
                <a16:creationId xmlns:a16="http://schemas.microsoft.com/office/drawing/2014/main" id="{BDFD0242-A32D-4ABA-971F-38D089614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EA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echnology Perspectives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4" name="TextBox 433">
            <a:extLst>
              <a:ext uri="{FF2B5EF4-FFF2-40B4-BE49-F238E27FC236}">
                <a16:creationId xmlns:a16="http://schemas.microsoft.com/office/drawing/2014/main" id="{FA92978E-0D02-4EC6-A6BD-E6A2F11E851E}"/>
              </a:ext>
            </a:extLst>
          </p:cNvPr>
          <p:cNvSpPr txBox="1"/>
          <p:nvPr/>
        </p:nvSpPr>
        <p:spPr>
          <a:xfrm>
            <a:off x="4510476" y="4307102"/>
            <a:ext cx="66516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3973B92-2E81-47A9-91C9-A4A21958476F}"/>
              </a:ext>
            </a:extLst>
          </p:cNvPr>
          <p:cNvGrpSpPr/>
          <p:nvPr/>
        </p:nvGrpSpPr>
        <p:grpSpPr>
          <a:xfrm>
            <a:off x="35061" y="1533424"/>
            <a:ext cx="6445533" cy="292389"/>
            <a:chOff x="45694" y="1656588"/>
            <a:chExt cx="6445533" cy="292389"/>
          </a:xfrm>
        </p:grpSpPr>
        <p:sp>
          <p:nvSpPr>
            <p:cNvPr id="449" name="TextBox 448">
              <a:extLst>
                <a:ext uri="{FF2B5EF4-FFF2-40B4-BE49-F238E27FC236}">
                  <a16:creationId xmlns:a16="http://schemas.microsoft.com/office/drawing/2014/main" id="{1DE65758-8692-4C75-A4B2-9A38B9D5784C}"/>
                </a:ext>
              </a:extLst>
            </p:cNvPr>
            <p:cNvSpPr txBox="1"/>
            <p:nvPr/>
          </p:nvSpPr>
          <p:spPr>
            <a:xfrm>
              <a:off x="45694" y="1656589"/>
              <a:ext cx="3211792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lobal well-to-wheel emissions</a:t>
              </a:r>
            </a:p>
          </p:txBody>
        </p:sp>
        <p:sp>
          <p:nvSpPr>
            <p:cNvPr id="450" name="TextBox 449">
              <a:extLst>
                <a:ext uri="{FF2B5EF4-FFF2-40B4-BE49-F238E27FC236}">
                  <a16:creationId xmlns:a16="http://schemas.microsoft.com/office/drawing/2014/main" id="{768B61B3-1505-4AF1-B5FB-BF672ED3D022}"/>
                </a:ext>
              </a:extLst>
            </p:cNvPr>
            <p:cNvSpPr txBox="1"/>
            <p:nvPr/>
          </p:nvSpPr>
          <p:spPr>
            <a:xfrm>
              <a:off x="3279435" y="1656588"/>
              <a:ext cx="3211792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Regional well-to-wheel emissions</a:t>
              </a:r>
            </a:p>
          </p:txBody>
        </p:sp>
      </p:grpSp>
      <p:sp>
        <p:nvSpPr>
          <p:cNvPr id="451" name="AutoShape 250">
            <a:extLst>
              <a:ext uri="{FF2B5EF4-FFF2-40B4-BE49-F238E27FC236}">
                <a16:creationId xmlns:a16="http://schemas.microsoft.com/office/drawing/2014/main" id="{AAB4A0D7-D8C0-4733-819B-792E73D1D1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746" y="999756"/>
            <a:ext cx="10544318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B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Well-to-wheel emissions from heavy-duty transpo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t 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, IEA Reference Technology Scenario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452" name="AutoShape 249">
            <a:extLst>
              <a:ext uri="{FF2B5EF4-FFF2-40B4-BE49-F238E27FC236}">
                <a16:creationId xmlns:a16="http://schemas.microsoft.com/office/drawing/2014/main" id="{35CCD49D-207E-49AC-BFCE-5B44338C4FF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76746" y="1449110"/>
            <a:ext cx="10544318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504" name="Chart 503">
            <a:extLst>
              <a:ext uri="{FF2B5EF4-FFF2-40B4-BE49-F238E27FC236}">
                <a16:creationId xmlns:a16="http://schemas.microsoft.com/office/drawing/2014/main" id="{E48D6217-E0CC-4418-A697-428E20D3DD41}"/>
              </a:ext>
            </a:extLst>
          </p:cNvPr>
          <p:cNvGraphicFramePr/>
          <p:nvPr>
            <p:custDataLst>
              <p:tags r:id="rId32"/>
            </p:custDataLst>
            <p:extLst/>
          </p:nvPr>
        </p:nvGraphicFramePr>
        <p:xfrm>
          <a:off x="5192713" y="3260725"/>
          <a:ext cx="1052512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5"/>
          </a:graphicData>
        </a:graphic>
      </p:graphicFrame>
      <p:sp>
        <p:nvSpPr>
          <p:cNvPr id="498" name="Rectangle 497">
            <a:extLst>
              <a:ext uri="{FF2B5EF4-FFF2-40B4-BE49-F238E27FC236}">
                <a16:creationId xmlns:a16="http://schemas.microsoft.com/office/drawing/2014/main" id="{22D9E504-1811-44DA-848B-91E51FA33560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5392738" y="5035550"/>
            <a:ext cx="209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881A8DB-9345-4D7D-83A0-61CA56E4632D}" type="datetime'''''''''''''''''''0''.2'''''''''''''''''''''''''''''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2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99" name="Rectangle 498">
            <a:extLst>
              <a:ext uri="{FF2B5EF4-FFF2-40B4-BE49-F238E27FC236}">
                <a16:creationId xmlns:a16="http://schemas.microsoft.com/office/drawing/2014/main" id="{D7FD242F-3EDD-43DD-B4BF-C3AFFDD889AA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5835650" y="4973638"/>
            <a:ext cx="209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7FA156E-DABE-45F7-B325-B6B1562BFE55}" type="datetime'''''''''''0.''3'''''''''''''''''''''''''''''''''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3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8FEF20E4-9E25-455E-8E80-58835C01FE7C}"/>
              </a:ext>
            </a:extLst>
          </p:cNvPr>
          <p:cNvSpPr txBox="1"/>
          <p:nvPr/>
        </p:nvSpPr>
        <p:spPr>
          <a:xfrm>
            <a:off x="5533962" y="5338763"/>
            <a:ext cx="665163" cy="1698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5F"/>
              </a:buClr>
              <a:buSzPct val="100000"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razi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022500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55035687"/>
              </p:ext>
            </p:extLst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7" name="think-cell Slide" r:id="rId38" imgW="526" imgH="526" progId="TCLayout.ActiveDocument.1">
                  <p:embed/>
                </p:oleObj>
              </mc:Choice>
              <mc:Fallback>
                <p:oleObj name="think-cell Slide" r:id="rId38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03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4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91" y="160472"/>
            <a:ext cx="11078058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GB" sz="2000" dirty="0">
                <a:solidFill>
                  <a:srgbClr val="004876"/>
                </a:solidFill>
              </a:rPr>
              <a:t>Demand management can cut emissions from the harder-to-abate sectors in </a:t>
            </a:r>
            <a:br>
              <a:rPr lang="en-GB" sz="2000" dirty="0">
                <a:solidFill>
                  <a:srgbClr val="004876"/>
                </a:solidFill>
              </a:rPr>
            </a:br>
            <a:r>
              <a:rPr lang="en-GB" sz="2000" dirty="0">
                <a:solidFill>
                  <a:srgbClr val="004876"/>
                </a:solidFill>
              </a:rPr>
              <a:t>transport by 20% by 2050</a:t>
            </a:r>
            <a:endParaRPr lang="en-GB" sz="2800" dirty="0">
              <a:solidFill>
                <a:srgbClr val="004876"/>
              </a:solidFill>
            </a:endParaRPr>
          </a:p>
        </p:txBody>
      </p: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6C457318-48D4-413C-82F3-12E3B0924DE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562225" y="2241550"/>
            <a:ext cx="7953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125D21B1-88F1-435F-9FD2-E9A3BB321F3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352925" y="2493963"/>
            <a:ext cx="7953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90FA8D12-3D93-4382-8559-F7EF3958FFF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145213" y="2559050"/>
            <a:ext cx="7953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DD8AC0-8ED4-4631-9B60-86B228C58C8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935913" y="2949575"/>
            <a:ext cx="7953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1756DC5B-1280-41EB-9C4F-CB50947677B1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44055686"/>
              </p:ext>
            </p:extLst>
          </p:nvPr>
        </p:nvGraphicFramePr>
        <p:xfrm>
          <a:off x="1087438" y="2011363"/>
          <a:ext cx="9120187" cy="3865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406852F2-8924-46ED-8BDA-A78B7654627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2063750" y="1903413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ADE1C366-041C-443C-BB00-A5834623031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063750" y="1903413"/>
            <a:ext cx="71643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9E5AAF38-BB1D-4A3F-8BE3-EA3D4CEF97A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9228138" y="1903413"/>
            <a:ext cx="0" cy="7842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B6C463DB-5661-4643-9A4F-AEDD47CC384C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9090025" y="3213100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9357C76-AB02-4C21-9DA0-0627DB5D0573}" type="datetime'''''''''''''1''''''''.''''''''''''''''''''7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588453F-624D-4F6D-8846-33B91B976019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1925639" y="2517775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490B4E5-EFBE-4E7E-AC5B-019E55E2D360}" type="datetime'''''''''''''''''''''''''''''1''''''''''''''''.''7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9C76D4EC-5201-40FA-9E02-4C254BD57780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1360488" y="5849939"/>
            <a:ext cx="14081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ACC6F35-3674-446C-AE2B-2C0A873B3D4C}" type="datetime'C''''urren''''t ''''''''pra''c''''t''''ice'' sce''na''''rio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urrent practice scenario</a:t>
            </a:fld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 (IEA RTS)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210CB71-B7C1-4E75-8707-40536CE836BC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1925639" y="3286125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9BE4D00-84B6-45AE-81E1-A744AD80663D}" type="datetime'''''''''''''''''''''''''''''1''.''''8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8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0C8ABCF-61FE-428F-9CA7-092FE5CCE2D0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1925639" y="4687888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A37B36F-FF8E-40DA-9EC9-E414FC7E3608}" type="datetime'''''4''''''.''''''6''''''''''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.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F1F8E1F-A42B-432B-8C7E-A439E261F398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3716338" y="201771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8398D19-068C-478C-A653-D3D3640071A5}" type="datetime'0''''''''''.''''''''''''''''''6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ABB7CBFC-BAA6-4A84-AF43-615FF99E4BCA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413125" y="5849938"/>
            <a:ext cx="8826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Modal shift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7D6EFEF0-A557-4038-868F-D81B34D71A55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892675" y="5849938"/>
            <a:ext cx="15081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Reduced demand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5727AB61-5160-453D-B830-03BC766364BD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919913" y="5849938"/>
            <a:ext cx="1035050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Logistics and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Operational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efficiency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ABE12CD-5952-420A-BDD9-5504D537494F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9090025" y="497046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9264D74-42A5-4191-8EFB-089FE3FD6B67}" type="datetime'''''''''''''3.''''''''''''''''''''''''''3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.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9D4B519F-FEF2-4D03-9ACE-3A2C4F9FAD47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9090025" y="391001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9A9E61A-2E38-469D-9164-831BEF104592}" type="datetime'''''''''''''1''''''.5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D18BDBF-A2A1-4830-94E5-AD3DC596136D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8662988" y="5849938"/>
            <a:ext cx="11318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Demand management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scenario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5765562-599F-4B49-B6D2-BF647AEC2B49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1925638" y="201771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850B55E-652F-4078-8509-A03F1E49FDD3}" type="datetime'''''''''''''''''''''''''8''''.''''''''2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8.2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01F39D6-6C6A-4CC7-B454-376723E4EADA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5508625" y="2270125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CE57208-FEE9-467B-AF48-EC98A79C383B}" type="datetime'''0''''''''''''''''''''''''.''''''''''1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1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AA3D187-61F3-4871-B763-AFB88E4D49D4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299325" y="233521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64370E9-3BA2-4864-B6FC-4691E7F2851A}" type="datetime'''0''''''''''''''''''''''.''''''9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6036D60-B163-48C2-AE36-A3B9C2713870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9090025" y="2725738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CF0424E-59CD-49D3-A2EF-93A8870746D3}" type="datetime'''''''''''6''''''.''''''5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.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A18A3C92-52C9-45BE-BA8D-8EC0D5FAAD72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343525" y="1752600"/>
            <a:ext cx="6048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CD68895-B644-40F9-B7E5-FBB7D8206B80}" type="datetime'''''''''''''-''''''''''''2''''''''''''0''''''''''''''''''''%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20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68C35B-7917-4ADC-9BEB-2669F5110144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190163" y="2370138"/>
            <a:ext cx="231775" cy="173038"/>
          </a:xfrm>
          <a:prstGeom prst="rect">
            <a:avLst/>
          </a:prstGeom>
          <a:solidFill>
            <a:srgbClr val="F38B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42BD980-3776-4D86-8BD2-67BF113895BA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190163" y="2619375"/>
            <a:ext cx="231775" cy="173038"/>
          </a:xfrm>
          <a:prstGeom prst="rect">
            <a:avLst/>
          </a:prstGeom>
          <a:solidFill>
            <a:srgbClr val="ED5C0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AFC3068-A856-41D6-BFC4-1B3FEF05B0E4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0190163" y="2868613"/>
            <a:ext cx="231775" cy="173038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A8616A41-7A2C-4D75-A444-CC0DD35E2629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10472738" y="2363788"/>
            <a:ext cx="6858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F464D6D-B64B-4D6C-B98F-0818796868F1}" type="datetime'S''''''''''h''''''''i''''''''''''''''''''p''pi''''''n''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hipp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721590FB-1203-4ED7-971A-1E5B591E5017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10472738" y="2613025"/>
            <a:ext cx="6572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Aviation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F1D385A6-E958-477D-9882-2CEEADE3AE22}"/>
              </a:ext>
            </a:extLst>
          </p:cNvPr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10472737" y="2862263"/>
            <a:ext cx="9525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4876"/>
              </a:buClr>
              <a:defRPr/>
            </a:pPr>
            <a:fld id="{1245FF48-8D19-4469-ACDB-A9EB16763CBE}" type="datetime'''''''''''''''H''''''e''a''''''''''vy-''ro''''ad'''''">
              <a:rPr lang="en-GB" altLang="en-US" sz="1300" smtClean="0">
                <a:solidFill>
                  <a:srgbClr val="595959"/>
                </a:solidFill>
              </a:rPr>
              <a:pPr lvl="0">
                <a:buClr>
                  <a:srgbClr val="004876"/>
                </a:buClr>
                <a:defRPr/>
              </a:pPr>
              <a:t>Heavy-road</a:t>
            </a:fld>
            <a:endParaRPr kumimoji="0" lang="en-GB" sz="1300" b="0" i="0" strike="noStrike" kern="1200" spc="0" normalizeH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" name="5. Source">
            <a:extLst>
              <a:ext uri="{FF2B5EF4-FFF2-40B4-BE49-F238E27FC236}">
                <a16:creationId xmlns:a16="http://schemas.microsoft.com/office/drawing/2014/main" id="{968279B6-0807-4CFA-AE29-48899B86F4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5" name="AutoShape 250">
            <a:extLst>
              <a:ext uri="{FF2B5EF4-FFF2-40B4-BE49-F238E27FC236}">
                <a16:creationId xmlns:a16="http://schemas.microsoft.com/office/drawing/2014/main" id="{07BB370D-6411-46F3-BE51-0A65A7C64C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7945" y="996674"/>
            <a:ext cx="10502246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B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lobal emissions reductions potential from demand managemen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t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er year, 2050</a:t>
            </a:r>
          </a:p>
        </p:txBody>
      </p:sp>
      <p:cxnSp>
        <p:nvCxnSpPr>
          <p:cNvPr id="66" name="AutoShape 249">
            <a:extLst>
              <a:ext uri="{FF2B5EF4-FFF2-40B4-BE49-F238E27FC236}">
                <a16:creationId xmlns:a16="http://schemas.microsoft.com/office/drawing/2014/main" id="{E473BB35-77AE-4C15-8168-66CDCBC3487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494149" y="1446028"/>
            <a:ext cx="9760700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2"/>
    </p:custDataLst>
    <p:extLst>
      <p:ext uri="{BB962C8B-B14F-4D97-AF65-F5344CB8AC3E}">
        <p14:creationId xmlns:p14="http://schemas.microsoft.com/office/powerpoint/2010/main" val="4946525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A36EEF92-99DA-40FA-A21A-AACC27373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91" y="268658"/>
            <a:ext cx="11821100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Electric drivetrains will dominate in heavy-road transport and short-haul shipping and aviation</a:t>
            </a:r>
            <a:endParaRPr lang="en-GB" sz="1800" b="0" dirty="0"/>
          </a:p>
        </p:txBody>
      </p:sp>
      <p:sp>
        <p:nvSpPr>
          <p:cNvPr id="47" name="5. Source">
            <a:extLst>
              <a:ext uri="{FF2B5EF4-FFF2-40B4-BE49-F238E27FC236}">
                <a16:creationId xmlns:a16="http://schemas.microsoft.com/office/drawing/2014/main" id="{21640472-E1EB-41C9-AE6F-8CDD6DE7D7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7ED95C3-F29E-4C83-B1A6-88EB23432650}"/>
              </a:ext>
            </a:extLst>
          </p:cNvPr>
          <p:cNvGrpSpPr/>
          <p:nvPr/>
        </p:nvGrpSpPr>
        <p:grpSpPr>
          <a:xfrm>
            <a:off x="2897705" y="4809019"/>
            <a:ext cx="3735155" cy="1120508"/>
            <a:chOff x="2391522" y="4613884"/>
            <a:chExt cx="3600122" cy="1080000"/>
          </a:xfrm>
        </p:grpSpPr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FC87A7F0-A07C-4C05-A1E0-8F34F4215DFF}"/>
                </a:ext>
              </a:extLst>
            </p:cNvPr>
            <p:cNvSpPr/>
            <p:nvPr/>
          </p:nvSpPr>
          <p:spPr>
            <a:xfrm>
              <a:off x="2391522" y="4613884"/>
              <a:ext cx="3600122" cy="108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21" name="3. Unit of measure">
              <a:extLst>
                <a:ext uri="{FF2B5EF4-FFF2-40B4-BE49-F238E27FC236}">
                  <a16:creationId xmlns:a16="http://schemas.microsoft.com/office/drawing/2014/main" id="{889CEB50-7802-4C3A-A4E4-153AE162D6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14093" y="4850308"/>
              <a:ext cx="1921017" cy="6001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sz="1400" baseline="0"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attery electric vehicles or Fuel-cell electric vehicles</a:t>
              </a: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7DDFC1AF-41F3-4BAF-88C6-E29DE219B736}"/>
              </a:ext>
            </a:extLst>
          </p:cNvPr>
          <p:cNvSpPr/>
          <p:nvPr/>
        </p:nvSpPr>
        <p:spPr>
          <a:xfrm>
            <a:off x="7177383" y="3246867"/>
            <a:ext cx="3736800" cy="112050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8" name="3. Unit of measure">
            <a:extLst>
              <a:ext uri="{FF2B5EF4-FFF2-40B4-BE49-F238E27FC236}">
                <a16:creationId xmlns:a16="http://schemas.microsoft.com/office/drawing/2014/main" id="{374DBECF-9C58-4680-AFA0-C025EDD240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47572" y="3623699"/>
            <a:ext cx="359109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 baseline="0"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mmonia or Hydrogen (primarily)</a:t>
            </a:r>
          </a:p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ofuels or Synfuels</a:t>
            </a:r>
          </a:p>
        </p:txBody>
      </p:sp>
      <p:sp>
        <p:nvSpPr>
          <p:cNvPr id="91" name="AutoShape 250">
            <a:extLst>
              <a:ext uri="{FF2B5EF4-FFF2-40B4-BE49-F238E27FC236}">
                <a16:creationId xmlns:a16="http://schemas.microsoft.com/office/drawing/2014/main" id="{30C4D7CB-80ED-4402-B9F5-E2914C300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8507" y="1238704"/>
            <a:ext cx="3735154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ost probable option for short haul</a:t>
            </a:r>
          </a:p>
        </p:txBody>
      </p:sp>
      <p:sp>
        <p:nvSpPr>
          <p:cNvPr id="100" name="AutoShape 250">
            <a:extLst>
              <a:ext uri="{FF2B5EF4-FFF2-40B4-BE49-F238E27FC236}">
                <a16:creationId xmlns:a16="http://schemas.microsoft.com/office/drawing/2014/main" id="{A3CCD7E2-9237-4AA4-81C5-A8E22CEFF2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7382" y="1233599"/>
            <a:ext cx="4601402" cy="22671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ost probable option for long haul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5482DD30-4385-4C00-8756-BB127B7DF946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68" t="6359" r="14689" b="19374"/>
          <a:stretch/>
        </p:blipFill>
        <p:spPr>
          <a:xfrm>
            <a:off x="7191310" y="3330718"/>
            <a:ext cx="883177" cy="933757"/>
          </a:xfrm>
          <a:prstGeom prst="rect">
            <a:avLst/>
          </a:prstGeom>
        </p:spPr>
      </p:pic>
      <p:sp>
        <p:nvSpPr>
          <p:cNvPr id="105" name="Rectangle 104">
            <a:extLst>
              <a:ext uri="{FF2B5EF4-FFF2-40B4-BE49-F238E27FC236}">
                <a16:creationId xmlns:a16="http://schemas.microsoft.com/office/drawing/2014/main" id="{CA5926F0-07FD-4F8F-BB05-81D212CE2EDE}"/>
              </a:ext>
            </a:extLst>
          </p:cNvPr>
          <p:cNvSpPr/>
          <p:nvPr/>
        </p:nvSpPr>
        <p:spPr>
          <a:xfrm>
            <a:off x="7177383" y="4809019"/>
            <a:ext cx="3736800" cy="112050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569CB821-9CD9-45FD-B4ED-E60D6EF7B931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68" t="6359" r="14689" b="19374"/>
          <a:stretch/>
        </p:blipFill>
        <p:spPr>
          <a:xfrm>
            <a:off x="7191310" y="4898776"/>
            <a:ext cx="883177" cy="933757"/>
          </a:xfrm>
          <a:prstGeom prst="rect">
            <a:avLst/>
          </a:prstGeom>
        </p:spPr>
      </p:pic>
      <p:sp>
        <p:nvSpPr>
          <p:cNvPr id="89" name="3. Unit of measure">
            <a:extLst>
              <a:ext uri="{FF2B5EF4-FFF2-40B4-BE49-F238E27FC236}">
                <a16:creationId xmlns:a16="http://schemas.microsoft.com/office/drawing/2014/main" id="{31BB611C-2C84-4B0B-ABA6-D720454A7C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5637" y="5265494"/>
            <a:ext cx="1867514" cy="207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 baseline="0"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ofuels or Synfuel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3B2712E-7E7E-4288-BDE0-4ED53C7A7254}"/>
              </a:ext>
            </a:extLst>
          </p:cNvPr>
          <p:cNvGrpSpPr/>
          <p:nvPr/>
        </p:nvGrpSpPr>
        <p:grpSpPr>
          <a:xfrm>
            <a:off x="2897705" y="3274730"/>
            <a:ext cx="3735155" cy="1120509"/>
            <a:chOff x="2391522" y="3135063"/>
            <a:chExt cx="3600122" cy="1080000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37DC66C1-ED19-4CFB-9A89-402E854C1ECB}"/>
                </a:ext>
              </a:extLst>
            </p:cNvPr>
            <p:cNvSpPr/>
            <p:nvPr/>
          </p:nvSpPr>
          <p:spPr>
            <a:xfrm>
              <a:off x="2391522" y="3135063"/>
              <a:ext cx="3600122" cy="108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9" name="3. Unit of measure">
              <a:extLst>
                <a:ext uri="{FF2B5EF4-FFF2-40B4-BE49-F238E27FC236}">
                  <a16:creationId xmlns:a16="http://schemas.microsoft.com/office/drawing/2014/main" id="{224FBF81-4B07-487A-B97D-86AB0EEE2F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12217" y="3374963"/>
              <a:ext cx="1922893" cy="6001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sz="1400" baseline="0"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attery electric vehicles or Fuel-cell electric vehicles</a:t>
              </a:r>
            </a:p>
          </p:txBody>
        </p:sp>
      </p:grpSp>
      <p:pic>
        <p:nvPicPr>
          <p:cNvPr id="108" name="Picture 107">
            <a:extLst>
              <a:ext uri="{FF2B5EF4-FFF2-40B4-BE49-F238E27FC236}">
                <a16:creationId xmlns:a16="http://schemas.microsoft.com/office/drawing/2014/main" id="{27CB80EC-DA7A-491C-BA57-652CB998A01B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61" r="22141" b="14634"/>
          <a:stretch/>
        </p:blipFill>
        <p:spPr>
          <a:xfrm>
            <a:off x="3100659" y="3304189"/>
            <a:ext cx="343623" cy="522904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A5AEC541-25DB-4915-9C4F-F598EE47A32F}"/>
              </a:ext>
            </a:extLst>
          </p:cNvPr>
          <p:cNvGrpSpPr/>
          <p:nvPr/>
        </p:nvGrpSpPr>
        <p:grpSpPr>
          <a:xfrm>
            <a:off x="2947624" y="4842745"/>
            <a:ext cx="539370" cy="1040217"/>
            <a:chOff x="2439637" y="4646396"/>
            <a:chExt cx="519871" cy="1002612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3F4D989-E422-4972-B042-DE61FBC716BD}"/>
                </a:ext>
              </a:extLst>
            </p:cNvPr>
            <p:cNvGrpSpPr/>
            <p:nvPr/>
          </p:nvGrpSpPr>
          <p:grpSpPr>
            <a:xfrm>
              <a:off x="2439637" y="5129136"/>
              <a:ext cx="519871" cy="519872"/>
              <a:chOff x="2439637" y="4259117"/>
              <a:chExt cx="519871" cy="519872"/>
            </a:xfrm>
          </p:grpSpPr>
          <p:pic>
            <p:nvPicPr>
              <p:cNvPr id="55" name="Picture 5" descr="RÃ©sultat de recherche d'images pour &quot;hydrogen icon&quot;">
                <a:extLst>
                  <a:ext uri="{FF2B5EF4-FFF2-40B4-BE49-F238E27FC236}">
                    <a16:creationId xmlns:a16="http://schemas.microsoft.com/office/drawing/2014/main" id="{55D72DA1-E51E-406B-A764-750BC7258E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8900000">
                <a:off x="2439637" y="4259117"/>
                <a:ext cx="519871" cy="5198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DAF092EB-1F0A-4153-ACFD-96A0C7D2EEB5}"/>
                  </a:ext>
                </a:extLst>
              </p:cNvPr>
              <p:cNvSpPr/>
              <p:nvPr/>
            </p:nvSpPr>
            <p:spPr>
              <a:xfrm>
                <a:off x="2575014" y="4399692"/>
                <a:ext cx="275303" cy="27530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H</a:t>
                </a:r>
                <a:r>
                  <a:rPr kumimoji="0" lang="en-GB" sz="1200" b="1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2</a:t>
                </a:r>
              </a:p>
            </p:txBody>
          </p:sp>
        </p:grpSp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770E70A4-7B3A-42EE-B31D-25D9424D5D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761" r="22141" b="14634"/>
            <a:stretch/>
          </p:blipFill>
          <p:spPr>
            <a:xfrm>
              <a:off x="2587139" y="4646396"/>
              <a:ext cx="331200" cy="504000"/>
            </a:xfrm>
            <a:prstGeom prst="rect">
              <a:avLst/>
            </a:prstGeom>
          </p:spPr>
        </p:pic>
      </p:grpSp>
      <p:sp>
        <p:nvSpPr>
          <p:cNvPr id="48" name="Rectangle 75">
            <a:extLst>
              <a:ext uri="{FF2B5EF4-FFF2-40B4-BE49-F238E27FC236}">
                <a16:creationId xmlns:a16="http://schemas.microsoft.com/office/drawing/2014/main" id="{9F0AFD44-58E8-4DFE-856E-BB84EE87379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85730" y="3274712"/>
            <a:ext cx="1809560" cy="1120508"/>
          </a:xfrm>
          <a:prstGeom prst="rect">
            <a:avLst/>
          </a:prstGeom>
          <a:solidFill>
            <a:srgbClr val="F38B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</a:t>
            </a:r>
          </a:p>
        </p:txBody>
      </p:sp>
      <p:sp>
        <p:nvSpPr>
          <p:cNvPr id="49" name="Rectangle 75">
            <a:extLst>
              <a:ext uri="{FF2B5EF4-FFF2-40B4-BE49-F238E27FC236}">
                <a16:creationId xmlns:a16="http://schemas.microsoft.com/office/drawing/2014/main" id="{0ECD9368-D0CE-4A66-B0F9-775AC3659A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85730" y="4809019"/>
            <a:ext cx="1809560" cy="1120508"/>
          </a:xfrm>
          <a:prstGeom prst="rect">
            <a:avLst/>
          </a:prstGeom>
          <a:solidFill>
            <a:srgbClr val="ED5C05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ia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3A77097-EF4A-4DEC-9CDA-C344BA4E189D}"/>
              </a:ext>
            </a:extLst>
          </p:cNvPr>
          <p:cNvGrpSpPr/>
          <p:nvPr/>
        </p:nvGrpSpPr>
        <p:grpSpPr>
          <a:xfrm>
            <a:off x="2947624" y="3819577"/>
            <a:ext cx="539370" cy="539371"/>
            <a:chOff x="2439637" y="4259117"/>
            <a:chExt cx="519871" cy="519872"/>
          </a:xfrm>
        </p:grpSpPr>
        <p:pic>
          <p:nvPicPr>
            <p:cNvPr id="15365" name="Picture 5" descr="RÃ©sultat de recherche d'images pour &quot;hydrogen icon&quot;">
              <a:extLst>
                <a:ext uri="{FF2B5EF4-FFF2-40B4-BE49-F238E27FC236}">
                  <a16:creationId xmlns:a16="http://schemas.microsoft.com/office/drawing/2014/main" id="{7CA69666-2B8D-4800-A1A8-F4331F4D31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8900000">
              <a:off x="2439637" y="4259117"/>
              <a:ext cx="519871" cy="5198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52BC2ED-D84F-4318-A561-14B6B811D169}"/>
                </a:ext>
              </a:extLst>
            </p:cNvPr>
            <p:cNvSpPr/>
            <p:nvPr/>
          </p:nvSpPr>
          <p:spPr>
            <a:xfrm>
              <a:off x="2575014" y="4399692"/>
              <a:ext cx="275303" cy="27530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</a:t>
              </a:r>
              <a:r>
                <a:rPr kumimoji="0" lang="en-GB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8EE0A7C-81F5-4931-A985-1D052FAEC75F}"/>
              </a:ext>
            </a:extLst>
          </p:cNvPr>
          <p:cNvGrpSpPr/>
          <p:nvPr/>
        </p:nvGrpSpPr>
        <p:grpSpPr>
          <a:xfrm>
            <a:off x="2897705" y="1709206"/>
            <a:ext cx="3735155" cy="1120508"/>
            <a:chOff x="2391522" y="1626135"/>
            <a:chExt cx="3600122" cy="108000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7E45F44-A1FD-4DDB-91AE-17ABA7A5686B}"/>
                </a:ext>
              </a:extLst>
            </p:cNvPr>
            <p:cNvSpPr/>
            <p:nvPr/>
          </p:nvSpPr>
          <p:spPr>
            <a:xfrm>
              <a:off x="2391522" y="1626135"/>
              <a:ext cx="3600122" cy="108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73" name="3. Unit of measure">
              <a:extLst>
                <a:ext uri="{FF2B5EF4-FFF2-40B4-BE49-F238E27FC236}">
                  <a16:creationId xmlns:a16="http://schemas.microsoft.com/office/drawing/2014/main" id="{FC6B1174-47E3-4EFA-998F-98A01EFD91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73664" y="1966080"/>
              <a:ext cx="1800000" cy="400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sz="1400" baseline="0"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attery electric vehicles</a:t>
              </a: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C0F4A5D4-2942-4ADF-98FD-2C92410A4B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761" r="22141" b="14634"/>
            <a:stretch/>
          </p:blipFill>
          <p:spPr>
            <a:xfrm>
              <a:off x="2510878" y="1693985"/>
              <a:ext cx="591428" cy="900000"/>
            </a:xfrm>
            <a:prstGeom prst="rect">
              <a:avLst/>
            </a:prstGeom>
          </p:spPr>
        </p:pic>
      </p:grpSp>
      <p:sp>
        <p:nvSpPr>
          <p:cNvPr id="45" name="Rectangle 75">
            <a:extLst>
              <a:ext uri="{FF2B5EF4-FFF2-40B4-BE49-F238E27FC236}">
                <a16:creationId xmlns:a16="http://schemas.microsoft.com/office/drawing/2014/main" id="{BCA493F0-967F-4AD4-A7FC-278565EAAD2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85730" y="1709206"/>
            <a:ext cx="1809560" cy="112050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-road transport 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A5A4878-C091-434D-88BB-FB087CE85489}"/>
              </a:ext>
            </a:extLst>
          </p:cNvPr>
          <p:cNvSpPr/>
          <p:nvPr/>
        </p:nvSpPr>
        <p:spPr>
          <a:xfrm>
            <a:off x="7177383" y="1709206"/>
            <a:ext cx="3736800" cy="11205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2" name="3. Unit of measure">
            <a:extLst>
              <a:ext uri="{FF2B5EF4-FFF2-40B4-BE49-F238E27FC236}">
                <a16:creationId xmlns:a16="http://schemas.microsoft.com/office/drawing/2014/main" id="{ECDA2AA6-506F-4F74-855C-F731D90A12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58047" y="1958123"/>
            <a:ext cx="3970147" cy="622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 baseline="0"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attery electric vehicles</a:t>
            </a:r>
          </a:p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(with or without catenary wiring) </a:t>
            </a:r>
          </a:p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r Fuel-cell electric vehicles</a:t>
            </a: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89D11278-D5CD-494D-9456-04B7C977A605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61" r="22141" b="14634"/>
          <a:stretch/>
        </p:blipFill>
        <p:spPr>
          <a:xfrm>
            <a:off x="7465015" y="1744601"/>
            <a:ext cx="343623" cy="522904"/>
          </a:xfrm>
          <a:prstGeom prst="rect">
            <a:avLst/>
          </a:prstGeom>
        </p:spPr>
      </p:pic>
      <p:grpSp>
        <p:nvGrpSpPr>
          <p:cNvPr id="58" name="Group 57">
            <a:extLst>
              <a:ext uri="{FF2B5EF4-FFF2-40B4-BE49-F238E27FC236}">
                <a16:creationId xmlns:a16="http://schemas.microsoft.com/office/drawing/2014/main" id="{2D8A59FD-AAA9-4E95-B9A3-D956F1010FE2}"/>
              </a:ext>
            </a:extLst>
          </p:cNvPr>
          <p:cNvGrpSpPr/>
          <p:nvPr/>
        </p:nvGrpSpPr>
        <p:grpSpPr>
          <a:xfrm>
            <a:off x="7307641" y="2252888"/>
            <a:ext cx="539370" cy="539371"/>
            <a:chOff x="2439637" y="4259117"/>
            <a:chExt cx="519871" cy="519872"/>
          </a:xfrm>
        </p:grpSpPr>
        <p:pic>
          <p:nvPicPr>
            <p:cNvPr id="59" name="Picture 5" descr="RÃ©sultat de recherche d'images pour &quot;hydrogen icon&quot;">
              <a:extLst>
                <a:ext uri="{FF2B5EF4-FFF2-40B4-BE49-F238E27FC236}">
                  <a16:creationId xmlns:a16="http://schemas.microsoft.com/office/drawing/2014/main" id="{BE0D355E-F56F-4903-BBD3-030E69165B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8900000">
              <a:off x="2439637" y="4259117"/>
              <a:ext cx="519871" cy="5198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924C6DFA-A679-4C1B-8C71-7C228FE6C944}"/>
                </a:ext>
              </a:extLst>
            </p:cNvPr>
            <p:cNvSpPr/>
            <p:nvPr/>
          </p:nvSpPr>
          <p:spPr>
            <a:xfrm>
              <a:off x="2575014" y="4399692"/>
              <a:ext cx="275303" cy="27530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</a:t>
              </a:r>
              <a:r>
                <a:rPr kumimoji="0" lang="en-GB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</a:p>
          </p:txBody>
        </p:sp>
      </p:grpSp>
      <p:cxnSp>
        <p:nvCxnSpPr>
          <p:cNvPr id="50" name="AutoShape 249">
            <a:extLst>
              <a:ext uri="{FF2B5EF4-FFF2-40B4-BE49-F238E27FC236}">
                <a16:creationId xmlns:a16="http://schemas.microsoft.com/office/drawing/2014/main" id="{702AD379-63BB-487D-99A3-DF191496CC2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897705" y="1475685"/>
            <a:ext cx="3735155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AutoShape 249">
            <a:extLst>
              <a:ext uri="{FF2B5EF4-FFF2-40B4-BE49-F238E27FC236}">
                <a16:creationId xmlns:a16="http://schemas.microsoft.com/office/drawing/2014/main" id="{80BDB8E1-F6AB-449F-9009-4FAC5B8485A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177382" y="1475685"/>
            <a:ext cx="3735155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52979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ED0052-0A2D-4E4F-A199-863A6A6130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5" name="think-cell Slide" r:id="rId19" imgW="449" imgH="450" progId="TCLayout.ActiveDocument.1">
                  <p:embed/>
                </p:oleObj>
              </mc:Choice>
              <mc:Fallback>
                <p:oleObj name="think-cell Slide" r:id="rId19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ED0052-0A2D-4E4F-A199-863A6A6130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20B4D88-01A8-4899-9FDD-5495D3B641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4C8BFB98-C503-4F77-A144-044C2077F67E}"/>
              </a:ext>
            </a:extLst>
          </p:cNvPr>
          <p:cNvSpPr txBox="1">
            <a:spLocks/>
          </p:cNvSpPr>
          <p:nvPr/>
        </p:nvSpPr>
        <p:spPr>
          <a:xfrm>
            <a:off x="11795471" y="6537948"/>
            <a:ext cx="360000" cy="252000"/>
          </a:xfrm>
          <a:prstGeom prst="rect">
            <a:avLst/>
          </a:prstGeom>
        </p:spPr>
        <p:txBody>
          <a:bodyPr lIns="95191" tIns="47596" rIns="95191" bIns="47596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D1D8EB-6327-4ACE-9DCD-B20AB874F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129538"/>
            <a:ext cx="11024674" cy="628121"/>
          </a:xfrm>
        </p:spPr>
        <p:txBody>
          <a:bodyPr/>
          <a:lstStyle/>
          <a:p>
            <a:r>
              <a:rPr lang="en-GB" dirty="0"/>
              <a:t>Battery prices have decreased annually by 20% in the last decade</a:t>
            </a:r>
            <a:br>
              <a:rPr lang="en-GB" dirty="0"/>
            </a:br>
            <a:r>
              <a:rPr lang="en-GB" dirty="0"/>
              <a:t>and are expected to reach US$100/kWh by 2025</a:t>
            </a:r>
            <a:endParaRPr lang="en-US" sz="1800" baseline="-25000" dirty="0"/>
          </a:p>
        </p:txBody>
      </p:sp>
      <p:grpSp>
        <p:nvGrpSpPr>
          <p:cNvPr id="9" name="ACET">
            <a:extLst>
              <a:ext uri="{FF2B5EF4-FFF2-40B4-BE49-F238E27FC236}">
                <a16:creationId xmlns:a16="http://schemas.microsoft.com/office/drawing/2014/main" id="{D4DFAE5F-66BB-4660-964D-6509F0348CF2}"/>
              </a:ext>
            </a:extLst>
          </p:cNvPr>
          <p:cNvGrpSpPr>
            <a:grpSpLocks/>
          </p:cNvGrpSpPr>
          <p:nvPr/>
        </p:nvGrpSpPr>
        <p:grpSpPr bwMode="auto">
          <a:xfrm>
            <a:off x="1341438" y="1344613"/>
            <a:ext cx="6456363" cy="449263"/>
            <a:chOff x="915" y="745"/>
            <a:chExt cx="2686" cy="285"/>
          </a:xfrm>
        </p:grpSpPr>
        <p:cxnSp>
          <p:nvCxnSpPr>
            <p:cNvPr id="10" name="AutoShape 249">
              <a:extLst>
                <a:ext uri="{FF2B5EF4-FFF2-40B4-BE49-F238E27FC236}">
                  <a16:creationId xmlns:a16="http://schemas.microsoft.com/office/drawing/2014/main" id="{3536D0F9-98BC-4864-8590-D83AC5E00814}"/>
                </a:ext>
              </a:extLst>
            </p:cNvPr>
            <p:cNvCxnSpPr>
              <a:cxnSpLocks noChangeShapeType="1"/>
              <a:stCxn id="11" idx="4"/>
              <a:endCxn id="1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>
              <a:extLst>
                <a:ext uri="{FF2B5EF4-FFF2-40B4-BE49-F238E27FC236}">
                  <a16:creationId xmlns:a16="http://schemas.microsoft.com/office/drawing/2014/main" id="{B5D5093F-81AE-4CCC-8AC2-F8D5B2B56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45"/>
              <a:ext cx="2686" cy="2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attery prices – Observed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/kWh of storage</a:t>
              </a:r>
            </a:p>
          </p:txBody>
        </p:sp>
      </p:grpSp>
      <p:grpSp>
        <p:nvGrpSpPr>
          <p:cNvPr id="12" name="ACET">
            <a:extLst>
              <a:ext uri="{FF2B5EF4-FFF2-40B4-BE49-F238E27FC236}">
                <a16:creationId xmlns:a16="http://schemas.microsoft.com/office/drawing/2014/main" id="{204AD943-6A58-4AF6-8E59-27E6350E8668}"/>
              </a:ext>
            </a:extLst>
          </p:cNvPr>
          <p:cNvGrpSpPr>
            <a:grpSpLocks/>
          </p:cNvGrpSpPr>
          <p:nvPr/>
        </p:nvGrpSpPr>
        <p:grpSpPr bwMode="auto">
          <a:xfrm>
            <a:off x="8012113" y="1344613"/>
            <a:ext cx="2559050" cy="449263"/>
            <a:chOff x="915" y="745"/>
            <a:chExt cx="2686" cy="285"/>
          </a:xfrm>
        </p:grpSpPr>
        <p:cxnSp>
          <p:nvCxnSpPr>
            <p:cNvPr id="13" name="AutoShape 249">
              <a:extLst>
                <a:ext uri="{FF2B5EF4-FFF2-40B4-BE49-F238E27FC236}">
                  <a16:creationId xmlns:a16="http://schemas.microsoft.com/office/drawing/2014/main" id="{08B6C966-3DEA-4773-A143-0F4948FB32FD}"/>
                </a:ext>
              </a:extLst>
            </p:cNvPr>
            <p:cNvCxnSpPr>
              <a:cxnSpLocks noChangeShapeType="1"/>
              <a:stCxn id="14" idx="4"/>
              <a:endCxn id="1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>
              <a:extLst>
                <a:ext uri="{FF2B5EF4-FFF2-40B4-BE49-F238E27FC236}">
                  <a16:creationId xmlns:a16="http://schemas.microsoft.com/office/drawing/2014/main" id="{F72E4CE9-78F2-4049-B4E1-02E6C80542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45"/>
              <a:ext cx="2686" cy="2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attery prices – Outlook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Predicted</a:t>
              </a:r>
            </a:p>
          </p:txBody>
        </p:sp>
      </p:grp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15AC949E-90E9-43C9-AECD-E79D17FEB8E8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1258888" y="2309813"/>
          <a:ext cx="8913812" cy="3732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F5AAD1E-3368-42F7-B3BD-FA69DE06220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738313" y="2112963"/>
            <a:ext cx="5567363" cy="269240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B494C6C-324D-433D-A355-C286037DF6B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305675" y="4805363"/>
            <a:ext cx="2386013" cy="37147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42330CB4-6410-424B-878D-33AF84C7932B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547813" y="60150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5E08CB0-0094-4539-ACF6-BE28DD7414A3}" type="datetime'''''''2''''''''''''''''''''01''''''0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889355B-C64D-430F-BC9E-0D9E31B4D21F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933825" y="60150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B01441A-092A-4D44-B4D4-2D3C0A5DE92B}" type="datetime'''''''''''''2''''''''''''''''''''''''0''1''''3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6403D81-C5C4-435B-B7F0-87FDBEC91E5D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343150" y="60150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E3393A6-E8F4-405B-94F2-41371865B705}" type="datetime'''''''''''''''''''''''2''''''''0''''''''''1''''''''''1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1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3EA6DED-EB73-4807-85C5-08643B529214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138488" y="60150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8DC90A5-6C6B-4915-BBDF-061258F575D6}" type="datetime'''''''2''''''''''''01''''''''''''''2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2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5A35825-C808-468B-86CD-51EED6CBA472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4729163" y="60150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773BA8D-ECEE-406B-9CDC-AE70B4B60C3C}" type="datetime'''''''''''2''''0''''''''''''''''''''''''''''''''''1''4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D25CCCA-DE00-4A9E-B86A-6F00007DA838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5524500" y="60150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B7AF833-FE18-454C-A4AE-3485423427E1}" type="datetime'''''20''''''''''''''''''''''''''''1''''''''5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1CAE2F7-7AC4-4F9C-9830-A3E8E041B5AC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6319838" y="60150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55799FF-0D55-4214-BA57-F10FED525D53}" type="datetime'''''''''''''2''''0''''''1''''''''''''''''''''''''6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63AFAC7-45B8-4AA6-B2A1-AE976A2E634E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115175" y="60150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9277271-7BD7-432D-9AE8-BFFDB7F4F073}" type="datetime'''''''''''''''''''''''''2''0''''''1''''''''''''''''7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1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F58BBCF-E87A-4C21-A16D-08D73B7E2A6A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9501188" y="60150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D30D52A-2B79-414F-B452-92258C74A708}" type="datetime'''''''''2''''''''''02''''5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2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50732B2-7C52-419A-951A-2A9C0E33B299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4219575" y="3322638"/>
            <a:ext cx="6048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987F7E2-B3B6-4DD3-AB1F-30349EC8BE47}" type="datetime'''-''''''''''''''''''2''''''''''0''''''%''''''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20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FDC79F1-B590-40ED-84B6-C76DE62E84C7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8266113" y="4854575"/>
            <a:ext cx="463550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3E3440C-3DCC-42B3-AB7F-B77526DCB9E0}" type="datetime'''''''''''''-''''''''''''''''9''''''''''''''''''''''''''%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9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7" name="5. Source">
            <a:extLst>
              <a:ext uri="{FF2B5EF4-FFF2-40B4-BE49-F238E27FC236}">
                <a16:creationId xmlns:a16="http://schemas.microsoft.com/office/drawing/2014/main" id="{C135E196-1F41-4DC8-9825-89E6D8BB24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loomberg New Energy Finance (2017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FE652F6-2E0F-4089-AC57-FD3F7E0782B1}"/>
              </a:ext>
            </a:extLst>
          </p:cNvPr>
          <p:cNvGrpSpPr/>
          <p:nvPr/>
        </p:nvGrpSpPr>
        <p:grpSpPr>
          <a:xfrm>
            <a:off x="8226425" y="2263775"/>
            <a:ext cx="2549525" cy="492125"/>
            <a:chOff x="8363213" y="1970212"/>
            <a:chExt cx="2549016" cy="492443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9E80D2A-73CE-4876-ACA3-33CB385ED67D}"/>
                </a:ext>
              </a:extLst>
            </p:cNvPr>
            <p:cNvSpPr txBox="1"/>
            <p:nvPr/>
          </p:nvSpPr>
          <p:spPr>
            <a:xfrm>
              <a:off x="8979249" y="1970212"/>
              <a:ext cx="1932980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ompound annual growth rate</a:t>
              </a: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E833713B-ABD8-4309-AB1C-9A2F5F537FFD}"/>
                </a:ext>
              </a:extLst>
            </p:cNvPr>
            <p:cNvSpPr/>
            <p:nvPr/>
          </p:nvSpPr>
          <p:spPr>
            <a:xfrm>
              <a:off x="8363213" y="2134317"/>
              <a:ext cx="576000" cy="252000"/>
            </a:xfrm>
            <a:prstGeom prst="ellipse">
              <a:avLst/>
            </a:prstGeom>
            <a:ln>
              <a:solidFill>
                <a:srgbClr val="4C6C9C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X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607894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ED0052-0A2D-4E4F-A199-863A6A6130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Slide" r:id="rId5" imgW="449" imgH="450" progId="TCLayout.ActiveDocument.1">
                  <p:embed/>
                </p:oleObj>
              </mc:Choice>
              <mc:Fallback>
                <p:oleObj name="think-cell Slide" r:id="rId5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ED0052-0A2D-4E4F-A199-863A6A6130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20B4D88-01A8-4899-9FDD-5495D3B641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/>
              <a:cs typeface="+mn-cs"/>
              <a:sym typeface="Century Gothic" panose="020B0502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29EDD31-C698-4B72-B3A5-935B89670ABF}"/>
              </a:ext>
            </a:extLst>
          </p:cNvPr>
          <p:cNvGrpSpPr/>
          <p:nvPr/>
        </p:nvGrpSpPr>
        <p:grpSpPr>
          <a:xfrm>
            <a:off x="1671942" y="1556884"/>
            <a:ext cx="8710923" cy="4636148"/>
            <a:chOff x="462574" y="1556884"/>
            <a:chExt cx="8710923" cy="463614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D8EF53C-9FBA-4B5D-A700-D5730ACB5E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571" t="5366" r="2020" b="7934"/>
            <a:stretch/>
          </p:blipFill>
          <p:spPr>
            <a:xfrm>
              <a:off x="462574" y="1556884"/>
              <a:ext cx="8710923" cy="4636148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884BA22-3943-4DA1-9FF2-10570B32109D}"/>
                </a:ext>
              </a:extLst>
            </p:cNvPr>
            <p:cNvSpPr/>
            <p:nvPr/>
          </p:nvSpPr>
          <p:spPr>
            <a:xfrm>
              <a:off x="640786" y="1584215"/>
              <a:ext cx="4532334" cy="1125160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5D86293-E80E-4E7D-AACA-B6721F118913}"/>
                </a:ext>
              </a:extLst>
            </p:cNvPr>
            <p:cNvSpPr/>
            <p:nvPr/>
          </p:nvSpPr>
          <p:spPr>
            <a:xfrm>
              <a:off x="1996774" y="1583631"/>
              <a:ext cx="4532334" cy="541096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FCE9A9A-BC62-41D5-955A-F0191A54D57A}"/>
                </a:ext>
              </a:extLst>
            </p:cNvPr>
            <p:cNvSpPr/>
            <p:nvPr/>
          </p:nvSpPr>
          <p:spPr>
            <a:xfrm>
              <a:off x="2960098" y="1597034"/>
              <a:ext cx="4532334" cy="304764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801394B8-71F7-434B-BA20-064740B8213B}"/>
              </a:ext>
            </a:extLst>
          </p:cNvPr>
          <p:cNvSpPr/>
          <p:nvPr/>
        </p:nvSpPr>
        <p:spPr>
          <a:xfrm>
            <a:off x="9550549" y="1901798"/>
            <a:ext cx="1181683" cy="453598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B8B1F39-70D2-45A4-B98E-304BC914FEE1}"/>
              </a:ext>
            </a:extLst>
          </p:cNvPr>
          <p:cNvSpPr/>
          <p:nvPr/>
        </p:nvSpPr>
        <p:spPr>
          <a:xfrm>
            <a:off x="9337731" y="3731012"/>
            <a:ext cx="1181683" cy="219784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4C8BFB98-C503-4F77-A144-044C2077F67E}"/>
              </a:ext>
            </a:extLst>
          </p:cNvPr>
          <p:cNvSpPr txBox="1">
            <a:spLocks/>
          </p:cNvSpPr>
          <p:nvPr/>
        </p:nvSpPr>
        <p:spPr>
          <a:xfrm>
            <a:off x="11795471" y="6537948"/>
            <a:ext cx="360000" cy="252000"/>
          </a:xfrm>
          <a:prstGeom prst="rect">
            <a:avLst/>
          </a:prstGeom>
        </p:spPr>
        <p:txBody>
          <a:bodyPr lIns="95191" tIns="47596" rIns="95191" bIns="47596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FDA51BC-BEB9-476A-86F1-9D7A49C683EA}"/>
              </a:ext>
            </a:extLst>
          </p:cNvPr>
          <p:cNvSpPr/>
          <p:nvPr/>
        </p:nvSpPr>
        <p:spPr>
          <a:xfrm>
            <a:off x="4693118" y="4327454"/>
            <a:ext cx="779191" cy="3238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F8E20007-D52D-4A23-A746-2830121617FC}"/>
              </a:ext>
            </a:extLst>
          </p:cNvPr>
          <p:cNvSpPr txBox="1">
            <a:spLocks/>
          </p:cNvSpPr>
          <p:nvPr/>
        </p:nvSpPr>
        <p:spPr bwMode="auto">
          <a:xfrm>
            <a:off x="233261" y="129538"/>
            <a:ext cx="11024674" cy="628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GB" sz="2041" b="1" i="0" u="none" strike="noStrike" kern="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The International Air Transport Association (IATA) has set global goals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GB" sz="2041" b="1" i="0" u="none" strike="noStrike" kern="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for the reduction of aviation’s emissions</a:t>
            </a:r>
            <a:endParaRPr kumimoji="0" lang="en-US" sz="1800" b="1" i="0" u="none" strike="noStrike" kern="0" cap="none" spc="0" normalizeH="0" baseline="-25000" noProof="0" dirty="0">
              <a:ln>
                <a:noFill/>
              </a:ln>
              <a:solidFill>
                <a:srgbClr val="004876"/>
              </a:solidFill>
              <a:effectLst/>
              <a:uLnTx/>
              <a:uFillTx/>
              <a:latin typeface="Century Gothic"/>
              <a:ea typeface="Arial Unicode MS" pitchFamily="34" charset="-128"/>
            </a:endParaRPr>
          </a:p>
        </p:txBody>
      </p:sp>
      <p:sp>
        <p:nvSpPr>
          <p:cNvPr id="20" name="5. Source">
            <a:extLst>
              <a:ext uri="{FF2B5EF4-FFF2-40B4-BE49-F238E27FC236}">
                <a16:creationId xmlns:a16="http://schemas.microsoft.com/office/drawing/2014/main" id="{E5FF7713-685F-490B-9D89-D5906859CD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ATA (2013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ATA Technology Roadmap, 4</a:t>
            </a:r>
            <a:r>
              <a:rPr kumimoji="0" lang="en-GB" sz="1200" b="0" i="1" u="none" strike="noStrike" kern="1200" cap="none" spc="0" normalizeH="0" baseline="3000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h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edition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45B6500-8A59-4157-A078-B673224138BC}"/>
              </a:ext>
            </a:extLst>
          </p:cNvPr>
          <p:cNvSpPr/>
          <p:nvPr/>
        </p:nvSpPr>
        <p:spPr>
          <a:xfrm>
            <a:off x="4787557" y="4625814"/>
            <a:ext cx="779191" cy="41273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highlight>
                <a:srgbClr val="FFFFFF"/>
              </a:highlight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5578064-766E-470D-9342-037899C21AFE}"/>
              </a:ext>
            </a:extLst>
          </p:cNvPr>
          <p:cNvSpPr/>
          <p:nvPr/>
        </p:nvSpPr>
        <p:spPr>
          <a:xfrm>
            <a:off x="6274933" y="4235369"/>
            <a:ext cx="595423" cy="276999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" name="AutoShape 250">
            <a:extLst>
              <a:ext uri="{FF2B5EF4-FFF2-40B4-BE49-F238E27FC236}">
                <a16:creationId xmlns:a16="http://schemas.microsoft.com/office/drawing/2014/main" id="{05258762-8077-4A65-8283-F47AEF3B12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3097" y="1002342"/>
            <a:ext cx="6456363" cy="44972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mission reduction roadmap (schematic, indicative diagram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t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457BE93-A643-443F-AD77-E3BDBB0A7919}"/>
              </a:ext>
            </a:extLst>
          </p:cNvPr>
          <p:cNvCxnSpPr>
            <a:cxnSpLocks/>
          </p:cNvCxnSpPr>
          <p:nvPr/>
        </p:nvCxnSpPr>
        <p:spPr>
          <a:xfrm>
            <a:off x="1744956" y="1452070"/>
            <a:ext cx="8987276" cy="0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587559D2-B046-469A-9627-EA012F04E50A}"/>
              </a:ext>
            </a:extLst>
          </p:cNvPr>
          <p:cNvSpPr/>
          <p:nvPr/>
        </p:nvSpPr>
        <p:spPr>
          <a:xfrm>
            <a:off x="1948472" y="2584669"/>
            <a:ext cx="216309" cy="216000"/>
          </a:xfrm>
          <a:prstGeom prst="rect">
            <a:avLst/>
          </a:prstGeom>
          <a:solidFill>
            <a:srgbClr val="FFC20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C9133CE-FCC1-4E9C-9722-1315E1F258B2}"/>
              </a:ext>
            </a:extLst>
          </p:cNvPr>
          <p:cNvSpPr/>
          <p:nvPr/>
        </p:nvSpPr>
        <p:spPr>
          <a:xfrm>
            <a:off x="1948472" y="3054510"/>
            <a:ext cx="216309" cy="216000"/>
          </a:xfrm>
          <a:prstGeom prst="rect">
            <a:avLst/>
          </a:prstGeom>
          <a:solidFill>
            <a:srgbClr val="B3D23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C521F25-C44F-424C-BDA5-C68918B488E3}"/>
              </a:ext>
            </a:extLst>
          </p:cNvPr>
          <p:cNvSpPr/>
          <p:nvPr/>
        </p:nvSpPr>
        <p:spPr>
          <a:xfrm>
            <a:off x="1948472" y="3515012"/>
            <a:ext cx="216309" cy="216000"/>
          </a:xfrm>
          <a:prstGeom prst="rect">
            <a:avLst/>
          </a:prstGeom>
          <a:solidFill>
            <a:srgbClr val="75BE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8823A75-B6BC-43F0-B3B3-FC24CCF00612}"/>
              </a:ext>
            </a:extLst>
          </p:cNvPr>
          <p:cNvSpPr txBox="1"/>
          <p:nvPr/>
        </p:nvSpPr>
        <p:spPr>
          <a:xfrm>
            <a:off x="2199523" y="1692652"/>
            <a:ext cx="3325870" cy="207749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missions assuming no 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arbon-neutral growth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ross emissions trajecto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ircraft technology (known), operations and infrastructure meas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ofuels and radically new technolog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conomic measures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C637716-0C16-4D7B-8937-67BC5CE3DF7E}"/>
              </a:ext>
            </a:extLst>
          </p:cNvPr>
          <p:cNvGrpSpPr/>
          <p:nvPr/>
        </p:nvGrpSpPr>
        <p:grpSpPr>
          <a:xfrm>
            <a:off x="1878367" y="1872995"/>
            <a:ext cx="285793" cy="546434"/>
            <a:chOff x="9379317" y="1911631"/>
            <a:chExt cx="285793" cy="437956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1EBDA94-1835-40EC-A440-DE5A7FEB9342}"/>
                </a:ext>
              </a:extLst>
            </p:cNvPr>
            <p:cNvCxnSpPr/>
            <p:nvPr/>
          </p:nvCxnSpPr>
          <p:spPr>
            <a:xfrm>
              <a:off x="9379317" y="1911631"/>
              <a:ext cx="285793" cy="0"/>
            </a:xfrm>
            <a:prstGeom prst="line">
              <a:avLst/>
            </a:prstGeom>
            <a:ln w="57150">
              <a:solidFill>
                <a:srgbClr val="EF413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EEAE634-B372-4084-B97B-CB14ABF066EA}"/>
                </a:ext>
              </a:extLst>
            </p:cNvPr>
            <p:cNvCxnSpPr/>
            <p:nvPr/>
          </p:nvCxnSpPr>
          <p:spPr>
            <a:xfrm>
              <a:off x="9379317" y="2349587"/>
              <a:ext cx="285793" cy="0"/>
            </a:xfrm>
            <a:prstGeom prst="line">
              <a:avLst/>
            </a:prstGeom>
            <a:ln w="57150">
              <a:solidFill>
                <a:srgbClr val="4EB74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EF35E90-7AB2-4338-B3AA-6354E6CE5390}"/>
                </a:ext>
              </a:extLst>
            </p:cNvPr>
            <p:cNvCxnSpPr/>
            <p:nvPr/>
          </p:nvCxnSpPr>
          <p:spPr>
            <a:xfrm>
              <a:off x="9379317" y="2130609"/>
              <a:ext cx="285793" cy="0"/>
            </a:xfrm>
            <a:prstGeom prst="line">
              <a:avLst/>
            </a:prstGeom>
            <a:ln w="19050">
              <a:solidFill>
                <a:srgbClr val="1B1B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8890CDD0-3C5C-4F68-86C8-E4F47A9852FA}"/>
              </a:ext>
            </a:extLst>
          </p:cNvPr>
          <p:cNvSpPr/>
          <p:nvPr/>
        </p:nvSpPr>
        <p:spPr>
          <a:xfrm>
            <a:off x="9309811" y="1556884"/>
            <a:ext cx="1422423" cy="628121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410768C-6B16-43A2-82E4-397F5B180033}"/>
              </a:ext>
            </a:extLst>
          </p:cNvPr>
          <p:cNvSpPr txBox="1"/>
          <p:nvPr/>
        </p:nvSpPr>
        <p:spPr>
          <a:xfrm>
            <a:off x="9337731" y="1540915"/>
            <a:ext cx="1054955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17185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 ac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23DEED4-EAC9-4471-8A83-4C807DD29B0A}"/>
              </a:ext>
            </a:extLst>
          </p:cNvPr>
          <p:cNvSpPr txBox="1"/>
          <p:nvPr/>
        </p:nvSpPr>
        <p:spPr>
          <a:xfrm>
            <a:off x="9493603" y="2150714"/>
            <a:ext cx="1317809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658BA8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echnology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B649FD8-4C78-4702-A131-68E88D386969}"/>
              </a:ext>
            </a:extLst>
          </p:cNvPr>
          <p:cNvSpPr txBox="1"/>
          <p:nvPr/>
        </p:nvSpPr>
        <p:spPr>
          <a:xfrm>
            <a:off x="9493603" y="2715742"/>
            <a:ext cx="1317809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658BA8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peration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40E27A3-1009-48D9-A61D-77562DBF6571}"/>
              </a:ext>
            </a:extLst>
          </p:cNvPr>
          <p:cNvSpPr txBox="1"/>
          <p:nvPr/>
        </p:nvSpPr>
        <p:spPr>
          <a:xfrm>
            <a:off x="9493603" y="2986820"/>
            <a:ext cx="1317809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658BA8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frastructu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E58784A-288F-4762-ADF9-EB051D7E8182}"/>
              </a:ext>
            </a:extLst>
          </p:cNvPr>
          <p:cNvSpPr txBox="1"/>
          <p:nvPr/>
        </p:nvSpPr>
        <p:spPr>
          <a:xfrm>
            <a:off x="9269415" y="3829874"/>
            <a:ext cx="1592849" cy="4924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658BA8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arbon-neutral growth 2020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3A69497-7480-47EC-835F-58B2CDE971E0}"/>
              </a:ext>
            </a:extLst>
          </p:cNvPr>
          <p:cNvSpPr txBox="1"/>
          <p:nvPr/>
        </p:nvSpPr>
        <p:spPr>
          <a:xfrm>
            <a:off x="9269415" y="5086702"/>
            <a:ext cx="1592849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658BA8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50% by 2050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2889A6B-345E-4069-9DA4-DC9AD14417D4}"/>
              </a:ext>
            </a:extLst>
          </p:cNvPr>
          <p:cNvSpPr/>
          <p:nvPr/>
        </p:nvSpPr>
        <p:spPr>
          <a:xfrm>
            <a:off x="1671941" y="6125027"/>
            <a:ext cx="7905697" cy="30476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C519943-AD0F-4A12-BE85-ED012A687455}"/>
              </a:ext>
            </a:extLst>
          </p:cNvPr>
          <p:cNvSpPr txBox="1"/>
          <p:nvPr/>
        </p:nvSpPr>
        <p:spPr>
          <a:xfrm>
            <a:off x="8865099" y="6145390"/>
            <a:ext cx="712540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658BA8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50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7CB1661-4214-42CD-84F6-6416AE2FFF6C}"/>
              </a:ext>
            </a:extLst>
          </p:cNvPr>
          <p:cNvSpPr txBox="1"/>
          <p:nvPr/>
        </p:nvSpPr>
        <p:spPr>
          <a:xfrm>
            <a:off x="7264670" y="6145390"/>
            <a:ext cx="712540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658BA8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40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51EA501-725E-4060-A298-EBBD7A0C8C00}"/>
              </a:ext>
            </a:extLst>
          </p:cNvPr>
          <p:cNvSpPr txBox="1"/>
          <p:nvPr/>
        </p:nvSpPr>
        <p:spPr>
          <a:xfrm>
            <a:off x="5660464" y="6145390"/>
            <a:ext cx="712540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658BA8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30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B3EBB2A-01F4-4161-821F-630190B94087}"/>
              </a:ext>
            </a:extLst>
          </p:cNvPr>
          <p:cNvSpPr txBox="1"/>
          <p:nvPr/>
        </p:nvSpPr>
        <p:spPr>
          <a:xfrm>
            <a:off x="4041536" y="6145390"/>
            <a:ext cx="712540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658BA8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20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A1CADD4-7EB2-4758-9503-434CC218D403}"/>
              </a:ext>
            </a:extLst>
          </p:cNvPr>
          <p:cNvSpPr txBox="1"/>
          <p:nvPr/>
        </p:nvSpPr>
        <p:spPr>
          <a:xfrm>
            <a:off x="2420134" y="6145390"/>
            <a:ext cx="712540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658BA8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10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B359D0F-2FB5-46D1-B9AC-60538A7D7CD0}"/>
              </a:ext>
            </a:extLst>
          </p:cNvPr>
          <p:cNvSpPr txBox="1"/>
          <p:nvPr/>
        </p:nvSpPr>
        <p:spPr>
          <a:xfrm>
            <a:off x="1859420" y="6145390"/>
            <a:ext cx="712540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658BA8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05</a:t>
            </a:r>
          </a:p>
        </p:txBody>
      </p:sp>
    </p:spTree>
    <p:extLst>
      <p:ext uri="{BB962C8B-B14F-4D97-AF65-F5344CB8AC3E}">
        <p14:creationId xmlns:p14="http://schemas.microsoft.com/office/powerpoint/2010/main" val="437928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38" imgW="526" imgH="526" progId="TCLayout.ActiveDocument.1">
                  <p:embed/>
                </p:oleObj>
              </mc:Choice>
              <mc:Fallback>
                <p:oleObj name="think-cell Slide" r:id="rId38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0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91" y="160689"/>
            <a:ext cx="9707925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GB" sz="2000" dirty="0">
                <a:solidFill>
                  <a:srgbClr val="004876"/>
                </a:solidFill>
              </a:rPr>
              <a:t>Demand management can cut emissions from the harder-to-abate sectors in transport by 20% by 2050</a:t>
            </a:r>
            <a:endParaRPr lang="en-GB" sz="2800" dirty="0">
              <a:solidFill>
                <a:srgbClr val="004876"/>
              </a:solidFill>
            </a:endParaRPr>
          </a:p>
        </p:txBody>
      </p: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6C457318-48D4-413C-82F3-12E3B0924DE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562225" y="2241550"/>
            <a:ext cx="7953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125D21B1-88F1-435F-9FD2-E9A3BB321F3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352925" y="2493963"/>
            <a:ext cx="7953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90FA8D12-3D93-4382-8559-F7EF3958FFF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145213" y="2559050"/>
            <a:ext cx="7953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DD8AC0-8ED4-4631-9B60-86B228C58C8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935913" y="2949575"/>
            <a:ext cx="7953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ACB998D0-2DA8-4E11-8C4B-8267D6EA38D1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1087438" y="2011363"/>
          <a:ext cx="9120187" cy="3865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ADE1C366-041C-443C-BB00-A58346230315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063750" y="1903413"/>
            <a:ext cx="71643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9E5AAF38-BB1D-4A3F-8BE3-EA3D4CEF97A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9228138" y="1903413"/>
            <a:ext cx="0" cy="7842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406852F2-8924-46ED-8BDA-A78B7654627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2063750" y="1903413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9D4B519F-FEF2-4D03-9ACE-3A2C4F9FAD47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9090025" y="391001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9A9E61A-2E38-469D-9164-831BEF104592}" type="datetime'''''''''''''1''''''.5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5727AB61-5160-453D-B830-03BC766364BD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6919913" y="5849938"/>
            <a:ext cx="1035050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Logistics and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Operational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efficiency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D18BDBF-A2A1-4830-94E5-AD3DC596136D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8662988" y="5849938"/>
            <a:ext cx="11318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Demand management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scenario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ABE12CD-5952-420A-BDD9-5504D537494F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9090025" y="497046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9264D74-42A5-4191-8EFB-089FE3FD6B67}" type="datetime'''''''''''''3.''''''''''''''''''''''''''3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.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7D6EFEF0-A557-4038-868F-D81B34D71A55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4892675" y="5849938"/>
            <a:ext cx="15081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Reduced demand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9C76D4EC-5201-40FA-9E02-4C254BD57780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360488" y="5849939"/>
            <a:ext cx="14081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ACC6F35-3674-446C-AE2B-2C0A873B3D4C}" type="datetime'C''''urren''''t ''''''''pra''c''''t''''ice'' sce''na''''rio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urrent practice scenario</a:t>
            </a:fld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 (IEA RTS)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ABB7CBFC-BAA6-4A84-AF43-615FF99E4BCA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413125" y="5849938"/>
            <a:ext cx="8826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Modal shift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6C463DB-5661-4643-9A4F-AEDD47CC384C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9090025" y="3213100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9357C76-AB02-4C21-9DA0-0627DB5D0573}" type="datetime'''''''''''''1''''''''.''''''''''''''''''''7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5765562-599F-4B49-B6D2-BF647AEC2B49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1925638" y="201771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850B55E-652F-4078-8509-A03F1E49FDD3}" type="datetime'''''''''''''''''''''''''8''''.''''''''2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8.2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F1F8E1F-A42B-432B-8C7E-A439E261F398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716338" y="201771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8398D19-068C-478C-A653-D3D3640071A5}" type="datetime'0''''''''''.''''''''''''''''''6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01F39D6-6C6A-4CC7-B454-376723E4EADA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5508625" y="2270125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CE57208-FEE9-467B-AF48-EC98A79C383B}" type="datetime'''0''''''''''''''''''''''''.''''''''''1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1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AA3D187-61F3-4871-B763-AFB88E4D49D4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7299325" y="2335213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64370E9-3BA2-4864-B6FC-4691E7F2851A}" type="datetime'''0''''''''''''''''''''''.''''''9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6036D60-B163-48C2-AE36-A3B9C2713870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9090025" y="2725738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CF0424E-59CD-49D3-A2EF-93A8870746D3}" type="datetime'''''''''''6''''''.''''''5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.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0C8ABCF-61FE-428F-9CA7-092FE5CCE2D0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1925639" y="4687888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A37B36F-FF8E-40DA-9EC9-E414FC7E3608}" type="datetime'''''4''''''.''''''6''''''''''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.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210CB71-B7C1-4E75-8707-40536CE836BC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1925639" y="3286125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9BE4D00-84B6-45AE-81E1-A744AD80663D}" type="datetime'''''''''''''''''''''''''''''1''.''''8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8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588453F-624D-4F6D-8846-33B91B976019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1925639" y="2517775"/>
            <a:ext cx="277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490B4E5-EFBE-4E7E-AC5B-019E55E2D360}" type="datetime'''''''''''''''''''''''''''''1''''''''''''''''.''7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A18A3C92-52C9-45BE-BA8D-8EC0D5FAAD72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343525" y="1752600"/>
            <a:ext cx="6048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CD68895-B644-40F9-B7E5-FBB7D8206B80}" type="datetime'''''''''''''-''''''''''''2''''''''''''0''''''''''''''''''''%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20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68C35B-7917-4ADC-9BEB-2669F5110144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190163" y="2370138"/>
            <a:ext cx="231775" cy="173038"/>
          </a:xfrm>
          <a:prstGeom prst="rect">
            <a:avLst/>
          </a:prstGeom>
          <a:solidFill>
            <a:srgbClr val="F38B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42BD980-3776-4D86-8BD2-67BF113895BA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190163" y="2619375"/>
            <a:ext cx="231775" cy="173038"/>
          </a:xfrm>
          <a:prstGeom prst="rect">
            <a:avLst/>
          </a:prstGeom>
          <a:solidFill>
            <a:srgbClr val="ED5C0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AFC3068-A856-41D6-BFC4-1B3FEF05B0E4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0190163" y="2868613"/>
            <a:ext cx="231775" cy="173038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A8616A41-7A2C-4D75-A444-CC0DD35E2629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10472738" y="2363788"/>
            <a:ext cx="6858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F464D6D-B64B-4D6C-B98F-0818796868F1}" type="datetime'S''''''''''h''''''''i''''''''''''''''''''p''pi''''''n''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hipp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721590FB-1203-4ED7-971A-1E5B591E5017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10472738" y="2613025"/>
            <a:ext cx="6572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Aviation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F1D385A6-E958-477D-9882-2CEEADE3AE22}"/>
              </a:ext>
            </a:extLst>
          </p:cNvPr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10472738" y="2862263"/>
            <a:ext cx="9429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95BE488-6EF3-4F40-B588-A943A4D9E829}" type="datetime'H''''''''ea''''''''''v''y ''r''''''''''''''''oad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eavy road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" name="5. Source">
            <a:extLst>
              <a:ext uri="{FF2B5EF4-FFF2-40B4-BE49-F238E27FC236}">
                <a16:creationId xmlns:a16="http://schemas.microsoft.com/office/drawing/2014/main" id="{968279B6-0807-4CFA-AE29-48899B86F4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5" name="AutoShape 250">
            <a:extLst>
              <a:ext uri="{FF2B5EF4-FFF2-40B4-BE49-F238E27FC236}">
                <a16:creationId xmlns:a16="http://schemas.microsoft.com/office/drawing/2014/main" id="{07BB370D-6411-46F3-BE51-0A65A7C64C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7945" y="996674"/>
            <a:ext cx="10502246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B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lobal emissions reductions potential from demand managemen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t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er year, 2050</a:t>
            </a:r>
          </a:p>
        </p:txBody>
      </p:sp>
      <p:cxnSp>
        <p:nvCxnSpPr>
          <p:cNvPr id="66" name="AutoShape 249">
            <a:extLst>
              <a:ext uri="{FF2B5EF4-FFF2-40B4-BE49-F238E27FC236}">
                <a16:creationId xmlns:a16="http://schemas.microsoft.com/office/drawing/2014/main" id="{E473BB35-77AE-4C15-8168-66CDCBC3487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494149" y="1446028"/>
            <a:ext cx="9760700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0FCB5B26-8C21-401F-BCCD-C09886217AD4}"/>
              </a:ext>
            </a:extLst>
          </p:cNvPr>
          <p:cNvSpPr/>
          <p:nvPr/>
        </p:nvSpPr>
        <p:spPr>
          <a:xfrm>
            <a:off x="7786628" y="-1747283"/>
            <a:ext cx="2883019" cy="1268456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anged first bar bug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3038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47397417"/>
              </p:ext>
            </p:extLst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3" name="think-cell Slide" r:id="rId20" imgW="526" imgH="526" progId="TCLayout.ActiveDocument.1">
                  <p:embed/>
                </p:oleObj>
              </mc:Choice>
              <mc:Fallback>
                <p:oleObj name="think-cell Slide" r:id="rId20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03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 Unicode MS" panose="020B0604020202020204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90" y="125867"/>
            <a:ext cx="12015209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The electricity-based decarbonization route (direct or indirect) can be cheaper</a:t>
            </a:r>
            <a:br>
              <a:rPr lang="en-GB" sz="2000" dirty="0"/>
            </a:br>
            <a:r>
              <a:rPr lang="en-GB" sz="2000" dirty="0"/>
              <a:t>than the biofuels route depending on transport mode and on electricity prices</a:t>
            </a:r>
            <a:endParaRPr lang="en-GB" sz="1800" b="0" dirty="0"/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80B2A842-28A1-4766-9192-A7EDD11B1D59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04220184"/>
              </p:ext>
            </p:extLst>
          </p:nvPr>
        </p:nvGraphicFramePr>
        <p:xfrm>
          <a:off x="2254250" y="2051050"/>
          <a:ext cx="7088188" cy="3749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56" name="Rectangle 55">
            <a:extLst>
              <a:ext uri="{FF2B5EF4-FFF2-40B4-BE49-F238E27FC236}">
                <a16:creationId xmlns:a16="http://schemas.microsoft.com/office/drawing/2014/main" id="{7AE21CC6-4C10-468E-A17E-5D985B43D7B1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321799" y="5213349"/>
            <a:ext cx="132715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Electricity pric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US$/MWh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DABDD2B-6D4C-41EF-8135-790D4C22F6D8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464675" y="197485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E1AEE7C-293C-4E56-922D-07C4D98A11C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464675" y="2238375"/>
            <a:ext cx="250825" cy="187325"/>
          </a:xfrm>
          <a:prstGeom prst="rect">
            <a:avLst/>
          </a:prstGeom>
          <a:solidFill>
            <a:srgbClr val="C2AF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E2C58E7-D14F-42EE-BDF7-2F40E5606E3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464675" y="2765425"/>
            <a:ext cx="250825" cy="187325"/>
          </a:xfrm>
          <a:prstGeom prst="rect">
            <a:avLst/>
          </a:prstGeom>
          <a:solidFill>
            <a:srgbClr val="37B89D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DFD6717-A177-4C63-A453-47E07EBF8077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464675" y="2501900"/>
            <a:ext cx="250825" cy="187325"/>
          </a:xfrm>
          <a:prstGeom prst="rect">
            <a:avLst/>
          </a:prstGeom>
          <a:solidFill>
            <a:srgbClr val="84137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EBBF74F2-5F8D-4E31-9773-6A23C441A714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9766299" y="1970088"/>
            <a:ext cx="8143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E89F264-E55C-452D-B993-258DFCC9C63B}" type="datetime'''''''''''''''''''E''''''''''''''l''''e''''''ctri''''cit''y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lectricity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A0F615A-0BF2-4C78-9F6C-39B11C9044EF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9766300" y="2233613"/>
            <a:ext cx="8461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AFCA546-8E11-4F8E-8ADD-50199E7400C2}" type="datetime'''A''''''m''''''m''o''n''''''''''''i''''''''''''a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mmonia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A359E95-7551-484D-B7B6-BF7B8F4EA5A7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9766300" y="2497138"/>
            <a:ext cx="6746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CD6606A-C3D9-49BD-8A58-4D30918F02C6}" type="datetime'S''''y''''n''''f''''''''u''e''''''''''''''''''''''''l''s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ynfuels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2EE9240F-27ED-4066-8C48-0B947099FF8A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9766299" y="2760663"/>
            <a:ext cx="6350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Biofuel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0" name="Rectangle 75">
            <a:extLst>
              <a:ext uri="{FF2B5EF4-FFF2-40B4-BE49-F238E27FC236}">
                <a16:creationId xmlns:a16="http://schemas.microsoft.com/office/drawing/2014/main" id="{02966252-7E6B-4C91-8227-E8EBF8D516B0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77850" y="3476625"/>
            <a:ext cx="1558924" cy="609599"/>
          </a:xfrm>
          <a:prstGeom prst="rect">
            <a:avLst/>
          </a:prstGeom>
          <a:solidFill>
            <a:srgbClr val="F38B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</a:t>
            </a:r>
          </a:p>
        </p:txBody>
      </p:sp>
      <p:sp>
        <p:nvSpPr>
          <p:cNvPr id="231" name="Rectangle 75">
            <a:extLst>
              <a:ext uri="{FF2B5EF4-FFF2-40B4-BE49-F238E27FC236}">
                <a16:creationId xmlns:a16="http://schemas.microsoft.com/office/drawing/2014/main" id="{692E2018-792A-4EED-AF31-1D79EDC29EDD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577850" y="2376237"/>
            <a:ext cx="1558924" cy="609599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-road transport</a:t>
            </a:r>
          </a:p>
        </p:txBody>
      </p:sp>
      <p:sp>
        <p:nvSpPr>
          <p:cNvPr id="232" name="Rectangle 75">
            <a:extLst>
              <a:ext uri="{FF2B5EF4-FFF2-40B4-BE49-F238E27FC236}">
                <a16:creationId xmlns:a16="http://schemas.microsoft.com/office/drawing/2014/main" id="{2428169E-0AFF-4454-B185-AFBF3C15D11A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77850" y="4570663"/>
            <a:ext cx="1558924" cy="609598"/>
          </a:xfrm>
          <a:prstGeom prst="rect">
            <a:avLst/>
          </a:prstGeom>
          <a:solidFill>
            <a:srgbClr val="ED5C05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iation</a:t>
            </a:r>
          </a:p>
        </p:txBody>
      </p:sp>
      <p:sp>
        <p:nvSpPr>
          <p:cNvPr id="32" name="5. Source">
            <a:extLst>
              <a:ext uri="{FF2B5EF4-FFF2-40B4-BE49-F238E27FC236}">
                <a16:creationId xmlns:a16="http://schemas.microsoft.com/office/drawing/2014/main" id="{223257A6-A90F-4D1C-A78F-B5CBE6965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23983"/>
            <a:ext cx="12192000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Shipping trade-off based on annual total cost for a bulk container. Aviation trade-off based on bio jet with 100% cost premium vs. kerosene jetfuel,            and synthetic fuels production with 50% energy efficiency.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. Shipping: UMAS analysis for the Energy Transitions Commission (2018)</a:t>
            </a: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34" name="AutoShape 249">
            <a:extLst>
              <a:ext uri="{FF2B5EF4-FFF2-40B4-BE49-F238E27FC236}">
                <a16:creationId xmlns:a16="http://schemas.microsoft.com/office/drawing/2014/main" id="{7BF887E3-3636-46F8-BE18-B7DAF3BA24F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25302" y="1505733"/>
            <a:ext cx="10379056" cy="2552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AutoShape 250">
            <a:extLst>
              <a:ext uri="{FF2B5EF4-FFF2-40B4-BE49-F238E27FC236}">
                <a16:creationId xmlns:a16="http://schemas.microsoft.com/office/drawing/2014/main" id="{CD69A39E-8A84-4BC0-BEA4-1CB700221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302" y="1033505"/>
            <a:ext cx="10379056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apest supply-side decarbonization route depending on electricity price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/MWh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033656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05454269"/>
              </p:ext>
            </p:extLst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7" name="think-cell Slide" r:id="rId12" imgW="526" imgH="526" progId="TCLayout.ActiveDocument.1">
                  <p:embed/>
                </p:oleObj>
              </mc:Choice>
              <mc:Fallback>
                <p:oleObj name="think-cell Slide" r:id="rId12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03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 Unicode MS"/>
              <a:sym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88A5B1-71EC-4604-92D1-B8093F64FCA6}"/>
              </a:ext>
            </a:extLst>
          </p:cNvPr>
          <p:cNvSpPr/>
          <p:nvPr/>
        </p:nvSpPr>
        <p:spPr>
          <a:xfrm>
            <a:off x="2370827" y="2445972"/>
            <a:ext cx="6628794" cy="720000"/>
          </a:xfrm>
          <a:prstGeom prst="rect">
            <a:avLst/>
          </a:prstGeom>
          <a:solidFill>
            <a:srgbClr val="FFE69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F79936F-84EA-4DB7-AD84-8973E6B62FA8}"/>
              </a:ext>
            </a:extLst>
          </p:cNvPr>
          <p:cNvSpPr/>
          <p:nvPr/>
        </p:nvSpPr>
        <p:spPr>
          <a:xfrm>
            <a:off x="2370827" y="3380350"/>
            <a:ext cx="6628794" cy="720000"/>
          </a:xfrm>
          <a:prstGeom prst="rect">
            <a:avLst/>
          </a:prstGeom>
          <a:solidFill>
            <a:srgbClr val="FFCF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FDD60DD5-A5AA-41B6-B34E-5BCE389E2FE4}"/>
              </a:ext>
            </a:extLst>
          </p:cNvPr>
          <p:cNvSpPr/>
          <p:nvPr/>
        </p:nvSpPr>
        <p:spPr>
          <a:xfrm>
            <a:off x="2370827" y="4314728"/>
            <a:ext cx="6628794" cy="720000"/>
          </a:xfrm>
          <a:prstGeom prst="rect">
            <a:avLst/>
          </a:prstGeom>
          <a:solidFill>
            <a:srgbClr val="FDB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147" name="ACET">
            <a:extLst>
              <a:ext uri="{FF2B5EF4-FFF2-40B4-BE49-F238E27FC236}">
                <a16:creationId xmlns:a16="http://schemas.microsoft.com/office/drawing/2014/main" id="{20FF1D51-9D13-49BA-80DD-90F4907DEB2E}"/>
              </a:ext>
            </a:extLst>
          </p:cNvPr>
          <p:cNvGrpSpPr>
            <a:grpSpLocks/>
          </p:cNvGrpSpPr>
          <p:nvPr/>
        </p:nvGrpSpPr>
        <p:grpSpPr bwMode="auto">
          <a:xfrm>
            <a:off x="176790" y="-204182560"/>
            <a:ext cx="11838411" cy="3367"/>
            <a:chOff x="457" y="1549702"/>
            <a:chExt cx="761" cy="3367"/>
          </a:xfrm>
        </p:grpSpPr>
        <p:cxnSp>
          <p:nvCxnSpPr>
            <p:cNvPr id="148" name="AutoShape 249">
              <a:extLst>
                <a:ext uri="{FF2B5EF4-FFF2-40B4-BE49-F238E27FC236}">
                  <a16:creationId xmlns:a16="http://schemas.microsoft.com/office/drawing/2014/main" id="{9F67E405-762E-45AD-B38E-0ED9975BB0A3}"/>
                </a:ext>
              </a:extLst>
            </p:cNvPr>
            <p:cNvCxnSpPr>
              <a:cxnSpLocks noChangeShapeType="1"/>
              <a:stCxn id="149" idx="4"/>
              <a:endCxn id="149" idx="6"/>
            </p:cNvCxnSpPr>
            <p:nvPr/>
          </p:nvCxnSpPr>
          <p:spPr bwMode="auto">
            <a:xfrm>
              <a:off x="457" y="1553069"/>
              <a:ext cx="761" cy="0"/>
            </a:xfrm>
            <a:prstGeom prst="straightConnector1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9" name="AutoShape 250">
              <a:extLst>
                <a:ext uri="{FF2B5EF4-FFF2-40B4-BE49-F238E27FC236}">
                  <a16:creationId xmlns:a16="http://schemas.microsoft.com/office/drawing/2014/main" id="{ED0E145F-12A7-4079-9140-229460E064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" y="1549702"/>
              <a:ext cx="761" cy="33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CBA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ost per tonne of CO</a:t>
              </a:r>
              <a:r>
                <a:rPr kumimoji="0" lang="en-GB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7CBA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CBA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 and cheapest decarbonization route depending on electricity price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007CBA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/tonne CO</a:t>
              </a:r>
              <a:r>
                <a:rPr kumimoji="0" lang="en-GB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90" y="125867"/>
            <a:ext cx="10844135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The decarbonization cost per tonne of CO</a:t>
            </a:r>
            <a:r>
              <a:rPr lang="en-GB" sz="2000" baseline="-25000" dirty="0"/>
              <a:t>2</a:t>
            </a:r>
            <a:r>
              <a:rPr lang="en-GB" sz="2000" dirty="0"/>
              <a:t> will vary across heavy-duty transport sectors and will also depend on local electricity prices </a:t>
            </a:r>
            <a:endParaRPr lang="en-GB" sz="1800" b="0" dirty="0"/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F23857B7-273F-4C17-A6A7-68BE061087CC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52084446"/>
              </p:ext>
            </p:extLst>
          </p:nvPr>
        </p:nvGraphicFramePr>
        <p:xfrm>
          <a:off x="2058988" y="1793875"/>
          <a:ext cx="7275512" cy="416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68" name="Rectangle 367">
            <a:extLst>
              <a:ext uri="{FF2B5EF4-FFF2-40B4-BE49-F238E27FC236}">
                <a16:creationId xmlns:a16="http://schemas.microsoft.com/office/drawing/2014/main" id="{1A70A731-DA39-40AF-8AB6-2C88DC672624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170988" y="5478463"/>
            <a:ext cx="13017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t>US$/tonne CO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t>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330" name="Rectangle: Rounded Corners 329">
            <a:extLst>
              <a:ext uri="{FF2B5EF4-FFF2-40B4-BE49-F238E27FC236}">
                <a16:creationId xmlns:a16="http://schemas.microsoft.com/office/drawing/2014/main" id="{42A03E2F-39BE-4885-857B-EB8197E5B026}"/>
              </a:ext>
            </a:extLst>
          </p:cNvPr>
          <p:cNvSpPr/>
          <p:nvPr/>
        </p:nvSpPr>
        <p:spPr>
          <a:xfrm>
            <a:off x="9548232" y="2731106"/>
            <a:ext cx="180000" cy="180000"/>
          </a:xfrm>
          <a:prstGeom prst="round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1" name="Rectangle: Rounded Corners 330">
            <a:extLst>
              <a:ext uri="{FF2B5EF4-FFF2-40B4-BE49-F238E27FC236}">
                <a16:creationId xmlns:a16="http://schemas.microsoft.com/office/drawing/2014/main" id="{8D05BBDC-CA64-4292-B8BF-B3BFA596ABC9}"/>
              </a:ext>
            </a:extLst>
          </p:cNvPr>
          <p:cNvSpPr/>
          <p:nvPr/>
        </p:nvSpPr>
        <p:spPr>
          <a:xfrm>
            <a:off x="9548232" y="3200694"/>
            <a:ext cx="180000" cy="180000"/>
          </a:xfrm>
          <a:prstGeom prst="roundRect">
            <a:avLst/>
          </a:prstGeom>
          <a:solidFill>
            <a:srgbClr val="84137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2" name="Rectangle: Rounded Corners 331">
            <a:extLst>
              <a:ext uri="{FF2B5EF4-FFF2-40B4-BE49-F238E27FC236}">
                <a16:creationId xmlns:a16="http://schemas.microsoft.com/office/drawing/2014/main" id="{24E9FBC6-AC1A-44DE-8C8C-032C4AF72C34}"/>
              </a:ext>
            </a:extLst>
          </p:cNvPr>
          <p:cNvSpPr/>
          <p:nvPr/>
        </p:nvSpPr>
        <p:spPr>
          <a:xfrm>
            <a:off x="9548232" y="3435489"/>
            <a:ext cx="180000" cy="180000"/>
          </a:xfrm>
          <a:prstGeom prst="round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B86CDF37-6DCD-4710-8701-5EC20E67915A}"/>
              </a:ext>
            </a:extLst>
          </p:cNvPr>
          <p:cNvSpPr txBox="1"/>
          <p:nvPr/>
        </p:nvSpPr>
        <p:spPr>
          <a:xfrm>
            <a:off x="9724358" y="2670713"/>
            <a:ext cx="1106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icity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8AA4AF9A-3B1C-4D48-9BCA-B87A0CF0C300}"/>
              </a:ext>
            </a:extLst>
          </p:cNvPr>
          <p:cNvSpPr txBox="1"/>
          <p:nvPr/>
        </p:nvSpPr>
        <p:spPr>
          <a:xfrm>
            <a:off x="9729926" y="3131069"/>
            <a:ext cx="1106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nfuels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99BAC3E2-391A-4771-8A9F-B77652E0C38E}"/>
              </a:ext>
            </a:extLst>
          </p:cNvPr>
          <p:cNvSpPr txBox="1"/>
          <p:nvPr/>
        </p:nvSpPr>
        <p:spPr>
          <a:xfrm>
            <a:off x="9728232" y="3370145"/>
            <a:ext cx="15589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ofuels</a:t>
            </a: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D27598E6-4ABD-4932-B995-CAE6A1FCABD7}"/>
              </a:ext>
            </a:extLst>
          </p:cNvPr>
          <p:cNvSpPr/>
          <p:nvPr/>
        </p:nvSpPr>
        <p:spPr>
          <a:xfrm>
            <a:off x="9544846" y="1892706"/>
            <a:ext cx="180000" cy="180000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1" name="Diamond 360">
            <a:extLst>
              <a:ext uri="{FF2B5EF4-FFF2-40B4-BE49-F238E27FC236}">
                <a16:creationId xmlns:a16="http://schemas.microsoft.com/office/drawing/2014/main" id="{8683CDF9-CF8F-4016-8E8C-AD34E8F31C14}"/>
              </a:ext>
            </a:extLst>
          </p:cNvPr>
          <p:cNvSpPr/>
          <p:nvPr/>
        </p:nvSpPr>
        <p:spPr>
          <a:xfrm>
            <a:off x="9544846" y="2124103"/>
            <a:ext cx="180000" cy="180000"/>
          </a:xfrm>
          <a:prstGeom prst="diamond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2" name="Rectangle 361">
            <a:extLst>
              <a:ext uri="{FF2B5EF4-FFF2-40B4-BE49-F238E27FC236}">
                <a16:creationId xmlns:a16="http://schemas.microsoft.com/office/drawing/2014/main" id="{3CC53470-18BD-4C48-BCAA-C249E5086721}"/>
              </a:ext>
            </a:extLst>
          </p:cNvPr>
          <p:cNvSpPr/>
          <p:nvPr/>
        </p:nvSpPr>
        <p:spPr>
          <a:xfrm>
            <a:off x="9544846" y="2355972"/>
            <a:ext cx="180000" cy="180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4" name="TextBox 363">
            <a:extLst>
              <a:ext uri="{FF2B5EF4-FFF2-40B4-BE49-F238E27FC236}">
                <a16:creationId xmlns:a16="http://schemas.microsoft.com/office/drawing/2014/main" id="{82CCECF3-80F6-48CF-AE2F-914EF42C8C1E}"/>
              </a:ext>
            </a:extLst>
          </p:cNvPr>
          <p:cNvSpPr txBox="1"/>
          <p:nvPr/>
        </p:nvSpPr>
        <p:spPr>
          <a:xfrm>
            <a:off x="9722645" y="1832478"/>
            <a:ext cx="15572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t US$20/MWh</a:t>
            </a:r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3226D539-9FAD-4B18-8BC4-5F31990C8B6A}"/>
              </a:ext>
            </a:extLst>
          </p:cNvPr>
          <p:cNvSpPr txBox="1"/>
          <p:nvPr/>
        </p:nvSpPr>
        <p:spPr>
          <a:xfrm>
            <a:off x="9722646" y="2063584"/>
            <a:ext cx="15572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t US$40/MWh</a:t>
            </a:r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AB8EE911-22E2-41A6-92EA-10B42ADF768D}"/>
              </a:ext>
            </a:extLst>
          </p:cNvPr>
          <p:cNvSpPr txBox="1"/>
          <p:nvPr/>
        </p:nvSpPr>
        <p:spPr>
          <a:xfrm>
            <a:off x="9720952" y="2302660"/>
            <a:ext cx="15589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t US$70/MWh</a:t>
            </a:r>
          </a:p>
        </p:txBody>
      </p:sp>
      <p:sp>
        <p:nvSpPr>
          <p:cNvPr id="93" name="5. Source">
            <a:extLst>
              <a:ext uri="{FF2B5EF4-FFF2-40B4-BE49-F238E27FC236}">
                <a16:creationId xmlns:a16="http://schemas.microsoft.com/office/drawing/2014/main" id="{E1F38F68-78E2-4EEA-9583-AF37A3B1B0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22109"/>
            <a:ext cx="11778784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Shipping trade-off based on annual total cost for a bulk container. Aviation trade-off based on bio jet with 100% cost premium vs. kerosene jet fuel, and synthetic fuels production with 50% energy efficiency.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. Shipping: UMAS analysis for the Energy Transitions Commission (2018)</a:t>
            </a: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94" name="AutoShape 249">
            <a:extLst>
              <a:ext uri="{FF2B5EF4-FFF2-40B4-BE49-F238E27FC236}">
                <a16:creationId xmlns:a16="http://schemas.microsoft.com/office/drawing/2014/main" id="{5949FD57-A606-41BC-B3A8-E3A11A5250D6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52321" y="1460722"/>
            <a:ext cx="10930942" cy="45998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5" name="AutoShape 250">
            <a:extLst>
              <a:ext uri="{FF2B5EF4-FFF2-40B4-BE49-F238E27FC236}">
                <a16:creationId xmlns:a16="http://schemas.microsoft.com/office/drawing/2014/main" id="{A1A8B3F7-B331-4C59-8720-F210716F6F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322" y="1021644"/>
            <a:ext cx="10930941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apest supply-side decarbonization route and abatement cost at different electricity prices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/tonne 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C75DE83A-DE62-4D8B-8618-32CD09227344}"/>
              </a:ext>
            </a:extLst>
          </p:cNvPr>
          <p:cNvSpPr/>
          <p:nvPr/>
        </p:nvSpPr>
        <p:spPr>
          <a:xfrm>
            <a:off x="9548232" y="2965900"/>
            <a:ext cx="180000" cy="180000"/>
          </a:xfrm>
          <a:prstGeom prst="roundRect">
            <a:avLst/>
          </a:prstGeom>
          <a:solidFill>
            <a:srgbClr val="C2AF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7F0BF98-A0B3-47ED-A02D-9188A938A6D9}"/>
              </a:ext>
            </a:extLst>
          </p:cNvPr>
          <p:cNvSpPr txBox="1"/>
          <p:nvPr/>
        </p:nvSpPr>
        <p:spPr>
          <a:xfrm>
            <a:off x="9728232" y="2903733"/>
            <a:ext cx="15589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mmonia</a:t>
            </a:r>
          </a:p>
        </p:txBody>
      </p:sp>
      <p:sp>
        <p:nvSpPr>
          <p:cNvPr id="35" name="Rectangle 75">
            <a:extLst>
              <a:ext uri="{FF2B5EF4-FFF2-40B4-BE49-F238E27FC236}">
                <a16:creationId xmlns:a16="http://schemas.microsoft.com/office/drawing/2014/main" id="{125F14A3-34A7-4FD6-9BAE-55E028ED556D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25451" y="3380350"/>
            <a:ext cx="1558924" cy="720000"/>
          </a:xfrm>
          <a:prstGeom prst="rect">
            <a:avLst/>
          </a:prstGeom>
          <a:solidFill>
            <a:srgbClr val="F38B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</a:t>
            </a:r>
          </a:p>
        </p:txBody>
      </p:sp>
      <p:sp>
        <p:nvSpPr>
          <p:cNvPr id="36" name="Rectangle 75">
            <a:extLst>
              <a:ext uri="{FF2B5EF4-FFF2-40B4-BE49-F238E27FC236}">
                <a16:creationId xmlns:a16="http://schemas.microsoft.com/office/drawing/2014/main" id="{09CA788E-0E53-4923-9EC7-B4477C5B0EE8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25451" y="2444537"/>
            <a:ext cx="1558924" cy="72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-road transport</a:t>
            </a:r>
          </a:p>
        </p:txBody>
      </p:sp>
      <p:sp>
        <p:nvSpPr>
          <p:cNvPr id="37" name="Rectangle 75">
            <a:extLst>
              <a:ext uri="{FF2B5EF4-FFF2-40B4-BE49-F238E27FC236}">
                <a16:creationId xmlns:a16="http://schemas.microsoft.com/office/drawing/2014/main" id="{7695D9B1-87A8-4BFE-B973-00EA002438B2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25451" y="4314728"/>
            <a:ext cx="1558924" cy="720000"/>
          </a:xfrm>
          <a:prstGeom prst="rect">
            <a:avLst/>
          </a:prstGeom>
          <a:solidFill>
            <a:srgbClr val="ED5C05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i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4EC3ED4-E3DA-4C9E-841A-A757758F9B15}"/>
              </a:ext>
            </a:extLst>
          </p:cNvPr>
          <p:cNvSpPr txBox="1"/>
          <p:nvPr/>
        </p:nvSpPr>
        <p:spPr>
          <a:xfrm>
            <a:off x="2463768" y="2568096"/>
            <a:ext cx="59075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Zero cost for electric trucks and buses below US$80/MW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(but some infrastructure investment)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61553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1" name="think-cell Slide" r:id="rId22" imgW="526" imgH="526" progId="TCLayout.ActiveDocument.1">
                  <p:embed/>
                </p:oleObj>
              </mc:Choice>
              <mc:Fallback>
                <p:oleObj name="think-cell Slide" r:id="rId22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0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39" name="Rectangle 75">
            <a:extLst>
              <a:ext uri="{FF2B5EF4-FFF2-40B4-BE49-F238E27FC236}">
                <a16:creationId xmlns:a16="http://schemas.microsoft.com/office/drawing/2014/main" id="{F655C5F2-6E37-4E2C-AE49-FBF81CEEE73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307326" y="5066929"/>
            <a:ext cx="1559051" cy="565838"/>
          </a:xfrm>
          <a:prstGeom prst="rect">
            <a:avLst/>
          </a:prstGeom>
          <a:solidFill>
            <a:srgbClr val="F38B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91" y="273611"/>
            <a:ext cx="9707925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Costs of supply-side decarbonization vary greatly by sectors  </a:t>
            </a:r>
            <a:endParaRPr lang="en-GB" sz="1800" b="0" dirty="0"/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FCBDB4BB-2789-45C7-98C6-4D88FD786C68}"/>
              </a:ext>
            </a:extLst>
          </p:cNvPr>
          <p:cNvGraphicFramePr/>
          <p:nvPr>
            <p:custDataLst>
              <p:tags r:id="rId6"/>
            </p:custDataLst>
            <p:extLst/>
          </p:nvPr>
        </p:nvGraphicFramePr>
        <p:xfrm>
          <a:off x="3308350" y="1644650"/>
          <a:ext cx="7608888" cy="4151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90" name="Rectangle 89">
            <a:extLst>
              <a:ext uri="{FF2B5EF4-FFF2-40B4-BE49-F238E27FC236}">
                <a16:creationId xmlns:a16="http://schemas.microsoft.com/office/drawing/2014/main" id="{462AA2CA-EF35-4FFC-A918-4E3B1F5C3A7C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9690100" y="3289300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4C58573-4103-4547-8C26-828916FB5808}" type="datetime'2''''''''95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9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58DD276-A929-4DBF-A820-4F7EEC2B4FA8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4692650" y="1960563"/>
            <a:ext cx="2317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6F83022-6481-442C-A4B2-132F70BE4DCF}" type="datetime'''6''0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5251288-B5EC-4BF1-B2F6-03D08A5538F5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8307388" y="4618038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B67D963-810D-4F36-9C0B-F7BFC92D06D3}" type="datetime'''''''''''''''''2''''''''''''''''3''''''''0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3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AE53599-1F19-4F8C-9B1C-AF66B85237D6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6181725" y="2624138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D706117-5D29-4218-9988-E3F13B00D40D}" type="datetime'''''''''''''''''''''1''''''''''''''''''''3''''''0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3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222379-1954-49DD-97F9-0981CB2C16CD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0860088" y="5281613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29A4DDB-9E5F-494B-A4D6-D135C8EE3078}" type="datetime'''''''3''''''''''''''''''''''5''''''''''''''0''''''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50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104" name="Rectangle 75">
            <a:extLst>
              <a:ext uri="{FF2B5EF4-FFF2-40B4-BE49-F238E27FC236}">
                <a16:creationId xmlns:a16="http://schemas.microsoft.com/office/drawing/2014/main" id="{B87E20AC-13FA-46A4-A46C-6A9459A5E4F0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19907" y="1727007"/>
            <a:ext cx="633637" cy="1858104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  <a:extLst/>
        </p:spPr>
        <p:txBody>
          <a:bodyPr vert="vert270"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dustry</a:t>
            </a:r>
          </a:p>
        </p:txBody>
      </p:sp>
      <p:sp>
        <p:nvSpPr>
          <p:cNvPr id="105" name="Rectangle 75">
            <a:extLst>
              <a:ext uri="{FF2B5EF4-FFF2-40B4-BE49-F238E27FC236}">
                <a16:creationId xmlns:a16="http://schemas.microsoft.com/office/drawing/2014/main" id="{FEBEF59C-B8DB-4230-82D6-BFAA8E1689B1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307327" y="1729502"/>
            <a:ext cx="1559051" cy="5658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teel</a:t>
            </a:r>
          </a:p>
        </p:txBody>
      </p:sp>
      <p:sp>
        <p:nvSpPr>
          <p:cNvPr id="106" name="Rectangle 75">
            <a:extLst>
              <a:ext uri="{FF2B5EF4-FFF2-40B4-BE49-F238E27FC236}">
                <a16:creationId xmlns:a16="http://schemas.microsoft.com/office/drawing/2014/main" id="{A6B96855-34C6-490D-9676-0B56E341F3ED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307327" y="2378251"/>
            <a:ext cx="1559051" cy="56583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ement</a:t>
            </a:r>
          </a:p>
        </p:txBody>
      </p:sp>
      <p:sp>
        <p:nvSpPr>
          <p:cNvPr id="107" name="Rectangle 75">
            <a:extLst>
              <a:ext uri="{FF2B5EF4-FFF2-40B4-BE49-F238E27FC236}">
                <a16:creationId xmlns:a16="http://schemas.microsoft.com/office/drawing/2014/main" id="{6D058270-3DCC-4E16-9EE2-757D6079F35A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307327" y="3028248"/>
            <a:ext cx="1559051" cy="5658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thylene</a:t>
            </a:r>
          </a:p>
        </p:txBody>
      </p:sp>
      <p:sp>
        <p:nvSpPr>
          <p:cNvPr id="108" name="Rectangle 75">
            <a:extLst>
              <a:ext uri="{FF2B5EF4-FFF2-40B4-BE49-F238E27FC236}">
                <a16:creationId xmlns:a16="http://schemas.microsoft.com/office/drawing/2014/main" id="{21EE6A32-9A65-4EE2-9A14-91C765ECEC31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19907" y="3763452"/>
            <a:ext cx="633637" cy="1867719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  <a:extLst/>
        </p:spPr>
        <p:txBody>
          <a:bodyPr vert="vert270"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ransport</a:t>
            </a:r>
          </a:p>
        </p:txBody>
      </p:sp>
      <p:sp>
        <p:nvSpPr>
          <p:cNvPr id="109" name="Rectangle 75">
            <a:extLst>
              <a:ext uri="{FF2B5EF4-FFF2-40B4-BE49-F238E27FC236}">
                <a16:creationId xmlns:a16="http://schemas.microsoft.com/office/drawing/2014/main" id="{570502F5-712D-44D9-919F-80798CDE9A53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307327" y="3765947"/>
            <a:ext cx="1559051" cy="56583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-road transport</a:t>
            </a:r>
          </a:p>
        </p:txBody>
      </p:sp>
      <p:sp>
        <p:nvSpPr>
          <p:cNvPr id="114" name="Rectangle 75">
            <a:extLst>
              <a:ext uri="{FF2B5EF4-FFF2-40B4-BE49-F238E27FC236}">
                <a16:creationId xmlns:a16="http://schemas.microsoft.com/office/drawing/2014/main" id="{39614CC4-CB27-4F88-9638-B18DBABFD27F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307325" y="4414392"/>
            <a:ext cx="1559051" cy="565838"/>
          </a:xfrm>
          <a:prstGeom prst="rect">
            <a:avLst/>
          </a:prstGeom>
          <a:solidFill>
            <a:srgbClr val="ED5C05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iation</a:t>
            </a:r>
          </a:p>
        </p:txBody>
      </p:sp>
      <p:sp>
        <p:nvSpPr>
          <p:cNvPr id="154" name="Rectangle 75">
            <a:extLst>
              <a:ext uri="{FF2B5EF4-FFF2-40B4-BE49-F238E27FC236}">
                <a16:creationId xmlns:a16="http://schemas.microsoft.com/office/drawing/2014/main" id="{8F73EFFB-4E48-4BAB-9038-DE0743F06E34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243349" y="3810075"/>
            <a:ext cx="6141097" cy="4506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 marginal decarbonization cost, but significant infrastructure cost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94118DA6-5023-4D2F-A348-F007B9715E61}"/>
              </a:ext>
            </a:extLst>
          </p:cNvPr>
          <p:cNvSpPr txBox="1"/>
          <p:nvPr/>
        </p:nvSpPr>
        <p:spPr>
          <a:xfrm>
            <a:off x="5280257" y="2578450"/>
            <a:ext cx="71238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10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F4BED4FF-3D3C-4A72-AB7E-CA591AC1F9A3}"/>
              </a:ext>
            </a:extLst>
          </p:cNvPr>
          <p:cNvSpPr txBox="1"/>
          <p:nvPr/>
        </p:nvSpPr>
        <p:spPr>
          <a:xfrm>
            <a:off x="8557386" y="3242325"/>
            <a:ext cx="71238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65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01737477-ABCC-4938-A56F-7B973130CA96}"/>
              </a:ext>
            </a:extLst>
          </p:cNvPr>
          <p:cNvSpPr txBox="1"/>
          <p:nvPr/>
        </p:nvSpPr>
        <p:spPr>
          <a:xfrm>
            <a:off x="6131955" y="5234638"/>
            <a:ext cx="71238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50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5879FC-EFAC-424E-B181-4E1DAFCB364F}"/>
              </a:ext>
            </a:extLst>
          </p:cNvPr>
          <p:cNvSpPr txBox="1"/>
          <p:nvPr/>
        </p:nvSpPr>
        <p:spPr>
          <a:xfrm>
            <a:off x="5350518" y="4571063"/>
            <a:ext cx="71238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15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7E17BE5B-B732-49FE-9277-899FE999EFF2}"/>
              </a:ext>
            </a:extLst>
          </p:cNvPr>
          <p:cNvSpPr txBox="1"/>
          <p:nvPr/>
        </p:nvSpPr>
        <p:spPr>
          <a:xfrm>
            <a:off x="3530968" y="1913588"/>
            <a:ext cx="71238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5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C1839FA-BAFF-4FDB-96CA-9352033632CE}"/>
              </a:ext>
            </a:extLst>
          </p:cNvPr>
          <p:cNvGrpSpPr/>
          <p:nvPr/>
        </p:nvGrpSpPr>
        <p:grpSpPr>
          <a:xfrm>
            <a:off x="437048" y="1106542"/>
            <a:ext cx="10746890" cy="449354"/>
            <a:chOff x="176793" y="1265137"/>
            <a:chExt cx="11838412" cy="195403"/>
          </a:xfrm>
        </p:grpSpPr>
        <p:sp>
          <p:nvSpPr>
            <p:cNvPr id="35" name="AutoShape 250">
              <a:extLst>
                <a:ext uri="{FF2B5EF4-FFF2-40B4-BE49-F238E27FC236}">
                  <a16:creationId xmlns:a16="http://schemas.microsoft.com/office/drawing/2014/main" id="{6A7B1685-F7C5-4507-893A-2FA0B07464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793" y="1265137"/>
              <a:ext cx="11838412" cy="19540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upply-side abatement cost in a low-cost and high-cost scenarios 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/tonne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O</a:t>
              </a:r>
              <a:r>
                <a:rPr kumimoji="0" lang="en-US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 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cxnSp>
          <p:nvCxnSpPr>
            <p:cNvPr id="36" name="AutoShape 249">
              <a:extLst>
                <a:ext uri="{FF2B5EF4-FFF2-40B4-BE49-F238E27FC236}">
                  <a16:creationId xmlns:a16="http://schemas.microsoft.com/office/drawing/2014/main" id="{772C366B-2F6B-44F1-93FE-6AACDBBE37A9}"/>
                </a:ext>
              </a:extLst>
            </p:cNvPr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176793" y="1460540"/>
              <a:ext cx="11838412" cy="0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8" name="5. Source">
            <a:extLst>
              <a:ext uri="{FF2B5EF4-FFF2-40B4-BE49-F238E27FC236}">
                <a16:creationId xmlns:a16="http://schemas.microsoft.com/office/drawing/2014/main" id="{22F0ED1F-9520-495E-BE8F-903AA1B04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94427"/>
            <a:ext cx="11778784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Industry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cKinsey &amp; Company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carbonization of industrial sectors: the next frontier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/ Shipping: UMAS analysis for the Energy Transitions Commission (2018) / Other transport sectors: 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0328214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1593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5" name="think-cell Slide" r:id="rId99" imgW="449" imgH="450" progId="TCLayout.ActiveDocument.1">
                  <p:embed/>
                </p:oleObj>
              </mc:Choice>
              <mc:Fallback>
                <p:oleObj name="think-cell Slide" r:id="rId99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2000" b="1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30F5A4-7B87-4EE6-B387-A65337FC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32" y="265139"/>
            <a:ext cx="11870324" cy="307777"/>
          </a:xfrm>
        </p:spPr>
        <p:txBody>
          <a:bodyPr/>
          <a:lstStyle/>
          <a:p>
            <a:r>
              <a:rPr lang="en-US" sz="2000" dirty="0"/>
              <a:t>Demand-side decarbonization is feasible at a lower cost than supply-side decarbonization</a:t>
            </a:r>
            <a:endParaRPr lang="en-GB" sz="2000" b="0" baseline="-25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9EA2236-2690-438D-94DA-688427C793A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061575" y="1746250"/>
            <a:ext cx="123825" cy="1620838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7043CA0-269C-41CC-9B5A-34FA6522E5F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451975" y="1989138"/>
            <a:ext cx="609600" cy="1377950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E475B615-82C2-4805-9A7E-1F01D6C63C5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709025" y="2070100"/>
            <a:ext cx="742950" cy="1296988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619A16A8-1CEF-40FE-85AE-00FA16EC0DE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497888" y="2393950"/>
            <a:ext cx="211138" cy="97313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1E9F8A54-E704-4462-A979-B4DE20BCF1E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301038" y="2474913"/>
            <a:ext cx="196850" cy="89217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5C962A9-EEAF-4172-9797-F96102EFFD41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807325" y="2557463"/>
            <a:ext cx="493713" cy="809625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492D35-58E0-4642-80D3-9DB16DFA41FD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610475" y="2719388"/>
            <a:ext cx="196850" cy="647700"/>
          </a:xfrm>
          <a:prstGeom prst="rect">
            <a:avLst/>
          </a:prstGeom>
          <a:solidFill>
            <a:srgbClr val="9DB1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46E3DCB5-B8E2-4B9D-BC82-2AA3A779263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062663" y="2800350"/>
            <a:ext cx="1547813" cy="5667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61E5684-CB3A-472A-8212-C536CE72C172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862638" y="2881313"/>
            <a:ext cx="200025" cy="485775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DAA5334B-5DA7-4A79-B497-81E17B885F6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408613" y="3286125"/>
            <a:ext cx="454025" cy="8096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CF5AD769-D2EA-479D-AFC3-EAFA35D183F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830763" y="3367088"/>
            <a:ext cx="577850" cy="161925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CB514F77-C552-450E-8CF4-2CF0D46B021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995738" y="3367088"/>
            <a:ext cx="835025" cy="24288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4B4AEE88-CED4-4A24-A30D-1DBE420C97A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435350" y="3367088"/>
            <a:ext cx="560388" cy="242887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4F94CFB-17CC-475D-ABF4-3E5717D99BA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195638" y="3367088"/>
            <a:ext cx="239713" cy="647700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59A59D59-27DC-40AA-BECB-9722FB7805C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239963" y="3367088"/>
            <a:ext cx="955675" cy="97313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7631CACF-83FA-458F-BF86-DBC707B92B1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041525" y="3367088"/>
            <a:ext cx="198438" cy="1620837"/>
          </a:xfrm>
          <a:prstGeom prst="rect">
            <a:avLst/>
          </a:prstGeom>
          <a:solidFill>
            <a:srgbClr val="9DB1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77B369D-C450-4E62-92C0-23837771EECD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719263" y="3367088"/>
            <a:ext cx="322263" cy="1620837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659FC3C-56F3-431D-828A-E7BD482C3EA1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655763" y="3367088"/>
            <a:ext cx="63500" cy="1620837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F186CA2-2545-41E0-85C6-160981A4776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392238" y="3367088"/>
            <a:ext cx="263525" cy="1620837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0A335C8-DF83-4D21-9D8D-481916CA7D4A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281113" y="3367088"/>
            <a:ext cx="111125" cy="1620837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441" name="Straight Connector 440">
            <a:extLst>
              <a:ext uri="{FF2B5EF4-FFF2-40B4-BE49-F238E27FC236}">
                <a16:creationId xmlns:a16="http://schemas.microsoft.com/office/drawing/2014/main" id="{9E8E89F3-41BF-47A3-9244-3E8F9CB6739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278606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ACB3E5B-EFC5-40C2-A2BA-510B6AF6B09C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276350" y="3367088"/>
            <a:ext cx="90392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5" name="Straight Connector 444">
            <a:extLst>
              <a:ext uri="{FF2B5EF4-FFF2-40B4-BE49-F238E27FC236}">
                <a16:creationId xmlns:a16="http://schemas.microsoft.com/office/drawing/2014/main" id="{A18510BB-0EA9-4BB1-BC27-99D298301F78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880586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6294323F-F2FF-4AAC-A351-250588AC01C5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222375" y="17462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72B39605-E37E-4438-BCAD-BACE63EEBF43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1281113" y="3697288"/>
            <a:ext cx="0" cy="12954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6" name="Straight Connector 445">
            <a:extLst>
              <a:ext uri="{FF2B5EF4-FFF2-40B4-BE49-F238E27FC236}">
                <a16:creationId xmlns:a16="http://schemas.microsoft.com/office/drawing/2014/main" id="{881C230D-48B6-4F00-9798-99D2C9E7826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1031081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4B9B53C2-7468-40B1-8D6C-4FB16ACE129A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128111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59364BA6-83FF-4CB4-8BBB-3FA977D52F35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1281113" y="1741488"/>
            <a:ext cx="0" cy="17430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BA99CCD-6B0F-42C3-B0FE-8C6C0B9E9CDE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1222375" y="33670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28CB2CB-E178-4043-BF6B-55E52BD2CE8E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1222375" y="25574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3" name="Straight Connector 442">
            <a:extLst>
              <a:ext uri="{FF2B5EF4-FFF2-40B4-BE49-F238E27FC236}">
                <a16:creationId xmlns:a16="http://schemas.microsoft.com/office/drawing/2014/main" id="{7270E104-65B4-421F-BAF6-2F8475FE7400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V="1">
            <a:off x="579596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60D6E98A-54FD-40E4-A6F5-BAC122B7932F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1222375" y="49879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Straight Connector 441">
            <a:extLst>
              <a:ext uri="{FF2B5EF4-FFF2-40B4-BE49-F238E27FC236}">
                <a16:creationId xmlns:a16="http://schemas.microsoft.com/office/drawing/2014/main" id="{6D3B7C76-A29E-4AA3-A6DE-A2013F35EEEB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429101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7414FAA7-BE39-40F7-AFAD-D52F62139C75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222375" y="41783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4" name="Straight Connector 443">
            <a:extLst>
              <a:ext uri="{FF2B5EF4-FFF2-40B4-BE49-F238E27FC236}">
                <a16:creationId xmlns:a16="http://schemas.microsoft.com/office/drawing/2014/main" id="{79607067-62A6-48F5-978A-1FD1716B3AB4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V="1">
            <a:off x="730091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5" name="Rectangle 434">
            <a:extLst>
              <a:ext uri="{FF2B5EF4-FFF2-40B4-BE49-F238E27FC236}">
                <a16:creationId xmlns:a16="http://schemas.microsoft.com/office/drawing/2014/main" id="{C6476AC9-5B72-43F3-8010-553198B8A7F5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2687638" y="3484563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64FF167-5847-4211-873F-D3A7A728B683}" type="datetime'''''5''''''''''0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77404B0F-CBD1-47F3-8ADF-A47D845833F0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64832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D1680CC-3BBB-4D84-B65B-3C253FE0DF92}" type="datetime'''''''''''''1''''''''''''''''''''''''''''''''''50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D8B578EF-AFF6-46B6-8A4F-B8A61089E245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865822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63C1413-A18A-4085-A653-31A1F9DD77C3}" type="datetime'''''''2''''5''''''''''''''''''''''''''0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66070A31-A766-49A9-A448-3266890ECE68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414337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9037CF8-2840-4D33-B5A4-7D03D90BB578}" type="datetime'''''''''1''''''''0''''''''''''''''''0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D73572F2-D795-41AA-A3EC-E25B2EBC596C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908050" y="245110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EFC7EFB-0541-4347-859D-953C0EEC2956}" type="datetime'''''''''''''''5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1FFDA935-74C5-443D-B222-E0122334C58A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849313" y="4071938"/>
            <a:ext cx="2555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5384E3A-8D06-48D1-847F-C4675CEE6C30}" type="datetime'''''-''''''''''''''''''''''5''''''''''''''''''''''''0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5798B984-1E8B-486D-A554-5EDCAE5BB4A9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750888" y="4881563"/>
            <a:ext cx="3540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E0004A0-0B94-443F-BE59-38E157ED9FC0}" type="datetime'''''-''''''''1''''0''''''''''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0D519791-4822-4CE7-8842-7EC8D8CE2826}"/>
              </a:ext>
            </a:extLst>
          </p:cNvPr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1231900" y="3484563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4851B02-2644-48D8-A493-997B286DB7BD}" type="datetime'''''''''''''''''''''''''''0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EDB41A7F-4D66-4195-8BE6-598D66BF5186}"/>
              </a:ext>
            </a:extLst>
          </p:cNvPr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715327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53F77BF-AB84-4231-8A49-745B4796D179}" type="datetime'2''''''''''''''''''''0''''0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E5F8385D-EDA3-4755-8458-30138AB028B8}"/>
              </a:ext>
            </a:extLst>
          </p:cNvPr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809625" y="1639888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911617F-0FDE-432A-8EA8-917B78C6E30B}" type="datetime'''''''''''''1''''''''''''''''''''''''''''''0''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E3C44FAC-1E6F-4672-B2B0-D52829995488}"/>
              </a:ext>
            </a:extLst>
          </p:cNvPr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1006475" y="3260725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A1F7207-0B99-43B2-AA61-6CB408D8F320}" type="datetime'''''''''0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40" name="Rectangle 439">
            <a:extLst>
              <a:ext uri="{FF2B5EF4-FFF2-40B4-BE49-F238E27FC236}">
                <a16:creationId xmlns:a16="http://schemas.microsoft.com/office/drawing/2014/main" id="{FFAF3295-12BD-4605-BE25-5C64A23121BD}"/>
              </a:ext>
            </a:extLst>
          </p:cNvPr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1016317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6666280-4130-48C5-A7E3-2E714391A1A2}" type="datetime'3''''''0''''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473DD89-D75D-4FF0-AD48-6DDFD3C789ED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5635625" y="4987925"/>
            <a:ext cx="0" cy="646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F96D67-5A44-413D-8888-F2BF68B9D9F7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 flipV="1">
            <a:off x="6835775" y="4987925"/>
            <a:ext cx="0" cy="1174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B94FA1-1788-420C-9A8C-953A7430548A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 flipV="1">
            <a:off x="5962650" y="4987925"/>
            <a:ext cx="0" cy="9985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164CD85-3A21-4DD9-8091-85B8C8828673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V="1">
            <a:off x="1879600" y="4987925"/>
            <a:ext cx="0" cy="646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E45D386-B396-4832-A708-0B971236E416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V="1">
            <a:off x="8399463" y="4987925"/>
            <a:ext cx="0" cy="822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06B334B-38C8-45D6-A770-C2DFC5B10C6E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 flipV="1">
            <a:off x="8602663" y="4987925"/>
            <a:ext cx="0" cy="646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72D169B-70D8-44CD-8E33-315043EC0DF3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 flipV="1">
            <a:off x="9080500" y="4987925"/>
            <a:ext cx="0" cy="469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CF0449B-13BD-4846-9A9D-B62939FE4232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 flipV="1">
            <a:off x="1687513" y="4987925"/>
            <a:ext cx="0" cy="469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50D4868-AAFC-4659-A7EB-C513A28DBDF4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 flipV="1">
            <a:off x="7708900" y="4987925"/>
            <a:ext cx="0" cy="9985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31A4FE6-F339-4D30-B265-B28517575175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 flipV="1">
            <a:off x="2139950" y="4987925"/>
            <a:ext cx="0" cy="822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7B8FAF0-1718-48B1-8395-60447A0574FA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 flipV="1">
            <a:off x="5119688" y="4987925"/>
            <a:ext cx="0" cy="469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EAE4FB6-CCC6-41F3-A9BA-360F40706DD1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 flipV="1">
            <a:off x="2717800" y="4987925"/>
            <a:ext cx="0" cy="9985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401F50D-CA17-4950-9528-C47F4E03B9CD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 flipV="1">
            <a:off x="3314700" y="4987925"/>
            <a:ext cx="0" cy="822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Rectangle 302">
            <a:extLst>
              <a:ext uri="{FF2B5EF4-FFF2-40B4-BE49-F238E27FC236}">
                <a16:creationId xmlns:a16="http://schemas.microsoft.com/office/drawing/2014/main" id="{11B4D5A1-20BF-4EC9-9A97-846153F16CDA}"/>
              </a:ext>
            </a:extLst>
          </p:cNvPr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auto">
          <a:xfrm>
            <a:off x="1778000" y="5986463"/>
            <a:ext cx="18796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C1364B2-AD47-47A5-A578-5EEEC8A450B3}" type="datetime'Hi''''ghe''''''r ''''qua''lit''y r''''ecycl''i''''''n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igher quality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21A2B767-BC50-46AC-A276-94ABE1D8F421}"/>
              </a:ext>
            </a:extLst>
          </p:cNvPr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auto">
          <a:xfrm>
            <a:off x="3859213" y="5457825"/>
            <a:ext cx="1524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AF4932D-F76A-435E-84CB-0CE41F813EE8}" type="datetime'Incr''e''''a''''s''''''''e'' ''''''col''le''c''ti''o''''n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ncrease colle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4721677-68D2-4A3C-A637-D728E611CD14}"/>
              </a:ext>
            </a:extLst>
          </p:cNvPr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auto">
          <a:xfrm>
            <a:off x="350838" y="5281613"/>
            <a:ext cx="12795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E30DE4F-C1A7-47AC-8BE1-AFCB10E12877}" type="datetime''' P''''''''rol''''''o''''''''n''g ''li''''''f''e''''ti''me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 Prolong lifetim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6246C38-09B9-47D3-8F5D-8BB26BC8B7D1}"/>
              </a:ext>
            </a:extLst>
          </p:cNvPr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auto">
          <a:xfrm>
            <a:off x="868363" y="5105400"/>
            <a:ext cx="4984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2D1E9C6-746C-4351-8BBD-928F570CE1AF}" type="datetime''''''' S''''''''''h''''a''''''''''''r''''''''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 Shar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16D28E7D-470F-43C5-A00B-BD1F2463ED2E}"/>
              </a:ext>
            </a:extLst>
          </p:cNvPr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auto">
          <a:xfrm>
            <a:off x="7635875" y="5986463"/>
            <a:ext cx="15557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105B1B1-B3E3-4A3D-9546-9BDDA29BEF32}" type="datetime'''''M''ateria''ls'' ''''''e''''''ff''ici''enc''''y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Materials efficienc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D399598B-F9B8-4496-B07A-87911E640613}"/>
              </a:ext>
            </a:extLst>
          </p:cNvPr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296863" y="5457825"/>
            <a:ext cx="1397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6E4DC64-5019-4DB8-ADA0-72AF66FB3F30}" type="datetime'''R''em''anuf''''''''act''ur''''''''''i''''''''n''g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manufactur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55D921E-8EB7-4595-A177-48DF33844F55}"/>
              </a:ext>
            </a:extLst>
          </p:cNvPr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473075" y="5634038"/>
            <a:ext cx="15430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0BF3E15-0F3C-4FA7-8058-186BB50F2F1A}" type="datetime'''F''''lo''or sp''ac''e'' sh''''''a''rin''''''''''''g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Floor space shar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FB91DD83-75E6-4BE9-B75A-164F7628A3D6}"/>
              </a:ext>
            </a:extLst>
          </p:cNvPr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4435475" y="5986463"/>
            <a:ext cx="16017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A784BA1-CB7D-4031-82A1-5BF6C026C54D}" type="datetime'''A''v''o''''i''d ''d''o''wn''''''''g''''''''r''adi''''ng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void downgrad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0AD67B0E-0E24-4D86-913F-BB4B7DBCB727}"/>
              </a:ext>
            </a:extLst>
          </p:cNvPr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auto">
          <a:xfrm>
            <a:off x="3221038" y="5810250"/>
            <a:ext cx="24812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EB61352-C084-40A5-B4F2-D229961BAB25}" type="datetime'''''''Redu''ced ''''w''a''ste i''n c''''''o''ns''tructio''n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duced waste in constru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1E74234F-01ED-4991-92C8-AA43E28AF977}"/>
              </a:ext>
            </a:extLst>
          </p:cNvPr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auto">
          <a:xfrm>
            <a:off x="3460750" y="5281613"/>
            <a:ext cx="12779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5BFA598-A10D-4519-A87F-4530C6746F07}" type="datetime'''Redu''''''''ce'''''' ''''''c''o''pp''e''''''''''''''''r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duce copper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78CA6C60-7756-4489-AF41-96D789B1A78B}"/>
              </a:ext>
            </a:extLst>
          </p:cNvPr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auto">
          <a:xfrm>
            <a:off x="8523288" y="5634038"/>
            <a:ext cx="20431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022E8A9-CFD1-4C55-AAC3-087D004E5201}" type="datetime'R''''''e''d''u''''''ce'' fa''''bri''cat''io''''''n'' l''osses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duce fabrication losse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9B5FE283-5973-4147-A0C0-D3D91B3B9BF8}"/>
              </a:ext>
            </a:extLst>
          </p:cNvPr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auto">
          <a:xfrm>
            <a:off x="7832725" y="5105400"/>
            <a:ext cx="5254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F244366-B256-4A23-82F0-2C2BCE333C7D}" type="datetime'''''R''e''''''''u''''''''''s''e'''''''''''''''''''''''''' 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use 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FD345C32-C1F4-4F32-8C70-7819CB89B9C1}"/>
              </a:ext>
            </a:extLst>
          </p:cNvPr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auto">
          <a:xfrm>
            <a:off x="628650" y="5810250"/>
            <a:ext cx="15859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43F7123-ACD7-4FA5-BE11-9AB99E142CAE}" type="datetime'''S''h''aring ''''''an''''''''''''''d ''l''''''if''etim''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haring and lifetim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2534CA89-300D-43A2-AFDE-0BF079DED0AC}"/>
              </a:ext>
            </a:extLst>
          </p:cNvPr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auto">
          <a:xfrm>
            <a:off x="8326438" y="5810250"/>
            <a:ext cx="15668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573DB92-2650-4B0B-978B-0C26CDEC2250}" type="datetime'''''C''h''''''''''''em''''ical'' ''rec''''''''yclin''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hemical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53F5F6A4-C03F-4C23-99A3-D9621139443D}"/>
              </a:ext>
            </a:extLst>
          </p:cNvPr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auto">
          <a:xfrm>
            <a:off x="8734425" y="5457825"/>
            <a:ext cx="14446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AA22C00-C9F1-4C1C-9465-1F73878E35A3}" type="datetime'C''''''e''m''e''''''nt'' ''r''ec''''''''y''''c''''lin''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150D4267-4EA4-4C1D-97BA-4279CB3DE9C9}"/>
              </a:ext>
            </a:extLst>
          </p:cNvPr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auto">
          <a:xfrm>
            <a:off x="4173538" y="5105400"/>
            <a:ext cx="4794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9A542AF-13A6-4687-A8B8-ECBAE0FC9B3B}" type="datetime'''''''''''R''e''''''''''''''''''''u''s''''''''e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us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9936708C-3265-434B-83F4-52B013678718}"/>
              </a:ext>
            </a:extLst>
          </p:cNvPr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auto">
          <a:xfrm>
            <a:off x="10086975" y="5105400"/>
            <a:ext cx="11652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64A227E-9CF7-4780-876B-D03E12CF54D8}" type="datetime'''''L''''''igh''''''''t''''w''e''''''''''''i''gh''''tin''g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Lightweight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BA2C0D70-0AF7-4C5F-80DA-734396D0D5DF}"/>
              </a:ext>
            </a:extLst>
          </p:cNvPr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auto">
          <a:xfrm>
            <a:off x="5340350" y="6162675"/>
            <a:ext cx="29924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54B6BC9-8201-4026-B2D1-BF7F82819361}" type="datetime'I''''''n''creased re''''cycling at'' current q''ua''''lity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ncreased recycling at current qualit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726177FE-5F50-4A25-BE2F-66CEB1AE4299}"/>
              </a:ext>
            </a:extLst>
          </p:cNvPr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auto">
          <a:xfrm>
            <a:off x="9477375" y="5281613"/>
            <a:ext cx="15557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8398D5D-C391-4953-AD9D-C88A92600643}" type="datetime'''M''''''a''''te''r''i''a''''ls'' ''e''ff''ic''i''e''nc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Materials efficienc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FBE35771-33A4-4743-A63E-21A7420C2E17}"/>
              </a:ext>
            </a:extLst>
          </p:cNvPr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auto">
          <a:xfrm>
            <a:off x="4313238" y="5634038"/>
            <a:ext cx="1524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088BAE2-1B71-4C0E-BDD3-8641707BE114}" type="datetime'I''n''''''''c''rease'' ''''c''oll''''''''''''ecti''on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ncrease colle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72" name="Rectangle 471">
            <a:extLst>
              <a:ext uri="{FF2B5EF4-FFF2-40B4-BE49-F238E27FC236}">
                <a16:creationId xmlns:a16="http://schemas.microsoft.com/office/drawing/2014/main" id="{D9130C7B-8DB8-4F93-8609-FBFE1959142B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10817225" y="2308225"/>
            <a:ext cx="231775" cy="173038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2F4A417D-5C16-48AB-9CDA-A0A0F78043BE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10817225" y="2058988"/>
            <a:ext cx="231775" cy="17303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9" name="Rectangle 468">
            <a:extLst>
              <a:ext uri="{FF2B5EF4-FFF2-40B4-BE49-F238E27FC236}">
                <a16:creationId xmlns:a16="http://schemas.microsoft.com/office/drawing/2014/main" id="{290E436B-FDC8-439D-829B-162B90D8BF6A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10817225" y="1560513"/>
            <a:ext cx="231775" cy="173038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4EDE944B-0CDE-467B-A109-48DE11890093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10817225" y="1809750"/>
            <a:ext cx="231775" cy="1730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A685D70-1DDA-4845-AFAC-6C249B3AFE2A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10817225" y="2557463"/>
            <a:ext cx="231775" cy="173038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72A03ED-DA2B-480D-894E-4C8F7EF2F9CD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10817225" y="2806700"/>
            <a:ext cx="231775" cy="173038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1C92D22-941A-4755-A588-49930530BFA4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10817225" y="3055938"/>
            <a:ext cx="231775" cy="173038"/>
          </a:xfrm>
          <a:prstGeom prst="rect">
            <a:avLst/>
          </a:prstGeom>
          <a:solidFill>
            <a:srgbClr val="9DB1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8" name="Rectangle 367">
            <a:extLst>
              <a:ext uri="{FF2B5EF4-FFF2-40B4-BE49-F238E27FC236}">
                <a16:creationId xmlns:a16="http://schemas.microsoft.com/office/drawing/2014/main" id="{488282C5-F51F-40B2-89B7-7A6F67D343CF}"/>
              </a:ext>
            </a:extLst>
          </p:cNvPr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auto">
          <a:xfrm>
            <a:off x="11099800" y="1554163"/>
            <a:ext cx="800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6B688A1-65E8-4B01-9124-0F8F67EAFD5C}" type="datetime'''''''''''''Al''''''''''''u''''m''''''''i''''''''nu''m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luminum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432BEA12-EADE-43A3-8EA4-F3A4AE16BFF9}"/>
              </a:ext>
            </a:extLst>
          </p:cNvPr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auto">
          <a:xfrm>
            <a:off x="11099800" y="1803400"/>
            <a:ext cx="5667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223B3BA-5F07-47A0-9D56-8B41B92C2CE5}" type="datetime'''''''''''''''Pl''''''''a''''st''ic''''''''''''''''s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lastic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D58B817A-03B2-4FCA-904F-D13581C40183}"/>
              </a:ext>
            </a:extLst>
          </p:cNvPr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auto">
          <a:xfrm>
            <a:off x="11099801" y="2551113"/>
            <a:ext cx="6826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B3CD51C-5E22-465B-A712-4EC182393FC9}" type="datetime'''''B''u''''''i''''''''''l''''d''''''''''i''''n''''gs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uilding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71DAEDD2-72B0-4F53-857A-74575E7C4FDF}"/>
              </a:ext>
            </a:extLst>
          </p:cNvPr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auto">
          <a:xfrm>
            <a:off x="11099800" y="2052638"/>
            <a:ext cx="3873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F63B173-BFC7-49F0-BB0B-2258A419EA77}" type="datetime'''''S''''''''''tee''''''''''''''''''''''''''l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tee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71" name="Rectangle 370">
            <a:extLst>
              <a:ext uri="{FF2B5EF4-FFF2-40B4-BE49-F238E27FC236}">
                <a16:creationId xmlns:a16="http://schemas.microsoft.com/office/drawing/2014/main" id="{6B92C3DA-B800-43EF-AE6B-2F2B8078094B}"/>
              </a:ext>
            </a:extLst>
          </p:cNvPr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auto">
          <a:xfrm>
            <a:off x="11099800" y="2301875"/>
            <a:ext cx="6619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0C6D879-91F4-4E16-80AD-43469B578302}" type="datetime'C''''''e''''m''''''e''''n''''''t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9E0F2D8E-0E71-4D96-A836-61DEF72B7B4A}"/>
              </a:ext>
            </a:extLst>
          </p:cNvPr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auto">
          <a:xfrm>
            <a:off x="11099801" y="2800350"/>
            <a:ext cx="3603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FF698EF-2352-4948-BFCB-02ABF935828D}" type="datetime'C''''''''''''''''a''''''''r''''''''''''''''''s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ar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572BE54-7D36-48A6-88D7-581BE765E2D8}"/>
              </a:ext>
            </a:extLst>
          </p:cNvPr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auto">
          <a:xfrm>
            <a:off x="11099800" y="3049588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5FB154C-9867-4549-AE1E-1CDA32956455}" type="datetime'''''''''''''''''''''''''O''the''r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ther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7" name="5. Source">
            <a:extLst>
              <a:ext uri="{FF2B5EF4-FFF2-40B4-BE49-F238E27FC236}">
                <a16:creationId xmlns:a16="http://schemas.microsoft.com/office/drawing/2014/main" id="{2CE4B490-5817-4775-BA1E-12482324B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 Economics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he circular economy: a powerful force for climate change 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C49B278-2D38-4D68-8776-A969C9151917}"/>
              </a:ext>
            </a:extLst>
          </p:cNvPr>
          <p:cNvGrpSpPr/>
          <p:nvPr/>
        </p:nvGrpSpPr>
        <p:grpSpPr>
          <a:xfrm>
            <a:off x="232731" y="1011186"/>
            <a:ext cx="11739183" cy="449354"/>
            <a:chOff x="176793" y="1011186"/>
            <a:chExt cx="11838412" cy="449354"/>
          </a:xfrm>
        </p:grpSpPr>
        <p:sp>
          <p:nvSpPr>
            <p:cNvPr id="109" name="AutoShape 250">
              <a:extLst>
                <a:ext uri="{FF2B5EF4-FFF2-40B4-BE49-F238E27FC236}">
                  <a16:creationId xmlns:a16="http://schemas.microsoft.com/office/drawing/2014/main" id="{7F31AFBF-C42A-4E4E-B102-E17F0100D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794" y="1011186"/>
              <a:ext cx="11838411" cy="449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batement cost for demand-side decarbonization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/tonne CO</a:t>
              </a:r>
              <a:r>
                <a:rPr kumimoji="0" lang="en-GB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 per year 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cxnSp>
          <p:nvCxnSpPr>
            <p:cNvPr id="110" name="AutoShape 249">
              <a:extLst>
                <a:ext uri="{FF2B5EF4-FFF2-40B4-BE49-F238E27FC236}">
                  <a16:creationId xmlns:a16="http://schemas.microsoft.com/office/drawing/2014/main" id="{4B521D01-280B-420D-93AD-D9EFB6A2E837}"/>
                </a:ext>
              </a:extLst>
            </p:cNvPr>
            <p:cNvCxnSpPr>
              <a:cxnSpLocks noChangeShapeType="1"/>
              <a:endCxn id="109" idx="6"/>
            </p:cNvCxnSpPr>
            <p:nvPr/>
          </p:nvCxnSpPr>
          <p:spPr bwMode="auto">
            <a:xfrm flipV="1">
              <a:off x="176793" y="1460540"/>
              <a:ext cx="11838412" cy="0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9BAA7558-AD7F-4484-8FA6-BF0DB3C958EB}"/>
              </a:ext>
            </a:extLst>
          </p:cNvPr>
          <p:cNvPicPr>
            <a:picLocks noChangeAspect="1"/>
          </p:cNvPicPr>
          <p:nvPr/>
        </p:nvPicPr>
        <p:blipFill>
          <a:blip r:embed="rId101"/>
          <a:stretch>
            <a:fillRect/>
          </a:stretch>
        </p:blipFill>
        <p:spPr>
          <a:xfrm>
            <a:off x="232731" y="1560512"/>
            <a:ext cx="11662405" cy="4800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7795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9" name="think-cell Slide" r:id="rId22" imgW="449" imgH="450" progId="TCLayout.ActiveDocument.1">
                  <p:embed/>
                </p:oleObj>
              </mc:Choice>
              <mc:Fallback>
                <p:oleObj name="think-cell Slide" r:id="rId22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F61E5FD7-83DE-4167-BF56-314EE279C0E8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2890838" y="2403475"/>
          <a:ext cx="6261100" cy="3587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EE392D6F-7E83-46F9-B9F6-54DB88A66A0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345112" y="2671763"/>
            <a:ext cx="22415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34E6549-8956-467C-9260-189BA73B619D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7543800" y="2668588"/>
            <a:ext cx="0" cy="12588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60119C6-89CC-4925-BDE6-A3A5B87855E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V="1">
            <a:off x="3492500" y="2952751"/>
            <a:ext cx="119063" cy="1301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DAB891A-45CA-4C70-AA22-429B6737D45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>
            <a:off x="3492500" y="2584449"/>
            <a:ext cx="119063" cy="107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747F9894-CC65-4DA7-B9D1-204FB0560448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079750" y="2735263"/>
            <a:ext cx="3873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3B1190A-984D-438A-AEA9-B12307750049}" type="datetime'St''''''''''''''''''''''''e''''''''''''''''e''''''''''l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tee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77A9E9CC-1827-40D5-99B7-C7616174BAF2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7183438" y="5964238"/>
            <a:ext cx="7223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t>Low-cost 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t>scenario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F34183B-6468-47A5-8BC6-D64530A95870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809875" y="4016375"/>
            <a:ext cx="6572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070E093-8FB9-468E-9D9F-DBE27BEB12F0}" type="datetime'''''''A''''''v''''''''''''i''a''''ti''''''''o''''''n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via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36231BA-7FDC-4BAC-9485-0FD7027577A4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4116388" y="5964238"/>
            <a:ext cx="7588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t>High-cost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t>scenario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EC05C7-B1BD-4FAE-B87F-C73E51D0F5B0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679700" y="2486025"/>
            <a:ext cx="7874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B8A689D-9569-445D-A89D-949ADF2321D1}" type="datetime'Am''''m''''''''o''''n''''''''i''a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mmonia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7A44C4-3C0E-451E-A94A-7C224EBFEF9C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784475" y="2984500"/>
            <a:ext cx="6826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7759BD2-C8BE-4C5A-B01E-71F0CA3F8C08}" type="datetime'''''E''t''''''h''''yle''n''''''''''''''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thylen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C23FFBD-6EB8-43E7-A8C4-96317085A3E5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805113" y="3233738"/>
            <a:ext cx="6619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7CEE7CC-083B-4013-AEA0-5A75FD4F27EA}" type="datetime'''''C''''''''''''''''''''''e''m''''''''''''''e''''''''n''''t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33F76C-7B00-4273-B2D2-DE136993DF4D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1762125" y="3508375"/>
            <a:ext cx="17049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982C3D9-8C4E-45C8-AA1E-ABDDB67C1D4A}" type="datetime'Hea''''v''y''-r''''oa''d'' ''''''tr''''ans''''''''''po''rt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eavy-road transpor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F9253AC-4DF4-435F-94BA-33D9C6592933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2781300" y="5141913"/>
            <a:ext cx="6858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38FB3E0-36C1-46BB-B1F3-6BA218C74E28}" type="datetime'S''''''''''hi''''''''''pp''''''''''''i''n''''''g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hipp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93A515F-39CB-4B81-A0E7-12DDB3701D6D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7396163" y="392747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7B937B2-D2C1-41D1-83BD-D11A543FB3A1}" type="datetime'''''''''''''''''''''''0''''''''''''''''''''.''''''8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8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277ED3B1-93B4-48EF-805F-E45591BB64AA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4348163" y="2433638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704419D-D308-4A86-A632-54D2300BCD76}" type="datetime'1''''''''''''''''''''''''''''.''''''''''''''''''''''5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B810F6F3-B5AE-4821-809E-349239A28FAA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242175" y="3105150"/>
            <a:ext cx="6048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BB9CEC5-E7ED-4FB9-A6C4-63689DE17D10}" type="datetime'''''''''''-''''''''4''''''6''''''''''''''''''%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46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4977BA48-359B-4666-940B-9161003FAB07}"/>
              </a:ext>
            </a:extLst>
          </p:cNvPr>
          <p:cNvSpPr/>
          <p:nvPr/>
        </p:nvSpPr>
        <p:spPr>
          <a:xfrm>
            <a:off x="3945200" y="1754187"/>
            <a:ext cx="1152000" cy="360363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.45%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FF8301D6-3010-4AD0-9F3E-88F3867A9CBE}"/>
              </a:ext>
            </a:extLst>
          </p:cNvPr>
          <p:cNvSpPr/>
          <p:nvPr/>
        </p:nvSpPr>
        <p:spPr>
          <a:xfrm>
            <a:off x="7042413" y="1754187"/>
            <a:ext cx="1152000" cy="360363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.24%</a:t>
            </a:r>
          </a:p>
        </p:txBody>
      </p:sp>
      <p:sp>
        <p:nvSpPr>
          <p:cNvPr id="48" name="5. Source">
            <a:extLst>
              <a:ext uri="{FF2B5EF4-FFF2-40B4-BE49-F238E27FC236}">
                <a16:creationId xmlns:a16="http://schemas.microsoft.com/office/drawing/2014/main" id="{E9E7647C-C87A-424C-8984-FBD59F19F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, (2018); McKinsey &amp; Company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carbonization of industrial sectors: the next frontier 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" name="AutoShape 250">
            <a:extLst>
              <a:ext uri="{FF2B5EF4-FFF2-40B4-BE49-F238E27FC236}">
                <a16:creationId xmlns:a16="http://schemas.microsoft.com/office/drawing/2014/main" id="{96668E36-4CDD-46A0-9160-E44DEAB9A8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0787" y="981869"/>
            <a:ext cx="11838411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tal cost of supply-side decarboniz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rillion US$ per year, 2050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32" name="AutoShape 249">
            <a:extLst>
              <a:ext uri="{FF2B5EF4-FFF2-40B4-BE49-F238E27FC236}">
                <a16:creationId xmlns:a16="http://schemas.microsoft.com/office/drawing/2014/main" id="{2C123871-EC30-44C5-831F-F632FC561CF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880787" y="1450979"/>
            <a:ext cx="7961681" cy="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C11B94C2-66BC-493A-9544-F2D1C04C12D3}"/>
              </a:ext>
            </a:extLst>
          </p:cNvPr>
          <p:cNvGrpSpPr/>
          <p:nvPr/>
        </p:nvGrpSpPr>
        <p:grpSpPr>
          <a:xfrm>
            <a:off x="7096801" y="958536"/>
            <a:ext cx="2765077" cy="492443"/>
            <a:chOff x="8840540" y="958536"/>
            <a:chExt cx="2765077" cy="492443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48AD95BB-C6D4-48E9-A918-69D618AD5091}"/>
                </a:ext>
              </a:extLst>
            </p:cNvPr>
            <p:cNvSpPr/>
            <p:nvPr/>
          </p:nvSpPr>
          <p:spPr>
            <a:xfrm>
              <a:off x="8840540" y="1085359"/>
              <a:ext cx="576000" cy="252000"/>
            </a:xfrm>
            <a:prstGeom prst="ellipse">
              <a:avLst/>
            </a:prstGeom>
            <a:ln>
              <a:solidFill>
                <a:srgbClr val="4C6C9C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X%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2E0145E-7AEA-4ADA-8A29-EBEDBAEA6401}"/>
                </a:ext>
              </a:extLst>
            </p:cNvPr>
            <p:cNvSpPr txBox="1"/>
            <p:nvPr/>
          </p:nvSpPr>
          <p:spPr>
            <a:xfrm>
              <a:off x="9416540" y="958536"/>
              <a:ext cx="2189077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hare of global projected GDP, 2050</a:t>
              </a:r>
            </a:p>
          </p:txBody>
        </p:sp>
      </p:grpSp>
      <p:sp>
        <p:nvSpPr>
          <p:cNvPr id="45" name="Title 1">
            <a:extLst>
              <a:ext uri="{FF2B5EF4-FFF2-40B4-BE49-F238E27FC236}">
                <a16:creationId xmlns:a16="http://schemas.microsoft.com/office/drawing/2014/main" id="{0B6E7820-1F2A-4EC1-8BC3-7F6509B668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92" y="125867"/>
            <a:ext cx="11518497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Decarbonizing harder-to-abate sectors using supply-side decarbonization technologies only would cost less than 1% of global GDP by 2050</a:t>
            </a: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34809071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8608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3" name="think-cell Slide" r:id="rId32" imgW="449" imgH="450" progId="TCLayout.ActiveDocument.1">
                  <p:embed/>
                </p:oleObj>
              </mc:Choice>
              <mc:Fallback>
                <p:oleObj name="think-cell Slide" r:id="rId32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2000" b="1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Arial Unicode MS" panose="020B0604020202020204" pitchFamily="34" charset="-128"/>
              <a:sym typeface="Century Gothic" panose="020B0502020202020204" pitchFamily="34" charset="0"/>
            </a:endParaRPr>
          </a:p>
        </p:txBody>
      </p:sp>
      <p:graphicFrame>
        <p:nvGraphicFramePr>
          <p:cNvPr id="51" name="Chart 50">
            <a:extLst>
              <a:ext uri="{FF2B5EF4-FFF2-40B4-BE49-F238E27FC236}">
                <a16:creationId xmlns:a16="http://schemas.microsoft.com/office/drawing/2014/main" id="{4BBCC1F7-CC22-4259-9612-F81D0C6CC17F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1504950" y="2171700"/>
          <a:ext cx="9199563" cy="283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EE392D6F-7E83-46F9-B9F6-54DB88A66A0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994025" y="2398713"/>
            <a:ext cx="13446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34E6549-8956-467C-9260-189BA73B619D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4295775" y="2395538"/>
            <a:ext cx="0" cy="8651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A3AACB6-AB4C-427D-8ECC-9477627EC15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415338" y="3563938"/>
            <a:ext cx="13446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929575-3F2A-4918-83F9-9A2BA18D65C2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V="1">
            <a:off x="9717088" y="3560763"/>
            <a:ext cx="0" cy="2794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DAB891A-45CA-4C70-AA22-429B6737D45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1830388" y="2352675"/>
            <a:ext cx="119063" cy="61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C73E3D5-3EE2-4FC2-B65A-870D872EAD7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1830388" y="2497138"/>
            <a:ext cx="119062" cy="104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60119C6-89CC-4925-BDE6-A3A5B87855E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V="1">
            <a:off x="1830388" y="2617789"/>
            <a:ext cx="119063" cy="233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46B1B6-9C70-461C-8F3F-D216CEBFB17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1830388" y="2881314"/>
            <a:ext cx="119063" cy="2190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321BDD-CE4E-4BAE-B526-9FBF80993F8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1830388" y="3128963"/>
            <a:ext cx="119063" cy="220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4067A6D3-DE70-498C-B421-7972E8EE868D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9050338" y="4978400"/>
            <a:ext cx="13350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1C8F6E1-1297-4E36-8EDF-0425E820AF51}" type="datetime'S''upply-si''de de''''carboniza''tion and ef''f''ic''ienc''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upply-side decarbonization and efficiency</a:t>
            </a:fld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*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21E89EE7-C6E3-48E4-823D-063A727D91F8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243763" y="4978400"/>
            <a:ext cx="13350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847600A-2AA4-4C9B-A2B7-F0D4CCA9799A}" type="datetime'Su''''''''''p''''ply-s''''''id''e d''ec''a''rbonizati''''on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upply-side decarboniza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36231BA-7FDC-4BAC-9485-0FD7027577A4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1822450" y="4978400"/>
            <a:ext cx="13350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093A43F-DAA4-4798-87DC-072D59E3866F}" type="datetime'Suppl''y-s''''i''''''de dec''''''ar''b''on''i''''''zatio''n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upply-side decarbonization</a:t>
            </a:fld>
            <a:b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</a:b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77A9E9CC-1827-40D5-99B7-C7616174BAF2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629025" y="4978400"/>
            <a:ext cx="1335088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D8639C0-A03C-4368-BE05-44956232A804}" type="datetime'Supply''-side deca''rbonization a''n''d ''effici''''''enc''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upply-side decarbonization and efficiency</a:t>
            </a:fld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*</a:t>
            </a:r>
            <a:b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</a:b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EC05C7-B1BD-4FAE-B87F-C73E51D0F5B0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017588" y="2254250"/>
            <a:ext cx="7874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B8A689D-9569-445D-A89D-949ADF2321D1}" type="datetime'Am''''m''''''''o''''n''''''''i''a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mmonia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7F9894-CC65-4DA7-B9D1-204FB0560448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1417638" y="2503488"/>
            <a:ext cx="3873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3B1190A-984D-438A-AEA9-B12307750049}" type="datetime'St''''''''''''''''''''''''e''''''''''''''''e''''''''''l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tee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7A44C4-3C0E-451E-A94A-7C224EBFEF9C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1122363" y="2752725"/>
            <a:ext cx="6826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7759BD2-C8BE-4C5A-B01E-71F0CA3F8C08}" type="datetime'''''E''t''''''h''''yle''n''''''''''''''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thylen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C23FFBD-6EB8-43E7-A8C4-96317085A3E5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1143000" y="3001963"/>
            <a:ext cx="6619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7CEE7CC-083B-4013-AEA0-5A75FD4F27EA}" type="datetime'''''C''''''''''''''''''''''e''m''''''''''''''e''''''''n''''t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33F76C-7B00-4273-B2D2-DE136993DF4D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00013" y="3251200"/>
            <a:ext cx="17049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D311A38-D441-4773-9BC7-566C96D3AC32}" type="datetime'''''''H''e''a''''''v''y-''''roa''d'' t''rans''''po''''rt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eavy-road transpor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F34183B-6468-47A5-8BC6-D64530A95870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1147763" y="3500438"/>
            <a:ext cx="6572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070E093-8FB9-468E-9D9F-DBE27BEB12F0}" type="datetime'''''''A''''''v''''''''''''i''a''''ti''''''''o''''''n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via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F9253AC-4DF4-435F-94BA-33D9C6592933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1119188" y="4303713"/>
            <a:ext cx="6858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38FB3E0-36C1-46BB-B1F3-6BA218C74E28}" type="datetime'S''''''''''hi''''''''''pp''''''''''''i''n''''''g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hipp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1EC7589-B4DC-42D2-ACBE-0743BCE7C030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9569450" y="3840163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9773BBC-C80F-4C9F-9DEA-03D4C15FAE48}" type="datetime'0''''''''''.''5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277ED3B1-93B4-48EF-805F-E45591BB64AA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2341563" y="2160588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704419D-D308-4A86-A632-54D2300BCD76}" type="datetime'1''''''''''''''''''''''''''''.''''''''''''''''''''''5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93A515F-39CB-4B81-A0E7-12DDB3701D6D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4148138" y="32607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923EAE0-2590-43D7-ABC5-8D2B9E733A61}" type="datetime'''''''0''''''''''.''''8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8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3645976-3921-4F95-81D1-9F810113B5CF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7762875" y="3325813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279B465-011D-4D4E-AFE6-76E51DED8153}" type="datetime'''''0''''''''''''.''''''''''''''''''8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8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B97C930-BDAD-4B7E-A590-4D47A70B26D0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9807575" y="3538538"/>
            <a:ext cx="498475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7870380-9CA1-4257-ACD1-332D61D7E45C}" type="datetime'''''''''''''''''''3''''''''''''''''8''''''''''''%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8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B810F6F3-B5AE-4821-809E-349239A28FAA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3994150" y="2635250"/>
            <a:ext cx="6048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D6DFBF7-37C5-4127-89A8-F8BFD98E1073}" type="datetime'''''-''''''''''''''''''''''''''''''''4''4''''''%''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44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CD826743-A4AE-48E3-9A32-79AB421DA605}"/>
              </a:ext>
            </a:extLst>
          </p:cNvPr>
          <p:cNvSpPr/>
          <p:nvPr/>
        </p:nvSpPr>
        <p:spPr>
          <a:xfrm>
            <a:off x="7892724" y="1062567"/>
            <a:ext cx="576000" cy="252000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X%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8EDA9E4D-DC70-4712-AD6E-D19FBE023299}"/>
              </a:ext>
            </a:extLst>
          </p:cNvPr>
          <p:cNvSpPr txBox="1"/>
          <p:nvPr/>
        </p:nvSpPr>
        <p:spPr>
          <a:xfrm>
            <a:off x="8452242" y="958536"/>
            <a:ext cx="21890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are of global projected GDP, 2050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FC2FDA30-D70B-4FF1-B951-017EC697A7E6}"/>
              </a:ext>
            </a:extLst>
          </p:cNvPr>
          <p:cNvSpPr/>
          <p:nvPr/>
        </p:nvSpPr>
        <p:spPr>
          <a:xfrm>
            <a:off x="1594884" y="5642839"/>
            <a:ext cx="3527979" cy="477838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igh-cost scenario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E6F41029-61B0-4CCF-9D26-4702A5E9AFD9}"/>
              </a:ext>
            </a:extLst>
          </p:cNvPr>
          <p:cNvSpPr/>
          <p:nvPr/>
        </p:nvSpPr>
        <p:spPr>
          <a:xfrm>
            <a:off x="3719775" y="1650815"/>
            <a:ext cx="1152000" cy="360363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.25%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4977BA48-359B-4666-940B-9161003FAB07}"/>
              </a:ext>
            </a:extLst>
          </p:cNvPr>
          <p:cNvSpPr/>
          <p:nvPr/>
        </p:nvSpPr>
        <p:spPr>
          <a:xfrm>
            <a:off x="1933085" y="1629935"/>
            <a:ext cx="1152000" cy="360363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.45%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3147CF89-D18D-4E2B-8B94-CDCECE2B1763}"/>
              </a:ext>
            </a:extLst>
          </p:cNvPr>
          <p:cNvSpPr/>
          <p:nvPr/>
        </p:nvSpPr>
        <p:spPr>
          <a:xfrm>
            <a:off x="9222815" y="1650815"/>
            <a:ext cx="1152000" cy="360363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.15%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FF8301D6-3010-4AD0-9F3E-88F3867A9CBE}"/>
              </a:ext>
            </a:extLst>
          </p:cNvPr>
          <p:cNvSpPr/>
          <p:nvPr/>
        </p:nvSpPr>
        <p:spPr>
          <a:xfrm>
            <a:off x="7335306" y="1661320"/>
            <a:ext cx="1152000" cy="360363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.24%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31E3C56-2403-40E7-A385-C09108556DC5}"/>
              </a:ext>
            </a:extLst>
          </p:cNvPr>
          <p:cNvSpPr/>
          <p:nvPr/>
        </p:nvSpPr>
        <p:spPr>
          <a:xfrm>
            <a:off x="7243763" y="5646738"/>
            <a:ext cx="3353354" cy="477838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ow-cost scenario</a:t>
            </a:r>
          </a:p>
        </p:txBody>
      </p:sp>
      <p:sp>
        <p:nvSpPr>
          <p:cNvPr id="58" name="5. Source">
            <a:extLst>
              <a:ext uri="{FF2B5EF4-FFF2-40B4-BE49-F238E27FC236}">
                <a16:creationId xmlns:a16="http://schemas.microsoft.com/office/drawing/2014/main" id="{9E7A9039-1214-4A1C-A485-60C26DA039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67" y="6227762"/>
            <a:ext cx="11778784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The term “efficiency” covers energy efficiency, materials efficiency, materials circularity, and demand management in transport.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 based on McKinsey &amp; Company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carbonization of industrial sectors: the next frontier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nd Material Economics analysis for the Energy Transitions Commission (2018)</a:t>
            </a:r>
          </a:p>
        </p:txBody>
      </p:sp>
      <p:sp>
        <p:nvSpPr>
          <p:cNvPr id="85" name="AutoShape 250">
            <a:extLst>
              <a:ext uri="{FF2B5EF4-FFF2-40B4-BE49-F238E27FC236}">
                <a16:creationId xmlns:a16="http://schemas.microsoft.com/office/drawing/2014/main" id="{B7805719-0349-41D2-83B8-6BCE2C9362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732" y="981869"/>
            <a:ext cx="11838411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tal cost of decarboniz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rillion US$ per year, 2050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86" name="AutoShape 249">
            <a:extLst>
              <a:ext uri="{FF2B5EF4-FFF2-40B4-BE49-F238E27FC236}">
                <a16:creationId xmlns:a16="http://schemas.microsoft.com/office/drawing/2014/main" id="{AC200D31-09DE-491D-8AC6-0D55C1B74F1C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232732" y="1429819"/>
            <a:ext cx="10073318" cy="2116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itle 1">
            <a:extLst>
              <a:ext uri="{FF2B5EF4-FFF2-40B4-BE49-F238E27FC236}">
                <a16:creationId xmlns:a16="http://schemas.microsoft.com/office/drawing/2014/main" id="{E647E0DC-8D49-4EA6-BB0A-94C01C772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91" y="125867"/>
            <a:ext cx="11391432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Decarbonizing the harder-to-abate sectors would cost significantly less</a:t>
            </a:r>
            <a:br>
              <a:rPr lang="en-GB" sz="2000" dirty="0"/>
            </a:br>
            <a:r>
              <a:rPr lang="en-GB" sz="2000" dirty="0"/>
              <a:t>if pursuing energy efficiency improvement and demand management opportunities</a:t>
            </a: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2924099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7" name="think-cell Slide" r:id="rId19" imgW="449" imgH="450" progId="TCLayout.ActiveDocument.1">
                  <p:embed/>
                </p:oleObj>
              </mc:Choice>
              <mc:Fallback>
                <p:oleObj name="think-cell Slide" r:id="rId19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9B8C0A2-2BCE-46AD-BFF8-7D7F6BA0E0F4}"/>
              </a:ext>
            </a:extLst>
          </p:cNvPr>
          <p:cNvGrpSpPr/>
          <p:nvPr/>
        </p:nvGrpSpPr>
        <p:grpSpPr>
          <a:xfrm>
            <a:off x="2598739" y="3084121"/>
            <a:ext cx="7401733" cy="720000"/>
            <a:chOff x="2598739" y="3083887"/>
            <a:chExt cx="7401733" cy="720000"/>
          </a:xfrm>
        </p:grpSpPr>
        <p:sp>
          <p:nvSpPr>
            <p:cNvPr id="38" name="Rectangle 75">
              <a:extLst>
                <a:ext uri="{FF2B5EF4-FFF2-40B4-BE49-F238E27FC236}">
                  <a16:creationId xmlns:a16="http://schemas.microsoft.com/office/drawing/2014/main" id="{D50B31F8-C7AB-4C35-93E5-F284F5865ED4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5282690" y="3083887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500 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per tonne of ethylene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72B3E76-9CB7-4E95-9BCA-9C2E92BF1B97}"/>
                </a:ext>
              </a:extLst>
            </p:cNvPr>
            <p:cNvSpPr/>
            <p:nvPr/>
          </p:nvSpPr>
          <p:spPr>
            <a:xfrm>
              <a:off x="8542635" y="3183006"/>
              <a:ext cx="1457837" cy="521763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50%*</a:t>
              </a:r>
            </a:p>
          </p:txBody>
        </p:sp>
        <p:sp>
          <p:nvSpPr>
            <p:cNvPr id="40" name="Rectangle 75">
              <a:extLst>
                <a:ext uri="{FF2B5EF4-FFF2-40B4-BE49-F238E27FC236}">
                  <a16:creationId xmlns:a16="http://schemas.microsoft.com/office/drawing/2014/main" id="{80D533AC-005F-4684-872F-E6F6B3B2FE38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598739" y="3083887"/>
              <a:ext cx="2101081" cy="720000"/>
            </a:xfrm>
            <a:prstGeom prst="rect">
              <a:avLst/>
            </a:prstGeom>
            <a:solidFill>
              <a:srgbClr val="00B09A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Plastics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630F5A4-7B87-4EE6-B387-A65337FC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32" y="138419"/>
            <a:ext cx="10159965" cy="628121"/>
          </a:xfrm>
        </p:spPr>
        <p:txBody>
          <a:bodyPr/>
          <a:lstStyle/>
          <a:p>
            <a:r>
              <a:rPr lang="en-US" dirty="0"/>
              <a:t>Decarbonization of the harder-to-abate sectors would have a significant impact on the price of intermediate products</a:t>
            </a:r>
            <a:endParaRPr lang="en-GB" sz="1800" b="0" baseline="-25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E31650B-9DE1-4976-8EA7-2AEA92DC7976}"/>
              </a:ext>
            </a:extLst>
          </p:cNvPr>
          <p:cNvCxnSpPr>
            <a:cxnSpLocks/>
          </p:cNvCxnSpPr>
          <p:nvPr/>
        </p:nvCxnSpPr>
        <p:spPr>
          <a:xfrm>
            <a:off x="1451149" y="3906597"/>
            <a:ext cx="877439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5. Source">
            <a:extLst>
              <a:ext uri="{FF2B5EF4-FFF2-40B4-BE49-F238E27FC236}">
                <a16:creationId xmlns:a16="http://schemas.microsoft.com/office/drawing/2014/main" id="{53CFC668-76EE-471B-ACF0-840EDF64E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394422"/>
            <a:ext cx="11778784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*Assuming an initial price of US$1000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nn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for ethylene, although the price of ethylene is very volatile.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F6BDE2C-D535-4B9B-954C-94C651423EC0}"/>
              </a:ext>
            </a:extLst>
          </p:cNvPr>
          <p:cNvGrpSpPr/>
          <p:nvPr/>
        </p:nvGrpSpPr>
        <p:grpSpPr>
          <a:xfrm>
            <a:off x="2598739" y="4002341"/>
            <a:ext cx="7401733" cy="720000"/>
            <a:chOff x="2598739" y="4002341"/>
            <a:chExt cx="7401733" cy="720000"/>
          </a:xfrm>
        </p:grpSpPr>
        <p:sp>
          <p:nvSpPr>
            <p:cNvPr id="41" name="Rectangle 75">
              <a:extLst>
                <a:ext uri="{FF2B5EF4-FFF2-40B4-BE49-F238E27FC236}">
                  <a16:creationId xmlns:a16="http://schemas.microsoft.com/office/drawing/2014/main" id="{E97D921F-3A0D-44A2-BB1D-4A4301C38380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5282690" y="4002341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No price impact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8C31C810-5B32-4ED8-A89D-E07D0835E940}"/>
                </a:ext>
              </a:extLst>
            </p:cNvPr>
            <p:cNvSpPr/>
            <p:nvPr/>
          </p:nvSpPr>
          <p:spPr>
            <a:xfrm>
              <a:off x="8542635" y="4101460"/>
              <a:ext cx="1457837" cy="521763"/>
            </a:xfrm>
            <a:prstGeom prst="ellipse">
              <a:avLst/>
            </a:prstGeom>
            <a:solidFill>
              <a:srgbClr val="9CC31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None</a:t>
              </a:r>
            </a:p>
          </p:txBody>
        </p:sp>
        <p:sp>
          <p:nvSpPr>
            <p:cNvPr id="17" name="Rectangle 75">
              <a:extLst>
                <a:ext uri="{FF2B5EF4-FFF2-40B4-BE49-F238E27FC236}">
                  <a16:creationId xmlns:a16="http://schemas.microsoft.com/office/drawing/2014/main" id="{F23CE97D-8BB8-4B8B-9A68-74E902CA092E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598739" y="4002341"/>
              <a:ext cx="2101081" cy="72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eavy-road transport 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10881D3-AD96-421C-B8B6-71722F9D8D49}"/>
              </a:ext>
            </a:extLst>
          </p:cNvPr>
          <p:cNvGrpSpPr/>
          <p:nvPr/>
        </p:nvGrpSpPr>
        <p:grpSpPr>
          <a:xfrm>
            <a:off x="2598739" y="4829280"/>
            <a:ext cx="7401733" cy="720000"/>
            <a:chOff x="2598739" y="4829280"/>
            <a:chExt cx="7401733" cy="720000"/>
          </a:xfrm>
        </p:grpSpPr>
        <p:sp>
          <p:nvSpPr>
            <p:cNvPr id="57" name="Rectangle 75">
              <a:extLst>
                <a:ext uri="{FF2B5EF4-FFF2-40B4-BE49-F238E27FC236}">
                  <a16:creationId xmlns:a16="http://schemas.microsoft.com/office/drawing/2014/main" id="{9DD5AFB2-D488-4A7A-93E7-753973CBB4DD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5282690" y="4829280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4 million 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on typical bulk carrier voyage call per annum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F9783B50-FB22-4438-8C36-2BA939D8124B}"/>
                </a:ext>
              </a:extLst>
            </p:cNvPr>
            <p:cNvSpPr/>
            <p:nvPr/>
          </p:nvSpPr>
          <p:spPr>
            <a:xfrm>
              <a:off x="8542635" y="4928399"/>
              <a:ext cx="1457837" cy="521763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110%</a:t>
              </a:r>
            </a:p>
          </p:txBody>
        </p:sp>
        <p:sp>
          <p:nvSpPr>
            <p:cNvPr id="18" name="Rectangle 75">
              <a:extLst>
                <a:ext uri="{FF2B5EF4-FFF2-40B4-BE49-F238E27FC236}">
                  <a16:creationId xmlns:a16="http://schemas.microsoft.com/office/drawing/2014/main" id="{1E48F66F-D7CF-43EE-BFCA-F3B23B7FEB6B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98739" y="4829280"/>
              <a:ext cx="2101081" cy="720000"/>
            </a:xfrm>
            <a:prstGeom prst="rect">
              <a:avLst/>
            </a:prstGeom>
            <a:solidFill>
              <a:srgbClr val="F38B00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hipping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A7F47FE-D18D-405F-9A6C-E40C7D1B5320}"/>
              </a:ext>
            </a:extLst>
          </p:cNvPr>
          <p:cNvGrpSpPr/>
          <p:nvPr/>
        </p:nvGrpSpPr>
        <p:grpSpPr>
          <a:xfrm>
            <a:off x="2598739" y="5654016"/>
            <a:ext cx="7401733" cy="720000"/>
            <a:chOff x="2598739" y="5654016"/>
            <a:chExt cx="7401733" cy="720000"/>
          </a:xfrm>
        </p:grpSpPr>
        <p:sp>
          <p:nvSpPr>
            <p:cNvPr id="61" name="Rectangle 75">
              <a:extLst>
                <a:ext uri="{FF2B5EF4-FFF2-40B4-BE49-F238E27FC236}">
                  <a16:creationId xmlns:a16="http://schemas.microsoft.com/office/drawing/2014/main" id="{BFCAEBAE-37D5-4A57-A30D-E31D99602480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282690" y="5654016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0.3-0.6 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per liter of jet fuel equivalent</a:t>
              </a: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71BC206F-91FF-4A3E-A51D-4E57097AB675}"/>
                </a:ext>
              </a:extLst>
            </p:cNvPr>
            <p:cNvSpPr/>
            <p:nvPr/>
          </p:nvSpPr>
          <p:spPr>
            <a:xfrm>
              <a:off x="8542635" y="5753135"/>
              <a:ext cx="1457837" cy="521763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50-100%</a:t>
              </a:r>
            </a:p>
          </p:txBody>
        </p:sp>
        <p:sp>
          <p:nvSpPr>
            <p:cNvPr id="19" name="Rectangle 75">
              <a:extLst>
                <a:ext uri="{FF2B5EF4-FFF2-40B4-BE49-F238E27FC236}">
                  <a16:creationId xmlns:a16="http://schemas.microsoft.com/office/drawing/2014/main" id="{F21E9724-0105-46F4-BE24-94F3FEF3098B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598739" y="5654016"/>
              <a:ext cx="2101081" cy="720000"/>
            </a:xfrm>
            <a:prstGeom prst="rect">
              <a:avLst/>
            </a:prstGeom>
            <a:solidFill>
              <a:srgbClr val="ED5C05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viation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5977C53-88FF-412A-AA47-F42849801CA9}"/>
              </a:ext>
            </a:extLst>
          </p:cNvPr>
          <p:cNvGrpSpPr/>
          <p:nvPr/>
        </p:nvGrpSpPr>
        <p:grpSpPr>
          <a:xfrm>
            <a:off x="2598739" y="2261648"/>
            <a:ext cx="7401733" cy="720000"/>
            <a:chOff x="2598739" y="1439175"/>
            <a:chExt cx="7401733" cy="720000"/>
          </a:xfrm>
        </p:grpSpPr>
        <p:sp>
          <p:nvSpPr>
            <p:cNvPr id="21" name="Rectangle 75">
              <a:extLst>
                <a:ext uri="{FF2B5EF4-FFF2-40B4-BE49-F238E27FC236}">
                  <a16:creationId xmlns:a16="http://schemas.microsoft.com/office/drawing/2014/main" id="{9E6E374C-B5B4-4F31-99E9-59ED7AB42DF4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282690" y="1439175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120 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per tonne of steel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B25E1A6-6551-4690-A680-81F5F9E2F9F2}"/>
                </a:ext>
              </a:extLst>
            </p:cNvPr>
            <p:cNvSpPr/>
            <p:nvPr/>
          </p:nvSpPr>
          <p:spPr>
            <a:xfrm>
              <a:off x="8542635" y="1538294"/>
              <a:ext cx="1457837" cy="521763"/>
            </a:xfrm>
            <a:prstGeom prst="ellipse">
              <a:avLst/>
            </a:prstGeom>
            <a:solidFill>
              <a:srgbClr val="FFE69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20%</a:t>
              </a:r>
            </a:p>
          </p:txBody>
        </p:sp>
        <p:sp>
          <p:nvSpPr>
            <p:cNvPr id="13" name="Rectangle 75">
              <a:extLst>
                <a:ext uri="{FF2B5EF4-FFF2-40B4-BE49-F238E27FC236}">
                  <a16:creationId xmlns:a16="http://schemas.microsoft.com/office/drawing/2014/main" id="{DF5A73AF-B8DF-4D08-AF2D-2FDB116884C6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598739" y="1439175"/>
              <a:ext cx="2101081" cy="720000"/>
            </a:xfrm>
            <a:prstGeom prst="rect">
              <a:avLst/>
            </a:prstGeom>
            <a:solidFill>
              <a:srgbClr val="007CBA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teel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0BD50DB-D8F3-4267-8B2B-99FE72053099}"/>
              </a:ext>
            </a:extLst>
          </p:cNvPr>
          <p:cNvGrpSpPr/>
          <p:nvPr/>
        </p:nvGrpSpPr>
        <p:grpSpPr>
          <a:xfrm>
            <a:off x="2598739" y="1439175"/>
            <a:ext cx="7401733" cy="720000"/>
            <a:chOff x="2598739" y="2259943"/>
            <a:chExt cx="7401733" cy="720000"/>
          </a:xfrm>
        </p:grpSpPr>
        <p:sp>
          <p:nvSpPr>
            <p:cNvPr id="22" name="Rectangle 75">
              <a:extLst>
                <a:ext uri="{FF2B5EF4-FFF2-40B4-BE49-F238E27FC236}">
                  <a16:creationId xmlns:a16="http://schemas.microsoft.com/office/drawing/2014/main" id="{BCF674B3-5814-433C-8321-04F9A8FD2C8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282690" y="2259943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100 per tonne of cement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(</a:t>
              </a: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30 per tonne of concrete</a:t>
              </a: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)</a:t>
              </a:r>
              <a:endParaRPr kumimoji="0" lang="en-GB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2F76257-2083-4A48-8473-FA962E4E3176}"/>
                </a:ext>
              </a:extLst>
            </p:cNvPr>
            <p:cNvSpPr/>
            <p:nvPr/>
          </p:nvSpPr>
          <p:spPr>
            <a:xfrm>
              <a:off x="8542635" y="2359062"/>
              <a:ext cx="1457837" cy="521763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100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(+30%)</a:t>
              </a:r>
            </a:p>
          </p:txBody>
        </p:sp>
        <p:sp>
          <p:nvSpPr>
            <p:cNvPr id="14" name="Rectangle 75">
              <a:extLst>
                <a:ext uri="{FF2B5EF4-FFF2-40B4-BE49-F238E27FC236}">
                  <a16:creationId xmlns:a16="http://schemas.microsoft.com/office/drawing/2014/main" id="{DD73D2E3-6DC8-45E1-9B42-A431D1992B27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598739" y="2259943"/>
              <a:ext cx="2101081" cy="720000"/>
            </a:xfrm>
            <a:prstGeom prst="rect">
              <a:avLst/>
            </a:prstGeom>
            <a:solidFill>
              <a:srgbClr val="004876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ement</a:t>
              </a:r>
            </a:p>
          </p:txBody>
        </p:sp>
      </p:grpSp>
      <p:sp>
        <p:nvSpPr>
          <p:cNvPr id="68" name="Rectangle 75">
            <a:extLst>
              <a:ext uri="{FF2B5EF4-FFF2-40B4-BE49-F238E27FC236}">
                <a16:creationId xmlns:a16="http://schemas.microsoft.com/office/drawing/2014/main" id="{CF6A92DF-8220-455A-889E-14F45ED2CF86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475901" y="1439175"/>
            <a:ext cx="957715" cy="2364946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  <a:extLst/>
        </p:spPr>
        <p:txBody>
          <a:bodyPr vert="vert270"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dustry</a:t>
            </a:r>
          </a:p>
        </p:txBody>
      </p:sp>
      <p:sp>
        <p:nvSpPr>
          <p:cNvPr id="69" name="Rectangle 75">
            <a:extLst>
              <a:ext uri="{FF2B5EF4-FFF2-40B4-BE49-F238E27FC236}">
                <a16:creationId xmlns:a16="http://schemas.microsoft.com/office/drawing/2014/main" id="{E99341A6-7C61-4876-8502-DB68D3EC8F0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475901" y="4005712"/>
            <a:ext cx="957715" cy="2368303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  <a:extLst/>
        </p:spPr>
        <p:txBody>
          <a:bodyPr vert="vert270"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ransport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8CB88BE-BFC8-4F71-B951-5E417E4EE3A5}"/>
              </a:ext>
            </a:extLst>
          </p:cNvPr>
          <p:cNvGrpSpPr/>
          <p:nvPr/>
        </p:nvGrpSpPr>
        <p:grpSpPr>
          <a:xfrm>
            <a:off x="5282690" y="900636"/>
            <a:ext cx="4717782" cy="449355"/>
            <a:chOff x="176793" y="1304063"/>
            <a:chExt cx="11838412" cy="156477"/>
          </a:xfrm>
        </p:grpSpPr>
        <p:sp>
          <p:nvSpPr>
            <p:cNvPr id="73" name="AutoShape 250">
              <a:extLst>
                <a:ext uri="{FF2B5EF4-FFF2-40B4-BE49-F238E27FC236}">
                  <a16:creationId xmlns:a16="http://schemas.microsoft.com/office/drawing/2014/main" id="{ABE8239A-547A-47DF-9CD6-830E0CD067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793" y="1304063"/>
              <a:ext cx="11838412" cy="1564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Impact on intermediate product cost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/ % price increase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cxnSp>
          <p:nvCxnSpPr>
            <p:cNvPr id="74" name="AutoShape 249">
              <a:extLst>
                <a:ext uri="{FF2B5EF4-FFF2-40B4-BE49-F238E27FC236}">
                  <a16:creationId xmlns:a16="http://schemas.microsoft.com/office/drawing/2014/main" id="{E8A12923-B0A8-4832-8964-BED862FB1CB5}"/>
                </a:ext>
              </a:extLst>
            </p:cNvPr>
            <p:cNvCxnSpPr>
              <a:cxnSpLocks noChangeShapeType="1"/>
              <a:stCxn id="73" idx="4"/>
              <a:endCxn id="73" idx="6"/>
            </p:cNvCxnSpPr>
            <p:nvPr/>
          </p:nvCxnSpPr>
          <p:spPr bwMode="auto">
            <a:xfrm>
              <a:off x="176793" y="1460540"/>
              <a:ext cx="11838412" cy="0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9692887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1" name="think-cell Slide" r:id="rId19" imgW="449" imgH="450" progId="TCLayout.ActiveDocument.1">
                  <p:embed/>
                </p:oleObj>
              </mc:Choice>
              <mc:Fallback>
                <p:oleObj name="think-cell Slide" r:id="rId19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9B8C0A2-2BCE-46AD-BFF8-7D7F6BA0E0F4}"/>
              </a:ext>
            </a:extLst>
          </p:cNvPr>
          <p:cNvGrpSpPr/>
          <p:nvPr/>
        </p:nvGrpSpPr>
        <p:grpSpPr>
          <a:xfrm>
            <a:off x="2598739" y="1440829"/>
            <a:ext cx="7401733" cy="720000"/>
            <a:chOff x="2598739" y="3083887"/>
            <a:chExt cx="7401733" cy="720000"/>
          </a:xfrm>
        </p:grpSpPr>
        <p:sp>
          <p:nvSpPr>
            <p:cNvPr id="38" name="Rectangle 75">
              <a:extLst>
                <a:ext uri="{FF2B5EF4-FFF2-40B4-BE49-F238E27FC236}">
                  <a16:creationId xmlns:a16="http://schemas.microsoft.com/office/drawing/2014/main" id="{D50B31F8-C7AB-4C35-93E5-F284F5865ED4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5282690" y="3083887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0.01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on a bottle of soda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72B3E76-9CB7-4E95-9BCA-9C2E92BF1B97}"/>
                </a:ext>
              </a:extLst>
            </p:cNvPr>
            <p:cNvSpPr/>
            <p:nvPr/>
          </p:nvSpPr>
          <p:spPr>
            <a:xfrm>
              <a:off x="8542635" y="3183006"/>
              <a:ext cx="1457837" cy="521763"/>
            </a:xfrm>
            <a:prstGeom prst="ellipse">
              <a:avLst/>
            </a:prstGeom>
            <a:solidFill>
              <a:srgbClr val="FFE69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&lt;1%</a:t>
              </a:r>
            </a:p>
          </p:txBody>
        </p:sp>
        <p:sp>
          <p:nvSpPr>
            <p:cNvPr id="40" name="Rectangle 75">
              <a:extLst>
                <a:ext uri="{FF2B5EF4-FFF2-40B4-BE49-F238E27FC236}">
                  <a16:creationId xmlns:a16="http://schemas.microsoft.com/office/drawing/2014/main" id="{80D533AC-005F-4684-872F-E6F6B3B2FE38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598739" y="3083887"/>
              <a:ext cx="2101081" cy="720000"/>
            </a:xfrm>
            <a:prstGeom prst="rect">
              <a:avLst/>
            </a:prstGeom>
            <a:solidFill>
              <a:srgbClr val="00B09A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Plastics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630F5A4-7B87-4EE6-B387-A65337FC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32" y="138419"/>
            <a:ext cx="10159965" cy="628121"/>
          </a:xfrm>
        </p:spPr>
        <p:txBody>
          <a:bodyPr/>
          <a:lstStyle/>
          <a:p>
            <a:r>
              <a:rPr lang="en-US" dirty="0"/>
              <a:t>Decarbonization of the harder-to-abate sectors would have</a:t>
            </a:r>
            <a:br>
              <a:rPr lang="en-US" dirty="0"/>
            </a:br>
            <a:r>
              <a:rPr lang="en-US" dirty="0"/>
              <a:t>a very small impact on prices for end consumers</a:t>
            </a:r>
            <a:endParaRPr lang="en-GB" sz="1800" b="0" baseline="-25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E31650B-9DE1-4976-8EA7-2AEA92DC7976}"/>
              </a:ext>
            </a:extLst>
          </p:cNvPr>
          <p:cNvCxnSpPr>
            <a:cxnSpLocks/>
          </p:cNvCxnSpPr>
          <p:nvPr/>
        </p:nvCxnSpPr>
        <p:spPr>
          <a:xfrm>
            <a:off x="1451149" y="3906597"/>
            <a:ext cx="877439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5. Source">
            <a:extLst>
              <a:ext uri="{FF2B5EF4-FFF2-40B4-BE49-F238E27FC236}">
                <a16:creationId xmlns:a16="http://schemas.microsoft.com/office/drawing/2014/main" id="{53CFC668-76EE-471B-ACF0-840EDF64E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84953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F6BDE2C-D535-4B9B-954C-94C651423EC0}"/>
              </a:ext>
            </a:extLst>
          </p:cNvPr>
          <p:cNvGrpSpPr/>
          <p:nvPr/>
        </p:nvGrpSpPr>
        <p:grpSpPr>
          <a:xfrm>
            <a:off x="2598739" y="4002341"/>
            <a:ext cx="7401733" cy="720000"/>
            <a:chOff x="2598739" y="4002341"/>
            <a:chExt cx="7401733" cy="720000"/>
          </a:xfrm>
        </p:grpSpPr>
        <p:sp>
          <p:nvSpPr>
            <p:cNvPr id="41" name="Rectangle 75">
              <a:extLst>
                <a:ext uri="{FF2B5EF4-FFF2-40B4-BE49-F238E27FC236}">
                  <a16:creationId xmlns:a16="http://schemas.microsoft.com/office/drawing/2014/main" id="{E97D921F-3A0D-44A2-BB1D-4A4301C38380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5282690" y="4002341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No price impact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8C31C810-5B32-4ED8-A89D-E07D0835E940}"/>
                </a:ext>
              </a:extLst>
            </p:cNvPr>
            <p:cNvSpPr/>
            <p:nvPr/>
          </p:nvSpPr>
          <p:spPr>
            <a:xfrm>
              <a:off x="8542635" y="4101460"/>
              <a:ext cx="1457837" cy="521763"/>
            </a:xfrm>
            <a:prstGeom prst="ellipse">
              <a:avLst/>
            </a:prstGeom>
            <a:solidFill>
              <a:srgbClr val="9CC31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None</a:t>
              </a:r>
            </a:p>
          </p:txBody>
        </p:sp>
        <p:sp>
          <p:nvSpPr>
            <p:cNvPr id="17" name="Rectangle 75">
              <a:extLst>
                <a:ext uri="{FF2B5EF4-FFF2-40B4-BE49-F238E27FC236}">
                  <a16:creationId xmlns:a16="http://schemas.microsoft.com/office/drawing/2014/main" id="{F23CE97D-8BB8-4B8B-9A68-74E902CA092E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598739" y="4002341"/>
              <a:ext cx="2101081" cy="72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eavy-road transport </a:t>
              </a:r>
            </a:p>
          </p:txBody>
        </p:sp>
      </p:grpSp>
      <p:sp>
        <p:nvSpPr>
          <p:cNvPr id="57" name="Rectangle 75">
            <a:extLst>
              <a:ext uri="{FF2B5EF4-FFF2-40B4-BE49-F238E27FC236}">
                <a16:creationId xmlns:a16="http://schemas.microsoft.com/office/drawing/2014/main" id="{9DD5AFB2-D488-4A7A-93E7-753973CBB4D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282690" y="4829280"/>
            <a:ext cx="2573284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Tx/>
              <a:buFontTx/>
              <a:buNone/>
              <a:tabLst/>
              <a:defRPr/>
            </a:pPr>
            <a:r>
              <a:rPr kumimoji="0" lang="en-GB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+$0.03</a:t>
            </a:r>
          </a:p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Tx/>
              <a:buFontTx/>
              <a:buNone/>
              <a:tabLst/>
              <a:defRPr/>
            </a:pPr>
            <a:r>
              <a:rPr kumimoji="0" lang="en-GB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er kilogram of imported sugar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F9783B50-FB22-4438-8C36-2BA939D8124B}"/>
              </a:ext>
            </a:extLst>
          </p:cNvPr>
          <p:cNvSpPr/>
          <p:nvPr/>
        </p:nvSpPr>
        <p:spPr>
          <a:xfrm>
            <a:off x="8542635" y="4928399"/>
            <a:ext cx="1457837" cy="521763"/>
          </a:xfrm>
          <a:prstGeom prst="ellipse">
            <a:avLst/>
          </a:prstGeom>
          <a:solidFill>
            <a:srgbClr val="9CC31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&lt;1%</a:t>
            </a:r>
          </a:p>
        </p:txBody>
      </p:sp>
      <p:sp>
        <p:nvSpPr>
          <p:cNvPr id="18" name="Rectangle 75">
            <a:extLst>
              <a:ext uri="{FF2B5EF4-FFF2-40B4-BE49-F238E27FC236}">
                <a16:creationId xmlns:a16="http://schemas.microsoft.com/office/drawing/2014/main" id="{1E48F66F-D7CF-43EE-BFCA-F3B23B7FEB6B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598739" y="4829280"/>
            <a:ext cx="2101081" cy="720000"/>
          </a:xfrm>
          <a:prstGeom prst="rect">
            <a:avLst/>
          </a:prstGeom>
          <a:solidFill>
            <a:srgbClr val="F38B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A7F47FE-D18D-405F-9A6C-E40C7D1B5320}"/>
              </a:ext>
            </a:extLst>
          </p:cNvPr>
          <p:cNvGrpSpPr/>
          <p:nvPr/>
        </p:nvGrpSpPr>
        <p:grpSpPr>
          <a:xfrm>
            <a:off x="2598739" y="5654016"/>
            <a:ext cx="7401733" cy="720000"/>
            <a:chOff x="2598739" y="5654016"/>
            <a:chExt cx="7401733" cy="720000"/>
          </a:xfrm>
        </p:grpSpPr>
        <p:sp>
          <p:nvSpPr>
            <p:cNvPr id="61" name="Rectangle 75">
              <a:extLst>
                <a:ext uri="{FF2B5EF4-FFF2-40B4-BE49-F238E27FC236}">
                  <a16:creationId xmlns:a16="http://schemas.microsoft.com/office/drawing/2014/main" id="{BFCAEBAE-37D5-4A57-A30D-E31D99602480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5282690" y="5654016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40-80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on a 6,500-km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economy class flight</a:t>
              </a: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71BC206F-91FF-4A3E-A51D-4E57097AB675}"/>
                </a:ext>
              </a:extLst>
            </p:cNvPr>
            <p:cNvSpPr/>
            <p:nvPr/>
          </p:nvSpPr>
          <p:spPr>
            <a:xfrm>
              <a:off x="8542635" y="5753135"/>
              <a:ext cx="1457837" cy="521763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10-20%</a:t>
              </a:r>
            </a:p>
          </p:txBody>
        </p:sp>
        <p:sp>
          <p:nvSpPr>
            <p:cNvPr id="19" name="Rectangle 75">
              <a:extLst>
                <a:ext uri="{FF2B5EF4-FFF2-40B4-BE49-F238E27FC236}">
                  <a16:creationId xmlns:a16="http://schemas.microsoft.com/office/drawing/2014/main" id="{F21E9724-0105-46F4-BE24-94F3FEF3098B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98739" y="5654016"/>
              <a:ext cx="2101081" cy="720000"/>
            </a:xfrm>
            <a:prstGeom prst="rect">
              <a:avLst/>
            </a:prstGeom>
            <a:solidFill>
              <a:srgbClr val="ED5C05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viation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5977C53-88FF-412A-AA47-F42849801CA9}"/>
              </a:ext>
            </a:extLst>
          </p:cNvPr>
          <p:cNvGrpSpPr/>
          <p:nvPr/>
        </p:nvGrpSpPr>
        <p:grpSpPr>
          <a:xfrm>
            <a:off x="2598739" y="2263305"/>
            <a:ext cx="7401733" cy="720000"/>
            <a:chOff x="2598739" y="1439175"/>
            <a:chExt cx="7401733" cy="720000"/>
          </a:xfrm>
        </p:grpSpPr>
        <p:sp>
          <p:nvSpPr>
            <p:cNvPr id="21" name="Rectangle 75">
              <a:extLst>
                <a:ext uri="{FF2B5EF4-FFF2-40B4-BE49-F238E27FC236}">
                  <a16:creationId xmlns:a16="http://schemas.microsoft.com/office/drawing/2014/main" id="{9E6E374C-B5B4-4F31-99E9-59ED7AB42DF4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282690" y="1439175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180 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on the price of a car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B25E1A6-6551-4690-A680-81F5F9E2F9F2}"/>
                </a:ext>
              </a:extLst>
            </p:cNvPr>
            <p:cNvSpPr/>
            <p:nvPr/>
          </p:nvSpPr>
          <p:spPr>
            <a:xfrm>
              <a:off x="8542635" y="1538294"/>
              <a:ext cx="1457837" cy="521763"/>
            </a:xfrm>
            <a:prstGeom prst="ellipse">
              <a:avLst/>
            </a:prstGeom>
            <a:solidFill>
              <a:srgbClr val="FFE69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1%</a:t>
              </a:r>
            </a:p>
          </p:txBody>
        </p:sp>
        <p:sp>
          <p:nvSpPr>
            <p:cNvPr id="13" name="Rectangle 75">
              <a:extLst>
                <a:ext uri="{FF2B5EF4-FFF2-40B4-BE49-F238E27FC236}">
                  <a16:creationId xmlns:a16="http://schemas.microsoft.com/office/drawing/2014/main" id="{DF5A73AF-B8DF-4D08-AF2D-2FDB116884C6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598739" y="1439175"/>
              <a:ext cx="2101081" cy="720000"/>
            </a:xfrm>
            <a:prstGeom prst="rect">
              <a:avLst/>
            </a:prstGeom>
            <a:solidFill>
              <a:srgbClr val="007CBA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teel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0BD50DB-D8F3-4267-8B2B-99FE72053099}"/>
              </a:ext>
            </a:extLst>
          </p:cNvPr>
          <p:cNvGrpSpPr/>
          <p:nvPr/>
        </p:nvGrpSpPr>
        <p:grpSpPr>
          <a:xfrm>
            <a:off x="2598739" y="3084073"/>
            <a:ext cx="7401733" cy="720000"/>
            <a:chOff x="2598739" y="2259943"/>
            <a:chExt cx="7401733" cy="720000"/>
          </a:xfrm>
        </p:grpSpPr>
        <p:sp>
          <p:nvSpPr>
            <p:cNvPr id="22" name="Rectangle 75">
              <a:extLst>
                <a:ext uri="{FF2B5EF4-FFF2-40B4-BE49-F238E27FC236}">
                  <a16:creationId xmlns:a16="http://schemas.microsoft.com/office/drawing/2014/main" id="{BCF674B3-5814-433C-8321-04F9A8FD2C8C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282690" y="2259943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15,000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on a $500,000 house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2F76257-2083-4A48-8473-FA962E4E3176}"/>
                </a:ext>
              </a:extLst>
            </p:cNvPr>
            <p:cNvSpPr/>
            <p:nvPr/>
          </p:nvSpPr>
          <p:spPr>
            <a:xfrm>
              <a:off x="8542635" y="2359062"/>
              <a:ext cx="1457837" cy="521763"/>
            </a:xfrm>
            <a:prstGeom prst="ellipse">
              <a:avLst/>
            </a:prstGeom>
            <a:solidFill>
              <a:srgbClr val="FFE69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3%</a:t>
              </a:r>
            </a:p>
          </p:txBody>
        </p:sp>
        <p:sp>
          <p:nvSpPr>
            <p:cNvPr id="14" name="Rectangle 75">
              <a:extLst>
                <a:ext uri="{FF2B5EF4-FFF2-40B4-BE49-F238E27FC236}">
                  <a16:creationId xmlns:a16="http://schemas.microsoft.com/office/drawing/2014/main" id="{DD73D2E3-6DC8-45E1-9B42-A431D1992B27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598739" y="2259943"/>
              <a:ext cx="2101081" cy="720000"/>
            </a:xfrm>
            <a:prstGeom prst="rect">
              <a:avLst/>
            </a:prstGeom>
            <a:solidFill>
              <a:srgbClr val="004876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ement</a:t>
              </a:r>
            </a:p>
          </p:txBody>
        </p:sp>
      </p:grpSp>
      <p:sp>
        <p:nvSpPr>
          <p:cNvPr id="68" name="Rectangle 75">
            <a:extLst>
              <a:ext uri="{FF2B5EF4-FFF2-40B4-BE49-F238E27FC236}">
                <a16:creationId xmlns:a16="http://schemas.microsoft.com/office/drawing/2014/main" id="{CF6A92DF-8220-455A-889E-14F45ED2CF86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475901" y="1439175"/>
            <a:ext cx="957715" cy="2364946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  <a:extLst/>
        </p:spPr>
        <p:txBody>
          <a:bodyPr vert="vert270"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dustry</a:t>
            </a:r>
          </a:p>
        </p:txBody>
      </p:sp>
      <p:sp>
        <p:nvSpPr>
          <p:cNvPr id="69" name="Rectangle 75">
            <a:extLst>
              <a:ext uri="{FF2B5EF4-FFF2-40B4-BE49-F238E27FC236}">
                <a16:creationId xmlns:a16="http://schemas.microsoft.com/office/drawing/2014/main" id="{E99341A6-7C61-4876-8502-DB68D3EC8F01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475901" y="4005712"/>
            <a:ext cx="957715" cy="2368303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  <a:extLst/>
        </p:spPr>
        <p:txBody>
          <a:bodyPr vert="vert270"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ransport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8CB88BE-BFC8-4F71-B951-5E417E4EE3A5}"/>
              </a:ext>
            </a:extLst>
          </p:cNvPr>
          <p:cNvGrpSpPr/>
          <p:nvPr/>
        </p:nvGrpSpPr>
        <p:grpSpPr>
          <a:xfrm>
            <a:off x="5282690" y="900636"/>
            <a:ext cx="4717782" cy="449355"/>
            <a:chOff x="176793" y="1304063"/>
            <a:chExt cx="11838412" cy="156477"/>
          </a:xfrm>
        </p:grpSpPr>
        <p:sp>
          <p:nvSpPr>
            <p:cNvPr id="73" name="AutoShape 250">
              <a:extLst>
                <a:ext uri="{FF2B5EF4-FFF2-40B4-BE49-F238E27FC236}">
                  <a16:creationId xmlns:a16="http://schemas.microsoft.com/office/drawing/2014/main" id="{ABE8239A-547A-47DF-9CD6-830E0CD067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793" y="1304063"/>
              <a:ext cx="11838412" cy="1564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Impact on final product cost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/ % price increase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cxnSp>
          <p:nvCxnSpPr>
            <p:cNvPr id="74" name="AutoShape 249">
              <a:extLst>
                <a:ext uri="{FF2B5EF4-FFF2-40B4-BE49-F238E27FC236}">
                  <a16:creationId xmlns:a16="http://schemas.microsoft.com/office/drawing/2014/main" id="{E8A12923-B0A8-4832-8964-BED862FB1CB5}"/>
                </a:ext>
              </a:extLst>
            </p:cNvPr>
            <p:cNvCxnSpPr>
              <a:cxnSpLocks noChangeShapeType="1"/>
              <a:stCxn id="73" idx="4"/>
              <a:endCxn id="73" idx="6"/>
            </p:cNvCxnSpPr>
            <p:nvPr/>
          </p:nvCxnSpPr>
          <p:spPr bwMode="auto">
            <a:xfrm>
              <a:off x="176793" y="1460540"/>
              <a:ext cx="11838412" cy="0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2179841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5" name="think-cell Slide" r:id="rId20" imgW="449" imgH="450" progId="TCLayout.ActiveDocument.1">
                  <p:embed/>
                </p:oleObj>
              </mc:Choice>
              <mc:Fallback>
                <p:oleObj name="think-cell Slide" r:id="rId20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1898688-D8C5-4429-99C7-155AB66E4FF2}"/>
              </a:ext>
            </a:extLst>
          </p:cNvPr>
          <p:cNvSpPr/>
          <p:nvPr/>
        </p:nvSpPr>
        <p:spPr>
          <a:xfrm>
            <a:off x="10246846" y="-280119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5.1</a:t>
            </a:r>
          </a:p>
        </p:txBody>
      </p:sp>
      <p:sp>
        <p:nvSpPr>
          <p:cNvPr id="38" name="5. Source">
            <a:extLst>
              <a:ext uri="{FF2B5EF4-FFF2-40B4-BE49-F238E27FC236}">
                <a16:creationId xmlns:a16="http://schemas.microsoft.com/office/drawing/2014/main" id="{CC1FA8AA-C708-4217-BDE9-645C4EF64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 Economics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50" name="AutoShape 249">
            <a:extLst>
              <a:ext uri="{FF2B5EF4-FFF2-40B4-BE49-F238E27FC236}">
                <a16:creationId xmlns:a16="http://schemas.microsoft.com/office/drawing/2014/main" id="{0A0A79EB-236F-4C9B-83D2-A6E004D0FF2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043113" y="1495115"/>
            <a:ext cx="7085012" cy="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AutoShape 250">
            <a:extLst>
              <a:ext uri="{FF2B5EF4-FFF2-40B4-BE49-F238E27FC236}">
                <a16:creationId xmlns:a16="http://schemas.microsoft.com/office/drawing/2014/main" id="{7D1CD681-44FF-4CCB-9965-AF5C6B561E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79627" y="1033505"/>
            <a:ext cx="11589903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lobal steel production by rout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t steel per year, 2015-2100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0B37B1AB-EDD8-47FC-979B-3CC7B91363D5}"/>
              </a:ext>
            </a:extLst>
          </p:cNvPr>
          <p:cNvSpPr txBox="1">
            <a:spLocks/>
          </p:cNvSpPr>
          <p:nvPr/>
        </p:nvSpPr>
        <p:spPr bwMode="auto">
          <a:xfrm>
            <a:off x="160838" y="298239"/>
            <a:ext cx="11870324" cy="314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A circular scenario can reduce significantly primary steel production globally</a:t>
            </a:r>
            <a:endParaRPr kumimoji="0" lang="en-GB" sz="2000" b="0" i="0" u="none" strike="noStrike" kern="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Arial Unicode MS" pitchFamily="34" charset="-128"/>
            </a:endParaRP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E454E7FB-5189-4647-8F14-D129A08A20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38499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9C486D8F-0141-4E03-B795-D718B2D48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38499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12D630F0-67F1-4A17-B5EA-8D3184AAEF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276999"/>
            <a:ext cx="65" cy="553998"/>
          </a:xfrm>
          <a:prstGeom prst="rect">
            <a:avLst/>
          </a:prstGeom>
          <a:solidFill>
            <a:srgbClr val="DCF8C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t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inherit"/>
              <a:ea typeface="ＭＳ Ｐゴシック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ea typeface="ＭＳ Ｐゴシック"/>
                <a:cs typeface="Segoe UI" panose="020B0502040204020203" pitchFamily="34" charset="0"/>
              </a:rPr>
            </a:b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16" name="AutoShape 11" descr="🤭">
            <a:extLst>
              <a:ext uri="{FF2B5EF4-FFF2-40B4-BE49-F238E27FC236}">
                <a16:creationId xmlns:a16="http://schemas.microsoft.com/office/drawing/2014/main" id="{E4D5E6DE-2CE2-4469-8119-312D6DC003B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04800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aphicFrame>
        <p:nvGraphicFramePr>
          <p:cNvPr id="90" name="Chart 89">
            <a:extLst>
              <a:ext uri="{FF2B5EF4-FFF2-40B4-BE49-F238E27FC236}">
                <a16:creationId xmlns:a16="http://schemas.microsoft.com/office/drawing/2014/main" id="{486246BA-5435-41F6-B899-4BB2B6ED5E72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960563" y="2192338"/>
          <a:ext cx="7226300" cy="373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2642D97-0BBD-40C5-BB2C-E3E4562288D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229350" y="3573463"/>
            <a:ext cx="29178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3E057A6-533C-480B-A8BF-9A607BFB5FE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582025" y="4432300"/>
            <a:ext cx="5651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823052-394B-4B06-BAC6-7ACA03608166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104313" y="3570288"/>
            <a:ext cx="0" cy="8651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id="{CDB8C5F3-7F2D-485D-B6EE-55D99BC25C92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5327650" y="2038350"/>
            <a:ext cx="4937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D430C12-E24E-4352-9FF0-D9FF7EC82056}" type="datetime'''''''''2'''''''''''''''''''''''''''',3''''''''''''''''41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,341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4F516AC-9BC3-4320-B624-19B9DEE0B634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714625" y="5902325"/>
            <a:ext cx="10112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B723185-3297-4CF1-B08D-0769E0E0859D}" type="datetime'F''r''''''''o''''''ze''''''''''''n'' ''2''''''0''''''5''''''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Frozen 20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7EBA459-9919-462A-96CD-1D00D46D843D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630738" y="5902325"/>
            <a:ext cx="18859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2E80A06-F96A-4260-98B9-306803F4DC5D}" type="datetime'Curren''''t ''''pr''''''''actice'''' ''''''''20''50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urrent practice 20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1689A26-F68C-462C-8BD7-AA918E389836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6973888" y="5902325"/>
            <a:ext cx="19050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764ABCE-28D2-4D58-A95B-CBB272A27EFE}" type="datetime'''''Ci''rcula''r'' ''''s''ce''''''na''''''r''''io 205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ircular scenario 20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F9C86B1-BA99-478A-BFEE-994521997330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973388" y="2036763"/>
            <a:ext cx="4937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726E149-CDF9-44C7-BD62-0F3BBA6FD4FB}" type="datetime'''''''2'',''''''''''''''''''''34''''2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,342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5AB8960-F832-46BC-A42A-B502BBA50E09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680325" y="2884488"/>
            <a:ext cx="4937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0CA9596-02D3-4C9E-ACE5-0A46C8C92F3D}" type="datetime'1'''''''''',''7''''8''6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,786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39DD869B-270D-41EF-9B48-CFC67C8D7E43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8802688" y="3808413"/>
            <a:ext cx="6048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8E926C7-1950-4DED-AFF6-B35AFDA0065A}" type="datetime'''''''''''''''-''''3''''''''''8''''%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38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027A0C-4130-42F6-B450-639BF12A4D14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629400" y="1835150"/>
            <a:ext cx="250825" cy="18732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DEB0295-1BD9-4C9E-8A08-4EB14735B147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629400" y="1571625"/>
            <a:ext cx="250825" cy="187325"/>
          </a:xfrm>
          <a:prstGeom prst="rect">
            <a:avLst/>
          </a:prstGeom>
          <a:solidFill>
            <a:srgbClr val="DFE5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F0655D3-F171-4663-8F27-ED6D889C1563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6931025" y="1566863"/>
            <a:ext cx="2101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8833183-2699-4329-829E-B10219A9F829}" type="datetime'Sc''''''''ra''p ''ba''''s''''e''d'' p''r''o''du''''cti''on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crap based produc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F58AE70-32BF-4563-AC21-60F24303AEC5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6931025" y="1830388"/>
            <a:ext cx="16351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038D6B6-FD9C-4FC7-BE6A-9306CD1E3B55}" type="datetime'''P''''''r''''''i''ma''''''r''y'''' ''''produ''''cti''o''''n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rimary produc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489700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9" name="think-cell Slide" r:id="rId24" imgW="449" imgH="450" progId="TCLayout.ActiveDocument.1">
                  <p:embed/>
                </p:oleObj>
              </mc:Choice>
              <mc:Fallback>
                <p:oleObj name="think-cell Slide" r:id="rId24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cs typeface="+mn-cs"/>
              <a:sym typeface="+mn-lt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3BBE5737-412C-4558-A858-B66158259B85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747713" y="1700213"/>
          <a:ext cx="9863137" cy="4052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563FE38-7E86-40F5-9B31-BABC62503A8B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10528301" y="3597275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76AD068-A765-4FDD-A456-9C83E99B48FF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H="1">
            <a:off x="10355262" y="2409825"/>
            <a:ext cx="1730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F0B464-A925-41F4-A4B1-C8E96541CDB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10355262" y="3081338"/>
            <a:ext cx="1730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089FD46-4CA3-4A49-8BF3-6FA594FD5AD7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>
            <a:off x="10398125" y="2406650"/>
            <a:ext cx="0" cy="6778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FA58D62-E168-4C25-80ED-371DF9BE5C7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10528301" y="2409825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2EC7D5E-8C4E-41A4-8F64-09216D3F2331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10604500" y="2406649"/>
            <a:ext cx="0" cy="11938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C293F26-E39D-4334-A8DB-4B92C032F356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551113" y="5683250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4A3A3BF-94F9-4FED-AABE-4F839570020E}" type="datetime'''''''''''''''''''''''''20''''2''''''''0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2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32CCBE1-605B-4281-AB67-3D004094E1A8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5141913" y="5683250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73181ED-7052-4C1A-9CE6-9684D37CA938}" type="datetime'''''2''''''''''''''''0''''3''''''''''''''''0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3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0B87332-605B-4986-897A-21873187A1DE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0325100" y="5683250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184DC1A-6E83-4D0C-839D-E149D1D2BFFD}" type="datetime'''2''''''''''''''''''''''''''''''''''''0''''''''''5''''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4C053C0-C45E-4807-89FD-079ED49F5A13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734300" y="5683250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24DADC8-E46A-42FD-9448-F4B15B7E1D1E}" type="datetime'''''''''2''0''''4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4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6B66C47-4E02-4043-AC2E-B054F2471DA7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9702800" y="2593975"/>
            <a:ext cx="6048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13D9429-4D3E-4B2A-AC12-D64AA4C52B0F}" type="datetime'-''''''2''''''''''''''''''1''''''%''''''''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21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E233370-F8E5-4DE3-B4AB-6D1CF0E2BB72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10694988" y="2852738"/>
            <a:ext cx="6048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35DB8F4-11EB-489A-B1FC-6189F014FCD8}" type="datetime'''''''-''''''''3''''''''''''''''''''''''''7''%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37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E822D60-BC9D-40AD-9AE5-82A5F00E933C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7567613" y="1687513"/>
            <a:ext cx="328613" cy="0"/>
          </a:xfrm>
          <a:prstGeom prst="line">
            <a:avLst/>
          </a:prstGeom>
          <a:ln w="28575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ED43C23B-6627-4B0B-B054-F79D1239DBD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7567613" y="1951038"/>
            <a:ext cx="328613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6AF13D3-3F23-473B-A6A0-6CAB65290FDA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7567613" y="2214563"/>
            <a:ext cx="328613" cy="0"/>
          </a:xfrm>
          <a:prstGeom prst="line">
            <a:avLst/>
          </a:prstGeom>
          <a:ln w="19050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B776836B-76BB-4BE7-B83A-B6898F700F95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947025" y="1589088"/>
            <a:ext cx="14303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5031751-217C-46EF-B4A6-90FEE3F2F75D}" type="datetime'''''''''''Cu''''''''rre''n''t ''p''r''a''ct''''''''''i''ce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urrent practice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A9BC7FA-156D-4F74-8D81-7ACC42FFEFF6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947025" y="2116138"/>
            <a:ext cx="24526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Materials efficiency scenario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7D3DE3D-31D3-4873-A525-1A325B8B1FC4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7947025" y="1852613"/>
            <a:ext cx="25098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AAF65C7-9290-46E9-8760-3D14B532C645}" type="datetime'''Mat''erial''''''s ci''''''''rcu''''lation scen''''a''r''io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Materials circulation scenario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cxnSp>
        <p:nvCxnSpPr>
          <p:cNvPr id="77" name="AutoShape 249">
            <a:extLst>
              <a:ext uri="{FF2B5EF4-FFF2-40B4-BE49-F238E27FC236}">
                <a16:creationId xmlns:a16="http://schemas.microsoft.com/office/drawing/2014/main" id="{B6EF3BDF-753C-49FE-BA62-0712BEF32B0A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800101" y="1505779"/>
            <a:ext cx="9810749" cy="11695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8" name="AutoShape 250">
            <a:extLst>
              <a:ext uri="{FF2B5EF4-FFF2-40B4-BE49-F238E27FC236}">
                <a16:creationId xmlns:a16="http://schemas.microsoft.com/office/drawing/2014/main" id="{19DD5302-E376-4EF2-AED3-5CB1498B1E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101" y="1046814"/>
            <a:ext cx="11589903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</a:t>
            </a:r>
            <a:r>
              <a:rPr kumimoji="0" lang="en-GB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emissions from global steel produc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t 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per year 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2" name="Title 1">
            <a:extLst>
              <a:ext uri="{FF2B5EF4-FFF2-40B4-BE49-F238E27FC236}">
                <a16:creationId xmlns:a16="http://schemas.microsoft.com/office/drawing/2014/main" id="{5FE9B089-A9C1-439D-B5D8-E7C645871E73}"/>
              </a:ext>
            </a:extLst>
          </p:cNvPr>
          <p:cNvSpPr txBox="1">
            <a:spLocks/>
          </p:cNvSpPr>
          <p:nvPr/>
        </p:nvSpPr>
        <p:spPr bwMode="auto">
          <a:xfrm>
            <a:off x="232732" y="273850"/>
            <a:ext cx="1187032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Materials efficiency can reduce emissions from steel production by 37% by mid-century</a:t>
            </a:r>
            <a:endParaRPr kumimoji="0" lang="en-GB" sz="2000" b="0" i="0" u="none" strike="noStrike" kern="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Arial Unicode MS" pitchFamily="34" charset="-128"/>
            </a:endParaRPr>
          </a:p>
        </p:txBody>
      </p:sp>
      <p:sp>
        <p:nvSpPr>
          <p:cNvPr id="41" name="5. Source">
            <a:extLst>
              <a:ext uri="{FF2B5EF4-FFF2-40B4-BE49-F238E27FC236}">
                <a16:creationId xmlns:a16="http://schemas.microsoft.com/office/drawing/2014/main" id="{5824FB07-83AD-4968-9653-27C68981E6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5961447"/>
            <a:ext cx="11778784" cy="869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9F0FA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Current practice scenario: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increase in steel stock per capita, adoption of best available technology by 2050, increase of  scrap based production;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s circulation scenario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reduced steel losses and reduced downgrading of steel;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s efficiency scenario: besides materials circulation, the circular scenario also builds on demand reduction from value chains, resulting in reduced steel per capita by 25%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 Economics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311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A36EEF92-99DA-40FA-A21A-AACC27373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91" y="268658"/>
            <a:ext cx="11821100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Electric drive trains will dominate in heavy-road transport and short-haul shipping and aviation</a:t>
            </a:r>
            <a:endParaRPr lang="en-GB" sz="1800" b="0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8027A19-7CA9-43D4-83EE-A9E14C0378B3}"/>
              </a:ext>
            </a:extLst>
          </p:cNvPr>
          <p:cNvSpPr/>
          <p:nvPr/>
        </p:nvSpPr>
        <p:spPr>
          <a:xfrm>
            <a:off x="10453253" y="-300037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4</a:t>
            </a:r>
          </a:p>
        </p:txBody>
      </p:sp>
      <p:sp>
        <p:nvSpPr>
          <p:cNvPr id="47" name="5. Source">
            <a:extLst>
              <a:ext uri="{FF2B5EF4-FFF2-40B4-BE49-F238E27FC236}">
                <a16:creationId xmlns:a16="http://schemas.microsoft.com/office/drawing/2014/main" id="{21640472-E1EB-41C9-AE6F-8CDD6DE7D7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7ED95C3-F29E-4C83-B1A6-88EB23432650}"/>
              </a:ext>
            </a:extLst>
          </p:cNvPr>
          <p:cNvGrpSpPr/>
          <p:nvPr/>
        </p:nvGrpSpPr>
        <p:grpSpPr>
          <a:xfrm>
            <a:off x="2897705" y="4809019"/>
            <a:ext cx="3735155" cy="1120508"/>
            <a:chOff x="2391522" y="4613884"/>
            <a:chExt cx="3600122" cy="1080000"/>
          </a:xfrm>
        </p:grpSpPr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FC87A7F0-A07C-4C05-A1E0-8F34F4215DFF}"/>
                </a:ext>
              </a:extLst>
            </p:cNvPr>
            <p:cNvSpPr/>
            <p:nvPr/>
          </p:nvSpPr>
          <p:spPr>
            <a:xfrm>
              <a:off x="2391522" y="4613884"/>
              <a:ext cx="3600122" cy="108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21" name="3. Unit of measure">
              <a:extLst>
                <a:ext uri="{FF2B5EF4-FFF2-40B4-BE49-F238E27FC236}">
                  <a16:creationId xmlns:a16="http://schemas.microsoft.com/office/drawing/2014/main" id="{889CEB50-7802-4C3A-A4E4-153AE162D6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14093" y="4850308"/>
              <a:ext cx="1921017" cy="6001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sz="1400" baseline="0"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attery electric vehicles or Fuel-cell electric vehicles</a:t>
              </a: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7DDFC1AF-41F3-4BAF-88C6-E29DE219B736}"/>
              </a:ext>
            </a:extLst>
          </p:cNvPr>
          <p:cNvSpPr/>
          <p:nvPr/>
        </p:nvSpPr>
        <p:spPr>
          <a:xfrm>
            <a:off x="7177383" y="3246867"/>
            <a:ext cx="3736800" cy="112050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8" name="3. Unit of measure">
            <a:extLst>
              <a:ext uri="{FF2B5EF4-FFF2-40B4-BE49-F238E27FC236}">
                <a16:creationId xmlns:a16="http://schemas.microsoft.com/office/drawing/2014/main" id="{374DBECF-9C58-4680-AFA0-C025EDD240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47572" y="3623699"/>
            <a:ext cx="359109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 baseline="0"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mmonia or Hydrogen (primarily)</a:t>
            </a:r>
          </a:p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ofuels or Synfuels</a:t>
            </a:r>
          </a:p>
        </p:txBody>
      </p:sp>
      <p:sp>
        <p:nvSpPr>
          <p:cNvPr id="91" name="AutoShape 250">
            <a:extLst>
              <a:ext uri="{FF2B5EF4-FFF2-40B4-BE49-F238E27FC236}">
                <a16:creationId xmlns:a16="http://schemas.microsoft.com/office/drawing/2014/main" id="{30C4D7CB-80ED-4402-B9F5-E2914C300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8507" y="1230508"/>
            <a:ext cx="3735154" cy="22671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ost probable option for short haul</a:t>
            </a:r>
          </a:p>
        </p:txBody>
      </p:sp>
      <p:sp>
        <p:nvSpPr>
          <p:cNvPr id="100" name="AutoShape 250">
            <a:extLst>
              <a:ext uri="{FF2B5EF4-FFF2-40B4-BE49-F238E27FC236}">
                <a16:creationId xmlns:a16="http://schemas.microsoft.com/office/drawing/2014/main" id="{A3CCD7E2-9237-4AA4-81C5-A8E22CEFF2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7382" y="1233599"/>
            <a:ext cx="4601402" cy="22671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ost probable option for long haul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5482DD30-4385-4C00-8756-BB127B7DF946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68" t="6359" r="14689" b="19374"/>
          <a:stretch/>
        </p:blipFill>
        <p:spPr>
          <a:xfrm>
            <a:off x="7191310" y="3330718"/>
            <a:ext cx="883177" cy="933757"/>
          </a:xfrm>
          <a:prstGeom prst="rect">
            <a:avLst/>
          </a:prstGeom>
        </p:spPr>
      </p:pic>
      <p:sp>
        <p:nvSpPr>
          <p:cNvPr id="105" name="Rectangle 104">
            <a:extLst>
              <a:ext uri="{FF2B5EF4-FFF2-40B4-BE49-F238E27FC236}">
                <a16:creationId xmlns:a16="http://schemas.microsoft.com/office/drawing/2014/main" id="{CA5926F0-07FD-4F8F-BB05-81D212CE2EDE}"/>
              </a:ext>
            </a:extLst>
          </p:cNvPr>
          <p:cNvSpPr/>
          <p:nvPr/>
        </p:nvSpPr>
        <p:spPr>
          <a:xfrm>
            <a:off x="7177383" y="4809019"/>
            <a:ext cx="3736800" cy="112050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569CB821-9CD9-45FD-B4ED-E60D6EF7B931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68" t="6359" r="14689" b="19374"/>
          <a:stretch/>
        </p:blipFill>
        <p:spPr>
          <a:xfrm>
            <a:off x="7191310" y="4898776"/>
            <a:ext cx="883177" cy="933757"/>
          </a:xfrm>
          <a:prstGeom prst="rect">
            <a:avLst/>
          </a:prstGeom>
        </p:spPr>
      </p:pic>
      <p:sp>
        <p:nvSpPr>
          <p:cNvPr id="89" name="3. Unit of measure">
            <a:extLst>
              <a:ext uri="{FF2B5EF4-FFF2-40B4-BE49-F238E27FC236}">
                <a16:creationId xmlns:a16="http://schemas.microsoft.com/office/drawing/2014/main" id="{31BB611C-2C84-4B0B-ABA6-D720454A7C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5637" y="5265494"/>
            <a:ext cx="1867514" cy="207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 baseline="0"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ofuels or Synfuel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3B2712E-7E7E-4288-BDE0-4ED53C7A7254}"/>
              </a:ext>
            </a:extLst>
          </p:cNvPr>
          <p:cNvGrpSpPr/>
          <p:nvPr/>
        </p:nvGrpSpPr>
        <p:grpSpPr>
          <a:xfrm>
            <a:off x="2897705" y="3274730"/>
            <a:ext cx="3735155" cy="1120509"/>
            <a:chOff x="2391522" y="3135063"/>
            <a:chExt cx="3600122" cy="1080000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37DC66C1-ED19-4CFB-9A89-402E854C1ECB}"/>
                </a:ext>
              </a:extLst>
            </p:cNvPr>
            <p:cNvSpPr/>
            <p:nvPr/>
          </p:nvSpPr>
          <p:spPr>
            <a:xfrm>
              <a:off x="2391522" y="3135063"/>
              <a:ext cx="3600122" cy="108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9" name="3. Unit of measure">
              <a:extLst>
                <a:ext uri="{FF2B5EF4-FFF2-40B4-BE49-F238E27FC236}">
                  <a16:creationId xmlns:a16="http://schemas.microsoft.com/office/drawing/2014/main" id="{224FBF81-4B07-487A-B97D-86AB0EEE2F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12217" y="3374963"/>
              <a:ext cx="1922893" cy="6001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sz="1400" baseline="0"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attery electric vehicles or Fuel-cell electric vehicles</a:t>
              </a:r>
            </a:p>
          </p:txBody>
        </p:sp>
      </p:grpSp>
      <p:pic>
        <p:nvPicPr>
          <p:cNvPr id="108" name="Picture 107">
            <a:extLst>
              <a:ext uri="{FF2B5EF4-FFF2-40B4-BE49-F238E27FC236}">
                <a16:creationId xmlns:a16="http://schemas.microsoft.com/office/drawing/2014/main" id="{27CB80EC-DA7A-491C-BA57-652CB998A01B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61" r="22141" b="14634"/>
          <a:stretch/>
        </p:blipFill>
        <p:spPr>
          <a:xfrm>
            <a:off x="3100659" y="3304189"/>
            <a:ext cx="343623" cy="522904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A5AEC541-25DB-4915-9C4F-F598EE47A32F}"/>
              </a:ext>
            </a:extLst>
          </p:cNvPr>
          <p:cNvGrpSpPr/>
          <p:nvPr/>
        </p:nvGrpSpPr>
        <p:grpSpPr>
          <a:xfrm>
            <a:off x="2947624" y="4842745"/>
            <a:ext cx="539370" cy="1040217"/>
            <a:chOff x="2439637" y="4646396"/>
            <a:chExt cx="519871" cy="1002612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3F4D989-E422-4972-B042-DE61FBC716BD}"/>
                </a:ext>
              </a:extLst>
            </p:cNvPr>
            <p:cNvGrpSpPr/>
            <p:nvPr/>
          </p:nvGrpSpPr>
          <p:grpSpPr>
            <a:xfrm>
              <a:off x="2439637" y="5129136"/>
              <a:ext cx="519871" cy="519872"/>
              <a:chOff x="2439637" y="4259117"/>
              <a:chExt cx="519871" cy="519872"/>
            </a:xfrm>
          </p:grpSpPr>
          <p:pic>
            <p:nvPicPr>
              <p:cNvPr id="55" name="Picture 5" descr="RÃ©sultat de recherche d'images pour &quot;hydrogen icon&quot;">
                <a:extLst>
                  <a:ext uri="{FF2B5EF4-FFF2-40B4-BE49-F238E27FC236}">
                    <a16:creationId xmlns:a16="http://schemas.microsoft.com/office/drawing/2014/main" id="{55D72DA1-E51E-406B-A764-750BC7258E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8900000">
                <a:off x="2439637" y="4259117"/>
                <a:ext cx="519871" cy="5198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DAF092EB-1F0A-4153-ACFD-96A0C7D2EEB5}"/>
                  </a:ext>
                </a:extLst>
              </p:cNvPr>
              <p:cNvSpPr/>
              <p:nvPr/>
            </p:nvSpPr>
            <p:spPr>
              <a:xfrm>
                <a:off x="2575014" y="4399692"/>
                <a:ext cx="275303" cy="27530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H</a:t>
                </a:r>
                <a:r>
                  <a:rPr kumimoji="0" lang="en-GB" sz="1200" b="1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2</a:t>
                </a:r>
              </a:p>
            </p:txBody>
          </p:sp>
        </p:grpSp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770E70A4-7B3A-42EE-B31D-25D9424D5D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761" r="22141" b="14634"/>
            <a:stretch/>
          </p:blipFill>
          <p:spPr>
            <a:xfrm>
              <a:off x="2587139" y="4646396"/>
              <a:ext cx="331200" cy="504000"/>
            </a:xfrm>
            <a:prstGeom prst="rect">
              <a:avLst/>
            </a:prstGeom>
          </p:spPr>
        </p:pic>
      </p:grpSp>
      <p:sp>
        <p:nvSpPr>
          <p:cNvPr id="48" name="Rectangle 75">
            <a:extLst>
              <a:ext uri="{FF2B5EF4-FFF2-40B4-BE49-F238E27FC236}">
                <a16:creationId xmlns:a16="http://schemas.microsoft.com/office/drawing/2014/main" id="{9F0AFD44-58E8-4DFE-856E-BB84EE87379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85730" y="3274712"/>
            <a:ext cx="1809560" cy="1120508"/>
          </a:xfrm>
          <a:prstGeom prst="rect">
            <a:avLst/>
          </a:prstGeom>
          <a:solidFill>
            <a:srgbClr val="F38B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</a:t>
            </a:r>
          </a:p>
        </p:txBody>
      </p:sp>
      <p:sp>
        <p:nvSpPr>
          <p:cNvPr id="49" name="Rectangle 75">
            <a:extLst>
              <a:ext uri="{FF2B5EF4-FFF2-40B4-BE49-F238E27FC236}">
                <a16:creationId xmlns:a16="http://schemas.microsoft.com/office/drawing/2014/main" id="{0ECD9368-D0CE-4A66-B0F9-775AC3659A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85730" y="4809019"/>
            <a:ext cx="1809560" cy="1120508"/>
          </a:xfrm>
          <a:prstGeom prst="rect">
            <a:avLst/>
          </a:prstGeom>
          <a:solidFill>
            <a:srgbClr val="ED5C05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ia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3A77097-EF4A-4DEC-9CDA-C344BA4E189D}"/>
              </a:ext>
            </a:extLst>
          </p:cNvPr>
          <p:cNvGrpSpPr/>
          <p:nvPr/>
        </p:nvGrpSpPr>
        <p:grpSpPr>
          <a:xfrm>
            <a:off x="2947624" y="3819577"/>
            <a:ext cx="539370" cy="539371"/>
            <a:chOff x="2439637" y="4259117"/>
            <a:chExt cx="519871" cy="519872"/>
          </a:xfrm>
        </p:grpSpPr>
        <p:pic>
          <p:nvPicPr>
            <p:cNvPr id="15365" name="Picture 5" descr="RÃ©sultat de recherche d'images pour &quot;hydrogen icon&quot;">
              <a:extLst>
                <a:ext uri="{FF2B5EF4-FFF2-40B4-BE49-F238E27FC236}">
                  <a16:creationId xmlns:a16="http://schemas.microsoft.com/office/drawing/2014/main" id="{7CA69666-2B8D-4800-A1A8-F4331F4D31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8900000">
              <a:off x="2439637" y="4259117"/>
              <a:ext cx="519871" cy="5198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52BC2ED-D84F-4318-A561-14B6B811D169}"/>
                </a:ext>
              </a:extLst>
            </p:cNvPr>
            <p:cNvSpPr/>
            <p:nvPr/>
          </p:nvSpPr>
          <p:spPr>
            <a:xfrm>
              <a:off x="2575014" y="4399692"/>
              <a:ext cx="275303" cy="27530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</a:t>
              </a:r>
              <a:r>
                <a:rPr kumimoji="0" lang="en-GB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8EE0A7C-81F5-4931-A985-1D052FAEC75F}"/>
              </a:ext>
            </a:extLst>
          </p:cNvPr>
          <p:cNvGrpSpPr/>
          <p:nvPr/>
        </p:nvGrpSpPr>
        <p:grpSpPr>
          <a:xfrm>
            <a:off x="2897705" y="1709206"/>
            <a:ext cx="3735155" cy="1120508"/>
            <a:chOff x="2391522" y="1626135"/>
            <a:chExt cx="3600122" cy="108000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7E45F44-A1FD-4DDB-91AE-17ABA7A5686B}"/>
                </a:ext>
              </a:extLst>
            </p:cNvPr>
            <p:cNvSpPr/>
            <p:nvPr/>
          </p:nvSpPr>
          <p:spPr>
            <a:xfrm>
              <a:off x="2391522" y="1626135"/>
              <a:ext cx="3600122" cy="108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73" name="3. Unit of measure">
              <a:extLst>
                <a:ext uri="{FF2B5EF4-FFF2-40B4-BE49-F238E27FC236}">
                  <a16:creationId xmlns:a16="http://schemas.microsoft.com/office/drawing/2014/main" id="{FC6B1174-47E3-4EFA-998F-98A01EFD91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73664" y="1966080"/>
              <a:ext cx="1800000" cy="400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sz="1400" baseline="0"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attery electric vehicles</a:t>
              </a: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C0F4A5D4-2942-4ADF-98FD-2C92410A4B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761" r="22141" b="14634"/>
            <a:stretch/>
          </p:blipFill>
          <p:spPr>
            <a:xfrm>
              <a:off x="2510878" y="1693985"/>
              <a:ext cx="591428" cy="900000"/>
            </a:xfrm>
            <a:prstGeom prst="rect">
              <a:avLst/>
            </a:prstGeom>
          </p:spPr>
        </p:pic>
      </p:grpSp>
      <p:sp>
        <p:nvSpPr>
          <p:cNvPr id="45" name="Rectangle 75">
            <a:extLst>
              <a:ext uri="{FF2B5EF4-FFF2-40B4-BE49-F238E27FC236}">
                <a16:creationId xmlns:a16="http://schemas.microsoft.com/office/drawing/2014/main" id="{BCA493F0-967F-4AD4-A7FC-278565EAAD2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85730" y="1709206"/>
            <a:ext cx="1809560" cy="112050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-road transport 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A5A4878-C091-434D-88BB-FB087CE85489}"/>
              </a:ext>
            </a:extLst>
          </p:cNvPr>
          <p:cNvSpPr/>
          <p:nvPr/>
        </p:nvSpPr>
        <p:spPr>
          <a:xfrm>
            <a:off x="7177383" y="1709206"/>
            <a:ext cx="3736800" cy="11205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2" name="3. Unit of measure">
            <a:extLst>
              <a:ext uri="{FF2B5EF4-FFF2-40B4-BE49-F238E27FC236}">
                <a16:creationId xmlns:a16="http://schemas.microsoft.com/office/drawing/2014/main" id="{ECDA2AA6-506F-4F74-855C-F731D90A12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58047" y="1958123"/>
            <a:ext cx="3970147" cy="622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 baseline="0"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attery electric vehicles</a:t>
            </a:r>
          </a:p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(with or without catenary wiring) </a:t>
            </a:r>
          </a:p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r Fuel-cell electric vehicles</a:t>
            </a: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89D11278-D5CD-494D-9456-04B7C977A605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61" r="22141" b="14634"/>
          <a:stretch/>
        </p:blipFill>
        <p:spPr>
          <a:xfrm>
            <a:off x="7465015" y="1744601"/>
            <a:ext cx="343623" cy="522904"/>
          </a:xfrm>
          <a:prstGeom prst="rect">
            <a:avLst/>
          </a:prstGeom>
        </p:spPr>
      </p:pic>
      <p:grpSp>
        <p:nvGrpSpPr>
          <p:cNvPr id="58" name="Group 57">
            <a:extLst>
              <a:ext uri="{FF2B5EF4-FFF2-40B4-BE49-F238E27FC236}">
                <a16:creationId xmlns:a16="http://schemas.microsoft.com/office/drawing/2014/main" id="{2D8A59FD-AAA9-4E95-B9A3-D956F1010FE2}"/>
              </a:ext>
            </a:extLst>
          </p:cNvPr>
          <p:cNvGrpSpPr/>
          <p:nvPr/>
        </p:nvGrpSpPr>
        <p:grpSpPr>
          <a:xfrm>
            <a:off x="7307641" y="2252888"/>
            <a:ext cx="539370" cy="539371"/>
            <a:chOff x="2439637" y="4259117"/>
            <a:chExt cx="519871" cy="519872"/>
          </a:xfrm>
        </p:grpSpPr>
        <p:pic>
          <p:nvPicPr>
            <p:cNvPr id="59" name="Picture 5" descr="RÃ©sultat de recherche d'images pour &quot;hydrogen icon&quot;">
              <a:extLst>
                <a:ext uri="{FF2B5EF4-FFF2-40B4-BE49-F238E27FC236}">
                  <a16:creationId xmlns:a16="http://schemas.microsoft.com/office/drawing/2014/main" id="{BE0D355E-F56F-4903-BBD3-030E69165B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8900000">
              <a:off x="2439637" y="4259117"/>
              <a:ext cx="519871" cy="5198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924C6DFA-A679-4C1B-8C71-7C228FE6C944}"/>
                </a:ext>
              </a:extLst>
            </p:cNvPr>
            <p:cNvSpPr/>
            <p:nvPr/>
          </p:nvSpPr>
          <p:spPr>
            <a:xfrm>
              <a:off x="2575014" y="4399692"/>
              <a:ext cx="275303" cy="27530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</a:t>
              </a:r>
              <a:r>
                <a:rPr kumimoji="0" lang="en-GB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</a:p>
          </p:txBody>
        </p:sp>
      </p:grpSp>
      <p:cxnSp>
        <p:nvCxnSpPr>
          <p:cNvPr id="50" name="AutoShape 249">
            <a:extLst>
              <a:ext uri="{FF2B5EF4-FFF2-40B4-BE49-F238E27FC236}">
                <a16:creationId xmlns:a16="http://schemas.microsoft.com/office/drawing/2014/main" id="{702AD379-63BB-487D-99A3-DF191496CC2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897705" y="1475685"/>
            <a:ext cx="3735155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AutoShape 249">
            <a:extLst>
              <a:ext uri="{FF2B5EF4-FFF2-40B4-BE49-F238E27FC236}">
                <a16:creationId xmlns:a16="http://schemas.microsoft.com/office/drawing/2014/main" id="{80BDB8E1-F6AB-449F-9009-4FAC5B8485A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177382" y="1475685"/>
            <a:ext cx="3735155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7276753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1760DE-43B9-4D83-95FC-C3D9DCC964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3" name="think-cell Slide" r:id="rId28" imgW="395" imgH="394" progId="TCLayout.ActiveDocument.1">
                  <p:embed/>
                </p:oleObj>
              </mc:Choice>
              <mc:Fallback>
                <p:oleObj name="think-cell Slide" r:id="rId28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1760DE-43B9-4D83-95FC-C3D9DCC964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7C9563-FF04-4C5F-81D4-D6BED01A81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8FF703-445D-4211-BF07-69A66EDBE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291042"/>
            <a:ext cx="10930039" cy="307777"/>
          </a:xfrm>
        </p:spPr>
        <p:txBody>
          <a:bodyPr/>
          <a:lstStyle/>
          <a:p>
            <a:r>
              <a:rPr lang="en-GB" sz="2000" dirty="0"/>
              <a:t>CO</a:t>
            </a:r>
            <a:r>
              <a:rPr lang="en-GB" sz="2000" baseline="-25000" dirty="0"/>
              <a:t>2</a:t>
            </a:r>
            <a:r>
              <a:rPr lang="en-GB" sz="2000" dirty="0"/>
              <a:t> emissions from plastics could be reduced by almost 60% in a circular 2050 scenario</a:t>
            </a:r>
            <a:endParaRPr lang="en-GB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60779D0-A346-4954-8E9D-C0571A7160E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880350" y="2828925"/>
            <a:ext cx="415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361203A-D076-459A-BBE4-57CA14E010C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752013" y="3790950"/>
            <a:ext cx="415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79B0BA1-8CD1-44B7-A549-5CE5ED93412B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2265363" y="4037013"/>
            <a:ext cx="4143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4358468-F837-47D0-B655-F13FB008D248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200400" y="2563813"/>
            <a:ext cx="415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E39B095-8F6C-456F-8059-15E279BFB798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137025" y="1982788"/>
            <a:ext cx="4143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E22B72-74E9-4236-B8D0-D5988122FCBD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072063" y="2222500"/>
            <a:ext cx="415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1EDEB4-4FE7-4249-A4CC-AD0D75DB0D8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008688" y="2222500"/>
            <a:ext cx="415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6B15B91-15B4-4B48-91A6-35B7A7A9C37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945313" y="2586038"/>
            <a:ext cx="4143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97149E9-A122-46D0-AFBB-83421C3536C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8816975" y="3254375"/>
            <a:ext cx="4143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013746B1-08C3-4A5E-A4D9-6FA914AF8B30}"/>
              </a:ext>
            </a:extLst>
          </p:cNvPr>
          <p:cNvGraphicFramePr/>
          <p:nvPr>
            <p:custDataLst>
              <p:tags r:id="rId13"/>
            </p:custDataLst>
          </p:nvPr>
        </p:nvGraphicFramePr>
        <p:xfrm>
          <a:off x="1454150" y="1900238"/>
          <a:ext cx="9525000" cy="3186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43A9EE-028A-4B0A-95B6-13392E718BDA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10428288" y="2219325"/>
            <a:ext cx="0" cy="13366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8220D62-CC61-4C1E-A91C-26E7092313AB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945313" y="2222500"/>
            <a:ext cx="35258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B6309C2E-49DB-4789-93E7-FC0E5D846BA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099425" y="5062538"/>
            <a:ext cx="9144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3233B846-AE74-4EB6-8E4D-5E04F1BC5A00}" type="datetime'''M''a''ter''ia''ls ci''''''''''r''cul''a''t''''i''''''''on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Materials circula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EFC2BF86-8FF4-4C10-B5D0-E7467767BA8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735138" y="5062538"/>
            <a:ext cx="5397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F5575AA3-4F35-487C-90C4-7DDD19A7D753}" type="datetime'''''''''T''''''o''d''a''''''''''''''''''''''''''y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Today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3D7CA6F0-0443-4486-969C-DFD7C0D8751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440113" y="5062538"/>
            <a:ext cx="873125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t>Increased net emissions at EO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B6A34C7A-4177-4C97-9F51-6CDBB824888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129463" y="5062538"/>
            <a:ext cx="9810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8FE428B8-1AD3-47C5-8E8E-992741EF0D96}" type="datetime'''''''Su''''''''bst''it''''''u''''t''''''io''n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Substitu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AF11E4AA-56AC-46C2-A51B-9C3573E3E20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551113" y="5062538"/>
            <a:ext cx="77946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t>Demand increase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BD5AB26F-6FEF-4DAD-8ED0-F7FAE196A1C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329112" y="5062538"/>
            <a:ext cx="966788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ECCFA753-594D-4DF2-A32E-61857D4F7B9A}" type="datetime'''Im''''p''rov''ed ''''''pr''o''d''''''uct''''''''''i''''on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Improved production</a:t>
            </a:fld>
            <a:r>
              <a:rPr kumimoji="0" lang="en-GB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t> </a:t>
            </a: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t>(BAT)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86EC0B2D-DDA1-42B4-BB86-BF66E00693C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262688" y="5062538"/>
            <a:ext cx="84613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9D69F794-DEEA-4F0E-A343-5A5C0CD028C7}" type="datetime'D''e''m''a''''''''''''''nd ''r''''e''du''''cti''on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Demand reduc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299CF0D7-81CA-4302-B849-1EC4A008955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376863" y="5062538"/>
            <a:ext cx="744538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EF318BC4-DCC5-4AC4-85D6-A5FD67528351}" type="datetime'C''''''''u''''r''''''r''e''nt'' ''practi''ce'' 2''''''050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Current practice 2050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4950D857-5090-4BDA-8936-086A3733736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115425" y="5062538"/>
            <a:ext cx="75247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69E752BE-FDD3-4CD0-8725-17CD03E62AD3}" type="datetime'C''''''h''''e''mi''c''a''''''''l re''c''y''c''lin''''''g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Chemical recycling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FBF708E2-3E8E-465A-B40E-9BFAABBE333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050462" y="5062538"/>
            <a:ext cx="757238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E9839863-E9BB-42BB-8098-B14286388CE0}" type="datetime'''''''Ci''''rc''ular s''''''c''''e''n''''a''r''''io 2''050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Circular scenario 2050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FA6AFECE-244B-4948-B5F6-C03A2E4144C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0134600" y="2693988"/>
            <a:ext cx="587375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anchor="ctr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CB691A7E-A261-4278-B8DE-561CE0BB6417}" type="datetime'''''-''''''''''''5''''6''''''''''''''%''''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-56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40" name="AutoShape 250">
            <a:extLst>
              <a:ext uri="{FF2B5EF4-FFF2-40B4-BE49-F238E27FC236}">
                <a16:creationId xmlns:a16="http://schemas.microsoft.com/office/drawing/2014/main" id="{A66A2720-BFD0-4FCB-92EC-5F655D18FB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1551" y="1249337"/>
            <a:ext cx="9517599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lobal CO</a:t>
            </a:r>
            <a:r>
              <a: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emissions from plastics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(production and end of lif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t CO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er year</a:t>
            </a:r>
          </a:p>
        </p:txBody>
      </p:sp>
      <p:cxnSp>
        <p:nvCxnSpPr>
          <p:cNvPr id="41" name="AutoShape 249">
            <a:extLst>
              <a:ext uri="{FF2B5EF4-FFF2-40B4-BE49-F238E27FC236}">
                <a16:creationId xmlns:a16="http://schemas.microsoft.com/office/drawing/2014/main" id="{4804982B-7A6B-4576-9BFB-874B03AA17D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466273" y="1725150"/>
            <a:ext cx="9512877" cy="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5. Source">
            <a:extLst>
              <a:ext uri="{FF2B5EF4-FFF2-40B4-BE49-F238E27FC236}">
                <a16:creationId xmlns:a16="http://schemas.microsoft.com/office/drawing/2014/main" id="{3BE8D6F8-60AD-4370-9F4D-81217ADAE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369251"/>
            <a:ext cx="11778784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 Economics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105690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7" name="think-cell Slide" r:id="rId95" imgW="449" imgH="450" progId="TCLayout.ActiveDocument.1">
                  <p:embed/>
                </p:oleObj>
              </mc:Choice>
              <mc:Fallback>
                <p:oleObj name="think-cell Slide" r:id="rId95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30F5A4-7B87-4EE6-B387-A65337FC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32" y="125544"/>
            <a:ext cx="11281406" cy="628121"/>
          </a:xfrm>
        </p:spPr>
        <p:txBody>
          <a:bodyPr/>
          <a:lstStyle/>
          <a:p>
            <a:r>
              <a:rPr lang="en-GB" dirty="0"/>
              <a:t>Many forms of plastics mechanical recycling should be economic without a carbon price and could even deliver CO</a:t>
            </a:r>
            <a:r>
              <a:rPr lang="en-GB" baseline="-25000" dirty="0"/>
              <a:t>2</a:t>
            </a:r>
            <a:r>
              <a:rPr lang="en-GB" dirty="0"/>
              <a:t> reductions at negative abatement costs </a:t>
            </a:r>
            <a:endParaRPr lang="en-GB" sz="2000" b="0" baseline="-25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C63A9CD3-D283-4A1E-8347-26077B3CC79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641013" y="1701800"/>
            <a:ext cx="101600" cy="123507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5481F2CC-6FDD-46B6-A583-96508E335627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496550" y="1701800"/>
            <a:ext cx="144463" cy="123507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ADFE16AD-C33D-4352-9577-9D19BAB88E1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412413" y="1701800"/>
            <a:ext cx="84138" cy="123507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1E9F8A54-E704-4462-A979-B4DE20BCF1E5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902825" y="2238375"/>
            <a:ext cx="509588" cy="6985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B06BE94-37E2-42B2-90DA-4B7DA1F122F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862888" y="2257425"/>
            <a:ext cx="2039938" cy="67945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E4490CF-D67F-46F8-8966-ED83890FAD25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718300" y="2408238"/>
            <a:ext cx="1144588" cy="5286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46E3DCB5-B8E2-4B9D-BC82-2AA3A779263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632575" y="2506663"/>
            <a:ext cx="85725" cy="43021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52A4F38-8235-44E5-A269-541DC1B09667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027738" y="2657475"/>
            <a:ext cx="604838" cy="2794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71BAF6C2-65F9-4E81-8036-C7E0A24BC37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895975" y="2936875"/>
            <a:ext cx="131763" cy="4286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FB2A353-ABCD-4AF3-844C-86E3C018503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4654550" y="2936875"/>
            <a:ext cx="1241425" cy="32067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CB514F77-C552-450E-8CF4-2CF0D46B021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565650" y="2936875"/>
            <a:ext cx="88900" cy="60801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CE6DFC3-4F3E-45F3-8B6F-61E0B1EF4F49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265613" y="2936875"/>
            <a:ext cx="300038" cy="65087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994A12C-91D5-403C-8B4C-8BB654D7C68B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156075" y="2936875"/>
            <a:ext cx="109538" cy="73025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59A59D59-27DC-40AA-BECB-9722FB7805CE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005263" y="2936875"/>
            <a:ext cx="150813" cy="76676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0FB07CF-ACFC-466D-B2F4-E6BA20BB4BE9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3487738" y="2936875"/>
            <a:ext cx="517525" cy="8636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4ADBA4C-78CF-412E-88AE-B6A130B59D8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941638" y="2936875"/>
            <a:ext cx="546100" cy="115252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28B8A977-594A-4B57-8CE1-25CF1111A96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309813" y="2936875"/>
            <a:ext cx="631825" cy="123507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0DC664E-ED85-4C69-B900-0F540F1FD92E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2017713" y="2936875"/>
            <a:ext cx="292100" cy="123507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FC21E69-7C86-4717-B0BA-D05D24B79BF8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993900" y="2936875"/>
            <a:ext cx="23813" cy="123507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28CB2CB-E178-4043-BF6B-55E52BD2CE8E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935163" y="23193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4B9B53C2-7468-40B1-8D6C-4FB16ACE129A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1993900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59364BA6-83FF-4CB4-8BBB-3FA977D52F35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V="1">
            <a:off x="1993900" y="1697038"/>
            <a:ext cx="0" cy="1357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ACB3E5B-EFC5-40C2-A2BA-510B6AF6B09C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989138" y="2936875"/>
            <a:ext cx="90392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Straight Connector 441">
            <a:extLst>
              <a:ext uri="{FF2B5EF4-FFF2-40B4-BE49-F238E27FC236}">
                <a16:creationId xmlns:a16="http://schemas.microsoft.com/office/drawing/2014/main" id="{6D3B7C76-A29E-4AA3-A6DE-A2013F35EEEB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9518650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72B39605-E37E-4438-BCAD-BACE63EEBF43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1993900" y="3267075"/>
            <a:ext cx="0" cy="9096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0E504FC0-9F33-4287-B0EF-204795083EBF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10271125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BA99CCD-6B0F-42C3-B0FE-8C6C0B9E9CDE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935163" y="29368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60D6E98A-54FD-40E4-A6F5-BAC122B7932F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1935163" y="41719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7414FAA7-BE39-40F7-AFAD-D52F62139C75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1935163" y="35544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7CD7144-2E0C-458B-A4A7-E429502D7A8A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11023600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61968D3-B702-436E-B86E-977F3ABE3403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V="1">
            <a:off x="2746375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53DE6A5-88C5-4576-83EF-02F9865E0CF4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V="1">
            <a:off x="8766175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3639CCC-65C1-4015-B87B-AA9143CE9C9C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8013700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6294323F-F2FF-4AAC-A351-250588AC01C5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935163" y="17018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B28DA1B-2AD2-4F89-A907-11B0344AC106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V="1">
            <a:off x="7261225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14ADA1F-A679-4677-BB68-5B813D607A1F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 flipV="1">
            <a:off x="3498850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2E31453-4FFF-4B63-8F3A-C6C592FD3132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 flipV="1">
            <a:off x="6508750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999BD50-FF8A-4037-AE56-862FCA28351A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 flipV="1">
            <a:off x="4251325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0CC2FFA-4D83-45D1-B0CC-751FDDF67BD7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 flipV="1">
            <a:off x="5003800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1" name="Straight Connector 440">
            <a:extLst>
              <a:ext uri="{FF2B5EF4-FFF2-40B4-BE49-F238E27FC236}">
                <a16:creationId xmlns:a16="http://schemas.microsoft.com/office/drawing/2014/main" id="{9E8E89F3-41BF-47A3-9244-3E8F9CB6739C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 flipV="1">
            <a:off x="5756275" y="2936875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tangle 315">
            <a:extLst>
              <a:ext uri="{FF2B5EF4-FFF2-40B4-BE49-F238E27FC236}">
                <a16:creationId xmlns:a16="http://schemas.microsoft.com/office/drawing/2014/main" id="{E3C44FAC-1E6F-4672-B2B0-D52829995488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1719263" y="2830513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A1F7207-0B99-43B2-AA61-6CB408D8F320}" type="datetime'''''''''0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53ED04F8-E1C1-4452-BED5-0F9D2931456F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10123488" y="3054350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23EA710-AECE-4CC2-859F-26F05900216A}" type="datetime'1''''''''''''''''''''1''''''''''''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1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D73572F2-D795-41AA-A3EC-E25B2EBC596C}"/>
              </a:ext>
            </a:extLst>
          </p:cNvPr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1620838" y="2212975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EFC7EFB-0541-4347-859D-953C0EEC2956}" type="datetime'''''''''''''''5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E5F8385D-EDA3-4755-8458-30138AB028B8}"/>
              </a:ext>
            </a:extLst>
          </p:cNvPr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1522413" y="1595438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911617F-0FDE-432A-8EA8-917B78C6E30B}" type="datetime'''''''''''''1''''''''''''''''''''''''''''''0''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4C5E40F8-8F18-4809-8D25-0CDABD3437BB}"/>
              </a:ext>
            </a:extLst>
          </p:cNvPr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2647950" y="305435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75FD294-D6F5-4FBC-A82A-2FA5D7C40210}" type="datetime'1''0''''''''''''''''''''''''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1FFDA935-74C5-443D-B222-E0122334C58A}"/>
              </a:ext>
            </a:extLst>
          </p:cNvPr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1562100" y="3448050"/>
            <a:ext cx="2555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5384E3A-8D06-48D1-847F-C4675CEE6C30}" type="datetime'''''-''''''''''''''''''''''5''''''''''''''''''''''''0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AD6E2E30-DFA6-4589-A36C-B16B4F3BA15D}"/>
              </a:ext>
            </a:extLst>
          </p:cNvPr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3400425" y="305435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2D4FF95-F259-4654-9DDE-7E7D346CFA58}" type="datetime'''''''''''20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C688CAA-0E1A-49D2-A671-5AD6BA6393A6}"/>
              </a:ext>
            </a:extLst>
          </p:cNvPr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4152900" y="305435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985E411-6CA9-4C50-BAD8-A4AF80A1422E}" type="datetime'''''''''''3''''''''''''''''''''''''''''''''''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8188D807-713E-4CAB-B1DA-3F831E5C3C2F}"/>
              </a:ext>
            </a:extLst>
          </p:cNvPr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4905375" y="305435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3DFBE1B-6558-447D-8FC3-CBC31884AE61}" type="datetime'''''''''''4''''''''''''''''''''''''''''''''''0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30CD1BF2-E8A6-434A-97AE-BFB0C329091D}"/>
              </a:ext>
            </a:extLst>
          </p:cNvPr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6410325" y="305435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EF8C04F-F768-44F8-A491-6A569F64F563}" type="datetime'''''''''''''''''''''6''0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95236734-7038-43F0-8D3C-85ACA32CC686}"/>
              </a:ext>
            </a:extLst>
          </p:cNvPr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7162800" y="305435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E40033B-071C-4453-B305-B3FE2638C853}" type="datetime'''70''''''''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99F2A070-5A95-41B2-B052-B6D868E1A756}"/>
              </a:ext>
            </a:extLst>
          </p:cNvPr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7915275" y="305435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4505108-058D-4655-B0E5-CA574E485220}" type="datetime'''8''''''''''0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8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481BA5F4-F7FE-443D-B01B-50A217FBE4C6}"/>
              </a:ext>
            </a:extLst>
          </p:cNvPr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8667750" y="305435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85A1F3F-71E8-4D63-991E-3E77E66ACE8A}" type="datetime'''''''''''''''''''''''''9''''''''''''''''''''''0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9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172A815C-9C1E-42B7-876C-6FBEBA13F011}"/>
              </a:ext>
            </a:extLst>
          </p:cNvPr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10875963" y="3054350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2F15568-AE1D-41CB-B15E-8F0BDC559F80}" type="datetime'''''''''''''''''''''''''''''''''''''''''''1''''2''0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2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435" name="Rectangle 434">
            <a:extLst>
              <a:ext uri="{FF2B5EF4-FFF2-40B4-BE49-F238E27FC236}">
                <a16:creationId xmlns:a16="http://schemas.microsoft.com/office/drawing/2014/main" id="{C6476AC9-5B72-43F3-8010-553198B8A7F5}"/>
              </a:ext>
            </a:extLst>
          </p:cNvPr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5657850" y="305435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64FF167-5847-4211-873F-D3A7A728B683}" type="datetime'''''5''''''''''0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0D519791-4822-4CE7-8842-7EC8D8CE2826}"/>
              </a:ext>
            </a:extLst>
          </p:cNvPr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1944688" y="3054350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4851B02-2644-48D8-A493-997B286DB7BD}" type="datetime'''''''''''''''''''''''''''0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5798B984-1E8B-486D-A554-5EDCAE5BB4A9}"/>
              </a:ext>
            </a:extLst>
          </p:cNvPr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1463675" y="4065588"/>
            <a:ext cx="3540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E0004A0-0B94-443F-BE59-38E157ED9FC0}" type="datetime'''''-''''''''1''''0''''''''''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66070A31-A766-49A9-A448-3266890ECE68}"/>
              </a:ext>
            </a:extLst>
          </p:cNvPr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9371013" y="3054350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9037CF8-2840-4D33-B5A4-7D03D90BB578}" type="datetime'''''''''1''''''''0''''''''''''''''''0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EAE4FB6-CCC6-41F3-A9BA-360F40706DD1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 flipV="1">
            <a:off x="4079875" y="4171950"/>
            <a:ext cx="0" cy="1593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06B334B-38C8-45D6-A770-C2DFC5B10C6E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 flipV="1">
            <a:off x="10453688" y="4171950"/>
            <a:ext cx="0" cy="469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B94FA1-1788-420C-9A8C-953A7430548A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 flipV="1">
            <a:off x="6329363" y="4171950"/>
            <a:ext cx="0" cy="844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164CD85-3A21-4DD9-8091-85B8C8828673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 flipV="1">
            <a:off x="3214688" y="4171950"/>
            <a:ext cx="0" cy="844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7B8FAF0-1718-48B1-8395-60447A0574FA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 flipV="1">
            <a:off x="5275263" y="4171950"/>
            <a:ext cx="0" cy="13954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3D385022-9A6E-4480-97B8-DAF6E07AD4F7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 flipV="1">
            <a:off x="4414838" y="4171950"/>
            <a:ext cx="0" cy="21447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6C8EACF-B3E9-4330-B4BC-04A6B758E898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 flipV="1">
            <a:off x="4610100" y="4171950"/>
            <a:ext cx="0" cy="1770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401F50D-CA17-4950-9528-C47F4E03B9CD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 flipV="1">
            <a:off x="4210050" y="4171950"/>
            <a:ext cx="0" cy="19685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CF0449B-13BD-4846-9A9D-B62939FE4232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 flipV="1">
            <a:off x="2625725" y="4171950"/>
            <a:ext cx="0" cy="469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F96D67-5A44-413D-8888-F2BF68B9D9F7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 flipV="1">
            <a:off x="6675438" y="4171950"/>
            <a:ext cx="0" cy="6683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31A4FE6-F339-4D30-B265-B28517575175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 flipV="1">
            <a:off x="3746500" y="4171950"/>
            <a:ext cx="0" cy="1219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473DD89-D75D-4FF0-AD48-6DDFD3C789ED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 flipV="1">
            <a:off x="5961063" y="4171950"/>
            <a:ext cx="0" cy="1219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A09870AD-1AF4-49F8-986C-E030AA835A96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 flipV="1">
            <a:off x="10567988" y="4171950"/>
            <a:ext cx="0" cy="844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Rectangle 233">
            <a:extLst>
              <a:ext uri="{FF2B5EF4-FFF2-40B4-BE49-F238E27FC236}">
                <a16:creationId xmlns:a16="http://schemas.microsoft.com/office/drawing/2014/main" id="{FBE35771-33A4-4743-A63E-21A7420C2E17}"/>
              </a:ext>
            </a:extLst>
          </p:cNvPr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auto">
          <a:xfrm>
            <a:off x="5921375" y="5391150"/>
            <a:ext cx="14636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7317954-6902-4901-9842-17A37162A8DC}" type="datetime'A''''''u''''to''''''''''''m''ot''i''''ve ''''Reuse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utomotive Reus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FB91DD83-75E6-4BE9-B75A-164F7628A3D6}"/>
              </a:ext>
            </a:extLst>
          </p:cNvPr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auto">
          <a:xfrm>
            <a:off x="6053138" y="5016500"/>
            <a:ext cx="203517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C33224B-F870-475B-8C10-A7E82E1CC050}" type="datetime'Ot''he''r plastics low quality'' &#10;increased recyc''''lin''g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ther plastics low quality 
increased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0AD67B0E-0E24-4D86-913F-BB4B7DBCB727}"/>
              </a:ext>
            </a:extLst>
          </p:cNvPr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auto">
          <a:xfrm>
            <a:off x="2670175" y="6140450"/>
            <a:ext cx="15763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7855EFD-28C1-4AD3-A776-9A47663BBC89}" type="datetime'EE''E ''hi''g''h quali''''ty'' &#10;incr''eas''e''d r''ec''yclin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EE high quality 
increased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BA2C0D70-0AF7-4C5F-80DA-734396D0D5DF}"/>
              </a:ext>
            </a:extLst>
          </p:cNvPr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auto">
          <a:xfrm>
            <a:off x="6657975" y="4840288"/>
            <a:ext cx="7921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55EE154-B945-4229-B753-AA1386323163}" type="datetime'''''''''E''EE'''' ''''''''Re''''''''u''''''''''s''''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EE Reus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9B5FE283-5973-4147-A0C0-D3D91B3B9BF8}"/>
              </a:ext>
            </a:extLst>
          </p:cNvPr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auto">
          <a:xfrm>
            <a:off x="8099425" y="4289425"/>
            <a:ext cx="15668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EF6C819-1D6A-4582-8D6D-FC4828119EA8}" type="datetime'''Ch''em''''''''''i''''''''c''''al recycl''i''''''n''''''g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hemical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21A2B767-BC50-46AC-A276-94ABE1D8F421}"/>
              </a:ext>
            </a:extLst>
          </p:cNvPr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auto">
          <a:xfrm>
            <a:off x="4679950" y="5567363"/>
            <a:ext cx="18875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8EA57FF-EC1A-421E-917F-BAC1A0EFBE49}" type="datetime'Pac''''kagi''ng high quality'''' &#10;inc''re''a''sed recyclin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ackaging high quality 
increased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55D921E-8EB7-4595-A177-48DF33844F55}"/>
              </a:ext>
            </a:extLst>
          </p:cNvPr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auto">
          <a:xfrm>
            <a:off x="1885950" y="5016500"/>
            <a:ext cx="15763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D53C213-908B-40B1-9B9E-C2098EAF87E4}" type="datetime'B''&amp;C High ''''qu''ali''ty &#10;incr''eased re''cy''cl''in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&amp;C High quality 
increased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D399598B-F9B8-4496-B07A-87911E640613}"/>
              </a:ext>
            </a:extLst>
          </p:cNvPr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auto">
          <a:xfrm>
            <a:off x="965200" y="4641850"/>
            <a:ext cx="19510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872CE9F-8CF5-4B73-BE2C-76AA50864D2F}" type="datetime'High quality ''increased &#10;recycling (othe''r plas''ti''cs)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igh quality increased 
recycling (other plastics)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4721677-68D2-4A3C-A637-D728E611CD14}"/>
              </a:ext>
            </a:extLst>
          </p:cNvPr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auto">
          <a:xfrm>
            <a:off x="1403350" y="4465638"/>
            <a:ext cx="8810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C87AA5F-8768-4DC3-97E4-A8E8F37D0977}" type="datetime'''B''''''''''''&amp;C'''' R''''''''''e''''''''u''''''s''e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&amp;C Reus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2534CA89-300D-43A2-AFDE-0BF079DED0AC}"/>
              </a:ext>
            </a:extLst>
          </p:cNvPr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auto">
          <a:xfrm>
            <a:off x="8993188" y="4465638"/>
            <a:ext cx="13938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D918473-5783-4606-9247-8E7B1B494A86}" type="datetime'P''''''''a''''''ck''''agi''''''''n''''g'''' Reu''s''''e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ackaging Reus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6246C38-09B9-47D3-8F5D-8BB26BC8B7D1}"/>
              </a:ext>
            </a:extLst>
          </p:cNvPr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auto">
          <a:xfrm>
            <a:off x="612775" y="4289425"/>
            <a:ext cx="13938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C7690D4-ACD2-4058-9255-EF5EC485ABCF}" type="datetime'A''''''g''r''''ic''''ul''t''ur''''''e'''''' ''Re''u''s''e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griculture Reus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78CA6C60-7756-4489-AF41-96D789B1A78B}"/>
              </a:ext>
            </a:extLst>
          </p:cNvPr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auto">
          <a:xfrm>
            <a:off x="8650288" y="4641850"/>
            <a:ext cx="18208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7838348-D1BE-44D4-B653-51A36546B9C6}" type="datetime'Agricult''ure lo''w qualit''y'' &#10;''increased re''cyc''ling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griculture low quality 
increased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11B4D5A1-20BF-4EC9-9A97-846153F16CDA}"/>
              </a:ext>
            </a:extLst>
          </p:cNvPr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auto">
          <a:xfrm>
            <a:off x="2173288" y="5765800"/>
            <a:ext cx="19573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39BCEDE-07FF-4467-88E2-824E973FE911}" type="datetime'Autom''otive high ''qual''it''y &#10;''increased'' r''e''cyclin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utomotive high quality 
increased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16D28E7D-470F-43C5-A00B-BD1F2463ED2E}"/>
              </a:ext>
            </a:extLst>
          </p:cNvPr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auto">
          <a:xfrm>
            <a:off x="6743700" y="4465638"/>
            <a:ext cx="18208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F146378-9464-4CF5-969C-9E4F925AE812}" type="datetime'''Packaging low quali''ty &#10;in''cre''''''a''se''d ''recyclin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ackaging low quality 
increased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FD345C32-C1F4-4F32-8C70-7819CB89B9C1}"/>
              </a:ext>
            </a:extLst>
          </p:cNvPr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auto">
          <a:xfrm>
            <a:off x="2403475" y="5391150"/>
            <a:ext cx="15763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8DD3731-D540-49D0-B5F4-DF6C88F302B4}" type="datetime'B&amp;C ''''low ''q''ual''ity &#10;incr''ea''se''''d recycl''''i''n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&amp;C low quality 
increased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1E74234F-01ED-4991-92C8-AA43E28AF977}"/>
              </a:ext>
            </a:extLst>
          </p:cNvPr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auto">
          <a:xfrm>
            <a:off x="4291013" y="6316663"/>
            <a:ext cx="16081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12A033C-E2FC-4C6C-9D11-D2BFEAFD6D2C}" type="datetime'O''the''r'' pl''''''as''ti''cs'''''''''''' ''''Re''us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ther plastics Reus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53F5F6A4-C03F-4C23-99A3-D9621139443D}"/>
              </a:ext>
            </a:extLst>
          </p:cNvPr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auto">
          <a:xfrm>
            <a:off x="9623425" y="5016500"/>
            <a:ext cx="18907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93E7C02-926D-43BB-B971-4AC00A6E2583}" type="datetime'Autom''oti''v''e low qu''ality &#10;in''creased ''recycli''n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utomotive low quality 
increased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726177FE-5F50-4A25-BE2F-66CEB1AE4299}"/>
              </a:ext>
            </a:extLst>
          </p:cNvPr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auto">
          <a:xfrm>
            <a:off x="10666413" y="4289425"/>
            <a:ext cx="15763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BFD6D67-0E88-474A-862A-52568AFAE0D2}" type="datetime'EE''''''E ''''low quality &#10;''''increas''ed recyc''l''ing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EE low quality 
increased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150D4267-4EA4-4C1D-97BA-4279CB3DE9C9}"/>
              </a:ext>
            </a:extLst>
          </p:cNvPr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auto">
          <a:xfrm>
            <a:off x="4591050" y="5942013"/>
            <a:ext cx="18875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3D1EF89-5C68-4629-BC63-EBD0E3A1E29F}" type="datetime'''''Agricu''l''ture ''high qu''ality ''&#10;increased ''recyclin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griculture high quality 
increased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7" name="5. Source">
            <a:extLst>
              <a:ext uri="{FF2B5EF4-FFF2-40B4-BE49-F238E27FC236}">
                <a16:creationId xmlns:a16="http://schemas.microsoft.com/office/drawing/2014/main" id="{2CE4B490-5817-4775-BA1E-12482324B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 Economics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he circular economy: a powerful force for climate change 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C49B278-2D38-4D68-8776-A969C9151917}"/>
              </a:ext>
            </a:extLst>
          </p:cNvPr>
          <p:cNvGrpSpPr/>
          <p:nvPr/>
        </p:nvGrpSpPr>
        <p:grpSpPr>
          <a:xfrm>
            <a:off x="1084263" y="1011186"/>
            <a:ext cx="10930942" cy="495352"/>
            <a:chOff x="176793" y="1011186"/>
            <a:chExt cx="11838412" cy="495352"/>
          </a:xfrm>
        </p:grpSpPr>
        <p:sp>
          <p:nvSpPr>
            <p:cNvPr id="109" name="AutoShape 250">
              <a:extLst>
                <a:ext uri="{FF2B5EF4-FFF2-40B4-BE49-F238E27FC236}">
                  <a16:creationId xmlns:a16="http://schemas.microsoft.com/office/drawing/2014/main" id="{7F31AFBF-C42A-4E4E-B102-E17F0100D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794" y="1011186"/>
              <a:ext cx="11838411" cy="449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batement cost for plastics demand-size decarbonization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/tonne CO</a:t>
              </a:r>
              <a:r>
                <a:rPr kumimoji="0" lang="en-GB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 per year 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cxnSp>
          <p:nvCxnSpPr>
            <p:cNvPr id="110" name="AutoShape 249">
              <a:extLst>
                <a:ext uri="{FF2B5EF4-FFF2-40B4-BE49-F238E27FC236}">
                  <a16:creationId xmlns:a16="http://schemas.microsoft.com/office/drawing/2014/main" id="{4B521D01-280B-420D-93AD-D9EFB6A2E837}"/>
                </a:ext>
              </a:extLst>
            </p:cNvPr>
            <p:cNvCxnSpPr>
              <a:cxnSpLocks noChangeShapeType="1"/>
              <a:endCxn id="109" idx="6"/>
            </p:cNvCxnSpPr>
            <p:nvPr/>
          </p:nvCxnSpPr>
          <p:spPr bwMode="auto">
            <a:xfrm flipV="1">
              <a:off x="176793" y="1460540"/>
              <a:ext cx="11838412" cy="45998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7914915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843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1" name="think-cell Slide" r:id="rId49" imgW="449" imgH="450" progId="TCLayout.ActiveDocument.1">
                  <p:embed/>
                </p:oleObj>
              </mc:Choice>
              <mc:Fallback>
                <p:oleObj name="think-cell Slide" r:id="rId49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300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C397FB1-005D-4EA9-B1BF-600B6E9ED1B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259513" y="2922588"/>
            <a:ext cx="4254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8835AEC-6BDE-4E44-8506-1C053CAD1B0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302250" y="2506663"/>
            <a:ext cx="4254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AC4F618-0E84-4EDD-8A7A-A79D8569042F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344988" y="2171700"/>
            <a:ext cx="4254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2CA4F59-0775-48B3-8B62-5A805EDEDD0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386138" y="2008188"/>
            <a:ext cx="4254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8FF45731-92FF-48A4-8B9A-479AC111A346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134475" y="3884613"/>
            <a:ext cx="4254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A4536D7-5DCA-4DDB-9A94-54351C475B94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218363" y="3141663"/>
            <a:ext cx="4254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9972C4A-F9C4-4253-AFA2-9A940866204D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428875" y="1779588"/>
            <a:ext cx="4254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0" name="Chart 219">
            <a:extLst>
              <a:ext uri="{FF2B5EF4-FFF2-40B4-BE49-F238E27FC236}">
                <a16:creationId xmlns:a16="http://schemas.microsoft.com/office/drawing/2014/main" id="{15D277D2-6447-48D2-BD66-7EE4A60A36E1}"/>
              </a:ext>
            </a:extLst>
          </p:cNvPr>
          <p:cNvGraphicFramePr/>
          <p:nvPr>
            <p:custDataLst>
              <p:tags r:id="rId11"/>
            </p:custDataLst>
            <p:extLst/>
          </p:nvPr>
        </p:nvGraphicFramePr>
        <p:xfrm>
          <a:off x="642938" y="1697038"/>
          <a:ext cx="9744075" cy="4113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38E07BB7-AFA3-46C1-A906-D2C6167835B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4202113" y="1779588"/>
            <a:ext cx="61404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6D6A22B-E812-41D6-B910-8A3E4EA0A0D3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7908925" y="1776413"/>
            <a:ext cx="0" cy="112712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4C840F6-58AA-484F-868F-70058A0D2B1C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093325" y="3884613"/>
            <a:ext cx="249238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71295ED-FB1E-40F3-8373-9E8A8BDAA2E7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10304463" y="1776413"/>
            <a:ext cx="0" cy="211137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0DE207B5-B5EA-4423-82F0-360C99BA75FE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3386138" y="1779588"/>
            <a:ext cx="568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01E02E5A-2BB7-4E7E-80B1-A43A8A74D6F4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3386139" y="1779588"/>
            <a:ext cx="568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92B12B1A-3935-45E6-BCCA-5943023C7D8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4202113" y="1779588"/>
            <a:ext cx="374491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FEFC1A7B-20B6-4F43-BD98-EE76DA993A7E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898525" y="5783263"/>
            <a:ext cx="6096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4709ACF-FAE1-4747-8F9E-8933D3F6B1FE}" type="datetime'''''''''''''C''''''''''u''''''r''''''''''r''e''''n''''t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urren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5306920-85F7-4340-B2E8-1B3C5B23F5F5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1736725" y="5783263"/>
            <a:ext cx="8524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27CAEB5-68F4-472C-949A-32E28B7A0F09}" type="datetime'''Re''f''eren''ce'''' s''cen''a''''ri''''''o'''' 2''''0''50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ference scenario 205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C957C0E-DBAC-44D0-A5EA-B2E762CEB94A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9478963" y="5783263"/>
            <a:ext cx="693738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2840FE0-05F7-40D2-8EF7-4016CCDB4C2C}" type="datetime'''''''C''''irc''''u''la''r scenari''''o'' ''''beyond ''''2050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ircular scenario beyond 205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AEF8C7C-4990-4B76-9F9E-2B1B89E44601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3686175" y="5783263"/>
            <a:ext cx="7858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9A9D320-5413-4961-B755-41B4A1A606F0}" type="datetime'''''''W''''''a''s''t''''''e re''d''u''''''c''''''t''io''''''n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Waste redu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1339C72-BBA7-47D3-9EDC-7709C5DA32F1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744788" y="5783263"/>
            <a:ext cx="7493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BB7E3FB-64FB-4AE7-8CE6-D2D1C3DD772A}" type="datetime'''Cement ''''''r''ecy''''''cl''i''n''''''''''''''''''''''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BA6EAA6-A73C-4D92-9270-8A217D8A2CB1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4521200" y="5783263"/>
            <a:ext cx="10302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81305EF-E27F-4B7A-A957-85EE23ABF189}" type="datetime'Re''u''s''e ''''o''f ''''''bu''ilding ''''com''''p''o''nents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use of building component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D812DB1-9E6F-41F5-B460-FD92504BB16C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592763" y="5783263"/>
            <a:ext cx="8016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5420BEB-2657-40AD-861E-A38DA6A5B14F}" type="datetime'''''M''''''''at''e''r''i''a''''ls ''''e''''fficiency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Materials efficienc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DDE0A28-C904-471C-9C19-A918995EB420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8447088" y="5783263"/>
            <a:ext cx="84137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97907D4-0909-46AC-A757-AD65BE4288EE}" type="datetime'''Pr''o''l''''o''''''''nged ''''''''li''''fe''ti''''''me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rolonged lifetim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694C153-D788-4C2E-8431-9144CCAEF9B2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868988" y="2268538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20CDDBB-FD1B-4394-8518-76AFC87723BD}" type="datetime'''''''''''''''2''4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4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2F5CBAD-CF46-498B-848E-44EE26A232CC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1989139" y="1541463"/>
            <a:ext cx="3460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F6E8D4C-563C-49F8-95F5-A8F39BDDE346}" type="datetime'''''''2''''''''''''''3''''''''''''''''''''''''''1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31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6DF84F5-9F86-41C5-815E-A263809628B9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2995613" y="1541463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31A3168-D288-4712-AAB9-7800EE87572D}" type="datetime'''''''''''''1''''''''''''''3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4EE444-987D-492F-9758-9872DC9B452D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4911725" y="1933575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B3F18C3-03E1-4377-AF6A-AD5917F934D1}" type="datetime'''2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7AD3164-E935-4DEA-BD14-CDE1DAD47CFF}"/>
              </a:ext>
            </a:extLst>
          </p:cNvPr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7735888" y="2903538"/>
            <a:ext cx="3460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260908E-0F52-4382-98E9-7238A082ED8E}" type="datetime'''''''''''''1''''''''''''''''5''1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51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5C33F7F-D11E-4B1B-B4C2-F70D60EEAF41}"/>
              </a:ext>
            </a:extLst>
          </p:cNvPr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6651625" y="5783263"/>
            <a:ext cx="6016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442791D-C55E-4EE8-8200-4FB1E36A1359}" type="datetime'''S''h''''''''ar''''''''''''''''''i''ng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har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311466D-A53F-47B2-B50A-70CAD0B6F989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1030288" y="1936750"/>
            <a:ext cx="3460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0F56E47-1B4E-460D-8993-A8A24616E977}" type="datetime'''''''20''''8''''''''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8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F7676C4-73CD-4F38-80DD-F910A818825D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6827838" y="2684463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F06486D-DA66-44F9-BA5F-48B12F6D8EDD}" type="datetime'''''''''''''''''''''''''1''''''3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B44082F-AD89-4016-9C90-AD0B24AD34CA}"/>
              </a:ext>
            </a:extLst>
          </p:cNvPr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3954463" y="1770063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BE068B7-297A-407F-A81F-057E6717FA8B}" type="datetime'''''''''''''''''1''''''''''''''0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6CD8D67-BA72-4C26-8571-5DDF628CE086}"/>
              </a:ext>
            </a:extLst>
          </p:cNvPr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7515225" y="5783263"/>
            <a:ext cx="787400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786A3D5-13A6-4101-8022-2DAC4CEE3452}" type="datetime'Circul''''''ar e''c''o''''n''omy ''''s''cena''''ri''o ''2050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ircular economy scenario 205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01AA920F-0AE6-4777-94DE-4F6490734590}"/>
              </a:ext>
            </a:extLst>
          </p:cNvPr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7607300" y="2166938"/>
            <a:ext cx="6048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98D5FCC-D626-4864-B7CC-6114B17E6EBD}" type="datetime'''''''''''-''''''''''''''''3''4''%''''''''''''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34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E32345CA-5FF3-466C-9C32-530C431F3F39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10002838" y="2657475"/>
            <a:ext cx="6048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1DCEDAE-A031-4026-93AD-2F1F130DB6D9}" type="datetime'''''''''''-''53''%''''''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53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337AB9B-63F1-4E33-82E0-77934A6EB4BF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auto">
          <a:xfrm>
            <a:off x="8175625" y="3141663"/>
            <a:ext cx="4254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5. Source">
            <a:extLst>
              <a:ext uri="{FF2B5EF4-FFF2-40B4-BE49-F238E27FC236}">
                <a16:creationId xmlns:a16="http://schemas.microsoft.com/office/drawing/2014/main" id="{D6B1B159-62DB-4145-8AB4-AD32E98994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 Economics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he circular economy: a powerful force for climate change 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71" name="AutoShape 249">
            <a:extLst>
              <a:ext uri="{FF2B5EF4-FFF2-40B4-BE49-F238E27FC236}">
                <a16:creationId xmlns:a16="http://schemas.microsoft.com/office/drawing/2014/main" id="{211DED7C-AFB4-4CF7-91BA-FF045D3B840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52475" y="1495924"/>
            <a:ext cx="11109326" cy="244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3" name="Title 1">
            <a:extLst>
              <a:ext uri="{FF2B5EF4-FFF2-40B4-BE49-F238E27FC236}">
                <a16:creationId xmlns:a16="http://schemas.microsoft.com/office/drawing/2014/main" id="{62469331-7BC5-46C5-B766-15E7D1FFFB18}"/>
              </a:ext>
            </a:extLst>
          </p:cNvPr>
          <p:cNvSpPr txBox="1">
            <a:spLocks/>
          </p:cNvSpPr>
          <p:nvPr/>
        </p:nvSpPr>
        <p:spPr bwMode="auto">
          <a:xfrm>
            <a:off x="213606" y="132403"/>
            <a:ext cx="11232269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In Europe, CO</a:t>
            </a:r>
            <a:r>
              <a:rPr kumimoji="0" lang="en-GB" sz="2000" b="1" i="0" u="none" strike="noStrike" kern="1200" cap="none" spc="0" normalizeH="0" baseline="-2500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2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 emissions from materials used in buildings could be reduced by up to 53% </a:t>
            </a:r>
            <a:r>
              <a:rPr lang="en-GB" sz="2000" dirty="0">
                <a:solidFill>
                  <a:srgbClr val="004876"/>
                </a:solidFill>
                <a:latin typeface="Century Gothic"/>
              </a:rPr>
              <a:t>due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 to greater materials efficiency</a:t>
            </a:r>
            <a:endParaRPr kumimoji="0" lang="en-GB" sz="2000" b="0" i="0" u="none" strike="noStrike" kern="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Arial Unicode MS" pitchFamily="34" charset="-128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121FE68-DFB9-4CB4-A6BA-88AA5B08E418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0666413" y="1855788"/>
            <a:ext cx="250825" cy="187325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6882D5F-3669-42EA-A131-74E4168F60CF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10666413" y="2119313"/>
            <a:ext cx="250825" cy="187325"/>
          </a:xfrm>
          <a:prstGeom prst="rect">
            <a:avLst/>
          </a:prstGeom>
          <a:solidFill>
            <a:srgbClr val="C0C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3EB48732-891D-454A-9282-A101B8170639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10666413" y="2646363"/>
            <a:ext cx="250825" cy="187325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CC55D4EB-B54F-4423-BBA5-D3566693E038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0666413" y="2382838"/>
            <a:ext cx="250825" cy="18732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4C33DD7-9510-4592-BDB8-26E296B67646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10968038" y="2114550"/>
            <a:ext cx="8937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3BA6C45-D292-4F7F-A4F3-2B624E5EBEDB}" type="datetime'Al''''''''''''''''umi''n''''''i''u''''''''''''''m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luminium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DB1F87BC-B050-4FFF-8D44-6592CE8CA2E5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10968038" y="1851025"/>
            <a:ext cx="6080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5ACC220-C663-4CD6-89EA-2E09C8591143}" type="datetime'''''''''''''''''''P''l''a''''st''''''''i''c''''''''''''''''s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lastics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81657EEF-E16A-48BA-9DCA-AB643700909C}"/>
              </a:ext>
            </a:extLst>
          </p:cNvPr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10968038" y="2641600"/>
            <a:ext cx="711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CF5EAC5-3C42-4564-8A7B-5BC93DB6B092}" type="datetime'''''Ce''''''m''e''''''''n''''''''''''''''''t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9BF3CB83-D232-47FC-943A-6FD90A7757C7}"/>
              </a:ext>
            </a:extLst>
          </p:cNvPr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10968039" y="2378075"/>
            <a:ext cx="4159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92BC723-9FF9-4A9F-8F92-34193C09A4F7}" type="datetime'''''''''''S''t''e''''''''''e''''''l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teel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5" name="AutoShape 250">
            <a:extLst>
              <a:ext uri="{FF2B5EF4-FFF2-40B4-BE49-F238E27FC236}">
                <a16:creationId xmlns:a16="http://schemas.microsoft.com/office/drawing/2014/main" id="{A8E7EE4F-7275-4ED4-8571-221FC318B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101" y="1046814"/>
            <a:ext cx="11589903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uropean CO</a:t>
            </a:r>
            <a:r>
              <a:rPr kumimoji="0" lang="en-GB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emissions from materials used in building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t 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per year 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960816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5" name="think-cell Slide" r:id="rId24" imgW="449" imgH="450" progId="TCLayout.ActiveDocument.1">
                  <p:embed/>
                </p:oleObj>
              </mc:Choice>
              <mc:Fallback>
                <p:oleObj name="think-cell Slide" r:id="rId24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30F5A4-7B87-4EE6-B387-A65337FC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32" y="127772"/>
            <a:ext cx="11839586" cy="615553"/>
          </a:xfrm>
        </p:spPr>
        <p:txBody>
          <a:bodyPr/>
          <a:lstStyle/>
          <a:p>
            <a:r>
              <a:rPr lang="en-GB" sz="2000" dirty="0"/>
              <a:t>Global emissions from cement production could be reduced by circa 35% by 2050 in a circular scenario with some recycling and significant materials efficiency improvement in buildings</a:t>
            </a:r>
            <a:endParaRPr lang="en-GB" sz="1800" b="0" baseline="-250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7D744F6F-9BED-4E86-9290-6441069B85C4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1490663" y="2044700"/>
          <a:ext cx="9848850" cy="4157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15" name="Text Placeholder 12">
            <a:extLst>
              <a:ext uri="{FF2B5EF4-FFF2-40B4-BE49-F238E27FC236}">
                <a16:creationId xmlns:a16="http://schemas.microsoft.com/office/drawing/2014/main" id="{CC27E293-B99E-4BF1-9802-E540DC596E5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435100" y="5218113"/>
            <a:ext cx="230188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E54E3429-A758-4D62-909A-4433C6CBEC6D}" type="datetime'''''''''''''''''0''''''''''.''''''''5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0.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116" name="Text Placeholder 12">
            <a:extLst>
              <a:ext uri="{FF2B5EF4-FFF2-40B4-BE49-F238E27FC236}">
                <a16:creationId xmlns:a16="http://schemas.microsoft.com/office/drawing/2014/main" id="{042FAE5F-D8EC-4B9E-BE6A-5E028E75A1D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435100" y="4154488"/>
            <a:ext cx="230188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2F9803FD-C300-45BB-9C94-B820FB3AEB9F}" type="datetime'''''''''''''''1''.''''''''''''''5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1.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114" name="Text Placeholder 12">
            <a:extLst>
              <a:ext uri="{FF2B5EF4-FFF2-40B4-BE49-F238E27FC236}">
                <a16:creationId xmlns:a16="http://schemas.microsoft.com/office/drawing/2014/main" id="{DBCB8380-AFF3-4DBA-B05D-CFDFA7A6E6B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435100" y="2028825"/>
            <a:ext cx="230188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329F5F01-7CAC-4BB9-AE13-A0AB37C74953}" type="datetime'3''''''''''''''.''''''''''5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3.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117" name="Text Placeholder 12">
            <a:extLst>
              <a:ext uri="{FF2B5EF4-FFF2-40B4-BE49-F238E27FC236}">
                <a16:creationId xmlns:a16="http://schemas.microsoft.com/office/drawing/2014/main" id="{8A196047-FCCF-410D-AF57-2CF9BCB58D6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435100" y="3092450"/>
            <a:ext cx="230188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EBA888FD-3382-45D8-A156-6EF275C77D1C}" type="datetime'''2''''''''''''''''''.''''5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2.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3348FEB2-C36B-47EE-A22C-A8D8A9CDCDD1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0998200" y="2198688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5DC7A958-DEE1-4415-A8E8-1A386C39FAD2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0998200" y="2741613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4E4966EE-789D-4BF1-B039-6EE8B1AA8343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11074400" y="2195514"/>
            <a:ext cx="0" cy="5492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CF355202-05FA-4673-BFAF-F70E6AAA4A7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998200" y="2741613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0A6E9571-2BDA-4816-8CBC-AC17FEEBC3C0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998200" y="3808413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F53A459B-15D6-4C87-B6E9-906D620D2323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11074400" y="2738438"/>
            <a:ext cx="0" cy="10731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 Placeholder 12">
            <a:extLst>
              <a:ext uri="{FF2B5EF4-FFF2-40B4-BE49-F238E27FC236}">
                <a16:creationId xmlns:a16="http://schemas.microsoft.com/office/drawing/2014/main" id="{583BB68B-938F-4274-BD92-EA6538FF0A0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1164889" y="2319338"/>
            <a:ext cx="587375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anchor="ctr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AD211D92-DC80-416A-AFEE-DF557F78E62F}" type="datetime'''''''''-''''''''''''1''''''''''''5''''''%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-15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sp>
        <p:nvSpPr>
          <p:cNvPr id="125" name="Text Placeholder 12">
            <a:extLst>
              <a:ext uri="{FF2B5EF4-FFF2-40B4-BE49-F238E27FC236}">
                <a16:creationId xmlns:a16="http://schemas.microsoft.com/office/drawing/2014/main" id="{B8D918CB-1797-4CBA-97B3-F4D5FA2B28F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164889" y="3124200"/>
            <a:ext cx="587375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anchor="ctr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C93CEB3F-4D15-46C6-95A3-49C36DAA0754}" type="datetime'''''-''''3''4''''''''''''%''''''''''''''''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-34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2C8EF0A8-D63E-408A-9F82-A2B0253773FA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8594725" y="1539875"/>
            <a:ext cx="231775" cy="0"/>
          </a:xfrm>
          <a:prstGeom prst="line">
            <a:avLst/>
          </a:prstGeom>
          <a:ln w="19050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B1ED9E7D-EF1F-4422-BE80-E387DA64194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8594725" y="1290638"/>
            <a:ext cx="231775" cy="0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5E614CC4-29DA-446D-9C6A-764BB2DDFFCA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8594725" y="1041400"/>
            <a:ext cx="231775" cy="0"/>
          </a:xfrm>
          <a:prstGeom prst="line">
            <a:avLst/>
          </a:prstGeom>
          <a:ln w="19050" cap="flat" cmpd="sng" algn="ctr">
            <a:solidFill>
              <a:srgbClr val="4C6C9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 Placeholder 12">
            <a:extLst>
              <a:ext uri="{FF2B5EF4-FFF2-40B4-BE49-F238E27FC236}">
                <a16:creationId xmlns:a16="http://schemas.microsoft.com/office/drawing/2014/main" id="{1F6409B8-471C-4CC5-9827-0F343004F86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877300" y="1198563"/>
            <a:ext cx="20542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j-lt"/>
              </a:rPr>
              <a:t>Current practice scenario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j-lt"/>
            </a:endParaRPr>
          </a:p>
        </p:txBody>
      </p:sp>
      <p:sp>
        <p:nvSpPr>
          <p:cNvPr id="130" name="Text Placeholder 12">
            <a:extLst>
              <a:ext uri="{FF2B5EF4-FFF2-40B4-BE49-F238E27FC236}">
                <a16:creationId xmlns:a16="http://schemas.microsoft.com/office/drawing/2014/main" id="{33650ED4-2A91-4820-A4CF-7749313DA53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877300" y="949325"/>
            <a:ext cx="12414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fld id="{66EA3B56-BE59-4F2B-BE09-8FF560C53147}" type="datetime'''''''F''r''''''''''''''oze''''n'''' scena''''r''io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j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6002A"/>
                </a:buClr>
                <a:buSzTx/>
                <a:buFont typeface="Georgia"/>
                <a:buNone/>
                <a:tabLst/>
                <a:defRPr/>
              </a:pPr>
              <a:t>Frozen scenario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j-lt"/>
            </a:endParaRPr>
          </a:p>
        </p:txBody>
      </p:sp>
      <p:sp>
        <p:nvSpPr>
          <p:cNvPr id="129" name="Text Placeholder 12">
            <a:extLst>
              <a:ext uri="{FF2B5EF4-FFF2-40B4-BE49-F238E27FC236}">
                <a16:creationId xmlns:a16="http://schemas.microsoft.com/office/drawing/2014/main" id="{2B358197-F189-40FE-8E0D-925DFF6F62C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877300" y="1447800"/>
            <a:ext cx="13462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8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•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rtl="0" eaLnBrk="1" latinLnBrk="0" hangingPunct="1">
              <a:spcBef>
                <a:spcPts val="6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rtl="0" eaLnBrk="1" latinLnBrk="0" hangingPunct="1">
              <a:spcBef>
                <a:spcPts val="300"/>
              </a:spcBef>
              <a:buClr>
                <a:srgbClr val="A6002A"/>
              </a:buClr>
              <a:buFont typeface="Georgia"/>
              <a:buChar char="▫"/>
              <a:defRPr kumimoji="0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002A"/>
              </a:buClr>
              <a:buSzTx/>
              <a:buFont typeface="Georgia"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Arial" panose="020B0604020202020204" pitchFamily="34" charset="0"/>
                <a:sym typeface="+mj-lt"/>
              </a:rPr>
              <a:t>Circular scenario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  <a:sym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A0B6975-4487-431F-A35D-DABDB6321BC9}"/>
              </a:ext>
            </a:extLst>
          </p:cNvPr>
          <p:cNvGrpSpPr/>
          <p:nvPr/>
        </p:nvGrpSpPr>
        <p:grpSpPr>
          <a:xfrm>
            <a:off x="1439863" y="1279281"/>
            <a:ext cx="11616313" cy="470977"/>
            <a:chOff x="1439863" y="1078290"/>
            <a:chExt cx="11616313" cy="470977"/>
          </a:xfrm>
        </p:grpSpPr>
        <p:cxnSp>
          <p:nvCxnSpPr>
            <p:cNvPr id="36" name="AutoShape 249">
              <a:extLst>
                <a:ext uri="{FF2B5EF4-FFF2-40B4-BE49-F238E27FC236}">
                  <a16:creationId xmlns:a16="http://schemas.microsoft.com/office/drawing/2014/main" id="{F46E1802-3C1C-457A-A639-A7DD4091D0A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1439863" y="1520810"/>
              <a:ext cx="10338921" cy="28457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250">
              <a:extLst>
                <a:ext uri="{FF2B5EF4-FFF2-40B4-BE49-F238E27FC236}">
                  <a16:creationId xmlns:a16="http://schemas.microsoft.com/office/drawing/2014/main" id="{7A189545-09AB-453B-BD84-E16272169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6273" y="1078290"/>
              <a:ext cx="11589903" cy="449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lobal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O</a:t>
              </a:r>
              <a:r>
                <a:rPr kumimoji="0" lang="en-US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 emissions from cement production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t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O</a:t>
              </a:r>
              <a:r>
                <a:rPr kumimoji="0" lang="en-US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 per year </a:t>
              </a:r>
              <a:endPara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31" name="5. Source">
            <a:extLst>
              <a:ext uri="{FF2B5EF4-FFF2-40B4-BE49-F238E27FC236}">
                <a16:creationId xmlns:a16="http://schemas.microsoft.com/office/drawing/2014/main" id="{F703CE5A-CE58-4539-8421-7DF1DB71DB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99" y="6184585"/>
            <a:ext cx="12059619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Frozen scenario based on constant carbon intensity of cement production; Current practice scenario based on IEA 2DS reduction of cement production carbon intensity; Circular scenario based on 20% cement recycling by 2050, demand reduction in buildings and drop in cement use in infrastructures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 Economics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195098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0" name="Object 119" hidden="1">
            <a:extLst>
              <a:ext uri="{FF2B5EF4-FFF2-40B4-BE49-F238E27FC236}">
                <a16:creationId xmlns:a16="http://schemas.microsoft.com/office/drawing/2014/main" id="{8E1E47EC-3634-4B22-B94A-98ACF4529E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003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9"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120" name="Object 119" hidden="1">
                        <a:extLst>
                          <a:ext uri="{FF2B5EF4-FFF2-40B4-BE49-F238E27FC236}">
                            <a16:creationId xmlns:a16="http://schemas.microsoft.com/office/drawing/2014/main" id="{8E1E47EC-3634-4B22-B94A-98ACF4529E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Rectangle 118" hidden="1">
            <a:extLst>
              <a:ext uri="{FF2B5EF4-FFF2-40B4-BE49-F238E27FC236}">
                <a16:creationId xmlns:a16="http://schemas.microsoft.com/office/drawing/2014/main" id="{93E8E124-4ADC-4452-A284-EA93F078E27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200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5D2B58-6B3B-4066-825C-C18C560D6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124782"/>
            <a:ext cx="7219489" cy="628121"/>
          </a:xfrm>
        </p:spPr>
        <p:txBody>
          <a:bodyPr/>
          <a:lstStyle/>
          <a:p>
            <a:r>
              <a:rPr lang="en-GB" dirty="0"/>
              <a:t>ETC illustrative pathway – </a:t>
            </a:r>
            <a:br>
              <a:rPr lang="en-GB" dirty="0"/>
            </a:br>
            <a:r>
              <a:rPr lang="en-GB" dirty="0"/>
              <a:t>Final energy mix in a zero-carbon economy</a:t>
            </a: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0DB04927-ED7E-4ADF-92DB-A3A9855DA12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49964424"/>
              </p:ext>
            </p:extLst>
          </p:nvPr>
        </p:nvGraphicFramePr>
        <p:xfrm>
          <a:off x="3676650" y="1436688"/>
          <a:ext cx="8215313" cy="5108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65" name="Rectangle 164">
            <a:extLst>
              <a:ext uri="{FF2B5EF4-FFF2-40B4-BE49-F238E27FC236}">
                <a16:creationId xmlns:a16="http://schemas.microsoft.com/office/drawing/2014/main" id="{5861300F-3E0A-4E7D-985D-70943F7EDC79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0802938" y="5842000"/>
            <a:ext cx="246063" cy="182563"/>
          </a:xfrm>
          <a:prstGeom prst="rect">
            <a:avLst/>
          </a:prstGeom>
          <a:solidFill>
            <a:srgbClr val="9B7AB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5E4D83F-9EB3-4568-A9FE-B138446DD49E}" type="datetime'''''''''''''''''''''''''''''''''''''''''''2''''''''''''%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%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3BEC6F49-CDFB-42C9-AF03-7C29706A8D36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1642725" y="5842000"/>
            <a:ext cx="246063" cy="182563"/>
          </a:xfrm>
          <a:prstGeom prst="rect">
            <a:avLst/>
          </a:prstGeom>
          <a:solidFill>
            <a:srgbClr val="4A2260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75880CF-4528-454C-8A68-8E3BD2F9955A}" type="datetime'1''''''''''''%''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%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C85AF845-1632-4BEE-887D-EC9640F0AE9F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1644313" y="6196013"/>
            <a:ext cx="246063" cy="182563"/>
          </a:xfrm>
          <a:prstGeom prst="rect">
            <a:avLst/>
          </a:prstGeom>
          <a:solidFill>
            <a:srgbClr val="4A2260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2C9E24C-3341-4330-9E49-5956BC0F0173}" type="datetime'''''''''''''''''1''''''''%''''''''''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%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0307FD23-9906-4C8E-9362-381B1282B8EF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0875963" y="6196013"/>
            <a:ext cx="246063" cy="182563"/>
          </a:xfrm>
          <a:prstGeom prst="rect">
            <a:avLst/>
          </a:prstGeom>
          <a:solidFill>
            <a:srgbClr val="9B7AB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2CB93B4-F354-4FB4-BA6F-2130C99A6E56}" type="datetime'''''2''''''''''''''%''''''''''''''''''''''''''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%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57713D6B-B0FB-4E00-96DE-2B394471B6BE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610600" y="146050"/>
            <a:ext cx="214313" cy="160338"/>
          </a:xfrm>
          <a:prstGeom prst="rect">
            <a:avLst/>
          </a:prstGeom>
          <a:solidFill>
            <a:srgbClr val="9B7AB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BAFB16AD-9CE5-4E85-B95D-463DC4C6FF0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019925" y="146050"/>
            <a:ext cx="214313" cy="160338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08038F6F-B0A6-45E6-AC2E-6E351C349BA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019925" y="612775"/>
            <a:ext cx="214313" cy="160338"/>
          </a:xfrm>
          <a:prstGeom prst="rect">
            <a:avLst/>
          </a:prstGeom>
          <a:solidFill>
            <a:srgbClr val="C2AF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2FBFC902-6AF6-489A-BDF1-CBD6DE0B6F5D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019925" y="379413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6D4C193F-6B7F-4406-A644-BC3EEA9AF72F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610600" y="379413"/>
            <a:ext cx="214313" cy="16033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42589BEF-9340-4298-B6F0-07B1C5E5B7D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610600" y="612775"/>
            <a:ext cx="214313" cy="160338"/>
          </a:xfrm>
          <a:prstGeom prst="rect">
            <a:avLst/>
          </a:prstGeom>
          <a:solidFill>
            <a:srgbClr val="4A22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C8DF23A7-6B6A-4B51-87AF-7E0BCCA255C8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285038" y="141288"/>
            <a:ext cx="12239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BB32090-8A7D-4E0F-BD99-D75913A87BC8}" type="datetime'Fo''ssi''''''l'' f''u''''e''''l''s'''''' +'' C''''''''''CS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Fossil fuels + CCS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57A78C7A-1521-40AE-8919-1D97F937E5AA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8875713" y="608013"/>
            <a:ext cx="5778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6A871CB-0290-4994-9095-0B0BFE0DA018}" type="datetime'''''''''''''Synf''''''''''''''ue''''''''''l''''''''s'''''"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ynfuels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2891B829-F23E-4563-8026-63975EEFB647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285038" y="374650"/>
            <a:ext cx="6985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3895DBE-ECB1-4165-82CA-9C84A138004B}" type="datetime'''''''El''e''''''c''''t''''r''''''i''''c''i''''''t''y'"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lectricity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9159F477-0F50-4555-89B8-BB4287EEDE38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8875713" y="141288"/>
            <a:ext cx="7270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F9AD7D7-6AFC-4E5C-82E6-D3CD7AE2642B}" type="datetime'A''m''mo''''''''''''''''''''''ni''''''a'''''''''''"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mmonia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671E8409-F5D6-4F0B-857D-8EA5E9015D4A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285038" y="608013"/>
            <a:ext cx="7318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BB01FE7-F630-4A8E-8EA9-A6E3D2C81529}" type="datetime'''''''''''H''''''''''yd''''ro''''g''''''e''n'''''''''''"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ydrogen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19D19BE6-C29E-473D-8AA4-01E94EC46EAB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8875713" y="374650"/>
            <a:ext cx="21463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2AF426B-EB6C-4B4C-9B81-FEA95FAC6525}" type="datetime'Bioe''n''''er''g''''''y'''' ''and b''io-f''''eed''''''sto''ck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ioenergy and bio-feedstock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5727D63-A4A8-4F00-BEEF-FA6AB43F8684}"/>
              </a:ext>
            </a:extLst>
          </p:cNvPr>
          <p:cNvCxnSpPr>
            <a:cxnSpLocks/>
          </p:cNvCxnSpPr>
          <p:nvPr/>
        </p:nvCxnSpPr>
        <p:spPr>
          <a:xfrm>
            <a:off x="141289" y="1857066"/>
            <a:ext cx="10031264" cy="0"/>
          </a:xfrm>
          <a:prstGeom prst="lin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98A9C83-A657-471D-B4C5-7B42352A3CF9}"/>
              </a:ext>
            </a:extLst>
          </p:cNvPr>
          <p:cNvCxnSpPr>
            <a:cxnSpLocks/>
          </p:cNvCxnSpPr>
          <p:nvPr/>
        </p:nvCxnSpPr>
        <p:spPr>
          <a:xfrm>
            <a:off x="3763963" y="1429314"/>
            <a:ext cx="8124825" cy="2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EF1436A0-9CBA-468E-8523-4794DE1DEEC7}"/>
              </a:ext>
            </a:extLst>
          </p:cNvPr>
          <p:cNvSpPr/>
          <p:nvPr/>
        </p:nvSpPr>
        <p:spPr>
          <a:xfrm>
            <a:off x="137810" y="5802472"/>
            <a:ext cx="3528000" cy="25200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TAL Supply-side pathway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1CCB70A0-3F80-43A3-8647-1CC21328D516}"/>
              </a:ext>
            </a:extLst>
          </p:cNvPr>
          <p:cNvSpPr/>
          <p:nvPr/>
        </p:nvSpPr>
        <p:spPr>
          <a:xfrm>
            <a:off x="137810" y="6155549"/>
            <a:ext cx="3528000" cy="25200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TAL Supply-side + Efficiency pathwa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F733D34-122C-4207-AAA2-4A3349E3871D}"/>
              </a:ext>
            </a:extLst>
          </p:cNvPr>
          <p:cNvSpPr/>
          <p:nvPr/>
        </p:nvSpPr>
        <p:spPr>
          <a:xfrm>
            <a:off x="137810" y="5449393"/>
            <a:ext cx="3528000" cy="252000"/>
          </a:xfrm>
          <a:prstGeom prst="rect">
            <a:avLst/>
          </a:prstGeom>
          <a:solidFill>
            <a:srgbClr val="95A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ther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EA5E457-779E-4F77-9941-82307B95634F}"/>
              </a:ext>
            </a:extLst>
          </p:cNvPr>
          <p:cNvSpPr/>
          <p:nvPr/>
        </p:nvSpPr>
        <p:spPr>
          <a:xfrm>
            <a:off x="137810" y="5096314"/>
            <a:ext cx="3528000" cy="252000"/>
          </a:xfrm>
          <a:prstGeom prst="rect">
            <a:avLst/>
          </a:prstGeom>
          <a:solidFill>
            <a:srgbClr val="95A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gricultur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0A8CD4B-BCF5-42BB-8EE0-89F1767CB83A}"/>
              </a:ext>
            </a:extLst>
          </p:cNvPr>
          <p:cNvSpPr/>
          <p:nvPr/>
        </p:nvSpPr>
        <p:spPr>
          <a:xfrm>
            <a:off x="137810" y="4743235"/>
            <a:ext cx="3528000" cy="252000"/>
          </a:xfrm>
          <a:prstGeom prst="rect">
            <a:avLst/>
          </a:prstGeom>
          <a:solidFill>
            <a:srgbClr val="95A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uilding heating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0808F33D-3621-4FFF-9CF3-9A01F80C82A5}"/>
              </a:ext>
            </a:extLst>
          </p:cNvPr>
          <p:cNvSpPr/>
          <p:nvPr/>
        </p:nvSpPr>
        <p:spPr>
          <a:xfrm>
            <a:off x="137810" y="4390156"/>
            <a:ext cx="3528000" cy="252000"/>
          </a:xfrm>
          <a:prstGeom prst="rect">
            <a:avLst/>
          </a:prstGeom>
          <a:solidFill>
            <a:srgbClr val="95A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iation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167188ED-F98E-4393-B313-B4E4C43DD108}"/>
              </a:ext>
            </a:extLst>
          </p:cNvPr>
          <p:cNvSpPr/>
          <p:nvPr/>
        </p:nvSpPr>
        <p:spPr>
          <a:xfrm>
            <a:off x="137810" y="4037077"/>
            <a:ext cx="3528000" cy="252000"/>
          </a:xfrm>
          <a:prstGeom prst="rect">
            <a:avLst/>
          </a:prstGeom>
          <a:solidFill>
            <a:srgbClr val="95A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9DD86AB2-611C-495C-9797-E5769A7A916F}"/>
              </a:ext>
            </a:extLst>
          </p:cNvPr>
          <p:cNvSpPr/>
          <p:nvPr/>
        </p:nvSpPr>
        <p:spPr>
          <a:xfrm>
            <a:off x="137810" y="3683998"/>
            <a:ext cx="3528000" cy="252000"/>
          </a:xfrm>
          <a:prstGeom prst="rect">
            <a:avLst/>
          </a:prstGeom>
          <a:solidFill>
            <a:srgbClr val="95A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-duty transport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1252EC8-BF6A-46A4-A320-A29330C00E3E}"/>
              </a:ext>
            </a:extLst>
          </p:cNvPr>
          <p:cNvSpPr/>
          <p:nvPr/>
        </p:nvSpPr>
        <p:spPr>
          <a:xfrm>
            <a:off x="137810" y="3330919"/>
            <a:ext cx="3528000" cy="252000"/>
          </a:xfrm>
          <a:prstGeom prst="rect">
            <a:avLst/>
          </a:prstGeom>
          <a:solidFill>
            <a:srgbClr val="95A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ight-duty transport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5EDBB10-B4DF-47BC-A43F-1881A7E4469E}"/>
              </a:ext>
            </a:extLst>
          </p:cNvPr>
          <p:cNvSpPr/>
          <p:nvPr/>
        </p:nvSpPr>
        <p:spPr>
          <a:xfrm>
            <a:off x="137810" y="2977840"/>
            <a:ext cx="3528000" cy="252000"/>
          </a:xfrm>
          <a:prstGeom prst="rect">
            <a:avLst/>
          </a:prstGeom>
          <a:solidFill>
            <a:srgbClr val="95A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ther industrie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AFCC5795-6817-4927-8B6D-9143CDE6878F}"/>
              </a:ext>
            </a:extLst>
          </p:cNvPr>
          <p:cNvSpPr/>
          <p:nvPr/>
        </p:nvSpPr>
        <p:spPr>
          <a:xfrm>
            <a:off x="137810" y="2624761"/>
            <a:ext cx="3528000" cy="252000"/>
          </a:xfrm>
          <a:prstGeom prst="rect">
            <a:avLst/>
          </a:prstGeom>
          <a:solidFill>
            <a:srgbClr val="95A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micals – feedstock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4EEE2E0-1BCF-479E-9E58-908F5B1B702D}"/>
              </a:ext>
            </a:extLst>
          </p:cNvPr>
          <p:cNvSpPr/>
          <p:nvPr/>
        </p:nvSpPr>
        <p:spPr>
          <a:xfrm>
            <a:off x="137810" y="2271682"/>
            <a:ext cx="3528000" cy="252000"/>
          </a:xfrm>
          <a:prstGeom prst="rect">
            <a:avLst/>
          </a:prstGeom>
          <a:solidFill>
            <a:srgbClr val="95A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micals – energy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4F24EC74-F41E-436D-9B7A-BD61A1E8FED0}"/>
              </a:ext>
            </a:extLst>
          </p:cNvPr>
          <p:cNvSpPr/>
          <p:nvPr/>
        </p:nvSpPr>
        <p:spPr>
          <a:xfrm>
            <a:off x="137810" y="1918603"/>
            <a:ext cx="3528000" cy="252000"/>
          </a:xfrm>
          <a:prstGeom prst="rect">
            <a:avLst/>
          </a:prstGeom>
          <a:solidFill>
            <a:srgbClr val="95A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teel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5533441-F3D6-4BAE-A1EF-D80D1B86DDF9}"/>
              </a:ext>
            </a:extLst>
          </p:cNvPr>
          <p:cNvSpPr/>
          <p:nvPr/>
        </p:nvSpPr>
        <p:spPr>
          <a:xfrm>
            <a:off x="137810" y="1565524"/>
            <a:ext cx="3528000" cy="252000"/>
          </a:xfrm>
          <a:prstGeom prst="rect">
            <a:avLst/>
          </a:prstGeom>
          <a:solidFill>
            <a:srgbClr val="95A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ement</a:t>
            </a:r>
          </a:p>
        </p:txBody>
      </p:sp>
      <p:sp>
        <p:nvSpPr>
          <p:cNvPr id="82" name="5. Source">
            <a:extLst>
              <a:ext uri="{FF2B5EF4-FFF2-40B4-BE49-F238E27FC236}">
                <a16:creationId xmlns:a16="http://schemas.microsoft.com/office/drawing/2014/main" id="{EBECE79E-D9DA-4EF6-A193-4ADE8739F0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SYSTEMIQ analysis for th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ransitions Commission analysis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3" name="AutoShape 250">
            <a:extLst>
              <a:ext uri="{FF2B5EF4-FFF2-40B4-BE49-F238E27FC236}">
                <a16:creationId xmlns:a16="http://schemas.microsoft.com/office/drawing/2014/main" id="{7DF1AC6F-ACC3-4C78-83AC-8C22698FD3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3962" y="965537"/>
            <a:ext cx="8124825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Final energy consumption by energy source in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a net-zero-CO</a:t>
            </a:r>
            <a:r>
              <a:rPr kumimoji="0" lang="en-GB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emissions economy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50, % </a:t>
            </a:r>
          </a:p>
        </p:txBody>
      </p:sp>
    </p:spTree>
    <p:extLst>
      <p:ext uri="{BB962C8B-B14F-4D97-AF65-F5344CB8AC3E}">
        <p14:creationId xmlns:p14="http://schemas.microsoft.com/office/powerpoint/2010/main" val="220026095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>
            <a:extLst>
              <a:ext uri="{FF2B5EF4-FFF2-40B4-BE49-F238E27FC236}">
                <a16:creationId xmlns:a16="http://schemas.microsoft.com/office/drawing/2014/main" id="{BDE2CB06-524D-4588-A765-2208F44F30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3" name="think-cell Slide" r:id="rId33" imgW="395" imgH="394" progId="TCLayout.ActiveDocument.1">
                  <p:embed/>
                </p:oleObj>
              </mc:Choice>
              <mc:Fallback>
                <p:oleObj name="think-cell Slide" r:id="rId33" imgW="395" imgH="394" progId="TCLayout.ActiveDocument.1">
                  <p:embed/>
                  <p:pic>
                    <p:nvPicPr>
                      <p:cNvPr id="67" name="Object 66" hidden="1">
                        <a:extLst>
                          <a:ext uri="{FF2B5EF4-FFF2-40B4-BE49-F238E27FC236}">
                            <a16:creationId xmlns:a16="http://schemas.microsoft.com/office/drawing/2014/main" id="{BDE2CB06-524D-4588-A765-2208F44F3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107274D8-84D2-4804-B902-2DE7461C886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cs typeface="+mn-cs"/>
              <a:sym typeface="+mn-lt"/>
            </a:endParaRP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A8F8D7A2-2427-448B-9BF2-C18793633795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546100" y="2141538"/>
          <a:ext cx="7508875" cy="3459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45" name="Rectangle 44">
            <a:extLst>
              <a:ext uri="{FF2B5EF4-FFF2-40B4-BE49-F238E27FC236}">
                <a16:creationId xmlns:a16="http://schemas.microsoft.com/office/drawing/2014/main" id="{BF10FA5A-9ED4-42B0-A0D8-A4AAF07017C7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551363" y="5573713"/>
            <a:ext cx="13350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6371147-608A-4B3F-9E8F-7D3956ECE277}" type="datetime'E''TC ''s''upply-''side &#10;d''eca''rboni''''zation''''&#10;pathwa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TC supply-side 
decarbonization
pathwa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A7A56B09-179E-42CC-973C-6CBF7AAE7CDF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476375" y="3081338"/>
            <a:ext cx="139700" cy="198438"/>
          </a:xfrm>
          <a:prstGeom prst="rect">
            <a:avLst/>
          </a:prstGeom>
          <a:solidFill>
            <a:srgbClr val="9DB1C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D2604B3-B9AE-493B-87F2-4A0AC1A88BE8}" type="datetime'''''8''''''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8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C709287-6201-45F4-AA9C-41CDA836E5D6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7239000" y="3941763"/>
            <a:ext cx="139700" cy="198438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CE9FACC-67E3-4F5B-9CA1-4CF5EAAC0846}" type="datetime'''''''''''''''''''4''''''''''''''''''''''''''''''''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4A4E61-6BEA-4396-8FCE-56D4D1A0BC06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208089" y="5573713"/>
            <a:ext cx="6762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1B92ABA-58BA-4BF2-A321-64CBA9E2E8CE}" type="datetime'I''E''''''A ''2''''''''''''''0''''''''''''''1''''''''''4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EA 201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623A9AA-78A3-4F53-93C4-9AC6C620035B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473324" y="5573713"/>
            <a:ext cx="18176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IEA 2050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t>Reference technology 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t>scenario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7E6F4E7-954B-4F04-9E02-C2C3345DA98F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6683375" y="3913188"/>
            <a:ext cx="231775" cy="198438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B6299D2-E3B7-4A45-A16B-D08C6C38D4BA}" type="datetime'''1''''''''''''''''''''0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291C408E-59B2-4CB3-97E8-875220B8464C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5056188" y="2651125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5E10DFE-84E8-40F4-8695-FD8C171E3F88}" type="datetime'''''''''''''''''''''''''''''''''''''63''''''''''''''''''9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3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544AFB77-96B9-4CF0-B7F7-CB1F31AB1B96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5357813" y="3306763"/>
            <a:ext cx="231775" cy="198438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4973383-0319-4630-88C9-137BFE916C8D}" type="datetime'''''2''''''''2''''''''''''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2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BB849DFD-644A-4CE2-9649-913E4C942A10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4894263" y="3367088"/>
            <a:ext cx="139700" cy="198438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60F63A8-996F-4452-B62B-18B1AF3E2115}" type="datetime'''''''''''''''''''''''''''''''''''''''''''''7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3F9965D-9012-4FBA-A714-E34C087E6E6B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6386513" y="5573713"/>
            <a:ext cx="1335088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D9F4BAC-86F8-4286-A9E3-DE1431D002FC}" type="datetime'ETC supply-side &#10;+'' effici''ency&#10;decarbonizati''on&#10;pathw''a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TC supply-side 
+ efficiency
decarbonization
pathwa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AFF1C39-EBC6-40C5-A511-19213FD2C474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1384300" y="2882900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E3A5B6A-A3F0-45E4-A50B-BE225E61B305}" type="datetime'''''''''5''''''6''''''''''''''''''''''''9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6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EB67708-D089-4BED-9D88-8DEC5EF3B8C0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3219450" y="2000250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9659691-0423-4E78-8455-1F7E17A45E35}" type="datetime'''''''''7''''''''''''''9''''''''''''''''''''''''''6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9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8E8EE0E4-AA5D-489B-A1CC-E02C2A44C05B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891338" y="3449638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5563BF2-2CAE-48B8-BB05-EE69FA856EEA}" type="datetime'''''4''''''''''4''''''''''''''''''''''''''''''''''''6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4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832DA3-54F9-49F3-A6A1-4EF8EABBE377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8639176" y="3433763"/>
            <a:ext cx="231775" cy="173038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41B71C-B2B3-47CD-8565-BA0888BA0703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639176" y="2686050"/>
            <a:ext cx="231775" cy="173038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13ABEF-0F10-4197-B858-5C0B4D955CC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639175" y="3932238"/>
            <a:ext cx="231775" cy="17303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91280D-6B6E-4817-9402-EB1B05A3260D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639176" y="2935288"/>
            <a:ext cx="231775" cy="173038"/>
          </a:xfrm>
          <a:prstGeom prst="rect">
            <a:avLst/>
          </a:prstGeom>
          <a:solidFill>
            <a:srgbClr val="D6D7D9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DFDACE6-332B-45A8-8DA4-6B05D7F625AC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8639176" y="3184525"/>
            <a:ext cx="231775" cy="173038"/>
          </a:xfrm>
          <a:prstGeom prst="rect">
            <a:avLst/>
          </a:prstGeom>
          <a:solidFill>
            <a:srgbClr val="96969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DFE5E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3711B5-05A0-485D-B5EC-1EEB77F339CF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639176" y="3683000"/>
            <a:ext cx="231775" cy="17303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451CEF4-B68C-471D-845D-1B96A881E50E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8921750" y="3427413"/>
            <a:ext cx="3889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33AF320-941B-48E6-A00F-3CC144E3A99E}" type="datetime'C''''''''''o''''''''''''a''''''''''''''''''''''''''l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oa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9EA16D7-6479-4A80-957B-BA9A0DB5BD9B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8921750" y="2679700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7BF7E9F-2DCE-42CA-9B6D-A474B098A15B}" type="datetime'''''''''''''''''O''''t''h''''''er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ther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A6638AC-8DFC-4A04-88D0-8F8D3B3BE136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8921751" y="2928938"/>
            <a:ext cx="9191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96E2F44-F93B-4118-BE43-E728A991F65D}" type="datetime'N''''a''''''''''''''''''tur''''a''l'''' ''g''a''''''''''''s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Natural ga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783B300-F49E-47CA-B2BE-8DB66F50EFDB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8921750" y="3676650"/>
            <a:ext cx="15255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376810E-CE2E-4945-BA9D-20D57E61132B}" type="datetime'''''B''i''o''''''m''''as''''''''s'''' and w''a''''s''''''t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iomass and wast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23E523C-874F-4C0F-9236-8D65B7D28A06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8921750" y="3178175"/>
            <a:ext cx="2095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8B65663-D455-4D60-8B22-5CD29AB1998B}" type="datetime'''''''''''''''''''''''''''''''''O''''''''il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i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3CEED561-4ADC-4DAD-B550-F32796B8185B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921750" y="3925888"/>
            <a:ext cx="2324100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B95E7B1-74AA-4A44-9A03-0FA8B3FA55C9}" type="thinkcell&lt;?xml version=&quot;1.0&quot; encoding=&quot;UTF-16&quot; standalone=&quot;yes&quot;?&gt;&lt;root reqver=&quot;24162&quot;&gt;&lt;version val=&quot;27048&quot;/&gt;&lt;PersistentType&gt;&lt;m_guid val=&quot;d413ad5f-59ec-4c01-829b-ff544a476b0c&quot;/&gt;&lt;m_prec&gt;&lt;m_yearfmt&gt;&lt;begin val=&quot;0&quot;/&gt;&lt;end val=&quot;4&quot;/&gt;&lt;/m_yearfmt&gt;&lt;/m_prec&gt;&lt;/PersistentType&gt;&lt;/root&gt;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Direct zero-carbon electricity
generation (solar, wind,
hydro, nuclear…)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BE0131A-2C7E-40B5-A811-BD99526A0B2A}"/>
              </a:ext>
            </a:extLst>
          </p:cNvPr>
          <p:cNvGrpSpPr/>
          <p:nvPr/>
        </p:nvGrpSpPr>
        <p:grpSpPr>
          <a:xfrm>
            <a:off x="1021310" y="1599961"/>
            <a:ext cx="7129632" cy="288000"/>
            <a:chOff x="1021310" y="1150959"/>
            <a:chExt cx="7129632" cy="435880"/>
          </a:xfrm>
        </p:grpSpPr>
        <p:sp>
          <p:nvSpPr>
            <p:cNvPr id="155" name="Rectangle 75">
              <a:extLst>
                <a:ext uri="{FF2B5EF4-FFF2-40B4-BE49-F238E27FC236}">
                  <a16:creationId xmlns:a16="http://schemas.microsoft.com/office/drawing/2014/main" id="{81815E45-7F21-4BD6-B503-62E6CA410F40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1021310" y="1150959"/>
              <a:ext cx="1049829" cy="435879"/>
            </a:xfrm>
            <a:prstGeom prst="rect">
              <a:avLst/>
            </a:prstGeom>
            <a:solidFill>
              <a:srgbClr val="4C6C9C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14</a:t>
              </a:r>
            </a:p>
          </p:txBody>
        </p:sp>
        <p:sp>
          <p:nvSpPr>
            <p:cNvPr id="156" name="Rectangle 75">
              <a:extLst>
                <a:ext uri="{FF2B5EF4-FFF2-40B4-BE49-F238E27FC236}">
                  <a16:creationId xmlns:a16="http://schemas.microsoft.com/office/drawing/2014/main" id="{E117D307-9A04-44E7-82FB-56C097B811B9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2789770" y="1150959"/>
              <a:ext cx="5361172" cy="435879"/>
            </a:xfrm>
            <a:prstGeom prst="rect">
              <a:avLst/>
            </a:prstGeom>
            <a:solidFill>
              <a:srgbClr val="4C6C9C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50</a:t>
              </a:r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id="{08B54F5F-0FBB-4E8A-98DC-178EDE462962}"/>
                </a:ext>
              </a:extLst>
            </p:cNvPr>
            <p:cNvSpPr/>
            <p:nvPr/>
          </p:nvSpPr>
          <p:spPr>
            <a:xfrm rot="5400000">
              <a:off x="2255385" y="1224900"/>
              <a:ext cx="435878" cy="288000"/>
            </a:xfrm>
            <a:prstGeom prst="triangle">
              <a:avLst/>
            </a:prstGeom>
            <a:solidFill>
              <a:srgbClr val="4C6C9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1490805-151A-4F7B-93F2-3C613222BDA9}"/>
              </a:ext>
            </a:extLst>
          </p:cNvPr>
          <p:cNvCxnSpPr>
            <a:cxnSpLocks/>
          </p:cNvCxnSpPr>
          <p:nvPr/>
        </p:nvCxnSpPr>
        <p:spPr>
          <a:xfrm>
            <a:off x="8379766" y="2081137"/>
            <a:ext cx="0" cy="3528000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5. Source">
            <a:extLst>
              <a:ext uri="{FF2B5EF4-FFF2-40B4-BE49-F238E27FC236}">
                <a16:creationId xmlns:a16="http://schemas.microsoft.com/office/drawing/2014/main" id="{C24FC7B0-63B7-401E-9719-CDA2D73C6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941" y="657503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; IEA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echnology Perspectives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3" name="AutoShape 250">
            <a:extLst>
              <a:ext uri="{FF2B5EF4-FFF2-40B4-BE49-F238E27FC236}">
                <a16:creationId xmlns:a16="http://schemas.microsoft.com/office/drawing/2014/main" id="{EC1B3F4D-CCB7-4DAB-84C3-348F36ED4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100" y="1014620"/>
            <a:ext cx="10426702" cy="4185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rimary energy dem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J/year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735B026-2ABF-4623-9BAA-C30219DF44BB}"/>
              </a:ext>
            </a:extLst>
          </p:cNvPr>
          <p:cNvCxnSpPr>
            <a:cxnSpLocks/>
          </p:cNvCxnSpPr>
          <p:nvPr/>
        </p:nvCxnSpPr>
        <p:spPr>
          <a:xfrm>
            <a:off x="561788" y="1425843"/>
            <a:ext cx="10155642" cy="7353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1">
            <a:extLst>
              <a:ext uri="{FF2B5EF4-FFF2-40B4-BE49-F238E27FC236}">
                <a16:creationId xmlns:a16="http://schemas.microsoft.com/office/drawing/2014/main" id="{24AB4C63-E687-44EB-9CD8-00F328CE4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124782"/>
            <a:ext cx="7219489" cy="628121"/>
          </a:xfrm>
        </p:spPr>
        <p:txBody>
          <a:bodyPr/>
          <a:lstStyle/>
          <a:p>
            <a:r>
              <a:rPr lang="en-GB" dirty="0"/>
              <a:t>ETC illustrative pathway – </a:t>
            </a:r>
            <a:br>
              <a:rPr lang="en-GB" dirty="0"/>
            </a:br>
            <a:r>
              <a:rPr lang="en-GB" dirty="0"/>
              <a:t>Primary energy mix in a zero-carbon economy</a:t>
            </a:r>
          </a:p>
        </p:txBody>
      </p:sp>
    </p:spTree>
    <p:extLst>
      <p:ext uri="{BB962C8B-B14F-4D97-AF65-F5344CB8AC3E}">
        <p14:creationId xmlns:p14="http://schemas.microsoft.com/office/powerpoint/2010/main" val="140117455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>
            <a:extLst>
              <a:ext uri="{FF2B5EF4-FFF2-40B4-BE49-F238E27FC236}">
                <a16:creationId xmlns:a16="http://schemas.microsoft.com/office/drawing/2014/main" id="{BDE2CB06-524D-4588-A765-2208F44F30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1841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7" name="think-cell Slide" r:id="rId30" imgW="395" imgH="394" progId="TCLayout.ActiveDocument.1">
                  <p:embed/>
                </p:oleObj>
              </mc:Choice>
              <mc:Fallback>
                <p:oleObj name="think-cell Slide" r:id="rId30" imgW="395" imgH="394" progId="TCLayout.ActiveDocument.1">
                  <p:embed/>
                  <p:pic>
                    <p:nvPicPr>
                      <p:cNvPr id="67" name="Object 66" hidden="1">
                        <a:extLst>
                          <a:ext uri="{FF2B5EF4-FFF2-40B4-BE49-F238E27FC236}">
                            <a16:creationId xmlns:a16="http://schemas.microsoft.com/office/drawing/2014/main" id="{BDE2CB06-524D-4588-A765-2208F44F3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107274D8-84D2-4804-B902-2DE7461C886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400" b="1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0152F2-0A8B-4FBF-B6B3-CFF95F128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362" y="130605"/>
            <a:ext cx="10537521" cy="628121"/>
          </a:xfrm>
        </p:spPr>
        <p:txBody>
          <a:bodyPr/>
          <a:lstStyle/>
          <a:p>
            <a:r>
              <a:rPr lang="en-GB" sz="2040" dirty="0">
                <a:solidFill>
                  <a:srgbClr val="004876"/>
                </a:solidFill>
                <a:latin typeface="Century Gothic"/>
              </a:rPr>
              <a:t>Gross electricity generation will need to reach 86,000 to 115,000 TWh/year by 2050 in a zero-carbon economy</a:t>
            </a: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357F823E-E7DA-4E65-B40B-9F87B2AC046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88632359"/>
              </p:ext>
            </p:extLst>
          </p:nvPr>
        </p:nvGraphicFramePr>
        <p:xfrm>
          <a:off x="1624013" y="2184400"/>
          <a:ext cx="5475287" cy="3817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6F68399-4B81-4E5E-B8C5-95FBFFB0C27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3033713" y="1873250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B3D30BF-F074-4112-94A4-A25F45E095F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033713" y="1873250"/>
            <a:ext cx="26543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ACF5CF2-B6E8-4E41-8C8E-14F70ECB890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688013" y="1873250"/>
            <a:ext cx="0" cy="1001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419845E9-6E51-4731-A58F-359F3C7FB251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3333750" y="2185988"/>
            <a:ext cx="139700" cy="198438"/>
          </a:xfrm>
          <a:prstGeom prst="rect">
            <a:avLst/>
          </a:prstGeom>
          <a:solidFill>
            <a:srgbClr val="9B7AB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E802811-2645-4267-9917-22032B9A632C}" type="datetime'''''''''1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DD3C2BAC-B778-435F-9062-ED7AE731F4DA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917825" y="2528888"/>
            <a:ext cx="2317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79663A1-60D8-4951-B94D-8DA1B5D69FFB}" type="datetime'''''''''1''''''''''''''4''''''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EA29CFA-FC74-4098-8C81-EE9F0F89C895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595563" y="2254250"/>
            <a:ext cx="139700" cy="198438"/>
          </a:xfrm>
          <a:prstGeom prst="rect">
            <a:avLst/>
          </a:prstGeom>
          <a:solidFill>
            <a:srgbClr val="84137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9EBA39B-D729-4B2C-A202-3C332EF557DF}" type="datetime'''''''''''''3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5E38B759-8B51-4787-8F9F-51A86D502BE6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917825" y="4286250"/>
            <a:ext cx="2317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5D3C7C1-28F9-43B2-A01C-8A9AADE5D6DE}" type="datetime'''''''''''''''''''''''''''''''''''''''''''''''''''''9''7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9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623A9AA-78A3-4F53-93C4-9AC6C620035B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4546600" y="5975351"/>
            <a:ext cx="22844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08BAF08-D030-427C-AAF8-6CA48E6EA2B8}" type="datetime'Suppl''y''-side decar''boniz''atio''n&#10;+ Efficiency p''athwa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upply-side decarbonization
+ Efficiency pathwa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4A4E61-6BEA-4396-8FCE-56D4D1A0BC06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892300" y="5975350"/>
            <a:ext cx="22844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295E8A1-F6D6-484A-84C3-6E7B2C44BCE0}" type="datetime'''Supply-side ''''de''''car''b''''oni''z''atio''n''&#10;path''wa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upply-side decarbonization
pathwa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619B630C-15CE-4C28-B518-F60D3315D510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5618163" y="3336925"/>
            <a:ext cx="1397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7F652C4-677E-4D97-9B1A-9C222E9AB7A1}" type="datetime'''''''''''9''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329DC48-D166-4068-8B84-05E308BF9984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5988050" y="3111500"/>
            <a:ext cx="139700" cy="198438"/>
          </a:xfrm>
          <a:prstGeom prst="rect">
            <a:avLst/>
          </a:prstGeom>
          <a:solidFill>
            <a:srgbClr val="9B7AB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1B6119D-9DF9-437B-A872-0A7A19E3EC56}" type="datetime'''''''''''''''''''''''''''''''1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66DE28E-1B8D-459D-A58C-67E405D42512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5249863" y="3157538"/>
            <a:ext cx="139700" cy="198438"/>
          </a:xfrm>
          <a:prstGeom prst="rect">
            <a:avLst/>
          </a:prstGeom>
          <a:solidFill>
            <a:srgbClr val="84137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642D2E5-D3D2-440B-83B3-7E7DDCE46823}" type="datetime'''''''''''''''''''''''''2''''''''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15F678EB-E95B-49B6-B332-CB23F59E1B65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5572125" y="4651375"/>
            <a:ext cx="2317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72E3143-5988-4525-836F-D71D92A45167}" type="datetime'7''''''4''''''''''''''''''''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EB67708-D089-4BED-9D88-8DEC5EF3B8C0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5572125" y="2913063"/>
            <a:ext cx="2317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812DABF-B202-4BCF-B387-432F4058F86C}" type="datetime'''''''8''''''''''''''''''''6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8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AFF1C39-EBC6-40C5-A511-19213FD2C474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871788" y="1987550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A526427-63E0-4C55-ABA2-540833A28A39}" type="datetime'''''''''''''''''''''''''''''''''''''''''1''''''1''''5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1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28569EB7-79D2-4C1F-8C0D-0A5E28EA4BA0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059238" y="1722438"/>
            <a:ext cx="6048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4F4D77E-5088-4730-8179-4A31ED8DF16F}" type="datetime'''''-''''''2''5%''''''''''''''''''''''''''''''''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25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48" name="5. Source">
            <a:extLst>
              <a:ext uri="{FF2B5EF4-FFF2-40B4-BE49-F238E27FC236}">
                <a16:creationId xmlns:a16="http://schemas.microsoft.com/office/drawing/2014/main" id="{DE1BFD9E-E001-4A0F-B439-FC86F33D6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SYSTEMIQ analysis for th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ransitions Commission analysis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8" name="AutoShape 250">
            <a:extLst>
              <a:ext uri="{FF2B5EF4-FFF2-40B4-BE49-F238E27FC236}">
                <a16:creationId xmlns:a16="http://schemas.microsoft.com/office/drawing/2014/main" id="{F3944509-D13E-498E-897B-C09571533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2263" y="981869"/>
            <a:ext cx="9063038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tal electricity generated by 2050 in the ETC indicative pathway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00 TWh/year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60" name="AutoShape 249">
            <a:extLst>
              <a:ext uri="{FF2B5EF4-FFF2-40B4-BE49-F238E27FC236}">
                <a16:creationId xmlns:a16="http://schemas.microsoft.com/office/drawing/2014/main" id="{8EE90F34-5B27-4F54-AEFE-701A88D4EB2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592263" y="1450979"/>
            <a:ext cx="9063038" cy="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817F2A3D-6F01-4F56-BB34-66C8CE8CDDD7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7529513" y="2339975"/>
            <a:ext cx="231775" cy="173038"/>
          </a:xfrm>
          <a:prstGeom prst="rect">
            <a:avLst/>
          </a:prstGeom>
          <a:solidFill>
            <a:srgbClr val="9B7AB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8F3036-162C-4B62-AB35-FE39BCAEBC17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7529513" y="2787650"/>
            <a:ext cx="231775" cy="173038"/>
          </a:xfrm>
          <a:prstGeom prst="rect">
            <a:avLst/>
          </a:prstGeom>
          <a:solidFill>
            <a:srgbClr val="84137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40DED3-B298-4049-95F3-CA934A05153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529513" y="3286124"/>
            <a:ext cx="231775" cy="17303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D513945-3DD0-4F2C-8F95-6A351F8EFB7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529513" y="3036888"/>
            <a:ext cx="231775" cy="173037"/>
          </a:xfrm>
          <a:prstGeom prst="rect">
            <a:avLst/>
          </a:prstGeom>
          <a:solidFill>
            <a:srgbClr val="C2AF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50D3A2AC-0073-4F14-AB8D-7AD3C1B9D532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7812088" y="2333625"/>
            <a:ext cx="19827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ED759ED-55B5-4A45-94FE-C60A26FD58B3}" type="datetime'Hab''er-Bosch'' p''rocess'' ''for &#10;am''m''oni''a pro''duction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aber-Bosch process for 
ammonia produ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2AC1CEF-C3AF-4EF0-8EBB-016FBB4F5E0E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7812088" y="2781300"/>
            <a:ext cx="25384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921BEFE-8C7E-4845-BF10-2B3EF3F0AE08}" type="datetime'''Sy''nt''''''''h''e''sis for ''synfuels'' ''product''''i''on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ynthesis for synfuels produ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3DC44790-EEAA-4D39-9933-FE7D7DF255B8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7812088" y="3030538"/>
            <a:ext cx="28432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EB186A8-E53D-4A7A-95E7-33E8A2563138}" type="datetime'''E''lectr''olys''''is'' for hydr''o''g''e''n pr''odu''ction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lectrolysis for hydrogen produ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5851666F-47E6-4057-8111-2748234723E8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812088" y="3279775"/>
            <a:ext cx="16160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209B92A-3460-4A2B-87C9-45EEF5F4CD4F}" type="datetime'''D''i''r''ect e''l''''''e''''''ctr''''i''f''ica''tion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Direct electrifica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8072278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" name="Object 121" hidden="1">
            <a:extLst>
              <a:ext uri="{FF2B5EF4-FFF2-40B4-BE49-F238E27FC236}">
                <a16:creationId xmlns:a16="http://schemas.microsoft.com/office/drawing/2014/main" id="{46124D7F-9C1B-4E27-88A8-224A9495C3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22" name="Object 121" hidden="1">
                        <a:extLst>
                          <a:ext uri="{FF2B5EF4-FFF2-40B4-BE49-F238E27FC236}">
                            <a16:creationId xmlns:a16="http://schemas.microsoft.com/office/drawing/2014/main" id="{46124D7F-9C1B-4E27-88A8-224A9495C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Rectangle 120" hidden="1">
            <a:extLst>
              <a:ext uri="{FF2B5EF4-FFF2-40B4-BE49-F238E27FC236}">
                <a16:creationId xmlns:a16="http://schemas.microsoft.com/office/drawing/2014/main" id="{D3180227-D883-4713-A003-941276BD188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8E1FB0-C292-4B98-A346-800B54ED9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119440"/>
            <a:ext cx="11703330" cy="628121"/>
          </a:xfrm>
        </p:spPr>
        <p:txBody>
          <a:bodyPr/>
          <a:lstStyle/>
          <a:p>
            <a:r>
              <a:rPr lang="en-GB" dirty="0"/>
              <a:t>Clean electricity can play a major role to decarbonize all sectors of the economy,</a:t>
            </a:r>
            <a:br>
              <a:rPr lang="en-GB" dirty="0"/>
            </a:br>
            <a:r>
              <a:rPr lang="en-GB" dirty="0"/>
              <a:t>both through direct electrification and through electricity-based fuels</a:t>
            </a:r>
          </a:p>
        </p:txBody>
      </p:sp>
      <p:sp>
        <p:nvSpPr>
          <p:cNvPr id="45" name="5. Source">
            <a:extLst>
              <a:ext uri="{FF2B5EF4-FFF2-40B4-BE49-F238E27FC236}">
                <a16:creationId xmlns:a16="http://schemas.microsoft.com/office/drawing/2014/main" id="{14C08C78-80E8-430A-80BB-D6BD2907F6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2933EDC3-0FC0-4537-99D5-45E3DE101487}"/>
              </a:ext>
            </a:extLst>
          </p:cNvPr>
          <p:cNvSpPr/>
          <p:nvPr/>
        </p:nvSpPr>
        <p:spPr>
          <a:xfrm rot="16200000">
            <a:off x="-300742" y="2430831"/>
            <a:ext cx="1584669" cy="62280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dustry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97A20CBC-08A8-42D8-A048-F4EC5ABA2459}"/>
              </a:ext>
            </a:extLst>
          </p:cNvPr>
          <p:cNvSpPr/>
          <p:nvPr/>
        </p:nvSpPr>
        <p:spPr>
          <a:xfrm rot="16200000">
            <a:off x="-300407" y="4160170"/>
            <a:ext cx="1584000" cy="62280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ransport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3F4F490-D9CE-4F6C-859D-084067574E8C}"/>
              </a:ext>
            </a:extLst>
          </p:cNvPr>
          <p:cNvGrpSpPr/>
          <p:nvPr/>
        </p:nvGrpSpPr>
        <p:grpSpPr>
          <a:xfrm>
            <a:off x="2526434" y="1352204"/>
            <a:ext cx="3221952" cy="236965"/>
            <a:chOff x="2360044" y="1001248"/>
            <a:chExt cx="3003791" cy="260309"/>
          </a:xfrm>
        </p:grpSpPr>
        <p:sp>
          <p:nvSpPr>
            <p:cNvPr id="56" name="AutoShape 250">
              <a:extLst>
                <a:ext uri="{FF2B5EF4-FFF2-40B4-BE49-F238E27FC236}">
                  <a16:creationId xmlns:a16="http://schemas.microsoft.com/office/drawing/2014/main" id="{4FD59915-144F-44AA-9CCE-5AD94E6AA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0044" y="1001248"/>
              <a:ext cx="3003791" cy="2569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Role of direct electrification</a:t>
              </a:r>
            </a:p>
          </p:txBody>
        </p:sp>
        <p:cxnSp>
          <p:nvCxnSpPr>
            <p:cNvPr id="57" name="AutoShape 249">
              <a:extLst>
                <a:ext uri="{FF2B5EF4-FFF2-40B4-BE49-F238E27FC236}">
                  <a16:creationId xmlns:a16="http://schemas.microsoft.com/office/drawing/2014/main" id="{21A19F2D-6271-4DCB-AB2D-223221DE7F1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360044" y="1261557"/>
              <a:ext cx="2772066" cy="0"/>
            </a:xfrm>
            <a:prstGeom prst="straightConnector1">
              <a:avLst/>
            </a:prstGeom>
            <a:noFill/>
            <a:ln w="9525">
              <a:solidFill>
                <a:srgbClr val="5C79A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BEEEB85D-5424-429C-81D6-4CD1AEE71AEC}"/>
              </a:ext>
            </a:extLst>
          </p:cNvPr>
          <p:cNvGrpSpPr/>
          <p:nvPr/>
        </p:nvGrpSpPr>
        <p:grpSpPr>
          <a:xfrm>
            <a:off x="5690042" y="1393494"/>
            <a:ext cx="2130147" cy="195672"/>
            <a:chOff x="2360044" y="1046608"/>
            <a:chExt cx="3003791" cy="214949"/>
          </a:xfrm>
        </p:grpSpPr>
        <p:sp>
          <p:nvSpPr>
            <p:cNvPr id="63" name="AutoShape 250">
              <a:extLst>
                <a:ext uri="{FF2B5EF4-FFF2-40B4-BE49-F238E27FC236}">
                  <a16:creationId xmlns:a16="http://schemas.microsoft.com/office/drawing/2014/main" id="{F8228D08-3770-48AA-B491-FC3940414C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0044" y="1046608"/>
              <a:ext cx="3003791" cy="2115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ydrogen</a:t>
              </a:r>
            </a:p>
          </p:txBody>
        </p:sp>
        <p:cxnSp>
          <p:nvCxnSpPr>
            <p:cNvPr id="64" name="AutoShape 249">
              <a:extLst>
                <a:ext uri="{FF2B5EF4-FFF2-40B4-BE49-F238E27FC236}">
                  <a16:creationId xmlns:a16="http://schemas.microsoft.com/office/drawing/2014/main" id="{AAA4FED0-B824-44EA-8DD4-CD6B0C269646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360044" y="1261557"/>
              <a:ext cx="2821221" cy="0"/>
            </a:xfrm>
            <a:prstGeom prst="straightConnector1">
              <a:avLst/>
            </a:prstGeom>
            <a:noFill/>
            <a:ln w="9525">
              <a:solidFill>
                <a:srgbClr val="5C79A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99D9C6A-1011-46A2-A7EB-D81742319055}"/>
              </a:ext>
            </a:extLst>
          </p:cNvPr>
          <p:cNvGrpSpPr/>
          <p:nvPr/>
        </p:nvGrpSpPr>
        <p:grpSpPr>
          <a:xfrm>
            <a:off x="7846072" y="1393494"/>
            <a:ext cx="2130147" cy="195672"/>
            <a:chOff x="2360044" y="1046608"/>
            <a:chExt cx="3003791" cy="214949"/>
          </a:xfrm>
        </p:grpSpPr>
        <p:sp>
          <p:nvSpPr>
            <p:cNvPr id="68" name="AutoShape 250">
              <a:extLst>
                <a:ext uri="{FF2B5EF4-FFF2-40B4-BE49-F238E27FC236}">
                  <a16:creationId xmlns:a16="http://schemas.microsoft.com/office/drawing/2014/main" id="{1DD4C9CE-D969-4206-8B1A-862A6AA0FB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0044" y="1046608"/>
              <a:ext cx="3003791" cy="2115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mmonia</a:t>
              </a:r>
            </a:p>
          </p:txBody>
        </p:sp>
        <p:cxnSp>
          <p:nvCxnSpPr>
            <p:cNvPr id="69" name="AutoShape 249">
              <a:extLst>
                <a:ext uri="{FF2B5EF4-FFF2-40B4-BE49-F238E27FC236}">
                  <a16:creationId xmlns:a16="http://schemas.microsoft.com/office/drawing/2014/main" id="{4177C2E9-9D6B-4D49-91D6-457185C2643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360044" y="1261557"/>
              <a:ext cx="2754516" cy="0"/>
            </a:xfrm>
            <a:prstGeom prst="straightConnector1">
              <a:avLst/>
            </a:prstGeom>
            <a:noFill/>
            <a:ln w="9525">
              <a:solidFill>
                <a:srgbClr val="5C79A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B36CEBF2-FBB1-4EB9-9F3B-01CDAD6F064C}"/>
              </a:ext>
            </a:extLst>
          </p:cNvPr>
          <p:cNvGrpSpPr/>
          <p:nvPr/>
        </p:nvGrpSpPr>
        <p:grpSpPr>
          <a:xfrm>
            <a:off x="10002101" y="1393494"/>
            <a:ext cx="2130147" cy="195672"/>
            <a:chOff x="2360044" y="1046608"/>
            <a:chExt cx="3003791" cy="214949"/>
          </a:xfrm>
        </p:grpSpPr>
        <p:sp>
          <p:nvSpPr>
            <p:cNvPr id="72" name="AutoShape 250">
              <a:extLst>
                <a:ext uri="{FF2B5EF4-FFF2-40B4-BE49-F238E27FC236}">
                  <a16:creationId xmlns:a16="http://schemas.microsoft.com/office/drawing/2014/main" id="{13CFE31C-160B-4D1C-8F83-A3330BDC19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0044" y="1046608"/>
              <a:ext cx="3003791" cy="2115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ynfuels (Power to fuel)</a:t>
              </a:r>
            </a:p>
          </p:txBody>
        </p:sp>
        <p:cxnSp>
          <p:nvCxnSpPr>
            <p:cNvPr id="73" name="AutoShape 249">
              <a:extLst>
                <a:ext uri="{FF2B5EF4-FFF2-40B4-BE49-F238E27FC236}">
                  <a16:creationId xmlns:a16="http://schemas.microsoft.com/office/drawing/2014/main" id="{B2B4CAC2-0256-4FC2-A7E3-A1AA413F538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360044" y="1261557"/>
              <a:ext cx="2772067" cy="0"/>
            </a:xfrm>
            <a:prstGeom prst="straightConnector1">
              <a:avLst/>
            </a:prstGeom>
            <a:noFill/>
            <a:ln w="9525">
              <a:solidFill>
                <a:srgbClr val="5C79A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01F59F48-FA6E-455F-9BF5-F7AF0D2C14F5}"/>
              </a:ext>
            </a:extLst>
          </p:cNvPr>
          <p:cNvSpPr/>
          <p:nvPr/>
        </p:nvSpPr>
        <p:spPr>
          <a:xfrm>
            <a:off x="890881" y="2526230"/>
            <a:ext cx="1436400" cy="432000"/>
          </a:xfrm>
          <a:prstGeom prst="rect">
            <a:avLst/>
          </a:prstGeom>
          <a:solidFill>
            <a:srgbClr val="007CB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teel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5D042C35-2F17-42AF-8785-B3DF0A2733F2}"/>
              </a:ext>
            </a:extLst>
          </p:cNvPr>
          <p:cNvSpPr/>
          <p:nvPr/>
        </p:nvSpPr>
        <p:spPr>
          <a:xfrm>
            <a:off x="2526434" y="2529283"/>
            <a:ext cx="2973397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ification of furnace heat</a:t>
            </a:r>
            <a:b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</a:b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irect iron electrolysis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4D4D4D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66656E14-44EB-4AD0-97F3-FD45BAAB8BBC}"/>
              </a:ext>
            </a:extLst>
          </p:cNvPr>
          <p:cNvSpPr/>
          <p:nvPr/>
        </p:nvSpPr>
        <p:spPr>
          <a:xfrm>
            <a:off x="5690042" y="2526230"/>
            <a:ext cx="1965819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s reduction agent and heat source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75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0D55B0DB-4C28-4543-A420-FFE31BA65083}"/>
              </a:ext>
            </a:extLst>
          </p:cNvPr>
          <p:cNvSpPr/>
          <p:nvPr/>
        </p:nvSpPr>
        <p:spPr>
          <a:xfrm>
            <a:off x="7846072" y="2526230"/>
            <a:ext cx="1965819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3AC16F4-8466-4584-A109-58A55DD88F34}"/>
              </a:ext>
            </a:extLst>
          </p:cNvPr>
          <p:cNvSpPr/>
          <p:nvPr/>
        </p:nvSpPr>
        <p:spPr>
          <a:xfrm>
            <a:off x="10002101" y="2526230"/>
            <a:ext cx="1965819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EB3572-B2EC-4227-82C2-1B0B653B60EA}"/>
              </a:ext>
            </a:extLst>
          </p:cNvPr>
          <p:cNvSpPr/>
          <p:nvPr/>
        </p:nvSpPr>
        <p:spPr>
          <a:xfrm>
            <a:off x="890881" y="1949895"/>
            <a:ext cx="1436400" cy="432000"/>
          </a:xfrm>
          <a:prstGeom prst="rect">
            <a:avLst/>
          </a:prstGeom>
          <a:solidFill>
            <a:srgbClr val="00487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ement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8304F6CC-EF25-47EF-A13B-6B8A35D242A9}"/>
              </a:ext>
            </a:extLst>
          </p:cNvPr>
          <p:cNvSpPr/>
          <p:nvPr/>
        </p:nvSpPr>
        <p:spPr>
          <a:xfrm>
            <a:off x="2526434" y="1949895"/>
            <a:ext cx="2973397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ification of kiln hea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(process emissions remain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CE8EE2AB-D106-4D10-8CEE-EB19F72A8878}"/>
              </a:ext>
            </a:extLst>
          </p:cNvPr>
          <p:cNvSpPr/>
          <p:nvPr/>
        </p:nvSpPr>
        <p:spPr>
          <a:xfrm>
            <a:off x="5690042" y="1949895"/>
            <a:ext cx="1965819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s heat source 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16697DC-31A7-4450-BC70-0C0E992A1541}"/>
              </a:ext>
            </a:extLst>
          </p:cNvPr>
          <p:cNvSpPr/>
          <p:nvPr/>
        </p:nvSpPr>
        <p:spPr>
          <a:xfrm>
            <a:off x="7846072" y="1949895"/>
            <a:ext cx="1965819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C1343D75-69D3-4BF0-BFB6-1F228A9FDFB0}"/>
              </a:ext>
            </a:extLst>
          </p:cNvPr>
          <p:cNvSpPr/>
          <p:nvPr/>
        </p:nvSpPr>
        <p:spPr>
          <a:xfrm>
            <a:off x="10002101" y="1949895"/>
            <a:ext cx="1965819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1EF5024-81F3-4A0E-9F7E-B4FF4A9B92CE}"/>
              </a:ext>
            </a:extLst>
          </p:cNvPr>
          <p:cNvSpPr/>
          <p:nvPr/>
        </p:nvSpPr>
        <p:spPr>
          <a:xfrm>
            <a:off x="890881" y="3102565"/>
            <a:ext cx="1436400" cy="432000"/>
          </a:xfrm>
          <a:prstGeom prst="rect">
            <a:avLst/>
          </a:prstGeom>
          <a:solidFill>
            <a:srgbClr val="00B09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lastics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D3A6D4B-04A8-4DEA-9961-F72A37B71BC6}"/>
              </a:ext>
            </a:extLst>
          </p:cNvPr>
          <p:cNvSpPr/>
          <p:nvPr/>
        </p:nvSpPr>
        <p:spPr>
          <a:xfrm>
            <a:off x="2526434" y="3105133"/>
            <a:ext cx="2973397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ification of furnace heat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1C5A2DCA-3275-4AD9-90EA-BA8695758AE3}"/>
              </a:ext>
            </a:extLst>
          </p:cNvPr>
          <p:cNvSpPr/>
          <p:nvPr/>
        </p:nvSpPr>
        <p:spPr>
          <a:xfrm>
            <a:off x="5690042" y="3102565"/>
            <a:ext cx="1965819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s heat source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7BFDDBB1-C038-400B-9179-B01645BB5EEC}"/>
              </a:ext>
            </a:extLst>
          </p:cNvPr>
          <p:cNvSpPr/>
          <p:nvPr/>
        </p:nvSpPr>
        <p:spPr>
          <a:xfrm>
            <a:off x="7846072" y="3102565"/>
            <a:ext cx="1965819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229BB31C-1060-41A0-9B19-1D1C1D9447E3}"/>
              </a:ext>
            </a:extLst>
          </p:cNvPr>
          <p:cNvSpPr/>
          <p:nvPr/>
        </p:nvSpPr>
        <p:spPr>
          <a:xfrm>
            <a:off x="10002101" y="3102565"/>
            <a:ext cx="1965819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otential role as plastics feedstock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358CCB-DE84-4246-B64C-06DB4E68FB7B}"/>
              </a:ext>
            </a:extLst>
          </p:cNvPr>
          <p:cNvSpPr/>
          <p:nvPr/>
        </p:nvSpPr>
        <p:spPr>
          <a:xfrm>
            <a:off x="890881" y="3678900"/>
            <a:ext cx="1436400" cy="432000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-road transport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1F805BE2-7716-472E-9A0C-753D893577CD}"/>
              </a:ext>
            </a:extLst>
          </p:cNvPr>
          <p:cNvSpPr/>
          <p:nvPr/>
        </p:nvSpPr>
        <p:spPr>
          <a:xfrm>
            <a:off x="2526434" y="3680983"/>
            <a:ext cx="2973397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attery electric vehicle (BEV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atenary overhead wiring 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B1325A69-A4A1-4BC1-9D97-BEC9131B5E8A}"/>
              </a:ext>
            </a:extLst>
          </p:cNvPr>
          <p:cNvSpPr/>
          <p:nvPr/>
        </p:nvSpPr>
        <p:spPr>
          <a:xfrm>
            <a:off x="5690042" y="3678900"/>
            <a:ext cx="1965819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Fuel cell electric vehicle (FCEV)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0AAD426-BCAE-47B5-87B9-631630513F5B}"/>
              </a:ext>
            </a:extLst>
          </p:cNvPr>
          <p:cNvSpPr/>
          <p:nvPr/>
        </p:nvSpPr>
        <p:spPr>
          <a:xfrm>
            <a:off x="7846072" y="3678900"/>
            <a:ext cx="1965819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E66C3016-58B1-447B-A405-A5F160F07009}"/>
              </a:ext>
            </a:extLst>
          </p:cNvPr>
          <p:cNvSpPr/>
          <p:nvPr/>
        </p:nvSpPr>
        <p:spPr>
          <a:xfrm>
            <a:off x="10002101" y="3678900"/>
            <a:ext cx="1965819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FCD9A53-3CE3-4B7A-A803-C22B0C726D7D}"/>
              </a:ext>
            </a:extLst>
          </p:cNvPr>
          <p:cNvSpPr/>
          <p:nvPr/>
        </p:nvSpPr>
        <p:spPr>
          <a:xfrm>
            <a:off x="890881" y="4255235"/>
            <a:ext cx="1436400" cy="432000"/>
          </a:xfrm>
          <a:prstGeom prst="rect">
            <a:avLst/>
          </a:prstGeom>
          <a:solidFill>
            <a:srgbClr val="F38B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096C950-F208-42ED-81ED-FA8C555F7457}"/>
              </a:ext>
            </a:extLst>
          </p:cNvPr>
          <p:cNvSpPr/>
          <p:nvPr/>
        </p:nvSpPr>
        <p:spPr>
          <a:xfrm>
            <a:off x="2526434" y="4256833"/>
            <a:ext cx="2973397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attery electric for short distanc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ruise and RoPax ship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061F2864-ABD2-48DB-B4A9-67A98EADCF54}"/>
              </a:ext>
            </a:extLst>
          </p:cNvPr>
          <p:cNvSpPr/>
          <p:nvPr/>
        </p:nvSpPr>
        <p:spPr>
          <a:xfrm>
            <a:off x="5690042" y="4255235"/>
            <a:ext cx="1965819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urnt in ICE or used in fuel cell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C24032B2-F8A7-469F-BF3C-EDF4768FC8AB}"/>
              </a:ext>
            </a:extLst>
          </p:cNvPr>
          <p:cNvSpPr/>
          <p:nvPr/>
        </p:nvSpPr>
        <p:spPr>
          <a:xfrm>
            <a:off x="7846072" y="4255235"/>
            <a:ext cx="1965819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urnt in ICE or used in fuel cells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0A93549-B203-4A94-91BC-AEBF4F2FFC8D}"/>
              </a:ext>
            </a:extLst>
          </p:cNvPr>
          <p:cNvSpPr/>
          <p:nvPr/>
        </p:nvSpPr>
        <p:spPr>
          <a:xfrm>
            <a:off x="10002101" y="4255235"/>
            <a:ext cx="1965819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691BB1-35F0-479D-AA18-D3A646D5BD51}"/>
              </a:ext>
            </a:extLst>
          </p:cNvPr>
          <p:cNvSpPr/>
          <p:nvPr/>
        </p:nvSpPr>
        <p:spPr>
          <a:xfrm>
            <a:off x="890881" y="4831570"/>
            <a:ext cx="1436400" cy="432000"/>
          </a:xfrm>
          <a:prstGeom prst="rect">
            <a:avLst/>
          </a:prstGeom>
          <a:solidFill>
            <a:srgbClr val="ED5C0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iation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D24FF5E-832E-4C84-AA04-39C664CC42C8}"/>
              </a:ext>
            </a:extLst>
          </p:cNvPr>
          <p:cNvSpPr/>
          <p:nvPr/>
        </p:nvSpPr>
        <p:spPr>
          <a:xfrm>
            <a:off x="2526434" y="4832683"/>
            <a:ext cx="2973397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attery electric for short distance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AF7D55F-214B-4EA0-BD28-990BFAD0A259}"/>
              </a:ext>
            </a:extLst>
          </p:cNvPr>
          <p:cNvSpPr/>
          <p:nvPr/>
        </p:nvSpPr>
        <p:spPr>
          <a:xfrm>
            <a:off x="5690042" y="4831570"/>
            <a:ext cx="1965819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Fuel cell electric for medium distance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D92B9DB-AB70-4102-9D09-9CFD019D856F}"/>
              </a:ext>
            </a:extLst>
          </p:cNvPr>
          <p:cNvSpPr/>
          <p:nvPr/>
        </p:nvSpPr>
        <p:spPr>
          <a:xfrm>
            <a:off x="7846072" y="4831570"/>
            <a:ext cx="1965819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0649511-9B82-4E9A-9FAD-63A94705D00D}"/>
              </a:ext>
            </a:extLst>
          </p:cNvPr>
          <p:cNvSpPr/>
          <p:nvPr/>
        </p:nvSpPr>
        <p:spPr>
          <a:xfrm>
            <a:off x="10002101" y="4831570"/>
            <a:ext cx="1965819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 conventional jet engin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36BF973-F7DA-4138-B4AB-66FE10C7709A}"/>
              </a:ext>
            </a:extLst>
          </p:cNvPr>
          <p:cNvSpPr/>
          <p:nvPr/>
        </p:nvSpPr>
        <p:spPr>
          <a:xfrm>
            <a:off x="167023" y="5407904"/>
            <a:ext cx="2160258" cy="43200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uilding heating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5778DD0-752F-4C24-A168-80BBE95A612A}"/>
              </a:ext>
            </a:extLst>
          </p:cNvPr>
          <p:cNvSpPr/>
          <p:nvPr/>
        </p:nvSpPr>
        <p:spPr>
          <a:xfrm>
            <a:off x="2526434" y="5407904"/>
            <a:ext cx="2973397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hrough heat pumps or induction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06C7736E-17AB-4B09-8B06-E5C52BCF1180}"/>
              </a:ext>
            </a:extLst>
          </p:cNvPr>
          <p:cNvSpPr/>
          <p:nvPr/>
        </p:nvSpPr>
        <p:spPr>
          <a:xfrm>
            <a:off x="5690042" y="5407904"/>
            <a:ext cx="1965819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s substitute for natural gas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8008B2F-142E-4C8C-B5CB-FD9177AEFDB5}"/>
              </a:ext>
            </a:extLst>
          </p:cNvPr>
          <p:cNvSpPr/>
          <p:nvPr/>
        </p:nvSpPr>
        <p:spPr>
          <a:xfrm>
            <a:off x="7846072" y="5407904"/>
            <a:ext cx="1965819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39057F3-9037-4CC7-A15A-B557DB8208A7}"/>
              </a:ext>
            </a:extLst>
          </p:cNvPr>
          <p:cNvSpPr/>
          <p:nvPr/>
        </p:nvSpPr>
        <p:spPr>
          <a:xfrm>
            <a:off x="10002101" y="5407904"/>
            <a:ext cx="1965819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0C3DA64-C281-42AC-A3B1-9A7B52A5EAAF}"/>
              </a:ext>
            </a:extLst>
          </p:cNvPr>
          <p:cNvSpPr/>
          <p:nvPr/>
        </p:nvSpPr>
        <p:spPr>
          <a:xfrm>
            <a:off x="167023" y="6039737"/>
            <a:ext cx="2160258" cy="43200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icity system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CF891E07-3E9B-4340-8B1B-89253E35D4E8}"/>
              </a:ext>
            </a:extLst>
          </p:cNvPr>
          <p:cNvSpPr/>
          <p:nvPr/>
        </p:nvSpPr>
        <p:spPr>
          <a:xfrm>
            <a:off x="5690042" y="6039737"/>
            <a:ext cx="1965819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storage 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F07238B-9E1F-42D1-BD38-FE050BF230A9}"/>
              </a:ext>
            </a:extLst>
          </p:cNvPr>
          <p:cNvSpPr/>
          <p:nvPr/>
        </p:nvSpPr>
        <p:spPr>
          <a:xfrm>
            <a:off x="7846072" y="6039737"/>
            <a:ext cx="1965819" cy="432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storage Transportation of H</a:t>
            </a:r>
            <a:r>
              <a:rPr kumimoji="0" lang="en-GB" sz="1300" b="0" i="0" u="none" strike="noStrike" kern="1200" cap="none" spc="0" normalizeH="0" baseline="-2500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8C6D14B1-DDE2-4370-910B-81799427EE53}"/>
              </a:ext>
            </a:extLst>
          </p:cNvPr>
          <p:cNvSpPr/>
          <p:nvPr/>
        </p:nvSpPr>
        <p:spPr>
          <a:xfrm>
            <a:off x="10002100" y="6039737"/>
            <a:ext cx="1965819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2" name="AutoShape 250">
            <a:extLst>
              <a:ext uri="{FF2B5EF4-FFF2-40B4-BE49-F238E27FC236}">
                <a16:creationId xmlns:a16="http://schemas.microsoft.com/office/drawing/2014/main" id="{D2D75825-A69D-49DA-8369-AE7B9136B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0042" y="1053596"/>
            <a:ext cx="3221952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Role of electricity-based fuels</a:t>
            </a:r>
          </a:p>
        </p:txBody>
      </p:sp>
      <p:cxnSp>
        <p:nvCxnSpPr>
          <p:cNvPr id="133" name="AutoShape 249">
            <a:extLst>
              <a:ext uri="{FF2B5EF4-FFF2-40B4-BE49-F238E27FC236}">
                <a16:creationId xmlns:a16="http://schemas.microsoft.com/office/drawing/2014/main" id="{66810FED-DA83-4BFF-A9CA-D68A6A90BC8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690042" y="1290561"/>
            <a:ext cx="6277877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2EF1CCB-2D0F-4820-8618-F67ABEF506D2}"/>
              </a:ext>
            </a:extLst>
          </p:cNvPr>
          <p:cNvSpPr/>
          <p:nvPr/>
        </p:nvSpPr>
        <p:spPr>
          <a:xfrm>
            <a:off x="2526434" y="969560"/>
            <a:ext cx="2986834" cy="857123"/>
          </a:xfrm>
          <a:prstGeom prst="rect">
            <a:avLst/>
          </a:prstGeom>
          <a:ln>
            <a:solidFill>
              <a:srgbClr val="4C6C9C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Role of direc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ification</a:t>
            </a:r>
          </a:p>
        </p:txBody>
      </p:sp>
      <p:pic>
        <p:nvPicPr>
          <p:cNvPr id="118791" name="Picture 7" descr="RÃ©sultat de recherche d'images pour &quot;power icon&quot;">
            <a:extLst>
              <a:ext uri="{FF2B5EF4-FFF2-40B4-BE49-F238E27FC236}">
                <a16:creationId xmlns:a16="http://schemas.microsoft.com/office/drawing/2014/main" id="{1E725C68-8FA8-4EFB-AE4D-D490324191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3978" y="997683"/>
            <a:ext cx="797731" cy="797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8" name="Rectangle 137">
            <a:extLst>
              <a:ext uri="{FF2B5EF4-FFF2-40B4-BE49-F238E27FC236}">
                <a16:creationId xmlns:a16="http://schemas.microsoft.com/office/drawing/2014/main" id="{198F3937-8DEF-4F2B-9C39-CA06F3CFAAB0}"/>
              </a:ext>
            </a:extLst>
          </p:cNvPr>
          <p:cNvSpPr/>
          <p:nvPr/>
        </p:nvSpPr>
        <p:spPr>
          <a:xfrm>
            <a:off x="5676605" y="969560"/>
            <a:ext cx="6291314" cy="857117"/>
          </a:xfrm>
          <a:prstGeom prst="rect">
            <a:avLst/>
          </a:prstGeom>
          <a:ln>
            <a:solidFill>
              <a:srgbClr val="4C6C9C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Role of electricity-based fuels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B853266-173B-471A-B8DB-7621DF7178D4}"/>
              </a:ext>
            </a:extLst>
          </p:cNvPr>
          <p:cNvGrpSpPr/>
          <p:nvPr/>
        </p:nvGrpSpPr>
        <p:grpSpPr>
          <a:xfrm>
            <a:off x="7021527" y="1332995"/>
            <a:ext cx="445135" cy="445136"/>
            <a:chOff x="5619707" y="1007875"/>
            <a:chExt cx="539370" cy="539371"/>
          </a:xfrm>
        </p:grpSpPr>
        <p:pic>
          <p:nvPicPr>
            <p:cNvPr id="129" name="Picture 5" descr="RÃ©sultat de recherche d'images pour &quot;hydrogen icon&quot;">
              <a:extLst>
                <a:ext uri="{FF2B5EF4-FFF2-40B4-BE49-F238E27FC236}">
                  <a16:creationId xmlns:a16="http://schemas.microsoft.com/office/drawing/2014/main" id="{BF2D7682-1FA9-40D1-9067-7C9A094416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8900000">
              <a:off x="5619707" y="1007875"/>
              <a:ext cx="539370" cy="5393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B033478D-756B-4071-9028-86C91E6F27B3}"/>
                </a:ext>
              </a:extLst>
            </p:cNvPr>
            <p:cNvSpPr/>
            <p:nvPr/>
          </p:nvSpPr>
          <p:spPr>
            <a:xfrm>
              <a:off x="5760162" y="1153723"/>
              <a:ext cx="285629" cy="285629"/>
            </a:xfrm>
            <a:prstGeom prst="ellipse">
              <a:avLst/>
            </a:prstGeom>
            <a:solidFill>
              <a:srgbClr val="4C6C9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</a:t>
              </a:r>
              <a:r>
                <a:rPr kumimoji="0" lang="en-GB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65490F03-91C1-46D4-A209-7BBBF85DAF94}"/>
              </a:ext>
            </a:extLst>
          </p:cNvPr>
          <p:cNvSpPr txBox="1"/>
          <p:nvPr/>
        </p:nvSpPr>
        <p:spPr>
          <a:xfrm>
            <a:off x="5993886" y="1443409"/>
            <a:ext cx="1696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ydrogen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B56482F9-F540-4E57-B770-D933508AD772}"/>
              </a:ext>
            </a:extLst>
          </p:cNvPr>
          <p:cNvSpPr txBox="1"/>
          <p:nvPr/>
        </p:nvSpPr>
        <p:spPr>
          <a:xfrm>
            <a:off x="8181670" y="1443409"/>
            <a:ext cx="1696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mmonia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153F8073-6ACA-4783-8959-55D06EE1DDC6}"/>
              </a:ext>
            </a:extLst>
          </p:cNvPr>
          <p:cNvSpPr txBox="1"/>
          <p:nvPr/>
        </p:nvSpPr>
        <p:spPr>
          <a:xfrm>
            <a:off x="10461908" y="1443409"/>
            <a:ext cx="1696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nfuels</a:t>
            </a:r>
          </a:p>
        </p:txBody>
      </p:sp>
      <p:grpSp>
        <p:nvGrpSpPr>
          <p:cNvPr id="118804" name="Group 118803">
            <a:extLst>
              <a:ext uri="{FF2B5EF4-FFF2-40B4-BE49-F238E27FC236}">
                <a16:creationId xmlns:a16="http://schemas.microsoft.com/office/drawing/2014/main" id="{5587D69D-7F17-4752-943B-301740E47AB0}"/>
              </a:ext>
            </a:extLst>
          </p:cNvPr>
          <p:cNvGrpSpPr/>
          <p:nvPr/>
        </p:nvGrpSpPr>
        <p:grpSpPr>
          <a:xfrm>
            <a:off x="9222350" y="1296553"/>
            <a:ext cx="443216" cy="491058"/>
            <a:chOff x="-1697817" y="1998486"/>
            <a:chExt cx="805693" cy="892663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EDBFAD4E-CEFF-4D3F-ABDF-7150FC3E5ADD}"/>
                </a:ext>
              </a:extLst>
            </p:cNvPr>
            <p:cNvSpPr/>
            <p:nvPr/>
          </p:nvSpPr>
          <p:spPr>
            <a:xfrm>
              <a:off x="-1437785" y="1998486"/>
              <a:ext cx="285629" cy="285629"/>
            </a:xfrm>
            <a:prstGeom prst="ellipse">
              <a:avLst/>
            </a:prstGeom>
            <a:solidFill>
              <a:srgbClr val="4C6C9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</a:t>
              </a:r>
              <a:endParaRPr kumimoji="0" lang="en-GB" sz="800" b="1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E0DA230E-E499-4B35-8EA5-E2A29E9DFC37}"/>
                </a:ext>
              </a:extLst>
            </p:cNvPr>
            <p:cNvSpPr/>
            <p:nvPr/>
          </p:nvSpPr>
          <p:spPr>
            <a:xfrm>
              <a:off x="-1437785" y="2350127"/>
              <a:ext cx="285629" cy="285629"/>
            </a:xfrm>
            <a:prstGeom prst="ellipse">
              <a:avLst/>
            </a:prstGeom>
            <a:ln>
              <a:solidFill>
                <a:srgbClr val="4C6C9C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N</a:t>
              </a:r>
              <a:endParaRPr kumimoji="0" lang="en-GB" sz="8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D825EFA1-B20F-497E-8D71-441A6FDCE047}"/>
                </a:ext>
              </a:extLst>
            </p:cNvPr>
            <p:cNvSpPr/>
            <p:nvPr/>
          </p:nvSpPr>
          <p:spPr>
            <a:xfrm>
              <a:off x="-1697817" y="2600278"/>
              <a:ext cx="285628" cy="285628"/>
            </a:xfrm>
            <a:prstGeom prst="ellipse">
              <a:avLst/>
            </a:prstGeom>
            <a:solidFill>
              <a:srgbClr val="4C6C9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</a:t>
              </a:r>
              <a:endParaRPr kumimoji="0" lang="en-GB" sz="800" b="1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4337D8F8-DC34-456A-984F-4C12F0148931}"/>
                </a:ext>
              </a:extLst>
            </p:cNvPr>
            <p:cNvSpPr/>
            <p:nvPr/>
          </p:nvSpPr>
          <p:spPr>
            <a:xfrm>
              <a:off x="-1177753" y="2605520"/>
              <a:ext cx="285629" cy="285629"/>
            </a:xfrm>
            <a:prstGeom prst="ellipse">
              <a:avLst/>
            </a:prstGeom>
            <a:solidFill>
              <a:srgbClr val="4C6C9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</a:t>
              </a:r>
              <a:endParaRPr kumimoji="0" lang="en-GB" sz="800" b="1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cxnSp>
          <p:nvCxnSpPr>
            <p:cNvPr id="118792" name="Straight Connector 118791">
              <a:extLst>
                <a:ext uri="{FF2B5EF4-FFF2-40B4-BE49-F238E27FC236}">
                  <a16:creationId xmlns:a16="http://schemas.microsoft.com/office/drawing/2014/main" id="{83B06547-588C-42CC-9F39-3825E3417268}"/>
                </a:ext>
              </a:extLst>
            </p:cNvPr>
            <p:cNvCxnSpPr>
              <a:stCxn id="154" idx="0"/>
              <a:endCxn id="136" idx="4"/>
            </p:cNvCxnSpPr>
            <p:nvPr/>
          </p:nvCxnSpPr>
          <p:spPr>
            <a:xfrm flipV="1">
              <a:off x="-1294970" y="2284115"/>
              <a:ext cx="0" cy="66012"/>
            </a:xfrm>
            <a:prstGeom prst="line">
              <a:avLst/>
            </a:prstGeom>
            <a:ln w="28575">
              <a:solidFill>
                <a:srgbClr val="4C6C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9A26BAB0-FC80-4176-8617-0ED8213B4307}"/>
                </a:ext>
              </a:extLst>
            </p:cNvPr>
            <p:cNvCxnSpPr>
              <a:cxnSpLocks/>
              <a:stCxn id="157" idx="1"/>
              <a:endCxn id="154" idx="5"/>
            </p:cNvCxnSpPr>
            <p:nvPr/>
          </p:nvCxnSpPr>
          <p:spPr>
            <a:xfrm flipH="1" flipV="1">
              <a:off x="-1193985" y="2593927"/>
              <a:ext cx="58061" cy="53422"/>
            </a:xfrm>
            <a:prstGeom prst="line">
              <a:avLst/>
            </a:prstGeom>
            <a:ln w="28575">
              <a:solidFill>
                <a:srgbClr val="4C6C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F5489AF0-BF3D-4962-A0BC-5B4DEADD948A}"/>
                </a:ext>
              </a:extLst>
            </p:cNvPr>
            <p:cNvCxnSpPr>
              <a:cxnSpLocks/>
              <a:stCxn id="155" idx="7"/>
              <a:endCxn id="154" idx="3"/>
            </p:cNvCxnSpPr>
            <p:nvPr/>
          </p:nvCxnSpPr>
          <p:spPr>
            <a:xfrm flipV="1">
              <a:off x="-1454017" y="2593927"/>
              <a:ext cx="58061" cy="48181"/>
            </a:xfrm>
            <a:prstGeom prst="line">
              <a:avLst/>
            </a:prstGeom>
            <a:ln w="28575">
              <a:solidFill>
                <a:srgbClr val="4C6C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8809" name="Group 118808">
            <a:extLst>
              <a:ext uri="{FF2B5EF4-FFF2-40B4-BE49-F238E27FC236}">
                <a16:creationId xmlns:a16="http://schemas.microsoft.com/office/drawing/2014/main" id="{BEC32C30-C35A-4D51-8005-F6AF6A1F7E19}"/>
              </a:ext>
            </a:extLst>
          </p:cNvPr>
          <p:cNvGrpSpPr/>
          <p:nvPr/>
        </p:nvGrpSpPr>
        <p:grpSpPr>
          <a:xfrm>
            <a:off x="11393152" y="1335620"/>
            <a:ext cx="438556" cy="438556"/>
            <a:chOff x="11237943" y="1322988"/>
            <a:chExt cx="451188" cy="451188"/>
          </a:xfrm>
        </p:grpSpPr>
        <p:grpSp>
          <p:nvGrpSpPr>
            <p:cNvPr id="118808" name="Group 118807">
              <a:extLst>
                <a:ext uri="{FF2B5EF4-FFF2-40B4-BE49-F238E27FC236}">
                  <a16:creationId xmlns:a16="http://schemas.microsoft.com/office/drawing/2014/main" id="{1384B760-E0EA-46D1-8076-5321F5DE48AA}"/>
                </a:ext>
              </a:extLst>
            </p:cNvPr>
            <p:cNvGrpSpPr/>
            <p:nvPr/>
          </p:nvGrpSpPr>
          <p:grpSpPr>
            <a:xfrm>
              <a:off x="11237943" y="1322988"/>
              <a:ext cx="451188" cy="451188"/>
              <a:chOff x="11237943" y="491068"/>
              <a:chExt cx="1283108" cy="1283108"/>
            </a:xfrm>
          </p:grpSpPr>
          <p:pic>
            <p:nvPicPr>
              <p:cNvPr id="118806" name="Picture 10" descr="RÃ©sultat de recherche d'images pour &quot;icon fuel&quot;">
                <a:extLst>
                  <a:ext uri="{FF2B5EF4-FFF2-40B4-BE49-F238E27FC236}">
                    <a16:creationId xmlns:a16="http://schemas.microsoft.com/office/drawing/2014/main" id="{7CA095F3-494A-4247-84CF-C7B64774D46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237943" y="491068"/>
                <a:ext cx="1283108" cy="128310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8807" name="Rectangle 118806">
                <a:extLst>
                  <a:ext uri="{FF2B5EF4-FFF2-40B4-BE49-F238E27FC236}">
                    <a16:creationId xmlns:a16="http://schemas.microsoft.com/office/drawing/2014/main" id="{E022096B-0898-41D5-B221-A5CF59B40230}"/>
                  </a:ext>
                </a:extLst>
              </p:cNvPr>
              <p:cNvSpPr/>
              <p:nvPr/>
            </p:nvSpPr>
            <p:spPr>
              <a:xfrm>
                <a:off x="11522155" y="844318"/>
                <a:ext cx="759362" cy="786167"/>
              </a:xfrm>
              <a:prstGeom prst="rect">
                <a:avLst/>
              </a:prstGeom>
              <a:solidFill>
                <a:srgbClr val="005C9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</p:grpSp>
        <p:pic>
          <p:nvPicPr>
            <p:cNvPr id="178" name="Picture 7" descr="RÃ©sultat de recherche d'images pour &quot;power icon&quot;">
              <a:extLst>
                <a:ext uri="{FF2B5EF4-FFF2-40B4-BE49-F238E27FC236}">
                  <a16:creationId xmlns:a16="http://schemas.microsoft.com/office/drawing/2014/main" id="{C9F89B5D-017D-4CED-8157-30186177D6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91725" y="1384311"/>
              <a:ext cx="377492" cy="3774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736FC8D-C80D-4ADD-8C82-E1E86552F6CC}"/>
              </a:ext>
            </a:extLst>
          </p:cNvPr>
          <p:cNvCxnSpPr/>
          <p:nvPr/>
        </p:nvCxnSpPr>
        <p:spPr>
          <a:xfrm>
            <a:off x="171426" y="5941517"/>
            <a:ext cx="11808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3BEE45EA-2C32-42B2-888C-9E2A3CC2C53C}"/>
              </a:ext>
            </a:extLst>
          </p:cNvPr>
          <p:cNvSpPr/>
          <p:nvPr/>
        </p:nvSpPr>
        <p:spPr>
          <a:xfrm>
            <a:off x="2526434" y="6039737"/>
            <a:ext cx="2973397" cy="432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93342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0" name="Object 119" hidden="1">
            <a:extLst>
              <a:ext uri="{FF2B5EF4-FFF2-40B4-BE49-F238E27FC236}">
                <a16:creationId xmlns:a16="http://schemas.microsoft.com/office/drawing/2014/main" id="{8E1E47EC-3634-4B22-B94A-98ACF4529E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6040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5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120" name="Object 119" hidden="1">
                        <a:extLst>
                          <a:ext uri="{FF2B5EF4-FFF2-40B4-BE49-F238E27FC236}">
                            <a16:creationId xmlns:a16="http://schemas.microsoft.com/office/drawing/2014/main" id="{8E1E47EC-3634-4B22-B94A-98ACF4529E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Rectangle 118" hidden="1">
            <a:extLst>
              <a:ext uri="{FF2B5EF4-FFF2-40B4-BE49-F238E27FC236}">
                <a16:creationId xmlns:a16="http://schemas.microsoft.com/office/drawing/2014/main" id="{93E8E124-4ADC-4452-A284-EA93F078E27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400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E1A7D67-463B-44B6-8924-30CB5EB9974E}"/>
              </a:ext>
            </a:extLst>
          </p:cNvPr>
          <p:cNvCxnSpPr>
            <a:cxnSpLocks/>
          </p:cNvCxnSpPr>
          <p:nvPr/>
        </p:nvCxnSpPr>
        <p:spPr>
          <a:xfrm>
            <a:off x="1019175" y="2252663"/>
            <a:ext cx="5256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5727D63-A4A8-4F00-BEEF-FA6AB43F8684}"/>
              </a:ext>
            </a:extLst>
          </p:cNvPr>
          <p:cNvCxnSpPr>
            <a:cxnSpLocks/>
          </p:cNvCxnSpPr>
          <p:nvPr/>
        </p:nvCxnSpPr>
        <p:spPr>
          <a:xfrm>
            <a:off x="1019175" y="1863725"/>
            <a:ext cx="5256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677C9B6-E7DF-495C-8823-CA8DB74489B0}"/>
              </a:ext>
            </a:extLst>
          </p:cNvPr>
          <p:cNvCxnSpPr>
            <a:cxnSpLocks/>
          </p:cNvCxnSpPr>
          <p:nvPr/>
        </p:nvCxnSpPr>
        <p:spPr>
          <a:xfrm>
            <a:off x="1019175" y="3030538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4AF4907-49BE-444F-A5FC-87C58D00A395}"/>
              </a:ext>
            </a:extLst>
          </p:cNvPr>
          <p:cNvCxnSpPr>
            <a:cxnSpLocks/>
          </p:cNvCxnSpPr>
          <p:nvPr/>
        </p:nvCxnSpPr>
        <p:spPr>
          <a:xfrm>
            <a:off x="1019175" y="2641600"/>
            <a:ext cx="5256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BFF02D5-9E7C-4A19-BC05-F9B1C974E3AA}"/>
              </a:ext>
            </a:extLst>
          </p:cNvPr>
          <p:cNvCxnSpPr>
            <a:cxnSpLocks/>
          </p:cNvCxnSpPr>
          <p:nvPr/>
        </p:nvCxnSpPr>
        <p:spPr>
          <a:xfrm>
            <a:off x="1019175" y="3419475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85D2B58-6B3B-4066-825C-C18C560D6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302163"/>
            <a:ext cx="11540428" cy="314060"/>
          </a:xfrm>
        </p:spPr>
        <p:txBody>
          <a:bodyPr/>
          <a:lstStyle/>
          <a:p>
            <a:r>
              <a:rPr lang="en-GB" dirty="0"/>
              <a:t>In a zero-carbon economy, final electricity consumption could reach up to 115,000 </a:t>
            </a:r>
            <a:r>
              <a:rPr lang="en-GB" dirty="0" err="1"/>
              <a:t>TWh</a:t>
            </a:r>
            <a:endParaRPr lang="en-GB" dirty="0"/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D1E8892C-A2A1-4E25-B0AD-DA6EF1737E8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149725" y="2182813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4C90CEF2-D3BB-4A33-AA4D-63482307D5E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368925" y="3727450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3B554E08-1AF8-4671-8C30-ECEA5DA9763F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634038" y="4113213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66A88D2A-3ED3-4425-A0A8-EBC0804EEBA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767138" y="1795463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D62AF482-4018-43E4-B110-2612ED205A3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360863" y="2568575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A53E2E1-A1CE-4018-9C76-6369EBA8BDDD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986588" y="5657850"/>
            <a:ext cx="0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CEA1C8DE-36DE-4450-8590-CCB234F0FB9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360863" y="2954338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893A5630-0CDC-4CD2-AEC8-CB6C23F1257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4945063" y="3341688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B895B898-0A9C-4400-910D-576A3A4A061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819775" y="4498975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0C60E5C2-FFE4-44E1-A243-E49B803C7B1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983288" y="4886325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A4E0C38-87BB-4B97-8030-EFB17CF2FEC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865938" y="5272088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221E33B2-3345-4FA3-923A-80553C97DDAC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362950" y="6045200"/>
            <a:ext cx="0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5ABF2370-D224-4091-8D23-5F94DE3058B5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357688" y="2740025"/>
            <a:ext cx="6350" cy="21431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420512BC-2CCE-4B0C-838D-7BFF284BCA93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48866451"/>
              </p:ext>
            </p:extLst>
          </p:nvPr>
        </p:nvGraphicFramePr>
        <p:xfrm>
          <a:off x="3629025" y="1412875"/>
          <a:ext cx="4816475" cy="5186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239" name="Rectangle 238">
            <a:extLst>
              <a:ext uri="{FF2B5EF4-FFF2-40B4-BE49-F238E27FC236}">
                <a16:creationId xmlns:a16="http://schemas.microsoft.com/office/drawing/2014/main" id="{A7888102-574C-46E2-B401-6F2C03239239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851650" y="5443538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D8168DB-A23A-4D59-A4B8-02A9377B18F4}" type="datetime'''''''''''''3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FE962A44-A6B6-4390-BBFD-2E05EB97E3A3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7550150" y="5830888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CFDDBA6-563B-454A-ADB8-2952F949B094}" type="datetime'''''''''3''''''''''''''''''''''''''4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4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7E590133-FF18-45F3-9756-EF4C972D12DD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7780338" y="6216650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6714059-03D4-4FB7-86D3-1C185221FBF8}" type="datetime'''''''''''''''''1''''''''''''4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4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3C76CD23-06B3-4718-B7E1-439813EA7FA9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5540375" y="6216650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ECCF7D6-2E95-43C6-B5C0-55AB80D88B62}" type="datetime'''''''''''97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97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1449A662-BDD3-4405-8B40-C7A699E483EF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792538" y="1581150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32DABE4-7EC9-489A-B17D-7EFAE67E2CE5}" type="datetime'''''''''''''''''''''''''''1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4E7C19D6-0A7A-4FFA-AE7D-E344F6AFA86A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4175125" y="1968500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B3364E4-76B2-43F1-ADA3-95E40A609042}" type="datetime'''''''''9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9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C417EDA5-2FAD-4CBC-9587-44F1D267EF19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4386263" y="2354263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CE91B8B-AF3B-4DF5-8112-C8AC28D56CC8}" type="datetime'''''''''''''''''''''''''''''''''''''''''''''''''''''5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2530CBE6-7373-4676-BDF8-DBBA09F907C4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845175" y="4284663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A6F7EC3-A537-481B-9C57-8C2FB0ACEEC3}" type="datetime'''''''''''''''''''''''''''''5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E257E64-CCC7-4E19-8FC8-7C42A2CD922E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5394325" y="3513138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9AF813D-004F-4BBD-A626-D81B6F325AAD}" type="datetime'''''''''''''''''1''''''''''''0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BF53DF78-C1C2-4DE4-BBDC-7EBEAF7570F6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659438" y="3898900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F15F1B3-63D8-42A3-9E41-7AC3FF446547}" type="datetime'''''''''''''''''''''''''''''''''''''''''''''''''7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E32FFF74-9396-464C-8D59-2C99C5348754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6008688" y="4672013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390EC57-3E24-4095-A5E0-EB67D8B09535}" type="datetime'''''''''''''''''''''4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06EC015-2FC7-4C12-A449-5E7E4104BDDC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6891338" y="5057775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7E277FF-3DCD-4307-B498-BC41B2D0A145}" type="datetime'''2''''''''''''''''''''''''''''''''''''''''''''''''2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2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CC3D5F52-83D8-4623-88F8-2F7529BDA18C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388350" y="6216650"/>
            <a:ext cx="3460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126D3AC-3408-4ADE-9AF5-28696E52177F}" type="datetime'1''''''''''''''''''1''5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1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EA6E5124-EA99-4182-A9B8-F6CA88CE85DB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480175" y="2538413"/>
            <a:ext cx="250825" cy="187325"/>
          </a:xfrm>
          <a:prstGeom prst="rect">
            <a:avLst/>
          </a:prstGeom>
          <a:solidFill>
            <a:srgbClr val="9B7AB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AF1CAF31-D624-4B62-853B-88D203428322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480175" y="1747838"/>
            <a:ext cx="250825" cy="18732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C715D5DE-5883-4942-B354-ED109E93C74A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480175" y="2011363"/>
            <a:ext cx="250825" cy="187325"/>
          </a:xfrm>
          <a:prstGeom prst="rect">
            <a:avLst/>
          </a:prstGeom>
          <a:solidFill>
            <a:srgbClr val="C2AF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47794F37-7DBE-47D4-8C2C-5FABC46DB188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6480175" y="2274888"/>
            <a:ext cx="250825" cy="187325"/>
          </a:xfrm>
          <a:prstGeom prst="rect">
            <a:avLst/>
          </a:prstGeom>
          <a:solidFill>
            <a:srgbClr val="84137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BFD71E70-4F13-4764-B9B1-B353ABFC3C24}"/>
              </a:ext>
            </a:extLst>
          </p:cNvPr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6781800" y="2270125"/>
            <a:ext cx="27289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Synthesis for </a:t>
            </a:r>
            <a:r>
              <a:rPr kumimoji="0" lang="en-GB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synfuels</a:t>
            </a: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 production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D6B67B86-C8EB-4564-AC61-2696806F9729}"/>
              </a:ext>
            </a:extLst>
          </p:cNvPr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6781800" y="1743075"/>
            <a:ext cx="1736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t>Direct electrification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045293C0-2A62-4900-A8C4-964795F859F7}"/>
              </a:ext>
            </a:extLst>
          </p:cNvPr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6781800" y="2006600"/>
            <a:ext cx="30575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Electrolysis for hydrogen production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F21B1D87-91E9-4A4E-A2FB-0314EB3A9435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6781800" y="2533650"/>
            <a:ext cx="38576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t>Haber-Bosh process for ammonia production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A173EF2-3E5F-40EB-B32B-A4E2DBBDB6BB}"/>
              </a:ext>
            </a:extLst>
          </p:cNvPr>
          <p:cNvCxnSpPr>
            <a:cxnSpLocks/>
          </p:cNvCxnSpPr>
          <p:nvPr/>
        </p:nvCxnSpPr>
        <p:spPr>
          <a:xfrm>
            <a:off x="1019175" y="4973638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E575384-816A-4094-8CBC-71D85461B0B7}"/>
              </a:ext>
            </a:extLst>
          </p:cNvPr>
          <p:cNvCxnSpPr>
            <a:cxnSpLocks/>
          </p:cNvCxnSpPr>
          <p:nvPr/>
        </p:nvCxnSpPr>
        <p:spPr>
          <a:xfrm>
            <a:off x="1019175" y="5751513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764328D-CDB8-4117-B752-A3459B839D96}"/>
              </a:ext>
            </a:extLst>
          </p:cNvPr>
          <p:cNvCxnSpPr>
            <a:cxnSpLocks/>
          </p:cNvCxnSpPr>
          <p:nvPr/>
        </p:nvCxnSpPr>
        <p:spPr>
          <a:xfrm>
            <a:off x="1019175" y="3808413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72BAB83-5DE5-41DC-A15A-C5832593B0C3}"/>
              </a:ext>
            </a:extLst>
          </p:cNvPr>
          <p:cNvCxnSpPr>
            <a:cxnSpLocks/>
          </p:cNvCxnSpPr>
          <p:nvPr/>
        </p:nvCxnSpPr>
        <p:spPr>
          <a:xfrm>
            <a:off x="1019175" y="4195763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5AD9B7CB-4165-4687-A549-69A330CD087C}"/>
              </a:ext>
            </a:extLst>
          </p:cNvPr>
          <p:cNvCxnSpPr>
            <a:cxnSpLocks/>
          </p:cNvCxnSpPr>
          <p:nvPr/>
        </p:nvCxnSpPr>
        <p:spPr>
          <a:xfrm>
            <a:off x="1019175" y="4584700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1E23088A-E16F-418A-B825-86E9A172CD54}"/>
              </a:ext>
            </a:extLst>
          </p:cNvPr>
          <p:cNvCxnSpPr>
            <a:cxnSpLocks/>
          </p:cNvCxnSpPr>
          <p:nvPr/>
        </p:nvCxnSpPr>
        <p:spPr>
          <a:xfrm>
            <a:off x="1019175" y="5362575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C6185B96-DAF4-4C31-B4AD-6C8E30B8C97D}"/>
              </a:ext>
            </a:extLst>
          </p:cNvPr>
          <p:cNvSpPr/>
          <p:nvPr/>
        </p:nvSpPr>
        <p:spPr>
          <a:xfrm>
            <a:off x="1020763" y="3463925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ight duty transpor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3BBD1D3-5342-463D-8596-C5C199D7BCFE}"/>
              </a:ext>
            </a:extLst>
          </p:cNvPr>
          <p:cNvSpPr/>
          <p:nvPr/>
        </p:nvSpPr>
        <p:spPr>
          <a:xfrm>
            <a:off x="1020763" y="3852863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 duty transpor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501FA8-510E-4EA8-AB02-3087174E703C}"/>
              </a:ext>
            </a:extLst>
          </p:cNvPr>
          <p:cNvSpPr/>
          <p:nvPr/>
        </p:nvSpPr>
        <p:spPr>
          <a:xfrm>
            <a:off x="1020763" y="4241800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51B27DC-424C-4143-8627-C87753C1DA0A}"/>
              </a:ext>
            </a:extLst>
          </p:cNvPr>
          <p:cNvSpPr/>
          <p:nvPr/>
        </p:nvSpPr>
        <p:spPr>
          <a:xfrm>
            <a:off x="1020763" y="4630738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iation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4D83A0A-6614-470D-B892-DD8730473748}"/>
              </a:ext>
            </a:extLst>
          </p:cNvPr>
          <p:cNvSpPr/>
          <p:nvPr/>
        </p:nvSpPr>
        <p:spPr>
          <a:xfrm>
            <a:off x="1020763" y="3074988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ther industries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35D46D8-D76E-4369-8EBD-8FF8656B52D0}"/>
              </a:ext>
            </a:extLst>
          </p:cNvPr>
          <p:cNvSpPr/>
          <p:nvPr/>
        </p:nvSpPr>
        <p:spPr>
          <a:xfrm>
            <a:off x="1020763" y="5019675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uilding heating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F06C0F2-AD76-45DE-83D1-0961103FEF3B}"/>
              </a:ext>
            </a:extLst>
          </p:cNvPr>
          <p:cNvSpPr/>
          <p:nvPr/>
        </p:nvSpPr>
        <p:spPr>
          <a:xfrm>
            <a:off x="1020763" y="1519238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eme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B2F36C1-BCA5-44D4-BA6F-3988820A604E}"/>
              </a:ext>
            </a:extLst>
          </p:cNvPr>
          <p:cNvSpPr/>
          <p:nvPr/>
        </p:nvSpPr>
        <p:spPr>
          <a:xfrm>
            <a:off x="1020763" y="1908175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teel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8318E34-19D5-4F1F-B57C-F5CFD748BADB}"/>
              </a:ext>
            </a:extLst>
          </p:cNvPr>
          <p:cNvSpPr/>
          <p:nvPr/>
        </p:nvSpPr>
        <p:spPr>
          <a:xfrm>
            <a:off x="1020763" y="2686050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micals –  feedstock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F1436A0-9CBA-468E-8523-4794DE1DEEC7}"/>
              </a:ext>
            </a:extLst>
          </p:cNvPr>
          <p:cNvSpPr/>
          <p:nvPr/>
        </p:nvSpPr>
        <p:spPr>
          <a:xfrm>
            <a:off x="1020763" y="5797550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ther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8F992FD9-F185-474F-96BF-2DB8A72FD355}"/>
              </a:ext>
            </a:extLst>
          </p:cNvPr>
          <p:cNvSpPr/>
          <p:nvPr/>
        </p:nvSpPr>
        <p:spPr>
          <a:xfrm>
            <a:off x="1020763" y="2297113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micals – energy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68132BFC-D10D-4552-9845-054653D93903}"/>
              </a:ext>
            </a:extLst>
          </p:cNvPr>
          <p:cNvSpPr/>
          <p:nvPr/>
        </p:nvSpPr>
        <p:spPr>
          <a:xfrm>
            <a:off x="1020763" y="5408613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griculture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C6E52A13-997F-402A-A983-9EE2DAF5D21C}"/>
              </a:ext>
            </a:extLst>
          </p:cNvPr>
          <p:cNvCxnSpPr>
            <a:cxnSpLocks/>
          </p:cNvCxnSpPr>
          <p:nvPr/>
        </p:nvCxnSpPr>
        <p:spPr>
          <a:xfrm>
            <a:off x="1019175" y="6140450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E4EE9389-84CE-458E-9031-D785B5096199}"/>
              </a:ext>
            </a:extLst>
          </p:cNvPr>
          <p:cNvSpPr/>
          <p:nvPr/>
        </p:nvSpPr>
        <p:spPr>
          <a:xfrm>
            <a:off x="1020763" y="6186488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tal</a:t>
            </a:r>
          </a:p>
        </p:txBody>
      </p:sp>
      <p:sp>
        <p:nvSpPr>
          <p:cNvPr id="255" name="Speech Bubble: Rectangle 254">
            <a:extLst>
              <a:ext uri="{FF2B5EF4-FFF2-40B4-BE49-F238E27FC236}">
                <a16:creationId xmlns:a16="http://schemas.microsoft.com/office/drawing/2014/main" id="{5D755FBC-1842-4EE4-B65B-0847CA8D423B}"/>
              </a:ext>
            </a:extLst>
          </p:cNvPr>
          <p:cNvSpPr/>
          <p:nvPr/>
        </p:nvSpPr>
        <p:spPr>
          <a:xfrm>
            <a:off x="9105813" y="6069375"/>
            <a:ext cx="1332000" cy="360000"/>
          </a:xfrm>
          <a:prstGeom prst="wedgeRectCallout">
            <a:avLst>
              <a:gd name="adj1" fmla="val -71055"/>
              <a:gd name="adj2" fmla="val 17326"/>
            </a:avLst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x5-6 vs. 2014</a:t>
            </a:r>
          </a:p>
        </p:txBody>
      </p:sp>
      <p:sp>
        <p:nvSpPr>
          <p:cNvPr id="102" name="AutoShape 250">
            <a:extLst>
              <a:ext uri="{FF2B5EF4-FFF2-40B4-BE49-F238E27FC236}">
                <a16:creationId xmlns:a16="http://schemas.microsoft.com/office/drawing/2014/main" id="{DBD8410B-6CF5-4A19-95DC-61479201C0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4912" y="933902"/>
            <a:ext cx="6765925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Final electricity consumption in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 net-zero-CO</a:t>
            </a:r>
            <a:r>
              <a:rPr kumimoji="0" lang="en-GB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emissions econom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00 TWh/year</a:t>
            </a:r>
          </a:p>
        </p:txBody>
      </p:sp>
      <p:cxnSp>
        <p:nvCxnSpPr>
          <p:cNvPr id="104" name="AutoShape 249">
            <a:extLst>
              <a:ext uri="{FF2B5EF4-FFF2-40B4-BE49-F238E27FC236}">
                <a16:creationId xmlns:a16="http://schemas.microsoft.com/office/drawing/2014/main" id="{F078663D-080F-4094-A614-65A7E35B874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711575" y="1401716"/>
            <a:ext cx="6765925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5. Source">
            <a:extLst>
              <a:ext uri="{FF2B5EF4-FFF2-40B4-BE49-F238E27FC236}">
                <a16:creationId xmlns:a16="http://schemas.microsoft.com/office/drawing/2014/main" id="{0522D709-0292-41A9-B770-CD6DDBE3B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SYSTEMIQ analysis for th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ransitions Commission analysis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84109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9"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45" name="Title 1"/>
          <p:cNvSpPr txBox="1">
            <a:spLocks/>
          </p:cNvSpPr>
          <p:nvPr/>
        </p:nvSpPr>
        <p:spPr bwMode="auto">
          <a:xfrm>
            <a:off x="230912" y="133181"/>
            <a:ext cx="11340000" cy="627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2040" b="1" i="0" u="none" strike="noStrike" kern="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Low-cost, low-carbon electricity is likely to be available in most geographies,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2040" b="1" i="0" u="none" strike="noStrike" kern="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with electricity below $35/MWh produced in most favorable locations</a:t>
            </a: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A0248B9B-2048-4204-86F6-9F2AA6B5C5B5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830263" y="1841500"/>
          <a:ext cx="2433637" cy="3455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5B817151-5649-4880-9DF1-6937302C2AE7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320925" y="2278063"/>
            <a:ext cx="139700" cy="198438"/>
          </a:xfrm>
          <a:prstGeom prst="rect">
            <a:avLst/>
          </a:prstGeom>
          <a:solidFill>
            <a:srgbClr val="FFCB84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4F9EC96-01E8-4302-8358-0B1B43712301}" type="datetime'''''''''''''''''2'''''''''''''''''''''''''''''''''''"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B638D3B-7FE0-48A2-A485-02400B4BB521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373188" y="5270500"/>
            <a:ext cx="13462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t>Breakdown by flexibility services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4EDD735-928B-45A8-A2F1-478FC0597CA9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930400" y="2079625"/>
            <a:ext cx="2317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F40221A-E240-4570-AC35-E5E0C0F6D7D4}" type="datetime'''''''''''''''7''''''''''''''''''''''''''''''''''0'''''''''''"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0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5306403-1699-465F-AF29-CDEE396D4645}"/>
              </a:ext>
            </a:extLst>
          </p:cNvPr>
          <p:cNvSpPr txBox="1"/>
          <p:nvPr/>
        </p:nvSpPr>
        <p:spPr>
          <a:xfrm>
            <a:off x="3442824" y="3762900"/>
            <a:ext cx="206737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Intraday balancing/ </a:t>
            </a: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Ramping capacity cost*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73E0F34-507C-45C0-A87C-DB5B4A783F0D}"/>
              </a:ext>
            </a:extLst>
          </p:cNvPr>
          <p:cNvSpPr txBox="1"/>
          <p:nvPr/>
        </p:nvSpPr>
        <p:spPr>
          <a:xfrm>
            <a:off x="3426422" y="4318502"/>
            <a:ext cx="180396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Levelized renewable 
generation cos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295F12-A56F-42AD-A953-91FA9050E8A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162726" y="4448677"/>
            <a:ext cx="146718" cy="1397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AE673ED-EE42-4F4A-BA88-2A29287BA3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162726" y="3891488"/>
            <a:ext cx="146718" cy="1397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9F2E2ED-6462-4DE5-A92E-50EDDB8BF1B1}"/>
              </a:ext>
            </a:extLst>
          </p:cNvPr>
          <p:cNvSpPr txBox="1"/>
          <p:nvPr/>
        </p:nvSpPr>
        <p:spPr>
          <a:xfrm>
            <a:off x="3442824" y="3231088"/>
            <a:ext cx="159389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Interday/Seasonal </a:t>
            </a: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</a:b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balancing cost*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6AB999F-0E50-4AF7-B837-40D189F6702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162726" y="3358088"/>
            <a:ext cx="146718" cy="1397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86DBBA7-CF1A-49DE-AD8C-68A638ACA27A}"/>
              </a:ext>
            </a:extLst>
          </p:cNvPr>
          <p:cNvSpPr txBox="1"/>
          <p:nvPr/>
        </p:nvSpPr>
        <p:spPr>
          <a:xfrm>
            <a:off x="3431152" y="2925117"/>
            <a:ext cx="1137065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Reserves cos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F0416B3-420C-47D0-A75B-33A2EF22633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162726" y="2958454"/>
            <a:ext cx="146718" cy="139700"/>
          </a:xfrm>
          <a:prstGeom prst="rect">
            <a:avLst/>
          </a:prstGeom>
          <a:solidFill>
            <a:srgbClr val="FFC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1791D16A-B1DA-4DDA-9A54-623866FF6AF8}"/>
              </a:ext>
            </a:extLst>
          </p:cNvPr>
          <p:cNvSpPr/>
          <p:nvPr/>
        </p:nvSpPr>
        <p:spPr>
          <a:xfrm>
            <a:off x="5735638" y="2252663"/>
            <a:ext cx="287338" cy="3335338"/>
          </a:xfrm>
          <a:prstGeom prst="rightArrow">
            <a:avLst>
              <a:gd name="adj1" fmla="val 50000"/>
              <a:gd name="adj2" fmla="val 100203"/>
            </a:avLst>
          </a:prstGeom>
          <a:solidFill>
            <a:srgbClr val="4C6C9C"/>
          </a:solidFill>
          <a:ln w="9525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4BA3FB4-790D-4A95-8947-B9B558BB0E28}"/>
              </a:ext>
            </a:extLst>
          </p:cNvPr>
          <p:cNvSpPr>
            <a:spLocks/>
          </p:cNvSpPr>
          <p:nvPr/>
        </p:nvSpPr>
        <p:spPr>
          <a:xfrm>
            <a:off x="6584954" y="2355852"/>
            <a:ext cx="1259851" cy="468093"/>
          </a:xfrm>
          <a:prstGeom prst="ellipse">
            <a:avLst/>
          </a:prstGeom>
          <a:solidFill>
            <a:srgbClr val="4C6C9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70/MWh</a:t>
            </a:r>
          </a:p>
        </p:txBody>
      </p:sp>
      <p:sp>
        <p:nvSpPr>
          <p:cNvPr id="43" name="3. Unit of measure">
            <a:extLst>
              <a:ext uri="{FF2B5EF4-FFF2-40B4-BE49-F238E27FC236}">
                <a16:creationId xmlns:a16="http://schemas.microsoft.com/office/drawing/2014/main" id="{9F90568B-EAFE-4B08-9076-7A0968F7FB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2420" y="5185649"/>
            <a:ext cx="2699681" cy="200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 baseline="0"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 favorable geographie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3F82478C-9D35-4F1C-802D-BD784915B4DC}"/>
              </a:ext>
            </a:extLst>
          </p:cNvPr>
          <p:cNvSpPr>
            <a:spLocks/>
          </p:cNvSpPr>
          <p:nvPr/>
        </p:nvSpPr>
        <p:spPr>
          <a:xfrm>
            <a:off x="6584954" y="5051650"/>
            <a:ext cx="1259851" cy="468093"/>
          </a:xfrm>
          <a:prstGeom prst="ellipse">
            <a:avLst/>
          </a:prstGeom>
          <a:solidFill>
            <a:srgbClr val="4C6C9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&lt;US$35/MWh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309884E-695B-4B50-8B91-DAC907946A74}"/>
              </a:ext>
            </a:extLst>
          </p:cNvPr>
          <p:cNvSpPr>
            <a:spLocks/>
          </p:cNvSpPr>
          <p:nvPr/>
        </p:nvSpPr>
        <p:spPr>
          <a:xfrm>
            <a:off x="6584954" y="3703886"/>
            <a:ext cx="1259851" cy="468093"/>
          </a:xfrm>
          <a:prstGeom prst="ellipse">
            <a:avLst/>
          </a:prstGeom>
          <a:solidFill>
            <a:srgbClr val="4C6C9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55/MWh</a:t>
            </a:r>
          </a:p>
        </p:txBody>
      </p:sp>
      <p:sp>
        <p:nvSpPr>
          <p:cNvPr id="52" name="3. Unit of measure">
            <a:extLst>
              <a:ext uri="{FF2B5EF4-FFF2-40B4-BE49-F238E27FC236}">
                <a16:creationId xmlns:a16="http://schemas.microsoft.com/office/drawing/2014/main" id="{700B9770-7FED-4D5B-8A33-40E762F66B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2420" y="2392584"/>
            <a:ext cx="3098011" cy="400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 baseline="0"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ximum in most geographies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with batteries and gas peaking plants only</a:t>
            </a:r>
          </a:p>
        </p:txBody>
      </p:sp>
      <p:sp>
        <p:nvSpPr>
          <p:cNvPr id="53" name="3. Unit of measure">
            <a:extLst>
              <a:ext uri="{FF2B5EF4-FFF2-40B4-BE49-F238E27FC236}">
                <a16:creationId xmlns:a16="http://schemas.microsoft.com/office/drawing/2014/main" id="{39240756-4C39-48D6-862C-DC63E29CB2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2420" y="3565153"/>
            <a:ext cx="3098011" cy="800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 baseline="0"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chievable in most geographies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when using other sources of flexibility (e.g. dispatchable hydro,</a:t>
            </a: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mand management…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182E034-4DEC-4B6F-A74E-11CEA801786F}"/>
              </a:ext>
            </a:extLst>
          </p:cNvPr>
          <p:cNvSpPr txBox="1"/>
          <p:nvPr/>
        </p:nvSpPr>
        <p:spPr>
          <a:xfrm>
            <a:off x="10309412" y="6245225"/>
            <a:ext cx="16587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6" name="AutoShape 250">
            <a:extLst>
              <a:ext uri="{FF2B5EF4-FFF2-40B4-BE49-F238E27FC236}">
                <a16:creationId xmlns:a16="http://schemas.microsoft.com/office/drawing/2014/main" id="{13022F81-3DE9-4489-8FBA-6303A671C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8700" y="1470118"/>
            <a:ext cx="9213973" cy="44901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ximum all-in cost of power generation in a near-total-variable-renewable power system by 2035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/MWh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0" name="5. Source">
            <a:extLst>
              <a:ext uri="{FF2B5EF4-FFF2-40B4-BE49-F238E27FC236}">
                <a16:creationId xmlns:a16="http://schemas.microsoft.com/office/drawing/2014/main" id="{63C0D670-C025-4992-A1CA-7FA6AD4A74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999919"/>
            <a:ext cx="12192000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Based on German resource and load profile / *Considers only two flexibility technologies: CCGT &amp; Lithium-ion batteries / Levelized renewable energy generation cost includes all energy potentially produced, including amount curtailed or stored/shifted. 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dapted from Climate Policy Initiative for the Energy Transitions Commission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ow-cost, low-carbon power system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8E7AB0E-5AAE-4744-BE85-D883186F1781}"/>
              </a:ext>
            </a:extLst>
          </p:cNvPr>
          <p:cNvCxnSpPr>
            <a:cxnSpLocks/>
          </p:cNvCxnSpPr>
          <p:nvPr/>
        </p:nvCxnSpPr>
        <p:spPr>
          <a:xfrm>
            <a:off x="1217434" y="1930765"/>
            <a:ext cx="9900087" cy="0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95385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Slide" r:id="rId22" imgW="526" imgH="526" progId="TCLayout.ActiveDocument.1">
                  <p:embed/>
                </p:oleObj>
              </mc:Choice>
              <mc:Fallback>
                <p:oleObj name="think-cell Slide" r:id="rId22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0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ＭＳ Ｐゴシック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39" name="Rectangle 75">
            <a:extLst>
              <a:ext uri="{FF2B5EF4-FFF2-40B4-BE49-F238E27FC236}">
                <a16:creationId xmlns:a16="http://schemas.microsoft.com/office/drawing/2014/main" id="{F655C5F2-6E37-4E2C-AE49-FBF81CEEE73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307326" y="5066929"/>
            <a:ext cx="1559051" cy="565838"/>
          </a:xfrm>
          <a:prstGeom prst="rect">
            <a:avLst/>
          </a:prstGeom>
          <a:solidFill>
            <a:srgbClr val="F38B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91" y="273611"/>
            <a:ext cx="9707925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Costs of supply-side decarbonization vary greatly by sectors  </a:t>
            </a:r>
            <a:endParaRPr lang="en-GB" sz="1800" b="0" dirty="0"/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FCBDB4BB-2789-45C7-98C6-4D88FD786C68}"/>
              </a:ext>
            </a:extLst>
          </p:cNvPr>
          <p:cNvGraphicFramePr/>
          <p:nvPr>
            <p:custDataLst>
              <p:tags r:id="rId6"/>
            </p:custDataLst>
            <p:extLst/>
          </p:nvPr>
        </p:nvGraphicFramePr>
        <p:xfrm>
          <a:off x="3308350" y="1644650"/>
          <a:ext cx="7608888" cy="4151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90" name="Rectangle 89">
            <a:extLst>
              <a:ext uri="{FF2B5EF4-FFF2-40B4-BE49-F238E27FC236}">
                <a16:creationId xmlns:a16="http://schemas.microsoft.com/office/drawing/2014/main" id="{462AA2CA-EF35-4FFC-A918-4E3B1F5C3A7C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9690100" y="3289300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4C58573-4103-4547-8C26-828916FB5808}" type="datetime'2''''''''95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9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58DD276-A929-4DBF-A820-4F7EEC2B4FA8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4692650" y="1960563"/>
            <a:ext cx="2317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6F83022-6481-442C-A4B2-132F70BE4DCF}" type="datetime'''6''0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5251288-B5EC-4BF1-B2F6-03D08A5538F5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8307388" y="4618038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B67D963-810D-4F36-9C0B-F7BFC92D06D3}" type="datetime'''''''''''''''''2''''''''''''''''3''''''''0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3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AE53599-1F19-4F8C-9B1C-AF66B85237D6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6181725" y="2624138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D706117-5D29-4218-9988-E3F13B00D40D}" type="datetime'''''''''''''''''''''1''''''''''''''''''''3''''''0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3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222379-1954-49DD-97F9-0981CB2C16CD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0860088" y="5281613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29A4DDB-9E5F-494B-A4D6-D135C8EE3078}" type="datetime'''''''3''''''''''''''''''''''5''''''''''''''0''''''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50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104" name="Rectangle 75">
            <a:extLst>
              <a:ext uri="{FF2B5EF4-FFF2-40B4-BE49-F238E27FC236}">
                <a16:creationId xmlns:a16="http://schemas.microsoft.com/office/drawing/2014/main" id="{B87E20AC-13FA-46A4-A46C-6A9459A5E4F0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19907" y="1727007"/>
            <a:ext cx="633637" cy="1858104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  <a:extLst/>
        </p:spPr>
        <p:txBody>
          <a:bodyPr vert="vert270"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dustry</a:t>
            </a:r>
          </a:p>
        </p:txBody>
      </p:sp>
      <p:sp>
        <p:nvSpPr>
          <p:cNvPr id="105" name="Rectangle 75">
            <a:extLst>
              <a:ext uri="{FF2B5EF4-FFF2-40B4-BE49-F238E27FC236}">
                <a16:creationId xmlns:a16="http://schemas.microsoft.com/office/drawing/2014/main" id="{FEBEF59C-B8DB-4230-82D6-BFAA8E1689B1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307327" y="1729502"/>
            <a:ext cx="1559051" cy="5658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teel</a:t>
            </a:r>
          </a:p>
        </p:txBody>
      </p:sp>
      <p:sp>
        <p:nvSpPr>
          <p:cNvPr id="106" name="Rectangle 75">
            <a:extLst>
              <a:ext uri="{FF2B5EF4-FFF2-40B4-BE49-F238E27FC236}">
                <a16:creationId xmlns:a16="http://schemas.microsoft.com/office/drawing/2014/main" id="{A6B96855-34C6-490D-9676-0B56E341F3ED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307327" y="2378251"/>
            <a:ext cx="1559051" cy="56583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ement</a:t>
            </a:r>
          </a:p>
        </p:txBody>
      </p:sp>
      <p:sp>
        <p:nvSpPr>
          <p:cNvPr id="107" name="Rectangle 75">
            <a:extLst>
              <a:ext uri="{FF2B5EF4-FFF2-40B4-BE49-F238E27FC236}">
                <a16:creationId xmlns:a16="http://schemas.microsoft.com/office/drawing/2014/main" id="{6D058270-3DCC-4E16-9EE2-757D6079F35A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307327" y="3028248"/>
            <a:ext cx="1559051" cy="5658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thylene</a:t>
            </a:r>
          </a:p>
        </p:txBody>
      </p:sp>
      <p:sp>
        <p:nvSpPr>
          <p:cNvPr id="108" name="Rectangle 75">
            <a:extLst>
              <a:ext uri="{FF2B5EF4-FFF2-40B4-BE49-F238E27FC236}">
                <a16:creationId xmlns:a16="http://schemas.microsoft.com/office/drawing/2014/main" id="{21EE6A32-9A65-4EE2-9A14-91C765ECEC31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19907" y="3763452"/>
            <a:ext cx="633637" cy="1867719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  <a:extLst/>
        </p:spPr>
        <p:txBody>
          <a:bodyPr vert="vert270"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ransport</a:t>
            </a:r>
          </a:p>
        </p:txBody>
      </p:sp>
      <p:sp>
        <p:nvSpPr>
          <p:cNvPr id="109" name="Rectangle 75">
            <a:extLst>
              <a:ext uri="{FF2B5EF4-FFF2-40B4-BE49-F238E27FC236}">
                <a16:creationId xmlns:a16="http://schemas.microsoft.com/office/drawing/2014/main" id="{570502F5-712D-44D9-919F-80798CDE9A53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307327" y="3765947"/>
            <a:ext cx="1559051" cy="56583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-road transport</a:t>
            </a:r>
          </a:p>
        </p:txBody>
      </p:sp>
      <p:sp>
        <p:nvSpPr>
          <p:cNvPr id="114" name="Rectangle 75">
            <a:extLst>
              <a:ext uri="{FF2B5EF4-FFF2-40B4-BE49-F238E27FC236}">
                <a16:creationId xmlns:a16="http://schemas.microsoft.com/office/drawing/2014/main" id="{39614CC4-CB27-4F88-9638-B18DBABFD27F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307325" y="4414392"/>
            <a:ext cx="1559051" cy="565838"/>
          </a:xfrm>
          <a:prstGeom prst="rect">
            <a:avLst/>
          </a:prstGeom>
          <a:solidFill>
            <a:srgbClr val="ED5C05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iation</a:t>
            </a:r>
          </a:p>
        </p:txBody>
      </p:sp>
      <p:sp>
        <p:nvSpPr>
          <p:cNvPr id="154" name="Rectangle 75">
            <a:extLst>
              <a:ext uri="{FF2B5EF4-FFF2-40B4-BE49-F238E27FC236}">
                <a16:creationId xmlns:a16="http://schemas.microsoft.com/office/drawing/2014/main" id="{8F73EFFB-4E48-4BAB-9038-DE0743F06E34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243349" y="3810075"/>
            <a:ext cx="6141097" cy="4506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 marginal decarbonization cost, but significant infrastructure cost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94118DA6-5023-4D2F-A348-F007B9715E61}"/>
              </a:ext>
            </a:extLst>
          </p:cNvPr>
          <p:cNvSpPr txBox="1"/>
          <p:nvPr/>
        </p:nvSpPr>
        <p:spPr>
          <a:xfrm>
            <a:off x="5280257" y="2578450"/>
            <a:ext cx="71238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10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F4BED4FF-3D3C-4A72-AB7E-CA591AC1F9A3}"/>
              </a:ext>
            </a:extLst>
          </p:cNvPr>
          <p:cNvSpPr txBox="1"/>
          <p:nvPr/>
        </p:nvSpPr>
        <p:spPr>
          <a:xfrm>
            <a:off x="8557386" y="3242325"/>
            <a:ext cx="71238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65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01737477-ABCC-4938-A56F-7B973130CA96}"/>
              </a:ext>
            </a:extLst>
          </p:cNvPr>
          <p:cNvSpPr txBox="1"/>
          <p:nvPr/>
        </p:nvSpPr>
        <p:spPr>
          <a:xfrm>
            <a:off x="6131955" y="5234638"/>
            <a:ext cx="71238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50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5879FC-EFAC-424E-B181-4E1DAFCB364F}"/>
              </a:ext>
            </a:extLst>
          </p:cNvPr>
          <p:cNvSpPr txBox="1"/>
          <p:nvPr/>
        </p:nvSpPr>
        <p:spPr>
          <a:xfrm>
            <a:off x="5350518" y="4571063"/>
            <a:ext cx="71238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15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7E17BE5B-B732-49FE-9277-899FE999EFF2}"/>
              </a:ext>
            </a:extLst>
          </p:cNvPr>
          <p:cNvSpPr txBox="1"/>
          <p:nvPr/>
        </p:nvSpPr>
        <p:spPr>
          <a:xfrm>
            <a:off x="3530968" y="1913588"/>
            <a:ext cx="71238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5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C1839FA-BAFF-4FDB-96CA-9352033632CE}"/>
              </a:ext>
            </a:extLst>
          </p:cNvPr>
          <p:cNvGrpSpPr/>
          <p:nvPr/>
        </p:nvGrpSpPr>
        <p:grpSpPr>
          <a:xfrm>
            <a:off x="437048" y="1106542"/>
            <a:ext cx="10746890" cy="449354"/>
            <a:chOff x="176793" y="1265137"/>
            <a:chExt cx="11838412" cy="195403"/>
          </a:xfrm>
        </p:grpSpPr>
        <p:sp>
          <p:nvSpPr>
            <p:cNvPr id="35" name="AutoShape 250">
              <a:extLst>
                <a:ext uri="{FF2B5EF4-FFF2-40B4-BE49-F238E27FC236}">
                  <a16:creationId xmlns:a16="http://schemas.microsoft.com/office/drawing/2014/main" id="{6A7B1685-F7C5-4507-893A-2FA0B07464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793" y="1265137"/>
              <a:ext cx="11838412" cy="19540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upply-side abatement cost in a low-cost and high-cost scenarios 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/tonne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O</a:t>
              </a:r>
              <a:r>
                <a:rPr kumimoji="0" lang="en-US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 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cxnSp>
          <p:nvCxnSpPr>
            <p:cNvPr id="36" name="AutoShape 249">
              <a:extLst>
                <a:ext uri="{FF2B5EF4-FFF2-40B4-BE49-F238E27FC236}">
                  <a16:creationId xmlns:a16="http://schemas.microsoft.com/office/drawing/2014/main" id="{772C366B-2F6B-44F1-93FE-6AACDBBE37A9}"/>
                </a:ext>
              </a:extLst>
            </p:cNvPr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176793" y="1460540"/>
              <a:ext cx="11838412" cy="0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8" name="5. Source">
            <a:extLst>
              <a:ext uri="{FF2B5EF4-FFF2-40B4-BE49-F238E27FC236}">
                <a16:creationId xmlns:a16="http://schemas.microsoft.com/office/drawing/2014/main" id="{22F0ED1F-9520-495E-BE8F-903AA1B04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94427"/>
            <a:ext cx="11778784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Industry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cKinsey &amp; Company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carbonization of industrial sectors: the next frontier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/ Shipping: UMAS analysis for the Energy Transitions Commission (2018) / Other transport sectors: 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8025432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6CCCDE3-C2BA-46D1-9DD4-D2B9275854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3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6CCCDE3-C2BA-46D1-9DD4-D2B927585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FF0398-128E-4942-A676-54AEAB2F58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40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04A44C4-5C01-4234-80DB-5C19FDD73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996" y="145447"/>
            <a:ext cx="11147208" cy="6278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40" dirty="0">
                <a:solidFill>
                  <a:srgbClr val="004876"/>
                </a:solidFill>
                <a:latin typeface="Century Gothic"/>
              </a:rPr>
              <a:t>Producing hydrogen from electrolysis may already be cost-competitive with the traditional SMR route in locations with low renewable electricity costs</a:t>
            </a:r>
          </a:p>
        </p:txBody>
      </p:sp>
      <p:graphicFrame>
        <p:nvGraphicFramePr>
          <p:cNvPr id="66" name="Chart 65">
            <a:extLst>
              <a:ext uri="{FF2B5EF4-FFF2-40B4-BE49-F238E27FC236}">
                <a16:creationId xmlns:a16="http://schemas.microsoft.com/office/drawing/2014/main" id="{C09214AF-4524-42D5-9D0D-288688F6EC41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166813" y="1595438"/>
          <a:ext cx="8561387" cy="4295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81ABBE2-F614-4509-B628-B10B2D419712}"/>
              </a:ext>
            </a:extLst>
          </p:cNvPr>
          <p:cNvCxnSpPr>
            <a:cxnSpLocks/>
          </p:cNvCxnSpPr>
          <p:nvPr/>
        </p:nvCxnSpPr>
        <p:spPr>
          <a:xfrm>
            <a:off x="9362207" y="4551452"/>
            <a:ext cx="0" cy="452063"/>
          </a:xfrm>
          <a:prstGeom prst="line">
            <a:avLst/>
          </a:prstGeom>
          <a:ln w="38100">
            <a:solidFill>
              <a:srgbClr val="4C6C9C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1D59E67-7389-4C3D-AAF7-77502302369B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9448800" y="2403475"/>
            <a:ext cx="438150" cy="0"/>
          </a:xfrm>
          <a:prstGeom prst="line">
            <a:avLst/>
          </a:prstGeom>
          <a:ln w="38100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DC85536-3E11-4BFB-BE77-F494CAA769D9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9448800" y="2154238"/>
            <a:ext cx="438150" cy="0"/>
          </a:xfrm>
          <a:prstGeom prst="line">
            <a:avLst/>
          </a:prstGeom>
          <a:ln w="38100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A549D12-A2FB-4E04-80DA-CA4FE4A6083F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9448800" y="2652713"/>
            <a:ext cx="438150" cy="0"/>
          </a:xfrm>
          <a:prstGeom prst="line">
            <a:avLst/>
          </a:prstGeom>
          <a:ln w="381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3852AA71-983E-467F-A689-19F83A9E62A6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9937750" y="2062163"/>
            <a:ext cx="10255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EDB9738-0E7F-47B4-B356-D69D2029427D}" type="datetime'''''''''U''''''S''''''''''''''D'''' 30''''/''M''''W''h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USD 30/MWh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AA9F321-A7DC-41C5-AB9E-BD6278278E28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9937750" y="2311400"/>
            <a:ext cx="10255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F7B0028-292D-4907-97E9-EC0359DD92B2}" type="datetime'''U''''''''''''''S''D'' ''7''0''/''M''''''''W''h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USD 70/MWh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B3D27F2-02A2-485A-AE2E-CD15E56E50E3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937750" y="2560638"/>
            <a:ext cx="9334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76F01FD-2049-4CD0-A4FB-97F448B5E83A}" type="datetime'U''''''''SD'' ''''''0''''''''/M''''''Wh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USD 0/MWh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0E6EC8-0E29-4588-9283-F672580B633D}"/>
              </a:ext>
            </a:extLst>
          </p:cNvPr>
          <p:cNvSpPr txBox="1"/>
          <p:nvPr/>
        </p:nvSpPr>
        <p:spPr>
          <a:xfrm>
            <a:off x="3114794" y="5919445"/>
            <a:ext cx="4665424" cy="2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oad factor of electrolyses, in full load hour equivalents</a:t>
            </a:r>
          </a:p>
        </p:txBody>
      </p:sp>
      <p:sp>
        <p:nvSpPr>
          <p:cNvPr id="24" name="5. Source">
            <a:extLst>
              <a:ext uri="{FF2B5EF4-FFF2-40B4-BE49-F238E27FC236}">
                <a16:creationId xmlns:a16="http://schemas.microsoft.com/office/drawing/2014/main" id="{8E38D046-6AC8-49DD-A865-784377ABF4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184585"/>
            <a:ext cx="12192000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ssumptions: electrolyzers CAPEX US$450/kW, WACC 7%, 30 years lifetime, 70% efficiency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dapted from Philibert, C. (2017), REFI, Insight Papers, IEA, Paris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roducing hydrogen from renewable energy </a:t>
            </a:r>
          </a:p>
        </p:txBody>
      </p:sp>
      <p:sp>
        <p:nvSpPr>
          <p:cNvPr id="42" name="AutoShape 250">
            <a:extLst>
              <a:ext uri="{FF2B5EF4-FFF2-40B4-BE49-F238E27FC236}">
                <a16:creationId xmlns:a16="http://schemas.microsoft.com/office/drawing/2014/main" id="{D3FDDD48-1988-4484-930C-5027131AEC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025" y="1098138"/>
            <a:ext cx="9213973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ydrogen production cost depending on cost of electricity and load fac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 per kg of hydrogen</a:t>
            </a:r>
            <a:endParaRPr kumimoji="0" lang="en-US" sz="1400" b="0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601F97F-CD7F-4EC2-891E-657BADFCC09E}"/>
              </a:ext>
            </a:extLst>
          </p:cNvPr>
          <p:cNvCxnSpPr>
            <a:cxnSpLocks/>
          </p:cNvCxnSpPr>
          <p:nvPr/>
        </p:nvCxnSpPr>
        <p:spPr>
          <a:xfrm>
            <a:off x="953025" y="1537357"/>
            <a:ext cx="10164496" cy="0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84C88FC-4116-4675-9DC7-EA12178A9875}"/>
              </a:ext>
            </a:extLst>
          </p:cNvPr>
          <p:cNvCxnSpPr>
            <a:cxnSpLocks/>
          </p:cNvCxnSpPr>
          <p:nvPr/>
        </p:nvCxnSpPr>
        <p:spPr>
          <a:xfrm>
            <a:off x="9527458" y="2964286"/>
            <a:ext cx="270676" cy="0"/>
          </a:xfrm>
          <a:prstGeom prst="line">
            <a:avLst/>
          </a:prstGeom>
          <a:ln w="38100">
            <a:solidFill>
              <a:srgbClr val="4C6C9C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utoShape 250">
            <a:extLst>
              <a:ext uri="{FF2B5EF4-FFF2-40B4-BE49-F238E27FC236}">
                <a16:creationId xmlns:a16="http://schemas.microsoft.com/office/drawing/2014/main" id="{F6AB9602-6A19-4AFE-AA87-46534DEFC1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1988" y="2860388"/>
            <a:ext cx="141721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4D4D4D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MR + CCS</a:t>
            </a:r>
            <a:endParaRPr kumimoji="0" lang="en-US" sz="1300" b="0" i="0" u="none" strike="noStrike" kern="1200" cap="none" spc="0" normalizeH="0" baseline="-25000" noProof="0" dirty="0">
              <a:ln>
                <a:noFill/>
              </a:ln>
              <a:solidFill>
                <a:srgbClr val="4D4D4D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866864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16512F8-0ECC-4732-AF17-F6868BCEA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16512F8-0ECC-4732-AF17-F6868BCEA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8CE355F-E220-4A2D-853C-8189F3D65B6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7E490D-21AD-4052-9792-597FF81A1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273610"/>
            <a:ext cx="10058751" cy="314060"/>
          </a:xfrm>
        </p:spPr>
        <p:txBody>
          <a:bodyPr/>
          <a:lstStyle/>
          <a:p>
            <a:r>
              <a:rPr lang="en-GB" dirty="0"/>
              <a:t>Availability of wind and solar resources differ significantly by region</a:t>
            </a:r>
            <a:endParaRPr lang="en-GB" sz="1800" b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9460B6-DB49-4E32-B749-9C8652607C0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100"/>
          <a:stretch/>
        </p:blipFill>
        <p:spPr>
          <a:xfrm>
            <a:off x="680906" y="1020620"/>
            <a:ext cx="10830187" cy="4940480"/>
          </a:xfrm>
          <a:prstGeom prst="rect">
            <a:avLst/>
          </a:prstGeom>
        </p:spPr>
      </p:pic>
      <p:sp>
        <p:nvSpPr>
          <p:cNvPr id="9" name="5. Source">
            <a:extLst>
              <a:ext uri="{FF2B5EF4-FFF2-40B4-BE49-F238E27FC236}">
                <a16:creationId xmlns:a16="http://schemas.microsoft.com/office/drawing/2014/main" id="{DFEA6341-BC5C-4273-A460-9C3F11320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69251"/>
            <a:ext cx="12192000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EA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Renewable Energy for Industry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(Adapted and based on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Fasih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ogdanov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and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reyer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(2016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echno-Economic Assessment of Power-to-Liquids (</a:t>
            </a:r>
            <a:r>
              <a:rPr kumimoji="0" lang="en-GB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tL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) Fuels Production and Global Trading Based on Hybrid PV-Wind Power Plant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)</a:t>
            </a: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79348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" name="Object 121" hidden="1">
            <a:extLst>
              <a:ext uri="{FF2B5EF4-FFF2-40B4-BE49-F238E27FC236}">
                <a16:creationId xmlns:a16="http://schemas.microsoft.com/office/drawing/2014/main" id="{46124D7F-9C1B-4E27-88A8-224A9495C3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22" name="Object 121" hidden="1">
                        <a:extLst>
                          <a:ext uri="{FF2B5EF4-FFF2-40B4-BE49-F238E27FC236}">
                            <a16:creationId xmlns:a16="http://schemas.microsoft.com/office/drawing/2014/main" id="{46124D7F-9C1B-4E27-88A8-224A9495C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Rectangle 120" hidden="1">
            <a:extLst>
              <a:ext uri="{FF2B5EF4-FFF2-40B4-BE49-F238E27FC236}">
                <a16:creationId xmlns:a16="http://schemas.microsoft.com/office/drawing/2014/main" id="{D3180227-D883-4713-A003-941276BD188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8E1FB0-C292-4B98-A346-800B54ED9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119440"/>
            <a:ext cx="11703330" cy="628121"/>
          </a:xfrm>
        </p:spPr>
        <p:txBody>
          <a:bodyPr/>
          <a:lstStyle/>
          <a:p>
            <a:r>
              <a:rPr lang="en-GB" dirty="0"/>
              <a:t>The role of biomass across multiple sectors will vary</a:t>
            </a:r>
            <a:br>
              <a:rPr lang="en-GB" dirty="0"/>
            </a:br>
            <a:r>
              <a:rPr lang="en-GB" dirty="0"/>
              <a:t>depending on the availability of alternative decarbonization options</a:t>
            </a:r>
          </a:p>
        </p:txBody>
      </p:sp>
      <p:sp>
        <p:nvSpPr>
          <p:cNvPr id="45" name="5. Source">
            <a:extLst>
              <a:ext uri="{FF2B5EF4-FFF2-40B4-BE49-F238E27FC236}">
                <a16:creationId xmlns:a16="http://schemas.microsoft.com/office/drawing/2014/main" id="{14C08C78-80E8-430A-80BB-D6BD2907F6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2" name="AutoShape 250">
            <a:extLst>
              <a:ext uri="{FF2B5EF4-FFF2-40B4-BE49-F238E27FC236}">
                <a16:creationId xmlns:a16="http://schemas.microsoft.com/office/drawing/2014/main" id="{D2D75825-A69D-49DA-8369-AE7B9136B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39417" y="1053596"/>
            <a:ext cx="3221952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Role of electricity-based fuels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2EF1CCB-2D0F-4820-8618-F67ABEF506D2}"/>
              </a:ext>
            </a:extLst>
          </p:cNvPr>
          <p:cNvSpPr/>
          <p:nvPr/>
        </p:nvSpPr>
        <p:spPr>
          <a:xfrm>
            <a:off x="2503752" y="966308"/>
            <a:ext cx="2160000" cy="705927"/>
          </a:xfrm>
          <a:prstGeom prst="rect">
            <a:avLst/>
          </a:prstGeom>
          <a:ln>
            <a:solidFill>
              <a:srgbClr val="4C6C9C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otential role of biomas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198F3937-8DEF-4F2B-9C39-CA06F3CFAAB0}"/>
              </a:ext>
            </a:extLst>
          </p:cNvPr>
          <p:cNvSpPr/>
          <p:nvPr/>
        </p:nvSpPr>
        <p:spPr>
          <a:xfrm>
            <a:off x="4825980" y="969561"/>
            <a:ext cx="6291314" cy="702272"/>
          </a:xfrm>
          <a:prstGeom prst="rect">
            <a:avLst/>
          </a:prstGeom>
          <a:ln>
            <a:solidFill>
              <a:srgbClr val="4C6C9C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in alternative decarbonization option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5490F03-91C1-46D4-A209-7BBBF85DAF94}"/>
              </a:ext>
            </a:extLst>
          </p:cNvPr>
          <p:cNvSpPr txBox="1"/>
          <p:nvPr/>
        </p:nvSpPr>
        <p:spPr>
          <a:xfrm>
            <a:off x="4829670" y="1352766"/>
            <a:ext cx="10810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icity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B56482F9-F540-4E57-B770-D933508AD772}"/>
              </a:ext>
            </a:extLst>
          </p:cNvPr>
          <p:cNvSpPr txBox="1"/>
          <p:nvPr/>
        </p:nvSpPr>
        <p:spPr>
          <a:xfrm>
            <a:off x="7444109" y="1351383"/>
            <a:ext cx="1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mmonia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153F8073-6ACA-4783-8959-55D06EE1DDC6}"/>
              </a:ext>
            </a:extLst>
          </p:cNvPr>
          <p:cNvSpPr txBox="1"/>
          <p:nvPr/>
        </p:nvSpPr>
        <p:spPr>
          <a:xfrm>
            <a:off x="8748931" y="1351383"/>
            <a:ext cx="1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nfuels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E2C7AB2B-200E-4324-90D2-E6BFFF8CF2C4}"/>
              </a:ext>
            </a:extLst>
          </p:cNvPr>
          <p:cNvSpPr txBox="1"/>
          <p:nvPr/>
        </p:nvSpPr>
        <p:spPr>
          <a:xfrm>
            <a:off x="6146334" y="1351632"/>
            <a:ext cx="10810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ydrogen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B493213B-271D-4FBC-8AF4-04EC2451D5A0}"/>
              </a:ext>
            </a:extLst>
          </p:cNvPr>
          <p:cNvSpPr txBox="1"/>
          <p:nvPr/>
        </p:nvSpPr>
        <p:spPr>
          <a:xfrm>
            <a:off x="9962045" y="1351382"/>
            <a:ext cx="1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CS/U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2933EDC3-0FC0-4537-99D5-45E3DE101487}"/>
              </a:ext>
            </a:extLst>
          </p:cNvPr>
          <p:cNvSpPr/>
          <p:nvPr/>
        </p:nvSpPr>
        <p:spPr>
          <a:xfrm rot="16200000">
            <a:off x="-518550" y="2452837"/>
            <a:ext cx="2020285" cy="62280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dustry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97A20CBC-08A8-42D8-A048-F4EC5ABA2459}"/>
              </a:ext>
            </a:extLst>
          </p:cNvPr>
          <p:cNvSpPr/>
          <p:nvPr/>
        </p:nvSpPr>
        <p:spPr>
          <a:xfrm rot="16200000">
            <a:off x="-258805" y="4290920"/>
            <a:ext cx="1500796" cy="62280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ranspor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736FC8D-C80D-4ADD-8C82-E1E86552F6CC}"/>
              </a:ext>
            </a:extLst>
          </p:cNvPr>
          <p:cNvCxnSpPr>
            <a:cxnSpLocks/>
          </p:cNvCxnSpPr>
          <p:nvPr/>
        </p:nvCxnSpPr>
        <p:spPr>
          <a:xfrm>
            <a:off x="171426" y="5948031"/>
            <a:ext cx="10945868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D4011A30-DACC-48E6-A8D5-A48E9D2A7232}"/>
              </a:ext>
            </a:extLst>
          </p:cNvPr>
          <p:cNvGrpSpPr/>
          <p:nvPr/>
        </p:nvGrpSpPr>
        <p:grpSpPr>
          <a:xfrm>
            <a:off x="890881" y="2278122"/>
            <a:ext cx="10237920" cy="452740"/>
            <a:chOff x="890881" y="2370006"/>
            <a:chExt cx="10237920" cy="432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F59F48-FA6E-455F-9BF5-F7AF0D2C14F5}"/>
                </a:ext>
              </a:extLst>
            </p:cNvPr>
            <p:cNvSpPr/>
            <p:nvPr/>
          </p:nvSpPr>
          <p:spPr>
            <a:xfrm>
              <a:off x="890881" y="2370006"/>
              <a:ext cx="1436400" cy="432000"/>
            </a:xfrm>
            <a:prstGeom prst="rect">
              <a:avLst/>
            </a:prstGeom>
            <a:solidFill>
              <a:srgbClr val="007CB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teel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5D042C35-2F17-42AF-8785-B3DF0A2733F2}"/>
                </a:ext>
              </a:extLst>
            </p:cNvPr>
            <p:cNvSpPr/>
            <p:nvPr/>
          </p:nvSpPr>
          <p:spPr>
            <a:xfrm>
              <a:off x="2503751" y="2370006"/>
              <a:ext cx="2160000" cy="432000"/>
            </a:xfrm>
            <a:prstGeom prst="rect">
              <a:avLst/>
            </a:prstGeom>
            <a:solidFill>
              <a:srgbClr val="FFE0A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eat produc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Iron reduction (charcoal)</a:t>
              </a: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4D4D4D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66656E14-44EB-4AD0-97F3-FD45BAAB8BBC}"/>
                </a:ext>
              </a:extLst>
            </p:cNvPr>
            <p:cNvSpPr/>
            <p:nvPr/>
          </p:nvSpPr>
          <p:spPr>
            <a:xfrm>
              <a:off x="4839417" y="2370006"/>
              <a:ext cx="1080000" cy="432000"/>
            </a:xfrm>
            <a:prstGeom prst="rect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Lower tech readiness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0D55B0DB-4C28-4543-A420-FFE31BA65083}"/>
                </a:ext>
              </a:extLst>
            </p:cNvPr>
            <p:cNvSpPr/>
            <p:nvPr/>
          </p:nvSpPr>
          <p:spPr>
            <a:xfrm>
              <a:off x="6141763" y="2370006"/>
              <a:ext cx="1080000" cy="43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3AC16F4-8466-4584-A109-58A55DD88F34}"/>
                </a:ext>
              </a:extLst>
            </p:cNvPr>
            <p:cNvSpPr/>
            <p:nvPr/>
          </p:nvSpPr>
          <p:spPr>
            <a:xfrm>
              <a:off x="7444109" y="2370006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4B981B4-B3F9-4DF9-B2B8-DD7A3B7545F8}"/>
                </a:ext>
              </a:extLst>
            </p:cNvPr>
            <p:cNvSpPr/>
            <p:nvPr/>
          </p:nvSpPr>
          <p:spPr>
            <a:xfrm>
              <a:off x="8746455" y="2370006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191EDEF9-C86B-42F5-AB2C-C5FDFB5417A0}"/>
                </a:ext>
              </a:extLst>
            </p:cNvPr>
            <p:cNvSpPr/>
            <p:nvPr/>
          </p:nvSpPr>
          <p:spPr>
            <a:xfrm>
              <a:off x="10048801" y="2370006"/>
              <a:ext cx="1080000" cy="43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B537618-D6FB-488A-82D7-5F4676D8D43C}"/>
              </a:ext>
            </a:extLst>
          </p:cNvPr>
          <p:cNvGrpSpPr/>
          <p:nvPr/>
        </p:nvGrpSpPr>
        <p:grpSpPr>
          <a:xfrm>
            <a:off x="890881" y="1754095"/>
            <a:ext cx="10237920" cy="452740"/>
            <a:chOff x="890881" y="1792145"/>
            <a:chExt cx="10237920" cy="432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4EB3572-B2EC-4227-82C2-1B0B653B60EA}"/>
                </a:ext>
              </a:extLst>
            </p:cNvPr>
            <p:cNvSpPr/>
            <p:nvPr/>
          </p:nvSpPr>
          <p:spPr>
            <a:xfrm>
              <a:off x="890881" y="1792145"/>
              <a:ext cx="1436400" cy="432000"/>
            </a:xfrm>
            <a:prstGeom prst="rect">
              <a:avLst/>
            </a:prstGeom>
            <a:solidFill>
              <a:srgbClr val="00487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ement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8304F6CC-EF25-47EF-A13B-6B8A35D242A9}"/>
                </a:ext>
              </a:extLst>
            </p:cNvPr>
            <p:cNvSpPr/>
            <p:nvPr/>
          </p:nvSpPr>
          <p:spPr>
            <a:xfrm>
              <a:off x="2503751" y="1792145"/>
              <a:ext cx="2160000" cy="432000"/>
            </a:xfrm>
            <a:prstGeom prst="rect">
              <a:avLst/>
            </a:prstGeom>
            <a:solidFill>
              <a:srgbClr val="FFE0A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eat production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CE8EE2AB-D106-4D10-8CEE-EB19F72A8878}"/>
                </a:ext>
              </a:extLst>
            </p:cNvPr>
            <p:cNvSpPr/>
            <p:nvPr/>
          </p:nvSpPr>
          <p:spPr>
            <a:xfrm>
              <a:off x="4839417" y="1792145"/>
              <a:ext cx="1080000" cy="432000"/>
            </a:xfrm>
            <a:prstGeom prst="rect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Lower tech readiness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416697DC-31A7-4450-BC70-0C0E992A1541}"/>
                </a:ext>
              </a:extLst>
            </p:cNvPr>
            <p:cNvSpPr/>
            <p:nvPr/>
          </p:nvSpPr>
          <p:spPr>
            <a:xfrm>
              <a:off x="6141763" y="1792145"/>
              <a:ext cx="1080000" cy="43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C1343D75-69D3-4BF0-BFB6-1F228A9FDFB0}"/>
                </a:ext>
              </a:extLst>
            </p:cNvPr>
            <p:cNvSpPr/>
            <p:nvPr/>
          </p:nvSpPr>
          <p:spPr>
            <a:xfrm>
              <a:off x="7444109" y="1792145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51291D84-07BD-49FA-8D9B-D7D4C373BEEC}"/>
                </a:ext>
              </a:extLst>
            </p:cNvPr>
            <p:cNvSpPr/>
            <p:nvPr/>
          </p:nvSpPr>
          <p:spPr>
            <a:xfrm>
              <a:off x="8746455" y="1792145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2F9ED3AA-9507-4B7A-BCEC-1E46064E6044}"/>
                </a:ext>
              </a:extLst>
            </p:cNvPr>
            <p:cNvSpPr/>
            <p:nvPr/>
          </p:nvSpPr>
          <p:spPr>
            <a:xfrm>
              <a:off x="10048801" y="1792145"/>
              <a:ext cx="1080000" cy="43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EA021C6-901A-4492-8927-872BF8170C2C}"/>
              </a:ext>
            </a:extLst>
          </p:cNvPr>
          <p:cNvGrpSpPr/>
          <p:nvPr/>
        </p:nvGrpSpPr>
        <p:grpSpPr>
          <a:xfrm>
            <a:off x="890881" y="3851923"/>
            <a:ext cx="10237920" cy="452740"/>
            <a:chOff x="890881" y="3680263"/>
            <a:chExt cx="10237920" cy="432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F358CCB-DE84-4246-B64C-06DB4E68FB7B}"/>
                </a:ext>
              </a:extLst>
            </p:cNvPr>
            <p:cNvSpPr/>
            <p:nvPr/>
          </p:nvSpPr>
          <p:spPr>
            <a:xfrm>
              <a:off x="890881" y="3680263"/>
              <a:ext cx="1436400" cy="432000"/>
            </a:xfrm>
            <a:prstGeom prst="rect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eavy-road transport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1F805BE2-7716-472E-9A0C-753D893577CD}"/>
                </a:ext>
              </a:extLst>
            </p:cNvPr>
            <p:cNvSpPr/>
            <p:nvPr/>
          </p:nvSpPr>
          <p:spPr>
            <a:xfrm>
              <a:off x="2503751" y="3680263"/>
              <a:ext cx="2160000" cy="432000"/>
            </a:xfrm>
            <a:prstGeom prst="rect">
              <a:avLst/>
            </a:prstGeom>
            <a:solidFill>
              <a:srgbClr val="FFE0A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iofuels or biogas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B1325A69-A4A1-4BC1-9D97-BEC9131B5E8A}"/>
                </a:ext>
              </a:extLst>
            </p:cNvPr>
            <p:cNvSpPr/>
            <p:nvPr/>
          </p:nvSpPr>
          <p:spPr>
            <a:xfrm>
              <a:off x="4839417" y="3680263"/>
              <a:ext cx="1080000" cy="43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90AAD426-BCAE-47B5-87B9-631630513F5B}"/>
                </a:ext>
              </a:extLst>
            </p:cNvPr>
            <p:cNvSpPr/>
            <p:nvPr/>
          </p:nvSpPr>
          <p:spPr>
            <a:xfrm>
              <a:off x="6141763" y="3680263"/>
              <a:ext cx="1080000" cy="43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E66C3016-58B1-447B-A405-A5F160F07009}"/>
                </a:ext>
              </a:extLst>
            </p:cNvPr>
            <p:cNvSpPr/>
            <p:nvPr/>
          </p:nvSpPr>
          <p:spPr>
            <a:xfrm>
              <a:off x="7444109" y="3680263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8DAA3BED-6D01-4110-881B-0A50AE56821E}"/>
                </a:ext>
              </a:extLst>
            </p:cNvPr>
            <p:cNvSpPr/>
            <p:nvPr/>
          </p:nvSpPr>
          <p:spPr>
            <a:xfrm>
              <a:off x="8746455" y="3680263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B56E7AA1-6A5B-45F8-BC41-8479757D8240}"/>
                </a:ext>
              </a:extLst>
            </p:cNvPr>
            <p:cNvSpPr/>
            <p:nvPr/>
          </p:nvSpPr>
          <p:spPr>
            <a:xfrm>
              <a:off x="10048801" y="3680263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BF8F343-7C70-4A7A-A862-6030A2575CB1}"/>
              </a:ext>
            </a:extLst>
          </p:cNvPr>
          <p:cNvGrpSpPr/>
          <p:nvPr/>
        </p:nvGrpSpPr>
        <p:grpSpPr>
          <a:xfrm>
            <a:off x="890881" y="4375950"/>
            <a:ext cx="10237920" cy="452740"/>
            <a:chOff x="890881" y="4256356"/>
            <a:chExt cx="10237920" cy="432000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1FCD9A53-3CE3-4B7A-A803-C22B0C726D7D}"/>
                </a:ext>
              </a:extLst>
            </p:cNvPr>
            <p:cNvSpPr/>
            <p:nvPr/>
          </p:nvSpPr>
          <p:spPr>
            <a:xfrm>
              <a:off x="890881" y="4256356"/>
              <a:ext cx="1436400" cy="432000"/>
            </a:xfrm>
            <a:prstGeom prst="rect">
              <a:avLst/>
            </a:prstGeom>
            <a:solidFill>
              <a:srgbClr val="F38B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hipping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6096C950-F208-42ED-81ED-FA8C555F7457}"/>
                </a:ext>
              </a:extLst>
            </p:cNvPr>
            <p:cNvSpPr/>
            <p:nvPr/>
          </p:nvSpPr>
          <p:spPr>
            <a:xfrm>
              <a:off x="2503751" y="4256356"/>
              <a:ext cx="2160000" cy="432000"/>
            </a:xfrm>
            <a:prstGeom prst="rect">
              <a:avLst/>
            </a:prstGeom>
            <a:solidFill>
              <a:srgbClr val="FFE0A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iofuels or other forms of bioenergy</a:t>
              </a: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061F2864-ABD2-48DB-B4A9-67A98EADCF54}"/>
                </a:ext>
              </a:extLst>
            </p:cNvPr>
            <p:cNvSpPr/>
            <p:nvPr/>
          </p:nvSpPr>
          <p:spPr>
            <a:xfrm>
              <a:off x="4839417" y="4256356"/>
              <a:ext cx="1080000" cy="432000"/>
            </a:xfrm>
            <a:prstGeom prst="rect">
              <a:avLst/>
            </a:prstGeom>
            <a:solidFill>
              <a:srgbClr val="FFE0A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hort-haul only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C24032B2-F8A7-469F-BF3C-EDF4768FC8AB}"/>
                </a:ext>
              </a:extLst>
            </p:cNvPr>
            <p:cNvSpPr/>
            <p:nvPr/>
          </p:nvSpPr>
          <p:spPr>
            <a:xfrm>
              <a:off x="6141763" y="4256356"/>
              <a:ext cx="1080000" cy="43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90A93549-B203-4A94-91BC-AEBF4F2FFC8D}"/>
                </a:ext>
              </a:extLst>
            </p:cNvPr>
            <p:cNvSpPr/>
            <p:nvPr/>
          </p:nvSpPr>
          <p:spPr>
            <a:xfrm>
              <a:off x="7444109" y="4256356"/>
              <a:ext cx="1080000" cy="43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9CF66172-8FFD-4E11-957A-40FDF333C5E2}"/>
                </a:ext>
              </a:extLst>
            </p:cNvPr>
            <p:cNvSpPr/>
            <p:nvPr/>
          </p:nvSpPr>
          <p:spPr>
            <a:xfrm>
              <a:off x="8746455" y="4256356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41CEF70E-97F9-49C3-B7F3-F43E7A53514B}"/>
                </a:ext>
              </a:extLst>
            </p:cNvPr>
            <p:cNvSpPr/>
            <p:nvPr/>
          </p:nvSpPr>
          <p:spPr>
            <a:xfrm>
              <a:off x="10048801" y="4256356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4AB1D1-607B-4C3D-B5CA-957C38473EE8}"/>
              </a:ext>
            </a:extLst>
          </p:cNvPr>
          <p:cNvGrpSpPr/>
          <p:nvPr/>
        </p:nvGrpSpPr>
        <p:grpSpPr>
          <a:xfrm>
            <a:off x="890881" y="4899977"/>
            <a:ext cx="10237920" cy="452740"/>
            <a:chOff x="890881" y="4832448"/>
            <a:chExt cx="10237920" cy="432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B691BB1-35F0-479D-AA18-D3A646D5BD51}"/>
                </a:ext>
              </a:extLst>
            </p:cNvPr>
            <p:cNvSpPr/>
            <p:nvPr/>
          </p:nvSpPr>
          <p:spPr>
            <a:xfrm>
              <a:off x="890881" y="4832448"/>
              <a:ext cx="1436400" cy="432000"/>
            </a:xfrm>
            <a:prstGeom prst="rect">
              <a:avLst/>
            </a:prstGeom>
            <a:solidFill>
              <a:srgbClr val="ED5C0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viation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3D24FF5E-832E-4C84-AA04-39C664CC42C8}"/>
                </a:ext>
              </a:extLst>
            </p:cNvPr>
            <p:cNvSpPr/>
            <p:nvPr/>
          </p:nvSpPr>
          <p:spPr>
            <a:xfrm>
              <a:off x="2503751" y="4832448"/>
              <a:ext cx="2160000" cy="43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io jet fuels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FAF7D55F-214B-4EA0-BD28-990BFAD0A259}"/>
                </a:ext>
              </a:extLst>
            </p:cNvPr>
            <p:cNvSpPr/>
            <p:nvPr/>
          </p:nvSpPr>
          <p:spPr>
            <a:xfrm>
              <a:off x="4839417" y="4832448"/>
              <a:ext cx="1080000" cy="432000"/>
            </a:xfrm>
            <a:prstGeom prst="rect">
              <a:avLst/>
            </a:prstGeom>
            <a:solidFill>
              <a:srgbClr val="FFE0A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hort-haul only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D92B9DB-AB70-4102-9D09-9CFD019D856F}"/>
                </a:ext>
              </a:extLst>
            </p:cNvPr>
            <p:cNvSpPr/>
            <p:nvPr/>
          </p:nvSpPr>
          <p:spPr>
            <a:xfrm>
              <a:off x="6141763" y="4832448"/>
              <a:ext cx="1080000" cy="432000"/>
            </a:xfrm>
            <a:prstGeom prst="rect">
              <a:avLst/>
            </a:prstGeom>
            <a:solidFill>
              <a:srgbClr val="FFE0A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hort-haul only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90649511-9B82-4E9A-9FAD-63A94705D00D}"/>
                </a:ext>
              </a:extLst>
            </p:cNvPr>
            <p:cNvSpPr/>
            <p:nvPr/>
          </p:nvSpPr>
          <p:spPr>
            <a:xfrm>
              <a:off x="7444109" y="4832448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F754C4DC-305D-4FA8-961B-36C8C617A464}"/>
                </a:ext>
              </a:extLst>
            </p:cNvPr>
            <p:cNvSpPr/>
            <p:nvPr/>
          </p:nvSpPr>
          <p:spPr>
            <a:xfrm>
              <a:off x="8746455" y="4832448"/>
              <a:ext cx="1080000" cy="432000"/>
            </a:xfrm>
            <a:prstGeom prst="rect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Lower tech readiness</a:t>
              </a: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644F3C4C-6B86-40A1-A8C6-C79EFCD4EBA2}"/>
                </a:ext>
              </a:extLst>
            </p:cNvPr>
            <p:cNvSpPr/>
            <p:nvPr/>
          </p:nvSpPr>
          <p:spPr>
            <a:xfrm>
              <a:off x="10048801" y="4832448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3CAF7A4-B190-4C89-BA10-D909ECF9FA42}"/>
              </a:ext>
            </a:extLst>
          </p:cNvPr>
          <p:cNvGrpSpPr/>
          <p:nvPr/>
        </p:nvGrpSpPr>
        <p:grpSpPr>
          <a:xfrm>
            <a:off x="167023" y="5424004"/>
            <a:ext cx="10961778" cy="452740"/>
            <a:chOff x="167023" y="5410023"/>
            <a:chExt cx="10961778" cy="432000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36BF973-F7DA-4138-B4AB-66FE10C7709A}"/>
                </a:ext>
              </a:extLst>
            </p:cNvPr>
            <p:cNvSpPr/>
            <p:nvPr/>
          </p:nvSpPr>
          <p:spPr>
            <a:xfrm>
              <a:off x="167023" y="5410023"/>
              <a:ext cx="2160258" cy="432000"/>
            </a:xfrm>
            <a:prstGeom prst="rect">
              <a:avLst/>
            </a:prstGeom>
            <a:solidFill>
              <a:srgbClr val="4C6C9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uilding heating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45778DD0-752F-4C24-A168-80BBE95A612A}"/>
                </a:ext>
              </a:extLst>
            </p:cNvPr>
            <p:cNvSpPr/>
            <p:nvPr/>
          </p:nvSpPr>
          <p:spPr>
            <a:xfrm>
              <a:off x="2503751" y="5410023"/>
              <a:ext cx="2160000" cy="432000"/>
            </a:xfrm>
            <a:prstGeom prst="rect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iogas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06C7736E-17AB-4B09-8B06-E5C52BCF1180}"/>
                </a:ext>
              </a:extLst>
            </p:cNvPr>
            <p:cNvSpPr/>
            <p:nvPr/>
          </p:nvSpPr>
          <p:spPr>
            <a:xfrm>
              <a:off x="4839417" y="5410023"/>
              <a:ext cx="1080000" cy="43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88008B2F-142E-4C8C-B5CB-FD9177AEFDB5}"/>
                </a:ext>
              </a:extLst>
            </p:cNvPr>
            <p:cNvSpPr/>
            <p:nvPr/>
          </p:nvSpPr>
          <p:spPr>
            <a:xfrm>
              <a:off x="6141763" y="5410023"/>
              <a:ext cx="1080000" cy="432000"/>
            </a:xfrm>
            <a:prstGeom prst="rect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Lower tech readiness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239057F3-9037-4CC7-A15A-B557DB8208A7}"/>
                </a:ext>
              </a:extLst>
            </p:cNvPr>
            <p:cNvSpPr/>
            <p:nvPr/>
          </p:nvSpPr>
          <p:spPr>
            <a:xfrm>
              <a:off x="7444109" y="5410023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E49C8569-8D35-4CBA-95E2-A71044E70EC1}"/>
                </a:ext>
              </a:extLst>
            </p:cNvPr>
            <p:cNvSpPr/>
            <p:nvPr/>
          </p:nvSpPr>
          <p:spPr>
            <a:xfrm>
              <a:off x="8746455" y="5410023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B8E7FB8B-7F5C-4F67-8289-F09F6BFC6C4F}"/>
                </a:ext>
              </a:extLst>
            </p:cNvPr>
            <p:cNvSpPr/>
            <p:nvPr/>
          </p:nvSpPr>
          <p:spPr>
            <a:xfrm>
              <a:off x="10048801" y="5410023"/>
              <a:ext cx="1080000" cy="43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593CD6C-3F41-48BE-88A8-E1BF6BFE38D0}"/>
              </a:ext>
            </a:extLst>
          </p:cNvPr>
          <p:cNvGrpSpPr/>
          <p:nvPr/>
        </p:nvGrpSpPr>
        <p:grpSpPr>
          <a:xfrm>
            <a:off x="167023" y="6019319"/>
            <a:ext cx="10961777" cy="452740"/>
            <a:chOff x="167023" y="6040059"/>
            <a:chExt cx="10961777" cy="432000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00C3DA64-C281-42AC-A3B1-9A7B52A5EAAF}"/>
                </a:ext>
              </a:extLst>
            </p:cNvPr>
            <p:cNvSpPr/>
            <p:nvPr/>
          </p:nvSpPr>
          <p:spPr>
            <a:xfrm>
              <a:off x="167023" y="6040059"/>
              <a:ext cx="2160258" cy="432000"/>
            </a:xfrm>
            <a:prstGeom prst="rect">
              <a:avLst/>
            </a:prstGeom>
            <a:solidFill>
              <a:srgbClr val="4C6C9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Electricity system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CF891E07-3E9B-4340-8B1B-89253E35D4E8}"/>
                </a:ext>
              </a:extLst>
            </p:cNvPr>
            <p:cNvSpPr/>
            <p:nvPr/>
          </p:nvSpPr>
          <p:spPr>
            <a:xfrm>
              <a:off x="4839417" y="6040059"/>
              <a:ext cx="4987038" cy="43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Dispatchable zero-carbon power sources: hydro, nuclear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3BEE45EA-2C32-42B2-888C-9E2A3CC2C53C}"/>
                </a:ext>
              </a:extLst>
            </p:cNvPr>
            <p:cNvSpPr/>
            <p:nvPr/>
          </p:nvSpPr>
          <p:spPr>
            <a:xfrm>
              <a:off x="2503751" y="6040059"/>
              <a:ext cx="2160000" cy="432000"/>
            </a:xfrm>
            <a:prstGeom prst="rect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Biomass peaking plant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(possibly BECCS)</a:t>
              </a: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B9C40453-3C2B-477C-87C0-8B47EF3EF606}"/>
                </a:ext>
              </a:extLst>
            </p:cNvPr>
            <p:cNvSpPr/>
            <p:nvPr/>
          </p:nvSpPr>
          <p:spPr>
            <a:xfrm>
              <a:off x="10048800" y="6040059"/>
              <a:ext cx="1080000" cy="432000"/>
            </a:xfrm>
            <a:prstGeom prst="rect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igher cost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1EF5024-81F3-4A0E-9F7E-B4FF4A9B92CE}"/>
              </a:ext>
            </a:extLst>
          </p:cNvPr>
          <p:cNvSpPr/>
          <p:nvPr/>
        </p:nvSpPr>
        <p:spPr>
          <a:xfrm>
            <a:off x="890881" y="2802149"/>
            <a:ext cx="1436400" cy="978487"/>
          </a:xfrm>
          <a:prstGeom prst="rect">
            <a:avLst/>
          </a:prstGeom>
          <a:solidFill>
            <a:srgbClr val="00B09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lastic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31D5A7D-3EA6-4DFF-A479-7738979A03F4}"/>
              </a:ext>
            </a:extLst>
          </p:cNvPr>
          <p:cNvGrpSpPr/>
          <p:nvPr/>
        </p:nvGrpSpPr>
        <p:grpSpPr>
          <a:xfrm>
            <a:off x="2503751" y="2802149"/>
            <a:ext cx="8625050" cy="453600"/>
            <a:chOff x="2503751" y="2941885"/>
            <a:chExt cx="8625050" cy="252644"/>
          </a:xfrm>
        </p:grpSpPr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6D3A6D4B-04A8-4DEA-9961-F72A37B71BC6}"/>
                </a:ext>
              </a:extLst>
            </p:cNvPr>
            <p:cNvSpPr/>
            <p:nvPr/>
          </p:nvSpPr>
          <p:spPr>
            <a:xfrm>
              <a:off x="2503751" y="2947705"/>
              <a:ext cx="2160000" cy="246824"/>
            </a:xfrm>
            <a:prstGeom prst="rect">
              <a:avLst/>
            </a:prstGeom>
            <a:solidFill>
              <a:srgbClr val="FFE0A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eat production</a:t>
              </a: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0EE07E80-4D9B-49E8-9C8F-186C3F194F46}"/>
                </a:ext>
              </a:extLst>
            </p:cNvPr>
            <p:cNvSpPr/>
            <p:nvPr/>
          </p:nvSpPr>
          <p:spPr>
            <a:xfrm>
              <a:off x="4839417" y="2941885"/>
              <a:ext cx="1080000" cy="252000"/>
            </a:xfrm>
            <a:prstGeom prst="rect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Lower tech readiness</a:t>
              </a: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61291F55-DD13-4B92-A749-6E691D40D6D6}"/>
                </a:ext>
              </a:extLst>
            </p:cNvPr>
            <p:cNvSpPr/>
            <p:nvPr/>
          </p:nvSpPr>
          <p:spPr>
            <a:xfrm>
              <a:off x="6141763" y="2941885"/>
              <a:ext cx="1080000" cy="25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C04F41E6-618C-4C5F-A7A8-D277E2C2F624}"/>
                </a:ext>
              </a:extLst>
            </p:cNvPr>
            <p:cNvSpPr/>
            <p:nvPr/>
          </p:nvSpPr>
          <p:spPr>
            <a:xfrm>
              <a:off x="7444109" y="2941885"/>
              <a:ext cx="1080000" cy="25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162E0698-1B39-4AF7-894A-8A943C49A4A6}"/>
                </a:ext>
              </a:extLst>
            </p:cNvPr>
            <p:cNvSpPr/>
            <p:nvPr/>
          </p:nvSpPr>
          <p:spPr>
            <a:xfrm>
              <a:off x="8746455" y="2941885"/>
              <a:ext cx="1080000" cy="25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6AC721B7-1C53-43FB-B363-28E33979BE8B}"/>
                </a:ext>
              </a:extLst>
            </p:cNvPr>
            <p:cNvSpPr/>
            <p:nvPr/>
          </p:nvSpPr>
          <p:spPr>
            <a:xfrm>
              <a:off x="10048801" y="2941885"/>
              <a:ext cx="1080000" cy="25200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99CA1D5-2C08-42AC-87ED-8A9B3F19392F}"/>
              </a:ext>
            </a:extLst>
          </p:cNvPr>
          <p:cNvGrpSpPr/>
          <p:nvPr/>
        </p:nvGrpSpPr>
        <p:grpSpPr>
          <a:xfrm>
            <a:off x="2503751" y="3327036"/>
            <a:ext cx="8625050" cy="453600"/>
            <a:chOff x="2503751" y="3276065"/>
            <a:chExt cx="8625050" cy="252000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1C5A2DCA-3275-4AD9-90EA-BA8695758AE3}"/>
                </a:ext>
              </a:extLst>
            </p:cNvPr>
            <p:cNvSpPr/>
            <p:nvPr/>
          </p:nvSpPr>
          <p:spPr>
            <a:xfrm>
              <a:off x="4839417" y="3276065"/>
              <a:ext cx="1080000" cy="25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7BFDDBB1-C038-400B-9179-B01645BB5EEC}"/>
                </a:ext>
              </a:extLst>
            </p:cNvPr>
            <p:cNvSpPr/>
            <p:nvPr/>
          </p:nvSpPr>
          <p:spPr>
            <a:xfrm>
              <a:off x="6141763" y="3276065"/>
              <a:ext cx="1080000" cy="25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229BB31C-1060-41A0-9B19-1D1C1D9447E3}"/>
                </a:ext>
              </a:extLst>
            </p:cNvPr>
            <p:cNvSpPr/>
            <p:nvPr/>
          </p:nvSpPr>
          <p:spPr>
            <a:xfrm>
              <a:off x="7444109" y="3276065"/>
              <a:ext cx="1080000" cy="25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A3EC698C-F43F-4B68-97A4-33DE1726AF22}"/>
                </a:ext>
              </a:extLst>
            </p:cNvPr>
            <p:cNvSpPr/>
            <p:nvPr/>
          </p:nvSpPr>
          <p:spPr>
            <a:xfrm>
              <a:off x="8746455" y="3276065"/>
              <a:ext cx="1080000" cy="252000"/>
            </a:xfrm>
            <a:prstGeom prst="rect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igher cost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25C1B1F6-5393-4306-9D1A-312F1CD1B320}"/>
                </a:ext>
              </a:extLst>
            </p:cNvPr>
            <p:cNvSpPr/>
            <p:nvPr/>
          </p:nvSpPr>
          <p:spPr>
            <a:xfrm>
              <a:off x="10048801" y="3276065"/>
              <a:ext cx="1080000" cy="252000"/>
            </a:xfrm>
            <a:prstGeom prst="rect">
              <a:avLst/>
            </a:prstGeom>
            <a:solidFill>
              <a:srgbClr val="C9D4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3B6280A5-10A6-4E65-98CD-955CE5DD7723}"/>
                </a:ext>
              </a:extLst>
            </p:cNvPr>
            <p:cNvSpPr/>
            <p:nvPr/>
          </p:nvSpPr>
          <p:spPr>
            <a:xfrm>
              <a:off x="2503751" y="3281460"/>
              <a:ext cx="2160000" cy="246605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75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Feedstock</a:t>
              </a: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BFD6165B-8E1D-4E02-BDDE-FBD10CB0F72B}"/>
              </a:ext>
            </a:extLst>
          </p:cNvPr>
          <p:cNvSpPr/>
          <p:nvPr/>
        </p:nvSpPr>
        <p:spPr>
          <a:xfrm>
            <a:off x="11238784" y="974079"/>
            <a:ext cx="900000" cy="216000"/>
          </a:xfrm>
          <a:prstGeom prst="rect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 role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A8FF03A2-0861-4AFA-918B-E845E7EE8281}"/>
              </a:ext>
            </a:extLst>
          </p:cNvPr>
          <p:cNvSpPr/>
          <p:nvPr/>
        </p:nvSpPr>
        <p:spPr>
          <a:xfrm>
            <a:off x="11238784" y="1240185"/>
            <a:ext cx="900000" cy="216000"/>
          </a:xfrm>
          <a:prstGeom prst="rect">
            <a:avLst/>
          </a:prstGeom>
          <a:solidFill>
            <a:srgbClr val="FFE0A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mall role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052B0479-F98E-4243-9BE7-B6A1DA2E1718}"/>
              </a:ext>
            </a:extLst>
          </p:cNvPr>
          <p:cNvSpPr/>
          <p:nvPr/>
        </p:nvSpPr>
        <p:spPr>
          <a:xfrm>
            <a:off x="11238784" y="1506291"/>
            <a:ext cx="900000" cy="216000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me role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31463A31-E057-467A-AC79-E76F1873E817}"/>
              </a:ext>
            </a:extLst>
          </p:cNvPr>
          <p:cNvSpPr/>
          <p:nvPr/>
        </p:nvSpPr>
        <p:spPr>
          <a:xfrm>
            <a:off x="11238784" y="1772397"/>
            <a:ext cx="900000" cy="2160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jor role</a:t>
            </a:r>
          </a:p>
        </p:txBody>
      </p:sp>
    </p:spTree>
    <p:extLst>
      <p:ext uri="{BB962C8B-B14F-4D97-AF65-F5344CB8AC3E}">
        <p14:creationId xmlns:p14="http://schemas.microsoft.com/office/powerpoint/2010/main" val="331371878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0" name="Object 469" hidden="1">
            <a:extLst>
              <a:ext uri="{FF2B5EF4-FFF2-40B4-BE49-F238E27FC236}">
                <a16:creationId xmlns:a16="http://schemas.microsoft.com/office/drawing/2014/main" id="{4D0BA582-5FA6-43B0-B3CF-55AAB7877A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5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470" name="Object 469" hidden="1">
                        <a:extLst>
                          <a:ext uri="{FF2B5EF4-FFF2-40B4-BE49-F238E27FC236}">
                            <a16:creationId xmlns:a16="http://schemas.microsoft.com/office/drawing/2014/main" id="{4D0BA582-5FA6-43B0-B3CF-55AAB7877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8" name="Rectangle 467" hidden="1">
            <a:extLst>
              <a:ext uri="{FF2B5EF4-FFF2-40B4-BE49-F238E27FC236}">
                <a16:creationId xmlns:a16="http://schemas.microsoft.com/office/drawing/2014/main" id="{73B6E201-0EC4-48EF-9F2E-2AC3599E6C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D073E7-F296-40FF-96CD-5C402D73A6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281338"/>
            <a:ext cx="10058751" cy="314028"/>
          </a:xfrm>
        </p:spPr>
        <p:txBody>
          <a:bodyPr/>
          <a:lstStyle/>
          <a:p>
            <a:r>
              <a:rPr lang="en-GB" dirty="0"/>
              <a:t>Availability of biomass differs per region</a:t>
            </a:r>
          </a:p>
        </p:txBody>
      </p:sp>
      <p:sp>
        <p:nvSpPr>
          <p:cNvPr id="5" name="Freeform 391">
            <a:extLst>
              <a:ext uri="{FF2B5EF4-FFF2-40B4-BE49-F238E27FC236}">
                <a16:creationId xmlns:a16="http://schemas.microsoft.com/office/drawing/2014/main" id="{E510F4F5-FFF2-4A5F-9969-27368A6B6F3A}"/>
              </a:ext>
            </a:extLst>
          </p:cNvPr>
          <p:cNvSpPr>
            <a:spLocks/>
          </p:cNvSpPr>
          <p:nvPr/>
        </p:nvSpPr>
        <p:spPr bwMode="gray">
          <a:xfrm>
            <a:off x="5394455" y="1808410"/>
            <a:ext cx="3569515" cy="1146784"/>
          </a:xfrm>
          <a:custGeom>
            <a:avLst/>
            <a:gdLst>
              <a:gd name="T0" fmla="*/ 1455 w 1687"/>
              <a:gd name="T1" fmla="*/ 112 h 520"/>
              <a:gd name="T2" fmla="*/ 1318 w 1687"/>
              <a:gd name="T3" fmla="*/ 87 h 520"/>
              <a:gd name="T4" fmla="*/ 1191 w 1687"/>
              <a:gd name="T5" fmla="*/ 73 h 520"/>
              <a:gd name="T6" fmla="*/ 1095 w 1687"/>
              <a:gd name="T7" fmla="*/ 62 h 520"/>
              <a:gd name="T8" fmla="*/ 1060 w 1687"/>
              <a:gd name="T9" fmla="*/ 74 h 520"/>
              <a:gd name="T10" fmla="*/ 960 w 1687"/>
              <a:gd name="T11" fmla="*/ 66 h 520"/>
              <a:gd name="T12" fmla="*/ 799 w 1687"/>
              <a:gd name="T13" fmla="*/ 45 h 520"/>
              <a:gd name="T14" fmla="*/ 782 w 1687"/>
              <a:gd name="T15" fmla="*/ 26 h 520"/>
              <a:gd name="T16" fmla="*/ 697 w 1687"/>
              <a:gd name="T17" fmla="*/ 13 h 520"/>
              <a:gd name="T18" fmla="*/ 630 w 1687"/>
              <a:gd name="T19" fmla="*/ 15 h 520"/>
              <a:gd name="T20" fmla="*/ 536 w 1687"/>
              <a:gd name="T21" fmla="*/ 36 h 520"/>
              <a:gd name="T22" fmla="*/ 506 w 1687"/>
              <a:gd name="T23" fmla="*/ 66 h 520"/>
              <a:gd name="T24" fmla="*/ 535 w 1687"/>
              <a:gd name="T25" fmla="*/ 74 h 520"/>
              <a:gd name="T26" fmla="*/ 458 w 1687"/>
              <a:gd name="T27" fmla="*/ 76 h 520"/>
              <a:gd name="T28" fmla="*/ 492 w 1687"/>
              <a:gd name="T29" fmla="*/ 108 h 520"/>
              <a:gd name="T30" fmla="*/ 486 w 1687"/>
              <a:gd name="T31" fmla="*/ 128 h 520"/>
              <a:gd name="T32" fmla="*/ 458 w 1687"/>
              <a:gd name="T33" fmla="*/ 138 h 520"/>
              <a:gd name="T34" fmla="*/ 384 w 1687"/>
              <a:gd name="T35" fmla="*/ 60 h 520"/>
              <a:gd name="T36" fmla="*/ 417 w 1687"/>
              <a:gd name="T37" fmla="*/ 111 h 520"/>
              <a:gd name="T38" fmla="*/ 322 w 1687"/>
              <a:gd name="T39" fmla="*/ 118 h 520"/>
              <a:gd name="T40" fmla="*/ 266 w 1687"/>
              <a:gd name="T41" fmla="*/ 110 h 520"/>
              <a:gd name="T42" fmla="*/ 174 w 1687"/>
              <a:gd name="T43" fmla="*/ 130 h 520"/>
              <a:gd name="T44" fmla="*/ 162 w 1687"/>
              <a:gd name="T45" fmla="*/ 145 h 520"/>
              <a:gd name="T46" fmla="*/ 117 w 1687"/>
              <a:gd name="T47" fmla="*/ 180 h 520"/>
              <a:gd name="T48" fmla="*/ 49 w 1687"/>
              <a:gd name="T49" fmla="*/ 138 h 520"/>
              <a:gd name="T50" fmla="*/ 43 w 1687"/>
              <a:gd name="T51" fmla="*/ 109 h 520"/>
              <a:gd name="T52" fmla="*/ 12 w 1687"/>
              <a:gd name="T53" fmla="*/ 103 h 520"/>
              <a:gd name="T54" fmla="*/ 36 w 1687"/>
              <a:gd name="T55" fmla="*/ 180 h 520"/>
              <a:gd name="T56" fmla="*/ 25 w 1687"/>
              <a:gd name="T57" fmla="*/ 231 h 520"/>
              <a:gd name="T58" fmla="*/ 52 w 1687"/>
              <a:gd name="T59" fmla="*/ 301 h 520"/>
              <a:gd name="T60" fmla="*/ 136 w 1687"/>
              <a:gd name="T61" fmla="*/ 372 h 520"/>
              <a:gd name="T62" fmla="*/ 186 w 1687"/>
              <a:gd name="T63" fmla="*/ 440 h 520"/>
              <a:gd name="T64" fmla="*/ 187 w 1687"/>
              <a:gd name="T65" fmla="*/ 475 h 520"/>
              <a:gd name="T66" fmla="*/ 334 w 1687"/>
              <a:gd name="T67" fmla="*/ 520 h 520"/>
              <a:gd name="T68" fmla="*/ 325 w 1687"/>
              <a:gd name="T69" fmla="*/ 447 h 520"/>
              <a:gd name="T70" fmla="*/ 314 w 1687"/>
              <a:gd name="T71" fmla="*/ 363 h 520"/>
              <a:gd name="T72" fmla="*/ 432 w 1687"/>
              <a:gd name="T73" fmla="*/ 354 h 520"/>
              <a:gd name="T74" fmla="*/ 525 w 1687"/>
              <a:gd name="T75" fmla="*/ 307 h 520"/>
              <a:gd name="T76" fmla="*/ 620 w 1687"/>
              <a:gd name="T77" fmla="*/ 328 h 520"/>
              <a:gd name="T78" fmla="*/ 751 w 1687"/>
              <a:gd name="T79" fmla="*/ 392 h 520"/>
              <a:gd name="T80" fmla="*/ 864 w 1687"/>
              <a:gd name="T81" fmla="*/ 386 h 520"/>
              <a:gd name="T82" fmla="*/ 974 w 1687"/>
              <a:gd name="T83" fmla="*/ 386 h 520"/>
              <a:gd name="T84" fmla="*/ 1131 w 1687"/>
              <a:gd name="T85" fmla="*/ 391 h 520"/>
              <a:gd name="T86" fmla="*/ 1176 w 1687"/>
              <a:gd name="T87" fmla="*/ 337 h 520"/>
              <a:gd name="T88" fmla="*/ 1326 w 1687"/>
              <a:gd name="T89" fmla="*/ 408 h 520"/>
              <a:gd name="T90" fmla="*/ 1382 w 1687"/>
              <a:gd name="T91" fmla="*/ 487 h 520"/>
              <a:gd name="T92" fmla="*/ 1407 w 1687"/>
              <a:gd name="T93" fmla="*/ 501 h 520"/>
              <a:gd name="T94" fmla="*/ 1441 w 1687"/>
              <a:gd name="T95" fmla="*/ 403 h 520"/>
              <a:gd name="T96" fmla="*/ 1357 w 1687"/>
              <a:gd name="T97" fmla="*/ 322 h 520"/>
              <a:gd name="T98" fmla="*/ 1320 w 1687"/>
              <a:gd name="T99" fmla="*/ 290 h 520"/>
              <a:gd name="T100" fmla="*/ 1371 w 1687"/>
              <a:gd name="T101" fmla="*/ 247 h 520"/>
              <a:gd name="T102" fmla="*/ 1459 w 1687"/>
              <a:gd name="T103" fmla="*/ 249 h 520"/>
              <a:gd name="T104" fmla="*/ 1498 w 1687"/>
              <a:gd name="T105" fmla="*/ 224 h 520"/>
              <a:gd name="T106" fmla="*/ 1524 w 1687"/>
              <a:gd name="T107" fmla="*/ 202 h 520"/>
              <a:gd name="T108" fmla="*/ 1525 w 1687"/>
              <a:gd name="T109" fmla="*/ 284 h 520"/>
              <a:gd name="T110" fmla="*/ 1618 w 1687"/>
              <a:gd name="T111" fmla="*/ 340 h 520"/>
              <a:gd name="T112" fmla="*/ 1618 w 1687"/>
              <a:gd name="T113" fmla="*/ 296 h 520"/>
              <a:gd name="T114" fmla="*/ 1575 w 1687"/>
              <a:gd name="T115" fmla="*/ 241 h 520"/>
              <a:gd name="T116" fmla="*/ 1639 w 1687"/>
              <a:gd name="T117" fmla="*/ 222 h 520"/>
              <a:gd name="T118" fmla="*/ 1676 w 1687"/>
              <a:gd name="T119" fmla="*/ 194 h 520"/>
              <a:gd name="T120" fmla="*/ 1602 w 1687"/>
              <a:gd name="T121" fmla="*/ 139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87" h="520">
                <a:moveTo>
                  <a:pt x="1560" y="110"/>
                </a:moveTo>
                <a:lnTo>
                  <a:pt x="1528" y="104"/>
                </a:lnTo>
                <a:lnTo>
                  <a:pt x="1496" y="98"/>
                </a:lnTo>
                <a:lnTo>
                  <a:pt x="1468" y="97"/>
                </a:lnTo>
                <a:lnTo>
                  <a:pt x="1442" y="94"/>
                </a:lnTo>
                <a:lnTo>
                  <a:pt x="1452" y="102"/>
                </a:lnTo>
                <a:lnTo>
                  <a:pt x="1467" y="110"/>
                </a:lnTo>
                <a:lnTo>
                  <a:pt x="1465" y="112"/>
                </a:lnTo>
                <a:lnTo>
                  <a:pt x="1455" y="112"/>
                </a:lnTo>
                <a:lnTo>
                  <a:pt x="1441" y="106"/>
                </a:lnTo>
                <a:lnTo>
                  <a:pt x="1435" y="106"/>
                </a:lnTo>
                <a:lnTo>
                  <a:pt x="1419" y="99"/>
                </a:lnTo>
                <a:lnTo>
                  <a:pt x="1407" y="103"/>
                </a:lnTo>
                <a:lnTo>
                  <a:pt x="1365" y="100"/>
                </a:lnTo>
                <a:lnTo>
                  <a:pt x="1364" y="106"/>
                </a:lnTo>
                <a:lnTo>
                  <a:pt x="1350" y="100"/>
                </a:lnTo>
                <a:lnTo>
                  <a:pt x="1334" y="97"/>
                </a:lnTo>
                <a:lnTo>
                  <a:pt x="1318" y="87"/>
                </a:lnTo>
                <a:lnTo>
                  <a:pt x="1293" y="82"/>
                </a:lnTo>
                <a:lnTo>
                  <a:pt x="1268" y="84"/>
                </a:lnTo>
                <a:lnTo>
                  <a:pt x="1243" y="85"/>
                </a:lnTo>
                <a:lnTo>
                  <a:pt x="1236" y="84"/>
                </a:lnTo>
                <a:lnTo>
                  <a:pt x="1216" y="78"/>
                </a:lnTo>
                <a:lnTo>
                  <a:pt x="1210" y="80"/>
                </a:lnTo>
                <a:lnTo>
                  <a:pt x="1210" y="76"/>
                </a:lnTo>
                <a:lnTo>
                  <a:pt x="1203" y="75"/>
                </a:lnTo>
                <a:lnTo>
                  <a:pt x="1191" y="73"/>
                </a:lnTo>
                <a:lnTo>
                  <a:pt x="1197" y="72"/>
                </a:lnTo>
                <a:lnTo>
                  <a:pt x="1174" y="66"/>
                </a:lnTo>
                <a:lnTo>
                  <a:pt x="1160" y="69"/>
                </a:lnTo>
                <a:lnTo>
                  <a:pt x="1156" y="69"/>
                </a:lnTo>
                <a:lnTo>
                  <a:pt x="1158" y="66"/>
                </a:lnTo>
                <a:lnTo>
                  <a:pt x="1156" y="66"/>
                </a:lnTo>
                <a:lnTo>
                  <a:pt x="1122" y="62"/>
                </a:lnTo>
                <a:lnTo>
                  <a:pt x="1087" y="60"/>
                </a:lnTo>
                <a:lnTo>
                  <a:pt x="1095" y="62"/>
                </a:lnTo>
                <a:lnTo>
                  <a:pt x="1081" y="66"/>
                </a:lnTo>
                <a:lnTo>
                  <a:pt x="1087" y="67"/>
                </a:lnTo>
                <a:lnTo>
                  <a:pt x="1090" y="68"/>
                </a:lnTo>
                <a:lnTo>
                  <a:pt x="1095" y="72"/>
                </a:lnTo>
                <a:lnTo>
                  <a:pt x="1101" y="76"/>
                </a:lnTo>
                <a:lnTo>
                  <a:pt x="1083" y="75"/>
                </a:lnTo>
                <a:lnTo>
                  <a:pt x="1087" y="79"/>
                </a:lnTo>
                <a:lnTo>
                  <a:pt x="1089" y="81"/>
                </a:lnTo>
                <a:lnTo>
                  <a:pt x="1060" y="74"/>
                </a:lnTo>
                <a:lnTo>
                  <a:pt x="1051" y="78"/>
                </a:lnTo>
                <a:lnTo>
                  <a:pt x="1027" y="73"/>
                </a:lnTo>
                <a:lnTo>
                  <a:pt x="1023" y="72"/>
                </a:lnTo>
                <a:lnTo>
                  <a:pt x="1028" y="80"/>
                </a:lnTo>
                <a:lnTo>
                  <a:pt x="1026" y="86"/>
                </a:lnTo>
                <a:lnTo>
                  <a:pt x="1010" y="81"/>
                </a:lnTo>
                <a:lnTo>
                  <a:pt x="990" y="73"/>
                </a:lnTo>
                <a:lnTo>
                  <a:pt x="967" y="66"/>
                </a:lnTo>
                <a:lnTo>
                  <a:pt x="960" y="66"/>
                </a:lnTo>
                <a:lnTo>
                  <a:pt x="978" y="78"/>
                </a:lnTo>
                <a:lnTo>
                  <a:pt x="954" y="66"/>
                </a:lnTo>
                <a:lnTo>
                  <a:pt x="916" y="61"/>
                </a:lnTo>
                <a:lnTo>
                  <a:pt x="878" y="57"/>
                </a:lnTo>
                <a:lnTo>
                  <a:pt x="858" y="51"/>
                </a:lnTo>
                <a:lnTo>
                  <a:pt x="861" y="50"/>
                </a:lnTo>
                <a:lnTo>
                  <a:pt x="844" y="49"/>
                </a:lnTo>
                <a:lnTo>
                  <a:pt x="810" y="50"/>
                </a:lnTo>
                <a:lnTo>
                  <a:pt x="799" y="45"/>
                </a:lnTo>
                <a:lnTo>
                  <a:pt x="783" y="45"/>
                </a:lnTo>
                <a:lnTo>
                  <a:pt x="783" y="43"/>
                </a:lnTo>
                <a:lnTo>
                  <a:pt x="766" y="46"/>
                </a:lnTo>
                <a:lnTo>
                  <a:pt x="781" y="48"/>
                </a:lnTo>
                <a:lnTo>
                  <a:pt x="763" y="54"/>
                </a:lnTo>
                <a:lnTo>
                  <a:pt x="744" y="56"/>
                </a:lnTo>
                <a:lnTo>
                  <a:pt x="744" y="52"/>
                </a:lnTo>
                <a:lnTo>
                  <a:pt x="764" y="40"/>
                </a:lnTo>
                <a:lnTo>
                  <a:pt x="782" y="26"/>
                </a:lnTo>
                <a:lnTo>
                  <a:pt x="774" y="25"/>
                </a:lnTo>
                <a:lnTo>
                  <a:pt x="765" y="21"/>
                </a:lnTo>
                <a:lnTo>
                  <a:pt x="780" y="24"/>
                </a:lnTo>
                <a:lnTo>
                  <a:pt x="766" y="16"/>
                </a:lnTo>
                <a:lnTo>
                  <a:pt x="764" y="18"/>
                </a:lnTo>
                <a:lnTo>
                  <a:pt x="758" y="16"/>
                </a:lnTo>
                <a:lnTo>
                  <a:pt x="741" y="12"/>
                </a:lnTo>
                <a:lnTo>
                  <a:pt x="709" y="12"/>
                </a:lnTo>
                <a:lnTo>
                  <a:pt x="697" y="13"/>
                </a:lnTo>
                <a:lnTo>
                  <a:pt x="696" y="7"/>
                </a:lnTo>
                <a:lnTo>
                  <a:pt x="682" y="6"/>
                </a:lnTo>
                <a:lnTo>
                  <a:pt x="666" y="6"/>
                </a:lnTo>
                <a:lnTo>
                  <a:pt x="678" y="2"/>
                </a:lnTo>
                <a:lnTo>
                  <a:pt x="654" y="0"/>
                </a:lnTo>
                <a:lnTo>
                  <a:pt x="638" y="8"/>
                </a:lnTo>
                <a:lnTo>
                  <a:pt x="644" y="13"/>
                </a:lnTo>
                <a:lnTo>
                  <a:pt x="652" y="14"/>
                </a:lnTo>
                <a:lnTo>
                  <a:pt x="630" y="15"/>
                </a:lnTo>
                <a:lnTo>
                  <a:pt x="637" y="18"/>
                </a:lnTo>
                <a:lnTo>
                  <a:pt x="621" y="19"/>
                </a:lnTo>
                <a:lnTo>
                  <a:pt x="606" y="19"/>
                </a:lnTo>
                <a:lnTo>
                  <a:pt x="577" y="19"/>
                </a:lnTo>
                <a:lnTo>
                  <a:pt x="589" y="20"/>
                </a:lnTo>
                <a:lnTo>
                  <a:pt x="567" y="24"/>
                </a:lnTo>
                <a:lnTo>
                  <a:pt x="543" y="28"/>
                </a:lnTo>
                <a:lnTo>
                  <a:pt x="536" y="30"/>
                </a:lnTo>
                <a:lnTo>
                  <a:pt x="536" y="36"/>
                </a:lnTo>
                <a:lnTo>
                  <a:pt x="526" y="36"/>
                </a:lnTo>
                <a:lnTo>
                  <a:pt x="541" y="39"/>
                </a:lnTo>
                <a:lnTo>
                  <a:pt x="532" y="40"/>
                </a:lnTo>
                <a:lnTo>
                  <a:pt x="544" y="43"/>
                </a:lnTo>
                <a:lnTo>
                  <a:pt x="544" y="45"/>
                </a:lnTo>
                <a:lnTo>
                  <a:pt x="517" y="48"/>
                </a:lnTo>
                <a:lnTo>
                  <a:pt x="489" y="50"/>
                </a:lnTo>
                <a:lnTo>
                  <a:pt x="494" y="56"/>
                </a:lnTo>
                <a:lnTo>
                  <a:pt x="506" y="66"/>
                </a:lnTo>
                <a:lnTo>
                  <a:pt x="519" y="68"/>
                </a:lnTo>
                <a:lnTo>
                  <a:pt x="538" y="75"/>
                </a:lnTo>
                <a:lnTo>
                  <a:pt x="548" y="87"/>
                </a:lnTo>
                <a:lnTo>
                  <a:pt x="552" y="92"/>
                </a:lnTo>
                <a:lnTo>
                  <a:pt x="546" y="92"/>
                </a:lnTo>
                <a:lnTo>
                  <a:pt x="536" y="84"/>
                </a:lnTo>
                <a:lnTo>
                  <a:pt x="535" y="88"/>
                </a:lnTo>
                <a:lnTo>
                  <a:pt x="529" y="79"/>
                </a:lnTo>
                <a:lnTo>
                  <a:pt x="535" y="74"/>
                </a:lnTo>
                <a:lnTo>
                  <a:pt x="512" y="72"/>
                </a:lnTo>
                <a:lnTo>
                  <a:pt x="489" y="66"/>
                </a:lnTo>
                <a:lnTo>
                  <a:pt x="471" y="68"/>
                </a:lnTo>
                <a:lnTo>
                  <a:pt x="481" y="72"/>
                </a:lnTo>
                <a:lnTo>
                  <a:pt x="459" y="70"/>
                </a:lnTo>
                <a:lnTo>
                  <a:pt x="465" y="75"/>
                </a:lnTo>
                <a:lnTo>
                  <a:pt x="489" y="80"/>
                </a:lnTo>
                <a:lnTo>
                  <a:pt x="494" y="84"/>
                </a:lnTo>
                <a:lnTo>
                  <a:pt x="458" y="76"/>
                </a:lnTo>
                <a:lnTo>
                  <a:pt x="446" y="60"/>
                </a:lnTo>
                <a:lnTo>
                  <a:pt x="438" y="60"/>
                </a:lnTo>
                <a:lnTo>
                  <a:pt x="447" y="68"/>
                </a:lnTo>
                <a:lnTo>
                  <a:pt x="436" y="74"/>
                </a:lnTo>
                <a:lnTo>
                  <a:pt x="441" y="79"/>
                </a:lnTo>
                <a:lnTo>
                  <a:pt x="456" y="88"/>
                </a:lnTo>
                <a:lnTo>
                  <a:pt x="454" y="99"/>
                </a:lnTo>
                <a:lnTo>
                  <a:pt x="465" y="109"/>
                </a:lnTo>
                <a:lnTo>
                  <a:pt x="492" y="108"/>
                </a:lnTo>
                <a:lnTo>
                  <a:pt x="506" y="111"/>
                </a:lnTo>
                <a:lnTo>
                  <a:pt x="512" y="121"/>
                </a:lnTo>
                <a:lnTo>
                  <a:pt x="516" y="127"/>
                </a:lnTo>
                <a:lnTo>
                  <a:pt x="531" y="129"/>
                </a:lnTo>
                <a:lnTo>
                  <a:pt x="510" y="127"/>
                </a:lnTo>
                <a:lnTo>
                  <a:pt x="500" y="115"/>
                </a:lnTo>
                <a:lnTo>
                  <a:pt x="493" y="110"/>
                </a:lnTo>
                <a:lnTo>
                  <a:pt x="474" y="114"/>
                </a:lnTo>
                <a:lnTo>
                  <a:pt x="486" y="128"/>
                </a:lnTo>
                <a:lnTo>
                  <a:pt x="475" y="142"/>
                </a:lnTo>
                <a:lnTo>
                  <a:pt x="471" y="144"/>
                </a:lnTo>
                <a:lnTo>
                  <a:pt x="465" y="147"/>
                </a:lnTo>
                <a:lnTo>
                  <a:pt x="435" y="142"/>
                </a:lnTo>
                <a:lnTo>
                  <a:pt x="432" y="140"/>
                </a:lnTo>
                <a:lnTo>
                  <a:pt x="451" y="141"/>
                </a:lnTo>
                <a:lnTo>
                  <a:pt x="447" y="142"/>
                </a:lnTo>
                <a:lnTo>
                  <a:pt x="460" y="141"/>
                </a:lnTo>
                <a:lnTo>
                  <a:pt x="458" y="138"/>
                </a:lnTo>
                <a:lnTo>
                  <a:pt x="466" y="124"/>
                </a:lnTo>
                <a:lnTo>
                  <a:pt x="466" y="117"/>
                </a:lnTo>
                <a:lnTo>
                  <a:pt x="448" y="106"/>
                </a:lnTo>
                <a:lnTo>
                  <a:pt x="441" y="93"/>
                </a:lnTo>
                <a:lnTo>
                  <a:pt x="433" y="81"/>
                </a:lnTo>
                <a:lnTo>
                  <a:pt x="422" y="75"/>
                </a:lnTo>
                <a:lnTo>
                  <a:pt x="422" y="63"/>
                </a:lnTo>
                <a:lnTo>
                  <a:pt x="405" y="58"/>
                </a:lnTo>
                <a:lnTo>
                  <a:pt x="384" y="60"/>
                </a:lnTo>
                <a:lnTo>
                  <a:pt x="381" y="76"/>
                </a:lnTo>
                <a:lnTo>
                  <a:pt x="373" y="82"/>
                </a:lnTo>
                <a:lnTo>
                  <a:pt x="376" y="86"/>
                </a:lnTo>
                <a:lnTo>
                  <a:pt x="382" y="86"/>
                </a:lnTo>
                <a:lnTo>
                  <a:pt x="385" y="96"/>
                </a:lnTo>
                <a:lnTo>
                  <a:pt x="388" y="100"/>
                </a:lnTo>
                <a:lnTo>
                  <a:pt x="403" y="104"/>
                </a:lnTo>
                <a:lnTo>
                  <a:pt x="411" y="111"/>
                </a:lnTo>
                <a:lnTo>
                  <a:pt x="417" y="111"/>
                </a:lnTo>
                <a:lnTo>
                  <a:pt x="412" y="120"/>
                </a:lnTo>
                <a:lnTo>
                  <a:pt x="396" y="111"/>
                </a:lnTo>
                <a:lnTo>
                  <a:pt x="370" y="105"/>
                </a:lnTo>
                <a:lnTo>
                  <a:pt x="346" y="102"/>
                </a:lnTo>
                <a:lnTo>
                  <a:pt x="324" y="98"/>
                </a:lnTo>
                <a:lnTo>
                  <a:pt x="319" y="102"/>
                </a:lnTo>
                <a:lnTo>
                  <a:pt x="331" y="111"/>
                </a:lnTo>
                <a:lnTo>
                  <a:pt x="322" y="115"/>
                </a:lnTo>
                <a:lnTo>
                  <a:pt x="322" y="118"/>
                </a:lnTo>
                <a:lnTo>
                  <a:pt x="316" y="117"/>
                </a:lnTo>
                <a:lnTo>
                  <a:pt x="313" y="111"/>
                </a:lnTo>
                <a:lnTo>
                  <a:pt x="298" y="114"/>
                </a:lnTo>
                <a:lnTo>
                  <a:pt x="286" y="115"/>
                </a:lnTo>
                <a:lnTo>
                  <a:pt x="273" y="120"/>
                </a:lnTo>
                <a:lnTo>
                  <a:pt x="256" y="118"/>
                </a:lnTo>
                <a:lnTo>
                  <a:pt x="261" y="116"/>
                </a:lnTo>
                <a:lnTo>
                  <a:pt x="258" y="111"/>
                </a:lnTo>
                <a:lnTo>
                  <a:pt x="266" y="110"/>
                </a:lnTo>
                <a:lnTo>
                  <a:pt x="247" y="115"/>
                </a:lnTo>
                <a:lnTo>
                  <a:pt x="246" y="117"/>
                </a:lnTo>
                <a:lnTo>
                  <a:pt x="224" y="122"/>
                </a:lnTo>
                <a:lnTo>
                  <a:pt x="212" y="126"/>
                </a:lnTo>
                <a:lnTo>
                  <a:pt x="213" y="128"/>
                </a:lnTo>
                <a:lnTo>
                  <a:pt x="204" y="129"/>
                </a:lnTo>
                <a:lnTo>
                  <a:pt x="202" y="139"/>
                </a:lnTo>
                <a:lnTo>
                  <a:pt x="187" y="139"/>
                </a:lnTo>
                <a:lnTo>
                  <a:pt x="174" y="130"/>
                </a:lnTo>
                <a:lnTo>
                  <a:pt x="190" y="124"/>
                </a:lnTo>
                <a:lnTo>
                  <a:pt x="171" y="116"/>
                </a:lnTo>
                <a:lnTo>
                  <a:pt x="151" y="115"/>
                </a:lnTo>
                <a:lnTo>
                  <a:pt x="163" y="120"/>
                </a:lnTo>
                <a:lnTo>
                  <a:pt x="168" y="135"/>
                </a:lnTo>
                <a:lnTo>
                  <a:pt x="172" y="145"/>
                </a:lnTo>
                <a:lnTo>
                  <a:pt x="172" y="151"/>
                </a:lnTo>
                <a:lnTo>
                  <a:pt x="166" y="151"/>
                </a:lnTo>
                <a:lnTo>
                  <a:pt x="162" y="145"/>
                </a:lnTo>
                <a:lnTo>
                  <a:pt x="150" y="144"/>
                </a:lnTo>
                <a:lnTo>
                  <a:pt x="140" y="152"/>
                </a:lnTo>
                <a:lnTo>
                  <a:pt x="129" y="159"/>
                </a:lnTo>
                <a:lnTo>
                  <a:pt x="140" y="171"/>
                </a:lnTo>
                <a:lnTo>
                  <a:pt x="115" y="168"/>
                </a:lnTo>
                <a:lnTo>
                  <a:pt x="99" y="163"/>
                </a:lnTo>
                <a:lnTo>
                  <a:pt x="99" y="169"/>
                </a:lnTo>
                <a:lnTo>
                  <a:pt x="111" y="174"/>
                </a:lnTo>
                <a:lnTo>
                  <a:pt x="117" y="180"/>
                </a:lnTo>
                <a:lnTo>
                  <a:pt x="103" y="181"/>
                </a:lnTo>
                <a:lnTo>
                  <a:pt x="81" y="170"/>
                </a:lnTo>
                <a:lnTo>
                  <a:pt x="74" y="158"/>
                </a:lnTo>
                <a:lnTo>
                  <a:pt x="73" y="153"/>
                </a:lnTo>
                <a:lnTo>
                  <a:pt x="75" y="153"/>
                </a:lnTo>
                <a:lnTo>
                  <a:pt x="60" y="147"/>
                </a:lnTo>
                <a:lnTo>
                  <a:pt x="54" y="144"/>
                </a:lnTo>
                <a:lnTo>
                  <a:pt x="40" y="135"/>
                </a:lnTo>
                <a:lnTo>
                  <a:pt x="49" y="138"/>
                </a:lnTo>
                <a:lnTo>
                  <a:pt x="78" y="144"/>
                </a:lnTo>
                <a:lnTo>
                  <a:pt x="106" y="150"/>
                </a:lnTo>
                <a:lnTo>
                  <a:pt x="134" y="144"/>
                </a:lnTo>
                <a:lnTo>
                  <a:pt x="138" y="134"/>
                </a:lnTo>
                <a:lnTo>
                  <a:pt x="127" y="126"/>
                </a:lnTo>
                <a:lnTo>
                  <a:pt x="96" y="116"/>
                </a:lnTo>
                <a:lnTo>
                  <a:pt x="66" y="106"/>
                </a:lnTo>
                <a:lnTo>
                  <a:pt x="48" y="108"/>
                </a:lnTo>
                <a:lnTo>
                  <a:pt x="43" y="109"/>
                </a:lnTo>
                <a:lnTo>
                  <a:pt x="46" y="104"/>
                </a:lnTo>
                <a:lnTo>
                  <a:pt x="39" y="105"/>
                </a:lnTo>
                <a:lnTo>
                  <a:pt x="31" y="100"/>
                </a:lnTo>
                <a:lnTo>
                  <a:pt x="40" y="99"/>
                </a:lnTo>
                <a:lnTo>
                  <a:pt x="28" y="97"/>
                </a:lnTo>
                <a:lnTo>
                  <a:pt x="24" y="99"/>
                </a:lnTo>
                <a:lnTo>
                  <a:pt x="18" y="98"/>
                </a:lnTo>
                <a:lnTo>
                  <a:pt x="18" y="103"/>
                </a:lnTo>
                <a:lnTo>
                  <a:pt x="12" y="103"/>
                </a:lnTo>
                <a:lnTo>
                  <a:pt x="1" y="109"/>
                </a:lnTo>
                <a:lnTo>
                  <a:pt x="0" y="111"/>
                </a:lnTo>
                <a:lnTo>
                  <a:pt x="1" y="121"/>
                </a:lnTo>
                <a:lnTo>
                  <a:pt x="16" y="129"/>
                </a:lnTo>
                <a:lnTo>
                  <a:pt x="10" y="140"/>
                </a:lnTo>
                <a:lnTo>
                  <a:pt x="24" y="156"/>
                </a:lnTo>
                <a:lnTo>
                  <a:pt x="25" y="168"/>
                </a:lnTo>
                <a:lnTo>
                  <a:pt x="28" y="172"/>
                </a:lnTo>
                <a:lnTo>
                  <a:pt x="36" y="180"/>
                </a:lnTo>
                <a:lnTo>
                  <a:pt x="30" y="183"/>
                </a:lnTo>
                <a:lnTo>
                  <a:pt x="50" y="195"/>
                </a:lnTo>
                <a:lnTo>
                  <a:pt x="42" y="204"/>
                </a:lnTo>
                <a:lnTo>
                  <a:pt x="33" y="212"/>
                </a:lnTo>
                <a:lnTo>
                  <a:pt x="25" y="220"/>
                </a:lnTo>
                <a:lnTo>
                  <a:pt x="16" y="229"/>
                </a:lnTo>
                <a:lnTo>
                  <a:pt x="25" y="229"/>
                </a:lnTo>
                <a:lnTo>
                  <a:pt x="22" y="229"/>
                </a:lnTo>
                <a:lnTo>
                  <a:pt x="25" y="231"/>
                </a:lnTo>
                <a:lnTo>
                  <a:pt x="45" y="237"/>
                </a:lnTo>
                <a:lnTo>
                  <a:pt x="33" y="237"/>
                </a:lnTo>
                <a:lnTo>
                  <a:pt x="24" y="242"/>
                </a:lnTo>
                <a:lnTo>
                  <a:pt x="20" y="246"/>
                </a:lnTo>
                <a:lnTo>
                  <a:pt x="24" y="260"/>
                </a:lnTo>
                <a:lnTo>
                  <a:pt x="18" y="268"/>
                </a:lnTo>
                <a:lnTo>
                  <a:pt x="26" y="279"/>
                </a:lnTo>
                <a:lnTo>
                  <a:pt x="33" y="297"/>
                </a:lnTo>
                <a:lnTo>
                  <a:pt x="52" y="301"/>
                </a:lnTo>
                <a:lnTo>
                  <a:pt x="72" y="303"/>
                </a:lnTo>
                <a:lnTo>
                  <a:pt x="74" y="321"/>
                </a:lnTo>
                <a:lnTo>
                  <a:pt x="90" y="334"/>
                </a:lnTo>
                <a:lnTo>
                  <a:pt x="86" y="339"/>
                </a:lnTo>
                <a:lnTo>
                  <a:pt x="88" y="354"/>
                </a:lnTo>
                <a:lnTo>
                  <a:pt x="99" y="350"/>
                </a:lnTo>
                <a:lnTo>
                  <a:pt x="118" y="352"/>
                </a:lnTo>
                <a:lnTo>
                  <a:pt x="121" y="357"/>
                </a:lnTo>
                <a:lnTo>
                  <a:pt x="136" y="372"/>
                </a:lnTo>
                <a:lnTo>
                  <a:pt x="153" y="385"/>
                </a:lnTo>
                <a:lnTo>
                  <a:pt x="162" y="384"/>
                </a:lnTo>
                <a:lnTo>
                  <a:pt x="180" y="390"/>
                </a:lnTo>
                <a:lnTo>
                  <a:pt x="199" y="396"/>
                </a:lnTo>
                <a:lnTo>
                  <a:pt x="207" y="417"/>
                </a:lnTo>
                <a:lnTo>
                  <a:pt x="196" y="422"/>
                </a:lnTo>
                <a:lnTo>
                  <a:pt x="193" y="432"/>
                </a:lnTo>
                <a:lnTo>
                  <a:pt x="195" y="435"/>
                </a:lnTo>
                <a:lnTo>
                  <a:pt x="186" y="440"/>
                </a:lnTo>
                <a:lnTo>
                  <a:pt x="178" y="442"/>
                </a:lnTo>
                <a:lnTo>
                  <a:pt x="189" y="450"/>
                </a:lnTo>
                <a:lnTo>
                  <a:pt x="186" y="450"/>
                </a:lnTo>
                <a:lnTo>
                  <a:pt x="184" y="454"/>
                </a:lnTo>
                <a:lnTo>
                  <a:pt x="182" y="451"/>
                </a:lnTo>
                <a:lnTo>
                  <a:pt x="181" y="460"/>
                </a:lnTo>
                <a:lnTo>
                  <a:pt x="170" y="462"/>
                </a:lnTo>
                <a:lnTo>
                  <a:pt x="168" y="464"/>
                </a:lnTo>
                <a:lnTo>
                  <a:pt x="187" y="475"/>
                </a:lnTo>
                <a:lnTo>
                  <a:pt x="206" y="484"/>
                </a:lnTo>
                <a:lnTo>
                  <a:pt x="207" y="483"/>
                </a:lnTo>
                <a:lnTo>
                  <a:pt x="222" y="484"/>
                </a:lnTo>
                <a:lnTo>
                  <a:pt x="236" y="486"/>
                </a:lnTo>
                <a:lnTo>
                  <a:pt x="255" y="493"/>
                </a:lnTo>
                <a:lnTo>
                  <a:pt x="274" y="501"/>
                </a:lnTo>
                <a:lnTo>
                  <a:pt x="294" y="508"/>
                </a:lnTo>
                <a:lnTo>
                  <a:pt x="314" y="517"/>
                </a:lnTo>
                <a:lnTo>
                  <a:pt x="334" y="520"/>
                </a:lnTo>
                <a:lnTo>
                  <a:pt x="324" y="508"/>
                </a:lnTo>
                <a:lnTo>
                  <a:pt x="313" y="496"/>
                </a:lnTo>
                <a:lnTo>
                  <a:pt x="312" y="486"/>
                </a:lnTo>
                <a:lnTo>
                  <a:pt x="310" y="489"/>
                </a:lnTo>
                <a:lnTo>
                  <a:pt x="303" y="477"/>
                </a:lnTo>
                <a:lnTo>
                  <a:pt x="298" y="472"/>
                </a:lnTo>
                <a:lnTo>
                  <a:pt x="304" y="457"/>
                </a:lnTo>
                <a:lnTo>
                  <a:pt x="319" y="451"/>
                </a:lnTo>
                <a:lnTo>
                  <a:pt x="325" y="447"/>
                </a:lnTo>
                <a:lnTo>
                  <a:pt x="324" y="445"/>
                </a:lnTo>
                <a:lnTo>
                  <a:pt x="314" y="429"/>
                </a:lnTo>
                <a:lnTo>
                  <a:pt x="298" y="417"/>
                </a:lnTo>
                <a:lnTo>
                  <a:pt x="284" y="405"/>
                </a:lnTo>
                <a:lnTo>
                  <a:pt x="285" y="387"/>
                </a:lnTo>
                <a:lnTo>
                  <a:pt x="288" y="370"/>
                </a:lnTo>
                <a:lnTo>
                  <a:pt x="302" y="378"/>
                </a:lnTo>
                <a:lnTo>
                  <a:pt x="304" y="370"/>
                </a:lnTo>
                <a:lnTo>
                  <a:pt x="314" y="363"/>
                </a:lnTo>
                <a:lnTo>
                  <a:pt x="324" y="357"/>
                </a:lnTo>
                <a:lnTo>
                  <a:pt x="342" y="356"/>
                </a:lnTo>
                <a:lnTo>
                  <a:pt x="358" y="363"/>
                </a:lnTo>
                <a:lnTo>
                  <a:pt x="375" y="372"/>
                </a:lnTo>
                <a:lnTo>
                  <a:pt x="394" y="370"/>
                </a:lnTo>
                <a:lnTo>
                  <a:pt x="418" y="370"/>
                </a:lnTo>
                <a:lnTo>
                  <a:pt x="442" y="374"/>
                </a:lnTo>
                <a:lnTo>
                  <a:pt x="445" y="369"/>
                </a:lnTo>
                <a:lnTo>
                  <a:pt x="432" y="354"/>
                </a:lnTo>
                <a:lnTo>
                  <a:pt x="438" y="336"/>
                </a:lnTo>
                <a:lnTo>
                  <a:pt x="448" y="337"/>
                </a:lnTo>
                <a:lnTo>
                  <a:pt x="433" y="328"/>
                </a:lnTo>
                <a:lnTo>
                  <a:pt x="450" y="326"/>
                </a:lnTo>
                <a:lnTo>
                  <a:pt x="465" y="324"/>
                </a:lnTo>
                <a:lnTo>
                  <a:pt x="481" y="319"/>
                </a:lnTo>
                <a:lnTo>
                  <a:pt x="495" y="315"/>
                </a:lnTo>
                <a:lnTo>
                  <a:pt x="511" y="310"/>
                </a:lnTo>
                <a:lnTo>
                  <a:pt x="525" y="307"/>
                </a:lnTo>
                <a:lnTo>
                  <a:pt x="536" y="306"/>
                </a:lnTo>
                <a:lnTo>
                  <a:pt x="546" y="315"/>
                </a:lnTo>
                <a:lnTo>
                  <a:pt x="570" y="324"/>
                </a:lnTo>
                <a:lnTo>
                  <a:pt x="578" y="328"/>
                </a:lnTo>
                <a:lnTo>
                  <a:pt x="588" y="330"/>
                </a:lnTo>
                <a:lnTo>
                  <a:pt x="604" y="324"/>
                </a:lnTo>
                <a:lnTo>
                  <a:pt x="620" y="319"/>
                </a:lnTo>
                <a:lnTo>
                  <a:pt x="622" y="321"/>
                </a:lnTo>
                <a:lnTo>
                  <a:pt x="620" y="328"/>
                </a:lnTo>
                <a:lnTo>
                  <a:pt x="637" y="339"/>
                </a:lnTo>
                <a:lnTo>
                  <a:pt x="654" y="351"/>
                </a:lnTo>
                <a:lnTo>
                  <a:pt x="672" y="362"/>
                </a:lnTo>
                <a:lnTo>
                  <a:pt x="688" y="374"/>
                </a:lnTo>
                <a:lnTo>
                  <a:pt x="691" y="370"/>
                </a:lnTo>
                <a:lnTo>
                  <a:pt x="700" y="374"/>
                </a:lnTo>
                <a:lnTo>
                  <a:pt x="716" y="370"/>
                </a:lnTo>
                <a:lnTo>
                  <a:pt x="734" y="381"/>
                </a:lnTo>
                <a:lnTo>
                  <a:pt x="751" y="392"/>
                </a:lnTo>
                <a:lnTo>
                  <a:pt x="768" y="388"/>
                </a:lnTo>
                <a:lnTo>
                  <a:pt x="782" y="403"/>
                </a:lnTo>
                <a:lnTo>
                  <a:pt x="792" y="402"/>
                </a:lnTo>
                <a:lnTo>
                  <a:pt x="798" y="397"/>
                </a:lnTo>
                <a:lnTo>
                  <a:pt x="808" y="392"/>
                </a:lnTo>
                <a:lnTo>
                  <a:pt x="822" y="385"/>
                </a:lnTo>
                <a:lnTo>
                  <a:pt x="834" y="378"/>
                </a:lnTo>
                <a:lnTo>
                  <a:pt x="860" y="380"/>
                </a:lnTo>
                <a:lnTo>
                  <a:pt x="864" y="386"/>
                </a:lnTo>
                <a:lnTo>
                  <a:pt x="883" y="388"/>
                </a:lnTo>
                <a:lnTo>
                  <a:pt x="902" y="392"/>
                </a:lnTo>
                <a:lnTo>
                  <a:pt x="912" y="385"/>
                </a:lnTo>
                <a:lnTo>
                  <a:pt x="900" y="374"/>
                </a:lnTo>
                <a:lnTo>
                  <a:pt x="902" y="357"/>
                </a:lnTo>
                <a:lnTo>
                  <a:pt x="924" y="362"/>
                </a:lnTo>
                <a:lnTo>
                  <a:pt x="945" y="367"/>
                </a:lnTo>
                <a:lnTo>
                  <a:pt x="955" y="376"/>
                </a:lnTo>
                <a:lnTo>
                  <a:pt x="974" y="386"/>
                </a:lnTo>
                <a:lnTo>
                  <a:pt x="996" y="381"/>
                </a:lnTo>
                <a:lnTo>
                  <a:pt x="1014" y="385"/>
                </a:lnTo>
                <a:lnTo>
                  <a:pt x="1030" y="390"/>
                </a:lnTo>
                <a:lnTo>
                  <a:pt x="1038" y="394"/>
                </a:lnTo>
                <a:lnTo>
                  <a:pt x="1064" y="402"/>
                </a:lnTo>
                <a:lnTo>
                  <a:pt x="1078" y="399"/>
                </a:lnTo>
                <a:lnTo>
                  <a:pt x="1093" y="396"/>
                </a:lnTo>
                <a:lnTo>
                  <a:pt x="1107" y="385"/>
                </a:lnTo>
                <a:lnTo>
                  <a:pt x="1131" y="391"/>
                </a:lnTo>
                <a:lnTo>
                  <a:pt x="1143" y="392"/>
                </a:lnTo>
                <a:lnTo>
                  <a:pt x="1161" y="396"/>
                </a:lnTo>
                <a:lnTo>
                  <a:pt x="1171" y="385"/>
                </a:lnTo>
                <a:lnTo>
                  <a:pt x="1166" y="374"/>
                </a:lnTo>
                <a:lnTo>
                  <a:pt x="1166" y="355"/>
                </a:lnTo>
                <a:lnTo>
                  <a:pt x="1156" y="349"/>
                </a:lnTo>
                <a:lnTo>
                  <a:pt x="1150" y="346"/>
                </a:lnTo>
                <a:lnTo>
                  <a:pt x="1160" y="338"/>
                </a:lnTo>
                <a:lnTo>
                  <a:pt x="1176" y="337"/>
                </a:lnTo>
                <a:lnTo>
                  <a:pt x="1191" y="337"/>
                </a:lnTo>
                <a:lnTo>
                  <a:pt x="1224" y="346"/>
                </a:lnTo>
                <a:lnTo>
                  <a:pt x="1237" y="357"/>
                </a:lnTo>
                <a:lnTo>
                  <a:pt x="1250" y="368"/>
                </a:lnTo>
                <a:lnTo>
                  <a:pt x="1262" y="379"/>
                </a:lnTo>
                <a:lnTo>
                  <a:pt x="1275" y="390"/>
                </a:lnTo>
                <a:lnTo>
                  <a:pt x="1290" y="396"/>
                </a:lnTo>
                <a:lnTo>
                  <a:pt x="1312" y="402"/>
                </a:lnTo>
                <a:lnTo>
                  <a:pt x="1326" y="408"/>
                </a:lnTo>
                <a:lnTo>
                  <a:pt x="1341" y="424"/>
                </a:lnTo>
                <a:lnTo>
                  <a:pt x="1360" y="422"/>
                </a:lnTo>
                <a:lnTo>
                  <a:pt x="1380" y="416"/>
                </a:lnTo>
                <a:lnTo>
                  <a:pt x="1388" y="429"/>
                </a:lnTo>
                <a:lnTo>
                  <a:pt x="1390" y="448"/>
                </a:lnTo>
                <a:lnTo>
                  <a:pt x="1393" y="466"/>
                </a:lnTo>
                <a:lnTo>
                  <a:pt x="1376" y="464"/>
                </a:lnTo>
                <a:lnTo>
                  <a:pt x="1374" y="472"/>
                </a:lnTo>
                <a:lnTo>
                  <a:pt x="1382" y="487"/>
                </a:lnTo>
                <a:lnTo>
                  <a:pt x="1392" y="500"/>
                </a:lnTo>
                <a:lnTo>
                  <a:pt x="1386" y="504"/>
                </a:lnTo>
                <a:lnTo>
                  <a:pt x="1389" y="508"/>
                </a:lnTo>
                <a:lnTo>
                  <a:pt x="1392" y="511"/>
                </a:lnTo>
                <a:lnTo>
                  <a:pt x="1389" y="506"/>
                </a:lnTo>
                <a:lnTo>
                  <a:pt x="1392" y="506"/>
                </a:lnTo>
                <a:lnTo>
                  <a:pt x="1399" y="496"/>
                </a:lnTo>
                <a:lnTo>
                  <a:pt x="1402" y="495"/>
                </a:lnTo>
                <a:lnTo>
                  <a:pt x="1407" y="501"/>
                </a:lnTo>
                <a:lnTo>
                  <a:pt x="1417" y="502"/>
                </a:lnTo>
                <a:lnTo>
                  <a:pt x="1431" y="496"/>
                </a:lnTo>
                <a:lnTo>
                  <a:pt x="1436" y="486"/>
                </a:lnTo>
                <a:lnTo>
                  <a:pt x="1441" y="475"/>
                </a:lnTo>
                <a:lnTo>
                  <a:pt x="1443" y="460"/>
                </a:lnTo>
                <a:lnTo>
                  <a:pt x="1444" y="445"/>
                </a:lnTo>
                <a:lnTo>
                  <a:pt x="1446" y="430"/>
                </a:lnTo>
                <a:lnTo>
                  <a:pt x="1447" y="416"/>
                </a:lnTo>
                <a:lnTo>
                  <a:pt x="1441" y="403"/>
                </a:lnTo>
                <a:lnTo>
                  <a:pt x="1435" y="390"/>
                </a:lnTo>
                <a:lnTo>
                  <a:pt x="1426" y="381"/>
                </a:lnTo>
                <a:lnTo>
                  <a:pt x="1423" y="370"/>
                </a:lnTo>
                <a:lnTo>
                  <a:pt x="1419" y="360"/>
                </a:lnTo>
                <a:lnTo>
                  <a:pt x="1410" y="349"/>
                </a:lnTo>
                <a:lnTo>
                  <a:pt x="1396" y="340"/>
                </a:lnTo>
                <a:lnTo>
                  <a:pt x="1405" y="342"/>
                </a:lnTo>
                <a:lnTo>
                  <a:pt x="1372" y="325"/>
                </a:lnTo>
                <a:lnTo>
                  <a:pt x="1357" y="322"/>
                </a:lnTo>
                <a:lnTo>
                  <a:pt x="1360" y="330"/>
                </a:lnTo>
                <a:lnTo>
                  <a:pt x="1350" y="334"/>
                </a:lnTo>
                <a:lnTo>
                  <a:pt x="1350" y="330"/>
                </a:lnTo>
                <a:lnTo>
                  <a:pt x="1342" y="326"/>
                </a:lnTo>
                <a:lnTo>
                  <a:pt x="1341" y="330"/>
                </a:lnTo>
                <a:lnTo>
                  <a:pt x="1332" y="319"/>
                </a:lnTo>
                <a:lnTo>
                  <a:pt x="1310" y="316"/>
                </a:lnTo>
                <a:lnTo>
                  <a:pt x="1315" y="303"/>
                </a:lnTo>
                <a:lnTo>
                  <a:pt x="1320" y="290"/>
                </a:lnTo>
                <a:lnTo>
                  <a:pt x="1323" y="280"/>
                </a:lnTo>
                <a:lnTo>
                  <a:pt x="1327" y="271"/>
                </a:lnTo>
                <a:lnTo>
                  <a:pt x="1324" y="264"/>
                </a:lnTo>
                <a:lnTo>
                  <a:pt x="1329" y="250"/>
                </a:lnTo>
                <a:lnTo>
                  <a:pt x="1344" y="248"/>
                </a:lnTo>
                <a:lnTo>
                  <a:pt x="1359" y="246"/>
                </a:lnTo>
                <a:lnTo>
                  <a:pt x="1364" y="246"/>
                </a:lnTo>
                <a:lnTo>
                  <a:pt x="1370" y="249"/>
                </a:lnTo>
                <a:lnTo>
                  <a:pt x="1371" y="247"/>
                </a:lnTo>
                <a:lnTo>
                  <a:pt x="1400" y="248"/>
                </a:lnTo>
                <a:lnTo>
                  <a:pt x="1400" y="246"/>
                </a:lnTo>
                <a:lnTo>
                  <a:pt x="1399" y="242"/>
                </a:lnTo>
                <a:lnTo>
                  <a:pt x="1420" y="243"/>
                </a:lnTo>
                <a:lnTo>
                  <a:pt x="1438" y="248"/>
                </a:lnTo>
                <a:lnTo>
                  <a:pt x="1432" y="250"/>
                </a:lnTo>
                <a:lnTo>
                  <a:pt x="1437" y="254"/>
                </a:lnTo>
                <a:lnTo>
                  <a:pt x="1449" y="253"/>
                </a:lnTo>
                <a:lnTo>
                  <a:pt x="1459" y="249"/>
                </a:lnTo>
                <a:lnTo>
                  <a:pt x="1476" y="249"/>
                </a:lnTo>
                <a:lnTo>
                  <a:pt x="1473" y="247"/>
                </a:lnTo>
                <a:lnTo>
                  <a:pt x="1461" y="246"/>
                </a:lnTo>
                <a:lnTo>
                  <a:pt x="1456" y="241"/>
                </a:lnTo>
                <a:lnTo>
                  <a:pt x="1456" y="226"/>
                </a:lnTo>
                <a:lnTo>
                  <a:pt x="1455" y="212"/>
                </a:lnTo>
                <a:lnTo>
                  <a:pt x="1480" y="212"/>
                </a:lnTo>
                <a:lnTo>
                  <a:pt x="1485" y="210"/>
                </a:lnTo>
                <a:lnTo>
                  <a:pt x="1498" y="224"/>
                </a:lnTo>
                <a:lnTo>
                  <a:pt x="1501" y="222"/>
                </a:lnTo>
                <a:lnTo>
                  <a:pt x="1508" y="229"/>
                </a:lnTo>
                <a:lnTo>
                  <a:pt x="1515" y="214"/>
                </a:lnTo>
                <a:lnTo>
                  <a:pt x="1522" y="214"/>
                </a:lnTo>
                <a:lnTo>
                  <a:pt x="1509" y="201"/>
                </a:lnTo>
                <a:lnTo>
                  <a:pt x="1513" y="199"/>
                </a:lnTo>
                <a:lnTo>
                  <a:pt x="1532" y="201"/>
                </a:lnTo>
                <a:lnTo>
                  <a:pt x="1536" y="204"/>
                </a:lnTo>
                <a:lnTo>
                  <a:pt x="1524" y="202"/>
                </a:lnTo>
                <a:lnTo>
                  <a:pt x="1533" y="213"/>
                </a:lnTo>
                <a:lnTo>
                  <a:pt x="1543" y="224"/>
                </a:lnTo>
                <a:lnTo>
                  <a:pt x="1536" y="229"/>
                </a:lnTo>
                <a:lnTo>
                  <a:pt x="1533" y="240"/>
                </a:lnTo>
                <a:lnTo>
                  <a:pt x="1531" y="252"/>
                </a:lnTo>
                <a:lnTo>
                  <a:pt x="1530" y="266"/>
                </a:lnTo>
                <a:lnTo>
                  <a:pt x="1518" y="270"/>
                </a:lnTo>
                <a:lnTo>
                  <a:pt x="1524" y="274"/>
                </a:lnTo>
                <a:lnTo>
                  <a:pt x="1525" y="284"/>
                </a:lnTo>
                <a:lnTo>
                  <a:pt x="1536" y="297"/>
                </a:lnTo>
                <a:lnTo>
                  <a:pt x="1545" y="310"/>
                </a:lnTo>
                <a:lnTo>
                  <a:pt x="1564" y="326"/>
                </a:lnTo>
                <a:lnTo>
                  <a:pt x="1582" y="342"/>
                </a:lnTo>
                <a:lnTo>
                  <a:pt x="1602" y="357"/>
                </a:lnTo>
                <a:lnTo>
                  <a:pt x="1621" y="374"/>
                </a:lnTo>
                <a:lnTo>
                  <a:pt x="1624" y="363"/>
                </a:lnTo>
                <a:lnTo>
                  <a:pt x="1615" y="343"/>
                </a:lnTo>
                <a:lnTo>
                  <a:pt x="1618" y="340"/>
                </a:lnTo>
                <a:lnTo>
                  <a:pt x="1628" y="342"/>
                </a:lnTo>
                <a:lnTo>
                  <a:pt x="1626" y="338"/>
                </a:lnTo>
                <a:lnTo>
                  <a:pt x="1614" y="324"/>
                </a:lnTo>
                <a:lnTo>
                  <a:pt x="1629" y="318"/>
                </a:lnTo>
                <a:lnTo>
                  <a:pt x="1610" y="301"/>
                </a:lnTo>
                <a:lnTo>
                  <a:pt x="1609" y="292"/>
                </a:lnTo>
                <a:lnTo>
                  <a:pt x="1610" y="290"/>
                </a:lnTo>
                <a:lnTo>
                  <a:pt x="1610" y="294"/>
                </a:lnTo>
                <a:lnTo>
                  <a:pt x="1618" y="296"/>
                </a:lnTo>
                <a:lnTo>
                  <a:pt x="1609" y="286"/>
                </a:lnTo>
                <a:lnTo>
                  <a:pt x="1603" y="285"/>
                </a:lnTo>
                <a:lnTo>
                  <a:pt x="1590" y="270"/>
                </a:lnTo>
                <a:lnTo>
                  <a:pt x="1582" y="271"/>
                </a:lnTo>
                <a:lnTo>
                  <a:pt x="1572" y="266"/>
                </a:lnTo>
                <a:lnTo>
                  <a:pt x="1566" y="249"/>
                </a:lnTo>
                <a:lnTo>
                  <a:pt x="1558" y="240"/>
                </a:lnTo>
                <a:lnTo>
                  <a:pt x="1567" y="237"/>
                </a:lnTo>
                <a:lnTo>
                  <a:pt x="1575" y="241"/>
                </a:lnTo>
                <a:lnTo>
                  <a:pt x="1573" y="236"/>
                </a:lnTo>
                <a:lnTo>
                  <a:pt x="1579" y="230"/>
                </a:lnTo>
                <a:lnTo>
                  <a:pt x="1590" y="240"/>
                </a:lnTo>
                <a:lnTo>
                  <a:pt x="1591" y="232"/>
                </a:lnTo>
                <a:lnTo>
                  <a:pt x="1611" y="229"/>
                </a:lnTo>
                <a:lnTo>
                  <a:pt x="1632" y="237"/>
                </a:lnTo>
                <a:lnTo>
                  <a:pt x="1632" y="234"/>
                </a:lnTo>
                <a:lnTo>
                  <a:pt x="1638" y="223"/>
                </a:lnTo>
                <a:lnTo>
                  <a:pt x="1639" y="222"/>
                </a:lnTo>
                <a:lnTo>
                  <a:pt x="1638" y="217"/>
                </a:lnTo>
                <a:lnTo>
                  <a:pt x="1639" y="216"/>
                </a:lnTo>
                <a:lnTo>
                  <a:pt x="1651" y="207"/>
                </a:lnTo>
                <a:lnTo>
                  <a:pt x="1663" y="200"/>
                </a:lnTo>
                <a:lnTo>
                  <a:pt x="1657" y="198"/>
                </a:lnTo>
                <a:lnTo>
                  <a:pt x="1660" y="198"/>
                </a:lnTo>
                <a:lnTo>
                  <a:pt x="1686" y="204"/>
                </a:lnTo>
                <a:lnTo>
                  <a:pt x="1687" y="200"/>
                </a:lnTo>
                <a:lnTo>
                  <a:pt x="1676" y="194"/>
                </a:lnTo>
                <a:lnTo>
                  <a:pt x="1663" y="188"/>
                </a:lnTo>
                <a:lnTo>
                  <a:pt x="1657" y="186"/>
                </a:lnTo>
                <a:lnTo>
                  <a:pt x="1638" y="174"/>
                </a:lnTo>
                <a:lnTo>
                  <a:pt x="1636" y="176"/>
                </a:lnTo>
                <a:lnTo>
                  <a:pt x="1622" y="169"/>
                </a:lnTo>
                <a:lnTo>
                  <a:pt x="1630" y="170"/>
                </a:lnTo>
                <a:lnTo>
                  <a:pt x="1642" y="168"/>
                </a:lnTo>
                <a:lnTo>
                  <a:pt x="1622" y="153"/>
                </a:lnTo>
                <a:lnTo>
                  <a:pt x="1602" y="139"/>
                </a:lnTo>
                <a:lnTo>
                  <a:pt x="1581" y="124"/>
                </a:lnTo>
                <a:lnTo>
                  <a:pt x="1560" y="110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17EFD829-AF97-4DF5-84E9-AD90C8DBC1D1}"/>
              </a:ext>
            </a:extLst>
          </p:cNvPr>
          <p:cNvSpPr>
            <a:spLocks/>
          </p:cNvSpPr>
          <p:nvPr/>
        </p:nvSpPr>
        <p:spPr bwMode="gray">
          <a:xfrm>
            <a:off x="7881318" y="4385696"/>
            <a:ext cx="11418" cy="3967"/>
          </a:xfrm>
          <a:custGeom>
            <a:avLst/>
            <a:gdLst>
              <a:gd name="T0" fmla="*/ 5 w 5"/>
              <a:gd name="T1" fmla="*/ 1 h 3"/>
              <a:gd name="T2" fmla="*/ 0 w 5"/>
              <a:gd name="T3" fmla="*/ 3 h 3"/>
              <a:gd name="T4" fmla="*/ 0 w 5"/>
              <a:gd name="T5" fmla="*/ 0 h 3"/>
              <a:gd name="T6" fmla="*/ 5 w 5"/>
              <a:gd name="T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3">
                <a:moveTo>
                  <a:pt x="5" y="1"/>
                </a:moveTo>
                <a:lnTo>
                  <a:pt x="0" y="3"/>
                </a:lnTo>
                <a:lnTo>
                  <a:pt x="0" y="0"/>
                </a:lnTo>
                <a:lnTo>
                  <a:pt x="5" y="1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02C56B1C-569E-4DC8-B3A1-75AC96DDEBA0}"/>
              </a:ext>
            </a:extLst>
          </p:cNvPr>
          <p:cNvSpPr>
            <a:spLocks/>
          </p:cNvSpPr>
          <p:nvPr/>
        </p:nvSpPr>
        <p:spPr bwMode="gray">
          <a:xfrm>
            <a:off x="8037341" y="4280541"/>
            <a:ext cx="304435" cy="295624"/>
          </a:xfrm>
          <a:custGeom>
            <a:avLst/>
            <a:gdLst>
              <a:gd name="T0" fmla="*/ 143 w 143"/>
              <a:gd name="T1" fmla="*/ 57 h 136"/>
              <a:gd name="T2" fmla="*/ 129 w 143"/>
              <a:gd name="T3" fmla="*/ 55 h 136"/>
              <a:gd name="T4" fmla="*/ 128 w 143"/>
              <a:gd name="T5" fmla="*/ 55 h 136"/>
              <a:gd name="T6" fmla="*/ 122 w 143"/>
              <a:gd name="T7" fmla="*/ 76 h 136"/>
              <a:gd name="T8" fmla="*/ 123 w 143"/>
              <a:gd name="T9" fmla="*/ 78 h 136"/>
              <a:gd name="T10" fmla="*/ 121 w 143"/>
              <a:gd name="T11" fmla="*/ 85 h 136"/>
              <a:gd name="T12" fmla="*/ 111 w 143"/>
              <a:gd name="T13" fmla="*/ 89 h 136"/>
              <a:gd name="T14" fmla="*/ 105 w 143"/>
              <a:gd name="T15" fmla="*/ 100 h 136"/>
              <a:gd name="T16" fmla="*/ 105 w 143"/>
              <a:gd name="T17" fmla="*/ 107 h 136"/>
              <a:gd name="T18" fmla="*/ 109 w 143"/>
              <a:gd name="T19" fmla="*/ 107 h 136"/>
              <a:gd name="T20" fmla="*/ 104 w 143"/>
              <a:gd name="T21" fmla="*/ 112 h 136"/>
              <a:gd name="T22" fmla="*/ 102 w 143"/>
              <a:gd name="T23" fmla="*/ 118 h 136"/>
              <a:gd name="T24" fmla="*/ 99 w 143"/>
              <a:gd name="T25" fmla="*/ 129 h 136"/>
              <a:gd name="T26" fmla="*/ 80 w 143"/>
              <a:gd name="T27" fmla="*/ 136 h 136"/>
              <a:gd name="T28" fmla="*/ 78 w 143"/>
              <a:gd name="T29" fmla="*/ 127 h 136"/>
              <a:gd name="T30" fmla="*/ 75 w 143"/>
              <a:gd name="T31" fmla="*/ 125 h 136"/>
              <a:gd name="T32" fmla="*/ 66 w 143"/>
              <a:gd name="T33" fmla="*/ 125 h 136"/>
              <a:gd name="T34" fmla="*/ 56 w 143"/>
              <a:gd name="T35" fmla="*/ 120 h 136"/>
              <a:gd name="T36" fmla="*/ 49 w 143"/>
              <a:gd name="T37" fmla="*/ 125 h 136"/>
              <a:gd name="T38" fmla="*/ 41 w 143"/>
              <a:gd name="T39" fmla="*/ 126 h 136"/>
              <a:gd name="T40" fmla="*/ 38 w 143"/>
              <a:gd name="T41" fmla="*/ 118 h 136"/>
              <a:gd name="T42" fmla="*/ 25 w 143"/>
              <a:gd name="T43" fmla="*/ 119 h 136"/>
              <a:gd name="T44" fmla="*/ 27 w 143"/>
              <a:gd name="T45" fmla="*/ 118 h 136"/>
              <a:gd name="T46" fmla="*/ 24 w 143"/>
              <a:gd name="T47" fmla="*/ 119 h 136"/>
              <a:gd name="T48" fmla="*/ 18 w 143"/>
              <a:gd name="T49" fmla="*/ 118 h 136"/>
              <a:gd name="T50" fmla="*/ 14 w 143"/>
              <a:gd name="T51" fmla="*/ 101 h 136"/>
              <a:gd name="T52" fmla="*/ 14 w 143"/>
              <a:gd name="T53" fmla="*/ 89 h 136"/>
              <a:gd name="T54" fmla="*/ 6 w 143"/>
              <a:gd name="T55" fmla="*/ 82 h 136"/>
              <a:gd name="T56" fmla="*/ 7 w 143"/>
              <a:gd name="T57" fmla="*/ 82 h 136"/>
              <a:gd name="T58" fmla="*/ 3 w 143"/>
              <a:gd name="T59" fmla="*/ 75 h 136"/>
              <a:gd name="T60" fmla="*/ 3 w 143"/>
              <a:gd name="T61" fmla="*/ 70 h 136"/>
              <a:gd name="T62" fmla="*/ 0 w 143"/>
              <a:gd name="T63" fmla="*/ 57 h 136"/>
              <a:gd name="T64" fmla="*/ 5 w 143"/>
              <a:gd name="T65" fmla="*/ 48 h 136"/>
              <a:gd name="T66" fmla="*/ 2 w 143"/>
              <a:gd name="T67" fmla="*/ 49 h 136"/>
              <a:gd name="T68" fmla="*/ 9 w 143"/>
              <a:gd name="T69" fmla="*/ 37 h 136"/>
              <a:gd name="T70" fmla="*/ 13 w 143"/>
              <a:gd name="T71" fmla="*/ 48 h 136"/>
              <a:gd name="T72" fmla="*/ 26 w 143"/>
              <a:gd name="T73" fmla="*/ 57 h 136"/>
              <a:gd name="T74" fmla="*/ 45 w 143"/>
              <a:gd name="T75" fmla="*/ 53 h 136"/>
              <a:gd name="T76" fmla="*/ 50 w 143"/>
              <a:gd name="T77" fmla="*/ 46 h 136"/>
              <a:gd name="T78" fmla="*/ 69 w 143"/>
              <a:gd name="T79" fmla="*/ 51 h 136"/>
              <a:gd name="T80" fmla="*/ 81 w 143"/>
              <a:gd name="T81" fmla="*/ 46 h 136"/>
              <a:gd name="T82" fmla="*/ 87 w 143"/>
              <a:gd name="T83" fmla="*/ 31 h 136"/>
              <a:gd name="T84" fmla="*/ 90 w 143"/>
              <a:gd name="T85" fmla="*/ 23 h 136"/>
              <a:gd name="T86" fmla="*/ 93 w 143"/>
              <a:gd name="T87" fmla="*/ 12 h 136"/>
              <a:gd name="T88" fmla="*/ 97 w 143"/>
              <a:gd name="T89" fmla="*/ 0 h 136"/>
              <a:gd name="T90" fmla="*/ 109 w 143"/>
              <a:gd name="T91" fmla="*/ 3 h 136"/>
              <a:gd name="T92" fmla="*/ 121 w 143"/>
              <a:gd name="T93" fmla="*/ 4 h 136"/>
              <a:gd name="T94" fmla="*/ 120 w 143"/>
              <a:gd name="T95" fmla="*/ 6 h 136"/>
              <a:gd name="T96" fmla="*/ 121 w 143"/>
              <a:gd name="T97" fmla="*/ 7 h 136"/>
              <a:gd name="T98" fmla="*/ 125 w 143"/>
              <a:gd name="T99" fmla="*/ 12 h 136"/>
              <a:gd name="T100" fmla="*/ 121 w 143"/>
              <a:gd name="T101" fmla="*/ 12 h 136"/>
              <a:gd name="T102" fmla="*/ 116 w 143"/>
              <a:gd name="T103" fmla="*/ 13 h 136"/>
              <a:gd name="T104" fmla="*/ 119 w 143"/>
              <a:gd name="T105" fmla="*/ 19 h 136"/>
              <a:gd name="T106" fmla="*/ 129 w 143"/>
              <a:gd name="T107" fmla="*/ 35 h 136"/>
              <a:gd name="T108" fmla="*/ 126 w 143"/>
              <a:gd name="T109" fmla="*/ 41 h 136"/>
              <a:gd name="T110" fmla="*/ 134 w 143"/>
              <a:gd name="T111" fmla="*/ 48 h 136"/>
              <a:gd name="T112" fmla="*/ 143 w 143"/>
              <a:gd name="T113" fmla="*/ 57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3" h="136">
                <a:moveTo>
                  <a:pt x="143" y="57"/>
                </a:moveTo>
                <a:lnTo>
                  <a:pt x="129" y="55"/>
                </a:lnTo>
                <a:lnTo>
                  <a:pt x="128" y="55"/>
                </a:lnTo>
                <a:lnTo>
                  <a:pt x="122" y="76"/>
                </a:lnTo>
                <a:lnTo>
                  <a:pt x="123" y="78"/>
                </a:lnTo>
                <a:lnTo>
                  <a:pt x="121" y="85"/>
                </a:lnTo>
                <a:lnTo>
                  <a:pt x="111" y="89"/>
                </a:lnTo>
                <a:lnTo>
                  <a:pt x="105" y="100"/>
                </a:lnTo>
                <a:lnTo>
                  <a:pt x="105" y="107"/>
                </a:lnTo>
                <a:lnTo>
                  <a:pt x="109" y="107"/>
                </a:lnTo>
                <a:lnTo>
                  <a:pt x="104" y="112"/>
                </a:lnTo>
                <a:lnTo>
                  <a:pt x="102" y="118"/>
                </a:lnTo>
                <a:lnTo>
                  <a:pt x="99" y="129"/>
                </a:lnTo>
                <a:lnTo>
                  <a:pt x="80" y="136"/>
                </a:lnTo>
                <a:lnTo>
                  <a:pt x="78" y="127"/>
                </a:lnTo>
                <a:lnTo>
                  <a:pt x="75" y="125"/>
                </a:lnTo>
                <a:lnTo>
                  <a:pt x="66" y="125"/>
                </a:lnTo>
                <a:lnTo>
                  <a:pt x="56" y="120"/>
                </a:lnTo>
                <a:lnTo>
                  <a:pt x="49" y="125"/>
                </a:lnTo>
                <a:lnTo>
                  <a:pt x="41" y="126"/>
                </a:lnTo>
                <a:lnTo>
                  <a:pt x="38" y="118"/>
                </a:lnTo>
                <a:lnTo>
                  <a:pt x="25" y="119"/>
                </a:lnTo>
                <a:lnTo>
                  <a:pt x="27" y="118"/>
                </a:lnTo>
                <a:lnTo>
                  <a:pt x="24" y="119"/>
                </a:lnTo>
                <a:lnTo>
                  <a:pt x="18" y="118"/>
                </a:lnTo>
                <a:lnTo>
                  <a:pt x="14" y="101"/>
                </a:lnTo>
                <a:lnTo>
                  <a:pt x="14" y="89"/>
                </a:lnTo>
                <a:lnTo>
                  <a:pt x="6" y="82"/>
                </a:lnTo>
                <a:lnTo>
                  <a:pt x="7" y="82"/>
                </a:lnTo>
                <a:lnTo>
                  <a:pt x="3" y="75"/>
                </a:lnTo>
                <a:lnTo>
                  <a:pt x="3" y="70"/>
                </a:lnTo>
                <a:lnTo>
                  <a:pt x="0" y="57"/>
                </a:lnTo>
                <a:lnTo>
                  <a:pt x="5" y="48"/>
                </a:lnTo>
                <a:lnTo>
                  <a:pt x="2" y="49"/>
                </a:lnTo>
                <a:lnTo>
                  <a:pt x="9" y="37"/>
                </a:lnTo>
                <a:lnTo>
                  <a:pt x="13" y="48"/>
                </a:lnTo>
                <a:lnTo>
                  <a:pt x="26" y="57"/>
                </a:lnTo>
                <a:lnTo>
                  <a:pt x="45" y="53"/>
                </a:lnTo>
                <a:lnTo>
                  <a:pt x="50" y="46"/>
                </a:lnTo>
                <a:lnTo>
                  <a:pt x="69" y="51"/>
                </a:lnTo>
                <a:lnTo>
                  <a:pt x="81" y="46"/>
                </a:lnTo>
                <a:lnTo>
                  <a:pt x="87" y="31"/>
                </a:lnTo>
                <a:lnTo>
                  <a:pt x="90" y="23"/>
                </a:lnTo>
                <a:lnTo>
                  <a:pt x="93" y="12"/>
                </a:lnTo>
                <a:lnTo>
                  <a:pt x="97" y="0"/>
                </a:lnTo>
                <a:lnTo>
                  <a:pt x="109" y="3"/>
                </a:lnTo>
                <a:lnTo>
                  <a:pt x="121" y="4"/>
                </a:lnTo>
                <a:lnTo>
                  <a:pt x="120" y="6"/>
                </a:lnTo>
                <a:lnTo>
                  <a:pt x="121" y="7"/>
                </a:lnTo>
                <a:lnTo>
                  <a:pt x="125" y="12"/>
                </a:lnTo>
                <a:lnTo>
                  <a:pt x="121" y="12"/>
                </a:lnTo>
                <a:lnTo>
                  <a:pt x="116" y="13"/>
                </a:lnTo>
                <a:lnTo>
                  <a:pt x="119" y="19"/>
                </a:lnTo>
                <a:lnTo>
                  <a:pt x="129" y="35"/>
                </a:lnTo>
                <a:lnTo>
                  <a:pt x="126" y="41"/>
                </a:lnTo>
                <a:lnTo>
                  <a:pt x="134" y="48"/>
                </a:lnTo>
                <a:lnTo>
                  <a:pt x="143" y="57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94BB3F30-E667-4522-9AF5-976BE0759362}"/>
              </a:ext>
            </a:extLst>
          </p:cNvPr>
          <p:cNvSpPr>
            <a:spLocks/>
          </p:cNvSpPr>
          <p:nvPr/>
        </p:nvSpPr>
        <p:spPr bwMode="gray">
          <a:xfrm>
            <a:off x="7622547" y="4240862"/>
            <a:ext cx="329172" cy="400779"/>
          </a:xfrm>
          <a:custGeom>
            <a:avLst/>
            <a:gdLst>
              <a:gd name="T0" fmla="*/ 156 w 156"/>
              <a:gd name="T1" fmla="*/ 141 h 183"/>
              <a:gd name="T2" fmla="*/ 155 w 156"/>
              <a:gd name="T3" fmla="*/ 142 h 183"/>
              <a:gd name="T4" fmla="*/ 152 w 156"/>
              <a:gd name="T5" fmla="*/ 162 h 183"/>
              <a:gd name="T6" fmla="*/ 150 w 156"/>
              <a:gd name="T7" fmla="*/ 183 h 183"/>
              <a:gd name="T8" fmla="*/ 143 w 156"/>
              <a:gd name="T9" fmla="*/ 177 h 183"/>
              <a:gd name="T10" fmla="*/ 142 w 156"/>
              <a:gd name="T11" fmla="*/ 180 h 183"/>
              <a:gd name="T12" fmla="*/ 134 w 156"/>
              <a:gd name="T13" fmla="*/ 178 h 183"/>
              <a:gd name="T14" fmla="*/ 134 w 156"/>
              <a:gd name="T15" fmla="*/ 183 h 183"/>
              <a:gd name="T16" fmla="*/ 121 w 156"/>
              <a:gd name="T17" fmla="*/ 169 h 183"/>
              <a:gd name="T18" fmla="*/ 113 w 156"/>
              <a:gd name="T19" fmla="*/ 161 h 183"/>
              <a:gd name="T20" fmla="*/ 106 w 156"/>
              <a:gd name="T21" fmla="*/ 154 h 183"/>
              <a:gd name="T22" fmla="*/ 98 w 156"/>
              <a:gd name="T23" fmla="*/ 145 h 183"/>
              <a:gd name="T24" fmla="*/ 90 w 156"/>
              <a:gd name="T25" fmla="*/ 138 h 183"/>
              <a:gd name="T26" fmla="*/ 84 w 156"/>
              <a:gd name="T27" fmla="*/ 125 h 183"/>
              <a:gd name="T28" fmla="*/ 78 w 156"/>
              <a:gd name="T29" fmla="*/ 112 h 183"/>
              <a:gd name="T30" fmla="*/ 76 w 156"/>
              <a:gd name="T31" fmla="*/ 109 h 183"/>
              <a:gd name="T32" fmla="*/ 68 w 156"/>
              <a:gd name="T33" fmla="*/ 97 h 183"/>
              <a:gd name="T34" fmla="*/ 61 w 156"/>
              <a:gd name="T35" fmla="*/ 85 h 183"/>
              <a:gd name="T36" fmla="*/ 56 w 156"/>
              <a:gd name="T37" fmla="*/ 75 h 183"/>
              <a:gd name="T38" fmla="*/ 52 w 156"/>
              <a:gd name="T39" fmla="*/ 64 h 183"/>
              <a:gd name="T40" fmla="*/ 41 w 156"/>
              <a:gd name="T41" fmla="*/ 53 h 183"/>
              <a:gd name="T42" fmla="*/ 31 w 156"/>
              <a:gd name="T43" fmla="*/ 40 h 183"/>
              <a:gd name="T44" fmla="*/ 20 w 156"/>
              <a:gd name="T45" fmla="*/ 29 h 183"/>
              <a:gd name="T46" fmla="*/ 10 w 156"/>
              <a:gd name="T47" fmla="*/ 18 h 183"/>
              <a:gd name="T48" fmla="*/ 0 w 156"/>
              <a:gd name="T49" fmla="*/ 0 h 183"/>
              <a:gd name="T50" fmla="*/ 10 w 156"/>
              <a:gd name="T51" fmla="*/ 1 h 183"/>
              <a:gd name="T52" fmla="*/ 20 w 156"/>
              <a:gd name="T53" fmla="*/ 4 h 183"/>
              <a:gd name="T54" fmla="*/ 31 w 156"/>
              <a:gd name="T55" fmla="*/ 5 h 183"/>
              <a:gd name="T56" fmla="*/ 44 w 156"/>
              <a:gd name="T57" fmla="*/ 19 h 183"/>
              <a:gd name="T58" fmla="*/ 46 w 156"/>
              <a:gd name="T59" fmla="*/ 23 h 183"/>
              <a:gd name="T60" fmla="*/ 59 w 156"/>
              <a:gd name="T61" fmla="*/ 35 h 183"/>
              <a:gd name="T62" fmla="*/ 71 w 156"/>
              <a:gd name="T63" fmla="*/ 46 h 183"/>
              <a:gd name="T64" fmla="*/ 82 w 156"/>
              <a:gd name="T65" fmla="*/ 58 h 183"/>
              <a:gd name="T66" fmla="*/ 82 w 156"/>
              <a:gd name="T67" fmla="*/ 52 h 183"/>
              <a:gd name="T68" fmla="*/ 94 w 156"/>
              <a:gd name="T69" fmla="*/ 63 h 183"/>
              <a:gd name="T70" fmla="*/ 101 w 156"/>
              <a:gd name="T71" fmla="*/ 71 h 183"/>
              <a:gd name="T72" fmla="*/ 114 w 156"/>
              <a:gd name="T73" fmla="*/ 81 h 183"/>
              <a:gd name="T74" fmla="*/ 116 w 156"/>
              <a:gd name="T75" fmla="*/ 82 h 183"/>
              <a:gd name="T76" fmla="*/ 125 w 156"/>
              <a:gd name="T77" fmla="*/ 89 h 183"/>
              <a:gd name="T78" fmla="*/ 119 w 156"/>
              <a:gd name="T79" fmla="*/ 93 h 183"/>
              <a:gd name="T80" fmla="*/ 120 w 156"/>
              <a:gd name="T81" fmla="*/ 95 h 183"/>
              <a:gd name="T82" fmla="*/ 119 w 156"/>
              <a:gd name="T83" fmla="*/ 97 h 183"/>
              <a:gd name="T84" fmla="*/ 121 w 156"/>
              <a:gd name="T85" fmla="*/ 103 h 183"/>
              <a:gd name="T86" fmla="*/ 132 w 156"/>
              <a:gd name="T87" fmla="*/ 106 h 183"/>
              <a:gd name="T88" fmla="*/ 134 w 156"/>
              <a:gd name="T89" fmla="*/ 118 h 183"/>
              <a:gd name="T90" fmla="*/ 137 w 156"/>
              <a:gd name="T91" fmla="*/ 121 h 183"/>
              <a:gd name="T92" fmla="*/ 137 w 156"/>
              <a:gd name="T93" fmla="*/ 127 h 183"/>
              <a:gd name="T94" fmla="*/ 149 w 156"/>
              <a:gd name="T95" fmla="*/ 127 h 183"/>
              <a:gd name="T96" fmla="*/ 156 w 156"/>
              <a:gd name="T97" fmla="*/ 141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56" h="183">
                <a:moveTo>
                  <a:pt x="156" y="141"/>
                </a:moveTo>
                <a:lnTo>
                  <a:pt x="155" y="142"/>
                </a:lnTo>
                <a:lnTo>
                  <a:pt x="152" y="162"/>
                </a:lnTo>
                <a:lnTo>
                  <a:pt x="150" y="183"/>
                </a:lnTo>
                <a:lnTo>
                  <a:pt x="143" y="177"/>
                </a:lnTo>
                <a:lnTo>
                  <a:pt x="142" y="180"/>
                </a:lnTo>
                <a:lnTo>
                  <a:pt x="134" y="178"/>
                </a:lnTo>
                <a:lnTo>
                  <a:pt x="134" y="183"/>
                </a:lnTo>
                <a:lnTo>
                  <a:pt x="121" y="169"/>
                </a:lnTo>
                <a:lnTo>
                  <a:pt x="113" y="161"/>
                </a:lnTo>
                <a:lnTo>
                  <a:pt x="106" y="154"/>
                </a:lnTo>
                <a:lnTo>
                  <a:pt x="98" y="145"/>
                </a:lnTo>
                <a:lnTo>
                  <a:pt x="90" y="138"/>
                </a:lnTo>
                <a:lnTo>
                  <a:pt x="84" y="125"/>
                </a:lnTo>
                <a:lnTo>
                  <a:pt x="78" y="112"/>
                </a:lnTo>
                <a:lnTo>
                  <a:pt x="76" y="109"/>
                </a:lnTo>
                <a:lnTo>
                  <a:pt x="68" y="97"/>
                </a:lnTo>
                <a:lnTo>
                  <a:pt x="61" y="85"/>
                </a:lnTo>
                <a:lnTo>
                  <a:pt x="56" y="75"/>
                </a:lnTo>
                <a:lnTo>
                  <a:pt x="52" y="64"/>
                </a:lnTo>
                <a:lnTo>
                  <a:pt x="41" y="53"/>
                </a:lnTo>
                <a:lnTo>
                  <a:pt x="31" y="40"/>
                </a:lnTo>
                <a:lnTo>
                  <a:pt x="20" y="29"/>
                </a:lnTo>
                <a:lnTo>
                  <a:pt x="10" y="18"/>
                </a:lnTo>
                <a:lnTo>
                  <a:pt x="0" y="0"/>
                </a:lnTo>
                <a:lnTo>
                  <a:pt x="10" y="1"/>
                </a:lnTo>
                <a:lnTo>
                  <a:pt x="20" y="4"/>
                </a:lnTo>
                <a:lnTo>
                  <a:pt x="31" y="5"/>
                </a:lnTo>
                <a:lnTo>
                  <a:pt x="44" y="19"/>
                </a:lnTo>
                <a:lnTo>
                  <a:pt x="46" y="23"/>
                </a:lnTo>
                <a:lnTo>
                  <a:pt x="59" y="35"/>
                </a:lnTo>
                <a:lnTo>
                  <a:pt x="71" y="46"/>
                </a:lnTo>
                <a:lnTo>
                  <a:pt x="82" y="58"/>
                </a:lnTo>
                <a:lnTo>
                  <a:pt x="82" y="52"/>
                </a:lnTo>
                <a:lnTo>
                  <a:pt x="94" y="63"/>
                </a:lnTo>
                <a:lnTo>
                  <a:pt x="101" y="71"/>
                </a:lnTo>
                <a:lnTo>
                  <a:pt x="114" y="81"/>
                </a:lnTo>
                <a:lnTo>
                  <a:pt x="116" y="82"/>
                </a:lnTo>
                <a:lnTo>
                  <a:pt x="125" y="89"/>
                </a:lnTo>
                <a:lnTo>
                  <a:pt x="119" y="93"/>
                </a:lnTo>
                <a:lnTo>
                  <a:pt x="120" y="95"/>
                </a:lnTo>
                <a:lnTo>
                  <a:pt x="119" y="97"/>
                </a:lnTo>
                <a:lnTo>
                  <a:pt x="121" y="103"/>
                </a:lnTo>
                <a:lnTo>
                  <a:pt x="132" y="106"/>
                </a:lnTo>
                <a:lnTo>
                  <a:pt x="134" y="118"/>
                </a:lnTo>
                <a:lnTo>
                  <a:pt x="137" y="121"/>
                </a:lnTo>
                <a:lnTo>
                  <a:pt x="137" y="127"/>
                </a:lnTo>
                <a:lnTo>
                  <a:pt x="149" y="127"/>
                </a:lnTo>
                <a:lnTo>
                  <a:pt x="156" y="141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E8E9948A-442D-4DA4-A8F1-15332A3A0037}"/>
              </a:ext>
            </a:extLst>
          </p:cNvPr>
          <p:cNvSpPr>
            <a:spLocks/>
          </p:cNvSpPr>
          <p:nvPr/>
        </p:nvSpPr>
        <p:spPr bwMode="gray">
          <a:xfrm>
            <a:off x="8707103" y="4451169"/>
            <a:ext cx="294921" cy="305545"/>
          </a:xfrm>
          <a:custGeom>
            <a:avLst/>
            <a:gdLst>
              <a:gd name="T0" fmla="*/ 106 w 140"/>
              <a:gd name="T1" fmla="*/ 118 h 139"/>
              <a:gd name="T2" fmla="*/ 110 w 140"/>
              <a:gd name="T3" fmla="*/ 124 h 139"/>
              <a:gd name="T4" fmla="*/ 125 w 140"/>
              <a:gd name="T5" fmla="*/ 130 h 139"/>
              <a:gd name="T6" fmla="*/ 134 w 140"/>
              <a:gd name="T7" fmla="*/ 126 h 139"/>
              <a:gd name="T8" fmla="*/ 136 w 140"/>
              <a:gd name="T9" fmla="*/ 101 h 139"/>
              <a:gd name="T10" fmla="*/ 138 w 140"/>
              <a:gd name="T11" fmla="*/ 75 h 139"/>
              <a:gd name="T12" fmla="*/ 140 w 140"/>
              <a:gd name="T13" fmla="*/ 48 h 139"/>
              <a:gd name="T14" fmla="*/ 130 w 140"/>
              <a:gd name="T15" fmla="*/ 33 h 139"/>
              <a:gd name="T16" fmla="*/ 95 w 140"/>
              <a:gd name="T17" fmla="*/ 17 h 139"/>
              <a:gd name="T18" fmla="*/ 72 w 140"/>
              <a:gd name="T19" fmla="*/ 33 h 139"/>
              <a:gd name="T20" fmla="*/ 52 w 140"/>
              <a:gd name="T21" fmla="*/ 41 h 139"/>
              <a:gd name="T22" fmla="*/ 46 w 140"/>
              <a:gd name="T23" fmla="*/ 37 h 139"/>
              <a:gd name="T24" fmla="*/ 42 w 140"/>
              <a:gd name="T25" fmla="*/ 11 h 139"/>
              <a:gd name="T26" fmla="*/ 28 w 140"/>
              <a:gd name="T27" fmla="*/ 3 h 139"/>
              <a:gd name="T28" fmla="*/ 3 w 140"/>
              <a:gd name="T29" fmla="*/ 9 h 139"/>
              <a:gd name="T30" fmla="*/ 11 w 140"/>
              <a:gd name="T31" fmla="*/ 21 h 139"/>
              <a:gd name="T32" fmla="*/ 28 w 140"/>
              <a:gd name="T33" fmla="*/ 29 h 139"/>
              <a:gd name="T34" fmla="*/ 38 w 140"/>
              <a:gd name="T35" fmla="*/ 31 h 139"/>
              <a:gd name="T36" fmla="*/ 35 w 140"/>
              <a:gd name="T37" fmla="*/ 34 h 139"/>
              <a:gd name="T38" fmla="*/ 18 w 140"/>
              <a:gd name="T39" fmla="*/ 37 h 139"/>
              <a:gd name="T40" fmla="*/ 24 w 140"/>
              <a:gd name="T41" fmla="*/ 51 h 139"/>
              <a:gd name="T42" fmla="*/ 30 w 140"/>
              <a:gd name="T43" fmla="*/ 58 h 139"/>
              <a:gd name="T44" fmla="*/ 36 w 140"/>
              <a:gd name="T45" fmla="*/ 52 h 139"/>
              <a:gd name="T46" fmla="*/ 52 w 140"/>
              <a:gd name="T47" fmla="*/ 57 h 139"/>
              <a:gd name="T48" fmla="*/ 62 w 140"/>
              <a:gd name="T49" fmla="*/ 65 h 139"/>
              <a:gd name="T50" fmla="*/ 82 w 140"/>
              <a:gd name="T51" fmla="*/ 73 h 139"/>
              <a:gd name="T52" fmla="*/ 98 w 140"/>
              <a:gd name="T53" fmla="*/ 84 h 139"/>
              <a:gd name="T54" fmla="*/ 110 w 140"/>
              <a:gd name="T55" fmla="*/ 106 h 139"/>
              <a:gd name="T56" fmla="*/ 110 w 140"/>
              <a:gd name="T57" fmla="*/ 109 h 139"/>
              <a:gd name="T58" fmla="*/ 105 w 140"/>
              <a:gd name="T59" fmla="*/ 114 h 139"/>
              <a:gd name="T60" fmla="*/ 88 w 140"/>
              <a:gd name="T61" fmla="*/ 129 h 139"/>
              <a:gd name="T62" fmla="*/ 106 w 140"/>
              <a:gd name="T63" fmla="*/ 117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0" h="139">
                <a:moveTo>
                  <a:pt x="106" y="117"/>
                </a:moveTo>
                <a:lnTo>
                  <a:pt x="106" y="118"/>
                </a:lnTo>
                <a:lnTo>
                  <a:pt x="105" y="125"/>
                </a:lnTo>
                <a:lnTo>
                  <a:pt x="110" y="124"/>
                </a:lnTo>
                <a:lnTo>
                  <a:pt x="122" y="121"/>
                </a:lnTo>
                <a:lnTo>
                  <a:pt x="125" y="130"/>
                </a:lnTo>
                <a:lnTo>
                  <a:pt x="134" y="139"/>
                </a:lnTo>
                <a:lnTo>
                  <a:pt x="134" y="126"/>
                </a:lnTo>
                <a:lnTo>
                  <a:pt x="135" y="114"/>
                </a:lnTo>
                <a:lnTo>
                  <a:pt x="136" y="101"/>
                </a:lnTo>
                <a:lnTo>
                  <a:pt x="137" y="88"/>
                </a:lnTo>
                <a:lnTo>
                  <a:pt x="138" y="75"/>
                </a:lnTo>
                <a:lnTo>
                  <a:pt x="138" y="61"/>
                </a:lnTo>
                <a:lnTo>
                  <a:pt x="140" y="48"/>
                </a:lnTo>
                <a:lnTo>
                  <a:pt x="140" y="35"/>
                </a:lnTo>
                <a:lnTo>
                  <a:pt x="130" y="33"/>
                </a:lnTo>
                <a:lnTo>
                  <a:pt x="113" y="24"/>
                </a:lnTo>
                <a:lnTo>
                  <a:pt x="95" y="17"/>
                </a:lnTo>
                <a:lnTo>
                  <a:pt x="86" y="24"/>
                </a:lnTo>
                <a:lnTo>
                  <a:pt x="72" y="33"/>
                </a:lnTo>
                <a:lnTo>
                  <a:pt x="58" y="47"/>
                </a:lnTo>
                <a:lnTo>
                  <a:pt x="52" y="41"/>
                </a:lnTo>
                <a:lnTo>
                  <a:pt x="47" y="34"/>
                </a:lnTo>
                <a:lnTo>
                  <a:pt x="46" y="37"/>
                </a:lnTo>
                <a:lnTo>
                  <a:pt x="42" y="19"/>
                </a:lnTo>
                <a:lnTo>
                  <a:pt x="42" y="11"/>
                </a:lnTo>
                <a:lnTo>
                  <a:pt x="41" y="5"/>
                </a:lnTo>
                <a:lnTo>
                  <a:pt x="28" y="3"/>
                </a:lnTo>
                <a:lnTo>
                  <a:pt x="15" y="0"/>
                </a:lnTo>
                <a:lnTo>
                  <a:pt x="3" y="9"/>
                </a:lnTo>
                <a:lnTo>
                  <a:pt x="0" y="16"/>
                </a:lnTo>
                <a:lnTo>
                  <a:pt x="11" y="21"/>
                </a:lnTo>
                <a:lnTo>
                  <a:pt x="17" y="29"/>
                </a:lnTo>
                <a:lnTo>
                  <a:pt x="28" y="29"/>
                </a:lnTo>
                <a:lnTo>
                  <a:pt x="39" y="29"/>
                </a:lnTo>
                <a:lnTo>
                  <a:pt x="38" y="31"/>
                </a:lnTo>
                <a:lnTo>
                  <a:pt x="36" y="34"/>
                </a:lnTo>
                <a:lnTo>
                  <a:pt x="35" y="34"/>
                </a:lnTo>
                <a:lnTo>
                  <a:pt x="30" y="34"/>
                </a:lnTo>
                <a:lnTo>
                  <a:pt x="18" y="37"/>
                </a:lnTo>
                <a:lnTo>
                  <a:pt x="12" y="40"/>
                </a:lnTo>
                <a:lnTo>
                  <a:pt x="24" y="51"/>
                </a:lnTo>
                <a:lnTo>
                  <a:pt x="23" y="57"/>
                </a:lnTo>
                <a:lnTo>
                  <a:pt x="30" y="58"/>
                </a:lnTo>
                <a:lnTo>
                  <a:pt x="39" y="42"/>
                </a:lnTo>
                <a:lnTo>
                  <a:pt x="36" y="52"/>
                </a:lnTo>
                <a:lnTo>
                  <a:pt x="48" y="57"/>
                </a:lnTo>
                <a:lnTo>
                  <a:pt x="52" y="57"/>
                </a:lnTo>
                <a:lnTo>
                  <a:pt x="51" y="61"/>
                </a:lnTo>
                <a:lnTo>
                  <a:pt x="62" y="65"/>
                </a:lnTo>
                <a:lnTo>
                  <a:pt x="71" y="70"/>
                </a:lnTo>
                <a:lnTo>
                  <a:pt x="82" y="73"/>
                </a:lnTo>
                <a:lnTo>
                  <a:pt x="93" y="77"/>
                </a:lnTo>
                <a:lnTo>
                  <a:pt x="98" y="84"/>
                </a:lnTo>
                <a:lnTo>
                  <a:pt x="105" y="102"/>
                </a:lnTo>
                <a:lnTo>
                  <a:pt x="110" y="106"/>
                </a:lnTo>
                <a:lnTo>
                  <a:pt x="102" y="106"/>
                </a:lnTo>
                <a:lnTo>
                  <a:pt x="110" y="109"/>
                </a:lnTo>
                <a:lnTo>
                  <a:pt x="104" y="109"/>
                </a:lnTo>
                <a:lnTo>
                  <a:pt x="105" y="114"/>
                </a:lnTo>
                <a:lnTo>
                  <a:pt x="96" y="113"/>
                </a:lnTo>
                <a:lnTo>
                  <a:pt x="88" y="129"/>
                </a:lnTo>
                <a:lnTo>
                  <a:pt x="100" y="126"/>
                </a:lnTo>
                <a:lnTo>
                  <a:pt x="106" y="117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59194064-FB91-425F-8103-A39B92A0E3EB}"/>
              </a:ext>
            </a:extLst>
          </p:cNvPr>
          <p:cNvSpPr>
            <a:spLocks/>
          </p:cNvSpPr>
          <p:nvPr/>
        </p:nvSpPr>
        <p:spPr bwMode="gray">
          <a:xfrm>
            <a:off x="8337973" y="4371807"/>
            <a:ext cx="190272" cy="265862"/>
          </a:xfrm>
          <a:custGeom>
            <a:avLst/>
            <a:gdLst>
              <a:gd name="T0" fmla="*/ 91 w 91"/>
              <a:gd name="T1" fmla="*/ 4 h 119"/>
              <a:gd name="T2" fmla="*/ 88 w 91"/>
              <a:gd name="T3" fmla="*/ 0 h 119"/>
              <a:gd name="T4" fmla="*/ 73 w 91"/>
              <a:gd name="T5" fmla="*/ 15 h 119"/>
              <a:gd name="T6" fmla="*/ 55 w 91"/>
              <a:gd name="T7" fmla="*/ 11 h 119"/>
              <a:gd name="T8" fmla="*/ 37 w 91"/>
              <a:gd name="T9" fmla="*/ 9 h 119"/>
              <a:gd name="T10" fmla="*/ 29 w 91"/>
              <a:gd name="T11" fmla="*/ 9 h 119"/>
              <a:gd name="T12" fmla="*/ 23 w 91"/>
              <a:gd name="T13" fmla="*/ 15 h 119"/>
              <a:gd name="T14" fmla="*/ 21 w 91"/>
              <a:gd name="T15" fmla="*/ 15 h 119"/>
              <a:gd name="T16" fmla="*/ 13 w 91"/>
              <a:gd name="T17" fmla="*/ 28 h 119"/>
              <a:gd name="T18" fmla="*/ 15 w 91"/>
              <a:gd name="T19" fmla="*/ 42 h 119"/>
              <a:gd name="T20" fmla="*/ 13 w 91"/>
              <a:gd name="T21" fmla="*/ 40 h 119"/>
              <a:gd name="T22" fmla="*/ 7 w 91"/>
              <a:gd name="T23" fmla="*/ 56 h 119"/>
              <a:gd name="T24" fmla="*/ 0 w 91"/>
              <a:gd name="T25" fmla="*/ 71 h 119"/>
              <a:gd name="T26" fmla="*/ 1 w 91"/>
              <a:gd name="T27" fmla="*/ 84 h 119"/>
              <a:gd name="T28" fmla="*/ 9 w 91"/>
              <a:gd name="T29" fmla="*/ 86 h 119"/>
              <a:gd name="T30" fmla="*/ 9 w 91"/>
              <a:gd name="T31" fmla="*/ 98 h 119"/>
              <a:gd name="T32" fmla="*/ 7 w 91"/>
              <a:gd name="T33" fmla="*/ 110 h 119"/>
              <a:gd name="T34" fmla="*/ 9 w 91"/>
              <a:gd name="T35" fmla="*/ 119 h 119"/>
              <a:gd name="T36" fmla="*/ 21 w 91"/>
              <a:gd name="T37" fmla="*/ 117 h 119"/>
              <a:gd name="T38" fmla="*/ 21 w 91"/>
              <a:gd name="T39" fmla="*/ 96 h 119"/>
              <a:gd name="T40" fmla="*/ 21 w 91"/>
              <a:gd name="T41" fmla="*/ 77 h 119"/>
              <a:gd name="T42" fmla="*/ 29 w 91"/>
              <a:gd name="T43" fmla="*/ 71 h 119"/>
              <a:gd name="T44" fmla="*/ 30 w 91"/>
              <a:gd name="T45" fmla="*/ 81 h 119"/>
              <a:gd name="T46" fmla="*/ 31 w 91"/>
              <a:gd name="T47" fmla="*/ 88 h 119"/>
              <a:gd name="T48" fmla="*/ 37 w 91"/>
              <a:gd name="T49" fmla="*/ 96 h 119"/>
              <a:gd name="T50" fmla="*/ 40 w 91"/>
              <a:gd name="T51" fmla="*/ 106 h 119"/>
              <a:gd name="T52" fmla="*/ 45 w 91"/>
              <a:gd name="T53" fmla="*/ 104 h 119"/>
              <a:gd name="T54" fmla="*/ 54 w 91"/>
              <a:gd name="T55" fmla="*/ 98 h 119"/>
              <a:gd name="T56" fmla="*/ 57 w 91"/>
              <a:gd name="T57" fmla="*/ 96 h 119"/>
              <a:gd name="T58" fmla="*/ 48 w 91"/>
              <a:gd name="T59" fmla="*/ 82 h 119"/>
              <a:gd name="T60" fmla="*/ 51 w 91"/>
              <a:gd name="T61" fmla="*/ 78 h 119"/>
              <a:gd name="T62" fmla="*/ 43 w 91"/>
              <a:gd name="T63" fmla="*/ 68 h 119"/>
              <a:gd name="T64" fmla="*/ 36 w 91"/>
              <a:gd name="T65" fmla="*/ 57 h 119"/>
              <a:gd name="T66" fmla="*/ 42 w 91"/>
              <a:gd name="T67" fmla="*/ 58 h 119"/>
              <a:gd name="T68" fmla="*/ 52 w 91"/>
              <a:gd name="T69" fmla="*/ 50 h 119"/>
              <a:gd name="T70" fmla="*/ 63 w 91"/>
              <a:gd name="T71" fmla="*/ 42 h 119"/>
              <a:gd name="T72" fmla="*/ 66 w 91"/>
              <a:gd name="T73" fmla="*/ 42 h 119"/>
              <a:gd name="T74" fmla="*/ 63 w 91"/>
              <a:gd name="T75" fmla="*/ 38 h 119"/>
              <a:gd name="T76" fmla="*/ 58 w 91"/>
              <a:gd name="T77" fmla="*/ 39 h 119"/>
              <a:gd name="T78" fmla="*/ 41 w 91"/>
              <a:gd name="T79" fmla="*/ 42 h 119"/>
              <a:gd name="T80" fmla="*/ 29 w 91"/>
              <a:gd name="T81" fmla="*/ 50 h 119"/>
              <a:gd name="T82" fmla="*/ 18 w 91"/>
              <a:gd name="T83" fmla="*/ 34 h 119"/>
              <a:gd name="T84" fmla="*/ 23 w 91"/>
              <a:gd name="T85" fmla="*/ 21 h 119"/>
              <a:gd name="T86" fmla="*/ 43 w 91"/>
              <a:gd name="T87" fmla="*/ 21 h 119"/>
              <a:gd name="T88" fmla="*/ 63 w 91"/>
              <a:gd name="T89" fmla="*/ 22 h 119"/>
              <a:gd name="T90" fmla="*/ 82 w 91"/>
              <a:gd name="T91" fmla="*/ 18 h 119"/>
              <a:gd name="T92" fmla="*/ 91 w 91"/>
              <a:gd name="T93" fmla="*/ 4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1" h="119">
                <a:moveTo>
                  <a:pt x="91" y="4"/>
                </a:moveTo>
                <a:lnTo>
                  <a:pt x="88" y="0"/>
                </a:lnTo>
                <a:lnTo>
                  <a:pt x="73" y="15"/>
                </a:lnTo>
                <a:lnTo>
                  <a:pt x="55" y="11"/>
                </a:lnTo>
                <a:lnTo>
                  <a:pt x="37" y="9"/>
                </a:lnTo>
                <a:lnTo>
                  <a:pt x="29" y="9"/>
                </a:lnTo>
                <a:lnTo>
                  <a:pt x="23" y="15"/>
                </a:lnTo>
                <a:lnTo>
                  <a:pt x="21" y="15"/>
                </a:lnTo>
                <a:lnTo>
                  <a:pt x="13" y="28"/>
                </a:lnTo>
                <a:lnTo>
                  <a:pt x="15" y="42"/>
                </a:lnTo>
                <a:lnTo>
                  <a:pt x="13" y="40"/>
                </a:lnTo>
                <a:lnTo>
                  <a:pt x="7" y="56"/>
                </a:lnTo>
                <a:lnTo>
                  <a:pt x="0" y="71"/>
                </a:lnTo>
                <a:lnTo>
                  <a:pt x="1" y="84"/>
                </a:lnTo>
                <a:lnTo>
                  <a:pt x="9" y="86"/>
                </a:lnTo>
                <a:lnTo>
                  <a:pt x="9" y="98"/>
                </a:lnTo>
                <a:lnTo>
                  <a:pt x="7" y="110"/>
                </a:lnTo>
                <a:lnTo>
                  <a:pt x="9" y="119"/>
                </a:lnTo>
                <a:lnTo>
                  <a:pt x="21" y="117"/>
                </a:lnTo>
                <a:lnTo>
                  <a:pt x="21" y="96"/>
                </a:lnTo>
                <a:lnTo>
                  <a:pt x="21" y="77"/>
                </a:lnTo>
                <a:lnTo>
                  <a:pt x="29" y="71"/>
                </a:lnTo>
                <a:lnTo>
                  <a:pt x="30" y="81"/>
                </a:lnTo>
                <a:lnTo>
                  <a:pt x="31" y="88"/>
                </a:lnTo>
                <a:lnTo>
                  <a:pt x="37" y="96"/>
                </a:lnTo>
                <a:lnTo>
                  <a:pt x="40" y="106"/>
                </a:lnTo>
                <a:lnTo>
                  <a:pt x="45" y="104"/>
                </a:lnTo>
                <a:lnTo>
                  <a:pt x="54" y="98"/>
                </a:lnTo>
                <a:lnTo>
                  <a:pt x="57" y="96"/>
                </a:lnTo>
                <a:lnTo>
                  <a:pt x="48" y="82"/>
                </a:lnTo>
                <a:lnTo>
                  <a:pt x="51" y="78"/>
                </a:lnTo>
                <a:lnTo>
                  <a:pt x="43" y="68"/>
                </a:lnTo>
                <a:lnTo>
                  <a:pt x="36" y="57"/>
                </a:lnTo>
                <a:lnTo>
                  <a:pt x="42" y="58"/>
                </a:lnTo>
                <a:lnTo>
                  <a:pt x="52" y="50"/>
                </a:lnTo>
                <a:lnTo>
                  <a:pt x="63" y="42"/>
                </a:lnTo>
                <a:lnTo>
                  <a:pt x="66" y="42"/>
                </a:lnTo>
                <a:lnTo>
                  <a:pt x="63" y="38"/>
                </a:lnTo>
                <a:lnTo>
                  <a:pt x="58" y="39"/>
                </a:lnTo>
                <a:lnTo>
                  <a:pt x="41" y="42"/>
                </a:lnTo>
                <a:lnTo>
                  <a:pt x="29" y="50"/>
                </a:lnTo>
                <a:lnTo>
                  <a:pt x="18" y="34"/>
                </a:lnTo>
                <a:lnTo>
                  <a:pt x="23" y="21"/>
                </a:lnTo>
                <a:lnTo>
                  <a:pt x="43" y="21"/>
                </a:lnTo>
                <a:lnTo>
                  <a:pt x="63" y="22"/>
                </a:lnTo>
                <a:lnTo>
                  <a:pt x="82" y="18"/>
                </a:lnTo>
                <a:lnTo>
                  <a:pt x="91" y="4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4E95CCE4-6DF6-4590-ABAB-2AC5319526D2}"/>
              </a:ext>
            </a:extLst>
          </p:cNvPr>
          <p:cNvSpPr>
            <a:spLocks/>
          </p:cNvSpPr>
          <p:nvPr/>
        </p:nvSpPr>
        <p:spPr bwMode="gray">
          <a:xfrm>
            <a:off x="7923177" y="4645608"/>
            <a:ext cx="273993" cy="103172"/>
          </a:xfrm>
          <a:custGeom>
            <a:avLst/>
            <a:gdLst>
              <a:gd name="T0" fmla="*/ 129 w 129"/>
              <a:gd name="T1" fmla="*/ 46 h 46"/>
              <a:gd name="T2" fmla="*/ 127 w 129"/>
              <a:gd name="T3" fmla="*/ 43 h 46"/>
              <a:gd name="T4" fmla="*/ 128 w 129"/>
              <a:gd name="T5" fmla="*/ 30 h 46"/>
              <a:gd name="T6" fmla="*/ 117 w 129"/>
              <a:gd name="T7" fmla="*/ 29 h 46"/>
              <a:gd name="T8" fmla="*/ 107 w 129"/>
              <a:gd name="T9" fmla="*/ 28 h 46"/>
              <a:gd name="T10" fmla="*/ 103 w 129"/>
              <a:gd name="T11" fmla="*/ 18 h 46"/>
              <a:gd name="T12" fmla="*/ 86 w 129"/>
              <a:gd name="T13" fmla="*/ 12 h 46"/>
              <a:gd name="T14" fmla="*/ 79 w 129"/>
              <a:gd name="T15" fmla="*/ 7 h 46"/>
              <a:gd name="T16" fmla="*/ 74 w 129"/>
              <a:gd name="T17" fmla="*/ 14 h 46"/>
              <a:gd name="T18" fmla="*/ 62 w 129"/>
              <a:gd name="T19" fmla="*/ 14 h 46"/>
              <a:gd name="T20" fmla="*/ 51 w 129"/>
              <a:gd name="T21" fmla="*/ 14 h 46"/>
              <a:gd name="T22" fmla="*/ 45 w 129"/>
              <a:gd name="T23" fmla="*/ 8 h 46"/>
              <a:gd name="T24" fmla="*/ 30 w 129"/>
              <a:gd name="T25" fmla="*/ 1 h 46"/>
              <a:gd name="T26" fmla="*/ 12 w 129"/>
              <a:gd name="T27" fmla="*/ 0 h 46"/>
              <a:gd name="T28" fmla="*/ 5 w 129"/>
              <a:gd name="T29" fmla="*/ 11 h 46"/>
              <a:gd name="T30" fmla="*/ 0 w 129"/>
              <a:gd name="T31" fmla="*/ 12 h 46"/>
              <a:gd name="T32" fmla="*/ 14 w 129"/>
              <a:gd name="T33" fmla="*/ 17 h 46"/>
              <a:gd name="T34" fmla="*/ 14 w 129"/>
              <a:gd name="T35" fmla="*/ 20 h 46"/>
              <a:gd name="T36" fmla="*/ 29 w 129"/>
              <a:gd name="T37" fmla="*/ 24 h 46"/>
              <a:gd name="T38" fmla="*/ 43 w 129"/>
              <a:gd name="T39" fmla="*/ 28 h 46"/>
              <a:gd name="T40" fmla="*/ 56 w 129"/>
              <a:gd name="T41" fmla="*/ 31 h 46"/>
              <a:gd name="T42" fmla="*/ 69 w 129"/>
              <a:gd name="T43" fmla="*/ 34 h 46"/>
              <a:gd name="T44" fmla="*/ 89 w 129"/>
              <a:gd name="T45" fmla="*/ 36 h 46"/>
              <a:gd name="T46" fmla="*/ 107 w 129"/>
              <a:gd name="T47" fmla="*/ 38 h 46"/>
              <a:gd name="T48" fmla="*/ 117 w 129"/>
              <a:gd name="T49" fmla="*/ 42 h 46"/>
              <a:gd name="T50" fmla="*/ 129 w 129"/>
              <a:gd name="T51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29" h="46">
                <a:moveTo>
                  <a:pt x="129" y="46"/>
                </a:moveTo>
                <a:lnTo>
                  <a:pt x="127" y="43"/>
                </a:lnTo>
                <a:lnTo>
                  <a:pt x="128" y="30"/>
                </a:lnTo>
                <a:lnTo>
                  <a:pt x="117" y="29"/>
                </a:lnTo>
                <a:lnTo>
                  <a:pt x="107" y="28"/>
                </a:lnTo>
                <a:lnTo>
                  <a:pt x="103" y="18"/>
                </a:lnTo>
                <a:lnTo>
                  <a:pt x="86" y="12"/>
                </a:lnTo>
                <a:lnTo>
                  <a:pt x="79" y="7"/>
                </a:lnTo>
                <a:lnTo>
                  <a:pt x="74" y="14"/>
                </a:lnTo>
                <a:lnTo>
                  <a:pt x="62" y="14"/>
                </a:lnTo>
                <a:lnTo>
                  <a:pt x="51" y="14"/>
                </a:lnTo>
                <a:lnTo>
                  <a:pt x="45" y="8"/>
                </a:lnTo>
                <a:lnTo>
                  <a:pt x="30" y="1"/>
                </a:lnTo>
                <a:lnTo>
                  <a:pt x="12" y="0"/>
                </a:lnTo>
                <a:lnTo>
                  <a:pt x="5" y="11"/>
                </a:lnTo>
                <a:lnTo>
                  <a:pt x="0" y="12"/>
                </a:lnTo>
                <a:lnTo>
                  <a:pt x="14" y="17"/>
                </a:lnTo>
                <a:lnTo>
                  <a:pt x="14" y="20"/>
                </a:lnTo>
                <a:lnTo>
                  <a:pt x="29" y="24"/>
                </a:lnTo>
                <a:lnTo>
                  <a:pt x="43" y="28"/>
                </a:lnTo>
                <a:lnTo>
                  <a:pt x="56" y="31"/>
                </a:lnTo>
                <a:lnTo>
                  <a:pt x="69" y="34"/>
                </a:lnTo>
                <a:lnTo>
                  <a:pt x="89" y="36"/>
                </a:lnTo>
                <a:lnTo>
                  <a:pt x="107" y="38"/>
                </a:lnTo>
                <a:lnTo>
                  <a:pt x="117" y="42"/>
                </a:lnTo>
                <a:lnTo>
                  <a:pt x="129" y="46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id="{B987375C-4B29-4564-BE90-A78BB19BFC19}"/>
              </a:ext>
            </a:extLst>
          </p:cNvPr>
          <p:cNvSpPr>
            <a:spLocks/>
          </p:cNvSpPr>
          <p:nvPr/>
        </p:nvSpPr>
        <p:spPr bwMode="gray">
          <a:xfrm>
            <a:off x="8459746" y="4734889"/>
            <a:ext cx="119872" cy="65474"/>
          </a:xfrm>
          <a:custGeom>
            <a:avLst/>
            <a:gdLst>
              <a:gd name="T0" fmla="*/ 56 w 56"/>
              <a:gd name="T1" fmla="*/ 0 h 31"/>
              <a:gd name="T2" fmla="*/ 35 w 56"/>
              <a:gd name="T3" fmla="*/ 1 h 31"/>
              <a:gd name="T4" fmla="*/ 22 w 56"/>
              <a:gd name="T5" fmla="*/ 8 h 31"/>
              <a:gd name="T6" fmla="*/ 8 w 56"/>
              <a:gd name="T7" fmla="*/ 14 h 31"/>
              <a:gd name="T8" fmla="*/ 1 w 56"/>
              <a:gd name="T9" fmla="*/ 26 h 31"/>
              <a:gd name="T10" fmla="*/ 0 w 56"/>
              <a:gd name="T11" fmla="*/ 28 h 31"/>
              <a:gd name="T12" fmla="*/ 2 w 56"/>
              <a:gd name="T13" fmla="*/ 31 h 31"/>
              <a:gd name="T14" fmla="*/ 20 w 56"/>
              <a:gd name="T15" fmla="*/ 20 h 31"/>
              <a:gd name="T16" fmla="*/ 38 w 56"/>
              <a:gd name="T17" fmla="*/ 10 h 31"/>
              <a:gd name="T18" fmla="*/ 56 w 56"/>
              <a:gd name="T19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6" h="31">
                <a:moveTo>
                  <a:pt x="56" y="0"/>
                </a:moveTo>
                <a:lnTo>
                  <a:pt x="35" y="1"/>
                </a:lnTo>
                <a:lnTo>
                  <a:pt x="22" y="8"/>
                </a:lnTo>
                <a:lnTo>
                  <a:pt x="8" y="14"/>
                </a:lnTo>
                <a:lnTo>
                  <a:pt x="1" y="26"/>
                </a:lnTo>
                <a:lnTo>
                  <a:pt x="0" y="28"/>
                </a:lnTo>
                <a:lnTo>
                  <a:pt x="2" y="31"/>
                </a:lnTo>
                <a:lnTo>
                  <a:pt x="20" y="20"/>
                </a:lnTo>
                <a:lnTo>
                  <a:pt x="38" y="10"/>
                </a:lnTo>
                <a:lnTo>
                  <a:pt x="56" y="0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A15C3E8D-E2CE-4B27-A00C-D899078B6FC6}"/>
              </a:ext>
            </a:extLst>
          </p:cNvPr>
          <p:cNvSpPr>
            <a:spLocks/>
          </p:cNvSpPr>
          <p:nvPr/>
        </p:nvSpPr>
        <p:spPr bwMode="gray">
          <a:xfrm>
            <a:off x="8596743" y="4359903"/>
            <a:ext cx="45665" cy="105155"/>
          </a:xfrm>
          <a:custGeom>
            <a:avLst/>
            <a:gdLst>
              <a:gd name="T0" fmla="*/ 20 w 20"/>
              <a:gd name="T1" fmla="*/ 31 h 49"/>
              <a:gd name="T2" fmla="*/ 12 w 20"/>
              <a:gd name="T3" fmla="*/ 21 h 49"/>
              <a:gd name="T4" fmla="*/ 18 w 20"/>
              <a:gd name="T5" fmla="*/ 13 h 49"/>
              <a:gd name="T6" fmla="*/ 13 w 20"/>
              <a:gd name="T7" fmla="*/ 10 h 49"/>
              <a:gd name="T8" fmla="*/ 8 w 20"/>
              <a:gd name="T9" fmla="*/ 15 h 49"/>
              <a:gd name="T10" fmla="*/ 5 w 20"/>
              <a:gd name="T11" fmla="*/ 22 h 49"/>
              <a:gd name="T12" fmla="*/ 3 w 20"/>
              <a:gd name="T13" fmla="*/ 17 h 49"/>
              <a:gd name="T14" fmla="*/ 7 w 20"/>
              <a:gd name="T15" fmla="*/ 7 h 49"/>
              <a:gd name="T16" fmla="*/ 7 w 20"/>
              <a:gd name="T17" fmla="*/ 0 h 49"/>
              <a:gd name="T18" fmla="*/ 0 w 20"/>
              <a:gd name="T19" fmla="*/ 12 h 49"/>
              <a:gd name="T20" fmla="*/ 1 w 20"/>
              <a:gd name="T21" fmla="*/ 24 h 49"/>
              <a:gd name="T22" fmla="*/ 3 w 20"/>
              <a:gd name="T23" fmla="*/ 35 h 49"/>
              <a:gd name="T24" fmla="*/ 12 w 20"/>
              <a:gd name="T25" fmla="*/ 49 h 49"/>
              <a:gd name="T26" fmla="*/ 6 w 20"/>
              <a:gd name="T27" fmla="*/ 30 h 49"/>
              <a:gd name="T28" fmla="*/ 20 w 20"/>
              <a:gd name="T29" fmla="*/ 31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" h="49">
                <a:moveTo>
                  <a:pt x="20" y="31"/>
                </a:moveTo>
                <a:lnTo>
                  <a:pt x="12" y="21"/>
                </a:lnTo>
                <a:lnTo>
                  <a:pt x="18" y="13"/>
                </a:lnTo>
                <a:lnTo>
                  <a:pt x="13" y="10"/>
                </a:lnTo>
                <a:lnTo>
                  <a:pt x="8" y="15"/>
                </a:lnTo>
                <a:lnTo>
                  <a:pt x="5" y="22"/>
                </a:lnTo>
                <a:lnTo>
                  <a:pt x="3" y="17"/>
                </a:lnTo>
                <a:lnTo>
                  <a:pt x="7" y="7"/>
                </a:lnTo>
                <a:lnTo>
                  <a:pt x="7" y="0"/>
                </a:lnTo>
                <a:lnTo>
                  <a:pt x="0" y="12"/>
                </a:lnTo>
                <a:lnTo>
                  <a:pt x="1" y="24"/>
                </a:lnTo>
                <a:lnTo>
                  <a:pt x="3" y="35"/>
                </a:lnTo>
                <a:lnTo>
                  <a:pt x="12" y="49"/>
                </a:lnTo>
                <a:lnTo>
                  <a:pt x="6" y="30"/>
                </a:lnTo>
                <a:lnTo>
                  <a:pt x="20" y="31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5" name="Freeform 12">
            <a:extLst>
              <a:ext uri="{FF2B5EF4-FFF2-40B4-BE49-F238E27FC236}">
                <a16:creationId xmlns:a16="http://schemas.microsoft.com/office/drawing/2014/main" id="{D17E0974-1299-4503-9721-6201554AE65A}"/>
              </a:ext>
            </a:extLst>
          </p:cNvPr>
          <p:cNvSpPr>
            <a:spLocks/>
          </p:cNvSpPr>
          <p:nvPr/>
        </p:nvSpPr>
        <p:spPr bwMode="gray">
          <a:xfrm>
            <a:off x="8608161" y="4536484"/>
            <a:ext cx="89428" cy="33729"/>
          </a:xfrm>
          <a:custGeom>
            <a:avLst/>
            <a:gdLst>
              <a:gd name="T0" fmla="*/ 42 w 42"/>
              <a:gd name="T1" fmla="*/ 13 h 15"/>
              <a:gd name="T2" fmla="*/ 39 w 42"/>
              <a:gd name="T3" fmla="*/ 15 h 15"/>
              <a:gd name="T4" fmla="*/ 22 w 42"/>
              <a:gd name="T5" fmla="*/ 8 h 15"/>
              <a:gd name="T6" fmla="*/ 10 w 42"/>
              <a:gd name="T7" fmla="*/ 8 h 15"/>
              <a:gd name="T8" fmla="*/ 2 w 42"/>
              <a:gd name="T9" fmla="*/ 6 h 15"/>
              <a:gd name="T10" fmla="*/ 0 w 42"/>
              <a:gd name="T11" fmla="*/ 9 h 15"/>
              <a:gd name="T12" fmla="*/ 1 w 42"/>
              <a:gd name="T13" fmla="*/ 3 h 15"/>
              <a:gd name="T14" fmla="*/ 9 w 42"/>
              <a:gd name="T15" fmla="*/ 0 h 15"/>
              <a:gd name="T16" fmla="*/ 21 w 42"/>
              <a:gd name="T17" fmla="*/ 1 h 15"/>
              <a:gd name="T18" fmla="*/ 34 w 42"/>
              <a:gd name="T19" fmla="*/ 2 h 15"/>
              <a:gd name="T20" fmla="*/ 42 w 42"/>
              <a:gd name="T21" fmla="*/ 13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2" h="15">
                <a:moveTo>
                  <a:pt x="42" y="13"/>
                </a:moveTo>
                <a:lnTo>
                  <a:pt x="39" y="15"/>
                </a:lnTo>
                <a:lnTo>
                  <a:pt x="22" y="8"/>
                </a:lnTo>
                <a:lnTo>
                  <a:pt x="10" y="8"/>
                </a:lnTo>
                <a:lnTo>
                  <a:pt x="2" y="6"/>
                </a:lnTo>
                <a:lnTo>
                  <a:pt x="0" y="9"/>
                </a:lnTo>
                <a:lnTo>
                  <a:pt x="1" y="3"/>
                </a:lnTo>
                <a:lnTo>
                  <a:pt x="9" y="0"/>
                </a:lnTo>
                <a:lnTo>
                  <a:pt x="21" y="1"/>
                </a:lnTo>
                <a:lnTo>
                  <a:pt x="34" y="2"/>
                </a:lnTo>
                <a:lnTo>
                  <a:pt x="42" y="13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58EE85D9-A873-40F8-9A7A-5C7F64C09D0C}"/>
              </a:ext>
            </a:extLst>
          </p:cNvPr>
          <p:cNvSpPr>
            <a:spLocks/>
          </p:cNvSpPr>
          <p:nvPr/>
        </p:nvSpPr>
        <p:spPr bwMode="gray">
          <a:xfrm>
            <a:off x="8355097" y="4724970"/>
            <a:ext cx="97039" cy="23810"/>
          </a:xfrm>
          <a:custGeom>
            <a:avLst/>
            <a:gdLst>
              <a:gd name="T0" fmla="*/ 45 w 45"/>
              <a:gd name="T1" fmla="*/ 1 h 10"/>
              <a:gd name="T2" fmla="*/ 43 w 45"/>
              <a:gd name="T3" fmla="*/ 0 h 10"/>
              <a:gd name="T4" fmla="*/ 38 w 45"/>
              <a:gd name="T5" fmla="*/ 5 h 10"/>
              <a:gd name="T6" fmla="*/ 30 w 45"/>
              <a:gd name="T7" fmla="*/ 5 h 10"/>
              <a:gd name="T8" fmla="*/ 19 w 45"/>
              <a:gd name="T9" fmla="*/ 2 h 10"/>
              <a:gd name="T10" fmla="*/ 7 w 45"/>
              <a:gd name="T11" fmla="*/ 1 h 10"/>
              <a:gd name="T12" fmla="*/ 0 w 45"/>
              <a:gd name="T13" fmla="*/ 7 h 10"/>
              <a:gd name="T14" fmla="*/ 6 w 45"/>
              <a:gd name="T15" fmla="*/ 10 h 10"/>
              <a:gd name="T16" fmla="*/ 20 w 45"/>
              <a:gd name="T17" fmla="*/ 10 h 10"/>
              <a:gd name="T18" fmla="*/ 34 w 45"/>
              <a:gd name="T19" fmla="*/ 8 h 10"/>
              <a:gd name="T20" fmla="*/ 45 w 45"/>
              <a:gd name="T21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5" h="10">
                <a:moveTo>
                  <a:pt x="45" y="1"/>
                </a:moveTo>
                <a:lnTo>
                  <a:pt x="43" y="0"/>
                </a:lnTo>
                <a:lnTo>
                  <a:pt x="38" y="5"/>
                </a:lnTo>
                <a:lnTo>
                  <a:pt x="30" y="5"/>
                </a:lnTo>
                <a:lnTo>
                  <a:pt x="19" y="2"/>
                </a:lnTo>
                <a:lnTo>
                  <a:pt x="7" y="1"/>
                </a:lnTo>
                <a:lnTo>
                  <a:pt x="0" y="7"/>
                </a:lnTo>
                <a:lnTo>
                  <a:pt x="6" y="10"/>
                </a:lnTo>
                <a:lnTo>
                  <a:pt x="20" y="10"/>
                </a:lnTo>
                <a:lnTo>
                  <a:pt x="34" y="8"/>
                </a:lnTo>
                <a:lnTo>
                  <a:pt x="45" y="1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2B6042CF-6EF4-4194-9F91-0FA929FABC34}"/>
              </a:ext>
            </a:extLst>
          </p:cNvPr>
          <p:cNvSpPr>
            <a:spLocks/>
          </p:cNvSpPr>
          <p:nvPr/>
        </p:nvSpPr>
        <p:spPr bwMode="gray">
          <a:xfrm>
            <a:off x="7926984" y="4490852"/>
            <a:ext cx="45665" cy="53570"/>
          </a:xfrm>
          <a:custGeom>
            <a:avLst/>
            <a:gdLst>
              <a:gd name="T0" fmla="*/ 23 w 23"/>
              <a:gd name="T1" fmla="*/ 17 h 24"/>
              <a:gd name="T2" fmla="*/ 22 w 23"/>
              <a:gd name="T3" fmla="*/ 24 h 24"/>
              <a:gd name="T4" fmla="*/ 10 w 23"/>
              <a:gd name="T5" fmla="*/ 17 h 24"/>
              <a:gd name="T6" fmla="*/ 5 w 23"/>
              <a:gd name="T7" fmla="*/ 9 h 24"/>
              <a:gd name="T8" fmla="*/ 0 w 23"/>
              <a:gd name="T9" fmla="*/ 6 h 24"/>
              <a:gd name="T10" fmla="*/ 6 w 23"/>
              <a:gd name="T11" fmla="*/ 1 h 24"/>
              <a:gd name="T12" fmla="*/ 8 w 23"/>
              <a:gd name="T13" fmla="*/ 0 h 24"/>
              <a:gd name="T14" fmla="*/ 14 w 23"/>
              <a:gd name="T15" fmla="*/ 13 h 24"/>
              <a:gd name="T16" fmla="*/ 23 w 23"/>
              <a:gd name="T17" fmla="*/ 1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24">
                <a:moveTo>
                  <a:pt x="23" y="17"/>
                </a:moveTo>
                <a:lnTo>
                  <a:pt x="22" y="24"/>
                </a:lnTo>
                <a:lnTo>
                  <a:pt x="10" y="17"/>
                </a:lnTo>
                <a:lnTo>
                  <a:pt x="5" y="9"/>
                </a:lnTo>
                <a:lnTo>
                  <a:pt x="0" y="6"/>
                </a:lnTo>
                <a:lnTo>
                  <a:pt x="6" y="1"/>
                </a:lnTo>
                <a:lnTo>
                  <a:pt x="8" y="0"/>
                </a:lnTo>
                <a:lnTo>
                  <a:pt x="14" y="13"/>
                </a:lnTo>
                <a:lnTo>
                  <a:pt x="23" y="17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3D39EF71-CC8E-4B58-A21A-4403F4A1F72E}"/>
              </a:ext>
            </a:extLst>
          </p:cNvPr>
          <p:cNvSpPr>
            <a:spLocks/>
          </p:cNvSpPr>
          <p:nvPr/>
        </p:nvSpPr>
        <p:spPr bwMode="gray">
          <a:xfrm>
            <a:off x="8261864" y="4721003"/>
            <a:ext cx="76109" cy="35712"/>
          </a:xfrm>
          <a:custGeom>
            <a:avLst/>
            <a:gdLst>
              <a:gd name="T0" fmla="*/ 35 w 35"/>
              <a:gd name="T1" fmla="*/ 8 h 14"/>
              <a:gd name="T2" fmla="*/ 33 w 35"/>
              <a:gd name="T3" fmla="*/ 3 h 14"/>
              <a:gd name="T4" fmla="*/ 28 w 35"/>
              <a:gd name="T5" fmla="*/ 5 h 14"/>
              <a:gd name="T6" fmla="*/ 16 w 35"/>
              <a:gd name="T7" fmla="*/ 0 h 14"/>
              <a:gd name="T8" fmla="*/ 22 w 35"/>
              <a:gd name="T9" fmla="*/ 7 h 14"/>
              <a:gd name="T10" fmla="*/ 15 w 35"/>
              <a:gd name="T11" fmla="*/ 7 h 14"/>
              <a:gd name="T12" fmla="*/ 3 w 35"/>
              <a:gd name="T13" fmla="*/ 6 h 14"/>
              <a:gd name="T14" fmla="*/ 0 w 35"/>
              <a:gd name="T15" fmla="*/ 14 h 14"/>
              <a:gd name="T16" fmla="*/ 12 w 35"/>
              <a:gd name="T17" fmla="*/ 12 h 14"/>
              <a:gd name="T18" fmla="*/ 24 w 35"/>
              <a:gd name="T19" fmla="*/ 9 h 14"/>
              <a:gd name="T20" fmla="*/ 29 w 35"/>
              <a:gd name="T21" fmla="*/ 11 h 14"/>
              <a:gd name="T22" fmla="*/ 28 w 35"/>
              <a:gd name="T23" fmla="*/ 11 h 14"/>
              <a:gd name="T24" fmla="*/ 35 w 35"/>
              <a:gd name="T25" fmla="*/ 8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5" h="14">
                <a:moveTo>
                  <a:pt x="35" y="8"/>
                </a:moveTo>
                <a:lnTo>
                  <a:pt x="33" y="3"/>
                </a:lnTo>
                <a:lnTo>
                  <a:pt x="28" y="5"/>
                </a:lnTo>
                <a:lnTo>
                  <a:pt x="16" y="0"/>
                </a:lnTo>
                <a:lnTo>
                  <a:pt x="22" y="7"/>
                </a:lnTo>
                <a:lnTo>
                  <a:pt x="15" y="7"/>
                </a:lnTo>
                <a:lnTo>
                  <a:pt x="3" y="6"/>
                </a:lnTo>
                <a:lnTo>
                  <a:pt x="0" y="14"/>
                </a:lnTo>
                <a:lnTo>
                  <a:pt x="12" y="12"/>
                </a:lnTo>
                <a:lnTo>
                  <a:pt x="24" y="9"/>
                </a:lnTo>
                <a:lnTo>
                  <a:pt x="29" y="11"/>
                </a:lnTo>
                <a:lnTo>
                  <a:pt x="28" y="11"/>
                </a:lnTo>
                <a:lnTo>
                  <a:pt x="35" y="8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B2B73011-54D3-4293-81EE-F0E8634D986D}"/>
              </a:ext>
            </a:extLst>
          </p:cNvPr>
          <p:cNvSpPr>
            <a:spLocks/>
          </p:cNvSpPr>
          <p:nvPr/>
        </p:nvSpPr>
        <p:spPr bwMode="gray">
          <a:xfrm>
            <a:off x="8328459" y="4770603"/>
            <a:ext cx="51374" cy="25793"/>
          </a:xfrm>
          <a:custGeom>
            <a:avLst/>
            <a:gdLst>
              <a:gd name="T0" fmla="*/ 25 w 25"/>
              <a:gd name="T1" fmla="*/ 11 h 13"/>
              <a:gd name="T2" fmla="*/ 15 w 25"/>
              <a:gd name="T3" fmla="*/ 13 h 13"/>
              <a:gd name="T4" fmla="*/ 3 w 25"/>
              <a:gd name="T5" fmla="*/ 6 h 13"/>
              <a:gd name="T6" fmla="*/ 0 w 25"/>
              <a:gd name="T7" fmla="*/ 0 h 13"/>
              <a:gd name="T8" fmla="*/ 15 w 25"/>
              <a:gd name="T9" fmla="*/ 1 h 13"/>
              <a:gd name="T10" fmla="*/ 25 w 25"/>
              <a:gd name="T11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" h="13">
                <a:moveTo>
                  <a:pt x="25" y="11"/>
                </a:moveTo>
                <a:lnTo>
                  <a:pt x="15" y="13"/>
                </a:lnTo>
                <a:lnTo>
                  <a:pt x="3" y="6"/>
                </a:lnTo>
                <a:lnTo>
                  <a:pt x="0" y="0"/>
                </a:lnTo>
                <a:lnTo>
                  <a:pt x="15" y="1"/>
                </a:lnTo>
                <a:lnTo>
                  <a:pt x="25" y="11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A18F4561-E355-48CA-AA11-846FE35B10FE}"/>
              </a:ext>
            </a:extLst>
          </p:cNvPr>
          <p:cNvSpPr>
            <a:spLocks/>
          </p:cNvSpPr>
          <p:nvPr/>
        </p:nvSpPr>
        <p:spPr bwMode="gray">
          <a:xfrm>
            <a:off x="8549175" y="4544420"/>
            <a:ext cx="38054" cy="25793"/>
          </a:xfrm>
          <a:custGeom>
            <a:avLst/>
            <a:gdLst>
              <a:gd name="T0" fmla="*/ 18 w 18"/>
              <a:gd name="T1" fmla="*/ 5 h 12"/>
              <a:gd name="T2" fmla="*/ 12 w 18"/>
              <a:gd name="T3" fmla="*/ 12 h 12"/>
              <a:gd name="T4" fmla="*/ 0 w 18"/>
              <a:gd name="T5" fmla="*/ 5 h 12"/>
              <a:gd name="T6" fmla="*/ 6 w 18"/>
              <a:gd name="T7" fmla="*/ 0 h 12"/>
              <a:gd name="T8" fmla="*/ 18 w 18"/>
              <a:gd name="T9" fmla="*/ 5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12">
                <a:moveTo>
                  <a:pt x="18" y="5"/>
                </a:moveTo>
                <a:lnTo>
                  <a:pt x="12" y="12"/>
                </a:lnTo>
                <a:lnTo>
                  <a:pt x="0" y="5"/>
                </a:lnTo>
                <a:lnTo>
                  <a:pt x="6" y="0"/>
                </a:lnTo>
                <a:lnTo>
                  <a:pt x="18" y="5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" name="Freeform 18">
            <a:extLst>
              <a:ext uri="{FF2B5EF4-FFF2-40B4-BE49-F238E27FC236}">
                <a16:creationId xmlns:a16="http://schemas.microsoft.com/office/drawing/2014/main" id="{C43E38B9-A3F8-4858-AED8-E839BF094651}"/>
              </a:ext>
            </a:extLst>
          </p:cNvPr>
          <p:cNvSpPr>
            <a:spLocks/>
          </p:cNvSpPr>
          <p:nvPr/>
        </p:nvSpPr>
        <p:spPr bwMode="gray">
          <a:xfrm>
            <a:off x="8197171" y="4721003"/>
            <a:ext cx="34249" cy="21825"/>
          </a:xfrm>
          <a:custGeom>
            <a:avLst/>
            <a:gdLst>
              <a:gd name="T0" fmla="*/ 16 w 16"/>
              <a:gd name="T1" fmla="*/ 5 h 9"/>
              <a:gd name="T2" fmla="*/ 14 w 16"/>
              <a:gd name="T3" fmla="*/ 1 h 9"/>
              <a:gd name="T4" fmla="*/ 0 w 16"/>
              <a:gd name="T5" fmla="*/ 0 h 9"/>
              <a:gd name="T6" fmla="*/ 8 w 16"/>
              <a:gd name="T7" fmla="*/ 9 h 9"/>
              <a:gd name="T8" fmla="*/ 16 w 16"/>
              <a:gd name="T9" fmla="*/ 5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9">
                <a:moveTo>
                  <a:pt x="16" y="5"/>
                </a:moveTo>
                <a:lnTo>
                  <a:pt x="14" y="1"/>
                </a:lnTo>
                <a:lnTo>
                  <a:pt x="0" y="0"/>
                </a:lnTo>
                <a:lnTo>
                  <a:pt x="8" y="9"/>
                </a:lnTo>
                <a:lnTo>
                  <a:pt x="16" y="5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" name="Freeform 19">
            <a:extLst>
              <a:ext uri="{FF2B5EF4-FFF2-40B4-BE49-F238E27FC236}">
                <a16:creationId xmlns:a16="http://schemas.microsoft.com/office/drawing/2014/main" id="{C326AB47-8CC9-42FC-9CDD-54FA6B914B93}"/>
              </a:ext>
            </a:extLst>
          </p:cNvPr>
          <p:cNvSpPr>
            <a:spLocks/>
          </p:cNvSpPr>
          <p:nvPr/>
        </p:nvSpPr>
        <p:spPr bwMode="gray">
          <a:xfrm>
            <a:off x="7681531" y="4381728"/>
            <a:ext cx="24735" cy="35712"/>
          </a:xfrm>
          <a:custGeom>
            <a:avLst/>
            <a:gdLst>
              <a:gd name="T0" fmla="*/ 12 w 12"/>
              <a:gd name="T1" fmla="*/ 8 h 16"/>
              <a:gd name="T2" fmla="*/ 11 w 12"/>
              <a:gd name="T3" fmla="*/ 16 h 16"/>
              <a:gd name="T4" fmla="*/ 0 w 12"/>
              <a:gd name="T5" fmla="*/ 1 h 16"/>
              <a:gd name="T6" fmla="*/ 3 w 12"/>
              <a:gd name="T7" fmla="*/ 0 h 16"/>
              <a:gd name="T8" fmla="*/ 12 w 12"/>
              <a:gd name="T9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" h="16">
                <a:moveTo>
                  <a:pt x="12" y="8"/>
                </a:moveTo>
                <a:lnTo>
                  <a:pt x="11" y="16"/>
                </a:lnTo>
                <a:lnTo>
                  <a:pt x="0" y="1"/>
                </a:lnTo>
                <a:lnTo>
                  <a:pt x="3" y="0"/>
                </a:lnTo>
                <a:lnTo>
                  <a:pt x="12" y="8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" name="Freeform 20">
            <a:extLst>
              <a:ext uri="{FF2B5EF4-FFF2-40B4-BE49-F238E27FC236}">
                <a16:creationId xmlns:a16="http://schemas.microsoft.com/office/drawing/2014/main" id="{FF85DA5E-14E6-4192-BDD4-D8FDB5967667}"/>
              </a:ext>
            </a:extLst>
          </p:cNvPr>
          <p:cNvSpPr>
            <a:spLocks/>
          </p:cNvSpPr>
          <p:nvPr/>
        </p:nvSpPr>
        <p:spPr bwMode="gray">
          <a:xfrm>
            <a:off x="8240934" y="4724970"/>
            <a:ext cx="20930" cy="27777"/>
          </a:xfrm>
          <a:custGeom>
            <a:avLst/>
            <a:gdLst>
              <a:gd name="T0" fmla="*/ 10 w 10"/>
              <a:gd name="T1" fmla="*/ 4 h 12"/>
              <a:gd name="T2" fmla="*/ 7 w 10"/>
              <a:gd name="T3" fmla="*/ 0 h 12"/>
              <a:gd name="T4" fmla="*/ 0 w 10"/>
              <a:gd name="T5" fmla="*/ 8 h 12"/>
              <a:gd name="T6" fmla="*/ 4 w 10"/>
              <a:gd name="T7" fmla="*/ 12 h 12"/>
              <a:gd name="T8" fmla="*/ 10 w 10"/>
              <a:gd name="T9" fmla="*/ 4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12">
                <a:moveTo>
                  <a:pt x="10" y="4"/>
                </a:moveTo>
                <a:lnTo>
                  <a:pt x="7" y="0"/>
                </a:lnTo>
                <a:lnTo>
                  <a:pt x="0" y="8"/>
                </a:lnTo>
                <a:lnTo>
                  <a:pt x="4" y="12"/>
                </a:lnTo>
                <a:lnTo>
                  <a:pt x="10" y="4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06169A14-28EB-4C5B-9765-ABC9F47AD523}"/>
              </a:ext>
            </a:extLst>
          </p:cNvPr>
          <p:cNvSpPr>
            <a:spLocks/>
          </p:cNvSpPr>
          <p:nvPr/>
        </p:nvSpPr>
        <p:spPr bwMode="gray">
          <a:xfrm>
            <a:off x="7999286" y="4526564"/>
            <a:ext cx="20930" cy="21825"/>
          </a:xfrm>
          <a:custGeom>
            <a:avLst/>
            <a:gdLst>
              <a:gd name="T0" fmla="*/ 9 w 9"/>
              <a:gd name="T1" fmla="*/ 4 h 10"/>
              <a:gd name="T2" fmla="*/ 4 w 9"/>
              <a:gd name="T3" fmla="*/ 8 h 10"/>
              <a:gd name="T4" fmla="*/ 0 w 9"/>
              <a:gd name="T5" fmla="*/ 10 h 10"/>
              <a:gd name="T6" fmla="*/ 1 w 9"/>
              <a:gd name="T7" fmla="*/ 0 h 10"/>
              <a:gd name="T8" fmla="*/ 9 w 9"/>
              <a:gd name="T9" fmla="*/ 4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10">
                <a:moveTo>
                  <a:pt x="9" y="4"/>
                </a:moveTo>
                <a:lnTo>
                  <a:pt x="4" y="8"/>
                </a:lnTo>
                <a:lnTo>
                  <a:pt x="0" y="10"/>
                </a:lnTo>
                <a:lnTo>
                  <a:pt x="1" y="0"/>
                </a:lnTo>
                <a:lnTo>
                  <a:pt x="9" y="4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" name="Freeform 22">
            <a:extLst>
              <a:ext uri="{FF2B5EF4-FFF2-40B4-BE49-F238E27FC236}">
                <a16:creationId xmlns:a16="http://schemas.microsoft.com/office/drawing/2014/main" id="{1BD6E074-9EB3-4E62-BEE4-1BD04BF56B05}"/>
              </a:ext>
            </a:extLst>
          </p:cNvPr>
          <p:cNvSpPr>
            <a:spLocks/>
          </p:cNvSpPr>
          <p:nvPr/>
        </p:nvSpPr>
        <p:spPr bwMode="gray">
          <a:xfrm>
            <a:off x="8444525" y="4594021"/>
            <a:ext cx="20930" cy="43648"/>
          </a:xfrm>
          <a:custGeom>
            <a:avLst/>
            <a:gdLst>
              <a:gd name="T0" fmla="*/ 8 w 8"/>
              <a:gd name="T1" fmla="*/ 13 h 19"/>
              <a:gd name="T2" fmla="*/ 7 w 8"/>
              <a:gd name="T3" fmla="*/ 12 h 19"/>
              <a:gd name="T4" fmla="*/ 7 w 8"/>
              <a:gd name="T5" fmla="*/ 5 h 19"/>
              <a:gd name="T6" fmla="*/ 7 w 8"/>
              <a:gd name="T7" fmla="*/ 0 h 19"/>
              <a:gd name="T8" fmla="*/ 0 w 8"/>
              <a:gd name="T9" fmla="*/ 19 h 19"/>
              <a:gd name="T10" fmla="*/ 8 w 8"/>
              <a:gd name="T11" fmla="*/ 13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19">
                <a:moveTo>
                  <a:pt x="8" y="13"/>
                </a:moveTo>
                <a:lnTo>
                  <a:pt x="7" y="12"/>
                </a:lnTo>
                <a:lnTo>
                  <a:pt x="7" y="5"/>
                </a:lnTo>
                <a:lnTo>
                  <a:pt x="7" y="0"/>
                </a:lnTo>
                <a:lnTo>
                  <a:pt x="0" y="19"/>
                </a:lnTo>
                <a:lnTo>
                  <a:pt x="8" y="13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" name="Freeform 23">
            <a:extLst>
              <a:ext uri="{FF2B5EF4-FFF2-40B4-BE49-F238E27FC236}">
                <a16:creationId xmlns:a16="http://schemas.microsoft.com/office/drawing/2014/main" id="{03BD0495-7635-4B9C-AE28-5F0B2F63F4A9}"/>
              </a:ext>
            </a:extLst>
          </p:cNvPr>
          <p:cNvSpPr>
            <a:spLocks/>
          </p:cNvSpPr>
          <p:nvPr/>
        </p:nvSpPr>
        <p:spPr bwMode="gray">
          <a:xfrm>
            <a:off x="8798433" y="4627750"/>
            <a:ext cx="9514" cy="27777"/>
          </a:xfrm>
          <a:custGeom>
            <a:avLst/>
            <a:gdLst>
              <a:gd name="T0" fmla="*/ 4 w 4"/>
              <a:gd name="T1" fmla="*/ 9 h 12"/>
              <a:gd name="T2" fmla="*/ 3 w 4"/>
              <a:gd name="T3" fmla="*/ 0 h 12"/>
              <a:gd name="T4" fmla="*/ 0 w 4"/>
              <a:gd name="T5" fmla="*/ 2 h 12"/>
              <a:gd name="T6" fmla="*/ 0 w 4"/>
              <a:gd name="T7" fmla="*/ 12 h 12"/>
              <a:gd name="T8" fmla="*/ 4 w 4"/>
              <a:gd name="T9" fmla="*/ 9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12">
                <a:moveTo>
                  <a:pt x="4" y="9"/>
                </a:moveTo>
                <a:lnTo>
                  <a:pt x="3" y="0"/>
                </a:lnTo>
                <a:lnTo>
                  <a:pt x="0" y="2"/>
                </a:lnTo>
                <a:lnTo>
                  <a:pt x="0" y="12"/>
                </a:lnTo>
                <a:lnTo>
                  <a:pt x="4" y="9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" name="Freeform 24">
            <a:extLst>
              <a:ext uri="{FF2B5EF4-FFF2-40B4-BE49-F238E27FC236}">
                <a16:creationId xmlns:a16="http://schemas.microsoft.com/office/drawing/2014/main" id="{5F39E21E-FB8D-4C4E-9251-6C83AB9BE5F2}"/>
              </a:ext>
            </a:extLst>
          </p:cNvPr>
          <p:cNvSpPr>
            <a:spLocks/>
          </p:cNvSpPr>
          <p:nvPr/>
        </p:nvSpPr>
        <p:spPr bwMode="gray">
          <a:xfrm>
            <a:off x="7732905" y="4469027"/>
            <a:ext cx="17125" cy="27777"/>
          </a:xfrm>
          <a:custGeom>
            <a:avLst/>
            <a:gdLst>
              <a:gd name="T0" fmla="*/ 8 w 8"/>
              <a:gd name="T1" fmla="*/ 12 h 12"/>
              <a:gd name="T2" fmla="*/ 2 w 8"/>
              <a:gd name="T3" fmla="*/ 12 h 12"/>
              <a:gd name="T4" fmla="*/ 0 w 8"/>
              <a:gd name="T5" fmla="*/ 0 h 12"/>
              <a:gd name="T6" fmla="*/ 8 w 8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12">
                <a:moveTo>
                  <a:pt x="8" y="12"/>
                </a:moveTo>
                <a:lnTo>
                  <a:pt x="2" y="12"/>
                </a:lnTo>
                <a:lnTo>
                  <a:pt x="0" y="0"/>
                </a:lnTo>
                <a:lnTo>
                  <a:pt x="8" y="12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" name="Freeform 25">
            <a:extLst>
              <a:ext uri="{FF2B5EF4-FFF2-40B4-BE49-F238E27FC236}">
                <a16:creationId xmlns:a16="http://schemas.microsoft.com/office/drawing/2014/main" id="{D57BB688-BB96-43D8-A760-936AADF581FA}"/>
              </a:ext>
            </a:extLst>
          </p:cNvPr>
          <p:cNvSpPr>
            <a:spLocks/>
          </p:cNvSpPr>
          <p:nvPr/>
        </p:nvSpPr>
        <p:spPr bwMode="gray">
          <a:xfrm>
            <a:off x="8438817" y="4597990"/>
            <a:ext cx="13319" cy="25793"/>
          </a:xfrm>
          <a:custGeom>
            <a:avLst/>
            <a:gdLst>
              <a:gd name="T0" fmla="*/ 6 w 6"/>
              <a:gd name="T1" fmla="*/ 5 h 12"/>
              <a:gd name="T2" fmla="*/ 5 w 6"/>
              <a:gd name="T3" fmla="*/ 0 h 12"/>
              <a:gd name="T4" fmla="*/ 3 w 6"/>
              <a:gd name="T5" fmla="*/ 2 h 12"/>
              <a:gd name="T6" fmla="*/ 0 w 6"/>
              <a:gd name="T7" fmla="*/ 12 h 12"/>
              <a:gd name="T8" fmla="*/ 6 w 6"/>
              <a:gd name="T9" fmla="*/ 5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12">
                <a:moveTo>
                  <a:pt x="6" y="5"/>
                </a:moveTo>
                <a:lnTo>
                  <a:pt x="5" y="0"/>
                </a:lnTo>
                <a:lnTo>
                  <a:pt x="3" y="2"/>
                </a:lnTo>
                <a:lnTo>
                  <a:pt x="0" y="12"/>
                </a:lnTo>
                <a:lnTo>
                  <a:pt x="6" y="5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" name="Freeform 26">
            <a:extLst>
              <a:ext uri="{FF2B5EF4-FFF2-40B4-BE49-F238E27FC236}">
                <a16:creationId xmlns:a16="http://schemas.microsoft.com/office/drawing/2014/main" id="{F4B8BEF5-8EFF-4522-9387-DA572CFD9C22}"/>
              </a:ext>
            </a:extLst>
          </p:cNvPr>
          <p:cNvSpPr>
            <a:spLocks/>
          </p:cNvSpPr>
          <p:nvPr/>
        </p:nvSpPr>
        <p:spPr bwMode="gray">
          <a:xfrm>
            <a:off x="8503510" y="4490852"/>
            <a:ext cx="28540" cy="9919"/>
          </a:xfrm>
          <a:custGeom>
            <a:avLst/>
            <a:gdLst>
              <a:gd name="T0" fmla="*/ 15 w 15"/>
              <a:gd name="T1" fmla="*/ 4 h 4"/>
              <a:gd name="T2" fmla="*/ 6 w 15"/>
              <a:gd name="T3" fmla="*/ 0 h 4"/>
              <a:gd name="T4" fmla="*/ 0 w 15"/>
              <a:gd name="T5" fmla="*/ 4 h 4"/>
              <a:gd name="T6" fmla="*/ 15 w 15"/>
              <a:gd name="T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5" h="4">
                <a:moveTo>
                  <a:pt x="15" y="4"/>
                </a:moveTo>
                <a:lnTo>
                  <a:pt x="6" y="0"/>
                </a:lnTo>
                <a:lnTo>
                  <a:pt x="0" y="4"/>
                </a:lnTo>
                <a:lnTo>
                  <a:pt x="15" y="4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" name="Freeform 27">
            <a:extLst>
              <a:ext uri="{FF2B5EF4-FFF2-40B4-BE49-F238E27FC236}">
                <a16:creationId xmlns:a16="http://schemas.microsoft.com/office/drawing/2014/main" id="{3D1036F0-9EFB-4E3C-BB43-4B2015310B75}"/>
              </a:ext>
            </a:extLst>
          </p:cNvPr>
          <p:cNvSpPr>
            <a:spLocks/>
          </p:cNvSpPr>
          <p:nvPr/>
        </p:nvSpPr>
        <p:spPr bwMode="gray">
          <a:xfrm>
            <a:off x="8787015" y="4655527"/>
            <a:ext cx="11418" cy="21825"/>
          </a:xfrm>
          <a:custGeom>
            <a:avLst/>
            <a:gdLst>
              <a:gd name="T0" fmla="*/ 6 w 6"/>
              <a:gd name="T1" fmla="*/ 5 h 9"/>
              <a:gd name="T2" fmla="*/ 1 w 6"/>
              <a:gd name="T3" fmla="*/ 9 h 9"/>
              <a:gd name="T4" fmla="*/ 0 w 6"/>
              <a:gd name="T5" fmla="*/ 0 h 9"/>
              <a:gd name="T6" fmla="*/ 6 w 6"/>
              <a:gd name="T7" fmla="*/ 5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9">
                <a:moveTo>
                  <a:pt x="6" y="5"/>
                </a:moveTo>
                <a:lnTo>
                  <a:pt x="1" y="9"/>
                </a:lnTo>
                <a:lnTo>
                  <a:pt x="0" y="0"/>
                </a:lnTo>
                <a:lnTo>
                  <a:pt x="6" y="5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" name="Freeform 28">
            <a:extLst>
              <a:ext uri="{FF2B5EF4-FFF2-40B4-BE49-F238E27FC236}">
                <a16:creationId xmlns:a16="http://schemas.microsoft.com/office/drawing/2014/main" id="{EBEAD900-4407-4D15-A2F6-112294C52544}"/>
              </a:ext>
            </a:extLst>
          </p:cNvPr>
          <p:cNvSpPr>
            <a:spLocks/>
          </p:cNvSpPr>
          <p:nvPr/>
        </p:nvSpPr>
        <p:spPr bwMode="gray">
          <a:xfrm>
            <a:off x="8147700" y="4681319"/>
            <a:ext cx="41860" cy="9919"/>
          </a:xfrm>
          <a:custGeom>
            <a:avLst/>
            <a:gdLst>
              <a:gd name="T0" fmla="*/ 21 w 21"/>
              <a:gd name="T1" fmla="*/ 0 h 2"/>
              <a:gd name="T2" fmla="*/ 6 w 21"/>
              <a:gd name="T3" fmla="*/ 2 h 2"/>
              <a:gd name="T4" fmla="*/ 0 w 21"/>
              <a:gd name="T5" fmla="*/ 0 h 2"/>
              <a:gd name="T6" fmla="*/ 21 w 21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" h="2">
                <a:moveTo>
                  <a:pt x="21" y="0"/>
                </a:moveTo>
                <a:lnTo>
                  <a:pt x="6" y="2"/>
                </a:lnTo>
                <a:lnTo>
                  <a:pt x="0" y="0"/>
                </a:lnTo>
                <a:lnTo>
                  <a:pt x="21" y="0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" name="Freeform 29">
            <a:extLst>
              <a:ext uri="{FF2B5EF4-FFF2-40B4-BE49-F238E27FC236}">
                <a16:creationId xmlns:a16="http://schemas.microsoft.com/office/drawing/2014/main" id="{9BF6EBC8-82A2-414A-9C02-D0C22733DEC2}"/>
              </a:ext>
            </a:extLst>
          </p:cNvPr>
          <p:cNvSpPr>
            <a:spLocks/>
          </p:cNvSpPr>
          <p:nvPr/>
        </p:nvSpPr>
        <p:spPr bwMode="gray">
          <a:xfrm>
            <a:off x="8189560" y="4256733"/>
            <a:ext cx="30444" cy="35712"/>
          </a:xfrm>
          <a:custGeom>
            <a:avLst/>
            <a:gdLst>
              <a:gd name="T0" fmla="*/ 7 w 13"/>
              <a:gd name="T1" fmla="*/ 14 h 14"/>
              <a:gd name="T2" fmla="*/ 0 w 13"/>
              <a:gd name="T3" fmla="*/ 6 h 14"/>
              <a:gd name="T4" fmla="*/ 13 w 13"/>
              <a:gd name="T5" fmla="*/ 0 h 14"/>
              <a:gd name="T6" fmla="*/ 13 w 13"/>
              <a:gd name="T7" fmla="*/ 1 h 14"/>
              <a:gd name="T8" fmla="*/ 11 w 13"/>
              <a:gd name="T9" fmla="*/ 8 h 14"/>
              <a:gd name="T10" fmla="*/ 7 w 13"/>
              <a:gd name="T11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" h="14">
                <a:moveTo>
                  <a:pt x="7" y="14"/>
                </a:moveTo>
                <a:lnTo>
                  <a:pt x="0" y="6"/>
                </a:lnTo>
                <a:lnTo>
                  <a:pt x="13" y="0"/>
                </a:lnTo>
                <a:lnTo>
                  <a:pt x="13" y="1"/>
                </a:lnTo>
                <a:lnTo>
                  <a:pt x="11" y="8"/>
                </a:lnTo>
                <a:lnTo>
                  <a:pt x="7" y="14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9A1C5E6C-E6D2-4628-A043-2914AB9A8523}"/>
              </a:ext>
            </a:extLst>
          </p:cNvPr>
          <p:cNvSpPr>
            <a:spLocks/>
          </p:cNvSpPr>
          <p:nvPr/>
        </p:nvSpPr>
        <p:spPr bwMode="gray">
          <a:xfrm>
            <a:off x="8901180" y="4094041"/>
            <a:ext cx="3805" cy="3967"/>
          </a:xfrm>
          <a:custGeom>
            <a:avLst/>
            <a:gdLst>
              <a:gd name="T0" fmla="*/ 1 w 1"/>
              <a:gd name="T1" fmla="*/ 2 h 3"/>
              <a:gd name="T2" fmla="*/ 0 w 1"/>
              <a:gd name="T3" fmla="*/ 0 h 3"/>
              <a:gd name="T4" fmla="*/ 0 w 1"/>
              <a:gd name="T5" fmla="*/ 3 h 3"/>
              <a:gd name="T6" fmla="*/ 0 w 1"/>
              <a:gd name="T7" fmla="*/ 2 h 3"/>
              <a:gd name="T8" fmla="*/ 0 w 1"/>
              <a:gd name="T9" fmla="*/ 0 h 3"/>
              <a:gd name="T10" fmla="*/ 1 w 1"/>
              <a:gd name="T11" fmla="*/ 0 h 3"/>
              <a:gd name="T12" fmla="*/ 1 w 1"/>
              <a:gd name="T13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3">
                <a:moveTo>
                  <a:pt x="1" y="2"/>
                </a:moveTo>
                <a:lnTo>
                  <a:pt x="0" y="0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lnTo>
                  <a:pt x="1" y="0"/>
                </a:lnTo>
                <a:lnTo>
                  <a:pt x="1" y="2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" name="Freeform 35">
            <a:extLst>
              <a:ext uri="{FF2B5EF4-FFF2-40B4-BE49-F238E27FC236}">
                <a16:creationId xmlns:a16="http://schemas.microsoft.com/office/drawing/2014/main" id="{42387B84-AD33-4AFC-BB67-759AF82DE0A3}"/>
              </a:ext>
            </a:extLst>
          </p:cNvPr>
          <p:cNvSpPr>
            <a:spLocks/>
          </p:cNvSpPr>
          <p:nvPr/>
        </p:nvSpPr>
        <p:spPr bwMode="gray">
          <a:xfrm>
            <a:off x="8058272" y="4187292"/>
            <a:ext cx="287311" cy="216262"/>
          </a:xfrm>
          <a:custGeom>
            <a:avLst/>
            <a:gdLst>
              <a:gd name="T0" fmla="*/ 102 w 136"/>
              <a:gd name="T1" fmla="*/ 0 h 98"/>
              <a:gd name="T2" fmla="*/ 111 w 136"/>
              <a:gd name="T3" fmla="*/ 8 h 98"/>
              <a:gd name="T4" fmla="*/ 110 w 136"/>
              <a:gd name="T5" fmla="*/ 17 h 98"/>
              <a:gd name="T6" fmla="*/ 117 w 136"/>
              <a:gd name="T7" fmla="*/ 15 h 98"/>
              <a:gd name="T8" fmla="*/ 117 w 136"/>
              <a:gd name="T9" fmla="*/ 18 h 98"/>
              <a:gd name="T10" fmla="*/ 119 w 136"/>
              <a:gd name="T11" fmla="*/ 20 h 98"/>
              <a:gd name="T12" fmla="*/ 136 w 136"/>
              <a:gd name="T13" fmla="*/ 27 h 98"/>
              <a:gd name="T14" fmla="*/ 122 w 136"/>
              <a:gd name="T15" fmla="*/ 32 h 98"/>
              <a:gd name="T16" fmla="*/ 125 w 136"/>
              <a:gd name="T17" fmla="*/ 40 h 98"/>
              <a:gd name="T18" fmla="*/ 116 w 136"/>
              <a:gd name="T19" fmla="*/ 42 h 98"/>
              <a:gd name="T20" fmla="*/ 112 w 136"/>
              <a:gd name="T21" fmla="*/ 45 h 98"/>
              <a:gd name="T22" fmla="*/ 100 w 136"/>
              <a:gd name="T23" fmla="*/ 44 h 98"/>
              <a:gd name="T24" fmla="*/ 88 w 136"/>
              <a:gd name="T25" fmla="*/ 41 h 98"/>
              <a:gd name="T26" fmla="*/ 84 w 136"/>
              <a:gd name="T27" fmla="*/ 53 h 98"/>
              <a:gd name="T28" fmla="*/ 81 w 136"/>
              <a:gd name="T29" fmla="*/ 64 h 98"/>
              <a:gd name="T30" fmla="*/ 78 w 136"/>
              <a:gd name="T31" fmla="*/ 72 h 98"/>
              <a:gd name="T32" fmla="*/ 72 w 136"/>
              <a:gd name="T33" fmla="*/ 87 h 98"/>
              <a:gd name="T34" fmla="*/ 60 w 136"/>
              <a:gd name="T35" fmla="*/ 92 h 98"/>
              <a:gd name="T36" fmla="*/ 41 w 136"/>
              <a:gd name="T37" fmla="*/ 87 h 98"/>
              <a:gd name="T38" fmla="*/ 36 w 136"/>
              <a:gd name="T39" fmla="*/ 94 h 98"/>
              <a:gd name="T40" fmla="*/ 17 w 136"/>
              <a:gd name="T41" fmla="*/ 98 h 98"/>
              <a:gd name="T42" fmla="*/ 4 w 136"/>
              <a:gd name="T43" fmla="*/ 89 h 98"/>
              <a:gd name="T44" fmla="*/ 0 w 136"/>
              <a:gd name="T45" fmla="*/ 78 h 98"/>
              <a:gd name="T46" fmla="*/ 2 w 136"/>
              <a:gd name="T47" fmla="*/ 80 h 98"/>
              <a:gd name="T48" fmla="*/ 12 w 136"/>
              <a:gd name="T49" fmla="*/ 86 h 98"/>
              <a:gd name="T50" fmla="*/ 24 w 136"/>
              <a:gd name="T51" fmla="*/ 89 h 98"/>
              <a:gd name="T52" fmla="*/ 21 w 136"/>
              <a:gd name="T53" fmla="*/ 89 h 98"/>
              <a:gd name="T54" fmla="*/ 23 w 136"/>
              <a:gd name="T55" fmla="*/ 86 h 98"/>
              <a:gd name="T56" fmla="*/ 24 w 136"/>
              <a:gd name="T57" fmla="*/ 77 h 98"/>
              <a:gd name="T58" fmla="*/ 24 w 136"/>
              <a:gd name="T59" fmla="*/ 75 h 98"/>
              <a:gd name="T60" fmla="*/ 26 w 136"/>
              <a:gd name="T61" fmla="*/ 69 h 98"/>
              <a:gd name="T62" fmla="*/ 36 w 136"/>
              <a:gd name="T63" fmla="*/ 65 h 98"/>
              <a:gd name="T64" fmla="*/ 46 w 136"/>
              <a:gd name="T65" fmla="*/ 62 h 98"/>
              <a:gd name="T66" fmla="*/ 54 w 136"/>
              <a:gd name="T67" fmla="*/ 51 h 98"/>
              <a:gd name="T68" fmla="*/ 63 w 136"/>
              <a:gd name="T69" fmla="*/ 39 h 98"/>
              <a:gd name="T70" fmla="*/ 70 w 136"/>
              <a:gd name="T71" fmla="*/ 47 h 98"/>
              <a:gd name="T72" fmla="*/ 74 w 136"/>
              <a:gd name="T73" fmla="*/ 41 h 98"/>
              <a:gd name="T74" fmla="*/ 76 w 136"/>
              <a:gd name="T75" fmla="*/ 34 h 98"/>
              <a:gd name="T76" fmla="*/ 80 w 136"/>
              <a:gd name="T77" fmla="*/ 42 h 98"/>
              <a:gd name="T78" fmla="*/ 78 w 136"/>
              <a:gd name="T79" fmla="*/ 35 h 98"/>
              <a:gd name="T80" fmla="*/ 82 w 136"/>
              <a:gd name="T81" fmla="*/ 32 h 98"/>
              <a:gd name="T82" fmla="*/ 81 w 136"/>
              <a:gd name="T83" fmla="*/ 27 h 98"/>
              <a:gd name="T84" fmla="*/ 84 w 136"/>
              <a:gd name="T85" fmla="*/ 23 h 98"/>
              <a:gd name="T86" fmla="*/ 90 w 136"/>
              <a:gd name="T87" fmla="*/ 12 h 98"/>
              <a:gd name="T88" fmla="*/ 98 w 136"/>
              <a:gd name="T89" fmla="*/ 0 h 98"/>
              <a:gd name="T90" fmla="*/ 99 w 136"/>
              <a:gd name="T91" fmla="*/ 5 h 98"/>
              <a:gd name="T92" fmla="*/ 102 w 136"/>
              <a:gd name="T93" fmla="*/ 0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6" h="98">
                <a:moveTo>
                  <a:pt x="102" y="0"/>
                </a:moveTo>
                <a:lnTo>
                  <a:pt x="111" y="8"/>
                </a:lnTo>
                <a:lnTo>
                  <a:pt x="110" y="17"/>
                </a:lnTo>
                <a:lnTo>
                  <a:pt x="117" y="15"/>
                </a:lnTo>
                <a:lnTo>
                  <a:pt x="117" y="18"/>
                </a:lnTo>
                <a:lnTo>
                  <a:pt x="119" y="20"/>
                </a:lnTo>
                <a:lnTo>
                  <a:pt x="136" y="27"/>
                </a:lnTo>
                <a:lnTo>
                  <a:pt x="122" y="32"/>
                </a:lnTo>
                <a:lnTo>
                  <a:pt x="125" y="40"/>
                </a:lnTo>
                <a:lnTo>
                  <a:pt x="116" y="42"/>
                </a:lnTo>
                <a:lnTo>
                  <a:pt x="112" y="45"/>
                </a:lnTo>
                <a:lnTo>
                  <a:pt x="100" y="44"/>
                </a:lnTo>
                <a:lnTo>
                  <a:pt x="88" y="41"/>
                </a:lnTo>
                <a:lnTo>
                  <a:pt x="84" y="53"/>
                </a:lnTo>
                <a:lnTo>
                  <a:pt x="81" y="64"/>
                </a:lnTo>
                <a:lnTo>
                  <a:pt x="78" y="72"/>
                </a:lnTo>
                <a:lnTo>
                  <a:pt x="72" y="87"/>
                </a:lnTo>
                <a:lnTo>
                  <a:pt x="60" y="92"/>
                </a:lnTo>
                <a:lnTo>
                  <a:pt x="41" y="87"/>
                </a:lnTo>
                <a:lnTo>
                  <a:pt x="36" y="94"/>
                </a:lnTo>
                <a:lnTo>
                  <a:pt x="17" y="98"/>
                </a:lnTo>
                <a:lnTo>
                  <a:pt x="4" y="89"/>
                </a:lnTo>
                <a:lnTo>
                  <a:pt x="0" y="78"/>
                </a:lnTo>
                <a:lnTo>
                  <a:pt x="2" y="80"/>
                </a:lnTo>
                <a:lnTo>
                  <a:pt x="12" y="86"/>
                </a:lnTo>
                <a:lnTo>
                  <a:pt x="24" y="89"/>
                </a:lnTo>
                <a:lnTo>
                  <a:pt x="21" y="89"/>
                </a:lnTo>
                <a:lnTo>
                  <a:pt x="23" y="86"/>
                </a:lnTo>
                <a:lnTo>
                  <a:pt x="24" y="77"/>
                </a:lnTo>
                <a:lnTo>
                  <a:pt x="24" y="75"/>
                </a:lnTo>
                <a:lnTo>
                  <a:pt x="26" y="69"/>
                </a:lnTo>
                <a:lnTo>
                  <a:pt x="36" y="65"/>
                </a:lnTo>
                <a:lnTo>
                  <a:pt x="46" y="62"/>
                </a:lnTo>
                <a:lnTo>
                  <a:pt x="54" y="51"/>
                </a:lnTo>
                <a:lnTo>
                  <a:pt x="63" y="39"/>
                </a:lnTo>
                <a:lnTo>
                  <a:pt x="70" y="47"/>
                </a:lnTo>
                <a:lnTo>
                  <a:pt x="74" y="41"/>
                </a:lnTo>
                <a:lnTo>
                  <a:pt x="76" y="34"/>
                </a:lnTo>
                <a:lnTo>
                  <a:pt x="80" y="42"/>
                </a:lnTo>
                <a:lnTo>
                  <a:pt x="78" y="35"/>
                </a:lnTo>
                <a:lnTo>
                  <a:pt x="82" y="32"/>
                </a:lnTo>
                <a:lnTo>
                  <a:pt x="81" y="27"/>
                </a:lnTo>
                <a:lnTo>
                  <a:pt x="84" y="23"/>
                </a:lnTo>
                <a:lnTo>
                  <a:pt x="90" y="12"/>
                </a:lnTo>
                <a:lnTo>
                  <a:pt x="98" y="0"/>
                </a:lnTo>
                <a:lnTo>
                  <a:pt x="99" y="5"/>
                </a:lnTo>
                <a:lnTo>
                  <a:pt x="102" y="0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" name="Freeform 36">
            <a:extLst>
              <a:ext uri="{FF2B5EF4-FFF2-40B4-BE49-F238E27FC236}">
                <a16:creationId xmlns:a16="http://schemas.microsoft.com/office/drawing/2014/main" id="{CA3E4342-CAE1-49AA-9C57-3286DB6AEE2D}"/>
              </a:ext>
            </a:extLst>
          </p:cNvPr>
          <p:cNvSpPr>
            <a:spLocks/>
          </p:cNvSpPr>
          <p:nvPr/>
        </p:nvSpPr>
        <p:spPr bwMode="gray">
          <a:xfrm>
            <a:off x="7770960" y="4201178"/>
            <a:ext cx="125581" cy="184517"/>
          </a:xfrm>
          <a:custGeom>
            <a:avLst/>
            <a:gdLst>
              <a:gd name="T0" fmla="*/ 51 w 61"/>
              <a:gd name="T1" fmla="*/ 83 h 83"/>
              <a:gd name="T2" fmla="*/ 34 w 61"/>
              <a:gd name="T3" fmla="*/ 71 h 83"/>
              <a:gd name="T4" fmla="*/ 18 w 61"/>
              <a:gd name="T5" fmla="*/ 59 h 83"/>
              <a:gd name="T6" fmla="*/ 10 w 61"/>
              <a:gd name="T7" fmla="*/ 41 h 83"/>
              <a:gd name="T8" fmla="*/ 4 w 61"/>
              <a:gd name="T9" fmla="*/ 22 h 83"/>
              <a:gd name="T10" fmla="*/ 0 w 61"/>
              <a:gd name="T11" fmla="*/ 3 h 83"/>
              <a:gd name="T12" fmla="*/ 0 w 61"/>
              <a:gd name="T13" fmla="*/ 0 h 83"/>
              <a:gd name="T14" fmla="*/ 12 w 61"/>
              <a:gd name="T15" fmla="*/ 5 h 83"/>
              <a:gd name="T16" fmla="*/ 12 w 61"/>
              <a:gd name="T17" fmla="*/ 12 h 83"/>
              <a:gd name="T18" fmla="*/ 21 w 61"/>
              <a:gd name="T19" fmla="*/ 12 h 83"/>
              <a:gd name="T20" fmla="*/ 27 w 61"/>
              <a:gd name="T21" fmla="*/ 5 h 83"/>
              <a:gd name="T22" fmla="*/ 37 w 61"/>
              <a:gd name="T23" fmla="*/ 15 h 83"/>
              <a:gd name="T24" fmla="*/ 45 w 61"/>
              <a:gd name="T25" fmla="*/ 24 h 83"/>
              <a:gd name="T26" fmla="*/ 46 w 61"/>
              <a:gd name="T27" fmla="*/ 40 h 83"/>
              <a:gd name="T28" fmla="*/ 49 w 61"/>
              <a:gd name="T29" fmla="*/ 54 h 83"/>
              <a:gd name="T30" fmla="*/ 55 w 61"/>
              <a:gd name="T31" fmla="*/ 69 h 83"/>
              <a:gd name="T32" fmla="*/ 61 w 61"/>
              <a:gd name="T33" fmla="*/ 83 h 83"/>
              <a:gd name="T34" fmla="*/ 56 w 61"/>
              <a:gd name="T35" fmla="*/ 81 h 83"/>
              <a:gd name="T36" fmla="*/ 51 w 61"/>
              <a:gd name="T37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1" h="83">
                <a:moveTo>
                  <a:pt x="51" y="83"/>
                </a:moveTo>
                <a:lnTo>
                  <a:pt x="34" y="71"/>
                </a:lnTo>
                <a:lnTo>
                  <a:pt x="18" y="59"/>
                </a:lnTo>
                <a:lnTo>
                  <a:pt x="10" y="41"/>
                </a:lnTo>
                <a:lnTo>
                  <a:pt x="4" y="22"/>
                </a:lnTo>
                <a:lnTo>
                  <a:pt x="0" y="3"/>
                </a:lnTo>
                <a:lnTo>
                  <a:pt x="0" y="0"/>
                </a:lnTo>
                <a:lnTo>
                  <a:pt x="12" y="5"/>
                </a:lnTo>
                <a:lnTo>
                  <a:pt x="12" y="12"/>
                </a:lnTo>
                <a:lnTo>
                  <a:pt x="21" y="12"/>
                </a:lnTo>
                <a:lnTo>
                  <a:pt x="27" y="5"/>
                </a:lnTo>
                <a:lnTo>
                  <a:pt x="37" y="15"/>
                </a:lnTo>
                <a:lnTo>
                  <a:pt x="45" y="24"/>
                </a:lnTo>
                <a:lnTo>
                  <a:pt x="46" y="40"/>
                </a:lnTo>
                <a:lnTo>
                  <a:pt x="49" y="54"/>
                </a:lnTo>
                <a:lnTo>
                  <a:pt x="55" y="69"/>
                </a:lnTo>
                <a:lnTo>
                  <a:pt x="61" y="83"/>
                </a:lnTo>
                <a:lnTo>
                  <a:pt x="56" y="81"/>
                </a:lnTo>
                <a:lnTo>
                  <a:pt x="51" y="83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" name="Freeform 40">
            <a:extLst>
              <a:ext uri="{FF2B5EF4-FFF2-40B4-BE49-F238E27FC236}">
                <a16:creationId xmlns:a16="http://schemas.microsoft.com/office/drawing/2014/main" id="{FDA91B68-31FF-40A8-B780-8EC24C0A00B2}"/>
              </a:ext>
            </a:extLst>
          </p:cNvPr>
          <p:cNvSpPr>
            <a:spLocks/>
          </p:cNvSpPr>
          <p:nvPr/>
        </p:nvSpPr>
        <p:spPr bwMode="gray">
          <a:xfrm>
            <a:off x="8794628" y="4161497"/>
            <a:ext cx="3805" cy="11904"/>
          </a:xfrm>
          <a:custGeom>
            <a:avLst/>
            <a:gdLst>
              <a:gd name="T0" fmla="*/ 2 w 3"/>
              <a:gd name="T1" fmla="*/ 5 h 6"/>
              <a:gd name="T2" fmla="*/ 2 w 3"/>
              <a:gd name="T3" fmla="*/ 4 h 6"/>
              <a:gd name="T4" fmla="*/ 2 w 3"/>
              <a:gd name="T5" fmla="*/ 3 h 6"/>
              <a:gd name="T6" fmla="*/ 3 w 3"/>
              <a:gd name="T7" fmla="*/ 1 h 6"/>
              <a:gd name="T8" fmla="*/ 3 w 3"/>
              <a:gd name="T9" fmla="*/ 0 h 6"/>
              <a:gd name="T10" fmla="*/ 3 w 3"/>
              <a:gd name="T11" fmla="*/ 1 h 6"/>
              <a:gd name="T12" fmla="*/ 3 w 3"/>
              <a:gd name="T13" fmla="*/ 4 h 6"/>
              <a:gd name="T14" fmla="*/ 3 w 3"/>
              <a:gd name="T15" fmla="*/ 5 h 6"/>
              <a:gd name="T16" fmla="*/ 3 w 3"/>
              <a:gd name="T17" fmla="*/ 6 h 6"/>
              <a:gd name="T18" fmla="*/ 2 w 3"/>
              <a:gd name="T19" fmla="*/ 6 h 6"/>
              <a:gd name="T20" fmla="*/ 0 w 3"/>
              <a:gd name="T21" fmla="*/ 5 h 6"/>
              <a:gd name="T22" fmla="*/ 2 w 3"/>
              <a:gd name="T23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" h="6">
                <a:moveTo>
                  <a:pt x="2" y="5"/>
                </a:moveTo>
                <a:lnTo>
                  <a:pt x="2" y="4"/>
                </a:lnTo>
                <a:lnTo>
                  <a:pt x="2" y="3"/>
                </a:lnTo>
                <a:lnTo>
                  <a:pt x="3" y="1"/>
                </a:lnTo>
                <a:lnTo>
                  <a:pt x="3" y="0"/>
                </a:lnTo>
                <a:lnTo>
                  <a:pt x="3" y="1"/>
                </a:lnTo>
                <a:lnTo>
                  <a:pt x="3" y="4"/>
                </a:lnTo>
                <a:lnTo>
                  <a:pt x="3" y="5"/>
                </a:lnTo>
                <a:lnTo>
                  <a:pt x="3" y="6"/>
                </a:lnTo>
                <a:lnTo>
                  <a:pt x="2" y="6"/>
                </a:lnTo>
                <a:lnTo>
                  <a:pt x="0" y="5"/>
                </a:lnTo>
                <a:lnTo>
                  <a:pt x="2" y="5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" name="Freeform 41">
            <a:extLst>
              <a:ext uri="{FF2B5EF4-FFF2-40B4-BE49-F238E27FC236}">
                <a16:creationId xmlns:a16="http://schemas.microsoft.com/office/drawing/2014/main" id="{3D292640-A91E-4BA4-BF9E-03B393313828}"/>
              </a:ext>
            </a:extLst>
          </p:cNvPr>
          <p:cNvSpPr>
            <a:spLocks/>
          </p:cNvSpPr>
          <p:nvPr/>
        </p:nvSpPr>
        <p:spPr bwMode="gray">
          <a:xfrm>
            <a:off x="8794628" y="4173401"/>
            <a:ext cx="3805" cy="3967"/>
          </a:xfrm>
          <a:custGeom>
            <a:avLst/>
            <a:gdLst>
              <a:gd name="T0" fmla="*/ 1 w 1"/>
              <a:gd name="T1" fmla="*/ 2 h 2"/>
              <a:gd name="T2" fmla="*/ 0 w 1"/>
              <a:gd name="T3" fmla="*/ 2 h 2"/>
              <a:gd name="T4" fmla="*/ 1 w 1"/>
              <a:gd name="T5" fmla="*/ 2 h 2"/>
              <a:gd name="T6" fmla="*/ 1 w 1"/>
              <a:gd name="T7" fmla="*/ 0 h 2"/>
              <a:gd name="T8" fmla="*/ 1 w 1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2">
                <a:moveTo>
                  <a:pt x="1" y="2"/>
                </a:moveTo>
                <a:lnTo>
                  <a:pt x="0" y="2"/>
                </a:lnTo>
                <a:lnTo>
                  <a:pt x="1" y="2"/>
                </a:lnTo>
                <a:lnTo>
                  <a:pt x="1" y="0"/>
                </a:lnTo>
                <a:lnTo>
                  <a:pt x="1" y="2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" name="Freeform 42">
            <a:extLst>
              <a:ext uri="{FF2B5EF4-FFF2-40B4-BE49-F238E27FC236}">
                <a16:creationId xmlns:a16="http://schemas.microsoft.com/office/drawing/2014/main" id="{43051C18-B8AA-4C36-9EE0-8BDF8CB9B90E}"/>
              </a:ext>
            </a:extLst>
          </p:cNvPr>
          <p:cNvSpPr>
            <a:spLocks/>
          </p:cNvSpPr>
          <p:nvPr/>
        </p:nvSpPr>
        <p:spPr bwMode="gray">
          <a:xfrm>
            <a:off x="8794628" y="4173401"/>
            <a:ext cx="3805" cy="3967"/>
          </a:xfrm>
          <a:custGeom>
            <a:avLst/>
            <a:gdLst>
              <a:gd name="T0" fmla="*/ 2 w 2"/>
              <a:gd name="T1" fmla="*/ 1 h 1"/>
              <a:gd name="T2" fmla="*/ 0 w 2"/>
              <a:gd name="T3" fmla="*/ 0 h 1"/>
              <a:gd name="T4" fmla="*/ 0 w 2"/>
              <a:gd name="T5" fmla="*/ 1 h 1"/>
              <a:gd name="T6" fmla="*/ 2 w 2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0" y="0"/>
                </a:lnTo>
                <a:lnTo>
                  <a:pt x="0" y="1"/>
                </a:lnTo>
                <a:lnTo>
                  <a:pt x="2" y="1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" name="Freeform 43">
            <a:extLst>
              <a:ext uri="{FF2B5EF4-FFF2-40B4-BE49-F238E27FC236}">
                <a16:creationId xmlns:a16="http://schemas.microsoft.com/office/drawing/2014/main" id="{35B0E934-CF55-49A1-8CD7-FF2230E53B2B}"/>
              </a:ext>
            </a:extLst>
          </p:cNvPr>
          <p:cNvSpPr>
            <a:spLocks/>
          </p:cNvSpPr>
          <p:nvPr/>
        </p:nvSpPr>
        <p:spPr bwMode="gray">
          <a:xfrm>
            <a:off x="8787015" y="4187292"/>
            <a:ext cx="3805" cy="3967"/>
          </a:xfrm>
          <a:custGeom>
            <a:avLst/>
            <a:gdLst>
              <a:gd name="T0" fmla="*/ 0 h 2"/>
              <a:gd name="T1" fmla="*/ 2 h 2"/>
              <a:gd name="T2" fmla="*/ 0 h 2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2">
                <a:moveTo>
                  <a:pt x="0" y="0"/>
                </a:move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" name="Freeform 44">
            <a:extLst>
              <a:ext uri="{FF2B5EF4-FFF2-40B4-BE49-F238E27FC236}">
                <a16:creationId xmlns:a16="http://schemas.microsoft.com/office/drawing/2014/main" id="{F16AE067-91A0-4830-89D6-1593567869C1}"/>
              </a:ext>
            </a:extLst>
          </p:cNvPr>
          <p:cNvSpPr>
            <a:spLocks/>
          </p:cNvSpPr>
          <p:nvPr/>
        </p:nvSpPr>
        <p:spPr bwMode="gray">
          <a:xfrm>
            <a:off x="8790822" y="4183323"/>
            <a:ext cx="3805" cy="3967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0"/>
                </a:lnTo>
                <a:lnTo>
                  <a:pt x="0" y="1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" name="Freeform 45">
            <a:extLst>
              <a:ext uri="{FF2B5EF4-FFF2-40B4-BE49-F238E27FC236}">
                <a16:creationId xmlns:a16="http://schemas.microsoft.com/office/drawing/2014/main" id="{83CADC73-B960-448D-8391-29A1721C85D2}"/>
              </a:ext>
            </a:extLst>
          </p:cNvPr>
          <p:cNvSpPr>
            <a:spLocks/>
          </p:cNvSpPr>
          <p:nvPr/>
        </p:nvSpPr>
        <p:spPr bwMode="gray">
          <a:xfrm>
            <a:off x="8990607" y="4526564"/>
            <a:ext cx="291118" cy="283720"/>
          </a:xfrm>
          <a:custGeom>
            <a:avLst/>
            <a:gdLst>
              <a:gd name="T0" fmla="*/ 138 w 138"/>
              <a:gd name="T1" fmla="*/ 122 h 128"/>
              <a:gd name="T2" fmla="*/ 132 w 138"/>
              <a:gd name="T3" fmla="*/ 126 h 128"/>
              <a:gd name="T4" fmla="*/ 132 w 138"/>
              <a:gd name="T5" fmla="*/ 128 h 128"/>
              <a:gd name="T6" fmla="*/ 123 w 138"/>
              <a:gd name="T7" fmla="*/ 127 h 128"/>
              <a:gd name="T8" fmla="*/ 110 w 138"/>
              <a:gd name="T9" fmla="*/ 124 h 128"/>
              <a:gd name="T10" fmla="*/ 97 w 138"/>
              <a:gd name="T11" fmla="*/ 121 h 128"/>
              <a:gd name="T12" fmla="*/ 90 w 138"/>
              <a:gd name="T13" fmla="*/ 113 h 128"/>
              <a:gd name="T14" fmla="*/ 82 w 138"/>
              <a:gd name="T15" fmla="*/ 104 h 128"/>
              <a:gd name="T16" fmla="*/ 75 w 138"/>
              <a:gd name="T17" fmla="*/ 95 h 128"/>
              <a:gd name="T18" fmla="*/ 68 w 138"/>
              <a:gd name="T19" fmla="*/ 86 h 128"/>
              <a:gd name="T20" fmla="*/ 49 w 138"/>
              <a:gd name="T21" fmla="*/ 79 h 128"/>
              <a:gd name="T22" fmla="*/ 49 w 138"/>
              <a:gd name="T23" fmla="*/ 83 h 128"/>
              <a:gd name="T24" fmla="*/ 40 w 138"/>
              <a:gd name="T25" fmla="*/ 79 h 128"/>
              <a:gd name="T26" fmla="*/ 40 w 138"/>
              <a:gd name="T27" fmla="*/ 88 h 128"/>
              <a:gd name="T28" fmla="*/ 36 w 138"/>
              <a:gd name="T29" fmla="*/ 86 h 128"/>
              <a:gd name="T30" fmla="*/ 37 w 138"/>
              <a:gd name="T31" fmla="*/ 91 h 128"/>
              <a:gd name="T32" fmla="*/ 18 w 138"/>
              <a:gd name="T33" fmla="*/ 90 h 128"/>
              <a:gd name="T34" fmla="*/ 33 w 138"/>
              <a:gd name="T35" fmla="*/ 100 h 128"/>
              <a:gd name="T36" fmla="*/ 26 w 138"/>
              <a:gd name="T37" fmla="*/ 106 h 128"/>
              <a:gd name="T38" fmla="*/ 13 w 138"/>
              <a:gd name="T39" fmla="*/ 106 h 128"/>
              <a:gd name="T40" fmla="*/ 0 w 138"/>
              <a:gd name="T41" fmla="*/ 104 h 128"/>
              <a:gd name="T42" fmla="*/ 0 w 138"/>
              <a:gd name="T43" fmla="*/ 91 h 128"/>
              <a:gd name="T44" fmla="*/ 1 w 138"/>
              <a:gd name="T45" fmla="*/ 79 h 128"/>
              <a:gd name="T46" fmla="*/ 2 w 138"/>
              <a:gd name="T47" fmla="*/ 66 h 128"/>
              <a:gd name="T48" fmla="*/ 3 w 138"/>
              <a:gd name="T49" fmla="*/ 53 h 128"/>
              <a:gd name="T50" fmla="*/ 4 w 138"/>
              <a:gd name="T51" fmla="*/ 40 h 128"/>
              <a:gd name="T52" fmla="*/ 4 w 138"/>
              <a:gd name="T53" fmla="*/ 26 h 128"/>
              <a:gd name="T54" fmla="*/ 6 w 138"/>
              <a:gd name="T55" fmla="*/ 13 h 128"/>
              <a:gd name="T56" fmla="*/ 6 w 138"/>
              <a:gd name="T57" fmla="*/ 0 h 128"/>
              <a:gd name="T58" fmla="*/ 19 w 138"/>
              <a:gd name="T59" fmla="*/ 6 h 128"/>
              <a:gd name="T60" fmla="*/ 33 w 138"/>
              <a:gd name="T61" fmla="*/ 12 h 128"/>
              <a:gd name="T62" fmla="*/ 46 w 138"/>
              <a:gd name="T63" fmla="*/ 18 h 128"/>
              <a:gd name="T64" fmla="*/ 60 w 138"/>
              <a:gd name="T65" fmla="*/ 24 h 128"/>
              <a:gd name="T66" fmla="*/ 73 w 138"/>
              <a:gd name="T67" fmla="*/ 40 h 128"/>
              <a:gd name="T68" fmla="*/ 73 w 138"/>
              <a:gd name="T69" fmla="*/ 47 h 128"/>
              <a:gd name="T70" fmla="*/ 85 w 138"/>
              <a:gd name="T71" fmla="*/ 52 h 128"/>
              <a:gd name="T72" fmla="*/ 98 w 138"/>
              <a:gd name="T73" fmla="*/ 58 h 128"/>
              <a:gd name="T74" fmla="*/ 99 w 138"/>
              <a:gd name="T75" fmla="*/ 66 h 128"/>
              <a:gd name="T76" fmla="*/ 86 w 138"/>
              <a:gd name="T77" fmla="*/ 68 h 128"/>
              <a:gd name="T78" fmla="*/ 93 w 138"/>
              <a:gd name="T79" fmla="*/ 82 h 128"/>
              <a:gd name="T80" fmla="*/ 102 w 138"/>
              <a:gd name="T81" fmla="*/ 91 h 128"/>
              <a:gd name="T82" fmla="*/ 109 w 138"/>
              <a:gd name="T83" fmla="*/ 104 h 128"/>
              <a:gd name="T84" fmla="*/ 117 w 138"/>
              <a:gd name="T85" fmla="*/ 106 h 128"/>
              <a:gd name="T86" fmla="*/ 117 w 138"/>
              <a:gd name="T87" fmla="*/ 112 h 128"/>
              <a:gd name="T88" fmla="*/ 124 w 138"/>
              <a:gd name="T89" fmla="*/ 115 h 128"/>
              <a:gd name="T90" fmla="*/ 123 w 138"/>
              <a:gd name="T91" fmla="*/ 119 h 128"/>
              <a:gd name="T92" fmla="*/ 138 w 138"/>
              <a:gd name="T93" fmla="*/ 122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8" h="128">
                <a:moveTo>
                  <a:pt x="138" y="122"/>
                </a:moveTo>
                <a:lnTo>
                  <a:pt x="132" y="126"/>
                </a:lnTo>
                <a:lnTo>
                  <a:pt x="132" y="128"/>
                </a:lnTo>
                <a:lnTo>
                  <a:pt x="123" y="127"/>
                </a:lnTo>
                <a:lnTo>
                  <a:pt x="110" y="124"/>
                </a:lnTo>
                <a:lnTo>
                  <a:pt x="97" y="121"/>
                </a:lnTo>
                <a:lnTo>
                  <a:pt x="90" y="113"/>
                </a:lnTo>
                <a:lnTo>
                  <a:pt x="82" y="104"/>
                </a:lnTo>
                <a:lnTo>
                  <a:pt x="75" y="95"/>
                </a:lnTo>
                <a:lnTo>
                  <a:pt x="68" y="86"/>
                </a:lnTo>
                <a:lnTo>
                  <a:pt x="49" y="79"/>
                </a:lnTo>
                <a:lnTo>
                  <a:pt x="49" y="83"/>
                </a:lnTo>
                <a:lnTo>
                  <a:pt x="40" y="79"/>
                </a:lnTo>
                <a:lnTo>
                  <a:pt x="40" y="88"/>
                </a:lnTo>
                <a:lnTo>
                  <a:pt x="36" y="86"/>
                </a:lnTo>
                <a:lnTo>
                  <a:pt x="37" y="91"/>
                </a:lnTo>
                <a:lnTo>
                  <a:pt x="18" y="90"/>
                </a:lnTo>
                <a:lnTo>
                  <a:pt x="33" y="100"/>
                </a:lnTo>
                <a:lnTo>
                  <a:pt x="26" y="106"/>
                </a:lnTo>
                <a:lnTo>
                  <a:pt x="13" y="106"/>
                </a:lnTo>
                <a:lnTo>
                  <a:pt x="0" y="104"/>
                </a:lnTo>
                <a:lnTo>
                  <a:pt x="0" y="91"/>
                </a:lnTo>
                <a:lnTo>
                  <a:pt x="1" y="79"/>
                </a:lnTo>
                <a:lnTo>
                  <a:pt x="2" y="66"/>
                </a:lnTo>
                <a:lnTo>
                  <a:pt x="3" y="53"/>
                </a:lnTo>
                <a:lnTo>
                  <a:pt x="4" y="40"/>
                </a:lnTo>
                <a:lnTo>
                  <a:pt x="4" y="26"/>
                </a:lnTo>
                <a:lnTo>
                  <a:pt x="6" y="13"/>
                </a:lnTo>
                <a:lnTo>
                  <a:pt x="6" y="0"/>
                </a:lnTo>
                <a:lnTo>
                  <a:pt x="19" y="6"/>
                </a:lnTo>
                <a:lnTo>
                  <a:pt x="33" y="12"/>
                </a:lnTo>
                <a:lnTo>
                  <a:pt x="46" y="18"/>
                </a:lnTo>
                <a:lnTo>
                  <a:pt x="60" y="24"/>
                </a:lnTo>
                <a:lnTo>
                  <a:pt x="73" y="40"/>
                </a:lnTo>
                <a:lnTo>
                  <a:pt x="73" y="47"/>
                </a:lnTo>
                <a:lnTo>
                  <a:pt x="85" y="52"/>
                </a:lnTo>
                <a:lnTo>
                  <a:pt x="98" y="58"/>
                </a:lnTo>
                <a:lnTo>
                  <a:pt x="99" y="66"/>
                </a:lnTo>
                <a:lnTo>
                  <a:pt x="86" y="68"/>
                </a:lnTo>
                <a:lnTo>
                  <a:pt x="93" y="82"/>
                </a:lnTo>
                <a:lnTo>
                  <a:pt x="102" y="91"/>
                </a:lnTo>
                <a:lnTo>
                  <a:pt x="109" y="104"/>
                </a:lnTo>
                <a:lnTo>
                  <a:pt x="117" y="106"/>
                </a:lnTo>
                <a:lnTo>
                  <a:pt x="117" y="112"/>
                </a:lnTo>
                <a:lnTo>
                  <a:pt x="124" y="115"/>
                </a:lnTo>
                <a:lnTo>
                  <a:pt x="123" y="119"/>
                </a:lnTo>
                <a:lnTo>
                  <a:pt x="138" y="122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4" name="Freeform 58">
            <a:extLst>
              <a:ext uri="{FF2B5EF4-FFF2-40B4-BE49-F238E27FC236}">
                <a16:creationId xmlns:a16="http://schemas.microsoft.com/office/drawing/2014/main" id="{C6FC6932-8B41-46DF-8568-0B13FA8D761C}"/>
              </a:ext>
            </a:extLst>
          </p:cNvPr>
          <p:cNvSpPr>
            <a:spLocks/>
          </p:cNvSpPr>
          <p:nvPr/>
        </p:nvSpPr>
        <p:spPr bwMode="gray">
          <a:xfrm>
            <a:off x="7816624" y="3913491"/>
            <a:ext cx="156025" cy="150788"/>
          </a:xfrm>
          <a:custGeom>
            <a:avLst/>
            <a:gdLst>
              <a:gd name="T0" fmla="*/ 53 w 74"/>
              <a:gd name="T1" fmla="*/ 50 h 68"/>
              <a:gd name="T2" fmla="*/ 57 w 74"/>
              <a:gd name="T3" fmla="*/ 62 h 68"/>
              <a:gd name="T4" fmla="*/ 46 w 74"/>
              <a:gd name="T5" fmla="*/ 61 h 68"/>
              <a:gd name="T6" fmla="*/ 42 w 74"/>
              <a:gd name="T7" fmla="*/ 63 h 68"/>
              <a:gd name="T8" fmla="*/ 34 w 74"/>
              <a:gd name="T9" fmla="*/ 68 h 68"/>
              <a:gd name="T10" fmla="*/ 26 w 74"/>
              <a:gd name="T11" fmla="*/ 67 h 68"/>
              <a:gd name="T12" fmla="*/ 22 w 74"/>
              <a:gd name="T13" fmla="*/ 63 h 68"/>
              <a:gd name="T14" fmla="*/ 20 w 74"/>
              <a:gd name="T15" fmla="*/ 57 h 68"/>
              <a:gd name="T16" fmla="*/ 15 w 74"/>
              <a:gd name="T17" fmla="*/ 61 h 68"/>
              <a:gd name="T18" fmla="*/ 11 w 74"/>
              <a:gd name="T19" fmla="*/ 50 h 68"/>
              <a:gd name="T20" fmla="*/ 11 w 74"/>
              <a:gd name="T21" fmla="*/ 49 h 68"/>
              <a:gd name="T22" fmla="*/ 5 w 74"/>
              <a:gd name="T23" fmla="*/ 36 h 68"/>
              <a:gd name="T24" fmla="*/ 0 w 74"/>
              <a:gd name="T25" fmla="*/ 22 h 68"/>
              <a:gd name="T26" fmla="*/ 9 w 74"/>
              <a:gd name="T27" fmla="*/ 6 h 68"/>
              <a:gd name="T28" fmla="*/ 24 w 74"/>
              <a:gd name="T29" fmla="*/ 6 h 68"/>
              <a:gd name="T30" fmla="*/ 39 w 74"/>
              <a:gd name="T31" fmla="*/ 6 h 68"/>
              <a:gd name="T32" fmla="*/ 51 w 74"/>
              <a:gd name="T33" fmla="*/ 12 h 68"/>
              <a:gd name="T34" fmla="*/ 51 w 74"/>
              <a:gd name="T35" fmla="*/ 7 h 68"/>
              <a:gd name="T36" fmla="*/ 56 w 74"/>
              <a:gd name="T37" fmla="*/ 3 h 68"/>
              <a:gd name="T38" fmla="*/ 62 w 74"/>
              <a:gd name="T39" fmla="*/ 6 h 68"/>
              <a:gd name="T40" fmla="*/ 71 w 74"/>
              <a:gd name="T41" fmla="*/ 0 h 68"/>
              <a:gd name="T42" fmla="*/ 71 w 74"/>
              <a:gd name="T43" fmla="*/ 14 h 68"/>
              <a:gd name="T44" fmla="*/ 72 w 74"/>
              <a:gd name="T45" fmla="*/ 26 h 68"/>
              <a:gd name="T46" fmla="*/ 74 w 74"/>
              <a:gd name="T47" fmla="*/ 39 h 68"/>
              <a:gd name="T48" fmla="*/ 60 w 74"/>
              <a:gd name="T49" fmla="*/ 46 h 68"/>
              <a:gd name="T50" fmla="*/ 53 w 74"/>
              <a:gd name="T51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4" h="68">
                <a:moveTo>
                  <a:pt x="53" y="50"/>
                </a:moveTo>
                <a:lnTo>
                  <a:pt x="57" y="62"/>
                </a:lnTo>
                <a:lnTo>
                  <a:pt x="46" y="61"/>
                </a:lnTo>
                <a:lnTo>
                  <a:pt x="42" y="63"/>
                </a:lnTo>
                <a:lnTo>
                  <a:pt x="34" y="68"/>
                </a:lnTo>
                <a:lnTo>
                  <a:pt x="26" y="67"/>
                </a:lnTo>
                <a:lnTo>
                  <a:pt x="22" y="63"/>
                </a:lnTo>
                <a:lnTo>
                  <a:pt x="20" y="57"/>
                </a:lnTo>
                <a:lnTo>
                  <a:pt x="15" y="61"/>
                </a:lnTo>
                <a:lnTo>
                  <a:pt x="11" y="50"/>
                </a:lnTo>
                <a:lnTo>
                  <a:pt x="11" y="49"/>
                </a:lnTo>
                <a:lnTo>
                  <a:pt x="5" y="36"/>
                </a:lnTo>
                <a:lnTo>
                  <a:pt x="0" y="22"/>
                </a:lnTo>
                <a:lnTo>
                  <a:pt x="9" y="6"/>
                </a:lnTo>
                <a:lnTo>
                  <a:pt x="24" y="6"/>
                </a:lnTo>
                <a:lnTo>
                  <a:pt x="39" y="6"/>
                </a:lnTo>
                <a:lnTo>
                  <a:pt x="51" y="12"/>
                </a:lnTo>
                <a:lnTo>
                  <a:pt x="51" y="7"/>
                </a:lnTo>
                <a:lnTo>
                  <a:pt x="56" y="3"/>
                </a:lnTo>
                <a:lnTo>
                  <a:pt x="62" y="6"/>
                </a:lnTo>
                <a:lnTo>
                  <a:pt x="71" y="0"/>
                </a:lnTo>
                <a:lnTo>
                  <a:pt x="71" y="14"/>
                </a:lnTo>
                <a:lnTo>
                  <a:pt x="72" y="26"/>
                </a:lnTo>
                <a:lnTo>
                  <a:pt x="74" y="39"/>
                </a:lnTo>
                <a:lnTo>
                  <a:pt x="60" y="46"/>
                </a:lnTo>
                <a:lnTo>
                  <a:pt x="53" y="50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8" name="Freeform 62">
            <a:extLst>
              <a:ext uri="{FF2B5EF4-FFF2-40B4-BE49-F238E27FC236}">
                <a16:creationId xmlns:a16="http://schemas.microsoft.com/office/drawing/2014/main" id="{AAADFA2C-EADF-4BA3-A9E5-393B15409B69}"/>
              </a:ext>
            </a:extLst>
          </p:cNvPr>
          <p:cNvSpPr>
            <a:spLocks/>
          </p:cNvSpPr>
          <p:nvPr/>
        </p:nvSpPr>
        <p:spPr bwMode="gray">
          <a:xfrm>
            <a:off x="7481745" y="3419462"/>
            <a:ext cx="262578" cy="652754"/>
          </a:xfrm>
          <a:custGeom>
            <a:avLst/>
            <a:gdLst>
              <a:gd name="T0" fmla="*/ 68 w 124"/>
              <a:gd name="T1" fmla="*/ 74 h 297"/>
              <a:gd name="T2" fmla="*/ 67 w 124"/>
              <a:gd name="T3" fmla="*/ 60 h 297"/>
              <a:gd name="T4" fmla="*/ 76 w 124"/>
              <a:gd name="T5" fmla="*/ 41 h 297"/>
              <a:gd name="T6" fmla="*/ 70 w 124"/>
              <a:gd name="T7" fmla="*/ 16 h 297"/>
              <a:gd name="T8" fmla="*/ 52 w 124"/>
              <a:gd name="T9" fmla="*/ 0 h 297"/>
              <a:gd name="T10" fmla="*/ 48 w 124"/>
              <a:gd name="T11" fmla="*/ 14 h 297"/>
              <a:gd name="T12" fmla="*/ 49 w 124"/>
              <a:gd name="T13" fmla="*/ 23 h 297"/>
              <a:gd name="T14" fmla="*/ 25 w 124"/>
              <a:gd name="T15" fmla="*/ 35 h 297"/>
              <a:gd name="T16" fmla="*/ 25 w 124"/>
              <a:gd name="T17" fmla="*/ 56 h 297"/>
              <a:gd name="T18" fmla="*/ 10 w 124"/>
              <a:gd name="T19" fmla="*/ 75 h 297"/>
              <a:gd name="T20" fmla="*/ 8 w 124"/>
              <a:gd name="T21" fmla="*/ 106 h 297"/>
              <a:gd name="T22" fmla="*/ 4 w 124"/>
              <a:gd name="T23" fmla="*/ 116 h 297"/>
              <a:gd name="T24" fmla="*/ 10 w 124"/>
              <a:gd name="T25" fmla="*/ 134 h 297"/>
              <a:gd name="T26" fmla="*/ 13 w 124"/>
              <a:gd name="T27" fmla="*/ 131 h 297"/>
              <a:gd name="T28" fmla="*/ 17 w 124"/>
              <a:gd name="T29" fmla="*/ 141 h 297"/>
              <a:gd name="T30" fmla="*/ 28 w 124"/>
              <a:gd name="T31" fmla="*/ 147 h 297"/>
              <a:gd name="T32" fmla="*/ 28 w 124"/>
              <a:gd name="T33" fmla="*/ 155 h 297"/>
              <a:gd name="T34" fmla="*/ 35 w 124"/>
              <a:gd name="T35" fmla="*/ 162 h 297"/>
              <a:gd name="T36" fmla="*/ 40 w 124"/>
              <a:gd name="T37" fmla="*/ 189 h 297"/>
              <a:gd name="T38" fmla="*/ 44 w 124"/>
              <a:gd name="T39" fmla="*/ 194 h 297"/>
              <a:gd name="T40" fmla="*/ 48 w 124"/>
              <a:gd name="T41" fmla="*/ 206 h 297"/>
              <a:gd name="T42" fmla="*/ 55 w 124"/>
              <a:gd name="T43" fmla="*/ 203 h 297"/>
              <a:gd name="T44" fmla="*/ 65 w 124"/>
              <a:gd name="T45" fmla="*/ 197 h 297"/>
              <a:gd name="T46" fmla="*/ 70 w 124"/>
              <a:gd name="T47" fmla="*/ 195 h 297"/>
              <a:gd name="T48" fmla="*/ 79 w 124"/>
              <a:gd name="T49" fmla="*/ 189 h 297"/>
              <a:gd name="T50" fmla="*/ 92 w 124"/>
              <a:gd name="T51" fmla="*/ 218 h 297"/>
              <a:gd name="T52" fmla="*/ 98 w 124"/>
              <a:gd name="T53" fmla="*/ 236 h 297"/>
              <a:gd name="T54" fmla="*/ 107 w 124"/>
              <a:gd name="T55" fmla="*/ 260 h 297"/>
              <a:gd name="T56" fmla="*/ 109 w 124"/>
              <a:gd name="T57" fmla="*/ 285 h 297"/>
              <a:gd name="T58" fmla="*/ 112 w 124"/>
              <a:gd name="T59" fmla="*/ 293 h 297"/>
              <a:gd name="T60" fmla="*/ 121 w 124"/>
              <a:gd name="T61" fmla="*/ 273 h 297"/>
              <a:gd name="T62" fmla="*/ 114 w 124"/>
              <a:gd name="T63" fmla="*/ 243 h 297"/>
              <a:gd name="T64" fmla="*/ 100 w 124"/>
              <a:gd name="T65" fmla="*/ 224 h 297"/>
              <a:gd name="T66" fmla="*/ 101 w 124"/>
              <a:gd name="T67" fmla="*/ 207 h 297"/>
              <a:gd name="T68" fmla="*/ 101 w 124"/>
              <a:gd name="T69" fmla="*/ 196 h 297"/>
              <a:gd name="T70" fmla="*/ 78 w 124"/>
              <a:gd name="T71" fmla="*/ 161 h 297"/>
              <a:gd name="T72" fmla="*/ 84 w 124"/>
              <a:gd name="T73" fmla="*/ 144 h 297"/>
              <a:gd name="T74" fmla="*/ 104 w 124"/>
              <a:gd name="T75" fmla="*/ 135 h 297"/>
              <a:gd name="T76" fmla="*/ 116 w 124"/>
              <a:gd name="T77" fmla="*/ 124 h 297"/>
              <a:gd name="T78" fmla="*/ 119 w 124"/>
              <a:gd name="T79" fmla="*/ 111 h 297"/>
              <a:gd name="T80" fmla="*/ 102 w 124"/>
              <a:gd name="T81" fmla="*/ 105 h 297"/>
              <a:gd name="T82" fmla="*/ 96 w 124"/>
              <a:gd name="T83" fmla="*/ 89 h 297"/>
              <a:gd name="T84" fmla="*/ 84 w 124"/>
              <a:gd name="T85" fmla="*/ 74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24" h="297">
                <a:moveTo>
                  <a:pt x="83" y="72"/>
                </a:moveTo>
                <a:lnTo>
                  <a:pt x="68" y="74"/>
                </a:lnTo>
                <a:lnTo>
                  <a:pt x="67" y="66"/>
                </a:lnTo>
                <a:lnTo>
                  <a:pt x="67" y="60"/>
                </a:lnTo>
                <a:lnTo>
                  <a:pt x="73" y="50"/>
                </a:lnTo>
                <a:lnTo>
                  <a:pt x="76" y="41"/>
                </a:lnTo>
                <a:lnTo>
                  <a:pt x="72" y="29"/>
                </a:lnTo>
                <a:lnTo>
                  <a:pt x="70" y="16"/>
                </a:lnTo>
                <a:lnTo>
                  <a:pt x="64" y="12"/>
                </a:lnTo>
                <a:lnTo>
                  <a:pt x="52" y="0"/>
                </a:lnTo>
                <a:lnTo>
                  <a:pt x="50" y="6"/>
                </a:lnTo>
                <a:lnTo>
                  <a:pt x="48" y="14"/>
                </a:lnTo>
                <a:lnTo>
                  <a:pt x="47" y="18"/>
                </a:lnTo>
                <a:lnTo>
                  <a:pt x="49" y="23"/>
                </a:lnTo>
                <a:lnTo>
                  <a:pt x="40" y="21"/>
                </a:lnTo>
                <a:lnTo>
                  <a:pt x="25" y="35"/>
                </a:lnTo>
                <a:lnTo>
                  <a:pt x="25" y="48"/>
                </a:lnTo>
                <a:lnTo>
                  <a:pt x="25" y="56"/>
                </a:lnTo>
                <a:lnTo>
                  <a:pt x="18" y="75"/>
                </a:lnTo>
                <a:lnTo>
                  <a:pt x="10" y="75"/>
                </a:lnTo>
                <a:lnTo>
                  <a:pt x="8" y="89"/>
                </a:lnTo>
                <a:lnTo>
                  <a:pt x="8" y="106"/>
                </a:lnTo>
                <a:lnTo>
                  <a:pt x="4" y="106"/>
                </a:lnTo>
                <a:lnTo>
                  <a:pt x="4" y="116"/>
                </a:lnTo>
                <a:lnTo>
                  <a:pt x="0" y="119"/>
                </a:lnTo>
                <a:lnTo>
                  <a:pt x="10" y="134"/>
                </a:lnTo>
                <a:lnTo>
                  <a:pt x="10" y="135"/>
                </a:lnTo>
                <a:lnTo>
                  <a:pt x="13" y="131"/>
                </a:lnTo>
                <a:lnTo>
                  <a:pt x="16" y="141"/>
                </a:lnTo>
                <a:lnTo>
                  <a:pt x="17" y="141"/>
                </a:lnTo>
                <a:lnTo>
                  <a:pt x="23" y="141"/>
                </a:lnTo>
                <a:lnTo>
                  <a:pt x="28" y="147"/>
                </a:lnTo>
                <a:lnTo>
                  <a:pt x="24" y="149"/>
                </a:lnTo>
                <a:lnTo>
                  <a:pt x="28" y="155"/>
                </a:lnTo>
                <a:lnTo>
                  <a:pt x="30" y="149"/>
                </a:lnTo>
                <a:lnTo>
                  <a:pt x="35" y="162"/>
                </a:lnTo>
                <a:lnTo>
                  <a:pt x="40" y="174"/>
                </a:lnTo>
                <a:lnTo>
                  <a:pt x="40" y="189"/>
                </a:lnTo>
                <a:lnTo>
                  <a:pt x="38" y="202"/>
                </a:lnTo>
                <a:lnTo>
                  <a:pt x="44" y="194"/>
                </a:lnTo>
                <a:lnTo>
                  <a:pt x="47" y="203"/>
                </a:lnTo>
                <a:lnTo>
                  <a:pt x="48" y="206"/>
                </a:lnTo>
                <a:lnTo>
                  <a:pt x="52" y="204"/>
                </a:lnTo>
                <a:lnTo>
                  <a:pt x="55" y="203"/>
                </a:lnTo>
                <a:lnTo>
                  <a:pt x="55" y="204"/>
                </a:lnTo>
                <a:lnTo>
                  <a:pt x="65" y="197"/>
                </a:lnTo>
                <a:lnTo>
                  <a:pt x="66" y="192"/>
                </a:lnTo>
                <a:lnTo>
                  <a:pt x="70" y="195"/>
                </a:lnTo>
                <a:lnTo>
                  <a:pt x="74" y="182"/>
                </a:lnTo>
                <a:lnTo>
                  <a:pt x="79" y="189"/>
                </a:lnTo>
                <a:lnTo>
                  <a:pt x="86" y="195"/>
                </a:lnTo>
                <a:lnTo>
                  <a:pt x="92" y="218"/>
                </a:lnTo>
                <a:lnTo>
                  <a:pt x="98" y="240"/>
                </a:lnTo>
                <a:lnTo>
                  <a:pt x="98" y="236"/>
                </a:lnTo>
                <a:lnTo>
                  <a:pt x="103" y="248"/>
                </a:lnTo>
                <a:lnTo>
                  <a:pt x="107" y="260"/>
                </a:lnTo>
                <a:lnTo>
                  <a:pt x="109" y="272"/>
                </a:lnTo>
                <a:lnTo>
                  <a:pt x="109" y="285"/>
                </a:lnTo>
                <a:lnTo>
                  <a:pt x="109" y="297"/>
                </a:lnTo>
                <a:lnTo>
                  <a:pt x="112" y="293"/>
                </a:lnTo>
                <a:lnTo>
                  <a:pt x="116" y="284"/>
                </a:lnTo>
                <a:lnTo>
                  <a:pt x="121" y="273"/>
                </a:lnTo>
                <a:lnTo>
                  <a:pt x="118" y="257"/>
                </a:lnTo>
                <a:lnTo>
                  <a:pt x="114" y="243"/>
                </a:lnTo>
                <a:lnTo>
                  <a:pt x="107" y="233"/>
                </a:lnTo>
                <a:lnTo>
                  <a:pt x="100" y="224"/>
                </a:lnTo>
                <a:lnTo>
                  <a:pt x="100" y="214"/>
                </a:lnTo>
                <a:lnTo>
                  <a:pt x="101" y="207"/>
                </a:lnTo>
                <a:lnTo>
                  <a:pt x="104" y="197"/>
                </a:lnTo>
                <a:lnTo>
                  <a:pt x="101" y="196"/>
                </a:lnTo>
                <a:lnTo>
                  <a:pt x="89" y="179"/>
                </a:lnTo>
                <a:lnTo>
                  <a:pt x="78" y="161"/>
                </a:lnTo>
                <a:lnTo>
                  <a:pt x="82" y="162"/>
                </a:lnTo>
                <a:lnTo>
                  <a:pt x="84" y="144"/>
                </a:lnTo>
                <a:lnTo>
                  <a:pt x="98" y="142"/>
                </a:lnTo>
                <a:lnTo>
                  <a:pt x="104" y="135"/>
                </a:lnTo>
                <a:lnTo>
                  <a:pt x="112" y="132"/>
                </a:lnTo>
                <a:lnTo>
                  <a:pt x="116" y="124"/>
                </a:lnTo>
                <a:lnTo>
                  <a:pt x="124" y="113"/>
                </a:lnTo>
                <a:lnTo>
                  <a:pt x="119" y="111"/>
                </a:lnTo>
                <a:lnTo>
                  <a:pt x="109" y="114"/>
                </a:lnTo>
                <a:lnTo>
                  <a:pt x="102" y="105"/>
                </a:lnTo>
                <a:lnTo>
                  <a:pt x="95" y="102"/>
                </a:lnTo>
                <a:lnTo>
                  <a:pt x="96" y="89"/>
                </a:lnTo>
                <a:lnTo>
                  <a:pt x="88" y="84"/>
                </a:lnTo>
                <a:lnTo>
                  <a:pt x="84" y="74"/>
                </a:lnTo>
                <a:lnTo>
                  <a:pt x="83" y="72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9" name="Freeform 63">
            <a:extLst>
              <a:ext uri="{FF2B5EF4-FFF2-40B4-BE49-F238E27FC236}">
                <a16:creationId xmlns:a16="http://schemas.microsoft.com/office/drawing/2014/main" id="{2F510542-4661-4260-82C7-70DBDEADEA1E}"/>
              </a:ext>
            </a:extLst>
          </p:cNvPr>
          <p:cNvSpPr>
            <a:spLocks/>
          </p:cNvSpPr>
          <p:nvPr/>
        </p:nvSpPr>
        <p:spPr bwMode="gray">
          <a:xfrm>
            <a:off x="8328459" y="3772623"/>
            <a:ext cx="140802" cy="216262"/>
          </a:xfrm>
          <a:custGeom>
            <a:avLst/>
            <a:gdLst>
              <a:gd name="T0" fmla="*/ 12 w 67"/>
              <a:gd name="T1" fmla="*/ 61 h 97"/>
              <a:gd name="T2" fmla="*/ 12 w 67"/>
              <a:gd name="T3" fmla="*/ 68 h 97"/>
              <a:gd name="T4" fmla="*/ 1 w 67"/>
              <a:gd name="T5" fmla="*/ 52 h 97"/>
              <a:gd name="T6" fmla="*/ 0 w 67"/>
              <a:gd name="T7" fmla="*/ 38 h 97"/>
              <a:gd name="T8" fmla="*/ 7 w 67"/>
              <a:gd name="T9" fmla="*/ 41 h 97"/>
              <a:gd name="T10" fmla="*/ 4 w 67"/>
              <a:gd name="T11" fmla="*/ 24 h 97"/>
              <a:gd name="T12" fmla="*/ 2 w 67"/>
              <a:gd name="T13" fmla="*/ 7 h 97"/>
              <a:gd name="T14" fmla="*/ 6 w 67"/>
              <a:gd name="T15" fmla="*/ 0 h 97"/>
              <a:gd name="T16" fmla="*/ 25 w 67"/>
              <a:gd name="T17" fmla="*/ 4 h 97"/>
              <a:gd name="T18" fmla="*/ 27 w 67"/>
              <a:gd name="T19" fmla="*/ 7 h 97"/>
              <a:gd name="T20" fmla="*/ 31 w 67"/>
              <a:gd name="T21" fmla="*/ 20 h 97"/>
              <a:gd name="T22" fmla="*/ 33 w 67"/>
              <a:gd name="T23" fmla="*/ 30 h 97"/>
              <a:gd name="T24" fmla="*/ 30 w 67"/>
              <a:gd name="T25" fmla="*/ 41 h 97"/>
              <a:gd name="T26" fmla="*/ 24 w 67"/>
              <a:gd name="T27" fmla="*/ 47 h 97"/>
              <a:gd name="T28" fmla="*/ 25 w 67"/>
              <a:gd name="T29" fmla="*/ 58 h 97"/>
              <a:gd name="T30" fmla="*/ 33 w 67"/>
              <a:gd name="T31" fmla="*/ 76 h 97"/>
              <a:gd name="T32" fmla="*/ 38 w 67"/>
              <a:gd name="T33" fmla="*/ 74 h 97"/>
              <a:gd name="T34" fmla="*/ 38 w 67"/>
              <a:gd name="T35" fmla="*/ 73 h 97"/>
              <a:gd name="T36" fmla="*/ 45 w 67"/>
              <a:gd name="T37" fmla="*/ 71 h 97"/>
              <a:gd name="T38" fmla="*/ 52 w 67"/>
              <a:gd name="T39" fmla="*/ 79 h 97"/>
              <a:gd name="T40" fmla="*/ 54 w 67"/>
              <a:gd name="T41" fmla="*/ 76 h 97"/>
              <a:gd name="T42" fmla="*/ 60 w 67"/>
              <a:gd name="T43" fmla="*/ 80 h 97"/>
              <a:gd name="T44" fmla="*/ 57 w 67"/>
              <a:gd name="T45" fmla="*/ 82 h 97"/>
              <a:gd name="T46" fmla="*/ 63 w 67"/>
              <a:gd name="T47" fmla="*/ 89 h 97"/>
              <a:gd name="T48" fmla="*/ 67 w 67"/>
              <a:gd name="T49" fmla="*/ 91 h 97"/>
              <a:gd name="T50" fmla="*/ 63 w 67"/>
              <a:gd name="T51" fmla="*/ 97 h 97"/>
              <a:gd name="T52" fmla="*/ 63 w 67"/>
              <a:gd name="T53" fmla="*/ 94 h 97"/>
              <a:gd name="T54" fmla="*/ 54 w 67"/>
              <a:gd name="T55" fmla="*/ 88 h 97"/>
              <a:gd name="T56" fmla="*/ 46 w 67"/>
              <a:gd name="T57" fmla="*/ 80 h 97"/>
              <a:gd name="T58" fmla="*/ 42 w 67"/>
              <a:gd name="T59" fmla="*/ 78 h 97"/>
              <a:gd name="T60" fmla="*/ 44 w 67"/>
              <a:gd name="T61" fmla="*/ 89 h 97"/>
              <a:gd name="T62" fmla="*/ 30 w 67"/>
              <a:gd name="T63" fmla="*/ 76 h 97"/>
              <a:gd name="T64" fmla="*/ 21 w 67"/>
              <a:gd name="T65" fmla="*/ 80 h 97"/>
              <a:gd name="T66" fmla="*/ 15 w 67"/>
              <a:gd name="T67" fmla="*/ 77 h 97"/>
              <a:gd name="T68" fmla="*/ 15 w 67"/>
              <a:gd name="T69" fmla="*/ 71 h 97"/>
              <a:gd name="T70" fmla="*/ 16 w 67"/>
              <a:gd name="T71" fmla="*/ 64 h 97"/>
              <a:gd name="T72" fmla="*/ 12 w 67"/>
              <a:gd name="T73" fmla="*/ 61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7" h="97">
                <a:moveTo>
                  <a:pt x="12" y="61"/>
                </a:moveTo>
                <a:lnTo>
                  <a:pt x="12" y="68"/>
                </a:lnTo>
                <a:lnTo>
                  <a:pt x="1" y="52"/>
                </a:lnTo>
                <a:lnTo>
                  <a:pt x="0" y="38"/>
                </a:lnTo>
                <a:lnTo>
                  <a:pt x="7" y="41"/>
                </a:lnTo>
                <a:lnTo>
                  <a:pt x="4" y="24"/>
                </a:lnTo>
                <a:lnTo>
                  <a:pt x="2" y="7"/>
                </a:lnTo>
                <a:lnTo>
                  <a:pt x="6" y="0"/>
                </a:lnTo>
                <a:lnTo>
                  <a:pt x="25" y="4"/>
                </a:lnTo>
                <a:lnTo>
                  <a:pt x="27" y="7"/>
                </a:lnTo>
                <a:lnTo>
                  <a:pt x="31" y="20"/>
                </a:lnTo>
                <a:lnTo>
                  <a:pt x="33" y="30"/>
                </a:lnTo>
                <a:lnTo>
                  <a:pt x="30" y="41"/>
                </a:lnTo>
                <a:lnTo>
                  <a:pt x="24" y="47"/>
                </a:lnTo>
                <a:lnTo>
                  <a:pt x="25" y="58"/>
                </a:lnTo>
                <a:lnTo>
                  <a:pt x="33" y="76"/>
                </a:lnTo>
                <a:lnTo>
                  <a:pt x="38" y="74"/>
                </a:lnTo>
                <a:lnTo>
                  <a:pt x="38" y="73"/>
                </a:lnTo>
                <a:lnTo>
                  <a:pt x="45" y="71"/>
                </a:lnTo>
                <a:lnTo>
                  <a:pt x="52" y="79"/>
                </a:lnTo>
                <a:lnTo>
                  <a:pt x="54" y="76"/>
                </a:lnTo>
                <a:lnTo>
                  <a:pt x="60" y="80"/>
                </a:lnTo>
                <a:lnTo>
                  <a:pt x="57" y="82"/>
                </a:lnTo>
                <a:lnTo>
                  <a:pt x="63" y="89"/>
                </a:lnTo>
                <a:lnTo>
                  <a:pt x="67" y="91"/>
                </a:lnTo>
                <a:lnTo>
                  <a:pt x="63" y="97"/>
                </a:lnTo>
                <a:lnTo>
                  <a:pt x="63" y="94"/>
                </a:lnTo>
                <a:lnTo>
                  <a:pt x="54" y="88"/>
                </a:lnTo>
                <a:lnTo>
                  <a:pt x="46" y="80"/>
                </a:lnTo>
                <a:lnTo>
                  <a:pt x="42" y="78"/>
                </a:lnTo>
                <a:lnTo>
                  <a:pt x="44" y="89"/>
                </a:lnTo>
                <a:lnTo>
                  <a:pt x="30" y="76"/>
                </a:lnTo>
                <a:lnTo>
                  <a:pt x="21" y="80"/>
                </a:lnTo>
                <a:lnTo>
                  <a:pt x="15" y="77"/>
                </a:lnTo>
                <a:lnTo>
                  <a:pt x="15" y="71"/>
                </a:lnTo>
                <a:lnTo>
                  <a:pt x="16" y="64"/>
                </a:lnTo>
                <a:lnTo>
                  <a:pt x="12" y="61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0" name="Freeform 64">
            <a:extLst>
              <a:ext uri="{FF2B5EF4-FFF2-40B4-BE49-F238E27FC236}">
                <a16:creationId xmlns:a16="http://schemas.microsoft.com/office/drawing/2014/main" id="{70C3E964-DB3D-4833-9254-FCCDC3A60AFD}"/>
              </a:ext>
            </a:extLst>
          </p:cNvPr>
          <p:cNvSpPr>
            <a:spLocks/>
          </p:cNvSpPr>
          <p:nvPr/>
        </p:nvSpPr>
        <p:spPr bwMode="gray">
          <a:xfrm>
            <a:off x="8421692" y="4090072"/>
            <a:ext cx="140802" cy="144836"/>
          </a:xfrm>
          <a:custGeom>
            <a:avLst/>
            <a:gdLst>
              <a:gd name="T0" fmla="*/ 50 w 66"/>
              <a:gd name="T1" fmla="*/ 66 h 66"/>
              <a:gd name="T2" fmla="*/ 48 w 66"/>
              <a:gd name="T3" fmla="*/ 60 h 66"/>
              <a:gd name="T4" fmla="*/ 46 w 66"/>
              <a:gd name="T5" fmla="*/ 61 h 66"/>
              <a:gd name="T6" fmla="*/ 30 w 66"/>
              <a:gd name="T7" fmla="*/ 53 h 66"/>
              <a:gd name="T8" fmla="*/ 31 w 66"/>
              <a:gd name="T9" fmla="*/ 38 h 66"/>
              <a:gd name="T10" fmla="*/ 24 w 66"/>
              <a:gd name="T11" fmla="*/ 30 h 66"/>
              <a:gd name="T12" fmla="*/ 19 w 66"/>
              <a:gd name="T13" fmla="*/ 35 h 66"/>
              <a:gd name="T14" fmla="*/ 17 w 66"/>
              <a:gd name="T15" fmla="*/ 34 h 66"/>
              <a:gd name="T16" fmla="*/ 14 w 66"/>
              <a:gd name="T17" fmla="*/ 36 h 66"/>
              <a:gd name="T18" fmla="*/ 10 w 66"/>
              <a:gd name="T19" fmla="*/ 31 h 66"/>
              <a:gd name="T20" fmla="*/ 4 w 66"/>
              <a:gd name="T21" fmla="*/ 41 h 66"/>
              <a:gd name="T22" fmla="*/ 0 w 66"/>
              <a:gd name="T23" fmla="*/ 44 h 66"/>
              <a:gd name="T24" fmla="*/ 1 w 66"/>
              <a:gd name="T25" fmla="*/ 32 h 66"/>
              <a:gd name="T26" fmla="*/ 13 w 66"/>
              <a:gd name="T27" fmla="*/ 23 h 66"/>
              <a:gd name="T28" fmla="*/ 22 w 66"/>
              <a:gd name="T29" fmla="*/ 17 h 66"/>
              <a:gd name="T30" fmla="*/ 25 w 66"/>
              <a:gd name="T31" fmla="*/ 26 h 66"/>
              <a:gd name="T32" fmla="*/ 31 w 66"/>
              <a:gd name="T33" fmla="*/ 23 h 66"/>
              <a:gd name="T34" fmla="*/ 36 w 66"/>
              <a:gd name="T35" fmla="*/ 19 h 66"/>
              <a:gd name="T36" fmla="*/ 37 w 66"/>
              <a:gd name="T37" fmla="*/ 12 h 66"/>
              <a:gd name="T38" fmla="*/ 43 w 66"/>
              <a:gd name="T39" fmla="*/ 12 h 66"/>
              <a:gd name="T40" fmla="*/ 47 w 66"/>
              <a:gd name="T41" fmla="*/ 12 h 66"/>
              <a:gd name="T42" fmla="*/ 46 w 66"/>
              <a:gd name="T43" fmla="*/ 0 h 66"/>
              <a:gd name="T44" fmla="*/ 56 w 66"/>
              <a:gd name="T45" fmla="*/ 7 h 66"/>
              <a:gd name="T46" fmla="*/ 59 w 66"/>
              <a:gd name="T47" fmla="*/ 19 h 66"/>
              <a:gd name="T48" fmla="*/ 66 w 66"/>
              <a:gd name="T49" fmla="*/ 40 h 66"/>
              <a:gd name="T50" fmla="*/ 61 w 66"/>
              <a:gd name="T51" fmla="*/ 47 h 66"/>
              <a:gd name="T52" fmla="*/ 61 w 66"/>
              <a:gd name="T53" fmla="*/ 53 h 66"/>
              <a:gd name="T54" fmla="*/ 55 w 66"/>
              <a:gd name="T55" fmla="*/ 40 h 66"/>
              <a:gd name="T56" fmla="*/ 50 w 66"/>
              <a:gd name="T57" fmla="*/ 43 h 66"/>
              <a:gd name="T58" fmla="*/ 53 w 66"/>
              <a:gd name="T59" fmla="*/ 54 h 66"/>
              <a:gd name="T60" fmla="*/ 50 w 66"/>
              <a:gd name="T61" fmla="*/ 66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66" h="66">
                <a:moveTo>
                  <a:pt x="50" y="66"/>
                </a:moveTo>
                <a:lnTo>
                  <a:pt x="48" y="60"/>
                </a:lnTo>
                <a:lnTo>
                  <a:pt x="46" y="61"/>
                </a:lnTo>
                <a:lnTo>
                  <a:pt x="30" y="53"/>
                </a:lnTo>
                <a:lnTo>
                  <a:pt x="31" y="38"/>
                </a:lnTo>
                <a:lnTo>
                  <a:pt x="24" y="30"/>
                </a:lnTo>
                <a:lnTo>
                  <a:pt x="19" y="35"/>
                </a:lnTo>
                <a:lnTo>
                  <a:pt x="17" y="34"/>
                </a:lnTo>
                <a:lnTo>
                  <a:pt x="14" y="36"/>
                </a:lnTo>
                <a:lnTo>
                  <a:pt x="10" y="31"/>
                </a:lnTo>
                <a:lnTo>
                  <a:pt x="4" y="41"/>
                </a:lnTo>
                <a:lnTo>
                  <a:pt x="0" y="44"/>
                </a:lnTo>
                <a:lnTo>
                  <a:pt x="1" y="32"/>
                </a:lnTo>
                <a:lnTo>
                  <a:pt x="13" y="23"/>
                </a:lnTo>
                <a:lnTo>
                  <a:pt x="22" y="17"/>
                </a:lnTo>
                <a:lnTo>
                  <a:pt x="25" y="26"/>
                </a:lnTo>
                <a:lnTo>
                  <a:pt x="31" y="23"/>
                </a:lnTo>
                <a:lnTo>
                  <a:pt x="36" y="19"/>
                </a:lnTo>
                <a:lnTo>
                  <a:pt x="37" y="12"/>
                </a:lnTo>
                <a:lnTo>
                  <a:pt x="43" y="12"/>
                </a:lnTo>
                <a:lnTo>
                  <a:pt x="47" y="12"/>
                </a:lnTo>
                <a:lnTo>
                  <a:pt x="46" y="0"/>
                </a:lnTo>
                <a:lnTo>
                  <a:pt x="56" y="7"/>
                </a:lnTo>
                <a:lnTo>
                  <a:pt x="59" y="19"/>
                </a:lnTo>
                <a:lnTo>
                  <a:pt x="66" y="40"/>
                </a:lnTo>
                <a:lnTo>
                  <a:pt x="61" y="47"/>
                </a:lnTo>
                <a:lnTo>
                  <a:pt x="61" y="53"/>
                </a:lnTo>
                <a:lnTo>
                  <a:pt x="55" y="40"/>
                </a:lnTo>
                <a:lnTo>
                  <a:pt x="50" y="43"/>
                </a:lnTo>
                <a:lnTo>
                  <a:pt x="53" y="54"/>
                </a:lnTo>
                <a:lnTo>
                  <a:pt x="50" y="66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1" name="Freeform 65">
            <a:extLst>
              <a:ext uri="{FF2B5EF4-FFF2-40B4-BE49-F238E27FC236}">
                <a16:creationId xmlns:a16="http://schemas.microsoft.com/office/drawing/2014/main" id="{85154938-ACBE-4C13-BE5F-1D043B4776A0}"/>
              </a:ext>
            </a:extLst>
          </p:cNvPr>
          <p:cNvSpPr>
            <a:spLocks/>
          </p:cNvSpPr>
          <p:nvPr/>
        </p:nvSpPr>
        <p:spPr bwMode="gray">
          <a:xfrm>
            <a:off x="8431206" y="4050391"/>
            <a:ext cx="28540" cy="61504"/>
          </a:xfrm>
          <a:custGeom>
            <a:avLst/>
            <a:gdLst>
              <a:gd name="T0" fmla="*/ 14 w 14"/>
              <a:gd name="T1" fmla="*/ 0 h 28"/>
              <a:gd name="T2" fmla="*/ 10 w 14"/>
              <a:gd name="T3" fmla="*/ 20 h 28"/>
              <a:gd name="T4" fmla="*/ 10 w 14"/>
              <a:gd name="T5" fmla="*/ 28 h 28"/>
              <a:gd name="T6" fmla="*/ 0 w 14"/>
              <a:gd name="T7" fmla="*/ 18 h 28"/>
              <a:gd name="T8" fmla="*/ 3 w 14"/>
              <a:gd name="T9" fmla="*/ 13 h 28"/>
              <a:gd name="T10" fmla="*/ 6 w 14"/>
              <a:gd name="T11" fmla="*/ 0 h 28"/>
              <a:gd name="T12" fmla="*/ 14 w 14"/>
              <a:gd name="T13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" h="28">
                <a:moveTo>
                  <a:pt x="14" y="0"/>
                </a:moveTo>
                <a:lnTo>
                  <a:pt x="10" y="20"/>
                </a:lnTo>
                <a:lnTo>
                  <a:pt x="10" y="28"/>
                </a:lnTo>
                <a:lnTo>
                  <a:pt x="0" y="18"/>
                </a:lnTo>
                <a:lnTo>
                  <a:pt x="3" y="13"/>
                </a:lnTo>
                <a:lnTo>
                  <a:pt x="6" y="0"/>
                </a:lnTo>
                <a:lnTo>
                  <a:pt x="14" y="0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2" name="Freeform 66">
            <a:extLst>
              <a:ext uri="{FF2B5EF4-FFF2-40B4-BE49-F238E27FC236}">
                <a16:creationId xmlns:a16="http://schemas.microsoft.com/office/drawing/2014/main" id="{7077B63F-5012-4AFF-9C5D-EC5908524B2C}"/>
              </a:ext>
            </a:extLst>
          </p:cNvPr>
          <p:cNvSpPr>
            <a:spLocks/>
          </p:cNvSpPr>
          <p:nvPr/>
        </p:nvSpPr>
        <p:spPr bwMode="gray">
          <a:xfrm>
            <a:off x="8476873" y="3988886"/>
            <a:ext cx="51374" cy="51585"/>
          </a:xfrm>
          <a:custGeom>
            <a:avLst/>
            <a:gdLst>
              <a:gd name="T0" fmla="*/ 18 w 24"/>
              <a:gd name="T1" fmla="*/ 23 h 24"/>
              <a:gd name="T2" fmla="*/ 11 w 24"/>
              <a:gd name="T3" fmla="*/ 16 h 24"/>
              <a:gd name="T4" fmla="*/ 0 w 24"/>
              <a:gd name="T5" fmla="*/ 2 h 24"/>
              <a:gd name="T6" fmla="*/ 12 w 24"/>
              <a:gd name="T7" fmla="*/ 0 h 24"/>
              <a:gd name="T8" fmla="*/ 17 w 24"/>
              <a:gd name="T9" fmla="*/ 10 h 24"/>
              <a:gd name="T10" fmla="*/ 24 w 24"/>
              <a:gd name="T11" fmla="*/ 24 h 24"/>
              <a:gd name="T12" fmla="*/ 18 w 24"/>
              <a:gd name="T13" fmla="*/ 23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" h="24">
                <a:moveTo>
                  <a:pt x="18" y="23"/>
                </a:moveTo>
                <a:lnTo>
                  <a:pt x="11" y="16"/>
                </a:lnTo>
                <a:lnTo>
                  <a:pt x="0" y="2"/>
                </a:lnTo>
                <a:lnTo>
                  <a:pt x="12" y="0"/>
                </a:lnTo>
                <a:lnTo>
                  <a:pt x="17" y="10"/>
                </a:lnTo>
                <a:lnTo>
                  <a:pt x="24" y="24"/>
                </a:lnTo>
                <a:lnTo>
                  <a:pt x="18" y="23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3" name="Freeform 67">
            <a:extLst>
              <a:ext uri="{FF2B5EF4-FFF2-40B4-BE49-F238E27FC236}">
                <a16:creationId xmlns:a16="http://schemas.microsoft.com/office/drawing/2014/main" id="{54172748-64DA-443E-923D-88128D8AC745}"/>
              </a:ext>
            </a:extLst>
          </p:cNvPr>
          <p:cNvSpPr>
            <a:spLocks/>
          </p:cNvSpPr>
          <p:nvPr/>
        </p:nvSpPr>
        <p:spPr bwMode="gray">
          <a:xfrm>
            <a:off x="8404567" y="4014679"/>
            <a:ext cx="39958" cy="43648"/>
          </a:xfrm>
          <a:custGeom>
            <a:avLst/>
            <a:gdLst>
              <a:gd name="T0" fmla="*/ 17 w 18"/>
              <a:gd name="T1" fmla="*/ 4 h 21"/>
              <a:gd name="T2" fmla="*/ 2 w 18"/>
              <a:gd name="T3" fmla="*/ 0 h 21"/>
              <a:gd name="T4" fmla="*/ 0 w 18"/>
              <a:gd name="T5" fmla="*/ 0 h 21"/>
              <a:gd name="T6" fmla="*/ 5 w 18"/>
              <a:gd name="T7" fmla="*/ 21 h 21"/>
              <a:gd name="T8" fmla="*/ 18 w 18"/>
              <a:gd name="T9" fmla="*/ 8 h 21"/>
              <a:gd name="T10" fmla="*/ 18 w 18"/>
              <a:gd name="T11" fmla="*/ 6 h 21"/>
              <a:gd name="T12" fmla="*/ 17 w 18"/>
              <a:gd name="T13" fmla="*/ 4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21">
                <a:moveTo>
                  <a:pt x="17" y="4"/>
                </a:moveTo>
                <a:lnTo>
                  <a:pt x="2" y="0"/>
                </a:lnTo>
                <a:lnTo>
                  <a:pt x="0" y="0"/>
                </a:lnTo>
                <a:lnTo>
                  <a:pt x="5" y="21"/>
                </a:lnTo>
                <a:lnTo>
                  <a:pt x="18" y="8"/>
                </a:lnTo>
                <a:lnTo>
                  <a:pt x="18" y="6"/>
                </a:lnTo>
                <a:lnTo>
                  <a:pt x="17" y="4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4" name="Freeform 68">
            <a:extLst>
              <a:ext uri="{FF2B5EF4-FFF2-40B4-BE49-F238E27FC236}">
                <a16:creationId xmlns:a16="http://schemas.microsoft.com/office/drawing/2014/main" id="{4148159A-B8E9-45C1-A726-7A5ED61D6BC4}"/>
              </a:ext>
            </a:extLst>
          </p:cNvPr>
          <p:cNvSpPr>
            <a:spLocks/>
          </p:cNvSpPr>
          <p:nvPr/>
        </p:nvSpPr>
        <p:spPr bwMode="gray">
          <a:xfrm>
            <a:off x="8278988" y="4032535"/>
            <a:ext cx="66595" cy="101187"/>
          </a:xfrm>
          <a:custGeom>
            <a:avLst/>
            <a:gdLst>
              <a:gd name="T0" fmla="*/ 32 w 32"/>
              <a:gd name="T1" fmla="*/ 12 h 45"/>
              <a:gd name="T2" fmla="*/ 19 w 32"/>
              <a:gd name="T3" fmla="*/ 25 h 45"/>
              <a:gd name="T4" fmla="*/ 9 w 32"/>
              <a:gd name="T5" fmla="*/ 35 h 45"/>
              <a:gd name="T6" fmla="*/ 0 w 32"/>
              <a:gd name="T7" fmla="*/ 45 h 45"/>
              <a:gd name="T8" fmla="*/ 1 w 32"/>
              <a:gd name="T9" fmla="*/ 42 h 45"/>
              <a:gd name="T10" fmla="*/ 10 w 32"/>
              <a:gd name="T11" fmla="*/ 30 h 45"/>
              <a:gd name="T12" fmla="*/ 20 w 32"/>
              <a:gd name="T13" fmla="*/ 17 h 45"/>
              <a:gd name="T14" fmla="*/ 25 w 32"/>
              <a:gd name="T15" fmla="*/ 7 h 45"/>
              <a:gd name="T16" fmla="*/ 26 w 32"/>
              <a:gd name="T17" fmla="*/ 7 h 45"/>
              <a:gd name="T18" fmla="*/ 26 w 32"/>
              <a:gd name="T19" fmla="*/ 0 h 45"/>
              <a:gd name="T20" fmla="*/ 32 w 32"/>
              <a:gd name="T21" fmla="*/ 12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2" h="45">
                <a:moveTo>
                  <a:pt x="32" y="12"/>
                </a:moveTo>
                <a:lnTo>
                  <a:pt x="19" y="25"/>
                </a:lnTo>
                <a:lnTo>
                  <a:pt x="9" y="35"/>
                </a:lnTo>
                <a:lnTo>
                  <a:pt x="0" y="45"/>
                </a:lnTo>
                <a:lnTo>
                  <a:pt x="1" y="42"/>
                </a:lnTo>
                <a:lnTo>
                  <a:pt x="10" y="30"/>
                </a:lnTo>
                <a:lnTo>
                  <a:pt x="20" y="17"/>
                </a:lnTo>
                <a:lnTo>
                  <a:pt x="25" y="7"/>
                </a:lnTo>
                <a:lnTo>
                  <a:pt x="26" y="7"/>
                </a:lnTo>
                <a:lnTo>
                  <a:pt x="26" y="0"/>
                </a:lnTo>
                <a:lnTo>
                  <a:pt x="32" y="12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5" name="Freeform 69">
            <a:extLst>
              <a:ext uri="{FF2B5EF4-FFF2-40B4-BE49-F238E27FC236}">
                <a16:creationId xmlns:a16="http://schemas.microsoft.com/office/drawing/2014/main" id="{52096262-3EFC-49B4-82A4-4BB20DCA2D37}"/>
              </a:ext>
            </a:extLst>
          </p:cNvPr>
          <p:cNvSpPr>
            <a:spLocks/>
          </p:cNvSpPr>
          <p:nvPr/>
        </p:nvSpPr>
        <p:spPr bwMode="gray">
          <a:xfrm>
            <a:off x="8351292" y="3957142"/>
            <a:ext cx="41860" cy="39681"/>
          </a:xfrm>
          <a:custGeom>
            <a:avLst/>
            <a:gdLst>
              <a:gd name="T0" fmla="*/ 20 w 20"/>
              <a:gd name="T1" fmla="*/ 13 h 18"/>
              <a:gd name="T2" fmla="*/ 17 w 20"/>
              <a:gd name="T3" fmla="*/ 18 h 18"/>
              <a:gd name="T4" fmla="*/ 9 w 20"/>
              <a:gd name="T5" fmla="*/ 10 h 18"/>
              <a:gd name="T6" fmla="*/ 0 w 20"/>
              <a:gd name="T7" fmla="*/ 0 h 18"/>
              <a:gd name="T8" fmla="*/ 16 w 20"/>
              <a:gd name="T9" fmla="*/ 2 h 18"/>
              <a:gd name="T10" fmla="*/ 20 w 20"/>
              <a:gd name="T11" fmla="*/ 13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" h="18">
                <a:moveTo>
                  <a:pt x="20" y="13"/>
                </a:moveTo>
                <a:lnTo>
                  <a:pt x="17" y="18"/>
                </a:lnTo>
                <a:lnTo>
                  <a:pt x="9" y="10"/>
                </a:lnTo>
                <a:lnTo>
                  <a:pt x="0" y="0"/>
                </a:lnTo>
                <a:lnTo>
                  <a:pt x="16" y="2"/>
                </a:lnTo>
                <a:lnTo>
                  <a:pt x="20" y="13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6" name="Freeform 70">
            <a:extLst>
              <a:ext uri="{FF2B5EF4-FFF2-40B4-BE49-F238E27FC236}">
                <a16:creationId xmlns:a16="http://schemas.microsoft.com/office/drawing/2014/main" id="{481F2C38-3407-45E5-8F3D-1EC450A73C47}"/>
              </a:ext>
            </a:extLst>
          </p:cNvPr>
          <p:cNvSpPr>
            <a:spLocks/>
          </p:cNvSpPr>
          <p:nvPr/>
        </p:nvSpPr>
        <p:spPr bwMode="gray">
          <a:xfrm>
            <a:off x="8482580" y="4028565"/>
            <a:ext cx="32347" cy="47618"/>
          </a:xfrm>
          <a:custGeom>
            <a:avLst/>
            <a:gdLst>
              <a:gd name="T0" fmla="*/ 8 w 14"/>
              <a:gd name="T1" fmla="*/ 4 h 23"/>
              <a:gd name="T2" fmla="*/ 14 w 14"/>
              <a:gd name="T3" fmla="*/ 19 h 23"/>
              <a:gd name="T4" fmla="*/ 11 w 14"/>
              <a:gd name="T5" fmla="*/ 21 h 23"/>
              <a:gd name="T6" fmla="*/ 9 w 14"/>
              <a:gd name="T7" fmla="*/ 23 h 23"/>
              <a:gd name="T8" fmla="*/ 2 w 14"/>
              <a:gd name="T9" fmla="*/ 10 h 23"/>
              <a:gd name="T10" fmla="*/ 0 w 14"/>
              <a:gd name="T11" fmla="*/ 0 h 23"/>
              <a:gd name="T12" fmla="*/ 8 w 14"/>
              <a:gd name="T13" fmla="*/ 4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" h="23">
                <a:moveTo>
                  <a:pt x="8" y="4"/>
                </a:moveTo>
                <a:lnTo>
                  <a:pt x="14" y="19"/>
                </a:lnTo>
                <a:lnTo>
                  <a:pt x="11" y="21"/>
                </a:lnTo>
                <a:lnTo>
                  <a:pt x="9" y="23"/>
                </a:lnTo>
                <a:lnTo>
                  <a:pt x="2" y="10"/>
                </a:lnTo>
                <a:lnTo>
                  <a:pt x="0" y="0"/>
                </a:lnTo>
                <a:lnTo>
                  <a:pt x="8" y="4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7" name="Freeform 71">
            <a:extLst>
              <a:ext uri="{FF2B5EF4-FFF2-40B4-BE49-F238E27FC236}">
                <a16:creationId xmlns:a16="http://schemas.microsoft.com/office/drawing/2014/main" id="{35DB0B77-7E18-4715-86AA-A82499A6DB73}"/>
              </a:ext>
            </a:extLst>
          </p:cNvPr>
          <p:cNvSpPr>
            <a:spLocks/>
          </p:cNvSpPr>
          <p:nvPr/>
        </p:nvSpPr>
        <p:spPr bwMode="gray">
          <a:xfrm>
            <a:off x="8444525" y="3992853"/>
            <a:ext cx="24735" cy="25793"/>
          </a:xfrm>
          <a:custGeom>
            <a:avLst/>
            <a:gdLst>
              <a:gd name="T0" fmla="*/ 13 w 13"/>
              <a:gd name="T1" fmla="*/ 12 h 12"/>
              <a:gd name="T2" fmla="*/ 2 w 13"/>
              <a:gd name="T3" fmla="*/ 6 h 12"/>
              <a:gd name="T4" fmla="*/ 0 w 13"/>
              <a:gd name="T5" fmla="*/ 7 h 12"/>
              <a:gd name="T6" fmla="*/ 1 w 13"/>
              <a:gd name="T7" fmla="*/ 0 h 12"/>
              <a:gd name="T8" fmla="*/ 13 w 13"/>
              <a:gd name="T9" fmla="*/ 9 h 12"/>
              <a:gd name="T10" fmla="*/ 13 w 13"/>
              <a:gd name="T11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" h="12">
                <a:moveTo>
                  <a:pt x="13" y="12"/>
                </a:moveTo>
                <a:lnTo>
                  <a:pt x="2" y="6"/>
                </a:lnTo>
                <a:lnTo>
                  <a:pt x="0" y="7"/>
                </a:lnTo>
                <a:lnTo>
                  <a:pt x="1" y="0"/>
                </a:lnTo>
                <a:lnTo>
                  <a:pt x="13" y="9"/>
                </a:lnTo>
                <a:lnTo>
                  <a:pt x="13" y="12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8" name="Freeform 72">
            <a:extLst>
              <a:ext uri="{FF2B5EF4-FFF2-40B4-BE49-F238E27FC236}">
                <a16:creationId xmlns:a16="http://schemas.microsoft.com/office/drawing/2014/main" id="{6A63BC19-CC27-43CA-9CEF-3F4E4CB8EFC1}"/>
              </a:ext>
            </a:extLst>
          </p:cNvPr>
          <p:cNvSpPr>
            <a:spLocks/>
          </p:cNvSpPr>
          <p:nvPr/>
        </p:nvSpPr>
        <p:spPr bwMode="gray">
          <a:xfrm>
            <a:off x="8469261" y="4076183"/>
            <a:ext cx="24735" cy="9919"/>
          </a:xfrm>
          <a:custGeom>
            <a:avLst/>
            <a:gdLst>
              <a:gd name="T0" fmla="*/ 12 w 12"/>
              <a:gd name="T1" fmla="*/ 5 h 5"/>
              <a:gd name="T2" fmla="*/ 8 w 12"/>
              <a:gd name="T3" fmla="*/ 0 h 5"/>
              <a:gd name="T4" fmla="*/ 0 w 12"/>
              <a:gd name="T5" fmla="*/ 5 h 5"/>
              <a:gd name="T6" fmla="*/ 12 w 12"/>
              <a:gd name="T7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5">
                <a:moveTo>
                  <a:pt x="12" y="5"/>
                </a:moveTo>
                <a:lnTo>
                  <a:pt x="8" y="0"/>
                </a:lnTo>
                <a:lnTo>
                  <a:pt x="0" y="5"/>
                </a:lnTo>
                <a:lnTo>
                  <a:pt x="12" y="5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9" name="Freeform 73">
            <a:extLst>
              <a:ext uri="{FF2B5EF4-FFF2-40B4-BE49-F238E27FC236}">
                <a16:creationId xmlns:a16="http://schemas.microsoft.com/office/drawing/2014/main" id="{0002D53E-54E3-4658-AA8D-FB259C945275}"/>
              </a:ext>
            </a:extLst>
          </p:cNvPr>
          <p:cNvSpPr>
            <a:spLocks/>
          </p:cNvSpPr>
          <p:nvPr/>
        </p:nvSpPr>
        <p:spPr bwMode="gray">
          <a:xfrm>
            <a:off x="8455941" y="4032535"/>
            <a:ext cx="17125" cy="65474"/>
          </a:xfrm>
          <a:custGeom>
            <a:avLst/>
            <a:gdLst>
              <a:gd name="T0" fmla="*/ 7 w 7"/>
              <a:gd name="T1" fmla="*/ 0 h 30"/>
              <a:gd name="T2" fmla="*/ 7 w 7"/>
              <a:gd name="T3" fmla="*/ 8 h 30"/>
              <a:gd name="T4" fmla="*/ 3 w 7"/>
              <a:gd name="T5" fmla="*/ 19 h 30"/>
              <a:gd name="T6" fmla="*/ 0 w 7"/>
              <a:gd name="T7" fmla="*/ 30 h 30"/>
              <a:gd name="T8" fmla="*/ 3 w 7"/>
              <a:gd name="T9" fmla="*/ 14 h 30"/>
              <a:gd name="T10" fmla="*/ 7 w 7"/>
              <a:gd name="T11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30">
                <a:moveTo>
                  <a:pt x="7" y="0"/>
                </a:moveTo>
                <a:lnTo>
                  <a:pt x="7" y="8"/>
                </a:lnTo>
                <a:lnTo>
                  <a:pt x="3" y="19"/>
                </a:lnTo>
                <a:lnTo>
                  <a:pt x="0" y="30"/>
                </a:lnTo>
                <a:lnTo>
                  <a:pt x="3" y="14"/>
                </a:lnTo>
                <a:lnTo>
                  <a:pt x="7" y="0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0" name="Freeform 74">
            <a:extLst>
              <a:ext uri="{FF2B5EF4-FFF2-40B4-BE49-F238E27FC236}">
                <a16:creationId xmlns:a16="http://schemas.microsoft.com/office/drawing/2014/main" id="{AA32D4BC-5690-4379-ADCF-2E3C03A61A27}"/>
              </a:ext>
            </a:extLst>
          </p:cNvPr>
          <p:cNvSpPr>
            <a:spLocks/>
          </p:cNvSpPr>
          <p:nvPr/>
        </p:nvSpPr>
        <p:spPr bwMode="gray">
          <a:xfrm>
            <a:off x="7647282" y="3709133"/>
            <a:ext cx="262578" cy="517838"/>
          </a:xfrm>
          <a:custGeom>
            <a:avLst/>
            <a:gdLst>
              <a:gd name="T0" fmla="*/ 40 w 124"/>
              <a:gd name="T1" fmla="*/ 167 h 234"/>
              <a:gd name="T2" fmla="*/ 47 w 124"/>
              <a:gd name="T3" fmla="*/ 140 h 234"/>
              <a:gd name="T4" fmla="*/ 47 w 124"/>
              <a:gd name="T5" fmla="*/ 113 h 234"/>
              <a:gd name="T6" fmla="*/ 60 w 124"/>
              <a:gd name="T7" fmla="*/ 123 h 234"/>
              <a:gd name="T8" fmla="*/ 85 w 124"/>
              <a:gd name="T9" fmla="*/ 134 h 234"/>
              <a:gd name="T10" fmla="*/ 85 w 124"/>
              <a:gd name="T11" fmla="*/ 128 h 234"/>
              <a:gd name="T12" fmla="*/ 89 w 124"/>
              <a:gd name="T13" fmla="*/ 98 h 234"/>
              <a:gd name="T14" fmla="*/ 119 w 124"/>
              <a:gd name="T15" fmla="*/ 98 h 234"/>
              <a:gd name="T16" fmla="*/ 119 w 124"/>
              <a:gd name="T17" fmla="*/ 75 h 234"/>
              <a:gd name="T18" fmla="*/ 104 w 124"/>
              <a:gd name="T19" fmla="*/ 46 h 234"/>
              <a:gd name="T20" fmla="*/ 80 w 124"/>
              <a:gd name="T21" fmla="*/ 36 h 234"/>
              <a:gd name="T22" fmla="*/ 66 w 124"/>
              <a:gd name="T23" fmla="*/ 36 h 234"/>
              <a:gd name="T24" fmla="*/ 53 w 124"/>
              <a:gd name="T25" fmla="*/ 29 h 234"/>
              <a:gd name="T26" fmla="*/ 41 w 124"/>
              <a:gd name="T27" fmla="*/ 12 h 234"/>
              <a:gd name="T28" fmla="*/ 34 w 124"/>
              <a:gd name="T29" fmla="*/ 0 h 234"/>
              <a:gd name="T30" fmla="*/ 20 w 124"/>
              <a:gd name="T31" fmla="*/ 10 h 234"/>
              <a:gd name="T32" fmla="*/ 4 w 124"/>
              <a:gd name="T33" fmla="*/ 30 h 234"/>
              <a:gd name="T34" fmla="*/ 11 w 124"/>
              <a:gd name="T35" fmla="*/ 47 h 234"/>
              <a:gd name="T36" fmla="*/ 26 w 124"/>
              <a:gd name="T37" fmla="*/ 65 h 234"/>
              <a:gd name="T38" fmla="*/ 22 w 124"/>
              <a:gd name="T39" fmla="*/ 82 h 234"/>
              <a:gd name="T40" fmla="*/ 29 w 124"/>
              <a:gd name="T41" fmla="*/ 101 h 234"/>
              <a:gd name="T42" fmla="*/ 40 w 124"/>
              <a:gd name="T43" fmla="*/ 125 h 234"/>
              <a:gd name="T44" fmla="*/ 38 w 124"/>
              <a:gd name="T45" fmla="*/ 152 h 234"/>
              <a:gd name="T46" fmla="*/ 34 w 124"/>
              <a:gd name="T47" fmla="*/ 165 h 234"/>
              <a:gd name="T48" fmla="*/ 30 w 124"/>
              <a:gd name="T49" fmla="*/ 196 h 234"/>
              <a:gd name="T50" fmla="*/ 40 w 124"/>
              <a:gd name="T51" fmla="*/ 202 h 234"/>
              <a:gd name="T52" fmla="*/ 50 w 124"/>
              <a:gd name="T53" fmla="*/ 215 h 234"/>
              <a:gd name="T54" fmla="*/ 58 w 124"/>
              <a:gd name="T55" fmla="*/ 222 h 234"/>
              <a:gd name="T56" fmla="*/ 70 w 124"/>
              <a:gd name="T57" fmla="*/ 234 h 234"/>
              <a:gd name="T58" fmla="*/ 85 w 124"/>
              <a:gd name="T59" fmla="*/ 227 h 234"/>
              <a:gd name="T60" fmla="*/ 67 w 124"/>
              <a:gd name="T61" fmla="*/ 216 h 234"/>
              <a:gd name="T62" fmla="*/ 56 w 124"/>
              <a:gd name="T63" fmla="*/ 196 h 234"/>
              <a:gd name="T64" fmla="*/ 44 w 124"/>
              <a:gd name="T65" fmla="*/ 180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4" h="234">
                <a:moveTo>
                  <a:pt x="44" y="180"/>
                </a:moveTo>
                <a:lnTo>
                  <a:pt x="40" y="167"/>
                </a:lnTo>
                <a:lnTo>
                  <a:pt x="43" y="153"/>
                </a:lnTo>
                <a:lnTo>
                  <a:pt x="47" y="140"/>
                </a:lnTo>
                <a:lnTo>
                  <a:pt x="47" y="126"/>
                </a:lnTo>
                <a:lnTo>
                  <a:pt x="47" y="113"/>
                </a:lnTo>
                <a:lnTo>
                  <a:pt x="60" y="111"/>
                </a:lnTo>
                <a:lnTo>
                  <a:pt x="60" y="123"/>
                </a:lnTo>
                <a:lnTo>
                  <a:pt x="71" y="124"/>
                </a:lnTo>
                <a:lnTo>
                  <a:pt x="85" y="134"/>
                </a:lnTo>
                <a:lnTo>
                  <a:pt x="91" y="141"/>
                </a:lnTo>
                <a:lnTo>
                  <a:pt x="85" y="128"/>
                </a:lnTo>
                <a:lnTo>
                  <a:pt x="80" y="114"/>
                </a:lnTo>
                <a:lnTo>
                  <a:pt x="89" y="98"/>
                </a:lnTo>
                <a:lnTo>
                  <a:pt x="104" y="98"/>
                </a:lnTo>
                <a:lnTo>
                  <a:pt x="119" y="98"/>
                </a:lnTo>
                <a:lnTo>
                  <a:pt x="124" y="88"/>
                </a:lnTo>
                <a:lnTo>
                  <a:pt x="119" y="75"/>
                </a:lnTo>
                <a:lnTo>
                  <a:pt x="107" y="58"/>
                </a:lnTo>
                <a:lnTo>
                  <a:pt x="104" y="46"/>
                </a:lnTo>
                <a:lnTo>
                  <a:pt x="88" y="32"/>
                </a:lnTo>
                <a:lnTo>
                  <a:pt x="80" y="36"/>
                </a:lnTo>
                <a:lnTo>
                  <a:pt x="74" y="39"/>
                </a:lnTo>
                <a:lnTo>
                  <a:pt x="66" y="36"/>
                </a:lnTo>
                <a:lnTo>
                  <a:pt x="53" y="46"/>
                </a:lnTo>
                <a:lnTo>
                  <a:pt x="53" y="29"/>
                </a:lnTo>
                <a:lnTo>
                  <a:pt x="52" y="12"/>
                </a:lnTo>
                <a:lnTo>
                  <a:pt x="41" y="12"/>
                </a:lnTo>
                <a:lnTo>
                  <a:pt x="38" y="3"/>
                </a:lnTo>
                <a:lnTo>
                  <a:pt x="34" y="0"/>
                </a:lnTo>
                <a:lnTo>
                  <a:pt x="26" y="3"/>
                </a:lnTo>
                <a:lnTo>
                  <a:pt x="20" y="10"/>
                </a:lnTo>
                <a:lnTo>
                  <a:pt x="6" y="12"/>
                </a:lnTo>
                <a:lnTo>
                  <a:pt x="4" y="30"/>
                </a:lnTo>
                <a:lnTo>
                  <a:pt x="0" y="29"/>
                </a:lnTo>
                <a:lnTo>
                  <a:pt x="11" y="47"/>
                </a:lnTo>
                <a:lnTo>
                  <a:pt x="23" y="64"/>
                </a:lnTo>
                <a:lnTo>
                  <a:pt x="26" y="65"/>
                </a:lnTo>
                <a:lnTo>
                  <a:pt x="23" y="75"/>
                </a:lnTo>
                <a:lnTo>
                  <a:pt x="22" y="82"/>
                </a:lnTo>
                <a:lnTo>
                  <a:pt x="22" y="92"/>
                </a:lnTo>
                <a:lnTo>
                  <a:pt x="29" y="101"/>
                </a:lnTo>
                <a:lnTo>
                  <a:pt x="36" y="111"/>
                </a:lnTo>
                <a:lnTo>
                  <a:pt x="40" y="125"/>
                </a:lnTo>
                <a:lnTo>
                  <a:pt x="43" y="141"/>
                </a:lnTo>
                <a:lnTo>
                  <a:pt x="38" y="152"/>
                </a:lnTo>
                <a:lnTo>
                  <a:pt x="34" y="161"/>
                </a:lnTo>
                <a:lnTo>
                  <a:pt x="34" y="165"/>
                </a:lnTo>
                <a:lnTo>
                  <a:pt x="31" y="180"/>
                </a:lnTo>
                <a:lnTo>
                  <a:pt x="30" y="196"/>
                </a:lnTo>
                <a:lnTo>
                  <a:pt x="32" y="194"/>
                </a:lnTo>
                <a:lnTo>
                  <a:pt x="40" y="202"/>
                </a:lnTo>
                <a:lnTo>
                  <a:pt x="47" y="212"/>
                </a:lnTo>
                <a:lnTo>
                  <a:pt x="50" y="215"/>
                </a:lnTo>
                <a:lnTo>
                  <a:pt x="58" y="225"/>
                </a:lnTo>
                <a:lnTo>
                  <a:pt x="58" y="222"/>
                </a:lnTo>
                <a:lnTo>
                  <a:pt x="70" y="227"/>
                </a:lnTo>
                <a:lnTo>
                  <a:pt x="70" y="234"/>
                </a:lnTo>
                <a:lnTo>
                  <a:pt x="79" y="234"/>
                </a:lnTo>
                <a:lnTo>
                  <a:pt x="85" y="227"/>
                </a:lnTo>
                <a:lnTo>
                  <a:pt x="77" y="218"/>
                </a:lnTo>
                <a:lnTo>
                  <a:pt x="67" y="216"/>
                </a:lnTo>
                <a:lnTo>
                  <a:pt x="59" y="208"/>
                </a:lnTo>
                <a:lnTo>
                  <a:pt x="56" y="196"/>
                </a:lnTo>
                <a:lnTo>
                  <a:pt x="52" y="180"/>
                </a:lnTo>
                <a:lnTo>
                  <a:pt x="44" y="180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1" name="Freeform 75">
            <a:extLst>
              <a:ext uri="{FF2B5EF4-FFF2-40B4-BE49-F238E27FC236}">
                <a16:creationId xmlns:a16="http://schemas.microsoft.com/office/drawing/2014/main" id="{788E76C5-7572-4639-B4E1-AABB2DB99CF3}"/>
              </a:ext>
            </a:extLst>
          </p:cNvPr>
          <p:cNvSpPr>
            <a:spLocks/>
          </p:cNvSpPr>
          <p:nvPr/>
        </p:nvSpPr>
        <p:spPr bwMode="gray">
          <a:xfrm>
            <a:off x="7765253" y="3607946"/>
            <a:ext cx="262578" cy="517838"/>
          </a:xfrm>
          <a:custGeom>
            <a:avLst/>
            <a:gdLst>
              <a:gd name="T0" fmla="*/ 40 w 124"/>
              <a:gd name="T1" fmla="*/ 44 h 234"/>
              <a:gd name="T2" fmla="*/ 24 w 124"/>
              <a:gd name="T3" fmla="*/ 40 h 234"/>
              <a:gd name="T4" fmla="*/ 12 w 124"/>
              <a:gd name="T5" fmla="*/ 25 h 234"/>
              <a:gd name="T6" fmla="*/ 4 w 124"/>
              <a:gd name="T7" fmla="*/ 10 h 234"/>
              <a:gd name="T8" fmla="*/ 15 w 124"/>
              <a:gd name="T9" fmla="*/ 10 h 234"/>
              <a:gd name="T10" fmla="*/ 23 w 124"/>
              <a:gd name="T11" fmla="*/ 10 h 234"/>
              <a:gd name="T12" fmla="*/ 30 w 124"/>
              <a:gd name="T13" fmla="*/ 9 h 234"/>
              <a:gd name="T14" fmla="*/ 45 w 124"/>
              <a:gd name="T15" fmla="*/ 1 h 234"/>
              <a:gd name="T16" fmla="*/ 64 w 124"/>
              <a:gd name="T17" fmla="*/ 16 h 234"/>
              <a:gd name="T18" fmla="*/ 84 w 124"/>
              <a:gd name="T19" fmla="*/ 27 h 234"/>
              <a:gd name="T20" fmla="*/ 69 w 124"/>
              <a:gd name="T21" fmla="*/ 37 h 234"/>
              <a:gd name="T22" fmla="*/ 64 w 124"/>
              <a:gd name="T23" fmla="*/ 52 h 234"/>
              <a:gd name="T24" fmla="*/ 69 w 124"/>
              <a:gd name="T25" fmla="*/ 81 h 234"/>
              <a:gd name="T26" fmla="*/ 81 w 124"/>
              <a:gd name="T27" fmla="*/ 98 h 234"/>
              <a:gd name="T28" fmla="*/ 101 w 124"/>
              <a:gd name="T29" fmla="*/ 116 h 234"/>
              <a:gd name="T30" fmla="*/ 118 w 124"/>
              <a:gd name="T31" fmla="*/ 148 h 234"/>
              <a:gd name="T32" fmla="*/ 123 w 124"/>
              <a:gd name="T33" fmla="*/ 175 h 234"/>
              <a:gd name="T34" fmla="*/ 122 w 124"/>
              <a:gd name="T35" fmla="*/ 188 h 234"/>
              <a:gd name="T36" fmla="*/ 101 w 124"/>
              <a:gd name="T37" fmla="*/ 205 h 234"/>
              <a:gd name="T38" fmla="*/ 92 w 124"/>
              <a:gd name="T39" fmla="*/ 207 h 234"/>
              <a:gd name="T40" fmla="*/ 89 w 124"/>
              <a:gd name="T41" fmla="*/ 213 h 234"/>
              <a:gd name="T42" fmla="*/ 84 w 124"/>
              <a:gd name="T43" fmla="*/ 220 h 234"/>
              <a:gd name="T44" fmla="*/ 66 w 124"/>
              <a:gd name="T45" fmla="*/ 234 h 234"/>
              <a:gd name="T46" fmla="*/ 58 w 124"/>
              <a:gd name="T47" fmla="*/ 206 h 234"/>
              <a:gd name="T48" fmla="*/ 70 w 124"/>
              <a:gd name="T49" fmla="*/ 199 h 234"/>
              <a:gd name="T50" fmla="*/ 77 w 124"/>
              <a:gd name="T51" fmla="*/ 188 h 234"/>
              <a:gd name="T52" fmla="*/ 98 w 124"/>
              <a:gd name="T53" fmla="*/ 177 h 234"/>
              <a:gd name="T54" fmla="*/ 95 w 124"/>
              <a:gd name="T55" fmla="*/ 152 h 234"/>
              <a:gd name="T56" fmla="*/ 93 w 124"/>
              <a:gd name="T57" fmla="*/ 124 h 234"/>
              <a:gd name="T58" fmla="*/ 89 w 124"/>
              <a:gd name="T59" fmla="*/ 116 h 234"/>
              <a:gd name="T60" fmla="*/ 70 w 124"/>
              <a:gd name="T61" fmla="*/ 97 h 234"/>
              <a:gd name="T62" fmla="*/ 53 w 124"/>
              <a:gd name="T63" fmla="*/ 75 h 234"/>
              <a:gd name="T64" fmla="*/ 38 w 124"/>
              <a:gd name="T65" fmla="*/ 57 h 234"/>
              <a:gd name="T66" fmla="*/ 44 w 124"/>
              <a:gd name="T67" fmla="*/ 49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4" h="234">
                <a:moveTo>
                  <a:pt x="44" y="49"/>
                </a:moveTo>
                <a:lnTo>
                  <a:pt x="40" y="44"/>
                </a:lnTo>
                <a:lnTo>
                  <a:pt x="32" y="37"/>
                </a:lnTo>
                <a:lnTo>
                  <a:pt x="24" y="40"/>
                </a:lnTo>
                <a:lnTo>
                  <a:pt x="15" y="31"/>
                </a:lnTo>
                <a:lnTo>
                  <a:pt x="12" y="25"/>
                </a:lnTo>
                <a:lnTo>
                  <a:pt x="0" y="14"/>
                </a:lnTo>
                <a:lnTo>
                  <a:pt x="4" y="10"/>
                </a:lnTo>
                <a:lnTo>
                  <a:pt x="11" y="13"/>
                </a:lnTo>
                <a:lnTo>
                  <a:pt x="15" y="10"/>
                </a:lnTo>
                <a:lnTo>
                  <a:pt x="20" y="9"/>
                </a:lnTo>
                <a:lnTo>
                  <a:pt x="23" y="10"/>
                </a:lnTo>
                <a:lnTo>
                  <a:pt x="27" y="9"/>
                </a:lnTo>
                <a:lnTo>
                  <a:pt x="30" y="9"/>
                </a:lnTo>
                <a:lnTo>
                  <a:pt x="39" y="0"/>
                </a:lnTo>
                <a:lnTo>
                  <a:pt x="45" y="1"/>
                </a:lnTo>
                <a:lnTo>
                  <a:pt x="63" y="7"/>
                </a:lnTo>
                <a:lnTo>
                  <a:pt x="64" y="16"/>
                </a:lnTo>
                <a:lnTo>
                  <a:pt x="70" y="21"/>
                </a:lnTo>
                <a:lnTo>
                  <a:pt x="84" y="27"/>
                </a:lnTo>
                <a:lnTo>
                  <a:pt x="77" y="33"/>
                </a:lnTo>
                <a:lnTo>
                  <a:pt x="69" y="37"/>
                </a:lnTo>
                <a:lnTo>
                  <a:pt x="69" y="39"/>
                </a:lnTo>
                <a:lnTo>
                  <a:pt x="64" y="52"/>
                </a:lnTo>
                <a:lnTo>
                  <a:pt x="58" y="67"/>
                </a:lnTo>
                <a:lnTo>
                  <a:pt x="69" y="81"/>
                </a:lnTo>
                <a:lnTo>
                  <a:pt x="72" y="88"/>
                </a:lnTo>
                <a:lnTo>
                  <a:pt x="81" y="98"/>
                </a:lnTo>
                <a:lnTo>
                  <a:pt x="90" y="106"/>
                </a:lnTo>
                <a:lnTo>
                  <a:pt x="101" y="116"/>
                </a:lnTo>
                <a:lnTo>
                  <a:pt x="112" y="127"/>
                </a:lnTo>
                <a:lnTo>
                  <a:pt x="118" y="148"/>
                </a:lnTo>
                <a:lnTo>
                  <a:pt x="124" y="170"/>
                </a:lnTo>
                <a:lnTo>
                  <a:pt x="123" y="175"/>
                </a:lnTo>
                <a:lnTo>
                  <a:pt x="123" y="181"/>
                </a:lnTo>
                <a:lnTo>
                  <a:pt x="122" y="188"/>
                </a:lnTo>
                <a:lnTo>
                  <a:pt x="112" y="196"/>
                </a:lnTo>
                <a:lnTo>
                  <a:pt x="101" y="205"/>
                </a:lnTo>
                <a:lnTo>
                  <a:pt x="92" y="202"/>
                </a:lnTo>
                <a:lnTo>
                  <a:pt x="92" y="207"/>
                </a:lnTo>
                <a:lnTo>
                  <a:pt x="92" y="212"/>
                </a:lnTo>
                <a:lnTo>
                  <a:pt x="89" y="213"/>
                </a:lnTo>
                <a:lnTo>
                  <a:pt x="89" y="220"/>
                </a:lnTo>
                <a:lnTo>
                  <a:pt x="84" y="220"/>
                </a:lnTo>
                <a:lnTo>
                  <a:pt x="72" y="232"/>
                </a:lnTo>
                <a:lnTo>
                  <a:pt x="66" y="234"/>
                </a:lnTo>
                <a:lnTo>
                  <a:pt x="68" y="214"/>
                </a:lnTo>
                <a:lnTo>
                  <a:pt x="58" y="206"/>
                </a:lnTo>
                <a:lnTo>
                  <a:pt x="66" y="201"/>
                </a:lnTo>
                <a:lnTo>
                  <a:pt x="70" y="199"/>
                </a:lnTo>
                <a:lnTo>
                  <a:pt x="81" y="200"/>
                </a:lnTo>
                <a:lnTo>
                  <a:pt x="77" y="188"/>
                </a:lnTo>
                <a:lnTo>
                  <a:pt x="84" y="184"/>
                </a:lnTo>
                <a:lnTo>
                  <a:pt x="98" y="177"/>
                </a:lnTo>
                <a:lnTo>
                  <a:pt x="96" y="164"/>
                </a:lnTo>
                <a:lnTo>
                  <a:pt x="95" y="152"/>
                </a:lnTo>
                <a:lnTo>
                  <a:pt x="95" y="138"/>
                </a:lnTo>
                <a:lnTo>
                  <a:pt x="93" y="124"/>
                </a:lnTo>
                <a:lnTo>
                  <a:pt x="89" y="120"/>
                </a:lnTo>
                <a:lnTo>
                  <a:pt x="89" y="116"/>
                </a:lnTo>
                <a:lnTo>
                  <a:pt x="77" y="105"/>
                </a:lnTo>
                <a:lnTo>
                  <a:pt x="70" y="97"/>
                </a:lnTo>
                <a:lnTo>
                  <a:pt x="62" y="86"/>
                </a:lnTo>
                <a:lnTo>
                  <a:pt x="53" y="75"/>
                </a:lnTo>
                <a:lnTo>
                  <a:pt x="35" y="62"/>
                </a:lnTo>
                <a:lnTo>
                  <a:pt x="38" y="57"/>
                </a:lnTo>
                <a:lnTo>
                  <a:pt x="45" y="55"/>
                </a:lnTo>
                <a:lnTo>
                  <a:pt x="44" y="49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2" name="Freeform 76">
            <a:extLst>
              <a:ext uri="{FF2B5EF4-FFF2-40B4-BE49-F238E27FC236}">
                <a16:creationId xmlns:a16="http://schemas.microsoft.com/office/drawing/2014/main" id="{0B22B3CD-164D-4AFE-B8D3-560C23015B28}"/>
              </a:ext>
            </a:extLst>
          </p:cNvPr>
          <p:cNvSpPr>
            <a:spLocks/>
          </p:cNvSpPr>
          <p:nvPr/>
        </p:nvSpPr>
        <p:spPr bwMode="gray">
          <a:xfrm>
            <a:off x="6254485" y="3506760"/>
            <a:ext cx="17125" cy="57537"/>
          </a:xfrm>
          <a:custGeom>
            <a:avLst/>
            <a:gdLst>
              <a:gd name="T0" fmla="*/ 5 w 10"/>
              <a:gd name="T1" fmla="*/ 24 h 25"/>
              <a:gd name="T2" fmla="*/ 4 w 10"/>
              <a:gd name="T3" fmla="*/ 25 h 25"/>
              <a:gd name="T4" fmla="*/ 0 w 10"/>
              <a:gd name="T5" fmla="*/ 22 h 25"/>
              <a:gd name="T6" fmla="*/ 0 w 10"/>
              <a:gd name="T7" fmla="*/ 7 h 25"/>
              <a:gd name="T8" fmla="*/ 5 w 10"/>
              <a:gd name="T9" fmla="*/ 0 h 25"/>
              <a:gd name="T10" fmla="*/ 10 w 10"/>
              <a:gd name="T11" fmla="*/ 13 h 25"/>
              <a:gd name="T12" fmla="*/ 5 w 10"/>
              <a:gd name="T13" fmla="*/ 24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" h="25">
                <a:moveTo>
                  <a:pt x="5" y="24"/>
                </a:moveTo>
                <a:lnTo>
                  <a:pt x="4" y="25"/>
                </a:lnTo>
                <a:lnTo>
                  <a:pt x="0" y="22"/>
                </a:lnTo>
                <a:lnTo>
                  <a:pt x="0" y="7"/>
                </a:lnTo>
                <a:lnTo>
                  <a:pt x="5" y="0"/>
                </a:lnTo>
                <a:lnTo>
                  <a:pt x="10" y="13"/>
                </a:lnTo>
                <a:lnTo>
                  <a:pt x="5" y="24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3" name="Freeform 77">
            <a:extLst>
              <a:ext uri="{FF2B5EF4-FFF2-40B4-BE49-F238E27FC236}">
                <a16:creationId xmlns:a16="http://schemas.microsoft.com/office/drawing/2014/main" id="{E125129B-1FB7-42A2-8556-B0D242CBB956}"/>
              </a:ext>
            </a:extLst>
          </p:cNvPr>
          <p:cNvSpPr>
            <a:spLocks/>
          </p:cNvSpPr>
          <p:nvPr/>
        </p:nvSpPr>
        <p:spPr bwMode="gray">
          <a:xfrm>
            <a:off x="5991910" y="3024635"/>
            <a:ext cx="614580" cy="513870"/>
          </a:xfrm>
          <a:custGeom>
            <a:avLst/>
            <a:gdLst>
              <a:gd name="T0" fmla="*/ 32 w 289"/>
              <a:gd name="T1" fmla="*/ 94 h 232"/>
              <a:gd name="T2" fmla="*/ 36 w 289"/>
              <a:gd name="T3" fmla="*/ 72 h 232"/>
              <a:gd name="T4" fmla="*/ 26 w 289"/>
              <a:gd name="T5" fmla="*/ 58 h 232"/>
              <a:gd name="T6" fmla="*/ 5 w 289"/>
              <a:gd name="T7" fmla="*/ 30 h 232"/>
              <a:gd name="T8" fmla="*/ 0 w 289"/>
              <a:gd name="T9" fmla="*/ 4 h 232"/>
              <a:gd name="T10" fmla="*/ 7 w 289"/>
              <a:gd name="T11" fmla="*/ 1 h 232"/>
              <a:gd name="T12" fmla="*/ 25 w 289"/>
              <a:gd name="T13" fmla="*/ 13 h 232"/>
              <a:gd name="T14" fmla="*/ 49 w 289"/>
              <a:gd name="T15" fmla="*/ 0 h 232"/>
              <a:gd name="T16" fmla="*/ 51 w 289"/>
              <a:gd name="T17" fmla="*/ 12 h 232"/>
              <a:gd name="T18" fmla="*/ 72 w 289"/>
              <a:gd name="T19" fmla="*/ 34 h 232"/>
              <a:gd name="T20" fmla="*/ 99 w 289"/>
              <a:gd name="T21" fmla="*/ 45 h 232"/>
              <a:gd name="T22" fmla="*/ 123 w 289"/>
              <a:gd name="T23" fmla="*/ 46 h 232"/>
              <a:gd name="T24" fmla="*/ 135 w 289"/>
              <a:gd name="T25" fmla="*/ 43 h 232"/>
              <a:gd name="T26" fmla="*/ 138 w 289"/>
              <a:gd name="T27" fmla="*/ 38 h 232"/>
              <a:gd name="T28" fmla="*/ 163 w 289"/>
              <a:gd name="T29" fmla="*/ 26 h 232"/>
              <a:gd name="T30" fmla="*/ 197 w 289"/>
              <a:gd name="T31" fmla="*/ 32 h 232"/>
              <a:gd name="T32" fmla="*/ 221 w 289"/>
              <a:gd name="T33" fmla="*/ 46 h 232"/>
              <a:gd name="T34" fmla="*/ 237 w 289"/>
              <a:gd name="T35" fmla="*/ 66 h 232"/>
              <a:gd name="T36" fmla="*/ 234 w 289"/>
              <a:gd name="T37" fmla="*/ 86 h 232"/>
              <a:gd name="T38" fmla="*/ 239 w 289"/>
              <a:gd name="T39" fmla="*/ 98 h 232"/>
              <a:gd name="T40" fmla="*/ 241 w 289"/>
              <a:gd name="T41" fmla="*/ 115 h 232"/>
              <a:gd name="T42" fmla="*/ 257 w 289"/>
              <a:gd name="T43" fmla="*/ 133 h 232"/>
              <a:gd name="T44" fmla="*/ 249 w 289"/>
              <a:gd name="T45" fmla="*/ 158 h 232"/>
              <a:gd name="T46" fmla="*/ 269 w 289"/>
              <a:gd name="T47" fmla="*/ 180 h 232"/>
              <a:gd name="T48" fmla="*/ 284 w 289"/>
              <a:gd name="T49" fmla="*/ 200 h 232"/>
              <a:gd name="T50" fmla="*/ 289 w 289"/>
              <a:gd name="T51" fmla="*/ 210 h 232"/>
              <a:gd name="T52" fmla="*/ 271 w 289"/>
              <a:gd name="T53" fmla="*/ 220 h 232"/>
              <a:gd name="T54" fmla="*/ 255 w 289"/>
              <a:gd name="T55" fmla="*/ 230 h 232"/>
              <a:gd name="T56" fmla="*/ 224 w 289"/>
              <a:gd name="T57" fmla="*/ 225 h 232"/>
              <a:gd name="T58" fmla="*/ 204 w 289"/>
              <a:gd name="T59" fmla="*/ 212 h 232"/>
              <a:gd name="T60" fmla="*/ 187 w 289"/>
              <a:gd name="T61" fmla="*/ 206 h 232"/>
              <a:gd name="T62" fmla="*/ 155 w 289"/>
              <a:gd name="T63" fmla="*/ 206 h 232"/>
              <a:gd name="T64" fmla="*/ 129 w 289"/>
              <a:gd name="T65" fmla="*/ 190 h 232"/>
              <a:gd name="T66" fmla="*/ 111 w 289"/>
              <a:gd name="T67" fmla="*/ 170 h 232"/>
              <a:gd name="T68" fmla="*/ 93 w 289"/>
              <a:gd name="T69" fmla="*/ 153 h 232"/>
              <a:gd name="T70" fmla="*/ 87 w 289"/>
              <a:gd name="T71" fmla="*/ 147 h 232"/>
              <a:gd name="T72" fmla="*/ 81 w 289"/>
              <a:gd name="T73" fmla="*/ 156 h 232"/>
              <a:gd name="T74" fmla="*/ 72 w 289"/>
              <a:gd name="T75" fmla="*/ 139 h 232"/>
              <a:gd name="T76" fmla="*/ 67 w 289"/>
              <a:gd name="T77" fmla="*/ 127 h 232"/>
              <a:gd name="T78" fmla="*/ 51 w 289"/>
              <a:gd name="T79" fmla="*/ 112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89" h="232">
                <a:moveTo>
                  <a:pt x="39" y="105"/>
                </a:moveTo>
                <a:lnTo>
                  <a:pt x="32" y="94"/>
                </a:lnTo>
                <a:lnTo>
                  <a:pt x="31" y="86"/>
                </a:lnTo>
                <a:lnTo>
                  <a:pt x="36" y="72"/>
                </a:lnTo>
                <a:lnTo>
                  <a:pt x="36" y="63"/>
                </a:lnTo>
                <a:lnTo>
                  <a:pt x="26" y="58"/>
                </a:lnTo>
                <a:lnTo>
                  <a:pt x="13" y="40"/>
                </a:lnTo>
                <a:lnTo>
                  <a:pt x="5" y="30"/>
                </a:lnTo>
                <a:lnTo>
                  <a:pt x="1" y="13"/>
                </a:lnTo>
                <a:lnTo>
                  <a:pt x="0" y="4"/>
                </a:lnTo>
                <a:lnTo>
                  <a:pt x="6" y="0"/>
                </a:lnTo>
                <a:lnTo>
                  <a:pt x="7" y="1"/>
                </a:lnTo>
                <a:lnTo>
                  <a:pt x="9" y="3"/>
                </a:lnTo>
                <a:lnTo>
                  <a:pt x="25" y="13"/>
                </a:lnTo>
                <a:lnTo>
                  <a:pt x="36" y="8"/>
                </a:lnTo>
                <a:lnTo>
                  <a:pt x="49" y="0"/>
                </a:lnTo>
                <a:lnTo>
                  <a:pt x="53" y="8"/>
                </a:lnTo>
                <a:lnTo>
                  <a:pt x="51" y="12"/>
                </a:lnTo>
                <a:lnTo>
                  <a:pt x="63" y="20"/>
                </a:lnTo>
                <a:lnTo>
                  <a:pt x="72" y="34"/>
                </a:lnTo>
                <a:lnTo>
                  <a:pt x="86" y="40"/>
                </a:lnTo>
                <a:lnTo>
                  <a:pt x="99" y="45"/>
                </a:lnTo>
                <a:lnTo>
                  <a:pt x="111" y="49"/>
                </a:lnTo>
                <a:lnTo>
                  <a:pt x="123" y="46"/>
                </a:lnTo>
                <a:lnTo>
                  <a:pt x="133" y="45"/>
                </a:lnTo>
                <a:lnTo>
                  <a:pt x="135" y="43"/>
                </a:lnTo>
                <a:lnTo>
                  <a:pt x="133" y="37"/>
                </a:lnTo>
                <a:lnTo>
                  <a:pt x="138" y="38"/>
                </a:lnTo>
                <a:lnTo>
                  <a:pt x="147" y="27"/>
                </a:lnTo>
                <a:lnTo>
                  <a:pt x="163" y="26"/>
                </a:lnTo>
                <a:lnTo>
                  <a:pt x="175" y="25"/>
                </a:lnTo>
                <a:lnTo>
                  <a:pt x="197" y="32"/>
                </a:lnTo>
                <a:lnTo>
                  <a:pt x="209" y="39"/>
                </a:lnTo>
                <a:lnTo>
                  <a:pt x="221" y="46"/>
                </a:lnTo>
                <a:lnTo>
                  <a:pt x="231" y="49"/>
                </a:lnTo>
                <a:lnTo>
                  <a:pt x="237" y="66"/>
                </a:lnTo>
                <a:lnTo>
                  <a:pt x="235" y="84"/>
                </a:lnTo>
                <a:lnTo>
                  <a:pt x="234" y="86"/>
                </a:lnTo>
                <a:lnTo>
                  <a:pt x="234" y="94"/>
                </a:lnTo>
                <a:lnTo>
                  <a:pt x="239" y="98"/>
                </a:lnTo>
                <a:lnTo>
                  <a:pt x="237" y="102"/>
                </a:lnTo>
                <a:lnTo>
                  <a:pt x="241" y="115"/>
                </a:lnTo>
                <a:lnTo>
                  <a:pt x="243" y="129"/>
                </a:lnTo>
                <a:lnTo>
                  <a:pt x="257" y="133"/>
                </a:lnTo>
                <a:lnTo>
                  <a:pt x="259" y="139"/>
                </a:lnTo>
                <a:lnTo>
                  <a:pt x="249" y="158"/>
                </a:lnTo>
                <a:lnTo>
                  <a:pt x="259" y="169"/>
                </a:lnTo>
                <a:lnTo>
                  <a:pt x="269" y="180"/>
                </a:lnTo>
                <a:lnTo>
                  <a:pt x="279" y="184"/>
                </a:lnTo>
                <a:lnTo>
                  <a:pt x="284" y="200"/>
                </a:lnTo>
                <a:lnTo>
                  <a:pt x="289" y="202"/>
                </a:lnTo>
                <a:lnTo>
                  <a:pt x="289" y="210"/>
                </a:lnTo>
                <a:lnTo>
                  <a:pt x="276" y="214"/>
                </a:lnTo>
                <a:lnTo>
                  <a:pt x="271" y="220"/>
                </a:lnTo>
                <a:lnTo>
                  <a:pt x="270" y="232"/>
                </a:lnTo>
                <a:lnTo>
                  <a:pt x="255" y="230"/>
                </a:lnTo>
                <a:lnTo>
                  <a:pt x="240" y="228"/>
                </a:lnTo>
                <a:lnTo>
                  <a:pt x="224" y="225"/>
                </a:lnTo>
                <a:lnTo>
                  <a:pt x="210" y="223"/>
                </a:lnTo>
                <a:lnTo>
                  <a:pt x="204" y="212"/>
                </a:lnTo>
                <a:lnTo>
                  <a:pt x="198" y="201"/>
                </a:lnTo>
                <a:lnTo>
                  <a:pt x="187" y="206"/>
                </a:lnTo>
                <a:lnTo>
                  <a:pt x="175" y="211"/>
                </a:lnTo>
                <a:lnTo>
                  <a:pt x="155" y="206"/>
                </a:lnTo>
                <a:lnTo>
                  <a:pt x="141" y="198"/>
                </a:lnTo>
                <a:lnTo>
                  <a:pt x="129" y="190"/>
                </a:lnTo>
                <a:lnTo>
                  <a:pt x="119" y="180"/>
                </a:lnTo>
                <a:lnTo>
                  <a:pt x="111" y="170"/>
                </a:lnTo>
                <a:lnTo>
                  <a:pt x="99" y="152"/>
                </a:lnTo>
                <a:lnTo>
                  <a:pt x="93" y="153"/>
                </a:lnTo>
                <a:lnTo>
                  <a:pt x="87" y="150"/>
                </a:lnTo>
                <a:lnTo>
                  <a:pt x="87" y="147"/>
                </a:lnTo>
                <a:lnTo>
                  <a:pt x="83" y="154"/>
                </a:lnTo>
                <a:lnTo>
                  <a:pt x="81" y="156"/>
                </a:lnTo>
                <a:lnTo>
                  <a:pt x="77" y="150"/>
                </a:lnTo>
                <a:lnTo>
                  <a:pt x="72" y="139"/>
                </a:lnTo>
                <a:lnTo>
                  <a:pt x="67" y="139"/>
                </a:lnTo>
                <a:lnTo>
                  <a:pt x="67" y="127"/>
                </a:lnTo>
                <a:lnTo>
                  <a:pt x="62" y="120"/>
                </a:lnTo>
                <a:lnTo>
                  <a:pt x="51" y="112"/>
                </a:lnTo>
                <a:lnTo>
                  <a:pt x="39" y="105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7" name="Freeform 81">
            <a:extLst>
              <a:ext uri="{FF2B5EF4-FFF2-40B4-BE49-F238E27FC236}">
                <a16:creationId xmlns:a16="http://schemas.microsoft.com/office/drawing/2014/main" id="{068288D3-8E15-494A-BB0B-2513208567C9}"/>
              </a:ext>
            </a:extLst>
          </p:cNvPr>
          <p:cNvSpPr>
            <a:spLocks/>
          </p:cNvSpPr>
          <p:nvPr/>
        </p:nvSpPr>
        <p:spPr bwMode="gray">
          <a:xfrm>
            <a:off x="6520868" y="3117886"/>
            <a:ext cx="445239" cy="472206"/>
          </a:xfrm>
          <a:custGeom>
            <a:avLst/>
            <a:gdLst>
              <a:gd name="T0" fmla="*/ 92 w 210"/>
              <a:gd name="T1" fmla="*/ 194 h 212"/>
              <a:gd name="T2" fmla="*/ 105 w 210"/>
              <a:gd name="T3" fmla="*/ 209 h 212"/>
              <a:gd name="T4" fmla="*/ 122 w 210"/>
              <a:gd name="T5" fmla="*/ 210 h 212"/>
              <a:gd name="T6" fmla="*/ 134 w 210"/>
              <a:gd name="T7" fmla="*/ 204 h 212"/>
              <a:gd name="T8" fmla="*/ 152 w 210"/>
              <a:gd name="T9" fmla="*/ 203 h 212"/>
              <a:gd name="T10" fmla="*/ 140 w 210"/>
              <a:gd name="T11" fmla="*/ 182 h 212"/>
              <a:gd name="T12" fmla="*/ 126 w 210"/>
              <a:gd name="T13" fmla="*/ 164 h 212"/>
              <a:gd name="T14" fmla="*/ 140 w 210"/>
              <a:gd name="T15" fmla="*/ 146 h 212"/>
              <a:gd name="T16" fmla="*/ 161 w 210"/>
              <a:gd name="T17" fmla="*/ 133 h 212"/>
              <a:gd name="T18" fmla="*/ 177 w 210"/>
              <a:gd name="T19" fmla="*/ 108 h 212"/>
              <a:gd name="T20" fmla="*/ 180 w 210"/>
              <a:gd name="T21" fmla="*/ 85 h 212"/>
              <a:gd name="T22" fmla="*/ 183 w 210"/>
              <a:gd name="T23" fmla="*/ 73 h 212"/>
              <a:gd name="T24" fmla="*/ 172 w 210"/>
              <a:gd name="T25" fmla="*/ 63 h 212"/>
              <a:gd name="T26" fmla="*/ 168 w 210"/>
              <a:gd name="T27" fmla="*/ 50 h 212"/>
              <a:gd name="T28" fmla="*/ 162 w 210"/>
              <a:gd name="T29" fmla="*/ 37 h 212"/>
              <a:gd name="T30" fmla="*/ 197 w 210"/>
              <a:gd name="T31" fmla="*/ 36 h 212"/>
              <a:gd name="T32" fmla="*/ 191 w 210"/>
              <a:gd name="T33" fmla="*/ 19 h 212"/>
              <a:gd name="T34" fmla="*/ 176 w 210"/>
              <a:gd name="T35" fmla="*/ 3 h 212"/>
              <a:gd name="T36" fmla="*/ 143 w 210"/>
              <a:gd name="T37" fmla="*/ 3 h 212"/>
              <a:gd name="T38" fmla="*/ 120 w 210"/>
              <a:gd name="T39" fmla="*/ 17 h 212"/>
              <a:gd name="T40" fmla="*/ 124 w 210"/>
              <a:gd name="T41" fmla="*/ 42 h 212"/>
              <a:gd name="T42" fmla="*/ 110 w 210"/>
              <a:gd name="T43" fmla="*/ 50 h 212"/>
              <a:gd name="T44" fmla="*/ 107 w 210"/>
              <a:gd name="T45" fmla="*/ 68 h 212"/>
              <a:gd name="T46" fmla="*/ 93 w 210"/>
              <a:gd name="T47" fmla="*/ 85 h 212"/>
              <a:gd name="T48" fmla="*/ 76 w 210"/>
              <a:gd name="T49" fmla="*/ 95 h 212"/>
              <a:gd name="T50" fmla="*/ 74 w 210"/>
              <a:gd name="T51" fmla="*/ 115 h 212"/>
              <a:gd name="T52" fmla="*/ 45 w 210"/>
              <a:gd name="T53" fmla="*/ 121 h 212"/>
              <a:gd name="T54" fmla="*/ 12 w 210"/>
              <a:gd name="T55" fmla="*/ 119 h 212"/>
              <a:gd name="T56" fmla="*/ 10 w 210"/>
              <a:gd name="T57" fmla="*/ 126 h 212"/>
              <a:gd name="T58" fmla="*/ 30 w 210"/>
              <a:gd name="T59" fmla="*/ 141 h 212"/>
              <a:gd name="T60" fmla="*/ 40 w 210"/>
              <a:gd name="T61" fmla="*/ 159 h 212"/>
              <a:gd name="T62" fmla="*/ 27 w 210"/>
              <a:gd name="T63" fmla="*/ 171 h 212"/>
              <a:gd name="T64" fmla="*/ 21 w 210"/>
              <a:gd name="T65" fmla="*/ 189 h 212"/>
              <a:gd name="T66" fmla="*/ 47 w 210"/>
              <a:gd name="T67" fmla="*/ 189 h 212"/>
              <a:gd name="T68" fmla="*/ 72 w 210"/>
              <a:gd name="T69" fmla="*/ 187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10" h="212">
                <a:moveTo>
                  <a:pt x="87" y="186"/>
                </a:moveTo>
                <a:lnTo>
                  <a:pt x="92" y="194"/>
                </a:lnTo>
                <a:lnTo>
                  <a:pt x="96" y="197"/>
                </a:lnTo>
                <a:lnTo>
                  <a:pt x="105" y="209"/>
                </a:lnTo>
                <a:lnTo>
                  <a:pt x="114" y="212"/>
                </a:lnTo>
                <a:lnTo>
                  <a:pt x="122" y="210"/>
                </a:lnTo>
                <a:lnTo>
                  <a:pt x="122" y="204"/>
                </a:lnTo>
                <a:lnTo>
                  <a:pt x="134" y="204"/>
                </a:lnTo>
                <a:lnTo>
                  <a:pt x="147" y="203"/>
                </a:lnTo>
                <a:lnTo>
                  <a:pt x="152" y="203"/>
                </a:lnTo>
                <a:lnTo>
                  <a:pt x="146" y="182"/>
                </a:lnTo>
                <a:lnTo>
                  <a:pt x="140" y="182"/>
                </a:lnTo>
                <a:lnTo>
                  <a:pt x="136" y="170"/>
                </a:lnTo>
                <a:lnTo>
                  <a:pt x="126" y="164"/>
                </a:lnTo>
                <a:lnTo>
                  <a:pt x="134" y="145"/>
                </a:lnTo>
                <a:lnTo>
                  <a:pt x="140" y="146"/>
                </a:lnTo>
                <a:lnTo>
                  <a:pt x="153" y="146"/>
                </a:lnTo>
                <a:lnTo>
                  <a:pt x="161" y="133"/>
                </a:lnTo>
                <a:lnTo>
                  <a:pt x="171" y="120"/>
                </a:lnTo>
                <a:lnTo>
                  <a:pt x="177" y="108"/>
                </a:lnTo>
                <a:lnTo>
                  <a:pt x="183" y="97"/>
                </a:lnTo>
                <a:lnTo>
                  <a:pt x="180" y="85"/>
                </a:lnTo>
                <a:lnTo>
                  <a:pt x="189" y="78"/>
                </a:lnTo>
                <a:lnTo>
                  <a:pt x="183" y="73"/>
                </a:lnTo>
                <a:lnTo>
                  <a:pt x="178" y="67"/>
                </a:lnTo>
                <a:lnTo>
                  <a:pt x="172" y="63"/>
                </a:lnTo>
                <a:lnTo>
                  <a:pt x="168" y="55"/>
                </a:lnTo>
                <a:lnTo>
                  <a:pt x="168" y="50"/>
                </a:lnTo>
                <a:lnTo>
                  <a:pt x="161" y="43"/>
                </a:lnTo>
                <a:lnTo>
                  <a:pt x="162" y="37"/>
                </a:lnTo>
                <a:lnTo>
                  <a:pt x="182" y="41"/>
                </a:lnTo>
                <a:lnTo>
                  <a:pt x="197" y="36"/>
                </a:lnTo>
                <a:lnTo>
                  <a:pt x="210" y="24"/>
                </a:lnTo>
                <a:lnTo>
                  <a:pt x="191" y="19"/>
                </a:lnTo>
                <a:lnTo>
                  <a:pt x="182" y="14"/>
                </a:lnTo>
                <a:lnTo>
                  <a:pt x="176" y="3"/>
                </a:lnTo>
                <a:lnTo>
                  <a:pt x="160" y="0"/>
                </a:lnTo>
                <a:lnTo>
                  <a:pt x="143" y="3"/>
                </a:lnTo>
                <a:lnTo>
                  <a:pt x="128" y="7"/>
                </a:lnTo>
                <a:lnTo>
                  <a:pt x="120" y="17"/>
                </a:lnTo>
                <a:lnTo>
                  <a:pt x="128" y="30"/>
                </a:lnTo>
                <a:lnTo>
                  <a:pt x="124" y="42"/>
                </a:lnTo>
                <a:lnTo>
                  <a:pt x="122" y="49"/>
                </a:lnTo>
                <a:lnTo>
                  <a:pt x="110" y="50"/>
                </a:lnTo>
                <a:lnTo>
                  <a:pt x="118" y="59"/>
                </a:lnTo>
                <a:lnTo>
                  <a:pt x="107" y="68"/>
                </a:lnTo>
                <a:lnTo>
                  <a:pt x="106" y="86"/>
                </a:lnTo>
                <a:lnTo>
                  <a:pt x="93" y="85"/>
                </a:lnTo>
                <a:lnTo>
                  <a:pt x="89" y="90"/>
                </a:lnTo>
                <a:lnTo>
                  <a:pt x="76" y="95"/>
                </a:lnTo>
                <a:lnTo>
                  <a:pt x="74" y="108"/>
                </a:lnTo>
                <a:lnTo>
                  <a:pt x="74" y="115"/>
                </a:lnTo>
                <a:lnTo>
                  <a:pt x="59" y="119"/>
                </a:lnTo>
                <a:lnTo>
                  <a:pt x="45" y="121"/>
                </a:lnTo>
                <a:lnTo>
                  <a:pt x="23" y="122"/>
                </a:lnTo>
                <a:lnTo>
                  <a:pt x="12" y="119"/>
                </a:lnTo>
                <a:lnTo>
                  <a:pt x="0" y="115"/>
                </a:lnTo>
                <a:lnTo>
                  <a:pt x="10" y="126"/>
                </a:lnTo>
                <a:lnTo>
                  <a:pt x="20" y="137"/>
                </a:lnTo>
                <a:lnTo>
                  <a:pt x="30" y="141"/>
                </a:lnTo>
                <a:lnTo>
                  <a:pt x="35" y="157"/>
                </a:lnTo>
                <a:lnTo>
                  <a:pt x="40" y="159"/>
                </a:lnTo>
                <a:lnTo>
                  <a:pt x="40" y="167"/>
                </a:lnTo>
                <a:lnTo>
                  <a:pt x="27" y="171"/>
                </a:lnTo>
                <a:lnTo>
                  <a:pt x="22" y="177"/>
                </a:lnTo>
                <a:lnTo>
                  <a:pt x="21" y="189"/>
                </a:lnTo>
                <a:lnTo>
                  <a:pt x="34" y="189"/>
                </a:lnTo>
                <a:lnTo>
                  <a:pt x="47" y="189"/>
                </a:lnTo>
                <a:lnTo>
                  <a:pt x="58" y="188"/>
                </a:lnTo>
                <a:lnTo>
                  <a:pt x="72" y="187"/>
                </a:lnTo>
                <a:lnTo>
                  <a:pt x="87" y="186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8" name="Freeform 82">
            <a:extLst>
              <a:ext uri="{FF2B5EF4-FFF2-40B4-BE49-F238E27FC236}">
                <a16:creationId xmlns:a16="http://schemas.microsoft.com/office/drawing/2014/main" id="{445C0F51-25A2-4636-A13B-A4704C8CE592}"/>
              </a:ext>
            </a:extLst>
          </p:cNvPr>
          <p:cNvSpPr>
            <a:spLocks/>
          </p:cNvSpPr>
          <p:nvPr/>
        </p:nvSpPr>
        <p:spPr bwMode="gray">
          <a:xfrm>
            <a:off x="5480077" y="3312322"/>
            <a:ext cx="329172" cy="349194"/>
          </a:xfrm>
          <a:custGeom>
            <a:avLst/>
            <a:gdLst>
              <a:gd name="T0" fmla="*/ 125 w 156"/>
              <a:gd name="T1" fmla="*/ 58 h 159"/>
              <a:gd name="T2" fmla="*/ 116 w 156"/>
              <a:gd name="T3" fmla="*/ 43 h 159"/>
              <a:gd name="T4" fmla="*/ 107 w 156"/>
              <a:gd name="T5" fmla="*/ 29 h 159"/>
              <a:gd name="T6" fmla="*/ 105 w 156"/>
              <a:gd name="T7" fmla="*/ 30 h 159"/>
              <a:gd name="T8" fmla="*/ 111 w 156"/>
              <a:gd name="T9" fmla="*/ 42 h 159"/>
              <a:gd name="T10" fmla="*/ 117 w 156"/>
              <a:gd name="T11" fmla="*/ 54 h 159"/>
              <a:gd name="T12" fmla="*/ 123 w 156"/>
              <a:gd name="T13" fmla="*/ 66 h 159"/>
              <a:gd name="T14" fmla="*/ 129 w 156"/>
              <a:gd name="T15" fmla="*/ 77 h 159"/>
              <a:gd name="T16" fmla="*/ 135 w 156"/>
              <a:gd name="T17" fmla="*/ 89 h 159"/>
              <a:gd name="T18" fmla="*/ 141 w 156"/>
              <a:gd name="T19" fmla="*/ 101 h 159"/>
              <a:gd name="T20" fmla="*/ 149 w 156"/>
              <a:gd name="T21" fmla="*/ 112 h 159"/>
              <a:gd name="T22" fmla="*/ 156 w 156"/>
              <a:gd name="T23" fmla="*/ 123 h 159"/>
              <a:gd name="T24" fmla="*/ 155 w 156"/>
              <a:gd name="T25" fmla="*/ 124 h 159"/>
              <a:gd name="T26" fmla="*/ 156 w 156"/>
              <a:gd name="T27" fmla="*/ 137 h 159"/>
              <a:gd name="T28" fmla="*/ 152 w 156"/>
              <a:gd name="T29" fmla="*/ 143 h 159"/>
              <a:gd name="T30" fmla="*/ 147 w 156"/>
              <a:gd name="T31" fmla="*/ 142 h 159"/>
              <a:gd name="T32" fmla="*/ 144 w 156"/>
              <a:gd name="T33" fmla="*/ 150 h 159"/>
              <a:gd name="T34" fmla="*/ 137 w 156"/>
              <a:gd name="T35" fmla="*/ 151 h 159"/>
              <a:gd name="T36" fmla="*/ 134 w 156"/>
              <a:gd name="T37" fmla="*/ 159 h 159"/>
              <a:gd name="T38" fmla="*/ 117 w 156"/>
              <a:gd name="T39" fmla="*/ 157 h 159"/>
              <a:gd name="T40" fmla="*/ 99 w 156"/>
              <a:gd name="T41" fmla="*/ 155 h 159"/>
              <a:gd name="T42" fmla="*/ 99 w 156"/>
              <a:gd name="T43" fmla="*/ 151 h 159"/>
              <a:gd name="T44" fmla="*/ 96 w 156"/>
              <a:gd name="T45" fmla="*/ 155 h 159"/>
              <a:gd name="T46" fmla="*/ 86 w 156"/>
              <a:gd name="T47" fmla="*/ 155 h 159"/>
              <a:gd name="T48" fmla="*/ 75 w 156"/>
              <a:gd name="T49" fmla="*/ 155 h 159"/>
              <a:gd name="T50" fmla="*/ 64 w 156"/>
              <a:gd name="T51" fmla="*/ 155 h 159"/>
              <a:gd name="T52" fmla="*/ 53 w 156"/>
              <a:gd name="T53" fmla="*/ 155 h 159"/>
              <a:gd name="T54" fmla="*/ 42 w 156"/>
              <a:gd name="T55" fmla="*/ 155 h 159"/>
              <a:gd name="T56" fmla="*/ 32 w 156"/>
              <a:gd name="T57" fmla="*/ 155 h 159"/>
              <a:gd name="T58" fmla="*/ 21 w 156"/>
              <a:gd name="T59" fmla="*/ 155 h 159"/>
              <a:gd name="T60" fmla="*/ 10 w 156"/>
              <a:gd name="T61" fmla="*/ 155 h 159"/>
              <a:gd name="T62" fmla="*/ 9 w 156"/>
              <a:gd name="T63" fmla="*/ 141 h 159"/>
              <a:gd name="T64" fmla="*/ 8 w 156"/>
              <a:gd name="T65" fmla="*/ 125 h 159"/>
              <a:gd name="T66" fmla="*/ 8 w 156"/>
              <a:gd name="T67" fmla="*/ 109 h 159"/>
              <a:gd name="T68" fmla="*/ 6 w 156"/>
              <a:gd name="T69" fmla="*/ 95 h 159"/>
              <a:gd name="T70" fmla="*/ 5 w 156"/>
              <a:gd name="T71" fmla="*/ 79 h 159"/>
              <a:gd name="T72" fmla="*/ 4 w 156"/>
              <a:gd name="T73" fmla="*/ 65 h 159"/>
              <a:gd name="T74" fmla="*/ 3 w 156"/>
              <a:gd name="T75" fmla="*/ 49 h 159"/>
              <a:gd name="T76" fmla="*/ 2 w 156"/>
              <a:gd name="T77" fmla="*/ 35 h 159"/>
              <a:gd name="T78" fmla="*/ 2 w 156"/>
              <a:gd name="T79" fmla="*/ 22 h 159"/>
              <a:gd name="T80" fmla="*/ 0 w 156"/>
              <a:gd name="T81" fmla="*/ 10 h 159"/>
              <a:gd name="T82" fmla="*/ 3 w 156"/>
              <a:gd name="T83" fmla="*/ 0 h 159"/>
              <a:gd name="T84" fmla="*/ 12 w 156"/>
              <a:gd name="T85" fmla="*/ 0 h 159"/>
              <a:gd name="T86" fmla="*/ 33 w 156"/>
              <a:gd name="T87" fmla="*/ 6 h 159"/>
              <a:gd name="T88" fmla="*/ 54 w 156"/>
              <a:gd name="T89" fmla="*/ 12 h 159"/>
              <a:gd name="T90" fmla="*/ 72 w 156"/>
              <a:gd name="T91" fmla="*/ 6 h 159"/>
              <a:gd name="T92" fmla="*/ 82 w 156"/>
              <a:gd name="T93" fmla="*/ 1 h 159"/>
              <a:gd name="T94" fmla="*/ 78 w 156"/>
              <a:gd name="T95" fmla="*/ 4 h 159"/>
              <a:gd name="T96" fmla="*/ 84 w 156"/>
              <a:gd name="T97" fmla="*/ 1 h 159"/>
              <a:gd name="T98" fmla="*/ 96 w 156"/>
              <a:gd name="T99" fmla="*/ 5 h 159"/>
              <a:gd name="T100" fmla="*/ 100 w 156"/>
              <a:gd name="T101" fmla="*/ 9 h 159"/>
              <a:gd name="T102" fmla="*/ 107 w 156"/>
              <a:gd name="T103" fmla="*/ 10 h 159"/>
              <a:gd name="T104" fmla="*/ 126 w 156"/>
              <a:gd name="T105" fmla="*/ 5 h 159"/>
              <a:gd name="T106" fmla="*/ 132 w 156"/>
              <a:gd name="T107" fmla="*/ 19 h 159"/>
              <a:gd name="T108" fmla="*/ 138 w 156"/>
              <a:gd name="T109" fmla="*/ 35 h 159"/>
              <a:gd name="T110" fmla="*/ 136 w 156"/>
              <a:gd name="T111" fmla="*/ 48 h 159"/>
              <a:gd name="T112" fmla="*/ 132 w 156"/>
              <a:gd name="T113" fmla="*/ 61 h 159"/>
              <a:gd name="T114" fmla="*/ 125 w 156"/>
              <a:gd name="T115" fmla="*/ 58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56" h="159">
                <a:moveTo>
                  <a:pt x="125" y="58"/>
                </a:moveTo>
                <a:lnTo>
                  <a:pt x="116" y="43"/>
                </a:lnTo>
                <a:lnTo>
                  <a:pt x="107" y="29"/>
                </a:lnTo>
                <a:lnTo>
                  <a:pt x="105" y="30"/>
                </a:lnTo>
                <a:lnTo>
                  <a:pt x="111" y="42"/>
                </a:lnTo>
                <a:lnTo>
                  <a:pt x="117" y="54"/>
                </a:lnTo>
                <a:lnTo>
                  <a:pt x="123" y="66"/>
                </a:lnTo>
                <a:lnTo>
                  <a:pt x="129" y="77"/>
                </a:lnTo>
                <a:lnTo>
                  <a:pt x="135" y="89"/>
                </a:lnTo>
                <a:lnTo>
                  <a:pt x="141" y="101"/>
                </a:lnTo>
                <a:lnTo>
                  <a:pt x="149" y="112"/>
                </a:lnTo>
                <a:lnTo>
                  <a:pt x="156" y="123"/>
                </a:lnTo>
                <a:lnTo>
                  <a:pt x="155" y="124"/>
                </a:lnTo>
                <a:lnTo>
                  <a:pt x="156" y="137"/>
                </a:lnTo>
                <a:lnTo>
                  <a:pt x="152" y="143"/>
                </a:lnTo>
                <a:lnTo>
                  <a:pt x="147" y="142"/>
                </a:lnTo>
                <a:lnTo>
                  <a:pt x="144" y="150"/>
                </a:lnTo>
                <a:lnTo>
                  <a:pt x="137" y="151"/>
                </a:lnTo>
                <a:lnTo>
                  <a:pt x="134" y="159"/>
                </a:lnTo>
                <a:lnTo>
                  <a:pt x="117" y="157"/>
                </a:lnTo>
                <a:lnTo>
                  <a:pt x="99" y="155"/>
                </a:lnTo>
                <a:lnTo>
                  <a:pt x="99" y="151"/>
                </a:lnTo>
                <a:lnTo>
                  <a:pt x="96" y="155"/>
                </a:lnTo>
                <a:lnTo>
                  <a:pt x="86" y="155"/>
                </a:lnTo>
                <a:lnTo>
                  <a:pt x="75" y="155"/>
                </a:lnTo>
                <a:lnTo>
                  <a:pt x="64" y="155"/>
                </a:lnTo>
                <a:lnTo>
                  <a:pt x="53" y="155"/>
                </a:lnTo>
                <a:lnTo>
                  <a:pt x="42" y="155"/>
                </a:lnTo>
                <a:lnTo>
                  <a:pt x="32" y="155"/>
                </a:lnTo>
                <a:lnTo>
                  <a:pt x="21" y="155"/>
                </a:lnTo>
                <a:lnTo>
                  <a:pt x="10" y="155"/>
                </a:lnTo>
                <a:lnTo>
                  <a:pt x="9" y="141"/>
                </a:lnTo>
                <a:lnTo>
                  <a:pt x="8" y="125"/>
                </a:lnTo>
                <a:lnTo>
                  <a:pt x="8" y="109"/>
                </a:lnTo>
                <a:lnTo>
                  <a:pt x="6" y="95"/>
                </a:lnTo>
                <a:lnTo>
                  <a:pt x="5" y="79"/>
                </a:lnTo>
                <a:lnTo>
                  <a:pt x="4" y="65"/>
                </a:lnTo>
                <a:lnTo>
                  <a:pt x="3" y="49"/>
                </a:lnTo>
                <a:lnTo>
                  <a:pt x="2" y="35"/>
                </a:lnTo>
                <a:lnTo>
                  <a:pt x="2" y="22"/>
                </a:lnTo>
                <a:lnTo>
                  <a:pt x="0" y="10"/>
                </a:lnTo>
                <a:lnTo>
                  <a:pt x="3" y="0"/>
                </a:lnTo>
                <a:lnTo>
                  <a:pt x="12" y="0"/>
                </a:lnTo>
                <a:lnTo>
                  <a:pt x="33" y="6"/>
                </a:lnTo>
                <a:lnTo>
                  <a:pt x="54" y="12"/>
                </a:lnTo>
                <a:lnTo>
                  <a:pt x="72" y="6"/>
                </a:lnTo>
                <a:lnTo>
                  <a:pt x="82" y="1"/>
                </a:lnTo>
                <a:lnTo>
                  <a:pt x="78" y="4"/>
                </a:lnTo>
                <a:lnTo>
                  <a:pt x="84" y="1"/>
                </a:lnTo>
                <a:lnTo>
                  <a:pt x="96" y="5"/>
                </a:lnTo>
                <a:lnTo>
                  <a:pt x="100" y="9"/>
                </a:lnTo>
                <a:lnTo>
                  <a:pt x="107" y="10"/>
                </a:lnTo>
                <a:lnTo>
                  <a:pt x="126" y="5"/>
                </a:lnTo>
                <a:lnTo>
                  <a:pt x="132" y="19"/>
                </a:lnTo>
                <a:lnTo>
                  <a:pt x="138" y="35"/>
                </a:lnTo>
                <a:lnTo>
                  <a:pt x="136" y="48"/>
                </a:lnTo>
                <a:lnTo>
                  <a:pt x="132" y="61"/>
                </a:lnTo>
                <a:lnTo>
                  <a:pt x="125" y="58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9" name="Freeform 83">
            <a:extLst>
              <a:ext uri="{FF2B5EF4-FFF2-40B4-BE49-F238E27FC236}">
                <a16:creationId xmlns:a16="http://schemas.microsoft.com/office/drawing/2014/main" id="{8C8E5E3B-56B5-45D4-8222-A2888A59648E}"/>
              </a:ext>
            </a:extLst>
          </p:cNvPr>
          <p:cNvSpPr>
            <a:spLocks/>
          </p:cNvSpPr>
          <p:nvPr/>
        </p:nvSpPr>
        <p:spPr bwMode="gray">
          <a:xfrm>
            <a:off x="6762514" y="3171455"/>
            <a:ext cx="825784" cy="976155"/>
          </a:xfrm>
          <a:custGeom>
            <a:avLst/>
            <a:gdLst>
              <a:gd name="T0" fmla="*/ 68 w 390"/>
              <a:gd name="T1" fmla="*/ 17 h 440"/>
              <a:gd name="T2" fmla="*/ 54 w 390"/>
              <a:gd name="T3" fmla="*/ 26 h 440"/>
              <a:gd name="T4" fmla="*/ 64 w 390"/>
              <a:gd name="T5" fmla="*/ 43 h 440"/>
              <a:gd name="T6" fmla="*/ 66 w 390"/>
              <a:gd name="T7" fmla="*/ 61 h 440"/>
              <a:gd name="T8" fmla="*/ 57 w 390"/>
              <a:gd name="T9" fmla="*/ 96 h 440"/>
              <a:gd name="T10" fmla="*/ 26 w 390"/>
              <a:gd name="T11" fmla="*/ 122 h 440"/>
              <a:gd name="T12" fmla="*/ 22 w 390"/>
              <a:gd name="T13" fmla="*/ 146 h 440"/>
              <a:gd name="T14" fmla="*/ 38 w 390"/>
              <a:gd name="T15" fmla="*/ 179 h 440"/>
              <a:gd name="T16" fmla="*/ 8 w 390"/>
              <a:gd name="T17" fmla="*/ 180 h 440"/>
              <a:gd name="T18" fmla="*/ 2 w 390"/>
              <a:gd name="T19" fmla="*/ 189 h 440"/>
              <a:gd name="T20" fmla="*/ 17 w 390"/>
              <a:gd name="T21" fmla="*/ 204 h 440"/>
              <a:gd name="T22" fmla="*/ 22 w 390"/>
              <a:gd name="T23" fmla="*/ 211 h 440"/>
              <a:gd name="T24" fmla="*/ 40 w 390"/>
              <a:gd name="T25" fmla="*/ 236 h 440"/>
              <a:gd name="T26" fmla="*/ 60 w 390"/>
              <a:gd name="T27" fmla="*/ 213 h 440"/>
              <a:gd name="T28" fmla="*/ 65 w 390"/>
              <a:gd name="T29" fmla="*/ 221 h 440"/>
              <a:gd name="T30" fmla="*/ 70 w 390"/>
              <a:gd name="T31" fmla="*/ 234 h 440"/>
              <a:gd name="T32" fmla="*/ 75 w 390"/>
              <a:gd name="T33" fmla="*/ 265 h 440"/>
              <a:gd name="T34" fmla="*/ 87 w 390"/>
              <a:gd name="T35" fmla="*/ 305 h 440"/>
              <a:gd name="T36" fmla="*/ 102 w 390"/>
              <a:gd name="T37" fmla="*/ 342 h 440"/>
              <a:gd name="T38" fmla="*/ 123 w 390"/>
              <a:gd name="T39" fmla="*/ 387 h 440"/>
              <a:gd name="T40" fmla="*/ 140 w 390"/>
              <a:gd name="T41" fmla="*/ 423 h 440"/>
              <a:gd name="T42" fmla="*/ 162 w 390"/>
              <a:gd name="T43" fmla="*/ 432 h 440"/>
              <a:gd name="T44" fmla="*/ 173 w 390"/>
              <a:gd name="T45" fmla="*/ 416 h 440"/>
              <a:gd name="T46" fmla="*/ 184 w 390"/>
              <a:gd name="T47" fmla="*/ 392 h 440"/>
              <a:gd name="T48" fmla="*/ 188 w 390"/>
              <a:gd name="T49" fmla="*/ 355 h 440"/>
              <a:gd name="T50" fmla="*/ 191 w 390"/>
              <a:gd name="T51" fmla="*/ 317 h 440"/>
              <a:gd name="T52" fmla="*/ 200 w 390"/>
              <a:gd name="T53" fmla="*/ 308 h 440"/>
              <a:gd name="T54" fmla="*/ 226 w 390"/>
              <a:gd name="T55" fmla="*/ 279 h 440"/>
              <a:gd name="T56" fmla="*/ 260 w 390"/>
              <a:gd name="T57" fmla="*/ 249 h 440"/>
              <a:gd name="T58" fmla="*/ 280 w 390"/>
              <a:gd name="T59" fmla="*/ 216 h 440"/>
              <a:gd name="T60" fmla="*/ 292 w 390"/>
              <a:gd name="T61" fmla="*/ 222 h 440"/>
              <a:gd name="T62" fmla="*/ 291 w 390"/>
              <a:gd name="T63" fmla="*/ 206 h 440"/>
              <a:gd name="T64" fmla="*/ 275 w 390"/>
              <a:gd name="T65" fmla="*/ 175 h 440"/>
              <a:gd name="T66" fmla="*/ 273 w 390"/>
              <a:gd name="T67" fmla="*/ 156 h 440"/>
              <a:gd name="T68" fmla="*/ 287 w 390"/>
              <a:gd name="T69" fmla="*/ 152 h 440"/>
              <a:gd name="T70" fmla="*/ 311 w 390"/>
              <a:gd name="T71" fmla="*/ 164 h 440"/>
              <a:gd name="T72" fmla="*/ 330 w 390"/>
              <a:gd name="T73" fmla="*/ 177 h 440"/>
              <a:gd name="T74" fmla="*/ 327 w 390"/>
              <a:gd name="T75" fmla="*/ 201 h 440"/>
              <a:gd name="T76" fmla="*/ 344 w 390"/>
              <a:gd name="T77" fmla="*/ 217 h 440"/>
              <a:gd name="T78" fmla="*/ 350 w 390"/>
              <a:gd name="T79" fmla="*/ 186 h 440"/>
              <a:gd name="T80" fmla="*/ 365 w 390"/>
              <a:gd name="T81" fmla="*/ 159 h 440"/>
              <a:gd name="T82" fmla="*/ 389 w 390"/>
              <a:gd name="T83" fmla="*/ 134 h 440"/>
              <a:gd name="T84" fmla="*/ 390 w 390"/>
              <a:gd name="T85" fmla="*/ 117 h 440"/>
              <a:gd name="T86" fmla="*/ 370 w 390"/>
              <a:gd name="T87" fmla="*/ 103 h 440"/>
              <a:gd name="T88" fmla="*/ 358 w 390"/>
              <a:gd name="T89" fmla="*/ 103 h 440"/>
              <a:gd name="T90" fmla="*/ 327 w 390"/>
              <a:gd name="T91" fmla="*/ 120 h 440"/>
              <a:gd name="T92" fmla="*/ 323 w 390"/>
              <a:gd name="T93" fmla="*/ 138 h 440"/>
              <a:gd name="T94" fmla="*/ 280 w 390"/>
              <a:gd name="T95" fmla="*/ 138 h 440"/>
              <a:gd name="T96" fmla="*/ 266 w 390"/>
              <a:gd name="T97" fmla="*/ 122 h 440"/>
              <a:gd name="T98" fmla="*/ 236 w 390"/>
              <a:gd name="T99" fmla="*/ 143 h 440"/>
              <a:gd name="T100" fmla="*/ 201 w 390"/>
              <a:gd name="T101" fmla="*/ 129 h 440"/>
              <a:gd name="T102" fmla="*/ 153 w 390"/>
              <a:gd name="T103" fmla="*/ 108 h 440"/>
              <a:gd name="T104" fmla="*/ 147 w 390"/>
              <a:gd name="T105" fmla="*/ 77 h 440"/>
              <a:gd name="T106" fmla="*/ 118 w 390"/>
              <a:gd name="T107" fmla="*/ 47 h 440"/>
              <a:gd name="T108" fmla="*/ 119 w 390"/>
              <a:gd name="T109" fmla="*/ 30 h 440"/>
              <a:gd name="T110" fmla="*/ 118 w 390"/>
              <a:gd name="T111" fmla="*/ 20 h 440"/>
              <a:gd name="T112" fmla="*/ 113 w 390"/>
              <a:gd name="T113" fmla="*/ 9 h 440"/>
              <a:gd name="T114" fmla="*/ 100 w 390"/>
              <a:gd name="T115" fmla="*/ 2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90" h="440">
                <a:moveTo>
                  <a:pt x="96" y="0"/>
                </a:moveTo>
                <a:lnTo>
                  <a:pt x="83" y="12"/>
                </a:lnTo>
                <a:lnTo>
                  <a:pt x="68" y="17"/>
                </a:lnTo>
                <a:lnTo>
                  <a:pt x="48" y="13"/>
                </a:lnTo>
                <a:lnTo>
                  <a:pt x="47" y="19"/>
                </a:lnTo>
                <a:lnTo>
                  <a:pt x="54" y="26"/>
                </a:lnTo>
                <a:lnTo>
                  <a:pt x="54" y="31"/>
                </a:lnTo>
                <a:lnTo>
                  <a:pt x="58" y="39"/>
                </a:lnTo>
                <a:lnTo>
                  <a:pt x="64" y="43"/>
                </a:lnTo>
                <a:lnTo>
                  <a:pt x="69" y="49"/>
                </a:lnTo>
                <a:lnTo>
                  <a:pt x="75" y="54"/>
                </a:lnTo>
                <a:lnTo>
                  <a:pt x="66" y="61"/>
                </a:lnTo>
                <a:lnTo>
                  <a:pt x="69" y="73"/>
                </a:lnTo>
                <a:lnTo>
                  <a:pt x="63" y="84"/>
                </a:lnTo>
                <a:lnTo>
                  <a:pt x="57" y="96"/>
                </a:lnTo>
                <a:lnTo>
                  <a:pt x="47" y="109"/>
                </a:lnTo>
                <a:lnTo>
                  <a:pt x="39" y="122"/>
                </a:lnTo>
                <a:lnTo>
                  <a:pt x="26" y="122"/>
                </a:lnTo>
                <a:lnTo>
                  <a:pt x="20" y="121"/>
                </a:lnTo>
                <a:lnTo>
                  <a:pt x="12" y="140"/>
                </a:lnTo>
                <a:lnTo>
                  <a:pt x="22" y="146"/>
                </a:lnTo>
                <a:lnTo>
                  <a:pt x="26" y="158"/>
                </a:lnTo>
                <a:lnTo>
                  <a:pt x="32" y="158"/>
                </a:lnTo>
                <a:lnTo>
                  <a:pt x="38" y="179"/>
                </a:lnTo>
                <a:lnTo>
                  <a:pt x="33" y="179"/>
                </a:lnTo>
                <a:lnTo>
                  <a:pt x="20" y="180"/>
                </a:lnTo>
                <a:lnTo>
                  <a:pt x="8" y="180"/>
                </a:lnTo>
                <a:lnTo>
                  <a:pt x="8" y="186"/>
                </a:lnTo>
                <a:lnTo>
                  <a:pt x="0" y="188"/>
                </a:lnTo>
                <a:lnTo>
                  <a:pt x="2" y="189"/>
                </a:lnTo>
                <a:lnTo>
                  <a:pt x="6" y="188"/>
                </a:lnTo>
                <a:lnTo>
                  <a:pt x="4" y="191"/>
                </a:lnTo>
                <a:lnTo>
                  <a:pt x="17" y="204"/>
                </a:lnTo>
                <a:lnTo>
                  <a:pt x="33" y="200"/>
                </a:lnTo>
                <a:lnTo>
                  <a:pt x="32" y="204"/>
                </a:lnTo>
                <a:lnTo>
                  <a:pt x="22" y="211"/>
                </a:lnTo>
                <a:lnTo>
                  <a:pt x="15" y="210"/>
                </a:lnTo>
                <a:lnTo>
                  <a:pt x="27" y="223"/>
                </a:lnTo>
                <a:lnTo>
                  <a:pt x="40" y="236"/>
                </a:lnTo>
                <a:lnTo>
                  <a:pt x="58" y="231"/>
                </a:lnTo>
                <a:lnTo>
                  <a:pt x="59" y="221"/>
                </a:lnTo>
                <a:lnTo>
                  <a:pt x="60" y="213"/>
                </a:lnTo>
                <a:lnTo>
                  <a:pt x="68" y="213"/>
                </a:lnTo>
                <a:lnTo>
                  <a:pt x="65" y="218"/>
                </a:lnTo>
                <a:lnTo>
                  <a:pt x="65" y="221"/>
                </a:lnTo>
                <a:lnTo>
                  <a:pt x="72" y="221"/>
                </a:lnTo>
                <a:lnTo>
                  <a:pt x="68" y="225"/>
                </a:lnTo>
                <a:lnTo>
                  <a:pt x="70" y="234"/>
                </a:lnTo>
                <a:lnTo>
                  <a:pt x="70" y="245"/>
                </a:lnTo>
                <a:lnTo>
                  <a:pt x="75" y="261"/>
                </a:lnTo>
                <a:lnTo>
                  <a:pt x="75" y="265"/>
                </a:lnTo>
                <a:lnTo>
                  <a:pt x="76" y="269"/>
                </a:lnTo>
                <a:lnTo>
                  <a:pt x="81" y="289"/>
                </a:lnTo>
                <a:lnTo>
                  <a:pt x="87" y="305"/>
                </a:lnTo>
                <a:lnTo>
                  <a:pt x="92" y="320"/>
                </a:lnTo>
                <a:lnTo>
                  <a:pt x="95" y="324"/>
                </a:lnTo>
                <a:lnTo>
                  <a:pt x="102" y="342"/>
                </a:lnTo>
                <a:lnTo>
                  <a:pt x="110" y="361"/>
                </a:lnTo>
                <a:lnTo>
                  <a:pt x="117" y="374"/>
                </a:lnTo>
                <a:lnTo>
                  <a:pt x="123" y="387"/>
                </a:lnTo>
                <a:lnTo>
                  <a:pt x="130" y="399"/>
                </a:lnTo>
                <a:lnTo>
                  <a:pt x="134" y="411"/>
                </a:lnTo>
                <a:lnTo>
                  <a:pt x="140" y="423"/>
                </a:lnTo>
                <a:lnTo>
                  <a:pt x="146" y="435"/>
                </a:lnTo>
                <a:lnTo>
                  <a:pt x="154" y="440"/>
                </a:lnTo>
                <a:lnTo>
                  <a:pt x="162" y="432"/>
                </a:lnTo>
                <a:lnTo>
                  <a:pt x="170" y="423"/>
                </a:lnTo>
                <a:lnTo>
                  <a:pt x="178" y="422"/>
                </a:lnTo>
                <a:lnTo>
                  <a:pt x="173" y="416"/>
                </a:lnTo>
                <a:lnTo>
                  <a:pt x="180" y="404"/>
                </a:lnTo>
                <a:lnTo>
                  <a:pt x="185" y="404"/>
                </a:lnTo>
                <a:lnTo>
                  <a:pt x="184" y="392"/>
                </a:lnTo>
                <a:lnTo>
                  <a:pt x="183" y="380"/>
                </a:lnTo>
                <a:lnTo>
                  <a:pt x="185" y="368"/>
                </a:lnTo>
                <a:lnTo>
                  <a:pt x="188" y="355"/>
                </a:lnTo>
                <a:lnTo>
                  <a:pt x="184" y="341"/>
                </a:lnTo>
                <a:lnTo>
                  <a:pt x="183" y="321"/>
                </a:lnTo>
                <a:lnTo>
                  <a:pt x="191" y="317"/>
                </a:lnTo>
                <a:lnTo>
                  <a:pt x="192" y="314"/>
                </a:lnTo>
                <a:lnTo>
                  <a:pt x="196" y="314"/>
                </a:lnTo>
                <a:lnTo>
                  <a:pt x="200" y="308"/>
                </a:lnTo>
                <a:lnTo>
                  <a:pt x="210" y="303"/>
                </a:lnTo>
                <a:lnTo>
                  <a:pt x="213" y="294"/>
                </a:lnTo>
                <a:lnTo>
                  <a:pt x="226" y="279"/>
                </a:lnTo>
                <a:lnTo>
                  <a:pt x="239" y="266"/>
                </a:lnTo>
                <a:lnTo>
                  <a:pt x="251" y="254"/>
                </a:lnTo>
                <a:lnTo>
                  <a:pt x="260" y="249"/>
                </a:lnTo>
                <a:lnTo>
                  <a:pt x="267" y="237"/>
                </a:lnTo>
                <a:lnTo>
                  <a:pt x="268" y="225"/>
                </a:lnTo>
                <a:lnTo>
                  <a:pt x="280" y="216"/>
                </a:lnTo>
                <a:lnTo>
                  <a:pt x="285" y="223"/>
                </a:lnTo>
                <a:lnTo>
                  <a:pt x="288" y="223"/>
                </a:lnTo>
                <a:lnTo>
                  <a:pt x="292" y="222"/>
                </a:lnTo>
                <a:lnTo>
                  <a:pt x="296" y="223"/>
                </a:lnTo>
                <a:lnTo>
                  <a:pt x="294" y="218"/>
                </a:lnTo>
                <a:lnTo>
                  <a:pt x="291" y="206"/>
                </a:lnTo>
                <a:lnTo>
                  <a:pt x="286" y="193"/>
                </a:lnTo>
                <a:lnTo>
                  <a:pt x="285" y="185"/>
                </a:lnTo>
                <a:lnTo>
                  <a:pt x="275" y="175"/>
                </a:lnTo>
                <a:lnTo>
                  <a:pt x="278" y="169"/>
                </a:lnTo>
                <a:lnTo>
                  <a:pt x="284" y="165"/>
                </a:lnTo>
                <a:lnTo>
                  <a:pt x="273" y="156"/>
                </a:lnTo>
                <a:lnTo>
                  <a:pt x="273" y="144"/>
                </a:lnTo>
                <a:lnTo>
                  <a:pt x="282" y="147"/>
                </a:lnTo>
                <a:lnTo>
                  <a:pt x="287" y="152"/>
                </a:lnTo>
                <a:lnTo>
                  <a:pt x="291" y="150"/>
                </a:lnTo>
                <a:lnTo>
                  <a:pt x="297" y="163"/>
                </a:lnTo>
                <a:lnTo>
                  <a:pt x="311" y="164"/>
                </a:lnTo>
                <a:lnTo>
                  <a:pt x="326" y="165"/>
                </a:lnTo>
                <a:lnTo>
                  <a:pt x="333" y="171"/>
                </a:lnTo>
                <a:lnTo>
                  <a:pt x="330" y="177"/>
                </a:lnTo>
                <a:lnTo>
                  <a:pt x="321" y="185"/>
                </a:lnTo>
                <a:lnTo>
                  <a:pt x="323" y="198"/>
                </a:lnTo>
                <a:lnTo>
                  <a:pt x="327" y="201"/>
                </a:lnTo>
                <a:lnTo>
                  <a:pt x="333" y="189"/>
                </a:lnTo>
                <a:lnTo>
                  <a:pt x="338" y="204"/>
                </a:lnTo>
                <a:lnTo>
                  <a:pt x="344" y="217"/>
                </a:lnTo>
                <a:lnTo>
                  <a:pt x="348" y="217"/>
                </a:lnTo>
                <a:lnTo>
                  <a:pt x="348" y="200"/>
                </a:lnTo>
                <a:lnTo>
                  <a:pt x="350" y="186"/>
                </a:lnTo>
                <a:lnTo>
                  <a:pt x="358" y="186"/>
                </a:lnTo>
                <a:lnTo>
                  <a:pt x="365" y="167"/>
                </a:lnTo>
                <a:lnTo>
                  <a:pt x="365" y="159"/>
                </a:lnTo>
                <a:lnTo>
                  <a:pt x="365" y="146"/>
                </a:lnTo>
                <a:lnTo>
                  <a:pt x="380" y="132"/>
                </a:lnTo>
                <a:lnTo>
                  <a:pt x="389" y="134"/>
                </a:lnTo>
                <a:lnTo>
                  <a:pt x="387" y="129"/>
                </a:lnTo>
                <a:lnTo>
                  <a:pt x="388" y="125"/>
                </a:lnTo>
                <a:lnTo>
                  <a:pt x="390" y="117"/>
                </a:lnTo>
                <a:lnTo>
                  <a:pt x="375" y="111"/>
                </a:lnTo>
                <a:lnTo>
                  <a:pt x="376" y="105"/>
                </a:lnTo>
                <a:lnTo>
                  <a:pt x="370" y="103"/>
                </a:lnTo>
                <a:lnTo>
                  <a:pt x="371" y="101"/>
                </a:lnTo>
                <a:lnTo>
                  <a:pt x="365" y="98"/>
                </a:lnTo>
                <a:lnTo>
                  <a:pt x="358" y="103"/>
                </a:lnTo>
                <a:lnTo>
                  <a:pt x="346" y="102"/>
                </a:lnTo>
                <a:lnTo>
                  <a:pt x="336" y="110"/>
                </a:lnTo>
                <a:lnTo>
                  <a:pt x="327" y="120"/>
                </a:lnTo>
                <a:lnTo>
                  <a:pt x="314" y="125"/>
                </a:lnTo>
                <a:lnTo>
                  <a:pt x="317" y="129"/>
                </a:lnTo>
                <a:lnTo>
                  <a:pt x="323" y="138"/>
                </a:lnTo>
                <a:lnTo>
                  <a:pt x="310" y="139"/>
                </a:lnTo>
                <a:lnTo>
                  <a:pt x="297" y="140"/>
                </a:lnTo>
                <a:lnTo>
                  <a:pt x="280" y="138"/>
                </a:lnTo>
                <a:lnTo>
                  <a:pt x="278" y="132"/>
                </a:lnTo>
                <a:lnTo>
                  <a:pt x="270" y="119"/>
                </a:lnTo>
                <a:lnTo>
                  <a:pt x="266" y="122"/>
                </a:lnTo>
                <a:lnTo>
                  <a:pt x="269" y="145"/>
                </a:lnTo>
                <a:lnTo>
                  <a:pt x="254" y="144"/>
                </a:lnTo>
                <a:lnTo>
                  <a:pt x="236" y="143"/>
                </a:lnTo>
                <a:lnTo>
                  <a:pt x="226" y="139"/>
                </a:lnTo>
                <a:lnTo>
                  <a:pt x="219" y="132"/>
                </a:lnTo>
                <a:lnTo>
                  <a:pt x="201" y="129"/>
                </a:lnTo>
                <a:lnTo>
                  <a:pt x="188" y="126"/>
                </a:lnTo>
                <a:lnTo>
                  <a:pt x="171" y="117"/>
                </a:lnTo>
                <a:lnTo>
                  <a:pt x="153" y="108"/>
                </a:lnTo>
                <a:lnTo>
                  <a:pt x="153" y="98"/>
                </a:lnTo>
                <a:lnTo>
                  <a:pt x="160" y="85"/>
                </a:lnTo>
                <a:lnTo>
                  <a:pt x="147" y="77"/>
                </a:lnTo>
                <a:lnTo>
                  <a:pt x="130" y="67"/>
                </a:lnTo>
                <a:lnTo>
                  <a:pt x="124" y="65"/>
                </a:lnTo>
                <a:lnTo>
                  <a:pt x="118" y="47"/>
                </a:lnTo>
                <a:lnTo>
                  <a:pt x="126" y="48"/>
                </a:lnTo>
                <a:lnTo>
                  <a:pt x="129" y="42"/>
                </a:lnTo>
                <a:lnTo>
                  <a:pt x="119" y="30"/>
                </a:lnTo>
                <a:lnTo>
                  <a:pt x="119" y="24"/>
                </a:lnTo>
                <a:lnTo>
                  <a:pt x="119" y="23"/>
                </a:lnTo>
                <a:lnTo>
                  <a:pt x="118" y="20"/>
                </a:lnTo>
                <a:lnTo>
                  <a:pt x="116" y="18"/>
                </a:lnTo>
                <a:lnTo>
                  <a:pt x="113" y="14"/>
                </a:lnTo>
                <a:lnTo>
                  <a:pt x="113" y="9"/>
                </a:lnTo>
                <a:lnTo>
                  <a:pt x="111" y="6"/>
                </a:lnTo>
                <a:lnTo>
                  <a:pt x="106" y="5"/>
                </a:lnTo>
                <a:lnTo>
                  <a:pt x="100" y="2"/>
                </a:lnTo>
                <a:lnTo>
                  <a:pt x="96" y="0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2" name="Freeform 86">
            <a:extLst>
              <a:ext uri="{FF2B5EF4-FFF2-40B4-BE49-F238E27FC236}">
                <a16:creationId xmlns:a16="http://schemas.microsoft.com/office/drawing/2014/main" id="{6F64ACD5-4281-40E1-820A-06C7FD112537}"/>
              </a:ext>
            </a:extLst>
          </p:cNvPr>
          <p:cNvSpPr>
            <a:spLocks/>
          </p:cNvSpPr>
          <p:nvPr/>
        </p:nvSpPr>
        <p:spPr bwMode="gray">
          <a:xfrm>
            <a:off x="6300152" y="3546442"/>
            <a:ext cx="224523" cy="295624"/>
          </a:xfrm>
          <a:custGeom>
            <a:avLst/>
            <a:gdLst>
              <a:gd name="T0" fmla="*/ 106 w 106"/>
              <a:gd name="T1" fmla="*/ 41 h 134"/>
              <a:gd name="T2" fmla="*/ 95 w 106"/>
              <a:gd name="T3" fmla="*/ 31 h 134"/>
              <a:gd name="T4" fmla="*/ 84 w 106"/>
              <a:gd name="T5" fmla="*/ 22 h 134"/>
              <a:gd name="T6" fmla="*/ 72 w 106"/>
              <a:gd name="T7" fmla="*/ 17 h 134"/>
              <a:gd name="T8" fmla="*/ 61 w 106"/>
              <a:gd name="T9" fmla="*/ 12 h 134"/>
              <a:gd name="T10" fmla="*/ 54 w 106"/>
              <a:gd name="T11" fmla="*/ 0 h 134"/>
              <a:gd name="T12" fmla="*/ 49 w 106"/>
              <a:gd name="T13" fmla="*/ 4 h 134"/>
              <a:gd name="T14" fmla="*/ 47 w 106"/>
              <a:gd name="T15" fmla="*/ 0 h 134"/>
              <a:gd name="T16" fmla="*/ 49 w 106"/>
              <a:gd name="T17" fmla="*/ 14 h 134"/>
              <a:gd name="T18" fmla="*/ 43 w 106"/>
              <a:gd name="T19" fmla="*/ 17 h 134"/>
              <a:gd name="T20" fmla="*/ 41 w 106"/>
              <a:gd name="T21" fmla="*/ 37 h 134"/>
              <a:gd name="T22" fmla="*/ 48 w 106"/>
              <a:gd name="T23" fmla="*/ 48 h 134"/>
              <a:gd name="T24" fmla="*/ 44 w 106"/>
              <a:gd name="T25" fmla="*/ 65 h 134"/>
              <a:gd name="T26" fmla="*/ 42 w 106"/>
              <a:gd name="T27" fmla="*/ 80 h 134"/>
              <a:gd name="T28" fmla="*/ 31 w 106"/>
              <a:gd name="T29" fmla="*/ 84 h 134"/>
              <a:gd name="T30" fmla="*/ 22 w 106"/>
              <a:gd name="T31" fmla="*/ 89 h 134"/>
              <a:gd name="T32" fmla="*/ 11 w 106"/>
              <a:gd name="T33" fmla="*/ 92 h 134"/>
              <a:gd name="T34" fmla="*/ 1 w 106"/>
              <a:gd name="T35" fmla="*/ 96 h 134"/>
              <a:gd name="T36" fmla="*/ 0 w 106"/>
              <a:gd name="T37" fmla="*/ 103 h 134"/>
              <a:gd name="T38" fmla="*/ 10 w 106"/>
              <a:gd name="T39" fmla="*/ 119 h 134"/>
              <a:gd name="T40" fmla="*/ 19 w 106"/>
              <a:gd name="T41" fmla="*/ 134 h 134"/>
              <a:gd name="T42" fmla="*/ 30 w 106"/>
              <a:gd name="T43" fmla="*/ 132 h 134"/>
              <a:gd name="T44" fmla="*/ 41 w 106"/>
              <a:gd name="T45" fmla="*/ 130 h 134"/>
              <a:gd name="T46" fmla="*/ 49 w 106"/>
              <a:gd name="T47" fmla="*/ 122 h 134"/>
              <a:gd name="T48" fmla="*/ 53 w 106"/>
              <a:gd name="T49" fmla="*/ 114 h 134"/>
              <a:gd name="T50" fmla="*/ 66 w 106"/>
              <a:gd name="T51" fmla="*/ 110 h 134"/>
              <a:gd name="T52" fmla="*/ 71 w 106"/>
              <a:gd name="T53" fmla="*/ 98 h 134"/>
              <a:gd name="T54" fmla="*/ 82 w 106"/>
              <a:gd name="T55" fmla="*/ 94 h 134"/>
              <a:gd name="T56" fmla="*/ 82 w 106"/>
              <a:gd name="T57" fmla="*/ 76 h 134"/>
              <a:gd name="T58" fmla="*/ 86 w 106"/>
              <a:gd name="T59" fmla="*/ 72 h 134"/>
              <a:gd name="T60" fmla="*/ 90 w 106"/>
              <a:gd name="T61" fmla="*/ 72 h 134"/>
              <a:gd name="T62" fmla="*/ 97 w 106"/>
              <a:gd name="T63" fmla="*/ 56 h 134"/>
              <a:gd name="T64" fmla="*/ 106 w 106"/>
              <a:gd name="T65" fmla="*/ 41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" h="134">
                <a:moveTo>
                  <a:pt x="106" y="41"/>
                </a:moveTo>
                <a:lnTo>
                  <a:pt x="95" y="31"/>
                </a:lnTo>
                <a:lnTo>
                  <a:pt x="84" y="22"/>
                </a:lnTo>
                <a:lnTo>
                  <a:pt x="72" y="17"/>
                </a:lnTo>
                <a:lnTo>
                  <a:pt x="61" y="12"/>
                </a:lnTo>
                <a:lnTo>
                  <a:pt x="54" y="0"/>
                </a:lnTo>
                <a:lnTo>
                  <a:pt x="49" y="4"/>
                </a:lnTo>
                <a:lnTo>
                  <a:pt x="47" y="0"/>
                </a:lnTo>
                <a:lnTo>
                  <a:pt x="49" y="14"/>
                </a:lnTo>
                <a:lnTo>
                  <a:pt x="43" y="17"/>
                </a:lnTo>
                <a:lnTo>
                  <a:pt x="41" y="37"/>
                </a:lnTo>
                <a:lnTo>
                  <a:pt x="48" y="48"/>
                </a:lnTo>
                <a:lnTo>
                  <a:pt x="44" y="65"/>
                </a:lnTo>
                <a:lnTo>
                  <a:pt x="42" y="80"/>
                </a:lnTo>
                <a:lnTo>
                  <a:pt x="31" y="84"/>
                </a:lnTo>
                <a:lnTo>
                  <a:pt x="22" y="89"/>
                </a:lnTo>
                <a:lnTo>
                  <a:pt x="11" y="92"/>
                </a:lnTo>
                <a:lnTo>
                  <a:pt x="1" y="96"/>
                </a:lnTo>
                <a:lnTo>
                  <a:pt x="0" y="103"/>
                </a:lnTo>
                <a:lnTo>
                  <a:pt x="10" y="119"/>
                </a:lnTo>
                <a:lnTo>
                  <a:pt x="19" y="134"/>
                </a:lnTo>
                <a:lnTo>
                  <a:pt x="30" y="132"/>
                </a:lnTo>
                <a:lnTo>
                  <a:pt x="41" y="130"/>
                </a:lnTo>
                <a:lnTo>
                  <a:pt x="49" y="122"/>
                </a:lnTo>
                <a:lnTo>
                  <a:pt x="53" y="114"/>
                </a:lnTo>
                <a:lnTo>
                  <a:pt x="66" y="110"/>
                </a:lnTo>
                <a:lnTo>
                  <a:pt x="71" y="98"/>
                </a:lnTo>
                <a:lnTo>
                  <a:pt x="82" y="94"/>
                </a:lnTo>
                <a:lnTo>
                  <a:pt x="82" y="76"/>
                </a:lnTo>
                <a:lnTo>
                  <a:pt x="86" y="72"/>
                </a:lnTo>
                <a:lnTo>
                  <a:pt x="90" y="72"/>
                </a:lnTo>
                <a:lnTo>
                  <a:pt x="97" y="56"/>
                </a:lnTo>
                <a:lnTo>
                  <a:pt x="106" y="41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3" name="Freeform 87">
            <a:extLst>
              <a:ext uri="{FF2B5EF4-FFF2-40B4-BE49-F238E27FC236}">
                <a16:creationId xmlns:a16="http://schemas.microsoft.com/office/drawing/2014/main" id="{325B7B43-CE46-412A-B84D-F346E36798F4}"/>
              </a:ext>
            </a:extLst>
          </p:cNvPr>
          <p:cNvSpPr>
            <a:spLocks/>
          </p:cNvSpPr>
          <p:nvPr/>
        </p:nvSpPr>
        <p:spPr bwMode="gray">
          <a:xfrm>
            <a:off x="6399093" y="3502793"/>
            <a:ext cx="7611" cy="17858"/>
          </a:xfrm>
          <a:custGeom>
            <a:avLst/>
            <a:gdLst>
              <a:gd name="T0" fmla="*/ 3 w 3"/>
              <a:gd name="T1" fmla="*/ 0 h 8"/>
              <a:gd name="T2" fmla="*/ 0 w 3"/>
              <a:gd name="T3" fmla="*/ 6 h 8"/>
              <a:gd name="T4" fmla="*/ 3 w 3"/>
              <a:gd name="T5" fmla="*/ 8 h 8"/>
              <a:gd name="T6" fmla="*/ 3 w 3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8">
                <a:moveTo>
                  <a:pt x="3" y="0"/>
                </a:moveTo>
                <a:lnTo>
                  <a:pt x="0" y="6"/>
                </a:lnTo>
                <a:lnTo>
                  <a:pt x="3" y="8"/>
                </a:lnTo>
                <a:lnTo>
                  <a:pt x="3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4" name="Freeform 88">
            <a:extLst>
              <a:ext uri="{FF2B5EF4-FFF2-40B4-BE49-F238E27FC236}">
                <a16:creationId xmlns:a16="http://schemas.microsoft.com/office/drawing/2014/main" id="{CB5212A0-8633-4476-9AB1-991E522D1892}"/>
              </a:ext>
            </a:extLst>
          </p:cNvPr>
          <p:cNvSpPr>
            <a:spLocks/>
          </p:cNvSpPr>
          <p:nvPr/>
        </p:nvSpPr>
        <p:spPr bwMode="gray">
          <a:xfrm>
            <a:off x="5771194" y="3290499"/>
            <a:ext cx="631704" cy="591248"/>
          </a:xfrm>
          <a:custGeom>
            <a:avLst/>
            <a:gdLst>
              <a:gd name="T0" fmla="*/ 67 w 299"/>
              <a:gd name="T1" fmla="*/ 160 h 267"/>
              <a:gd name="T2" fmla="*/ 58 w 299"/>
              <a:gd name="T3" fmla="*/ 135 h 267"/>
              <a:gd name="T4" fmla="*/ 40 w 299"/>
              <a:gd name="T5" fmla="*/ 120 h 267"/>
              <a:gd name="T6" fmla="*/ 18 w 299"/>
              <a:gd name="T7" fmla="*/ 85 h 267"/>
              <a:gd name="T8" fmla="*/ 0 w 299"/>
              <a:gd name="T9" fmla="*/ 64 h 267"/>
              <a:gd name="T10" fmla="*/ 18 w 299"/>
              <a:gd name="T11" fmla="*/ 49 h 267"/>
              <a:gd name="T12" fmla="*/ 36 w 299"/>
              <a:gd name="T13" fmla="*/ 36 h 267"/>
              <a:gd name="T14" fmla="*/ 27 w 299"/>
              <a:gd name="T15" fmla="*/ 12 h 267"/>
              <a:gd name="T16" fmla="*/ 57 w 299"/>
              <a:gd name="T17" fmla="*/ 0 h 267"/>
              <a:gd name="T18" fmla="*/ 83 w 299"/>
              <a:gd name="T19" fmla="*/ 12 h 267"/>
              <a:gd name="T20" fmla="*/ 109 w 299"/>
              <a:gd name="T21" fmla="*/ 24 h 267"/>
              <a:gd name="T22" fmla="*/ 136 w 299"/>
              <a:gd name="T23" fmla="*/ 49 h 267"/>
              <a:gd name="T24" fmla="*/ 174 w 299"/>
              <a:gd name="T25" fmla="*/ 51 h 267"/>
              <a:gd name="T26" fmla="*/ 187 w 299"/>
              <a:gd name="T27" fmla="*/ 58 h 267"/>
              <a:gd name="T28" fmla="*/ 202 w 299"/>
              <a:gd name="T29" fmla="*/ 76 h 267"/>
              <a:gd name="T30" fmla="*/ 215 w 299"/>
              <a:gd name="T31" fmla="*/ 98 h 267"/>
              <a:gd name="T32" fmla="*/ 228 w 299"/>
              <a:gd name="T33" fmla="*/ 120 h 267"/>
              <a:gd name="T34" fmla="*/ 233 w 299"/>
              <a:gd name="T35" fmla="*/ 122 h 267"/>
              <a:gd name="T36" fmla="*/ 237 w 299"/>
              <a:gd name="T37" fmla="*/ 127 h 267"/>
              <a:gd name="T38" fmla="*/ 237 w 299"/>
              <a:gd name="T39" fmla="*/ 130 h 267"/>
              <a:gd name="T40" fmla="*/ 246 w 299"/>
              <a:gd name="T41" fmla="*/ 148 h 267"/>
              <a:gd name="T42" fmla="*/ 289 w 299"/>
              <a:gd name="T43" fmla="*/ 156 h 267"/>
              <a:gd name="T44" fmla="*/ 299 w 299"/>
              <a:gd name="T45" fmla="*/ 164 h 267"/>
              <a:gd name="T46" fmla="*/ 293 w 299"/>
              <a:gd name="T47" fmla="*/ 196 h 267"/>
              <a:gd name="T48" fmla="*/ 273 w 299"/>
              <a:gd name="T49" fmla="*/ 205 h 267"/>
              <a:gd name="T50" fmla="*/ 252 w 299"/>
              <a:gd name="T51" fmla="*/ 212 h 267"/>
              <a:gd name="T52" fmla="*/ 229 w 299"/>
              <a:gd name="T53" fmla="*/ 218 h 267"/>
              <a:gd name="T54" fmla="*/ 208 w 299"/>
              <a:gd name="T55" fmla="*/ 224 h 267"/>
              <a:gd name="T56" fmla="*/ 192 w 299"/>
              <a:gd name="T57" fmla="*/ 246 h 267"/>
              <a:gd name="T58" fmla="*/ 177 w 299"/>
              <a:gd name="T59" fmla="*/ 267 h 267"/>
              <a:gd name="T60" fmla="*/ 162 w 299"/>
              <a:gd name="T61" fmla="*/ 244 h 267"/>
              <a:gd name="T62" fmla="*/ 132 w 299"/>
              <a:gd name="T63" fmla="*/ 236 h 267"/>
              <a:gd name="T64" fmla="*/ 125 w 299"/>
              <a:gd name="T65" fmla="*/ 254 h 267"/>
              <a:gd name="T66" fmla="*/ 112 w 299"/>
              <a:gd name="T67" fmla="*/ 231 h 267"/>
              <a:gd name="T68" fmla="*/ 89 w 299"/>
              <a:gd name="T69" fmla="*/ 195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267">
                <a:moveTo>
                  <a:pt x="73" y="182"/>
                </a:moveTo>
                <a:lnTo>
                  <a:pt x="67" y="160"/>
                </a:lnTo>
                <a:lnTo>
                  <a:pt x="63" y="148"/>
                </a:lnTo>
                <a:lnTo>
                  <a:pt x="58" y="135"/>
                </a:lnTo>
                <a:lnTo>
                  <a:pt x="48" y="128"/>
                </a:lnTo>
                <a:lnTo>
                  <a:pt x="40" y="120"/>
                </a:lnTo>
                <a:lnTo>
                  <a:pt x="31" y="103"/>
                </a:lnTo>
                <a:lnTo>
                  <a:pt x="18" y="85"/>
                </a:lnTo>
                <a:lnTo>
                  <a:pt x="4" y="66"/>
                </a:lnTo>
                <a:lnTo>
                  <a:pt x="0" y="64"/>
                </a:lnTo>
                <a:lnTo>
                  <a:pt x="3" y="45"/>
                </a:lnTo>
                <a:lnTo>
                  <a:pt x="18" y="49"/>
                </a:lnTo>
                <a:lnTo>
                  <a:pt x="27" y="38"/>
                </a:lnTo>
                <a:lnTo>
                  <a:pt x="36" y="36"/>
                </a:lnTo>
                <a:lnTo>
                  <a:pt x="42" y="27"/>
                </a:lnTo>
                <a:lnTo>
                  <a:pt x="27" y="12"/>
                </a:lnTo>
                <a:lnTo>
                  <a:pt x="42" y="6"/>
                </a:lnTo>
                <a:lnTo>
                  <a:pt x="57" y="0"/>
                </a:lnTo>
                <a:lnTo>
                  <a:pt x="70" y="6"/>
                </a:lnTo>
                <a:lnTo>
                  <a:pt x="83" y="12"/>
                </a:lnTo>
                <a:lnTo>
                  <a:pt x="96" y="18"/>
                </a:lnTo>
                <a:lnTo>
                  <a:pt x="109" y="24"/>
                </a:lnTo>
                <a:lnTo>
                  <a:pt x="121" y="36"/>
                </a:lnTo>
                <a:lnTo>
                  <a:pt x="136" y="49"/>
                </a:lnTo>
                <a:lnTo>
                  <a:pt x="161" y="50"/>
                </a:lnTo>
                <a:lnTo>
                  <a:pt x="174" y="51"/>
                </a:lnTo>
                <a:lnTo>
                  <a:pt x="177" y="56"/>
                </a:lnTo>
                <a:lnTo>
                  <a:pt x="187" y="58"/>
                </a:lnTo>
                <a:lnTo>
                  <a:pt x="196" y="72"/>
                </a:lnTo>
                <a:lnTo>
                  <a:pt x="202" y="76"/>
                </a:lnTo>
                <a:lnTo>
                  <a:pt x="215" y="88"/>
                </a:lnTo>
                <a:lnTo>
                  <a:pt x="215" y="98"/>
                </a:lnTo>
                <a:lnTo>
                  <a:pt x="222" y="109"/>
                </a:lnTo>
                <a:lnTo>
                  <a:pt x="228" y="120"/>
                </a:lnTo>
                <a:lnTo>
                  <a:pt x="232" y="123"/>
                </a:lnTo>
                <a:lnTo>
                  <a:pt x="233" y="122"/>
                </a:lnTo>
                <a:lnTo>
                  <a:pt x="235" y="122"/>
                </a:lnTo>
                <a:lnTo>
                  <a:pt x="237" y="127"/>
                </a:lnTo>
                <a:lnTo>
                  <a:pt x="238" y="128"/>
                </a:lnTo>
                <a:lnTo>
                  <a:pt x="237" y="130"/>
                </a:lnTo>
                <a:lnTo>
                  <a:pt x="241" y="134"/>
                </a:lnTo>
                <a:lnTo>
                  <a:pt x="246" y="148"/>
                </a:lnTo>
                <a:lnTo>
                  <a:pt x="268" y="152"/>
                </a:lnTo>
                <a:lnTo>
                  <a:pt x="289" y="156"/>
                </a:lnTo>
                <a:lnTo>
                  <a:pt x="292" y="153"/>
                </a:lnTo>
                <a:lnTo>
                  <a:pt x="299" y="164"/>
                </a:lnTo>
                <a:lnTo>
                  <a:pt x="295" y="181"/>
                </a:lnTo>
                <a:lnTo>
                  <a:pt x="293" y="196"/>
                </a:lnTo>
                <a:lnTo>
                  <a:pt x="282" y="200"/>
                </a:lnTo>
                <a:lnTo>
                  <a:pt x="273" y="205"/>
                </a:lnTo>
                <a:lnTo>
                  <a:pt x="262" y="208"/>
                </a:lnTo>
                <a:lnTo>
                  <a:pt x="252" y="212"/>
                </a:lnTo>
                <a:lnTo>
                  <a:pt x="240" y="216"/>
                </a:lnTo>
                <a:lnTo>
                  <a:pt x="229" y="218"/>
                </a:lnTo>
                <a:lnTo>
                  <a:pt x="219" y="222"/>
                </a:lnTo>
                <a:lnTo>
                  <a:pt x="208" y="224"/>
                </a:lnTo>
                <a:lnTo>
                  <a:pt x="199" y="235"/>
                </a:lnTo>
                <a:lnTo>
                  <a:pt x="192" y="246"/>
                </a:lnTo>
                <a:lnTo>
                  <a:pt x="184" y="256"/>
                </a:lnTo>
                <a:lnTo>
                  <a:pt x="177" y="267"/>
                </a:lnTo>
                <a:lnTo>
                  <a:pt x="175" y="250"/>
                </a:lnTo>
                <a:lnTo>
                  <a:pt x="162" y="244"/>
                </a:lnTo>
                <a:lnTo>
                  <a:pt x="149" y="238"/>
                </a:lnTo>
                <a:lnTo>
                  <a:pt x="132" y="236"/>
                </a:lnTo>
                <a:lnTo>
                  <a:pt x="130" y="249"/>
                </a:lnTo>
                <a:lnTo>
                  <a:pt x="125" y="254"/>
                </a:lnTo>
                <a:lnTo>
                  <a:pt x="119" y="243"/>
                </a:lnTo>
                <a:lnTo>
                  <a:pt x="112" y="231"/>
                </a:lnTo>
                <a:lnTo>
                  <a:pt x="100" y="213"/>
                </a:lnTo>
                <a:lnTo>
                  <a:pt x="89" y="195"/>
                </a:lnTo>
                <a:lnTo>
                  <a:pt x="73" y="182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5" name="Freeform 89">
            <a:extLst>
              <a:ext uri="{FF2B5EF4-FFF2-40B4-BE49-F238E27FC236}">
                <a16:creationId xmlns:a16="http://schemas.microsoft.com/office/drawing/2014/main" id="{B8C78B37-D97C-435D-BC4D-891A87D46679}"/>
              </a:ext>
            </a:extLst>
          </p:cNvPr>
          <p:cNvSpPr>
            <a:spLocks/>
          </p:cNvSpPr>
          <p:nvPr/>
        </p:nvSpPr>
        <p:spPr bwMode="gray">
          <a:xfrm>
            <a:off x="6271612" y="3516680"/>
            <a:ext cx="142704" cy="119043"/>
          </a:xfrm>
          <a:custGeom>
            <a:avLst/>
            <a:gdLst>
              <a:gd name="T0" fmla="*/ 0 w 68"/>
              <a:gd name="T1" fmla="*/ 28 h 54"/>
              <a:gd name="T2" fmla="*/ 4 w 68"/>
              <a:gd name="T3" fmla="*/ 32 h 54"/>
              <a:gd name="T4" fmla="*/ 9 w 68"/>
              <a:gd name="T5" fmla="*/ 46 h 54"/>
              <a:gd name="T6" fmla="*/ 31 w 68"/>
              <a:gd name="T7" fmla="*/ 50 h 54"/>
              <a:gd name="T8" fmla="*/ 52 w 68"/>
              <a:gd name="T9" fmla="*/ 54 h 54"/>
              <a:gd name="T10" fmla="*/ 55 w 68"/>
              <a:gd name="T11" fmla="*/ 51 h 54"/>
              <a:gd name="T12" fmla="*/ 57 w 68"/>
              <a:gd name="T13" fmla="*/ 31 h 54"/>
              <a:gd name="T14" fmla="*/ 63 w 68"/>
              <a:gd name="T15" fmla="*/ 28 h 54"/>
              <a:gd name="T16" fmla="*/ 61 w 68"/>
              <a:gd name="T17" fmla="*/ 14 h 54"/>
              <a:gd name="T18" fmla="*/ 63 w 68"/>
              <a:gd name="T19" fmla="*/ 18 h 54"/>
              <a:gd name="T20" fmla="*/ 68 w 68"/>
              <a:gd name="T21" fmla="*/ 14 h 54"/>
              <a:gd name="T22" fmla="*/ 64 w 68"/>
              <a:gd name="T23" fmla="*/ 2 h 54"/>
              <a:gd name="T24" fmla="*/ 61 w 68"/>
              <a:gd name="T25" fmla="*/ 0 h 54"/>
              <a:gd name="T26" fmla="*/ 48 w 68"/>
              <a:gd name="T27" fmla="*/ 14 h 54"/>
              <a:gd name="T28" fmla="*/ 36 w 68"/>
              <a:gd name="T29" fmla="*/ 28 h 54"/>
              <a:gd name="T30" fmla="*/ 13 w 68"/>
              <a:gd name="T31" fmla="*/ 30 h 54"/>
              <a:gd name="T32" fmla="*/ 4 w 68"/>
              <a:gd name="T33" fmla="*/ 28 h 54"/>
              <a:gd name="T34" fmla="*/ 1 w 68"/>
              <a:gd name="T35" fmla="*/ 26 h 54"/>
              <a:gd name="T36" fmla="*/ 0 w 68"/>
              <a:gd name="T37" fmla="*/ 28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8" h="54">
                <a:moveTo>
                  <a:pt x="0" y="28"/>
                </a:moveTo>
                <a:lnTo>
                  <a:pt x="4" y="32"/>
                </a:lnTo>
                <a:lnTo>
                  <a:pt x="9" y="46"/>
                </a:lnTo>
                <a:lnTo>
                  <a:pt x="31" y="50"/>
                </a:lnTo>
                <a:lnTo>
                  <a:pt x="52" y="54"/>
                </a:lnTo>
                <a:lnTo>
                  <a:pt x="55" y="51"/>
                </a:lnTo>
                <a:lnTo>
                  <a:pt x="57" y="31"/>
                </a:lnTo>
                <a:lnTo>
                  <a:pt x="63" y="28"/>
                </a:lnTo>
                <a:lnTo>
                  <a:pt x="61" y="14"/>
                </a:lnTo>
                <a:lnTo>
                  <a:pt x="63" y="18"/>
                </a:lnTo>
                <a:lnTo>
                  <a:pt x="68" y="14"/>
                </a:lnTo>
                <a:lnTo>
                  <a:pt x="64" y="2"/>
                </a:lnTo>
                <a:lnTo>
                  <a:pt x="61" y="0"/>
                </a:lnTo>
                <a:lnTo>
                  <a:pt x="48" y="14"/>
                </a:lnTo>
                <a:lnTo>
                  <a:pt x="36" y="28"/>
                </a:lnTo>
                <a:lnTo>
                  <a:pt x="13" y="30"/>
                </a:lnTo>
                <a:lnTo>
                  <a:pt x="4" y="28"/>
                </a:lnTo>
                <a:lnTo>
                  <a:pt x="1" y="26"/>
                </a:lnTo>
                <a:lnTo>
                  <a:pt x="0" y="28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6" name="Freeform 90">
            <a:extLst>
              <a:ext uri="{FF2B5EF4-FFF2-40B4-BE49-F238E27FC236}">
                <a16:creationId xmlns:a16="http://schemas.microsoft.com/office/drawing/2014/main" id="{10B342A7-64B6-4779-B339-7FB3D8072759}"/>
              </a:ext>
            </a:extLst>
          </p:cNvPr>
          <p:cNvSpPr>
            <a:spLocks/>
          </p:cNvSpPr>
          <p:nvPr/>
        </p:nvSpPr>
        <p:spPr bwMode="gray">
          <a:xfrm>
            <a:off x="6033769" y="3758736"/>
            <a:ext cx="310144" cy="224198"/>
          </a:xfrm>
          <a:custGeom>
            <a:avLst/>
            <a:gdLst>
              <a:gd name="T0" fmla="*/ 5 w 145"/>
              <a:gd name="T1" fmla="*/ 37 h 102"/>
              <a:gd name="T2" fmla="*/ 0 w 145"/>
              <a:gd name="T3" fmla="*/ 42 h 102"/>
              <a:gd name="T4" fmla="*/ 0 w 145"/>
              <a:gd name="T5" fmla="*/ 61 h 102"/>
              <a:gd name="T6" fmla="*/ 6 w 145"/>
              <a:gd name="T7" fmla="*/ 82 h 102"/>
              <a:gd name="T8" fmla="*/ 13 w 145"/>
              <a:gd name="T9" fmla="*/ 102 h 102"/>
              <a:gd name="T10" fmla="*/ 31 w 145"/>
              <a:gd name="T11" fmla="*/ 101 h 102"/>
              <a:gd name="T12" fmla="*/ 49 w 145"/>
              <a:gd name="T13" fmla="*/ 90 h 102"/>
              <a:gd name="T14" fmla="*/ 64 w 145"/>
              <a:gd name="T15" fmla="*/ 85 h 102"/>
              <a:gd name="T16" fmla="*/ 78 w 145"/>
              <a:gd name="T17" fmla="*/ 80 h 102"/>
              <a:gd name="T18" fmla="*/ 89 w 145"/>
              <a:gd name="T19" fmla="*/ 76 h 102"/>
              <a:gd name="T20" fmla="*/ 100 w 145"/>
              <a:gd name="T21" fmla="*/ 71 h 102"/>
              <a:gd name="T22" fmla="*/ 110 w 145"/>
              <a:gd name="T23" fmla="*/ 66 h 102"/>
              <a:gd name="T24" fmla="*/ 121 w 145"/>
              <a:gd name="T25" fmla="*/ 60 h 102"/>
              <a:gd name="T26" fmla="*/ 132 w 145"/>
              <a:gd name="T27" fmla="*/ 55 h 102"/>
              <a:gd name="T28" fmla="*/ 132 w 145"/>
              <a:gd name="T29" fmla="*/ 49 h 102"/>
              <a:gd name="T30" fmla="*/ 145 w 145"/>
              <a:gd name="T31" fmla="*/ 38 h 102"/>
              <a:gd name="T32" fmla="*/ 136 w 145"/>
              <a:gd name="T33" fmla="*/ 23 h 102"/>
              <a:gd name="T34" fmla="*/ 126 w 145"/>
              <a:gd name="T35" fmla="*/ 7 h 102"/>
              <a:gd name="T36" fmla="*/ 127 w 145"/>
              <a:gd name="T37" fmla="*/ 0 h 102"/>
              <a:gd name="T38" fmla="*/ 115 w 145"/>
              <a:gd name="T39" fmla="*/ 4 h 102"/>
              <a:gd name="T40" fmla="*/ 104 w 145"/>
              <a:gd name="T41" fmla="*/ 6 h 102"/>
              <a:gd name="T42" fmla="*/ 94 w 145"/>
              <a:gd name="T43" fmla="*/ 10 h 102"/>
              <a:gd name="T44" fmla="*/ 83 w 145"/>
              <a:gd name="T45" fmla="*/ 12 h 102"/>
              <a:gd name="T46" fmla="*/ 74 w 145"/>
              <a:gd name="T47" fmla="*/ 23 h 102"/>
              <a:gd name="T48" fmla="*/ 67 w 145"/>
              <a:gd name="T49" fmla="*/ 34 h 102"/>
              <a:gd name="T50" fmla="*/ 59 w 145"/>
              <a:gd name="T51" fmla="*/ 44 h 102"/>
              <a:gd name="T52" fmla="*/ 52 w 145"/>
              <a:gd name="T53" fmla="*/ 55 h 102"/>
              <a:gd name="T54" fmla="*/ 50 w 145"/>
              <a:gd name="T55" fmla="*/ 38 h 102"/>
              <a:gd name="T56" fmla="*/ 37 w 145"/>
              <a:gd name="T57" fmla="*/ 32 h 102"/>
              <a:gd name="T58" fmla="*/ 24 w 145"/>
              <a:gd name="T59" fmla="*/ 26 h 102"/>
              <a:gd name="T60" fmla="*/ 7 w 145"/>
              <a:gd name="T61" fmla="*/ 24 h 102"/>
              <a:gd name="T62" fmla="*/ 5 w 145"/>
              <a:gd name="T63" fmla="*/ 37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5" h="102">
                <a:moveTo>
                  <a:pt x="5" y="37"/>
                </a:moveTo>
                <a:lnTo>
                  <a:pt x="0" y="42"/>
                </a:lnTo>
                <a:lnTo>
                  <a:pt x="0" y="61"/>
                </a:lnTo>
                <a:lnTo>
                  <a:pt x="6" y="82"/>
                </a:lnTo>
                <a:lnTo>
                  <a:pt x="13" y="102"/>
                </a:lnTo>
                <a:lnTo>
                  <a:pt x="31" y="101"/>
                </a:lnTo>
                <a:lnTo>
                  <a:pt x="49" y="90"/>
                </a:lnTo>
                <a:lnTo>
                  <a:pt x="64" y="85"/>
                </a:lnTo>
                <a:lnTo>
                  <a:pt x="78" y="80"/>
                </a:lnTo>
                <a:lnTo>
                  <a:pt x="89" y="76"/>
                </a:lnTo>
                <a:lnTo>
                  <a:pt x="100" y="71"/>
                </a:lnTo>
                <a:lnTo>
                  <a:pt x="110" y="66"/>
                </a:lnTo>
                <a:lnTo>
                  <a:pt x="121" y="60"/>
                </a:lnTo>
                <a:lnTo>
                  <a:pt x="132" y="55"/>
                </a:lnTo>
                <a:lnTo>
                  <a:pt x="132" y="49"/>
                </a:lnTo>
                <a:lnTo>
                  <a:pt x="145" y="38"/>
                </a:lnTo>
                <a:lnTo>
                  <a:pt x="136" y="23"/>
                </a:lnTo>
                <a:lnTo>
                  <a:pt x="126" y="7"/>
                </a:lnTo>
                <a:lnTo>
                  <a:pt x="127" y="0"/>
                </a:lnTo>
                <a:lnTo>
                  <a:pt x="115" y="4"/>
                </a:lnTo>
                <a:lnTo>
                  <a:pt x="104" y="6"/>
                </a:lnTo>
                <a:lnTo>
                  <a:pt x="94" y="10"/>
                </a:lnTo>
                <a:lnTo>
                  <a:pt x="83" y="12"/>
                </a:lnTo>
                <a:lnTo>
                  <a:pt x="74" y="23"/>
                </a:lnTo>
                <a:lnTo>
                  <a:pt x="67" y="34"/>
                </a:lnTo>
                <a:lnTo>
                  <a:pt x="59" y="44"/>
                </a:lnTo>
                <a:lnTo>
                  <a:pt x="52" y="55"/>
                </a:lnTo>
                <a:lnTo>
                  <a:pt x="50" y="38"/>
                </a:lnTo>
                <a:lnTo>
                  <a:pt x="37" y="32"/>
                </a:lnTo>
                <a:lnTo>
                  <a:pt x="24" y="26"/>
                </a:lnTo>
                <a:lnTo>
                  <a:pt x="7" y="24"/>
                </a:lnTo>
                <a:lnTo>
                  <a:pt x="5" y="37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7" name="Freeform 91">
            <a:extLst>
              <a:ext uri="{FF2B5EF4-FFF2-40B4-BE49-F238E27FC236}">
                <a16:creationId xmlns:a16="http://schemas.microsoft.com/office/drawing/2014/main" id="{8BD222F3-06A0-4FEF-A498-84D46635EFEB}"/>
              </a:ext>
            </a:extLst>
          </p:cNvPr>
          <p:cNvSpPr>
            <a:spLocks/>
          </p:cNvSpPr>
          <p:nvPr/>
        </p:nvSpPr>
        <p:spPr bwMode="gray">
          <a:xfrm>
            <a:off x="7156380" y="4086104"/>
            <a:ext cx="62790" cy="136899"/>
          </a:xfrm>
          <a:custGeom>
            <a:avLst/>
            <a:gdLst>
              <a:gd name="T0" fmla="*/ 7 w 31"/>
              <a:gd name="T1" fmla="*/ 2 h 62"/>
              <a:gd name="T2" fmla="*/ 13 w 31"/>
              <a:gd name="T3" fmla="*/ 10 h 62"/>
              <a:gd name="T4" fmla="*/ 19 w 31"/>
              <a:gd name="T5" fmla="*/ 21 h 62"/>
              <a:gd name="T6" fmla="*/ 25 w 31"/>
              <a:gd name="T7" fmla="*/ 33 h 62"/>
              <a:gd name="T8" fmla="*/ 31 w 31"/>
              <a:gd name="T9" fmla="*/ 45 h 62"/>
              <a:gd name="T10" fmla="*/ 24 w 31"/>
              <a:gd name="T11" fmla="*/ 58 h 62"/>
              <a:gd name="T12" fmla="*/ 10 w 31"/>
              <a:gd name="T13" fmla="*/ 62 h 62"/>
              <a:gd name="T14" fmla="*/ 1 w 31"/>
              <a:gd name="T15" fmla="*/ 42 h 62"/>
              <a:gd name="T16" fmla="*/ 0 w 31"/>
              <a:gd name="T17" fmla="*/ 26 h 62"/>
              <a:gd name="T18" fmla="*/ 1 w 31"/>
              <a:gd name="T19" fmla="*/ 27 h 62"/>
              <a:gd name="T20" fmla="*/ 3 w 31"/>
              <a:gd name="T21" fmla="*/ 15 h 62"/>
              <a:gd name="T22" fmla="*/ 5 w 31"/>
              <a:gd name="T23" fmla="*/ 4 h 62"/>
              <a:gd name="T24" fmla="*/ 6 w 31"/>
              <a:gd name="T25" fmla="*/ 3 h 62"/>
              <a:gd name="T26" fmla="*/ 3 w 31"/>
              <a:gd name="T27" fmla="*/ 0 h 62"/>
              <a:gd name="T28" fmla="*/ 7 w 31"/>
              <a:gd name="T29" fmla="*/ 2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1" h="62">
                <a:moveTo>
                  <a:pt x="7" y="2"/>
                </a:moveTo>
                <a:lnTo>
                  <a:pt x="13" y="10"/>
                </a:lnTo>
                <a:lnTo>
                  <a:pt x="19" y="21"/>
                </a:lnTo>
                <a:lnTo>
                  <a:pt x="25" y="33"/>
                </a:lnTo>
                <a:lnTo>
                  <a:pt x="31" y="45"/>
                </a:lnTo>
                <a:lnTo>
                  <a:pt x="24" y="58"/>
                </a:lnTo>
                <a:lnTo>
                  <a:pt x="10" y="62"/>
                </a:lnTo>
                <a:lnTo>
                  <a:pt x="1" y="42"/>
                </a:lnTo>
                <a:lnTo>
                  <a:pt x="0" y="26"/>
                </a:lnTo>
                <a:lnTo>
                  <a:pt x="1" y="27"/>
                </a:lnTo>
                <a:lnTo>
                  <a:pt x="3" y="15"/>
                </a:lnTo>
                <a:lnTo>
                  <a:pt x="5" y="4"/>
                </a:lnTo>
                <a:lnTo>
                  <a:pt x="6" y="3"/>
                </a:lnTo>
                <a:lnTo>
                  <a:pt x="3" y="0"/>
                </a:lnTo>
                <a:lnTo>
                  <a:pt x="7" y="2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1" name="Freeform 115">
            <a:extLst>
              <a:ext uri="{FF2B5EF4-FFF2-40B4-BE49-F238E27FC236}">
                <a16:creationId xmlns:a16="http://schemas.microsoft.com/office/drawing/2014/main" id="{C63935F6-82C6-4619-92A0-FD31B1EA3750}"/>
              </a:ext>
            </a:extLst>
          </p:cNvPr>
          <p:cNvSpPr>
            <a:spLocks/>
          </p:cNvSpPr>
          <p:nvPr/>
        </p:nvSpPr>
        <p:spPr bwMode="gray">
          <a:xfrm>
            <a:off x="6241168" y="3506760"/>
            <a:ext cx="3805" cy="9919"/>
          </a:xfrm>
          <a:custGeom>
            <a:avLst/>
            <a:gdLst>
              <a:gd name="T0" fmla="*/ 0 w 1"/>
              <a:gd name="T1" fmla="*/ 0 h 4"/>
              <a:gd name="T2" fmla="*/ 0 w 1"/>
              <a:gd name="T3" fmla="*/ 4 h 4"/>
              <a:gd name="T4" fmla="*/ 1 w 1"/>
              <a:gd name="T5" fmla="*/ 1 h 4"/>
              <a:gd name="T6" fmla="*/ 0 w 1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4">
                <a:moveTo>
                  <a:pt x="0" y="0"/>
                </a:moveTo>
                <a:lnTo>
                  <a:pt x="0" y="4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2" name="Freeform 116">
            <a:extLst>
              <a:ext uri="{FF2B5EF4-FFF2-40B4-BE49-F238E27FC236}">
                <a16:creationId xmlns:a16="http://schemas.microsoft.com/office/drawing/2014/main" id="{35F46884-AA1E-4FDA-B5B2-43FF60DF849E}"/>
              </a:ext>
            </a:extLst>
          </p:cNvPr>
          <p:cNvSpPr>
            <a:spLocks/>
          </p:cNvSpPr>
          <p:nvPr/>
        </p:nvSpPr>
        <p:spPr bwMode="gray">
          <a:xfrm>
            <a:off x="5169931" y="3600011"/>
            <a:ext cx="310144" cy="565455"/>
          </a:xfrm>
          <a:custGeom>
            <a:avLst/>
            <a:gdLst>
              <a:gd name="T0" fmla="*/ 143 w 145"/>
              <a:gd name="T1" fmla="*/ 65 h 257"/>
              <a:gd name="T2" fmla="*/ 128 w 145"/>
              <a:gd name="T3" fmla="*/ 56 h 257"/>
              <a:gd name="T4" fmla="*/ 115 w 145"/>
              <a:gd name="T5" fmla="*/ 48 h 257"/>
              <a:gd name="T6" fmla="*/ 101 w 145"/>
              <a:gd name="T7" fmla="*/ 41 h 257"/>
              <a:gd name="T8" fmla="*/ 86 w 145"/>
              <a:gd name="T9" fmla="*/ 32 h 257"/>
              <a:gd name="T10" fmla="*/ 72 w 145"/>
              <a:gd name="T11" fmla="*/ 24 h 257"/>
              <a:gd name="T12" fmla="*/ 58 w 145"/>
              <a:gd name="T13" fmla="*/ 16 h 257"/>
              <a:gd name="T14" fmla="*/ 44 w 145"/>
              <a:gd name="T15" fmla="*/ 8 h 257"/>
              <a:gd name="T16" fmla="*/ 30 w 145"/>
              <a:gd name="T17" fmla="*/ 0 h 257"/>
              <a:gd name="T18" fmla="*/ 16 w 145"/>
              <a:gd name="T19" fmla="*/ 8 h 257"/>
              <a:gd name="T20" fmla="*/ 18 w 145"/>
              <a:gd name="T21" fmla="*/ 20 h 257"/>
              <a:gd name="T22" fmla="*/ 19 w 145"/>
              <a:gd name="T23" fmla="*/ 32 h 257"/>
              <a:gd name="T24" fmla="*/ 31 w 145"/>
              <a:gd name="T25" fmla="*/ 50 h 257"/>
              <a:gd name="T26" fmla="*/ 28 w 145"/>
              <a:gd name="T27" fmla="*/ 58 h 257"/>
              <a:gd name="T28" fmla="*/ 28 w 145"/>
              <a:gd name="T29" fmla="*/ 70 h 257"/>
              <a:gd name="T30" fmla="*/ 26 w 145"/>
              <a:gd name="T31" fmla="*/ 82 h 257"/>
              <a:gd name="T32" fmla="*/ 25 w 145"/>
              <a:gd name="T33" fmla="*/ 94 h 257"/>
              <a:gd name="T34" fmla="*/ 25 w 145"/>
              <a:gd name="T35" fmla="*/ 106 h 257"/>
              <a:gd name="T36" fmla="*/ 19 w 145"/>
              <a:gd name="T37" fmla="*/ 115 h 257"/>
              <a:gd name="T38" fmla="*/ 12 w 145"/>
              <a:gd name="T39" fmla="*/ 125 h 257"/>
              <a:gd name="T40" fmla="*/ 6 w 145"/>
              <a:gd name="T41" fmla="*/ 134 h 257"/>
              <a:gd name="T42" fmla="*/ 0 w 145"/>
              <a:gd name="T43" fmla="*/ 144 h 257"/>
              <a:gd name="T44" fmla="*/ 0 w 145"/>
              <a:gd name="T45" fmla="*/ 157 h 257"/>
              <a:gd name="T46" fmla="*/ 6 w 145"/>
              <a:gd name="T47" fmla="*/ 168 h 257"/>
              <a:gd name="T48" fmla="*/ 12 w 145"/>
              <a:gd name="T49" fmla="*/ 168 h 257"/>
              <a:gd name="T50" fmla="*/ 19 w 145"/>
              <a:gd name="T51" fmla="*/ 184 h 257"/>
              <a:gd name="T52" fmla="*/ 20 w 145"/>
              <a:gd name="T53" fmla="*/ 202 h 257"/>
              <a:gd name="T54" fmla="*/ 30 w 145"/>
              <a:gd name="T55" fmla="*/ 217 h 257"/>
              <a:gd name="T56" fmla="*/ 13 w 145"/>
              <a:gd name="T57" fmla="*/ 217 h 257"/>
              <a:gd name="T58" fmla="*/ 6 w 145"/>
              <a:gd name="T59" fmla="*/ 221 h 257"/>
              <a:gd name="T60" fmla="*/ 18 w 145"/>
              <a:gd name="T61" fmla="*/ 236 h 257"/>
              <a:gd name="T62" fmla="*/ 28 w 145"/>
              <a:gd name="T63" fmla="*/ 257 h 257"/>
              <a:gd name="T64" fmla="*/ 41 w 145"/>
              <a:gd name="T65" fmla="*/ 252 h 257"/>
              <a:gd name="T66" fmla="*/ 43 w 145"/>
              <a:gd name="T67" fmla="*/ 254 h 257"/>
              <a:gd name="T68" fmla="*/ 52 w 145"/>
              <a:gd name="T69" fmla="*/ 253 h 257"/>
              <a:gd name="T70" fmla="*/ 71 w 145"/>
              <a:gd name="T71" fmla="*/ 248 h 257"/>
              <a:gd name="T72" fmla="*/ 78 w 145"/>
              <a:gd name="T73" fmla="*/ 241 h 257"/>
              <a:gd name="T74" fmla="*/ 76 w 145"/>
              <a:gd name="T75" fmla="*/ 235 h 257"/>
              <a:gd name="T76" fmla="*/ 96 w 145"/>
              <a:gd name="T77" fmla="*/ 232 h 257"/>
              <a:gd name="T78" fmla="*/ 107 w 145"/>
              <a:gd name="T79" fmla="*/ 218 h 257"/>
              <a:gd name="T80" fmla="*/ 118 w 145"/>
              <a:gd name="T81" fmla="*/ 205 h 257"/>
              <a:gd name="T82" fmla="*/ 131 w 145"/>
              <a:gd name="T83" fmla="*/ 203 h 257"/>
              <a:gd name="T84" fmla="*/ 130 w 145"/>
              <a:gd name="T85" fmla="*/ 193 h 257"/>
              <a:gd name="T86" fmla="*/ 127 w 145"/>
              <a:gd name="T87" fmla="*/ 185 h 257"/>
              <a:gd name="T88" fmla="*/ 121 w 145"/>
              <a:gd name="T89" fmla="*/ 173 h 257"/>
              <a:gd name="T90" fmla="*/ 115 w 145"/>
              <a:gd name="T91" fmla="*/ 172 h 257"/>
              <a:gd name="T92" fmla="*/ 121 w 145"/>
              <a:gd name="T93" fmla="*/ 160 h 257"/>
              <a:gd name="T94" fmla="*/ 122 w 145"/>
              <a:gd name="T95" fmla="*/ 152 h 257"/>
              <a:gd name="T96" fmla="*/ 124 w 145"/>
              <a:gd name="T97" fmla="*/ 149 h 257"/>
              <a:gd name="T98" fmla="*/ 124 w 145"/>
              <a:gd name="T99" fmla="*/ 143 h 257"/>
              <a:gd name="T100" fmla="*/ 131 w 145"/>
              <a:gd name="T101" fmla="*/ 130 h 257"/>
              <a:gd name="T102" fmla="*/ 136 w 145"/>
              <a:gd name="T103" fmla="*/ 126 h 257"/>
              <a:gd name="T104" fmla="*/ 145 w 145"/>
              <a:gd name="T105" fmla="*/ 126 h 257"/>
              <a:gd name="T106" fmla="*/ 145 w 145"/>
              <a:gd name="T107" fmla="*/ 110 h 257"/>
              <a:gd name="T108" fmla="*/ 144 w 145"/>
              <a:gd name="T109" fmla="*/ 95 h 257"/>
              <a:gd name="T110" fmla="*/ 144 w 145"/>
              <a:gd name="T111" fmla="*/ 79 h 257"/>
              <a:gd name="T112" fmla="*/ 143 w 145"/>
              <a:gd name="T113" fmla="*/ 65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5" h="257">
                <a:moveTo>
                  <a:pt x="143" y="65"/>
                </a:moveTo>
                <a:lnTo>
                  <a:pt x="128" y="56"/>
                </a:lnTo>
                <a:lnTo>
                  <a:pt x="115" y="48"/>
                </a:lnTo>
                <a:lnTo>
                  <a:pt x="101" y="41"/>
                </a:lnTo>
                <a:lnTo>
                  <a:pt x="86" y="32"/>
                </a:lnTo>
                <a:lnTo>
                  <a:pt x="72" y="24"/>
                </a:lnTo>
                <a:lnTo>
                  <a:pt x="58" y="16"/>
                </a:lnTo>
                <a:lnTo>
                  <a:pt x="44" y="8"/>
                </a:lnTo>
                <a:lnTo>
                  <a:pt x="30" y="0"/>
                </a:lnTo>
                <a:lnTo>
                  <a:pt x="16" y="8"/>
                </a:lnTo>
                <a:lnTo>
                  <a:pt x="18" y="20"/>
                </a:lnTo>
                <a:lnTo>
                  <a:pt x="19" y="32"/>
                </a:lnTo>
                <a:lnTo>
                  <a:pt x="31" y="50"/>
                </a:lnTo>
                <a:lnTo>
                  <a:pt x="28" y="58"/>
                </a:lnTo>
                <a:lnTo>
                  <a:pt x="28" y="70"/>
                </a:lnTo>
                <a:lnTo>
                  <a:pt x="26" y="82"/>
                </a:lnTo>
                <a:lnTo>
                  <a:pt x="25" y="94"/>
                </a:lnTo>
                <a:lnTo>
                  <a:pt x="25" y="106"/>
                </a:lnTo>
                <a:lnTo>
                  <a:pt x="19" y="115"/>
                </a:lnTo>
                <a:lnTo>
                  <a:pt x="12" y="125"/>
                </a:lnTo>
                <a:lnTo>
                  <a:pt x="6" y="134"/>
                </a:lnTo>
                <a:lnTo>
                  <a:pt x="0" y="144"/>
                </a:lnTo>
                <a:lnTo>
                  <a:pt x="0" y="157"/>
                </a:lnTo>
                <a:lnTo>
                  <a:pt x="6" y="168"/>
                </a:lnTo>
                <a:lnTo>
                  <a:pt x="12" y="168"/>
                </a:lnTo>
                <a:lnTo>
                  <a:pt x="19" y="184"/>
                </a:lnTo>
                <a:lnTo>
                  <a:pt x="20" y="202"/>
                </a:lnTo>
                <a:lnTo>
                  <a:pt x="30" y="217"/>
                </a:lnTo>
                <a:lnTo>
                  <a:pt x="13" y="217"/>
                </a:lnTo>
                <a:lnTo>
                  <a:pt x="6" y="221"/>
                </a:lnTo>
                <a:lnTo>
                  <a:pt x="18" y="236"/>
                </a:lnTo>
                <a:lnTo>
                  <a:pt x="28" y="257"/>
                </a:lnTo>
                <a:lnTo>
                  <a:pt x="41" y="252"/>
                </a:lnTo>
                <a:lnTo>
                  <a:pt x="43" y="254"/>
                </a:lnTo>
                <a:lnTo>
                  <a:pt x="52" y="253"/>
                </a:lnTo>
                <a:lnTo>
                  <a:pt x="71" y="248"/>
                </a:lnTo>
                <a:lnTo>
                  <a:pt x="78" y="241"/>
                </a:lnTo>
                <a:lnTo>
                  <a:pt x="76" y="235"/>
                </a:lnTo>
                <a:lnTo>
                  <a:pt x="96" y="232"/>
                </a:lnTo>
                <a:lnTo>
                  <a:pt x="107" y="218"/>
                </a:lnTo>
                <a:lnTo>
                  <a:pt x="118" y="205"/>
                </a:lnTo>
                <a:lnTo>
                  <a:pt x="131" y="203"/>
                </a:lnTo>
                <a:lnTo>
                  <a:pt x="130" y="193"/>
                </a:lnTo>
                <a:lnTo>
                  <a:pt x="127" y="185"/>
                </a:lnTo>
                <a:lnTo>
                  <a:pt x="121" y="173"/>
                </a:lnTo>
                <a:lnTo>
                  <a:pt x="115" y="172"/>
                </a:lnTo>
                <a:lnTo>
                  <a:pt x="121" y="160"/>
                </a:lnTo>
                <a:lnTo>
                  <a:pt x="122" y="152"/>
                </a:lnTo>
                <a:lnTo>
                  <a:pt x="124" y="149"/>
                </a:lnTo>
                <a:lnTo>
                  <a:pt x="124" y="143"/>
                </a:lnTo>
                <a:lnTo>
                  <a:pt x="131" y="130"/>
                </a:lnTo>
                <a:lnTo>
                  <a:pt x="136" y="126"/>
                </a:lnTo>
                <a:lnTo>
                  <a:pt x="145" y="126"/>
                </a:lnTo>
                <a:lnTo>
                  <a:pt x="145" y="110"/>
                </a:lnTo>
                <a:lnTo>
                  <a:pt x="144" y="95"/>
                </a:lnTo>
                <a:lnTo>
                  <a:pt x="144" y="79"/>
                </a:lnTo>
                <a:lnTo>
                  <a:pt x="143" y="65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3" name="Freeform 117">
            <a:extLst>
              <a:ext uri="{FF2B5EF4-FFF2-40B4-BE49-F238E27FC236}">
                <a16:creationId xmlns:a16="http://schemas.microsoft.com/office/drawing/2014/main" id="{472ED7E3-90FC-42D6-B61C-1A3AA757C018}"/>
              </a:ext>
            </a:extLst>
          </p:cNvPr>
          <p:cNvSpPr>
            <a:spLocks/>
          </p:cNvSpPr>
          <p:nvPr/>
        </p:nvSpPr>
        <p:spPr bwMode="gray">
          <a:xfrm>
            <a:off x="6012840" y="3988886"/>
            <a:ext cx="41860" cy="57537"/>
          </a:xfrm>
          <a:custGeom>
            <a:avLst/>
            <a:gdLst>
              <a:gd name="T0" fmla="*/ 0 w 21"/>
              <a:gd name="T1" fmla="*/ 24 h 26"/>
              <a:gd name="T2" fmla="*/ 17 w 21"/>
              <a:gd name="T3" fmla="*/ 26 h 26"/>
              <a:gd name="T4" fmla="*/ 21 w 21"/>
              <a:gd name="T5" fmla="*/ 17 h 26"/>
              <a:gd name="T6" fmla="*/ 15 w 21"/>
              <a:gd name="T7" fmla="*/ 0 h 26"/>
              <a:gd name="T8" fmla="*/ 10 w 21"/>
              <a:gd name="T9" fmla="*/ 0 h 26"/>
              <a:gd name="T10" fmla="*/ 0 w 21"/>
              <a:gd name="T11" fmla="*/ 24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" h="26">
                <a:moveTo>
                  <a:pt x="0" y="24"/>
                </a:moveTo>
                <a:lnTo>
                  <a:pt x="17" y="26"/>
                </a:lnTo>
                <a:lnTo>
                  <a:pt x="21" y="17"/>
                </a:lnTo>
                <a:lnTo>
                  <a:pt x="15" y="0"/>
                </a:lnTo>
                <a:lnTo>
                  <a:pt x="10" y="0"/>
                </a:lnTo>
                <a:lnTo>
                  <a:pt x="0" y="24"/>
                </a:lnTo>
                <a:close/>
              </a:path>
            </a:pathLst>
          </a:custGeom>
          <a:solidFill>
            <a:srgbClr val="95ABC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4" name="Freeform 118">
            <a:extLst>
              <a:ext uri="{FF2B5EF4-FFF2-40B4-BE49-F238E27FC236}">
                <a16:creationId xmlns:a16="http://schemas.microsoft.com/office/drawing/2014/main" id="{E42C9208-AEE5-419A-96AB-27C46CD4EE09}"/>
              </a:ext>
            </a:extLst>
          </p:cNvPr>
          <p:cNvSpPr>
            <a:spLocks/>
          </p:cNvSpPr>
          <p:nvPr/>
        </p:nvSpPr>
        <p:spPr bwMode="gray">
          <a:xfrm>
            <a:off x="5847302" y="3794448"/>
            <a:ext cx="199786" cy="206340"/>
          </a:xfrm>
          <a:custGeom>
            <a:avLst/>
            <a:gdLst>
              <a:gd name="T0" fmla="*/ 0 w 94"/>
              <a:gd name="T1" fmla="*/ 69 h 92"/>
              <a:gd name="T2" fmla="*/ 2 w 94"/>
              <a:gd name="T3" fmla="*/ 57 h 92"/>
              <a:gd name="T4" fmla="*/ 4 w 94"/>
              <a:gd name="T5" fmla="*/ 36 h 92"/>
              <a:gd name="T6" fmla="*/ 9 w 94"/>
              <a:gd name="T7" fmla="*/ 15 h 92"/>
              <a:gd name="T8" fmla="*/ 17 w 94"/>
              <a:gd name="T9" fmla="*/ 8 h 92"/>
              <a:gd name="T10" fmla="*/ 27 w 94"/>
              <a:gd name="T11" fmla="*/ 2 h 92"/>
              <a:gd name="T12" fmla="*/ 28 w 94"/>
              <a:gd name="T13" fmla="*/ 0 h 92"/>
              <a:gd name="T14" fmla="*/ 33 w 94"/>
              <a:gd name="T15" fmla="*/ 11 h 92"/>
              <a:gd name="T16" fmla="*/ 38 w 94"/>
              <a:gd name="T17" fmla="*/ 23 h 92"/>
              <a:gd name="T18" fmla="*/ 41 w 94"/>
              <a:gd name="T19" fmla="*/ 35 h 92"/>
              <a:gd name="T20" fmla="*/ 46 w 94"/>
              <a:gd name="T21" fmla="*/ 45 h 92"/>
              <a:gd name="T22" fmla="*/ 47 w 94"/>
              <a:gd name="T23" fmla="*/ 42 h 92"/>
              <a:gd name="T24" fmla="*/ 51 w 94"/>
              <a:gd name="T25" fmla="*/ 44 h 92"/>
              <a:gd name="T26" fmla="*/ 63 w 94"/>
              <a:gd name="T27" fmla="*/ 53 h 92"/>
              <a:gd name="T28" fmla="*/ 77 w 94"/>
              <a:gd name="T29" fmla="*/ 68 h 92"/>
              <a:gd name="T30" fmla="*/ 93 w 94"/>
              <a:gd name="T31" fmla="*/ 83 h 92"/>
              <a:gd name="T32" fmla="*/ 94 w 94"/>
              <a:gd name="T33" fmla="*/ 86 h 92"/>
              <a:gd name="T34" fmla="*/ 93 w 94"/>
              <a:gd name="T35" fmla="*/ 87 h 92"/>
              <a:gd name="T36" fmla="*/ 88 w 94"/>
              <a:gd name="T37" fmla="*/ 87 h 92"/>
              <a:gd name="T38" fmla="*/ 81 w 94"/>
              <a:gd name="T39" fmla="*/ 92 h 92"/>
              <a:gd name="T40" fmla="*/ 80 w 94"/>
              <a:gd name="T41" fmla="*/ 87 h 92"/>
              <a:gd name="T42" fmla="*/ 68 w 94"/>
              <a:gd name="T43" fmla="*/ 84 h 92"/>
              <a:gd name="T44" fmla="*/ 59 w 94"/>
              <a:gd name="T45" fmla="*/ 74 h 92"/>
              <a:gd name="T46" fmla="*/ 54 w 94"/>
              <a:gd name="T47" fmla="*/ 68 h 92"/>
              <a:gd name="T48" fmla="*/ 45 w 94"/>
              <a:gd name="T49" fmla="*/ 65 h 92"/>
              <a:gd name="T50" fmla="*/ 38 w 94"/>
              <a:gd name="T51" fmla="*/ 62 h 92"/>
              <a:gd name="T52" fmla="*/ 29 w 94"/>
              <a:gd name="T53" fmla="*/ 63 h 92"/>
              <a:gd name="T54" fmla="*/ 22 w 94"/>
              <a:gd name="T55" fmla="*/ 56 h 92"/>
              <a:gd name="T56" fmla="*/ 20 w 94"/>
              <a:gd name="T57" fmla="*/ 69 h 92"/>
              <a:gd name="T58" fmla="*/ 14 w 94"/>
              <a:gd name="T59" fmla="*/ 63 h 92"/>
              <a:gd name="T60" fmla="*/ 8 w 94"/>
              <a:gd name="T61" fmla="*/ 71 h 92"/>
              <a:gd name="T62" fmla="*/ 0 w 94"/>
              <a:gd name="T63" fmla="*/ 69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4" h="92">
                <a:moveTo>
                  <a:pt x="0" y="69"/>
                </a:moveTo>
                <a:lnTo>
                  <a:pt x="2" y="57"/>
                </a:lnTo>
                <a:lnTo>
                  <a:pt x="4" y="36"/>
                </a:lnTo>
                <a:lnTo>
                  <a:pt x="9" y="15"/>
                </a:lnTo>
                <a:lnTo>
                  <a:pt x="17" y="8"/>
                </a:lnTo>
                <a:lnTo>
                  <a:pt x="27" y="2"/>
                </a:lnTo>
                <a:lnTo>
                  <a:pt x="28" y="0"/>
                </a:lnTo>
                <a:lnTo>
                  <a:pt x="33" y="11"/>
                </a:lnTo>
                <a:lnTo>
                  <a:pt x="38" y="23"/>
                </a:lnTo>
                <a:lnTo>
                  <a:pt x="41" y="35"/>
                </a:lnTo>
                <a:lnTo>
                  <a:pt x="46" y="45"/>
                </a:lnTo>
                <a:lnTo>
                  <a:pt x="47" y="42"/>
                </a:lnTo>
                <a:lnTo>
                  <a:pt x="51" y="44"/>
                </a:lnTo>
                <a:lnTo>
                  <a:pt x="63" y="53"/>
                </a:lnTo>
                <a:lnTo>
                  <a:pt x="77" y="68"/>
                </a:lnTo>
                <a:lnTo>
                  <a:pt x="93" y="83"/>
                </a:lnTo>
                <a:lnTo>
                  <a:pt x="94" y="86"/>
                </a:lnTo>
                <a:lnTo>
                  <a:pt x="93" y="87"/>
                </a:lnTo>
                <a:lnTo>
                  <a:pt x="88" y="87"/>
                </a:lnTo>
                <a:lnTo>
                  <a:pt x="81" y="92"/>
                </a:lnTo>
                <a:lnTo>
                  <a:pt x="80" y="87"/>
                </a:lnTo>
                <a:lnTo>
                  <a:pt x="68" y="84"/>
                </a:lnTo>
                <a:lnTo>
                  <a:pt x="59" y="74"/>
                </a:lnTo>
                <a:lnTo>
                  <a:pt x="54" y="68"/>
                </a:lnTo>
                <a:lnTo>
                  <a:pt x="45" y="65"/>
                </a:lnTo>
                <a:lnTo>
                  <a:pt x="38" y="62"/>
                </a:lnTo>
                <a:lnTo>
                  <a:pt x="29" y="63"/>
                </a:lnTo>
                <a:lnTo>
                  <a:pt x="22" y="56"/>
                </a:lnTo>
                <a:lnTo>
                  <a:pt x="20" y="69"/>
                </a:lnTo>
                <a:lnTo>
                  <a:pt x="14" y="63"/>
                </a:lnTo>
                <a:lnTo>
                  <a:pt x="8" y="71"/>
                </a:lnTo>
                <a:lnTo>
                  <a:pt x="0" y="69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5" name="Freeform 119">
            <a:extLst>
              <a:ext uri="{FF2B5EF4-FFF2-40B4-BE49-F238E27FC236}">
                <a16:creationId xmlns:a16="http://schemas.microsoft.com/office/drawing/2014/main" id="{C99735AF-4FF0-4334-84D4-4E91AC745444}"/>
              </a:ext>
            </a:extLst>
          </p:cNvPr>
          <p:cNvSpPr>
            <a:spLocks/>
          </p:cNvSpPr>
          <p:nvPr/>
        </p:nvSpPr>
        <p:spPr bwMode="gray">
          <a:xfrm>
            <a:off x="5754069" y="3921428"/>
            <a:ext cx="449043" cy="388875"/>
          </a:xfrm>
          <a:custGeom>
            <a:avLst/>
            <a:gdLst>
              <a:gd name="T0" fmla="*/ 71 w 211"/>
              <a:gd name="T1" fmla="*/ 173 h 177"/>
              <a:gd name="T2" fmla="*/ 54 w 211"/>
              <a:gd name="T3" fmla="*/ 161 h 177"/>
              <a:gd name="T4" fmla="*/ 42 w 211"/>
              <a:gd name="T5" fmla="*/ 159 h 177"/>
              <a:gd name="T6" fmla="*/ 38 w 211"/>
              <a:gd name="T7" fmla="*/ 147 h 177"/>
              <a:gd name="T8" fmla="*/ 30 w 211"/>
              <a:gd name="T9" fmla="*/ 142 h 177"/>
              <a:gd name="T10" fmla="*/ 24 w 211"/>
              <a:gd name="T11" fmla="*/ 132 h 177"/>
              <a:gd name="T12" fmla="*/ 19 w 211"/>
              <a:gd name="T13" fmla="*/ 121 h 177"/>
              <a:gd name="T14" fmla="*/ 5 w 211"/>
              <a:gd name="T15" fmla="*/ 108 h 177"/>
              <a:gd name="T16" fmla="*/ 0 w 211"/>
              <a:gd name="T17" fmla="*/ 105 h 177"/>
              <a:gd name="T18" fmla="*/ 5 w 211"/>
              <a:gd name="T19" fmla="*/ 97 h 177"/>
              <a:gd name="T20" fmla="*/ 14 w 211"/>
              <a:gd name="T21" fmla="*/ 95 h 177"/>
              <a:gd name="T22" fmla="*/ 17 w 211"/>
              <a:gd name="T23" fmla="*/ 77 h 177"/>
              <a:gd name="T24" fmla="*/ 18 w 211"/>
              <a:gd name="T25" fmla="*/ 59 h 177"/>
              <a:gd name="T26" fmla="*/ 26 w 211"/>
              <a:gd name="T27" fmla="*/ 58 h 177"/>
              <a:gd name="T28" fmla="*/ 30 w 211"/>
              <a:gd name="T29" fmla="*/ 40 h 177"/>
              <a:gd name="T30" fmla="*/ 44 w 211"/>
              <a:gd name="T31" fmla="*/ 13 h 177"/>
              <a:gd name="T32" fmla="*/ 52 w 211"/>
              <a:gd name="T33" fmla="*/ 15 h 177"/>
              <a:gd name="T34" fmla="*/ 58 w 211"/>
              <a:gd name="T35" fmla="*/ 7 h 177"/>
              <a:gd name="T36" fmla="*/ 64 w 211"/>
              <a:gd name="T37" fmla="*/ 13 h 177"/>
              <a:gd name="T38" fmla="*/ 66 w 211"/>
              <a:gd name="T39" fmla="*/ 0 h 177"/>
              <a:gd name="T40" fmla="*/ 73 w 211"/>
              <a:gd name="T41" fmla="*/ 7 h 177"/>
              <a:gd name="T42" fmla="*/ 82 w 211"/>
              <a:gd name="T43" fmla="*/ 6 h 177"/>
              <a:gd name="T44" fmla="*/ 89 w 211"/>
              <a:gd name="T45" fmla="*/ 9 h 177"/>
              <a:gd name="T46" fmla="*/ 98 w 211"/>
              <a:gd name="T47" fmla="*/ 12 h 177"/>
              <a:gd name="T48" fmla="*/ 103 w 211"/>
              <a:gd name="T49" fmla="*/ 18 h 177"/>
              <a:gd name="T50" fmla="*/ 112 w 211"/>
              <a:gd name="T51" fmla="*/ 28 h 177"/>
              <a:gd name="T52" fmla="*/ 124 w 211"/>
              <a:gd name="T53" fmla="*/ 31 h 177"/>
              <a:gd name="T54" fmla="*/ 125 w 211"/>
              <a:gd name="T55" fmla="*/ 36 h 177"/>
              <a:gd name="T56" fmla="*/ 132 w 211"/>
              <a:gd name="T57" fmla="*/ 31 h 177"/>
              <a:gd name="T58" fmla="*/ 122 w 211"/>
              <a:gd name="T59" fmla="*/ 55 h 177"/>
              <a:gd name="T60" fmla="*/ 139 w 211"/>
              <a:gd name="T61" fmla="*/ 57 h 177"/>
              <a:gd name="T62" fmla="*/ 137 w 211"/>
              <a:gd name="T63" fmla="*/ 65 h 177"/>
              <a:gd name="T64" fmla="*/ 146 w 211"/>
              <a:gd name="T65" fmla="*/ 77 h 177"/>
              <a:gd name="T66" fmla="*/ 155 w 211"/>
              <a:gd name="T67" fmla="*/ 88 h 177"/>
              <a:gd name="T68" fmla="*/ 166 w 211"/>
              <a:gd name="T69" fmla="*/ 93 h 177"/>
              <a:gd name="T70" fmla="*/ 176 w 211"/>
              <a:gd name="T71" fmla="*/ 96 h 177"/>
              <a:gd name="T72" fmla="*/ 187 w 211"/>
              <a:gd name="T73" fmla="*/ 100 h 177"/>
              <a:gd name="T74" fmla="*/ 198 w 211"/>
              <a:gd name="T75" fmla="*/ 105 h 177"/>
              <a:gd name="T76" fmla="*/ 211 w 211"/>
              <a:gd name="T77" fmla="*/ 105 h 177"/>
              <a:gd name="T78" fmla="*/ 202 w 211"/>
              <a:gd name="T79" fmla="*/ 117 h 177"/>
              <a:gd name="T80" fmla="*/ 191 w 211"/>
              <a:gd name="T81" fmla="*/ 130 h 177"/>
              <a:gd name="T82" fmla="*/ 180 w 211"/>
              <a:gd name="T83" fmla="*/ 142 h 177"/>
              <a:gd name="T84" fmla="*/ 169 w 211"/>
              <a:gd name="T85" fmla="*/ 154 h 177"/>
              <a:gd name="T86" fmla="*/ 158 w 211"/>
              <a:gd name="T87" fmla="*/ 155 h 177"/>
              <a:gd name="T88" fmla="*/ 148 w 211"/>
              <a:gd name="T89" fmla="*/ 156 h 177"/>
              <a:gd name="T90" fmla="*/ 133 w 211"/>
              <a:gd name="T91" fmla="*/ 166 h 177"/>
              <a:gd name="T92" fmla="*/ 126 w 211"/>
              <a:gd name="T93" fmla="*/ 169 h 177"/>
              <a:gd name="T94" fmla="*/ 113 w 211"/>
              <a:gd name="T95" fmla="*/ 166 h 177"/>
              <a:gd name="T96" fmla="*/ 97 w 211"/>
              <a:gd name="T97" fmla="*/ 171 h 177"/>
              <a:gd name="T98" fmla="*/ 91 w 211"/>
              <a:gd name="T99" fmla="*/ 177 h 177"/>
              <a:gd name="T100" fmla="*/ 71 w 211"/>
              <a:gd name="T101" fmla="*/ 173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11" h="177">
                <a:moveTo>
                  <a:pt x="71" y="173"/>
                </a:moveTo>
                <a:lnTo>
                  <a:pt x="54" y="161"/>
                </a:lnTo>
                <a:lnTo>
                  <a:pt x="42" y="159"/>
                </a:lnTo>
                <a:lnTo>
                  <a:pt x="38" y="147"/>
                </a:lnTo>
                <a:lnTo>
                  <a:pt x="30" y="142"/>
                </a:lnTo>
                <a:lnTo>
                  <a:pt x="24" y="132"/>
                </a:lnTo>
                <a:lnTo>
                  <a:pt x="19" y="121"/>
                </a:lnTo>
                <a:lnTo>
                  <a:pt x="5" y="108"/>
                </a:lnTo>
                <a:lnTo>
                  <a:pt x="0" y="105"/>
                </a:lnTo>
                <a:lnTo>
                  <a:pt x="5" y="97"/>
                </a:lnTo>
                <a:lnTo>
                  <a:pt x="14" y="95"/>
                </a:lnTo>
                <a:lnTo>
                  <a:pt x="17" y="77"/>
                </a:lnTo>
                <a:lnTo>
                  <a:pt x="18" y="59"/>
                </a:lnTo>
                <a:lnTo>
                  <a:pt x="26" y="58"/>
                </a:lnTo>
                <a:lnTo>
                  <a:pt x="30" y="40"/>
                </a:lnTo>
                <a:lnTo>
                  <a:pt x="44" y="13"/>
                </a:lnTo>
                <a:lnTo>
                  <a:pt x="52" y="15"/>
                </a:lnTo>
                <a:lnTo>
                  <a:pt x="58" y="7"/>
                </a:lnTo>
                <a:lnTo>
                  <a:pt x="64" y="13"/>
                </a:lnTo>
                <a:lnTo>
                  <a:pt x="66" y="0"/>
                </a:lnTo>
                <a:lnTo>
                  <a:pt x="73" y="7"/>
                </a:lnTo>
                <a:lnTo>
                  <a:pt x="82" y="6"/>
                </a:lnTo>
                <a:lnTo>
                  <a:pt x="89" y="9"/>
                </a:lnTo>
                <a:lnTo>
                  <a:pt x="98" y="12"/>
                </a:lnTo>
                <a:lnTo>
                  <a:pt x="103" y="18"/>
                </a:lnTo>
                <a:lnTo>
                  <a:pt x="112" y="28"/>
                </a:lnTo>
                <a:lnTo>
                  <a:pt x="124" y="31"/>
                </a:lnTo>
                <a:lnTo>
                  <a:pt x="125" y="36"/>
                </a:lnTo>
                <a:lnTo>
                  <a:pt x="132" y="31"/>
                </a:lnTo>
                <a:lnTo>
                  <a:pt x="122" y="55"/>
                </a:lnTo>
                <a:lnTo>
                  <a:pt x="139" y="57"/>
                </a:lnTo>
                <a:lnTo>
                  <a:pt x="137" y="65"/>
                </a:lnTo>
                <a:lnTo>
                  <a:pt x="146" y="77"/>
                </a:lnTo>
                <a:lnTo>
                  <a:pt x="155" y="88"/>
                </a:lnTo>
                <a:lnTo>
                  <a:pt x="166" y="93"/>
                </a:lnTo>
                <a:lnTo>
                  <a:pt x="176" y="96"/>
                </a:lnTo>
                <a:lnTo>
                  <a:pt x="187" y="100"/>
                </a:lnTo>
                <a:lnTo>
                  <a:pt x="198" y="105"/>
                </a:lnTo>
                <a:lnTo>
                  <a:pt x="211" y="105"/>
                </a:lnTo>
                <a:lnTo>
                  <a:pt x="202" y="117"/>
                </a:lnTo>
                <a:lnTo>
                  <a:pt x="191" y="130"/>
                </a:lnTo>
                <a:lnTo>
                  <a:pt x="180" y="142"/>
                </a:lnTo>
                <a:lnTo>
                  <a:pt x="169" y="154"/>
                </a:lnTo>
                <a:lnTo>
                  <a:pt x="158" y="155"/>
                </a:lnTo>
                <a:lnTo>
                  <a:pt x="148" y="156"/>
                </a:lnTo>
                <a:lnTo>
                  <a:pt x="133" y="166"/>
                </a:lnTo>
                <a:lnTo>
                  <a:pt x="126" y="169"/>
                </a:lnTo>
                <a:lnTo>
                  <a:pt x="113" y="166"/>
                </a:lnTo>
                <a:lnTo>
                  <a:pt x="97" y="171"/>
                </a:lnTo>
                <a:lnTo>
                  <a:pt x="91" y="177"/>
                </a:lnTo>
                <a:lnTo>
                  <a:pt x="71" y="173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6" name="Freeform 120">
            <a:extLst>
              <a:ext uri="{FF2B5EF4-FFF2-40B4-BE49-F238E27FC236}">
                <a16:creationId xmlns:a16="http://schemas.microsoft.com/office/drawing/2014/main" id="{C5BA2C6C-57CC-4CFC-887C-5CAF37947308}"/>
              </a:ext>
            </a:extLst>
          </p:cNvPr>
          <p:cNvSpPr>
            <a:spLocks/>
          </p:cNvSpPr>
          <p:nvPr/>
        </p:nvSpPr>
        <p:spPr bwMode="gray">
          <a:xfrm>
            <a:off x="5995715" y="4010711"/>
            <a:ext cx="300632" cy="480141"/>
          </a:xfrm>
          <a:custGeom>
            <a:avLst/>
            <a:gdLst>
              <a:gd name="T0" fmla="*/ 138 w 143"/>
              <a:gd name="T1" fmla="*/ 30 h 218"/>
              <a:gd name="T2" fmla="*/ 133 w 143"/>
              <a:gd name="T3" fmla="*/ 48 h 218"/>
              <a:gd name="T4" fmla="*/ 124 w 143"/>
              <a:gd name="T5" fmla="*/ 67 h 218"/>
              <a:gd name="T6" fmla="*/ 114 w 143"/>
              <a:gd name="T7" fmla="*/ 86 h 218"/>
              <a:gd name="T8" fmla="*/ 104 w 143"/>
              <a:gd name="T9" fmla="*/ 106 h 218"/>
              <a:gd name="T10" fmla="*/ 95 w 143"/>
              <a:gd name="T11" fmla="*/ 125 h 218"/>
              <a:gd name="T12" fmla="*/ 86 w 143"/>
              <a:gd name="T13" fmla="*/ 133 h 218"/>
              <a:gd name="T14" fmla="*/ 78 w 143"/>
              <a:gd name="T15" fmla="*/ 143 h 218"/>
              <a:gd name="T16" fmla="*/ 70 w 143"/>
              <a:gd name="T17" fmla="*/ 151 h 218"/>
              <a:gd name="T18" fmla="*/ 61 w 143"/>
              <a:gd name="T19" fmla="*/ 160 h 218"/>
              <a:gd name="T20" fmla="*/ 52 w 143"/>
              <a:gd name="T21" fmla="*/ 170 h 218"/>
              <a:gd name="T22" fmla="*/ 41 w 143"/>
              <a:gd name="T23" fmla="*/ 180 h 218"/>
              <a:gd name="T24" fmla="*/ 31 w 143"/>
              <a:gd name="T25" fmla="*/ 190 h 218"/>
              <a:gd name="T26" fmla="*/ 22 w 143"/>
              <a:gd name="T27" fmla="*/ 199 h 218"/>
              <a:gd name="T28" fmla="*/ 14 w 143"/>
              <a:gd name="T29" fmla="*/ 209 h 218"/>
              <a:gd name="T30" fmla="*/ 8 w 143"/>
              <a:gd name="T31" fmla="*/ 218 h 218"/>
              <a:gd name="T32" fmla="*/ 0 w 143"/>
              <a:gd name="T33" fmla="*/ 206 h 218"/>
              <a:gd name="T34" fmla="*/ 0 w 143"/>
              <a:gd name="T35" fmla="*/ 191 h 218"/>
              <a:gd name="T36" fmla="*/ 0 w 143"/>
              <a:gd name="T37" fmla="*/ 176 h 218"/>
              <a:gd name="T38" fmla="*/ 0 w 143"/>
              <a:gd name="T39" fmla="*/ 161 h 218"/>
              <a:gd name="T40" fmla="*/ 0 w 143"/>
              <a:gd name="T41" fmla="*/ 146 h 218"/>
              <a:gd name="T42" fmla="*/ 6 w 143"/>
              <a:gd name="T43" fmla="*/ 137 h 218"/>
              <a:gd name="T44" fmla="*/ 12 w 143"/>
              <a:gd name="T45" fmla="*/ 128 h 218"/>
              <a:gd name="T46" fmla="*/ 19 w 143"/>
              <a:gd name="T47" fmla="*/ 125 h 218"/>
              <a:gd name="T48" fmla="*/ 34 w 143"/>
              <a:gd name="T49" fmla="*/ 115 h 218"/>
              <a:gd name="T50" fmla="*/ 44 w 143"/>
              <a:gd name="T51" fmla="*/ 114 h 218"/>
              <a:gd name="T52" fmla="*/ 55 w 143"/>
              <a:gd name="T53" fmla="*/ 113 h 218"/>
              <a:gd name="T54" fmla="*/ 66 w 143"/>
              <a:gd name="T55" fmla="*/ 101 h 218"/>
              <a:gd name="T56" fmla="*/ 77 w 143"/>
              <a:gd name="T57" fmla="*/ 89 h 218"/>
              <a:gd name="T58" fmla="*/ 88 w 143"/>
              <a:gd name="T59" fmla="*/ 76 h 218"/>
              <a:gd name="T60" fmla="*/ 97 w 143"/>
              <a:gd name="T61" fmla="*/ 64 h 218"/>
              <a:gd name="T62" fmla="*/ 84 w 143"/>
              <a:gd name="T63" fmla="*/ 64 h 218"/>
              <a:gd name="T64" fmla="*/ 73 w 143"/>
              <a:gd name="T65" fmla="*/ 59 h 218"/>
              <a:gd name="T66" fmla="*/ 62 w 143"/>
              <a:gd name="T67" fmla="*/ 55 h 218"/>
              <a:gd name="T68" fmla="*/ 52 w 143"/>
              <a:gd name="T69" fmla="*/ 52 h 218"/>
              <a:gd name="T70" fmla="*/ 41 w 143"/>
              <a:gd name="T71" fmla="*/ 47 h 218"/>
              <a:gd name="T72" fmla="*/ 32 w 143"/>
              <a:gd name="T73" fmla="*/ 36 h 218"/>
              <a:gd name="T74" fmla="*/ 23 w 143"/>
              <a:gd name="T75" fmla="*/ 24 h 218"/>
              <a:gd name="T76" fmla="*/ 25 w 143"/>
              <a:gd name="T77" fmla="*/ 16 h 218"/>
              <a:gd name="T78" fmla="*/ 29 w 143"/>
              <a:gd name="T79" fmla="*/ 7 h 218"/>
              <a:gd name="T80" fmla="*/ 37 w 143"/>
              <a:gd name="T81" fmla="*/ 16 h 218"/>
              <a:gd name="T82" fmla="*/ 46 w 143"/>
              <a:gd name="T83" fmla="*/ 24 h 218"/>
              <a:gd name="T84" fmla="*/ 64 w 143"/>
              <a:gd name="T85" fmla="*/ 18 h 218"/>
              <a:gd name="T86" fmla="*/ 77 w 143"/>
              <a:gd name="T87" fmla="*/ 19 h 218"/>
              <a:gd name="T88" fmla="*/ 90 w 143"/>
              <a:gd name="T89" fmla="*/ 13 h 218"/>
              <a:gd name="T90" fmla="*/ 110 w 143"/>
              <a:gd name="T91" fmla="*/ 8 h 218"/>
              <a:gd name="T92" fmla="*/ 130 w 143"/>
              <a:gd name="T93" fmla="*/ 4 h 218"/>
              <a:gd name="T94" fmla="*/ 137 w 143"/>
              <a:gd name="T95" fmla="*/ 0 h 218"/>
              <a:gd name="T96" fmla="*/ 142 w 143"/>
              <a:gd name="T97" fmla="*/ 5 h 218"/>
              <a:gd name="T98" fmla="*/ 140 w 143"/>
              <a:gd name="T99" fmla="*/ 24 h 218"/>
              <a:gd name="T100" fmla="*/ 143 w 143"/>
              <a:gd name="T101" fmla="*/ 24 h 218"/>
              <a:gd name="T102" fmla="*/ 138 w 143"/>
              <a:gd name="T103" fmla="*/ 30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3" h="218">
                <a:moveTo>
                  <a:pt x="138" y="30"/>
                </a:moveTo>
                <a:lnTo>
                  <a:pt x="133" y="48"/>
                </a:lnTo>
                <a:lnTo>
                  <a:pt x="124" y="67"/>
                </a:lnTo>
                <a:lnTo>
                  <a:pt x="114" y="86"/>
                </a:lnTo>
                <a:lnTo>
                  <a:pt x="104" y="106"/>
                </a:lnTo>
                <a:lnTo>
                  <a:pt x="95" y="125"/>
                </a:lnTo>
                <a:lnTo>
                  <a:pt x="86" y="133"/>
                </a:lnTo>
                <a:lnTo>
                  <a:pt x="78" y="143"/>
                </a:lnTo>
                <a:lnTo>
                  <a:pt x="70" y="151"/>
                </a:lnTo>
                <a:lnTo>
                  <a:pt x="61" y="160"/>
                </a:lnTo>
                <a:lnTo>
                  <a:pt x="52" y="170"/>
                </a:lnTo>
                <a:lnTo>
                  <a:pt x="41" y="180"/>
                </a:lnTo>
                <a:lnTo>
                  <a:pt x="31" y="190"/>
                </a:lnTo>
                <a:lnTo>
                  <a:pt x="22" y="199"/>
                </a:lnTo>
                <a:lnTo>
                  <a:pt x="14" y="209"/>
                </a:lnTo>
                <a:lnTo>
                  <a:pt x="8" y="218"/>
                </a:lnTo>
                <a:lnTo>
                  <a:pt x="0" y="206"/>
                </a:lnTo>
                <a:lnTo>
                  <a:pt x="0" y="191"/>
                </a:lnTo>
                <a:lnTo>
                  <a:pt x="0" y="176"/>
                </a:lnTo>
                <a:lnTo>
                  <a:pt x="0" y="161"/>
                </a:lnTo>
                <a:lnTo>
                  <a:pt x="0" y="146"/>
                </a:lnTo>
                <a:lnTo>
                  <a:pt x="6" y="137"/>
                </a:lnTo>
                <a:lnTo>
                  <a:pt x="12" y="128"/>
                </a:lnTo>
                <a:lnTo>
                  <a:pt x="19" y="125"/>
                </a:lnTo>
                <a:lnTo>
                  <a:pt x="34" y="115"/>
                </a:lnTo>
                <a:lnTo>
                  <a:pt x="44" y="114"/>
                </a:lnTo>
                <a:lnTo>
                  <a:pt x="55" y="113"/>
                </a:lnTo>
                <a:lnTo>
                  <a:pt x="66" y="101"/>
                </a:lnTo>
                <a:lnTo>
                  <a:pt x="77" y="89"/>
                </a:lnTo>
                <a:lnTo>
                  <a:pt x="88" y="76"/>
                </a:lnTo>
                <a:lnTo>
                  <a:pt x="97" y="64"/>
                </a:lnTo>
                <a:lnTo>
                  <a:pt x="84" y="64"/>
                </a:lnTo>
                <a:lnTo>
                  <a:pt x="73" y="59"/>
                </a:lnTo>
                <a:lnTo>
                  <a:pt x="62" y="55"/>
                </a:lnTo>
                <a:lnTo>
                  <a:pt x="52" y="52"/>
                </a:lnTo>
                <a:lnTo>
                  <a:pt x="41" y="47"/>
                </a:lnTo>
                <a:lnTo>
                  <a:pt x="32" y="36"/>
                </a:lnTo>
                <a:lnTo>
                  <a:pt x="23" y="24"/>
                </a:lnTo>
                <a:lnTo>
                  <a:pt x="25" y="16"/>
                </a:lnTo>
                <a:lnTo>
                  <a:pt x="29" y="7"/>
                </a:lnTo>
                <a:lnTo>
                  <a:pt x="37" y="16"/>
                </a:lnTo>
                <a:lnTo>
                  <a:pt x="46" y="24"/>
                </a:lnTo>
                <a:lnTo>
                  <a:pt x="64" y="18"/>
                </a:lnTo>
                <a:lnTo>
                  <a:pt x="77" y="19"/>
                </a:lnTo>
                <a:lnTo>
                  <a:pt x="90" y="13"/>
                </a:lnTo>
                <a:lnTo>
                  <a:pt x="110" y="8"/>
                </a:lnTo>
                <a:lnTo>
                  <a:pt x="130" y="4"/>
                </a:lnTo>
                <a:lnTo>
                  <a:pt x="137" y="0"/>
                </a:lnTo>
                <a:lnTo>
                  <a:pt x="142" y="5"/>
                </a:lnTo>
                <a:lnTo>
                  <a:pt x="140" y="24"/>
                </a:lnTo>
                <a:lnTo>
                  <a:pt x="143" y="24"/>
                </a:lnTo>
                <a:lnTo>
                  <a:pt x="138" y="30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7" name="Freeform 121">
            <a:extLst>
              <a:ext uri="{FF2B5EF4-FFF2-40B4-BE49-F238E27FC236}">
                <a16:creationId xmlns:a16="http://schemas.microsoft.com/office/drawing/2014/main" id="{751E52DD-8E1D-4B69-B0D0-ABEAB557C319}"/>
              </a:ext>
            </a:extLst>
          </p:cNvPr>
          <p:cNvSpPr>
            <a:spLocks/>
          </p:cNvSpPr>
          <p:nvPr/>
        </p:nvSpPr>
        <p:spPr bwMode="gray">
          <a:xfrm>
            <a:off x="5415384" y="3613900"/>
            <a:ext cx="487097" cy="696403"/>
          </a:xfrm>
          <a:custGeom>
            <a:avLst/>
            <a:gdLst>
              <a:gd name="T0" fmla="*/ 28 w 232"/>
              <a:gd name="T1" fmla="*/ 50 h 316"/>
              <a:gd name="T2" fmla="*/ 41 w 232"/>
              <a:gd name="T3" fmla="*/ 35 h 316"/>
              <a:gd name="T4" fmla="*/ 52 w 232"/>
              <a:gd name="T5" fmla="*/ 18 h 316"/>
              <a:gd name="T6" fmla="*/ 73 w 232"/>
              <a:gd name="T7" fmla="*/ 18 h 316"/>
              <a:gd name="T8" fmla="*/ 95 w 232"/>
              <a:gd name="T9" fmla="*/ 18 h 316"/>
              <a:gd name="T10" fmla="*/ 117 w 232"/>
              <a:gd name="T11" fmla="*/ 18 h 316"/>
              <a:gd name="T12" fmla="*/ 130 w 232"/>
              <a:gd name="T13" fmla="*/ 14 h 316"/>
              <a:gd name="T14" fmla="*/ 148 w 232"/>
              <a:gd name="T15" fmla="*/ 20 h 316"/>
              <a:gd name="T16" fmla="*/ 168 w 232"/>
              <a:gd name="T17" fmla="*/ 14 h 316"/>
              <a:gd name="T18" fmla="*/ 178 w 232"/>
              <a:gd name="T19" fmla="*/ 5 h 316"/>
              <a:gd name="T20" fmla="*/ 187 w 232"/>
              <a:gd name="T21" fmla="*/ 0 h 316"/>
              <a:gd name="T22" fmla="*/ 205 w 232"/>
              <a:gd name="T23" fmla="*/ 20 h 316"/>
              <a:gd name="T24" fmla="*/ 214 w 232"/>
              <a:gd name="T25" fmla="*/ 52 h 316"/>
              <a:gd name="T26" fmla="*/ 232 w 232"/>
              <a:gd name="T27" fmla="*/ 85 h 316"/>
              <a:gd name="T28" fmla="*/ 214 w 232"/>
              <a:gd name="T29" fmla="*/ 98 h 316"/>
              <a:gd name="T30" fmla="*/ 207 w 232"/>
              <a:gd name="T31" fmla="*/ 140 h 316"/>
              <a:gd name="T32" fmla="*/ 191 w 232"/>
              <a:gd name="T33" fmla="*/ 179 h 316"/>
              <a:gd name="T34" fmla="*/ 179 w 232"/>
              <a:gd name="T35" fmla="*/ 198 h 316"/>
              <a:gd name="T36" fmla="*/ 175 w 232"/>
              <a:gd name="T37" fmla="*/ 234 h 316"/>
              <a:gd name="T38" fmla="*/ 161 w 232"/>
              <a:gd name="T39" fmla="*/ 244 h 316"/>
              <a:gd name="T40" fmla="*/ 180 w 232"/>
              <a:gd name="T41" fmla="*/ 260 h 316"/>
              <a:gd name="T42" fmla="*/ 191 w 232"/>
              <a:gd name="T43" fmla="*/ 281 h 316"/>
              <a:gd name="T44" fmla="*/ 203 w 232"/>
              <a:gd name="T45" fmla="*/ 298 h 316"/>
              <a:gd name="T46" fmla="*/ 181 w 232"/>
              <a:gd name="T47" fmla="*/ 298 h 316"/>
              <a:gd name="T48" fmla="*/ 168 w 232"/>
              <a:gd name="T49" fmla="*/ 312 h 316"/>
              <a:gd name="T50" fmla="*/ 147 w 232"/>
              <a:gd name="T51" fmla="*/ 314 h 316"/>
              <a:gd name="T52" fmla="*/ 132 w 232"/>
              <a:gd name="T53" fmla="*/ 313 h 316"/>
              <a:gd name="T54" fmla="*/ 121 w 232"/>
              <a:gd name="T55" fmla="*/ 306 h 316"/>
              <a:gd name="T56" fmla="*/ 106 w 232"/>
              <a:gd name="T57" fmla="*/ 301 h 316"/>
              <a:gd name="T58" fmla="*/ 85 w 232"/>
              <a:gd name="T59" fmla="*/ 295 h 316"/>
              <a:gd name="T60" fmla="*/ 81 w 232"/>
              <a:gd name="T61" fmla="*/ 287 h 316"/>
              <a:gd name="T62" fmla="*/ 66 w 232"/>
              <a:gd name="T63" fmla="*/ 268 h 316"/>
              <a:gd name="T64" fmla="*/ 52 w 232"/>
              <a:gd name="T65" fmla="*/ 248 h 316"/>
              <a:gd name="T66" fmla="*/ 36 w 232"/>
              <a:gd name="T67" fmla="*/ 234 h 316"/>
              <a:gd name="T68" fmla="*/ 28 w 232"/>
              <a:gd name="T69" fmla="*/ 216 h 316"/>
              <a:gd name="T70" fmla="*/ 16 w 232"/>
              <a:gd name="T71" fmla="*/ 197 h 316"/>
              <a:gd name="T72" fmla="*/ 12 w 232"/>
              <a:gd name="T73" fmla="*/ 179 h 316"/>
              <a:gd name="T74" fmla="*/ 0 w 232"/>
              <a:gd name="T75" fmla="*/ 166 h 316"/>
              <a:gd name="T76" fmla="*/ 7 w 232"/>
              <a:gd name="T77" fmla="*/ 146 h 316"/>
              <a:gd name="T78" fmla="*/ 9 w 232"/>
              <a:gd name="T79" fmla="*/ 137 h 316"/>
              <a:gd name="T80" fmla="*/ 21 w 232"/>
              <a:gd name="T81" fmla="*/ 120 h 316"/>
              <a:gd name="T82" fmla="*/ 30 w 232"/>
              <a:gd name="T83" fmla="*/ 104 h 316"/>
              <a:gd name="T84" fmla="*/ 29 w 232"/>
              <a:gd name="T85" fmla="*/ 73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32" h="316">
                <a:moveTo>
                  <a:pt x="28" y="59"/>
                </a:moveTo>
                <a:lnTo>
                  <a:pt x="28" y="50"/>
                </a:lnTo>
                <a:lnTo>
                  <a:pt x="42" y="50"/>
                </a:lnTo>
                <a:lnTo>
                  <a:pt x="41" y="35"/>
                </a:lnTo>
                <a:lnTo>
                  <a:pt x="41" y="18"/>
                </a:lnTo>
                <a:lnTo>
                  <a:pt x="52" y="18"/>
                </a:lnTo>
                <a:lnTo>
                  <a:pt x="63" y="18"/>
                </a:lnTo>
                <a:lnTo>
                  <a:pt x="73" y="18"/>
                </a:lnTo>
                <a:lnTo>
                  <a:pt x="84" y="18"/>
                </a:lnTo>
                <a:lnTo>
                  <a:pt x="95" y="18"/>
                </a:lnTo>
                <a:lnTo>
                  <a:pt x="106" y="18"/>
                </a:lnTo>
                <a:lnTo>
                  <a:pt x="117" y="18"/>
                </a:lnTo>
                <a:lnTo>
                  <a:pt x="127" y="18"/>
                </a:lnTo>
                <a:lnTo>
                  <a:pt x="130" y="14"/>
                </a:lnTo>
                <a:lnTo>
                  <a:pt x="130" y="18"/>
                </a:lnTo>
                <a:lnTo>
                  <a:pt x="148" y="20"/>
                </a:lnTo>
                <a:lnTo>
                  <a:pt x="165" y="22"/>
                </a:lnTo>
                <a:lnTo>
                  <a:pt x="168" y="14"/>
                </a:lnTo>
                <a:lnTo>
                  <a:pt x="175" y="13"/>
                </a:lnTo>
                <a:lnTo>
                  <a:pt x="178" y="5"/>
                </a:lnTo>
                <a:lnTo>
                  <a:pt x="183" y="6"/>
                </a:lnTo>
                <a:lnTo>
                  <a:pt x="187" y="0"/>
                </a:lnTo>
                <a:lnTo>
                  <a:pt x="197" y="11"/>
                </a:lnTo>
                <a:lnTo>
                  <a:pt x="205" y="20"/>
                </a:lnTo>
                <a:lnTo>
                  <a:pt x="210" y="32"/>
                </a:lnTo>
                <a:lnTo>
                  <a:pt x="214" y="52"/>
                </a:lnTo>
                <a:lnTo>
                  <a:pt x="219" y="71"/>
                </a:lnTo>
                <a:lnTo>
                  <a:pt x="232" y="85"/>
                </a:lnTo>
                <a:lnTo>
                  <a:pt x="222" y="91"/>
                </a:lnTo>
                <a:lnTo>
                  <a:pt x="214" y="98"/>
                </a:lnTo>
                <a:lnTo>
                  <a:pt x="209" y="119"/>
                </a:lnTo>
                <a:lnTo>
                  <a:pt x="207" y="140"/>
                </a:lnTo>
                <a:lnTo>
                  <a:pt x="205" y="152"/>
                </a:lnTo>
                <a:lnTo>
                  <a:pt x="191" y="179"/>
                </a:lnTo>
                <a:lnTo>
                  <a:pt x="187" y="197"/>
                </a:lnTo>
                <a:lnTo>
                  <a:pt x="179" y="198"/>
                </a:lnTo>
                <a:lnTo>
                  <a:pt x="178" y="216"/>
                </a:lnTo>
                <a:lnTo>
                  <a:pt x="175" y="234"/>
                </a:lnTo>
                <a:lnTo>
                  <a:pt x="166" y="236"/>
                </a:lnTo>
                <a:lnTo>
                  <a:pt x="161" y="244"/>
                </a:lnTo>
                <a:lnTo>
                  <a:pt x="166" y="247"/>
                </a:lnTo>
                <a:lnTo>
                  <a:pt x="180" y="260"/>
                </a:lnTo>
                <a:lnTo>
                  <a:pt x="185" y="271"/>
                </a:lnTo>
                <a:lnTo>
                  <a:pt x="191" y="281"/>
                </a:lnTo>
                <a:lnTo>
                  <a:pt x="199" y="286"/>
                </a:lnTo>
                <a:lnTo>
                  <a:pt x="203" y="298"/>
                </a:lnTo>
                <a:lnTo>
                  <a:pt x="192" y="298"/>
                </a:lnTo>
                <a:lnTo>
                  <a:pt x="181" y="298"/>
                </a:lnTo>
                <a:lnTo>
                  <a:pt x="175" y="304"/>
                </a:lnTo>
                <a:lnTo>
                  <a:pt x="168" y="312"/>
                </a:lnTo>
                <a:lnTo>
                  <a:pt x="153" y="312"/>
                </a:lnTo>
                <a:lnTo>
                  <a:pt x="147" y="314"/>
                </a:lnTo>
                <a:lnTo>
                  <a:pt x="143" y="312"/>
                </a:lnTo>
                <a:lnTo>
                  <a:pt x="132" y="313"/>
                </a:lnTo>
                <a:lnTo>
                  <a:pt x="131" y="316"/>
                </a:lnTo>
                <a:lnTo>
                  <a:pt x="121" y="306"/>
                </a:lnTo>
                <a:lnTo>
                  <a:pt x="111" y="296"/>
                </a:lnTo>
                <a:lnTo>
                  <a:pt x="106" y="301"/>
                </a:lnTo>
                <a:lnTo>
                  <a:pt x="97" y="301"/>
                </a:lnTo>
                <a:lnTo>
                  <a:pt x="85" y="295"/>
                </a:lnTo>
                <a:lnTo>
                  <a:pt x="83" y="292"/>
                </a:lnTo>
                <a:lnTo>
                  <a:pt x="81" y="287"/>
                </a:lnTo>
                <a:lnTo>
                  <a:pt x="72" y="276"/>
                </a:lnTo>
                <a:lnTo>
                  <a:pt x="66" y="268"/>
                </a:lnTo>
                <a:lnTo>
                  <a:pt x="54" y="256"/>
                </a:lnTo>
                <a:lnTo>
                  <a:pt x="52" y="248"/>
                </a:lnTo>
                <a:lnTo>
                  <a:pt x="39" y="239"/>
                </a:lnTo>
                <a:lnTo>
                  <a:pt x="36" y="234"/>
                </a:lnTo>
                <a:lnTo>
                  <a:pt x="25" y="232"/>
                </a:lnTo>
                <a:lnTo>
                  <a:pt x="28" y="216"/>
                </a:lnTo>
                <a:lnTo>
                  <a:pt x="22" y="206"/>
                </a:lnTo>
                <a:lnTo>
                  <a:pt x="16" y="197"/>
                </a:lnTo>
                <a:lnTo>
                  <a:pt x="15" y="187"/>
                </a:lnTo>
                <a:lnTo>
                  <a:pt x="12" y="179"/>
                </a:lnTo>
                <a:lnTo>
                  <a:pt x="6" y="167"/>
                </a:lnTo>
                <a:lnTo>
                  <a:pt x="0" y="166"/>
                </a:lnTo>
                <a:lnTo>
                  <a:pt x="6" y="154"/>
                </a:lnTo>
                <a:lnTo>
                  <a:pt x="7" y="146"/>
                </a:lnTo>
                <a:lnTo>
                  <a:pt x="9" y="143"/>
                </a:lnTo>
                <a:lnTo>
                  <a:pt x="9" y="137"/>
                </a:lnTo>
                <a:lnTo>
                  <a:pt x="16" y="124"/>
                </a:lnTo>
                <a:lnTo>
                  <a:pt x="21" y="120"/>
                </a:lnTo>
                <a:lnTo>
                  <a:pt x="30" y="120"/>
                </a:lnTo>
                <a:lnTo>
                  <a:pt x="30" y="104"/>
                </a:lnTo>
                <a:lnTo>
                  <a:pt x="29" y="89"/>
                </a:lnTo>
                <a:lnTo>
                  <a:pt x="29" y="73"/>
                </a:lnTo>
                <a:lnTo>
                  <a:pt x="28" y="59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1" name="Freeform 130">
            <a:extLst>
              <a:ext uri="{FF2B5EF4-FFF2-40B4-BE49-F238E27FC236}">
                <a16:creationId xmlns:a16="http://schemas.microsoft.com/office/drawing/2014/main" id="{CE6A732F-1261-48F8-B4D5-428F453B427D}"/>
              </a:ext>
            </a:extLst>
          </p:cNvPr>
          <p:cNvSpPr>
            <a:spLocks/>
          </p:cNvSpPr>
          <p:nvPr/>
        </p:nvSpPr>
        <p:spPr bwMode="gray">
          <a:xfrm>
            <a:off x="4844566" y="3949205"/>
            <a:ext cx="355809" cy="331338"/>
          </a:xfrm>
          <a:custGeom>
            <a:avLst/>
            <a:gdLst>
              <a:gd name="T0" fmla="*/ 112 w 168"/>
              <a:gd name="T1" fmla="*/ 108 h 151"/>
              <a:gd name="T2" fmla="*/ 101 w 168"/>
              <a:gd name="T3" fmla="*/ 112 h 151"/>
              <a:gd name="T4" fmla="*/ 94 w 168"/>
              <a:gd name="T5" fmla="*/ 121 h 151"/>
              <a:gd name="T6" fmla="*/ 88 w 168"/>
              <a:gd name="T7" fmla="*/ 130 h 151"/>
              <a:gd name="T8" fmla="*/ 84 w 168"/>
              <a:gd name="T9" fmla="*/ 143 h 151"/>
              <a:gd name="T10" fmla="*/ 80 w 168"/>
              <a:gd name="T11" fmla="*/ 143 h 151"/>
              <a:gd name="T12" fmla="*/ 80 w 168"/>
              <a:gd name="T13" fmla="*/ 148 h 151"/>
              <a:gd name="T14" fmla="*/ 66 w 168"/>
              <a:gd name="T15" fmla="*/ 148 h 151"/>
              <a:gd name="T16" fmla="*/ 64 w 168"/>
              <a:gd name="T17" fmla="*/ 147 h 151"/>
              <a:gd name="T18" fmla="*/ 62 w 168"/>
              <a:gd name="T19" fmla="*/ 148 h 151"/>
              <a:gd name="T20" fmla="*/ 59 w 168"/>
              <a:gd name="T21" fmla="*/ 149 h 151"/>
              <a:gd name="T22" fmla="*/ 58 w 168"/>
              <a:gd name="T23" fmla="*/ 144 h 151"/>
              <a:gd name="T24" fmla="*/ 57 w 168"/>
              <a:gd name="T25" fmla="*/ 151 h 151"/>
              <a:gd name="T26" fmla="*/ 57 w 168"/>
              <a:gd name="T27" fmla="*/ 148 h 151"/>
              <a:gd name="T28" fmla="*/ 56 w 168"/>
              <a:gd name="T29" fmla="*/ 149 h 151"/>
              <a:gd name="T30" fmla="*/ 51 w 168"/>
              <a:gd name="T31" fmla="*/ 149 h 151"/>
              <a:gd name="T32" fmla="*/ 45 w 168"/>
              <a:gd name="T33" fmla="*/ 150 h 151"/>
              <a:gd name="T34" fmla="*/ 39 w 168"/>
              <a:gd name="T35" fmla="*/ 135 h 151"/>
              <a:gd name="T36" fmla="*/ 40 w 168"/>
              <a:gd name="T37" fmla="*/ 133 h 151"/>
              <a:gd name="T38" fmla="*/ 38 w 168"/>
              <a:gd name="T39" fmla="*/ 131 h 151"/>
              <a:gd name="T40" fmla="*/ 39 w 168"/>
              <a:gd name="T41" fmla="*/ 131 h 151"/>
              <a:gd name="T42" fmla="*/ 35 w 168"/>
              <a:gd name="T43" fmla="*/ 127 h 151"/>
              <a:gd name="T44" fmla="*/ 20 w 168"/>
              <a:gd name="T45" fmla="*/ 118 h 151"/>
              <a:gd name="T46" fmla="*/ 12 w 168"/>
              <a:gd name="T47" fmla="*/ 118 h 151"/>
              <a:gd name="T48" fmla="*/ 15 w 168"/>
              <a:gd name="T49" fmla="*/ 115 h 151"/>
              <a:gd name="T50" fmla="*/ 0 w 168"/>
              <a:gd name="T51" fmla="*/ 119 h 151"/>
              <a:gd name="T52" fmla="*/ 2 w 168"/>
              <a:gd name="T53" fmla="*/ 96 h 151"/>
              <a:gd name="T54" fmla="*/ 3 w 168"/>
              <a:gd name="T55" fmla="*/ 75 h 151"/>
              <a:gd name="T56" fmla="*/ 14 w 168"/>
              <a:gd name="T57" fmla="*/ 57 h 151"/>
              <a:gd name="T58" fmla="*/ 15 w 168"/>
              <a:gd name="T59" fmla="*/ 42 h 151"/>
              <a:gd name="T60" fmla="*/ 12 w 168"/>
              <a:gd name="T61" fmla="*/ 34 h 151"/>
              <a:gd name="T62" fmla="*/ 12 w 168"/>
              <a:gd name="T63" fmla="*/ 33 h 151"/>
              <a:gd name="T64" fmla="*/ 14 w 168"/>
              <a:gd name="T65" fmla="*/ 27 h 151"/>
              <a:gd name="T66" fmla="*/ 17 w 168"/>
              <a:gd name="T67" fmla="*/ 16 h 151"/>
              <a:gd name="T68" fmla="*/ 21 w 168"/>
              <a:gd name="T69" fmla="*/ 4 h 151"/>
              <a:gd name="T70" fmla="*/ 34 w 168"/>
              <a:gd name="T71" fmla="*/ 0 h 151"/>
              <a:gd name="T72" fmla="*/ 48 w 168"/>
              <a:gd name="T73" fmla="*/ 1 h 151"/>
              <a:gd name="T74" fmla="*/ 58 w 168"/>
              <a:gd name="T75" fmla="*/ 10 h 151"/>
              <a:gd name="T76" fmla="*/ 72 w 168"/>
              <a:gd name="T77" fmla="*/ 6 h 151"/>
              <a:gd name="T78" fmla="*/ 83 w 168"/>
              <a:gd name="T79" fmla="*/ 11 h 151"/>
              <a:gd name="T80" fmla="*/ 93 w 168"/>
              <a:gd name="T81" fmla="*/ 15 h 151"/>
              <a:gd name="T82" fmla="*/ 110 w 168"/>
              <a:gd name="T83" fmla="*/ 7 h 151"/>
              <a:gd name="T84" fmla="*/ 124 w 168"/>
              <a:gd name="T85" fmla="*/ 9 h 151"/>
              <a:gd name="T86" fmla="*/ 138 w 168"/>
              <a:gd name="T87" fmla="*/ 10 h 151"/>
              <a:gd name="T88" fmla="*/ 154 w 168"/>
              <a:gd name="T89" fmla="*/ 0 h 151"/>
              <a:gd name="T90" fmla="*/ 160 w 168"/>
              <a:gd name="T91" fmla="*/ 11 h 151"/>
              <a:gd name="T92" fmla="*/ 162 w 168"/>
              <a:gd name="T93" fmla="*/ 22 h 151"/>
              <a:gd name="T94" fmla="*/ 168 w 168"/>
              <a:gd name="T95" fmla="*/ 29 h 151"/>
              <a:gd name="T96" fmla="*/ 165 w 168"/>
              <a:gd name="T97" fmla="*/ 37 h 151"/>
              <a:gd name="T98" fmla="*/ 155 w 168"/>
              <a:gd name="T99" fmla="*/ 47 h 151"/>
              <a:gd name="T100" fmla="*/ 150 w 168"/>
              <a:gd name="T101" fmla="*/ 58 h 151"/>
              <a:gd name="T102" fmla="*/ 146 w 168"/>
              <a:gd name="T103" fmla="*/ 70 h 151"/>
              <a:gd name="T104" fmla="*/ 140 w 168"/>
              <a:gd name="T105" fmla="*/ 83 h 151"/>
              <a:gd name="T106" fmla="*/ 135 w 168"/>
              <a:gd name="T107" fmla="*/ 90 h 151"/>
              <a:gd name="T108" fmla="*/ 129 w 168"/>
              <a:gd name="T109" fmla="*/ 105 h 151"/>
              <a:gd name="T110" fmla="*/ 120 w 168"/>
              <a:gd name="T111" fmla="*/ 118 h 151"/>
              <a:gd name="T112" fmla="*/ 112 w 168"/>
              <a:gd name="T113" fmla="*/ 108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8" h="151">
                <a:moveTo>
                  <a:pt x="112" y="108"/>
                </a:moveTo>
                <a:lnTo>
                  <a:pt x="101" y="112"/>
                </a:lnTo>
                <a:lnTo>
                  <a:pt x="94" y="121"/>
                </a:lnTo>
                <a:lnTo>
                  <a:pt x="88" y="130"/>
                </a:lnTo>
                <a:lnTo>
                  <a:pt x="84" y="143"/>
                </a:lnTo>
                <a:lnTo>
                  <a:pt x="80" y="143"/>
                </a:lnTo>
                <a:lnTo>
                  <a:pt x="80" y="148"/>
                </a:lnTo>
                <a:lnTo>
                  <a:pt x="66" y="148"/>
                </a:lnTo>
                <a:lnTo>
                  <a:pt x="64" y="147"/>
                </a:lnTo>
                <a:lnTo>
                  <a:pt x="62" y="148"/>
                </a:lnTo>
                <a:lnTo>
                  <a:pt x="59" y="149"/>
                </a:lnTo>
                <a:lnTo>
                  <a:pt x="58" y="144"/>
                </a:lnTo>
                <a:lnTo>
                  <a:pt x="57" y="151"/>
                </a:lnTo>
                <a:lnTo>
                  <a:pt x="57" y="148"/>
                </a:lnTo>
                <a:lnTo>
                  <a:pt x="56" y="149"/>
                </a:lnTo>
                <a:lnTo>
                  <a:pt x="51" y="149"/>
                </a:lnTo>
                <a:lnTo>
                  <a:pt x="45" y="150"/>
                </a:lnTo>
                <a:lnTo>
                  <a:pt x="39" y="135"/>
                </a:lnTo>
                <a:lnTo>
                  <a:pt x="40" y="133"/>
                </a:lnTo>
                <a:lnTo>
                  <a:pt x="38" y="131"/>
                </a:lnTo>
                <a:lnTo>
                  <a:pt x="39" y="131"/>
                </a:lnTo>
                <a:lnTo>
                  <a:pt x="35" y="127"/>
                </a:lnTo>
                <a:lnTo>
                  <a:pt x="20" y="118"/>
                </a:lnTo>
                <a:lnTo>
                  <a:pt x="12" y="118"/>
                </a:lnTo>
                <a:lnTo>
                  <a:pt x="15" y="115"/>
                </a:lnTo>
                <a:lnTo>
                  <a:pt x="0" y="119"/>
                </a:lnTo>
                <a:lnTo>
                  <a:pt x="2" y="96"/>
                </a:lnTo>
                <a:lnTo>
                  <a:pt x="3" y="75"/>
                </a:lnTo>
                <a:lnTo>
                  <a:pt x="14" y="57"/>
                </a:lnTo>
                <a:lnTo>
                  <a:pt x="15" y="42"/>
                </a:lnTo>
                <a:lnTo>
                  <a:pt x="12" y="34"/>
                </a:lnTo>
                <a:lnTo>
                  <a:pt x="12" y="33"/>
                </a:lnTo>
                <a:lnTo>
                  <a:pt x="14" y="27"/>
                </a:lnTo>
                <a:lnTo>
                  <a:pt x="17" y="16"/>
                </a:lnTo>
                <a:lnTo>
                  <a:pt x="21" y="4"/>
                </a:lnTo>
                <a:lnTo>
                  <a:pt x="34" y="0"/>
                </a:lnTo>
                <a:lnTo>
                  <a:pt x="48" y="1"/>
                </a:lnTo>
                <a:lnTo>
                  <a:pt x="58" y="10"/>
                </a:lnTo>
                <a:lnTo>
                  <a:pt x="72" y="6"/>
                </a:lnTo>
                <a:lnTo>
                  <a:pt x="83" y="11"/>
                </a:lnTo>
                <a:lnTo>
                  <a:pt x="93" y="15"/>
                </a:lnTo>
                <a:lnTo>
                  <a:pt x="110" y="7"/>
                </a:lnTo>
                <a:lnTo>
                  <a:pt x="124" y="9"/>
                </a:lnTo>
                <a:lnTo>
                  <a:pt x="138" y="10"/>
                </a:lnTo>
                <a:lnTo>
                  <a:pt x="154" y="0"/>
                </a:lnTo>
                <a:lnTo>
                  <a:pt x="160" y="11"/>
                </a:lnTo>
                <a:lnTo>
                  <a:pt x="162" y="22"/>
                </a:lnTo>
                <a:lnTo>
                  <a:pt x="168" y="29"/>
                </a:lnTo>
                <a:lnTo>
                  <a:pt x="165" y="37"/>
                </a:lnTo>
                <a:lnTo>
                  <a:pt x="155" y="47"/>
                </a:lnTo>
                <a:lnTo>
                  <a:pt x="150" y="58"/>
                </a:lnTo>
                <a:lnTo>
                  <a:pt x="146" y="70"/>
                </a:lnTo>
                <a:lnTo>
                  <a:pt x="140" y="83"/>
                </a:lnTo>
                <a:lnTo>
                  <a:pt x="135" y="90"/>
                </a:lnTo>
                <a:lnTo>
                  <a:pt x="129" y="105"/>
                </a:lnTo>
                <a:lnTo>
                  <a:pt x="120" y="118"/>
                </a:lnTo>
                <a:lnTo>
                  <a:pt x="112" y="108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2" name="Freeform 131">
            <a:extLst>
              <a:ext uri="{FF2B5EF4-FFF2-40B4-BE49-F238E27FC236}">
                <a16:creationId xmlns:a16="http://schemas.microsoft.com/office/drawing/2014/main" id="{DF89BD84-4C17-4D49-9005-EBE8273F5512}"/>
              </a:ext>
            </a:extLst>
          </p:cNvPr>
          <p:cNvSpPr>
            <a:spLocks/>
          </p:cNvSpPr>
          <p:nvPr/>
        </p:nvSpPr>
        <p:spPr bwMode="gray">
          <a:xfrm>
            <a:off x="4785582" y="3992853"/>
            <a:ext cx="87527" cy="220231"/>
          </a:xfrm>
          <a:custGeom>
            <a:avLst/>
            <a:gdLst>
              <a:gd name="T0" fmla="*/ 2 w 42"/>
              <a:gd name="T1" fmla="*/ 23 h 99"/>
              <a:gd name="T2" fmla="*/ 0 w 42"/>
              <a:gd name="T3" fmla="*/ 29 h 99"/>
              <a:gd name="T4" fmla="*/ 8 w 42"/>
              <a:gd name="T5" fmla="*/ 38 h 99"/>
              <a:gd name="T6" fmla="*/ 11 w 42"/>
              <a:gd name="T7" fmla="*/ 50 h 99"/>
              <a:gd name="T8" fmla="*/ 11 w 42"/>
              <a:gd name="T9" fmla="*/ 63 h 99"/>
              <a:gd name="T10" fmla="*/ 11 w 42"/>
              <a:gd name="T11" fmla="*/ 75 h 99"/>
              <a:gd name="T12" fmla="*/ 12 w 42"/>
              <a:gd name="T13" fmla="*/ 87 h 99"/>
              <a:gd name="T14" fmla="*/ 12 w 42"/>
              <a:gd name="T15" fmla="*/ 99 h 99"/>
              <a:gd name="T16" fmla="*/ 27 w 42"/>
              <a:gd name="T17" fmla="*/ 97 h 99"/>
              <a:gd name="T18" fmla="*/ 29 w 42"/>
              <a:gd name="T19" fmla="*/ 74 h 99"/>
              <a:gd name="T20" fmla="*/ 30 w 42"/>
              <a:gd name="T21" fmla="*/ 53 h 99"/>
              <a:gd name="T22" fmla="*/ 41 w 42"/>
              <a:gd name="T23" fmla="*/ 35 h 99"/>
              <a:gd name="T24" fmla="*/ 42 w 42"/>
              <a:gd name="T25" fmla="*/ 20 h 99"/>
              <a:gd name="T26" fmla="*/ 39 w 42"/>
              <a:gd name="T27" fmla="*/ 12 h 99"/>
              <a:gd name="T28" fmla="*/ 39 w 42"/>
              <a:gd name="T29" fmla="*/ 11 h 99"/>
              <a:gd name="T30" fmla="*/ 27 w 42"/>
              <a:gd name="T31" fmla="*/ 0 h 99"/>
              <a:gd name="T32" fmla="*/ 24 w 42"/>
              <a:gd name="T33" fmla="*/ 6 h 99"/>
              <a:gd name="T34" fmla="*/ 23 w 42"/>
              <a:gd name="T35" fmla="*/ 8 h 99"/>
              <a:gd name="T36" fmla="*/ 23 w 42"/>
              <a:gd name="T37" fmla="*/ 9 h 99"/>
              <a:gd name="T38" fmla="*/ 12 w 42"/>
              <a:gd name="T39" fmla="*/ 15 h 99"/>
              <a:gd name="T40" fmla="*/ 2 w 42"/>
              <a:gd name="T41" fmla="*/ 23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" h="99">
                <a:moveTo>
                  <a:pt x="2" y="23"/>
                </a:moveTo>
                <a:lnTo>
                  <a:pt x="0" y="29"/>
                </a:lnTo>
                <a:lnTo>
                  <a:pt x="8" y="38"/>
                </a:lnTo>
                <a:lnTo>
                  <a:pt x="11" y="50"/>
                </a:lnTo>
                <a:lnTo>
                  <a:pt x="11" y="63"/>
                </a:lnTo>
                <a:lnTo>
                  <a:pt x="11" y="75"/>
                </a:lnTo>
                <a:lnTo>
                  <a:pt x="12" y="87"/>
                </a:lnTo>
                <a:lnTo>
                  <a:pt x="12" y="99"/>
                </a:lnTo>
                <a:lnTo>
                  <a:pt x="27" y="97"/>
                </a:lnTo>
                <a:lnTo>
                  <a:pt x="29" y="74"/>
                </a:lnTo>
                <a:lnTo>
                  <a:pt x="30" y="53"/>
                </a:lnTo>
                <a:lnTo>
                  <a:pt x="41" y="35"/>
                </a:lnTo>
                <a:lnTo>
                  <a:pt x="42" y="20"/>
                </a:lnTo>
                <a:lnTo>
                  <a:pt x="39" y="12"/>
                </a:lnTo>
                <a:lnTo>
                  <a:pt x="39" y="11"/>
                </a:lnTo>
                <a:lnTo>
                  <a:pt x="27" y="0"/>
                </a:lnTo>
                <a:lnTo>
                  <a:pt x="24" y="6"/>
                </a:lnTo>
                <a:lnTo>
                  <a:pt x="23" y="8"/>
                </a:lnTo>
                <a:lnTo>
                  <a:pt x="23" y="9"/>
                </a:lnTo>
                <a:lnTo>
                  <a:pt x="12" y="15"/>
                </a:lnTo>
                <a:lnTo>
                  <a:pt x="2" y="23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3" name="Freeform 132">
            <a:extLst>
              <a:ext uri="{FF2B5EF4-FFF2-40B4-BE49-F238E27FC236}">
                <a16:creationId xmlns:a16="http://schemas.microsoft.com/office/drawing/2014/main" id="{C301025B-26CA-4070-8C14-A072EDF72948}"/>
              </a:ext>
            </a:extLst>
          </p:cNvPr>
          <p:cNvSpPr>
            <a:spLocks/>
          </p:cNvSpPr>
          <p:nvPr/>
        </p:nvSpPr>
        <p:spPr bwMode="gray">
          <a:xfrm>
            <a:off x="4599113" y="3899603"/>
            <a:ext cx="235939" cy="198406"/>
          </a:xfrm>
          <a:custGeom>
            <a:avLst/>
            <a:gdLst>
              <a:gd name="T0" fmla="*/ 91 w 112"/>
              <a:gd name="T1" fmla="*/ 66 h 90"/>
              <a:gd name="T2" fmla="*/ 88 w 112"/>
              <a:gd name="T3" fmla="*/ 66 h 90"/>
              <a:gd name="T4" fmla="*/ 76 w 112"/>
              <a:gd name="T5" fmla="*/ 63 h 90"/>
              <a:gd name="T6" fmla="*/ 72 w 112"/>
              <a:gd name="T7" fmla="*/ 64 h 90"/>
              <a:gd name="T8" fmla="*/ 55 w 112"/>
              <a:gd name="T9" fmla="*/ 64 h 90"/>
              <a:gd name="T10" fmla="*/ 38 w 112"/>
              <a:gd name="T11" fmla="*/ 66 h 90"/>
              <a:gd name="T12" fmla="*/ 40 w 112"/>
              <a:gd name="T13" fmla="*/ 78 h 90"/>
              <a:gd name="T14" fmla="*/ 40 w 112"/>
              <a:gd name="T15" fmla="*/ 90 h 90"/>
              <a:gd name="T16" fmla="*/ 28 w 112"/>
              <a:gd name="T17" fmla="*/ 82 h 90"/>
              <a:gd name="T18" fmla="*/ 14 w 112"/>
              <a:gd name="T19" fmla="*/ 86 h 90"/>
              <a:gd name="T20" fmla="*/ 6 w 112"/>
              <a:gd name="T21" fmla="*/ 76 h 90"/>
              <a:gd name="T22" fmla="*/ 0 w 112"/>
              <a:gd name="T23" fmla="*/ 74 h 90"/>
              <a:gd name="T24" fmla="*/ 4 w 112"/>
              <a:gd name="T25" fmla="*/ 54 h 90"/>
              <a:gd name="T26" fmla="*/ 7 w 112"/>
              <a:gd name="T27" fmla="*/ 49 h 90"/>
              <a:gd name="T28" fmla="*/ 16 w 112"/>
              <a:gd name="T29" fmla="*/ 42 h 90"/>
              <a:gd name="T30" fmla="*/ 18 w 112"/>
              <a:gd name="T31" fmla="*/ 36 h 90"/>
              <a:gd name="T32" fmla="*/ 20 w 112"/>
              <a:gd name="T33" fmla="*/ 26 h 90"/>
              <a:gd name="T34" fmla="*/ 30 w 112"/>
              <a:gd name="T35" fmla="*/ 30 h 90"/>
              <a:gd name="T36" fmla="*/ 32 w 112"/>
              <a:gd name="T37" fmla="*/ 24 h 90"/>
              <a:gd name="T38" fmla="*/ 35 w 112"/>
              <a:gd name="T39" fmla="*/ 22 h 90"/>
              <a:gd name="T40" fmla="*/ 41 w 112"/>
              <a:gd name="T41" fmla="*/ 15 h 90"/>
              <a:gd name="T42" fmla="*/ 48 w 112"/>
              <a:gd name="T43" fmla="*/ 14 h 90"/>
              <a:gd name="T44" fmla="*/ 50 w 112"/>
              <a:gd name="T45" fmla="*/ 8 h 90"/>
              <a:gd name="T46" fmla="*/ 68 w 112"/>
              <a:gd name="T47" fmla="*/ 0 h 90"/>
              <a:gd name="T48" fmla="*/ 82 w 112"/>
              <a:gd name="T49" fmla="*/ 1 h 90"/>
              <a:gd name="T50" fmla="*/ 83 w 112"/>
              <a:gd name="T51" fmla="*/ 15 h 90"/>
              <a:gd name="T52" fmla="*/ 95 w 112"/>
              <a:gd name="T53" fmla="*/ 26 h 90"/>
              <a:gd name="T54" fmla="*/ 92 w 112"/>
              <a:gd name="T55" fmla="*/ 27 h 90"/>
              <a:gd name="T56" fmla="*/ 92 w 112"/>
              <a:gd name="T57" fmla="*/ 32 h 90"/>
              <a:gd name="T58" fmla="*/ 101 w 112"/>
              <a:gd name="T59" fmla="*/ 39 h 90"/>
              <a:gd name="T60" fmla="*/ 106 w 112"/>
              <a:gd name="T61" fmla="*/ 38 h 90"/>
              <a:gd name="T62" fmla="*/ 108 w 112"/>
              <a:gd name="T63" fmla="*/ 43 h 90"/>
              <a:gd name="T64" fmla="*/ 112 w 112"/>
              <a:gd name="T65" fmla="*/ 50 h 90"/>
              <a:gd name="T66" fmla="*/ 112 w 112"/>
              <a:gd name="T67" fmla="*/ 51 h 90"/>
              <a:gd name="T68" fmla="*/ 112 w 112"/>
              <a:gd name="T69" fmla="*/ 52 h 90"/>
              <a:gd name="T70" fmla="*/ 101 w 112"/>
              <a:gd name="T71" fmla="*/ 58 h 90"/>
              <a:gd name="T72" fmla="*/ 91 w 112"/>
              <a:gd name="T73" fmla="*/ 66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12" h="90">
                <a:moveTo>
                  <a:pt x="91" y="66"/>
                </a:moveTo>
                <a:lnTo>
                  <a:pt x="88" y="66"/>
                </a:lnTo>
                <a:lnTo>
                  <a:pt x="76" y="63"/>
                </a:lnTo>
                <a:lnTo>
                  <a:pt x="72" y="64"/>
                </a:lnTo>
                <a:lnTo>
                  <a:pt x="55" y="64"/>
                </a:lnTo>
                <a:lnTo>
                  <a:pt x="38" y="66"/>
                </a:lnTo>
                <a:lnTo>
                  <a:pt x="40" y="78"/>
                </a:lnTo>
                <a:lnTo>
                  <a:pt x="40" y="90"/>
                </a:lnTo>
                <a:lnTo>
                  <a:pt x="28" y="82"/>
                </a:lnTo>
                <a:lnTo>
                  <a:pt x="14" y="86"/>
                </a:lnTo>
                <a:lnTo>
                  <a:pt x="6" y="76"/>
                </a:lnTo>
                <a:lnTo>
                  <a:pt x="0" y="74"/>
                </a:lnTo>
                <a:lnTo>
                  <a:pt x="4" y="54"/>
                </a:lnTo>
                <a:lnTo>
                  <a:pt x="7" y="49"/>
                </a:lnTo>
                <a:lnTo>
                  <a:pt x="16" y="42"/>
                </a:lnTo>
                <a:lnTo>
                  <a:pt x="18" y="36"/>
                </a:lnTo>
                <a:lnTo>
                  <a:pt x="20" y="26"/>
                </a:lnTo>
                <a:lnTo>
                  <a:pt x="30" y="30"/>
                </a:lnTo>
                <a:lnTo>
                  <a:pt x="32" y="24"/>
                </a:lnTo>
                <a:lnTo>
                  <a:pt x="35" y="22"/>
                </a:lnTo>
                <a:lnTo>
                  <a:pt x="41" y="15"/>
                </a:lnTo>
                <a:lnTo>
                  <a:pt x="48" y="14"/>
                </a:lnTo>
                <a:lnTo>
                  <a:pt x="50" y="8"/>
                </a:lnTo>
                <a:lnTo>
                  <a:pt x="68" y="0"/>
                </a:lnTo>
                <a:lnTo>
                  <a:pt x="82" y="1"/>
                </a:lnTo>
                <a:lnTo>
                  <a:pt x="83" y="15"/>
                </a:lnTo>
                <a:lnTo>
                  <a:pt x="95" y="26"/>
                </a:lnTo>
                <a:lnTo>
                  <a:pt x="92" y="27"/>
                </a:lnTo>
                <a:lnTo>
                  <a:pt x="92" y="32"/>
                </a:lnTo>
                <a:lnTo>
                  <a:pt x="101" y="39"/>
                </a:lnTo>
                <a:lnTo>
                  <a:pt x="106" y="38"/>
                </a:lnTo>
                <a:lnTo>
                  <a:pt x="108" y="43"/>
                </a:lnTo>
                <a:lnTo>
                  <a:pt x="112" y="50"/>
                </a:lnTo>
                <a:lnTo>
                  <a:pt x="112" y="51"/>
                </a:lnTo>
                <a:lnTo>
                  <a:pt x="112" y="52"/>
                </a:lnTo>
                <a:lnTo>
                  <a:pt x="101" y="58"/>
                </a:lnTo>
                <a:lnTo>
                  <a:pt x="91" y="66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4" name="Freeform 133">
            <a:extLst>
              <a:ext uri="{FF2B5EF4-FFF2-40B4-BE49-F238E27FC236}">
                <a16:creationId xmlns:a16="http://schemas.microsoft.com/office/drawing/2014/main" id="{FBBED1A8-1C3B-45BC-B674-3A6F1A2EC603}"/>
              </a:ext>
            </a:extLst>
          </p:cNvPr>
          <p:cNvSpPr>
            <a:spLocks/>
          </p:cNvSpPr>
          <p:nvPr/>
        </p:nvSpPr>
        <p:spPr bwMode="gray">
          <a:xfrm>
            <a:off x="5021519" y="3971028"/>
            <a:ext cx="228327" cy="400779"/>
          </a:xfrm>
          <a:custGeom>
            <a:avLst/>
            <a:gdLst>
              <a:gd name="T0" fmla="*/ 101 w 109"/>
              <a:gd name="T1" fmla="*/ 49 h 181"/>
              <a:gd name="T2" fmla="*/ 84 w 109"/>
              <a:gd name="T3" fmla="*/ 49 h 181"/>
              <a:gd name="T4" fmla="*/ 77 w 109"/>
              <a:gd name="T5" fmla="*/ 53 h 181"/>
              <a:gd name="T6" fmla="*/ 89 w 109"/>
              <a:gd name="T7" fmla="*/ 68 h 181"/>
              <a:gd name="T8" fmla="*/ 99 w 109"/>
              <a:gd name="T9" fmla="*/ 89 h 181"/>
              <a:gd name="T10" fmla="*/ 91 w 109"/>
              <a:gd name="T11" fmla="*/ 102 h 181"/>
              <a:gd name="T12" fmla="*/ 84 w 109"/>
              <a:gd name="T13" fmla="*/ 115 h 181"/>
              <a:gd name="T14" fmla="*/ 89 w 109"/>
              <a:gd name="T15" fmla="*/ 137 h 181"/>
              <a:gd name="T16" fmla="*/ 97 w 109"/>
              <a:gd name="T17" fmla="*/ 149 h 181"/>
              <a:gd name="T18" fmla="*/ 105 w 109"/>
              <a:gd name="T19" fmla="*/ 160 h 181"/>
              <a:gd name="T20" fmla="*/ 109 w 109"/>
              <a:gd name="T21" fmla="*/ 174 h 181"/>
              <a:gd name="T22" fmla="*/ 106 w 109"/>
              <a:gd name="T23" fmla="*/ 181 h 181"/>
              <a:gd name="T24" fmla="*/ 94 w 109"/>
              <a:gd name="T25" fmla="*/ 179 h 181"/>
              <a:gd name="T26" fmla="*/ 82 w 109"/>
              <a:gd name="T27" fmla="*/ 175 h 181"/>
              <a:gd name="T28" fmla="*/ 67 w 109"/>
              <a:gd name="T29" fmla="*/ 175 h 181"/>
              <a:gd name="T30" fmla="*/ 54 w 109"/>
              <a:gd name="T31" fmla="*/ 175 h 181"/>
              <a:gd name="T32" fmla="*/ 40 w 109"/>
              <a:gd name="T33" fmla="*/ 175 h 181"/>
              <a:gd name="T34" fmla="*/ 29 w 109"/>
              <a:gd name="T35" fmla="*/ 174 h 181"/>
              <a:gd name="T36" fmla="*/ 18 w 109"/>
              <a:gd name="T37" fmla="*/ 173 h 181"/>
              <a:gd name="T38" fmla="*/ 18 w 109"/>
              <a:gd name="T39" fmla="*/ 155 h 181"/>
              <a:gd name="T40" fmla="*/ 17 w 109"/>
              <a:gd name="T41" fmla="*/ 148 h 181"/>
              <a:gd name="T42" fmla="*/ 16 w 109"/>
              <a:gd name="T43" fmla="*/ 145 h 181"/>
              <a:gd name="T44" fmla="*/ 6 w 109"/>
              <a:gd name="T45" fmla="*/ 144 h 181"/>
              <a:gd name="T46" fmla="*/ 3 w 109"/>
              <a:gd name="T47" fmla="*/ 134 h 181"/>
              <a:gd name="T48" fmla="*/ 0 w 109"/>
              <a:gd name="T49" fmla="*/ 136 h 181"/>
              <a:gd name="T50" fmla="*/ 1 w 109"/>
              <a:gd name="T51" fmla="*/ 132 h 181"/>
              <a:gd name="T52" fmla="*/ 5 w 109"/>
              <a:gd name="T53" fmla="*/ 119 h 181"/>
              <a:gd name="T54" fmla="*/ 11 w 109"/>
              <a:gd name="T55" fmla="*/ 110 h 181"/>
              <a:gd name="T56" fmla="*/ 18 w 109"/>
              <a:gd name="T57" fmla="*/ 101 h 181"/>
              <a:gd name="T58" fmla="*/ 29 w 109"/>
              <a:gd name="T59" fmla="*/ 97 h 181"/>
              <a:gd name="T60" fmla="*/ 37 w 109"/>
              <a:gd name="T61" fmla="*/ 107 h 181"/>
              <a:gd name="T62" fmla="*/ 46 w 109"/>
              <a:gd name="T63" fmla="*/ 94 h 181"/>
              <a:gd name="T64" fmla="*/ 52 w 109"/>
              <a:gd name="T65" fmla="*/ 79 h 181"/>
              <a:gd name="T66" fmla="*/ 57 w 109"/>
              <a:gd name="T67" fmla="*/ 72 h 181"/>
              <a:gd name="T68" fmla="*/ 63 w 109"/>
              <a:gd name="T69" fmla="*/ 59 h 181"/>
              <a:gd name="T70" fmla="*/ 67 w 109"/>
              <a:gd name="T71" fmla="*/ 47 h 181"/>
              <a:gd name="T72" fmla="*/ 72 w 109"/>
              <a:gd name="T73" fmla="*/ 36 h 181"/>
              <a:gd name="T74" fmla="*/ 82 w 109"/>
              <a:gd name="T75" fmla="*/ 26 h 181"/>
              <a:gd name="T76" fmla="*/ 85 w 109"/>
              <a:gd name="T77" fmla="*/ 18 h 181"/>
              <a:gd name="T78" fmla="*/ 79 w 109"/>
              <a:gd name="T79" fmla="*/ 11 h 181"/>
              <a:gd name="T80" fmla="*/ 77 w 109"/>
              <a:gd name="T81" fmla="*/ 0 h 181"/>
              <a:gd name="T82" fmla="*/ 83 w 109"/>
              <a:gd name="T83" fmla="*/ 0 h 181"/>
              <a:gd name="T84" fmla="*/ 90 w 109"/>
              <a:gd name="T85" fmla="*/ 16 h 181"/>
              <a:gd name="T86" fmla="*/ 91 w 109"/>
              <a:gd name="T87" fmla="*/ 34 h 181"/>
              <a:gd name="T88" fmla="*/ 101 w 109"/>
              <a:gd name="T89" fmla="*/ 49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09" h="181">
                <a:moveTo>
                  <a:pt x="101" y="49"/>
                </a:moveTo>
                <a:lnTo>
                  <a:pt x="84" y="49"/>
                </a:lnTo>
                <a:lnTo>
                  <a:pt x="77" y="53"/>
                </a:lnTo>
                <a:lnTo>
                  <a:pt x="89" y="68"/>
                </a:lnTo>
                <a:lnTo>
                  <a:pt x="99" y="89"/>
                </a:lnTo>
                <a:lnTo>
                  <a:pt x="91" y="102"/>
                </a:lnTo>
                <a:lnTo>
                  <a:pt x="84" y="115"/>
                </a:lnTo>
                <a:lnTo>
                  <a:pt x="89" y="137"/>
                </a:lnTo>
                <a:lnTo>
                  <a:pt x="97" y="149"/>
                </a:lnTo>
                <a:lnTo>
                  <a:pt x="105" y="160"/>
                </a:lnTo>
                <a:lnTo>
                  <a:pt x="109" y="174"/>
                </a:lnTo>
                <a:lnTo>
                  <a:pt x="106" y="181"/>
                </a:lnTo>
                <a:lnTo>
                  <a:pt x="94" y="179"/>
                </a:lnTo>
                <a:lnTo>
                  <a:pt x="82" y="175"/>
                </a:lnTo>
                <a:lnTo>
                  <a:pt x="67" y="175"/>
                </a:lnTo>
                <a:lnTo>
                  <a:pt x="54" y="175"/>
                </a:lnTo>
                <a:lnTo>
                  <a:pt x="40" y="175"/>
                </a:lnTo>
                <a:lnTo>
                  <a:pt x="29" y="174"/>
                </a:lnTo>
                <a:lnTo>
                  <a:pt x="18" y="173"/>
                </a:lnTo>
                <a:lnTo>
                  <a:pt x="18" y="155"/>
                </a:lnTo>
                <a:lnTo>
                  <a:pt x="17" y="148"/>
                </a:lnTo>
                <a:lnTo>
                  <a:pt x="16" y="145"/>
                </a:lnTo>
                <a:lnTo>
                  <a:pt x="6" y="144"/>
                </a:lnTo>
                <a:lnTo>
                  <a:pt x="3" y="134"/>
                </a:lnTo>
                <a:lnTo>
                  <a:pt x="0" y="136"/>
                </a:lnTo>
                <a:lnTo>
                  <a:pt x="1" y="132"/>
                </a:lnTo>
                <a:lnTo>
                  <a:pt x="5" y="119"/>
                </a:lnTo>
                <a:lnTo>
                  <a:pt x="11" y="110"/>
                </a:lnTo>
                <a:lnTo>
                  <a:pt x="18" y="101"/>
                </a:lnTo>
                <a:lnTo>
                  <a:pt x="29" y="97"/>
                </a:lnTo>
                <a:lnTo>
                  <a:pt x="37" y="107"/>
                </a:lnTo>
                <a:lnTo>
                  <a:pt x="46" y="94"/>
                </a:lnTo>
                <a:lnTo>
                  <a:pt x="52" y="79"/>
                </a:lnTo>
                <a:lnTo>
                  <a:pt x="57" y="72"/>
                </a:lnTo>
                <a:lnTo>
                  <a:pt x="63" y="59"/>
                </a:lnTo>
                <a:lnTo>
                  <a:pt x="67" y="47"/>
                </a:lnTo>
                <a:lnTo>
                  <a:pt x="72" y="36"/>
                </a:lnTo>
                <a:lnTo>
                  <a:pt x="82" y="26"/>
                </a:lnTo>
                <a:lnTo>
                  <a:pt x="85" y="18"/>
                </a:lnTo>
                <a:lnTo>
                  <a:pt x="79" y="11"/>
                </a:lnTo>
                <a:lnTo>
                  <a:pt x="77" y="0"/>
                </a:lnTo>
                <a:lnTo>
                  <a:pt x="83" y="0"/>
                </a:lnTo>
                <a:lnTo>
                  <a:pt x="90" y="16"/>
                </a:lnTo>
                <a:lnTo>
                  <a:pt x="91" y="34"/>
                </a:lnTo>
                <a:lnTo>
                  <a:pt x="101" y="49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6" name="Freeform 135">
            <a:extLst>
              <a:ext uri="{FF2B5EF4-FFF2-40B4-BE49-F238E27FC236}">
                <a16:creationId xmlns:a16="http://schemas.microsoft.com/office/drawing/2014/main" id="{4DF55124-DE20-4CBD-BBA7-F03796D38188}"/>
              </a:ext>
            </a:extLst>
          </p:cNvPr>
          <p:cNvSpPr>
            <a:spLocks/>
          </p:cNvSpPr>
          <p:nvPr/>
        </p:nvSpPr>
        <p:spPr bwMode="gray">
          <a:xfrm>
            <a:off x="4264234" y="3943251"/>
            <a:ext cx="83719" cy="27777"/>
          </a:xfrm>
          <a:custGeom>
            <a:avLst/>
            <a:gdLst>
              <a:gd name="T0" fmla="*/ 2 w 40"/>
              <a:gd name="T1" fmla="*/ 5 h 12"/>
              <a:gd name="T2" fmla="*/ 0 w 40"/>
              <a:gd name="T3" fmla="*/ 12 h 12"/>
              <a:gd name="T4" fmla="*/ 10 w 40"/>
              <a:gd name="T5" fmla="*/ 8 h 12"/>
              <a:gd name="T6" fmla="*/ 22 w 40"/>
              <a:gd name="T7" fmla="*/ 5 h 12"/>
              <a:gd name="T8" fmla="*/ 40 w 40"/>
              <a:gd name="T9" fmla="*/ 8 h 12"/>
              <a:gd name="T10" fmla="*/ 37 w 40"/>
              <a:gd name="T11" fmla="*/ 5 h 12"/>
              <a:gd name="T12" fmla="*/ 20 w 40"/>
              <a:gd name="T13" fmla="*/ 0 h 12"/>
              <a:gd name="T14" fmla="*/ 18 w 40"/>
              <a:gd name="T15" fmla="*/ 4 h 12"/>
              <a:gd name="T16" fmla="*/ 3 w 40"/>
              <a:gd name="T17" fmla="*/ 4 h 12"/>
              <a:gd name="T18" fmla="*/ 3 w 40"/>
              <a:gd name="T19" fmla="*/ 5 h 12"/>
              <a:gd name="T20" fmla="*/ 16 w 40"/>
              <a:gd name="T21" fmla="*/ 5 h 12"/>
              <a:gd name="T22" fmla="*/ 8 w 40"/>
              <a:gd name="T23" fmla="*/ 8 h 12"/>
              <a:gd name="T24" fmla="*/ 2 w 40"/>
              <a:gd name="T25" fmla="*/ 5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0" h="12">
                <a:moveTo>
                  <a:pt x="2" y="5"/>
                </a:moveTo>
                <a:lnTo>
                  <a:pt x="0" y="12"/>
                </a:lnTo>
                <a:lnTo>
                  <a:pt x="10" y="8"/>
                </a:lnTo>
                <a:lnTo>
                  <a:pt x="22" y="5"/>
                </a:lnTo>
                <a:lnTo>
                  <a:pt x="40" y="8"/>
                </a:lnTo>
                <a:lnTo>
                  <a:pt x="37" y="5"/>
                </a:lnTo>
                <a:lnTo>
                  <a:pt x="20" y="0"/>
                </a:lnTo>
                <a:lnTo>
                  <a:pt x="18" y="4"/>
                </a:lnTo>
                <a:lnTo>
                  <a:pt x="3" y="4"/>
                </a:lnTo>
                <a:lnTo>
                  <a:pt x="3" y="5"/>
                </a:lnTo>
                <a:lnTo>
                  <a:pt x="16" y="5"/>
                </a:lnTo>
                <a:lnTo>
                  <a:pt x="8" y="8"/>
                </a:lnTo>
                <a:lnTo>
                  <a:pt x="2" y="5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8" name="Freeform 137">
            <a:extLst>
              <a:ext uri="{FF2B5EF4-FFF2-40B4-BE49-F238E27FC236}">
                <a16:creationId xmlns:a16="http://schemas.microsoft.com/office/drawing/2014/main" id="{74ACCEFA-D27E-4C5F-B35D-197EF9322E6D}"/>
              </a:ext>
            </a:extLst>
          </p:cNvPr>
          <p:cNvSpPr>
            <a:spLocks/>
          </p:cNvSpPr>
          <p:nvPr/>
        </p:nvSpPr>
        <p:spPr bwMode="gray">
          <a:xfrm>
            <a:off x="4315607" y="3982934"/>
            <a:ext cx="215009" cy="190469"/>
          </a:xfrm>
          <a:custGeom>
            <a:avLst/>
            <a:gdLst>
              <a:gd name="T0" fmla="*/ 92 w 103"/>
              <a:gd name="T1" fmla="*/ 20 h 86"/>
              <a:gd name="T2" fmla="*/ 91 w 103"/>
              <a:gd name="T3" fmla="*/ 25 h 86"/>
              <a:gd name="T4" fmla="*/ 92 w 103"/>
              <a:gd name="T5" fmla="*/ 26 h 86"/>
              <a:gd name="T6" fmla="*/ 99 w 103"/>
              <a:gd name="T7" fmla="*/ 41 h 86"/>
              <a:gd name="T8" fmla="*/ 98 w 103"/>
              <a:gd name="T9" fmla="*/ 53 h 86"/>
              <a:gd name="T10" fmla="*/ 100 w 103"/>
              <a:gd name="T11" fmla="*/ 55 h 86"/>
              <a:gd name="T12" fmla="*/ 100 w 103"/>
              <a:gd name="T13" fmla="*/ 59 h 86"/>
              <a:gd name="T14" fmla="*/ 103 w 103"/>
              <a:gd name="T15" fmla="*/ 65 h 86"/>
              <a:gd name="T16" fmla="*/ 102 w 103"/>
              <a:gd name="T17" fmla="*/ 68 h 86"/>
              <a:gd name="T18" fmla="*/ 96 w 103"/>
              <a:gd name="T19" fmla="*/ 70 h 86"/>
              <a:gd name="T20" fmla="*/ 98 w 103"/>
              <a:gd name="T21" fmla="*/ 76 h 86"/>
              <a:gd name="T22" fmla="*/ 93 w 103"/>
              <a:gd name="T23" fmla="*/ 82 h 86"/>
              <a:gd name="T24" fmla="*/ 92 w 103"/>
              <a:gd name="T25" fmla="*/ 83 h 86"/>
              <a:gd name="T26" fmla="*/ 88 w 103"/>
              <a:gd name="T27" fmla="*/ 83 h 86"/>
              <a:gd name="T28" fmla="*/ 82 w 103"/>
              <a:gd name="T29" fmla="*/ 86 h 86"/>
              <a:gd name="T30" fmla="*/ 79 w 103"/>
              <a:gd name="T31" fmla="*/ 84 h 86"/>
              <a:gd name="T32" fmla="*/ 75 w 103"/>
              <a:gd name="T33" fmla="*/ 67 h 86"/>
              <a:gd name="T34" fmla="*/ 67 w 103"/>
              <a:gd name="T35" fmla="*/ 67 h 86"/>
              <a:gd name="T36" fmla="*/ 61 w 103"/>
              <a:gd name="T37" fmla="*/ 68 h 86"/>
              <a:gd name="T38" fmla="*/ 62 w 103"/>
              <a:gd name="T39" fmla="*/ 58 h 86"/>
              <a:gd name="T40" fmla="*/ 54 w 103"/>
              <a:gd name="T41" fmla="*/ 43 h 86"/>
              <a:gd name="T42" fmla="*/ 34 w 103"/>
              <a:gd name="T43" fmla="*/ 48 h 86"/>
              <a:gd name="T44" fmla="*/ 24 w 103"/>
              <a:gd name="T45" fmla="*/ 59 h 86"/>
              <a:gd name="T46" fmla="*/ 24 w 103"/>
              <a:gd name="T47" fmla="*/ 54 h 86"/>
              <a:gd name="T48" fmla="*/ 19 w 103"/>
              <a:gd name="T49" fmla="*/ 49 h 86"/>
              <a:gd name="T50" fmla="*/ 18 w 103"/>
              <a:gd name="T51" fmla="*/ 46 h 86"/>
              <a:gd name="T52" fmla="*/ 13 w 103"/>
              <a:gd name="T53" fmla="*/ 42 h 86"/>
              <a:gd name="T54" fmla="*/ 6 w 103"/>
              <a:gd name="T55" fmla="*/ 34 h 86"/>
              <a:gd name="T56" fmla="*/ 6 w 103"/>
              <a:gd name="T57" fmla="*/ 30 h 86"/>
              <a:gd name="T58" fmla="*/ 4 w 103"/>
              <a:gd name="T59" fmla="*/ 31 h 86"/>
              <a:gd name="T60" fmla="*/ 3 w 103"/>
              <a:gd name="T61" fmla="*/ 26 h 86"/>
              <a:gd name="T62" fmla="*/ 0 w 103"/>
              <a:gd name="T63" fmla="*/ 29 h 86"/>
              <a:gd name="T64" fmla="*/ 0 w 103"/>
              <a:gd name="T65" fmla="*/ 28 h 86"/>
              <a:gd name="T66" fmla="*/ 3 w 103"/>
              <a:gd name="T67" fmla="*/ 22 h 86"/>
              <a:gd name="T68" fmla="*/ 16 w 103"/>
              <a:gd name="T69" fmla="*/ 17 h 86"/>
              <a:gd name="T70" fmla="*/ 16 w 103"/>
              <a:gd name="T71" fmla="*/ 7 h 86"/>
              <a:gd name="T72" fmla="*/ 19 w 103"/>
              <a:gd name="T73" fmla="*/ 0 h 86"/>
              <a:gd name="T74" fmla="*/ 31 w 103"/>
              <a:gd name="T75" fmla="*/ 2 h 86"/>
              <a:gd name="T76" fmla="*/ 51 w 103"/>
              <a:gd name="T77" fmla="*/ 5 h 86"/>
              <a:gd name="T78" fmla="*/ 50 w 103"/>
              <a:gd name="T79" fmla="*/ 8 h 86"/>
              <a:gd name="T80" fmla="*/ 58 w 103"/>
              <a:gd name="T81" fmla="*/ 8 h 86"/>
              <a:gd name="T82" fmla="*/ 63 w 103"/>
              <a:gd name="T83" fmla="*/ 11 h 86"/>
              <a:gd name="T84" fmla="*/ 72 w 103"/>
              <a:gd name="T85" fmla="*/ 10 h 86"/>
              <a:gd name="T86" fmla="*/ 80 w 103"/>
              <a:gd name="T87" fmla="*/ 6 h 86"/>
              <a:gd name="T88" fmla="*/ 82 w 103"/>
              <a:gd name="T89" fmla="*/ 4 h 86"/>
              <a:gd name="T90" fmla="*/ 87 w 103"/>
              <a:gd name="T91" fmla="*/ 17 h 86"/>
              <a:gd name="T92" fmla="*/ 92 w 103"/>
              <a:gd name="T93" fmla="*/ 2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3" h="86">
                <a:moveTo>
                  <a:pt x="92" y="20"/>
                </a:moveTo>
                <a:lnTo>
                  <a:pt x="91" y="25"/>
                </a:lnTo>
                <a:lnTo>
                  <a:pt x="92" y="26"/>
                </a:lnTo>
                <a:lnTo>
                  <a:pt x="99" y="41"/>
                </a:lnTo>
                <a:lnTo>
                  <a:pt x="98" y="53"/>
                </a:lnTo>
                <a:lnTo>
                  <a:pt x="100" y="55"/>
                </a:lnTo>
                <a:lnTo>
                  <a:pt x="100" y="59"/>
                </a:lnTo>
                <a:lnTo>
                  <a:pt x="103" y="65"/>
                </a:lnTo>
                <a:lnTo>
                  <a:pt x="102" y="68"/>
                </a:lnTo>
                <a:lnTo>
                  <a:pt x="96" y="70"/>
                </a:lnTo>
                <a:lnTo>
                  <a:pt x="98" y="76"/>
                </a:lnTo>
                <a:lnTo>
                  <a:pt x="93" y="82"/>
                </a:lnTo>
                <a:lnTo>
                  <a:pt x="92" y="83"/>
                </a:lnTo>
                <a:lnTo>
                  <a:pt x="88" y="83"/>
                </a:lnTo>
                <a:lnTo>
                  <a:pt x="82" y="86"/>
                </a:lnTo>
                <a:lnTo>
                  <a:pt x="79" y="84"/>
                </a:lnTo>
                <a:lnTo>
                  <a:pt x="75" y="67"/>
                </a:lnTo>
                <a:lnTo>
                  <a:pt x="67" y="67"/>
                </a:lnTo>
                <a:lnTo>
                  <a:pt x="61" y="68"/>
                </a:lnTo>
                <a:lnTo>
                  <a:pt x="62" y="58"/>
                </a:lnTo>
                <a:lnTo>
                  <a:pt x="54" y="43"/>
                </a:lnTo>
                <a:lnTo>
                  <a:pt x="34" y="48"/>
                </a:lnTo>
                <a:lnTo>
                  <a:pt x="24" y="59"/>
                </a:lnTo>
                <a:lnTo>
                  <a:pt x="24" y="54"/>
                </a:lnTo>
                <a:lnTo>
                  <a:pt x="19" y="49"/>
                </a:lnTo>
                <a:lnTo>
                  <a:pt x="18" y="46"/>
                </a:lnTo>
                <a:lnTo>
                  <a:pt x="13" y="42"/>
                </a:lnTo>
                <a:lnTo>
                  <a:pt x="6" y="34"/>
                </a:lnTo>
                <a:lnTo>
                  <a:pt x="6" y="30"/>
                </a:lnTo>
                <a:lnTo>
                  <a:pt x="4" y="31"/>
                </a:lnTo>
                <a:lnTo>
                  <a:pt x="3" y="26"/>
                </a:lnTo>
                <a:lnTo>
                  <a:pt x="0" y="29"/>
                </a:lnTo>
                <a:lnTo>
                  <a:pt x="0" y="28"/>
                </a:lnTo>
                <a:lnTo>
                  <a:pt x="3" y="22"/>
                </a:lnTo>
                <a:lnTo>
                  <a:pt x="16" y="17"/>
                </a:lnTo>
                <a:lnTo>
                  <a:pt x="16" y="7"/>
                </a:lnTo>
                <a:lnTo>
                  <a:pt x="19" y="0"/>
                </a:lnTo>
                <a:lnTo>
                  <a:pt x="31" y="2"/>
                </a:lnTo>
                <a:lnTo>
                  <a:pt x="51" y="5"/>
                </a:lnTo>
                <a:lnTo>
                  <a:pt x="50" y="8"/>
                </a:lnTo>
                <a:lnTo>
                  <a:pt x="58" y="8"/>
                </a:lnTo>
                <a:lnTo>
                  <a:pt x="63" y="11"/>
                </a:lnTo>
                <a:lnTo>
                  <a:pt x="72" y="10"/>
                </a:lnTo>
                <a:lnTo>
                  <a:pt x="80" y="6"/>
                </a:lnTo>
                <a:lnTo>
                  <a:pt x="82" y="4"/>
                </a:lnTo>
                <a:lnTo>
                  <a:pt x="87" y="17"/>
                </a:lnTo>
                <a:lnTo>
                  <a:pt x="92" y="20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9" name="Freeform 138">
            <a:extLst>
              <a:ext uri="{FF2B5EF4-FFF2-40B4-BE49-F238E27FC236}">
                <a16:creationId xmlns:a16="http://schemas.microsoft.com/office/drawing/2014/main" id="{86AC8FB1-7767-4822-B15B-B77A169F73AE}"/>
              </a:ext>
            </a:extLst>
          </p:cNvPr>
          <p:cNvSpPr>
            <a:spLocks/>
          </p:cNvSpPr>
          <p:nvPr/>
        </p:nvSpPr>
        <p:spPr bwMode="gray">
          <a:xfrm>
            <a:off x="4264234" y="3982934"/>
            <a:ext cx="89428" cy="63489"/>
          </a:xfrm>
          <a:custGeom>
            <a:avLst/>
            <a:gdLst>
              <a:gd name="T0" fmla="*/ 21 w 43"/>
              <a:gd name="T1" fmla="*/ 17 h 28"/>
              <a:gd name="T2" fmla="*/ 20 w 43"/>
              <a:gd name="T3" fmla="*/ 22 h 28"/>
              <a:gd name="T4" fmla="*/ 22 w 43"/>
              <a:gd name="T5" fmla="*/ 25 h 28"/>
              <a:gd name="T6" fmla="*/ 24 w 43"/>
              <a:gd name="T7" fmla="*/ 28 h 28"/>
              <a:gd name="T8" fmla="*/ 27 w 43"/>
              <a:gd name="T9" fmla="*/ 22 h 28"/>
              <a:gd name="T10" fmla="*/ 40 w 43"/>
              <a:gd name="T11" fmla="*/ 17 h 28"/>
              <a:gd name="T12" fmla="*/ 40 w 43"/>
              <a:gd name="T13" fmla="*/ 7 h 28"/>
              <a:gd name="T14" fmla="*/ 43 w 43"/>
              <a:gd name="T15" fmla="*/ 0 h 28"/>
              <a:gd name="T16" fmla="*/ 31 w 43"/>
              <a:gd name="T17" fmla="*/ 1 h 28"/>
              <a:gd name="T18" fmla="*/ 19 w 43"/>
              <a:gd name="T19" fmla="*/ 2 h 28"/>
              <a:gd name="T20" fmla="*/ 0 w 43"/>
              <a:gd name="T21" fmla="*/ 6 h 28"/>
              <a:gd name="T22" fmla="*/ 7 w 43"/>
              <a:gd name="T23" fmla="*/ 6 h 28"/>
              <a:gd name="T24" fmla="*/ 6 w 43"/>
              <a:gd name="T25" fmla="*/ 10 h 28"/>
              <a:gd name="T26" fmla="*/ 12 w 43"/>
              <a:gd name="T27" fmla="*/ 11 h 28"/>
              <a:gd name="T28" fmla="*/ 12 w 43"/>
              <a:gd name="T29" fmla="*/ 13 h 28"/>
              <a:gd name="T30" fmla="*/ 21 w 43"/>
              <a:gd name="T31" fmla="*/ 12 h 28"/>
              <a:gd name="T32" fmla="*/ 24 w 43"/>
              <a:gd name="T33" fmla="*/ 14 h 28"/>
              <a:gd name="T34" fmla="*/ 16 w 43"/>
              <a:gd name="T35" fmla="*/ 16 h 28"/>
              <a:gd name="T36" fmla="*/ 21 w 43"/>
              <a:gd name="T37" fmla="*/ 17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3" h="28">
                <a:moveTo>
                  <a:pt x="21" y="17"/>
                </a:moveTo>
                <a:lnTo>
                  <a:pt x="20" y="22"/>
                </a:lnTo>
                <a:lnTo>
                  <a:pt x="22" y="25"/>
                </a:lnTo>
                <a:lnTo>
                  <a:pt x="24" y="28"/>
                </a:lnTo>
                <a:lnTo>
                  <a:pt x="27" y="22"/>
                </a:lnTo>
                <a:lnTo>
                  <a:pt x="40" y="17"/>
                </a:lnTo>
                <a:lnTo>
                  <a:pt x="40" y="7"/>
                </a:lnTo>
                <a:lnTo>
                  <a:pt x="43" y="0"/>
                </a:lnTo>
                <a:lnTo>
                  <a:pt x="31" y="1"/>
                </a:lnTo>
                <a:lnTo>
                  <a:pt x="19" y="2"/>
                </a:lnTo>
                <a:lnTo>
                  <a:pt x="0" y="6"/>
                </a:lnTo>
                <a:lnTo>
                  <a:pt x="7" y="6"/>
                </a:lnTo>
                <a:lnTo>
                  <a:pt x="6" y="10"/>
                </a:lnTo>
                <a:lnTo>
                  <a:pt x="12" y="11"/>
                </a:lnTo>
                <a:lnTo>
                  <a:pt x="12" y="13"/>
                </a:lnTo>
                <a:lnTo>
                  <a:pt x="21" y="12"/>
                </a:lnTo>
                <a:lnTo>
                  <a:pt x="24" y="14"/>
                </a:lnTo>
                <a:lnTo>
                  <a:pt x="16" y="16"/>
                </a:lnTo>
                <a:lnTo>
                  <a:pt x="21" y="17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3" name="Freeform 142">
            <a:extLst>
              <a:ext uri="{FF2B5EF4-FFF2-40B4-BE49-F238E27FC236}">
                <a16:creationId xmlns:a16="http://schemas.microsoft.com/office/drawing/2014/main" id="{CE60AC56-0285-4291-8998-B874F0D2C481}"/>
              </a:ext>
            </a:extLst>
          </p:cNvPr>
          <p:cNvSpPr>
            <a:spLocks/>
          </p:cNvSpPr>
          <p:nvPr/>
        </p:nvSpPr>
        <p:spPr bwMode="gray">
          <a:xfrm>
            <a:off x="4513490" y="3121853"/>
            <a:ext cx="601262" cy="632914"/>
          </a:xfrm>
          <a:custGeom>
            <a:avLst/>
            <a:gdLst>
              <a:gd name="T0" fmla="*/ 0 w 285"/>
              <a:gd name="T1" fmla="*/ 149 h 286"/>
              <a:gd name="T2" fmla="*/ 13 w 285"/>
              <a:gd name="T3" fmla="*/ 164 h 286"/>
              <a:gd name="T4" fmla="*/ 40 w 285"/>
              <a:gd name="T5" fmla="*/ 182 h 286"/>
              <a:gd name="T6" fmla="*/ 63 w 285"/>
              <a:gd name="T7" fmla="*/ 199 h 286"/>
              <a:gd name="T8" fmla="*/ 83 w 285"/>
              <a:gd name="T9" fmla="*/ 215 h 286"/>
              <a:gd name="T10" fmla="*/ 105 w 285"/>
              <a:gd name="T11" fmla="*/ 232 h 286"/>
              <a:gd name="T12" fmla="*/ 125 w 285"/>
              <a:gd name="T13" fmla="*/ 247 h 286"/>
              <a:gd name="T14" fmla="*/ 136 w 285"/>
              <a:gd name="T15" fmla="*/ 259 h 286"/>
              <a:gd name="T16" fmla="*/ 162 w 285"/>
              <a:gd name="T17" fmla="*/ 274 h 286"/>
              <a:gd name="T18" fmla="*/ 178 w 285"/>
              <a:gd name="T19" fmla="*/ 286 h 286"/>
              <a:gd name="T20" fmla="*/ 201 w 285"/>
              <a:gd name="T21" fmla="*/ 281 h 286"/>
              <a:gd name="T22" fmla="*/ 222 w 285"/>
              <a:gd name="T23" fmla="*/ 259 h 286"/>
              <a:gd name="T24" fmla="*/ 255 w 285"/>
              <a:gd name="T25" fmla="*/ 238 h 286"/>
              <a:gd name="T26" fmla="*/ 285 w 285"/>
              <a:gd name="T27" fmla="*/ 216 h 286"/>
              <a:gd name="T28" fmla="*/ 263 w 285"/>
              <a:gd name="T29" fmla="*/ 200 h 286"/>
              <a:gd name="T30" fmla="*/ 249 w 285"/>
              <a:gd name="T31" fmla="*/ 173 h 286"/>
              <a:gd name="T32" fmla="*/ 255 w 285"/>
              <a:gd name="T33" fmla="*/ 149 h 286"/>
              <a:gd name="T34" fmla="*/ 247 w 285"/>
              <a:gd name="T35" fmla="*/ 112 h 286"/>
              <a:gd name="T36" fmla="*/ 245 w 285"/>
              <a:gd name="T37" fmla="*/ 92 h 286"/>
              <a:gd name="T38" fmla="*/ 231 w 285"/>
              <a:gd name="T39" fmla="*/ 66 h 286"/>
              <a:gd name="T40" fmla="*/ 226 w 285"/>
              <a:gd name="T41" fmla="*/ 38 h 286"/>
              <a:gd name="T42" fmla="*/ 231 w 285"/>
              <a:gd name="T43" fmla="*/ 5 h 286"/>
              <a:gd name="T44" fmla="*/ 213 w 285"/>
              <a:gd name="T45" fmla="*/ 0 h 286"/>
              <a:gd name="T46" fmla="*/ 186 w 285"/>
              <a:gd name="T47" fmla="*/ 2 h 286"/>
              <a:gd name="T48" fmla="*/ 157 w 285"/>
              <a:gd name="T49" fmla="*/ 2 h 286"/>
              <a:gd name="T50" fmla="*/ 121 w 285"/>
              <a:gd name="T51" fmla="*/ 13 h 286"/>
              <a:gd name="T52" fmla="*/ 102 w 285"/>
              <a:gd name="T53" fmla="*/ 23 h 286"/>
              <a:gd name="T54" fmla="*/ 93 w 285"/>
              <a:gd name="T55" fmla="*/ 34 h 286"/>
              <a:gd name="T56" fmla="*/ 96 w 285"/>
              <a:gd name="T57" fmla="*/ 58 h 286"/>
              <a:gd name="T58" fmla="*/ 102 w 285"/>
              <a:gd name="T59" fmla="*/ 76 h 286"/>
              <a:gd name="T60" fmla="*/ 69 w 285"/>
              <a:gd name="T61" fmla="*/ 84 h 286"/>
              <a:gd name="T62" fmla="*/ 59 w 285"/>
              <a:gd name="T63" fmla="*/ 101 h 286"/>
              <a:gd name="T64" fmla="*/ 37 w 285"/>
              <a:gd name="T65" fmla="*/ 113 h 286"/>
              <a:gd name="T66" fmla="*/ 15 w 285"/>
              <a:gd name="T67" fmla="*/ 12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85" h="286">
                <a:moveTo>
                  <a:pt x="3" y="131"/>
                </a:moveTo>
                <a:lnTo>
                  <a:pt x="0" y="149"/>
                </a:lnTo>
                <a:lnTo>
                  <a:pt x="0" y="155"/>
                </a:lnTo>
                <a:lnTo>
                  <a:pt x="13" y="164"/>
                </a:lnTo>
                <a:lnTo>
                  <a:pt x="27" y="174"/>
                </a:lnTo>
                <a:lnTo>
                  <a:pt x="40" y="182"/>
                </a:lnTo>
                <a:lnTo>
                  <a:pt x="53" y="192"/>
                </a:lnTo>
                <a:lnTo>
                  <a:pt x="63" y="199"/>
                </a:lnTo>
                <a:lnTo>
                  <a:pt x="73" y="208"/>
                </a:lnTo>
                <a:lnTo>
                  <a:pt x="83" y="215"/>
                </a:lnTo>
                <a:lnTo>
                  <a:pt x="94" y="223"/>
                </a:lnTo>
                <a:lnTo>
                  <a:pt x="105" y="232"/>
                </a:lnTo>
                <a:lnTo>
                  <a:pt x="114" y="239"/>
                </a:lnTo>
                <a:lnTo>
                  <a:pt x="125" y="247"/>
                </a:lnTo>
                <a:lnTo>
                  <a:pt x="136" y="254"/>
                </a:lnTo>
                <a:lnTo>
                  <a:pt x="136" y="259"/>
                </a:lnTo>
                <a:lnTo>
                  <a:pt x="142" y="265"/>
                </a:lnTo>
                <a:lnTo>
                  <a:pt x="162" y="274"/>
                </a:lnTo>
                <a:lnTo>
                  <a:pt x="162" y="286"/>
                </a:lnTo>
                <a:lnTo>
                  <a:pt x="178" y="286"/>
                </a:lnTo>
                <a:lnTo>
                  <a:pt x="190" y="283"/>
                </a:lnTo>
                <a:lnTo>
                  <a:pt x="201" y="281"/>
                </a:lnTo>
                <a:lnTo>
                  <a:pt x="211" y="270"/>
                </a:lnTo>
                <a:lnTo>
                  <a:pt x="222" y="259"/>
                </a:lnTo>
                <a:lnTo>
                  <a:pt x="239" y="248"/>
                </a:lnTo>
                <a:lnTo>
                  <a:pt x="255" y="238"/>
                </a:lnTo>
                <a:lnTo>
                  <a:pt x="269" y="227"/>
                </a:lnTo>
                <a:lnTo>
                  <a:pt x="285" y="216"/>
                </a:lnTo>
                <a:lnTo>
                  <a:pt x="279" y="203"/>
                </a:lnTo>
                <a:lnTo>
                  <a:pt x="263" y="200"/>
                </a:lnTo>
                <a:lnTo>
                  <a:pt x="257" y="187"/>
                </a:lnTo>
                <a:lnTo>
                  <a:pt x="249" y="173"/>
                </a:lnTo>
                <a:lnTo>
                  <a:pt x="255" y="168"/>
                </a:lnTo>
                <a:lnTo>
                  <a:pt x="255" y="149"/>
                </a:lnTo>
                <a:lnTo>
                  <a:pt x="253" y="131"/>
                </a:lnTo>
                <a:lnTo>
                  <a:pt x="247" y="112"/>
                </a:lnTo>
                <a:lnTo>
                  <a:pt x="249" y="108"/>
                </a:lnTo>
                <a:lnTo>
                  <a:pt x="245" y="92"/>
                </a:lnTo>
                <a:lnTo>
                  <a:pt x="241" y="78"/>
                </a:lnTo>
                <a:lnTo>
                  <a:pt x="231" y="66"/>
                </a:lnTo>
                <a:lnTo>
                  <a:pt x="220" y="50"/>
                </a:lnTo>
                <a:lnTo>
                  <a:pt x="226" y="38"/>
                </a:lnTo>
                <a:lnTo>
                  <a:pt x="232" y="26"/>
                </a:lnTo>
                <a:lnTo>
                  <a:pt x="231" y="5"/>
                </a:lnTo>
                <a:lnTo>
                  <a:pt x="233" y="0"/>
                </a:lnTo>
                <a:lnTo>
                  <a:pt x="213" y="0"/>
                </a:lnTo>
                <a:lnTo>
                  <a:pt x="202" y="0"/>
                </a:lnTo>
                <a:lnTo>
                  <a:pt x="186" y="2"/>
                </a:lnTo>
                <a:lnTo>
                  <a:pt x="172" y="2"/>
                </a:lnTo>
                <a:lnTo>
                  <a:pt x="157" y="2"/>
                </a:lnTo>
                <a:lnTo>
                  <a:pt x="139" y="8"/>
                </a:lnTo>
                <a:lnTo>
                  <a:pt x="121" y="13"/>
                </a:lnTo>
                <a:lnTo>
                  <a:pt x="115" y="17"/>
                </a:lnTo>
                <a:lnTo>
                  <a:pt x="102" y="23"/>
                </a:lnTo>
                <a:lnTo>
                  <a:pt x="89" y="30"/>
                </a:lnTo>
                <a:lnTo>
                  <a:pt x="93" y="34"/>
                </a:lnTo>
                <a:lnTo>
                  <a:pt x="95" y="46"/>
                </a:lnTo>
                <a:lnTo>
                  <a:pt x="96" y="58"/>
                </a:lnTo>
                <a:lnTo>
                  <a:pt x="106" y="71"/>
                </a:lnTo>
                <a:lnTo>
                  <a:pt x="102" y="76"/>
                </a:lnTo>
                <a:lnTo>
                  <a:pt x="88" y="77"/>
                </a:lnTo>
                <a:lnTo>
                  <a:pt x="69" y="84"/>
                </a:lnTo>
                <a:lnTo>
                  <a:pt x="70" y="94"/>
                </a:lnTo>
                <a:lnTo>
                  <a:pt x="59" y="101"/>
                </a:lnTo>
                <a:lnTo>
                  <a:pt x="49" y="108"/>
                </a:lnTo>
                <a:lnTo>
                  <a:pt x="37" y="113"/>
                </a:lnTo>
                <a:lnTo>
                  <a:pt x="25" y="118"/>
                </a:lnTo>
                <a:lnTo>
                  <a:pt x="15" y="124"/>
                </a:lnTo>
                <a:lnTo>
                  <a:pt x="3" y="131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4" name="Freeform 143">
            <a:extLst>
              <a:ext uri="{FF2B5EF4-FFF2-40B4-BE49-F238E27FC236}">
                <a16:creationId xmlns:a16="http://schemas.microsoft.com/office/drawing/2014/main" id="{82A7D889-F4BC-4380-96BE-DEF0E5808B1A}"/>
              </a:ext>
            </a:extLst>
          </p:cNvPr>
          <p:cNvSpPr>
            <a:spLocks/>
          </p:cNvSpPr>
          <p:nvPr/>
        </p:nvSpPr>
        <p:spPr bwMode="gray">
          <a:xfrm>
            <a:off x="4347953" y="3409542"/>
            <a:ext cx="17125" cy="17858"/>
          </a:xfrm>
          <a:custGeom>
            <a:avLst/>
            <a:gdLst>
              <a:gd name="T0" fmla="*/ 9 w 9"/>
              <a:gd name="T1" fmla="*/ 0 h 8"/>
              <a:gd name="T2" fmla="*/ 8 w 9"/>
              <a:gd name="T3" fmla="*/ 7 h 8"/>
              <a:gd name="T4" fmla="*/ 0 w 9"/>
              <a:gd name="T5" fmla="*/ 8 h 8"/>
              <a:gd name="T6" fmla="*/ 9 w 9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" h="8">
                <a:moveTo>
                  <a:pt x="9" y="0"/>
                </a:moveTo>
                <a:lnTo>
                  <a:pt x="8" y="7"/>
                </a:lnTo>
                <a:lnTo>
                  <a:pt x="0" y="8"/>
                </a:lnTo>
                <a:lnTo>
                  <a:pt x="9" y="0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5" name="Freeform 144">
            <a:extLst>
              <a:ext uri="{FF2B5EF4-FFF2-40B4-BE49-F238E27FC236}">
                <a16:creationId xmlns:a16="http://schemas.microsoft.com/office/drawing/2014/main" id="{8D93CB51-4E44-4E22-AB1B-98C20E560FE8}"/>
              </a:ext>
            </a:extLst>
          </p:cNvPr>
          <p:cNvSpPr>
            <a:spLocks/>
          </p:cNvSpPr>
          <p:nvPr/>
        </p:nvSpPr>
        <p:spPr bwMode="gray">
          <a:xfrm>
            <a:off x="4277553" y="3423431"/>
            <a:ext cx="15221" cy="11904"/>
          </a:xfrm>
          <a:custGeom>
            <a:avLst/>
            <a:gdLst>
              <a:gd name="T0" fmla="*/ 7 w 7"/>
              <a:gd name="T1" fmla="*/ 0 h 7"/>
              <a:gd name="T2" fmla="*/ 0 w 7"/>
              <a:gd name="T3" fmla="*/ 7 h 7"/>
              <a:gd name="T4" fmla="*/ 0 w 7"/>
              <a:gd name="T5" fmla="*/ 2 h 7"/>
              <a:gd name="T6" fmla="*/ 7 w 7"/>
              <a:gd name="T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7">
                <a:moveTo>
                  <a:pt x="7" y="0"/>
                </a:moveTo>
                <a:lnTo>
                  <a:pt x="0" y="7"/>
                </a:lnTo>
                <a:lnTo>
                  <a:pt x="0" y="2"/>
                </a:lnTo>
                <a:lnTo>
                  <a:pt x="7" y="0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6" name="Freeform 145">
            <a:extLst>
              <a:ext uri="{FF2B5EF4-FFF2-40B4-BE49-F238E27FC236}">
                <a16:creationId xmlns:a16="http://schemas.microsoft.com/office/drawing/2014/main" id="{8320CE05-A2FE-4F8B-A787-2C852FA2312B}"/>
              </a:ext>
            </a:extLst>
          </p:cNvPr>
          <p:cNvSpPr>
            <a:spLocks/>
          </p:cNvSpPr>
          <p:nvPr/>
        </p:nvSpPr>
        <p:spPr bwMode="gray">
          <a:xfrm>
            <a:off x="4306093" y="3435333"/>
            <a:ext cx="9514" cy="9919"/>
          </a:xfrm>
          <a:custGeom>
            <a:avLst/>
            <a:gdLst>
              <a:gd name="T0" fmla="*/ 5 w 5"/>
              <a:gd name="T1" fmla="*/ 0 h 3"/>
              <a:gd name="T2" fmla="*/ 5 w 5"/>
              <a:gd name="T3" fmla="*/ 3 h 3"/>
              <a:gd name="T4" fmla="*/ 0 w 5"/>
              <a:gd name="T5" fmla="*/ 0 h 3"/>
              <a:gd name="T6" fmla="*/ 5 w 5"/>
              <a:gd name="T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3">
                <a:moveTo>
                  <a:pt x="5" y="0"/>
                </a:moveTo>
                <a:lnTo>
                  <a:pt x="5" y="3"/>
                </a:lnTo>
                <a:lnTo>
                  <a:pt x="0" y="0"/>
                </a:lnTo>
                <a:lnTo>
                  <a:pt x="5" y="0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7" name="Freeform 146">
            <a:extLst>
              <a:ext uri="{FF2B5EF4-FFF2-40B4-BE49-F238E27FC236}">
                <a16:creationId xmlns:a16="http://schemas.microsoft.com/office/drawing/2014/main" id="{76DDB22F-6429-41A7-BFEB-051573A6CD02}"/>
              </a:ext>
            </a:extLst>
          </p:cNvPr>
          <p:cNvSpPr>
            <a:spLocks/>
          </p:cNvSpPr>
          <p:nvPr/>
        </p:nvSpPr>
        <p:spPr bwMode="gray">
          <a:xfrm>
            <a:off x="4365079" y="3395654"/>
            <a:ext cx="13319" cy="5952"/>
          </a:xfrm>
          <a:custGeom>
            <a:avLst/>
            <a:gdLst>
              <a:gd name="T0" fmla="*/ 3 w 5"/>
              <a:gd name="T1" fmla="*/ 2 h 2"/>
              <a:gd name="T2" fmla="*/ 5 w 5"/>
              <a:gd name="T3" fmla="*/ 0 h 2"/>
              <a:gd name="T4" fmla="*/ 0 w 5"/>
              <a:gd name="T5" fmla="*/ 1 h 2"/>
              <a:gd name="T6" fmla="*/ 3 w 5"/>
              <a:gd name="T7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2">
                <a:moveTo>
                  <a:pt x="3" y="2"/>
                </a:moveTo>
                <a:lnTo>
                  <a:pt x="5" y="0"/>
                </a:lnTo>
                <a:lnTo>
                  <a:pt x="0" y="1"/>
                </a:lnTo>
                <a:lnTo>
                  <a:pt x="3" y="2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8" name="Freeform 147">
            <a:extLst>
              <a:ext uri="{FF2B5EF4-FFF2-40B4-BE49-F238E27FC236}">
                <a16:creationId xmlns:a16="http://schemas.microsoft.com/office/drawing/2014/main" id="{3A006BFB-5AAD-412F-8047-877C8C9D6D42}"/>
              </a:ext>
            </a:extLst>
          </p:cNvPr>
          <p:cNvSpPr>
            <a:spLocks/>
          </p:cNvSpPr>
          <p:nvPr/>
        </p:nvSpPr>
        <p:spPr bwMode="gray">
          <a:xfrm>
            <a:off x="4043518" y="3842066"/>
            <a:ext cx="3805" cy="3967"/>
          </a:xfrm>
          <a:custGeom>
            <a:avLst/>
            <a:gdLst>
              <a:gd name="T0" fmla="*/ 4 w 4"/>
              <a:gd name="T1" fmla="*/ 2 h 2"/>
              <a:gd name="T2" fmla="*/ 1 w 4"/>
              <a:gd name="T3" fmla="*/ 2 h 2"/>
              <a:gd name="T4" fmla="*/ 0 w 4"/>
              <a:gd name="T5" fmla="*/ 0 h 2"/>
              <a:gd name="T6" fmla="*/ 4 w 4"/>
              <a:gd name="T7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1" y="2"/>
                </a:lnTo>
                <a:lnTo>
                  <a:pt x="0" y="0"/>
                </a:lnTo>
                <a:lnTo>
                  <a:pt x="4" y="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0" name="Freeform 149">
            <a:extLst>
              <a:ext uri="{FF2B5EF4-FFF2-40B4-BE49-F238E27FC236}">
                <a16:creationId xmlns:a16="http://schemas.microsoft.com/office/drawing/2014/main" id="{E5A2832C-41B0-463D-A7A3-17D5D789C040}"/>
              </a:ext>
            </a:extLst>
          </p:cNvPr>
          <p:cNvSpPr>
            <a:spLocks/>
          </p:cNvSpPr>
          <p:nvPr/>
        </p:nvSpPr>
        <p:spPr bwMode="gray">
          <a:xfrm>
            <a:off x="5034838" y="3254785"/>
            <a:ext cx="469973" cy="486093"/>
          </a:xfrm>
          <a:custGeom>
            <a:avLst/>
            <a:gdLst>
              <a:gd name="T0" fmla="*/ 207 w 221"/>
              <a:gd name="T1" fmla="*/ 221 h 221"/>
              <a:gd name="T2" fmla="*/ 207 w 221"/>
              <a:gd name="T3" fmla="*/ 212 h 221"/>
              <a:gd name="T4" fmla="*/ 221 w 221"/>
              <a:gd name="T5" fmla="*/ 212 h 221"/>
              <a:gd name="T6" fmla="*/ 220 w 221"/>
              <a:gd name="T7" fmla="*/ 197 h 221"/>
              <a:gd name="T8" fmla="*/ 220 w 221"/>
              <a:gd name="T9" fmla="*/ 180 h 221"/>
              <a:gd name="T10" fmla="*/ 219 w 221"/>
              <a:gd name="T11" fmla="*/ 166 h 221"/>
              <a:gd name="T12" fmla="*/ 218 w 221"/>
              <a:gd name="T13" fmla="*/ 150 h 221"/>
              <a:gd name="T14" fmla="*/ 218 w 221"/>
              <a:gd name="T15" fmla="*/ 134 h 221"/>
              <a:gd name="T16" fmla="*/ 216 w 221"/>
              <a:gd name="T17" fmla="*/ 120 h 221"/>
              <a:gd name="T18" fmla="*/ 215 w 221"/>
              <a:gd name="T19" fmla="*/ 104 h 221"/>
              <a:gd name="T20" fmla="*/ 214 w 221"/>
              <a:gd name="T21" fmla="*/ 90 h 221"/>
              <a:gd name="T22" fmla="*/ 213 w 221"/>
              <a:gd name="T23" fmla="*/ 74 h 221"/>
              <a:gd name="T24" fmla="*/ 212 w 221"/>
              <a:gd name="T25" fmla="*/ 60 h 221"/>
              <a:gd name="T26" fmla="*/ 212 w 221"/>
              <a:gd name="T27" fmla="*/ 47 h 221"/>
              <a:gd name="T28" fmla="*/ 210 w 221"/>
              <a:gd name="T29" fmla="*/ 35 h 221"/>
              <a:gd name="T30" fmla="*/ 213 w 221"/>
              <a:gd name="T31" fmla="*/ 25 h 221"/>
              <a:gd name="T32" fmla="*/ 206 w 221"/>
              <a:gd name="T33" fmla="*/ 19 h 221"/>
              <a:gd name="T34" fmla="*/ 184 w 221"/>
              <a:gd name="T35" fmla="*/ 14 h 221"/>
              <a:gd name="T36" fmla="*/ 182 w 221"/>
              <a:gd name="T37" fmla="*/ 8 h 221"/>
              <a:gd name="T38" fmla="*/ 164 w 221"/>
              <a:gd name="T39" fmla="*/ 5 h 221"/>
              <a:gd name="T40" fmla="*/ 154 w 221"/>
              <a:gd name="T41" fmla="*/ 11 h 221"/>
              <a:gd name="T42" fmla="*/ 143 w 221"/>
              <a:gd name="T43" fmla="*/ 17 h 221"/>
              <a:gd name="T44" fmla="*/ 144 w 221"/>
              <a:gd name="T45" fmla="*/ 38 h 221"/>
              <a:gd name="T46" fmla="*/ 131 w 221"/>
              <a:gd name="T47" fmla="*/ 47 h 221"/>
              <a:gd name="T48" fmla="*/ 116 w 221"/>
              <a:gd name="T49" fmla="*/ 40 h 221"/>
              <a:gd name="T50" fmla="*/ 100 w 221"/>
              <a:gd name="T51" fmla="*/ 32 h 221"/>
              <a:gd name="T52" fmla="*/ 84 w 221"/>
              <a:gd name="T53" fmla="*/ 28 h 221"/>
              <a:gd name="T54" fmla="*/ 77 w 221"/>
              <a:gd name="T55" fmla="*/ 13 h 221"/>
              <a:gd name="T56" fmla="*/ 63 w 221"/>
              <a:gd name="T57" fmla="*/ 10 h 221"/>
              <a:gd name="T58" fmla="*/ 47 w 221"/>
              <a:gd name="T59" fmla="*/ 6 h 221"/>
              <a:gd name="T60" fmla="*/ 28 w 221"/>
              <a:gd name="T61" fmla="*/ 0 h 221"/>
              <a:gd name="T62" fmla="*/ 27 w 221"/>
              <a:gd name="T63" fmla="*/ 13 h 221"/>
              <a:gd name="T64" fmla="*/ 18 w 221"/>
              <a:gd name="T65" fmla="*/ 22 h 221"/>
              <a:gd name="T66" fmla="*/ 9 w 221"/>
              <a:gd name="T67" fmla="*/ 29 h 221"/>
              <a:gd name="T68" fmla="*/ 9 w 221"/>
              <a:gd name="T69" fmla="*/ 42 h 221"/>
              <a:gd name="T70" fmla="*/ 2 w 221"/>
              <a:gd name="T71" fmla="*/ 48 h 221"/>
              <a:gd name="T72" fmla="*/ 0 w 221"/>
              <a:gd name="T73" fmla="*/ 52 h 221"/>
              <a:gd name="T74" fmla="*/ 6 w 221"/>
              <a:gd name="T75" fmla="*/ 71 h 221"/>
              <a:gd name="T76" fmla="*/ 8 w 221"/>
              <a:gd name="T77" fmla="*/ 89 h 221"/>
              <a:gd name="T78" fmla="*/ 8 w 221"/>
              <a:gd name="T79" fmla="*/ 108 h 221"/>
              <a:gd name="T80" fmla="*/ 2 w 221"/>
              <a:gd name="T81" fmla="*/ 113 h 221"/>
              <a:gd name="T82" fmla="*/ 10 w 221"/>
              <a:gd name="T83" fmla="*/ 127 h 221"/>
              <a:gd name="T84" fmla="*/ 16 w 221"/>
              <a:gd name="T85" fmla="*/ 140 h 221"/>
              <a:gd name="T86" fmla="*/ 32 w 221"/>
              <a:gd name="T87" fmla="*/ 143 h 221"/>
              <a:gd name="T88" fmla="*/ 38 w 221"/>
              <a:gd name="T89" fmla="*/ 156 h 221"/>
              <a:gd name="T90" fmla="*/ 58 w 221"/>
              <a:gd name="T91" fmla="*/ 161 h 221"/>
              <a:gd name="T92" fmla="*/ 70 w 221"/>
              <a:gd name="T93" fmla="*/ 170 h 221"/>
              <a:gd name="T94" fmla="*/ 80 w 221"/>
              <a:gd name="T95" fmla="*/ 164 h 221"/>
              <a:gd name="T96" fmla="*/ 94 w 221"/>
              <a:gd name="T97" fmla="*/ 156 h 221"/>
              <a:gd name="T98" fmla="*/ 108 w 221"/>
              <a:gd name="T99" fmla="*/ 164 h 221"/>
              <a:gd name="T100" fmla="*/ 122 w 221"/>
              <a:gd name="T101" fmla="*/ 172 h 221"/>
              <a:gd name="T102" fmla="*/ 136 w 221"/>
              <a:gd name="T103" fmla="*/ 180 h 221"/>
              <a:gd name="T104" fmla="*/ 150 w 221"/>
              <a:gd name="T105" fmla="*/ 188 h 221"/>
              <a:gd name="T106" fmla="*/ 165 w 221"/>
              <a:gd name="T107" fmla="*/ 197 h 221"/>
              <a:gd name="T108" fmla="*/ 179 w 221"/>
              <a:gd name="T109" fmla="*/ 204 h 221"/>
              <a:gd name="T110" fmla="*/ 192 w 221"/>
              <a:gd name="T111" fmla="*/ 212 h 221"/>
              <a:gd name="T112" fmla="*/ 207 w 221"/>
              <a:gd name="T113" fmla="*/ 221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1" h="221">
                <a:moveTo>
                  <a:pt x="207" y="221"/>
                </a:moveTo>
                <a:lnTo>
                  <a:pt x="207" y="212"/>
                </a:lnTo>
                <a:lnTo>
                  <a:pt x="221" y="212"/>
                </a:lnTo>
                <a:lnTo>
                  <a:pt x="220" y="197"/>
                </a:lnTo>
                <a:lnTo>
                  <a:pt x="220" y="180"/>
                </a:lnTo>
                <a:lnTo>
                  <a:pt x="219" y="166"/>
                </a:lnTo>
                <a:lnTo>
                  <a:pt x="218" y="150"/>
                </a:lnTo>
                <a:lnTo>
                  <a:pt x="218" y="134"/>
                </a:lnTo>
                <a:lnTo>
                  <a:pt x="216" y="120"/>
                </a:lnTo>
                <a:lnTo>
                  <a:pt x="215" y="104"/>
                </a:lnTo>
                <a:lnTo>
                  <a:pt x="214" y="90"/>
                </a:lnTo>
                <a:lnTo>
                  <a:pt x="213" y="74"/>
                </a:lnTo>
                <a:lnTo>
                  <a:pt x="212" y="60"/>
                </a:lnTo>
                <a:lnTo>
                  <a:pt x="212" y="47"/>
                </a:lnTo>
                <a:lnTo>
                  <a:pt x="210" y="35"/>
                </a:lnTo>
                <a:lnTo>
                  <a:pt x="213" y="25"/>
                </a:lnTo>
                <a:lnTo>
                  <a:pt x="206" y="19"/>
                </a:lnTo>
                <a:lnTo>
                  <a:pt x="184" y="14"/>
                </a:lnTo>
                <a:lnTo>
                  <a:pt x="182" y="8"/>
                </a:lnTo>
                <a:lnTo>
                  <a:pt x="164" y="5"/>
                </a:lnTo>
                <a:lnTo>
                  <a:pt x="154" y="11"/>
                </a:lnTo>
                <a:lnTo>
                  <a:pt x="143" y="17"/>
                </a:lnTo>
                <a:lnTo>
                  <a:pt x="144" y="38"/>
                </a:lnTo>
                <a:lnTo>
                  <a:pt x="131" y="47"/>
                </a:lnTo>
                <a:lnTo>
                  <a:pt x="116" y="40"/>
                </a:lnTo>
                <a:lnTo>
                  <a:pt x="100" y="32"/>
                </a:lnTo>
                <a:lnTo>
                  <a:pt x="84" y="28"/>
                </a:lnTo>
                <a:lnTo>
                  <a:pt x="77" y="13"/>
                </a:lnTo>
                <a:lnTo>
                  <a:pt x="63" y="10"/>
                </a:lnTo>
                <a:lnTo>
                  <a:pt x="47" y="6"/>
                </a:lnTo>
                <a:lnTo>
                  <a:pt x="28" y="0"/>
                </a:lnTo>
                <a:lnTo>
                  <a:pt x="27" y="13"/>
                </a:lnTo>
                <a:lnTo>
                  <a:pt x="18" y="22"/>
                </a:lnTo>
                <a:lnTo>
                  <a:pt x="9" y="29"/>
                </a:lnTo>
                <a:lnTo>
                  <a:pt x="9" y="42"/>
                </a:lnTo>
                <a:lnTo>
                  <a:pt x="2" y="48"/>
                </a:lnTo>
                <a:lnTo>
                  <a:pt x="0" y="52"/>
                </a:lnTo>
                <a:lnTo>
                  <a:pt x="6" y="71"/>
                </a:lnTo>
                <a:lnTo>
                  <a:pt x="8" y="89"/>
                </a:lnTo>
                <a:lnTo>
                  <a:pt x="8" y="108"/>
                </a:lnTo>
                <a:lnTo>
                  <a:pt x="2" y="113"/>
                </a:lnTo>
                <a:lnTo>
                  <a:pt x="10" y="127"/>
                </a:lnTo>
                <a:lnTo>
                  <a:pt x="16" y="140"/>
                </a:lnTo>
                <a:lnTo>
                  <a:pt x="32" y="143"/>
                </a:lnTo>
                <a:lnTo>
                  <a:pt x="38" y="156"/>
                </a:lnTo>
                <a:lnTo>
                  <a:pt x="58" y="161"/>
                </a:lnTo>
                <a:lnTo>
                  <a:pt x="70" y="170"/>
                </a:lnTo>
                <a:lnTo>
                  <a:pt x="80" y="164"/>
                </a:lnTo>
                <a:lnTo>
                  <a:pt x="94" y="156"/>
                </a:lnTo>
                <a:lnTo>
                  <a:pt x="108" y="164"/>
                </a:lnTo>
                <a:lnTo>
                  <a:pt x="122" y="172"/>
                </a:lnTo>
                <a:lnTo>
                  <a:pt x="136" y="180"/>
                </a:lnTo>
                <a:lnTo>
                  <a:pt x="150" y="188"/>
                </a:lnTo>
                <a:lnTo>
                  <a:pt x="165" y="197"/>
                </a:lnTo>
                <a:lnTo>
                  <a:pt x="179" y="204"/>
                </a:lnTo>
                <a:lnTo>
                  <a:pt x="192" y="212"/>
                </a:lnTo>
                <a:lnTo>
                  <a:pt x="207" y="221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1" name="Freeform 150">
            <a:extLst>
              <a:ext uri="{FF2B5EF4-FFF2-40B4-BE49-F238E27FC236}">
                <a16:creationId xmlns:a16="http://schemas.microsoft.com/office/drawing/2014/main" id="{5AE1E382-780F-4BA1-8AB4-C3E6EAD2CF8A}"/>
              </a:ext>
            </a:extLst>
          </p:cNvPr>
          <p:cNvSpPr>
            <a:spLocks/>
          </p:cNvSpPr>
          <p:nvPr/>
        </p:nvSpPr>
        <p:spPr bwMode="gray">
          <a:xfrm>
            <a:off x="4399327" y="3546442"/>
            <a:ext cx="487097" cy="525774"/>
          </a:xfrm>
          <a:custGeom>
            <a:avLst/>
            <a:gdLst>
              <a:gd name="T0" fmla="*/ 52 w 232"/>
              <a:gd name="T1" fmla="*/ 223 h 239"/>
              <a:gd name="T2" fmla="*/ 60 w 232"/>
              <a:gd name="T3" fmla="*/ 239 h 239"/>
              <a:gd name="T4" fmla="*/ 72 w 232"/>
              <a:gd name="T5" fmla="*/ 238 h 239"/>
              <a:gd name="T6" fmla="*/ 84 w 232"/>
              <a:gd name="T7" fmla="*/ 230 h 239"/>
              <a:gd name="T8" fmla="*/ 95 w 232"/>
              <a:gd name="T9" fmla="*/ 234 h 239"/>
              <a:gd name="T10" fmla="*/ 102 w 232"/>
              <a:gd name="T11" fmla="*/ 209 h 239"/>
              <a:gd name="T12" fmla="*/ 113 w 232"/>
              <a:gd name="T13" fmla="*/ 196 h 239"/>
              <a:gd name="T14" fmla="*/ 125 w 232"/>
              <a:gd name="T15" fmla="*/ 190 h 239"/>
              <a:gd name="T16" fmla="*/ 130 w 232"/>
              <a:gd name="T17" fmla="*/ 182 h 239"/>
              <a:gd name="T18" fmla="*/ 143 w 232"/>
              <a:gd name="T19" fmla="*/ 174 h 239"/>
              <a:gd name="T20" fmla="*/ 163 w 232"/>
              <a:gd name="T21" fmla="*/ 160 h 239"/>
              <a:gd name="T22" fmla="*/ 179 w 232"/>
              <a:gd name="T23" fmla="*/ 161 h 239"/>
              <a:gd name="T24" fmla="*/ 207 w 232"/>
              <a:gd name="T25" fmla="*/ 156 h 239"/>
              <a:gd name="T26" fmla="*/ 229 w 232"/>
              <a:gd name="T27" fmla="*/ 140 h 239"/>
              <a:gd name="T28" fmla="*/ 231 w 232"/>
              <a:gd name="T29" fmla="*/ 118 h 239"/>
              <a:gd name="T30" fmla="*/ 232 w 232"/>
              <a:gd name="T31" fmla="*/ 94 h 239"/>
              <a:gd name="T32" fmla="*/ 216 w 232"/>
              <a:gd name="T33" fmla="*/ 82 h 239"/>
              <a:gd name="T34" fmla="*/ 190 w 232"/>
              <a:gd name="T35" fmla="*/ 67 h 239"/>
              <a:gd name="T36" fmla="*/ 179 w 232"/>
              <a:gd name="T37" fmla="*/ 55 h 239"/>
              <a:gd name="T38" fmla="*/ 159 w 232"/>
              <a:gd name="T39" fmla="*/ 40 h 239"/>
              <a:gd name="T40" fmla="*/ 137 w 232"/>
              <a:gd name="T41" fmla="*/ 23 h 239"/>
              <a:gd name="T42" fmla="*/ 117 w 232"/>
              <a:gd name="T43" fmla="*/ 7 h 239"/>
              <a:gd name="T44" fmla="*/ 94 w 232"/>
              <a:gd name="T45" fmla="*/ 0 h 239"/>
              <a:gd name="T46" fmla="*/ 83 w 232"/>
              <a:gd name="T47" fmla="*/ 17 h 239"/>
              <a:gd name="T48" fmla="*/ 87 w 232"/>
              <a:gd name="T49" fmla="*/ 52 h 239"/>
              <a:gd name="T50" fmla="*/ 90 w 232"/>
              <a:gd name="T51" fmla="*/ 85 h 239"/>
              <a:gd name="T52" fmla="*/ 93 w 232"/>
              <a:gd name="T53" fmla="*/ 120 h 239"/>
              <a:gd name="T54" fmla="*/ 99 w 232"/>
              <a:gd name="T55" fmla="*/ 139 h 239"/>
              <a:gd name="T56" fmla="*/ 82 w 232"/>
              <a:gd name="T57" fmla="*/ 152 h 239"/>
              <a:gd name="T58" fmla="*/ 55 w 232"/>
              <a:gd name="T59" fmla="*/ 152 h 239"/>
              <a:gd name="T60" fmla="*/ 40 w 232"/>
              <a:gd name="T61" fmla="*/ 151 h 239"/>
              <a:gd name="T62" fmla="*/ 18 w 232"/>
              <a:gd name="T63" fmla="*/ 157 h 239"/>
              <a:gd name="T64" fmla="*/ 4 w 232"/>
              <a:gd name="T65" fmla="*/ 166 h 239"/>
              <a:gd name="T66" fmla="*/ 5 w 232"/>
              <a:gd name="T67" fmla="*/ 180 h 239"/>
              <a:gd name="T68" fmla="*/ 12 w 232"/>
              <a:gd name="T69" fmla="*/ 203 h 239"/>
              <a:gd name="T70" fmla="*/ 19 w 232"/>
              <a:gd name="T71" fmla="*/ 206 h 239"/>
              <a:gd name="T72" fmla="*/ 33 w 232"/>
              <a:gd name="T73" fmla="*/ 208 h 239"/>
              <a:gd name="T74" fmla="*/ 43 w 232"/>
              <a:gd name="T75" fmla="*/ 202 h 239"/>
              <a:gd name="T76" fmla="*/ 53 w 232"/>
              <a:gd name="T77" fmla="*/ 218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32" h="239">
                <a:moveTo>
                  <a:pt x="53" y="218"/>
                </a:moveTo>
                <a:lnTo>
                  <a:pt x="52" y="223"/>
                </a:lnTo>
                <a:lnTo>
                  <a:pt x="53" y="224"/>
                </a:lnTo>
                <a:lnTo>
                  <a:pt x="60" y="239"/>
                </a:lnTo>
                <a:lnTo>
                  <a:pt x="64" y="235"/>
                </a:lnTo>
                <a:lnTo>
                  <a:pt x="72" y="238"/>
                </a:lnTo>
                <a:lnTo>
                  <a:pt x="78" y="234"/>
                </a:lnTo>
                <a:lnTo>
                  <a:pt x="84" y="230"/>
                </a:lnTo>
                <a:lnTo>
                  <a:pt x="85" y="236"/>
                </a:lnTo>
                <a:lnTo>
                  <a:pt x="95" y="234"/>
                </a:lnTo>
                <a:lnTo>
                  <a:pt x="99" y="214"/>
                </a:lnTo>
                <a:lnTo>
                  <a:pt x="102" y="209"/>
                </a:lnTo>
                <a:lnTo>
                  <a:pt x="111" y="202"/>
                </a:lnTo>
                <a:lnTo>
                  <a:pt x="113" y="196"/>
                </a:lnTo>
                <a:lnTo>
                  <a:pt x="115" y="186"/>
                </a:lnTo>
                <a:lnTo>
                  <a:pt x="125" y="190"/>
                </a:lnTo>
                <a:lnTo>
                  <a:pt x="127" y="184"/>
                </a:lnTo>
                <a:lnTo>
                  <a:pt x="130" y="182"/>
                </a:lnTo>
                <a:lnTo>
                  <a:pt x="136" y="175"/>
                </a:lnTo>
                <a:lnTo>
                  <a:pt x="143" y="174"/>
                </a:lnTo>
                <a:lnTo>
                  <a:pt x="145" y="168"/>
                </a:lnTo>
                <a:lnTo>
                  <a:pt x="163" y="160"/>
                </a:lnTo>
                <a:lnTo>
                  <a:pt x="177" y="161"/>
                </a:lnTo>
                <a:lnTo>
                  <a:pt x="179" y="161"/>
                </a:lnTo>
                <a:lnTo>
                  <a:pt x="191" y="156"/>
                </a:lnTo>
                <a:lnTo>
                  <a:pt x="207" y="156"/>
                </a:lnTo>
                <a:lnTo>
                  <a:pt x="222" y="155"/>
                </a:lnTo>
                <a:lnTo>
                  <a:pt x="229" y="140"/>
                </a:lnTo>
                <a:lnTo>
                  <a:pt x="231" y="130"/>
                </a:lnTo>
                <a:lnTo>
                  <a:pt x="231" y="118"/>
                </a:lnTo>
                <a:lnTo>
                  <a:pt x="232" y="106"/>
                </a:lnTo>
                <a:lnTo>
                  <a:pt x="232" y="94"/>
                </a:lnTo>
                <a:lnTo>
                  <a:pt x="216" y="94"/>
                </a:lnTo>
                <a:lnTo>
                  <a:pt x="216" y="82"/>
                </a:lnTo>
                <a:lnTo>
                  <a:pt x="196" y="73"/>
                </a:lnTo>
                <a:lnTo>
                  <a:pt x="190" y="67"/>
                </a:lnTo>
                <a:lnTo>
                  <a:pt x="190" y="62"/>
                </a:lnTo>
                <a:lnTo>
                  <a:pt x="179" y="55"/>
                </a:lnTo>
                <a:lnTo>
                  <a:pt x="168" y="47"/>
                </a:lnTo>
                <a:lnTo>
                  <a:pt x="159" y="40"/>
                </a:lnTo>
                <a:lnTo>
                  <a:pt x="148" y="31"/>
                </a:lnTo>
                <a:lnTo>
                  <a:pt x="137" y="23"/>
                </a:lnTo>
                <a:lnTo>
                  <a:pt x="127" y="16"/>
                </a:lnTo>
                <a:lnTo>
                  <a:pt x="117" y="7"/>
                </a:lnTo>
                <a:lnTo>
                  <a:pt x="107" y="0"/>
                </a:lnTo>
                <a:lnTo>
                  <a:pt x="94" y="0"/>
                </a:lnTo>
                <a:lnTo>
                  <a:pt x="82" y="0"/>
                </a:lnTo>
                <a:lnTo>
                  <a:pt x="83" y="17"/>
                </a:lnTo>
                <a:lnTo>
                  <a:pt x="85" y="34"/>
                </a:lnTo>
                <a:lnTo>
                  <a:pt x="87" y="52"/>
                </a:lnTo>
                <a:lnTo>
                  <a:pt x="88" y="68"/>
                </a:lnTo>
                <a:lnTo>
                  <a:pt x="90" y="85"/>
                </a:lnTo>
                <a:lnTo>
                  <a:pt x="91" y="102"/>
                </a:lnTo>
                <a:lnTo>
                  <a:pt x="93" y="120"/>
                </a:lnTo>
                <a:lnTo>
                  <a:pt x="95" y="137"/>
                </a:lnTo>
                <a:lnTo>
                  <a:pt x="99" y="139"/>
                </a:lnTo>
                <a:lnTo>
                  <a:pt x="96" y="152"/>
                </a:lnTo>
                <a:lnTo>
                  <a:pt x="82" y="152"/>
                </a:lnTo>
                <a:lnTo>
                  <a:pt x="69" y="152"/>
                </a:lnTo>
                <a:lnTo>
                  <a:pt x="55" y="152"/>
                </a:lnTo>
                <a:lnTo>
                  <a:pt x="42" y="152"/>
                </a:lnTo>
                <a:lnTo>
                  <a:pt x="40" y="151"/>
                </a:lnTo>
                <a:lnTo>
                  <a:pt x="21" y="156"/>
                </a:lnTo>
                <a:lnTo>
                  <a:pt x="18" y="157"/>
                </a:lnTo>
                <a:lnTo>
                  <a:pt x="10" y="152"/>
                </a:lnTo>
                <a:lnTo>
                  <a:pt x="4" y="166"/>
                </a:lnTo>
                <a:lnTo>
                  <a:pt x="0" y="164"/>
                </a:lnTo>
                <a:lnTo>
                  <a:pt x="5" y="180"/>
                </a:lnTo>
                <a:lnTo>
                  <a:pt x="9" y="187"/>
                </a:lnTo>
                <a:lnTo>
                  <a:pt x="12" y="203"/>
                </a:lnTo>
                <a:lnTo>
                  <a:pt x="11" y="206"/>
                </a:lnTo>
                <a:lnTo>
                  <a:pt x="19" y="206"/>
                </a:lnTo>
                <a:lnTo>
                  <a:pt x="24" y="209"/>
                </a:lnTo>
                <a:lnTo>
                  <a:pt x="33" y="208"/>
                </a:lnTo>
                <a:lnTo>
                  <a:pt x="41" y="204"/>
                </a:lnTo>
                <a:lnTo>
                  <a:pt x="43" y="202"/>
                </a:lnTo>
                <a:lnTo>
                  <a:pt x="48" y="215"/>
                </a:lnTo>
                <a:lnTo>
                  <a:pt x="53" y="218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3" name="Freeform 152">
            <a:extLst>
              <a:ext uri="{FF2B5EF4-FFF2-40B4-BE49-F238E27FC236}">
                <a16:creationId xmlns:a16="http://schemas.microsoft.com/office/drawing/2014/main" id="{5C2D4D89-D772-487E-A860-D362C14C5391}"/>
              </a:ext>
            </a:extLst>
          </p:cNvPr>
          <p:cNvSpPr>
            <a:spLocks/>
          </p:cNvSpPr>
          <p:nvPr/>
        </p:nvSpPr>
        <p:spPr bwMode="gray">
          <a:xfrm>
            <a:off x="4260428" y="3463110"/>
            <a:ext cx="363420" cy="450381"/>
          </a:xfrm>
          <a:custGeom>
            <a:avLst/>
            <a:gdLst>
              <a:gd name="T0" fmla="*/ 9 w 172"/>
              <a:gd name="T1" fmla="*/ 174 h 203"/>
              <a:gd name="T2" fmla="*/ 6 w 172"/>
              <a:gd name="T3" fmla="*/ 181 h 203"/>
              <a:gd name="T4" fmla="*/ 10 w 172"/>
              <a:gd name="T5" fmla="*/ 162 h 203"/>
              <a:gd name="T6" fmla="*/ 14 w 172"/>
              <a:gd name="T7" fmla="*/ 143 h 203"/>
              <a:gd name="T8" fmla="*/ 9 w 172"/>
              <a:gd name="T9" fmla="*/ 127 h 203"/>
              <a:gd name="T10" fmla="*/ 10 w 172"/>
              <a:gd name="T11" fmla="*/ 110 h 203"/>
              <a:gd name="T12" fmla="*/ 2 w 172"/>
              <a:gd name="T13" fmla="*/ 101 h 203"/>
              <a:gd name="T14" fmla="*/ 0 w 172"/>
              <a:gd name="T15" fmla="*/ 105 h 203"/>
              <a:gd name="T16" fmla="*/ 2 w 172"/>
              <a:gd name="T17" fmla="*/ 96 h 203"/>
              <a:gd name="T18" fmla="*/ 16 w 172"/>
              <a:gd name="T19" fmla="*/ 96 h 203"/>
              <a:gd name="T20" fmla="*/ 29 w 172"/>
              <a:gd name="T21" fmla="*/ 96 h 203"/>
              <a:gd name="T22" fmla="*/ 44 w 172"/>
              <a:gd name="T23" fmla="*/ 96 h 203"/>
              <a:gd name="T24" fmla="*/ 57 w 172"/>
              <a:gd name="T25" fmla="*/ 96 h 203"/>
              <a:gd name="T26" fmla="*/ 57 w 172"/>
              <a:gd name="T27" fmla="*/ 83 h 203"/>
              <a:gd name="T28" fmla="*/ 58 w 172"/>
              <a:gd name="T29" fmla="*/ 68 h 203"/>
              <a:gd name="T30" fmla="*/ 71 w 172"/>
              <a:gd name="T31" fmla="*/ 62 h 203"/>
              <a:gd name="T32" fmla="*/ 72 w 172"/>
              <a:gd name="T33" fmla="*/ 42 h 203"/>
              <a:gd name="T34" fmla="*/ 72 w 172"/>
              <a:gd name="T35" fmla="*/ 20 h 203"/>
              <a:gd name="T36" fmla="*/ 84 w 172"/>
              <a:gd name="T37" fmla="*/ 20 h 203"/>
              <a:gd name="T38" fmla="*/ 95 w 172"/>
              <a:gd name="T39" fmla="*/ 20 h 203"/>
              <a:gd name="T40" fmla="*/ 107 w 172"/>
              <a:gd name="T41" fmla="*/ 20 h 203"/>
              <a:gd name="T42" fmla="*/ 118 w 172"/>
              <a:gd name="T43" fmla="*/ 20 h 203"/>
              <a:gd name="T44" fmla="*/ 119 w 172"/>
              <a:gd name="T45" fmla="*/ 0 h 203"/>
              <a:gd name="T46" fmla="*/ 132 w 172"/>
              <a:gd name="T47" fmla="*/ 9 h 203"/>
              <a:gd name="T48" fmla="*/ 146 w 172"/>
              <a:gd name="T49" fmla="*/ 19 h 203"/>
              <a:gd name="T50" fmla="*/ 159 w 172"/>
              <a:gd name="T51" fmla="*/ 27 h 203"/>
              <a:gd name="T52" fmla="*/ 172 w 172"/>
              <a:gd name="T53" fmla="*/ 37 h 203"/>
              <a:gd name="T54" fmla="*/ 159 w 172"/>
              <a:gd name="T55" fmla="*/ 37 h 203"/>
              <a:gd name="T56" fmla="*/ 147 w 172"/>
              <a:gd name="T57" fmla="*/ 37 h 203"/>
              <a:gd name="T58" fmla="*/ 148 w 172"/>
              <a:gd name="T59" fmla="*/ 54 h 203"/>
              <a:gd name="T60" fmla="*/ 150 w 172"/>
              <a:gd name="T61" fmla="*/ 71 h 203"/>
              <a:gd name="T62" fmla="*/ 152 w 172"/>
              <a:gd name="T63" fmla="*/ 89 h 203"/>
              <a:gd name="T64" fmla="*/ 153 w 172"/>
              <a:gd name="T65" fmla="*/ 105 h 203"/>
              <a:gd name="T66" fmla="*/ 155 w 172"/>
              <a:gd name="T67" fmla="*/ 122 h 203"/>
              <a:gd name="T68" fmla="*/ 156 w 172"/>
              <a:gd name="T69" fmla="*/ 139 h 203"/>
              <a:gd name="T70" fmla="*/ 158 w 172"/>
              <a:gd name="T71" fmla="*/ 157 h 203"/>
              <a:gd name="T72" fmla="*/ 160 w 172"/>
              <a:gd name="T73" fmla="*/ 174 h 203"/>
              <a:gd name="T74" fmla="*/ 164 w 172"/>
              <a:gd name="T75" fmla="*/ 176 h 203"/>
              <a:gd name="T76" fmla="*/ 161 w 172"/>
              <a:gd name="T77" fmla="*/ 189 h 203"/>
              <a:gd name="T78" fmla="*/ 147 w 172"/>
              <a:gd name="T79" fmla="*/ 189 h 203"/>
              <a:gd name="T80" fmla="*/ 134 w 172"/>
              <a:gd name="T81" fmla="*/ 189 h 203"/>
              <a:gd name="T82" fmla="*/ 120 w 172"/>
              <a:gd name="T83" fmla="*/ 189 h 203"/>
              <a:gd name="T84" fmla="*/ 107 w 172"/>
              <a:gd name="T85" fmla="*/ 189 h 203"/>
              <a:gd name="T86" fmla="*/ 105 w 172"/>
              <a:gd name="T87" fmla="*/ 188 h 203"/>
              <a:gd name="T88" fmla="*/ 86 w 172"/>
              <a:gd name="T89" fmla="*/ 193 h 203"/>
              <a:gd name="T90" fmla="*/ 83 w 172"/>
              <a:gd name="T91" fmla="*/ 194 h 203"/>
              <a:gd name="T92" fmla="*/ 75 w 172"/>
              <a:gd name="T93" fmla="*/ 189 h 203"/>
              <a:gd name="T94" fmla="*/ 69 w 172"/>
              <a:gd name="T95" fmla="*/ 203 h 203"/>
              <a:gd name="T96" fmla="*/ 65 w 172"/>
              <a:gd name="T97" fmla="*/ 201 h 203"/>
              <a:gd name="T98" fmla="*/ 56 w 172"/>
              <a:gd name="T99" fmla="*/ 191 h 203"/>
              <a:gd name="T100" fmla="*/ 45 w 172"/>
              <a:gd name="T101" fmla="*/ 180 h 203"/>
              <a:gd name="T102" fmla="*/ 32 w 172"/>
              <a:gd name="T103" fmla="*/ 171 h 203"/>
              <a:gd name="T104" fmla="*/ 21 w 172"/>
              <a:gd name="T105" fmla="*/ 173 h 203"/>
              <a:gd name="T106" fmla="*/ 9 w 172"/>
              <a:gd name="T107" fmla="*/ 174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72" h="203">
                <a:moveTo>
                  <a:pt x="9" y="174"/>
                </a:moveTo>
                <a:lnTo>
                  <a:pt x="6" y="181"/>
                </a:lnTo>
                <a:lnTo>
                  <a:pt x="10" y="162"/>
                </a:lnTo>
                <a:lnTo>
                  <a:pt x="14" y="143"/>
                </a:lnTo>
                <a:lnTo>
                  <a:pt x="9" y="127"/>
                </a:lnTo>
                <a:lnTo>
                  <a:pt x="10" y="110"/>
                </a:lnTo>
                <a:lnTo>
                  <a:pt x="2" y="101"/>
                </a:lnTo>
                <a:lnTo>
                  <a:pt x="0" y="105"/>
                </a:lnTo>
                <a:lnTo>
                  <a:pt x="2" y="96"/>
                </a:lnTo>
                <a:lnTo>
                  <a:pt x="16" y="96"/>
                </a:lnTo>
                <a:lnTo>
                  <a:pt x="29" y="96"/>
                </a:lnTo>
                <a:lnTo>
                  <a:pt x="44" y="96"/>
                </a:lnTo>
                <a:lnTo>
                  <a:pt x="57" y="96"/>
                </a:lnTo>
                <a:lnTo>
                  <a:pt x="57" y="83"/>
                </a:lnTo>
                <a:lnTo>
                  <a:pt x="58" y="68"/>
                </a:lnTo>
                <a:lnTo>
                  <a:pt x="71" y="62"/>
                </a:lnTo>
                <a:lnTo>
                  <a:pt x="72" y="42"/>
                </a:lnTo>
                <a:lnTo>
                  <a:pt x="72" y="20"/>
                </a:lnTo>
                <a:lnTo>
                  <a:pt x="84" y="20"/>
                </a:lnTo>
                <a:lnTo>
                  <a:pt x="95" y="20"/>
                </a:lnTo>
                <a:lnTo>
                  <a:pt x="107" y="20"/>
                </a:lnTo>
                <a:lnTo>
                  <a:pt x="118" y="20"/>
                </a:lnTo>
                <a:lnTo>
                  <a:pt x="119" y="0"/>
                </a:lnTo>
                <a:lnTo>
                  <a:pt x="132" y="9"/>
                </a:lnTo>
                <a:lnTo>
                  <a:pt x="146" y="19"/>
                </a:lnTo>
                <a:lnTo>
                  <a:pt x="159" y="27"/>
                </a:lnTo>
                <a:lnTo>
                  <a:pt x="172" y="37"/>
                </a:lnTo>
                <a:lnTo>
                  <a:pt x="159" y="37"/>
                </a:lnTo>
                <a:lnTo>
                  <a:pt x="147" y="37"/>
                </a:lnTo>
                <a:lnTo>
                  <a:pt x="148" y="54"/>
                </a:lnTo>
                <a:lnTo>
                  <a:pt x="150" y="71"/>
                </a:lnTo>
                <a:lnTo>
                  <a:pt x="152" y="89"/>
                </a:lnTo>
                <a:lnTo>
                  <a:pt x="153" y="105"/>
                </a:lnTo>
                <a:lnTo>
                  <a:pt x="155" y="122"/>
                </a:lnTo>
                <a:lnTo>
                  <a:pt x="156" y="139"/>
                </a:lnTo>
                <a:lnTo>
                  <a:pt x="158" y="157"/>
                </a:lnTo>
                <a:lnTo>
                  <a:pt x="160" y="174"/>
                </a:lnTo>
                <a:lnTo>
                  <a:pt x="164" y="176"/>
                </a:lnTo>
                <a:lnTo>
                  <a:pt x="161" y="189"/>
                </a:lnTo>
                <a:lnTo>
                  <a:pt x="147" y="189"/>
                </a:lnTo>
                <a:lnTo>
                  <a:pt x="134" y="189"/>
                </a:lnTo>
                <a:lnTo>
                  <a:pt x="120" y="189"/>
                </a:lnTo>
                <a:lnTo>
                  <a:pt x="107" y="189"/>
                </a:lnTo>
                <a:lnTo>
                  <a:pt x="105" y="188"/>
                </a:lnTo>
                <a:lnTo>
                  <a:pt x="86" y="193"/>
                </a:lnTo>
                <a:lnTo>
                  <a:pt x="83" y="194"/>
                </a:lnTo>
                <a:lnTo>
                  <a:pt x="75" y="189"/>
                </a:lnTo>
                <a:lnTo>
                  <a:pt x="69" y="203"/>
                </a:lnTo>
                <a:lnTo>
                  <a:pt x="65" y="201"/>
                </a:lnTo>
                <a:lnTo>
                  <a:pt x="56" y="191"/>
                </a:lnTo>
                <a:lnTo>
                  <a:pt x="45" y="180"/>
                </a:lnTo>
                <a:lnTo>
                  <a:pt x="32" y="171"/>
                </a:lnTo>
                <a:lnTo>
                  <a:pt x="21" y="173"/>
                </a:lnTo>
                <a:lnTo>
                  <a:pt x="9" y="174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4" name="Freeform 153">
            <a:extLst>
              <a:ext uri="{FF2B5EF4-FFF2-40B4-BE49-F238E27FC236}">
                <a16:creationId xmlns:a16="http://schemas.microsoft.com/office/drawing/2014/main" id="{4FFD2B95-64BA-426B-B5B1-D906901EFB79}"/>
              </a:ext>
            </a:extLst>
          </p:cNvPr>
          <p:cNvSpPr>
            <a:spLocks/>
          </p:cNvSpPr>
          <p:nvPr/>
        </p:nvSpPr>
        <p:spPr bwMode="gray">
          <a:xfrm>
            <a:off x="4378397" y="3157567"/>
            <a:ext cx="355809" cy="291655"/>
          </a:xfrm>
          <a:custGeom>
            <a:avLst/>
            <a:gdLst>
              <a:gd name="T0" fmla="*/ 86 w 168"/>
              <a:gd name="T1" fmla="*/ 32 h 132"/>
              <a:gd name="T2" fmla="*/ 74 w 168"/>
              <a:gd name="T3" fmla="*/ 41 h 132"/>
              <a:gd name="T4" fmla="*/ 61 w 168"/>
              <a:gd name="T5" fmla="*/ 48 h 132"/>
              <a:gd name="T6" fmla="*/ 55 w 168"/>
              <a:gd name="T7" fmla="*/ 61 h 132"/>
              <a:gd name="T8" fmla="*/ 48 w 168"/>
              <a:gd name="T9" fmla="*/ 73 h 132"/>
              <a:gd name="T10" fmla="*/ 49 w 168"/>
              <a:gd name="T11" fmla="*/ 87 h 132"/>
              <a:gd name="T12" fmla="*/ 43 w 168"/>
              <a:gd name="T13" fmla="*/ 99 h 132"/>
              <a:gd name="T14" fmla="*/ 37 w 168"/>
              <a:gd name="T15" fmla="*/ 110 h 132"/>
              <a:gd name="T16" fmla="*/ 26 w 168"/>
              <a:gd name="T17" fmla="*/ 117 h 132"/>
              <a:gd name="T18" fmla="*/ 15 w 168"/>
              <a:gd name="T19" fmla="*/ 126 h 132"/>
              <a:gd name="T20" fmla="*/ 0 w 168"/>
              <a:gd name="T21" fmla="*/ 132 h 132"/>
              <a:gd name="T22" fmla="*/ 15 w 168"/>
              <a:gd name="T23" fmla="*/ 132 h 132"/>
              <a:gd name="T24" fmla="*/ 31 w 168"/>
              <a:gd name="T25" fmla="*/ 132 h 132"/>
              <a:gd name="T26" fmla="*/ 47 w 168"/>
              <a:gd name="T27" fmla="*/ 132 h 132"/>
              <a:gd name="T28" fmla="*/ 62 w 168"/>
              <a:gd name="T29" fmla="*/ 132 h 132"/>
              <a:gd name="T30" fmla="*/ 65 w 168"/>
              <a:gd name="T31" fmla="*/ 114 h 132"/>
              <a:gd name="T32" fmla="*/ 77 w 168"/>
              <a:gd name="T33" fmla="*/ 107 h 132"/>
              <a:gd name="T34" fmla="*/ 87 w 168"/>
              <a:gd name="T35" fmla="*/ 101 h 132"/>
              <a:gd name="T36" fmla="*/ 99 w 168"/>
              <a:gd name="T37" fmla="*/ 96 h 132"/>
              <a:gd name="T38" fmla="*/ 111 w 168"/>
              <a:gd name="T39" fmla="*/ 91 h 132"/>
              <a:gd name="T40" fmla="*/ 121 w 168"/>
              <a:gd name="T41" fmla="*/ 84 h 132"/>
              <a:gd name="T42" fmla="*/ 132 w 168"/>
              <a:gd name="T43" fmla="*/ 77 h 132"/>
              <a:gd name="T44" fmla="*/ 131 w 168"/>
              <a:gd name="T45" fmla="*/ 67 h 132"/>
              <a:gd name="T46" fmla="*/ 150 w 168"/>
              <a:gd name="T47" fmla="*/ 60 h 132"/>
              <a:gd name="T48" fmla="*/ 164 w 168"/>
              <a:gd name="T49" fmla="*/ 59 h 132"/>
              <a:gd name="T50" fmla="*/ 168 w 168"/>
              <a:gd name="T51" fmla="*/ 54 h 132"/>
              <a:gd name="T52" fmla="*/ 158 w 168"/>
              <a:gd name="T53" fmla="*/ 41 h 132"/>
              <a:gd name="T54" fmla="*/ 157 w 168"/>
              <a:gd name="T55" fmla="*/ 29 h 132"/>
              <a:gd name="T56" fmla="*/ 155 w 168"/>
              <a:gd name="T57" fmla="*/ 17 h 132"/>
              <a:gd name="T58" fmla="*/ 151 w 168"/>
              <a:gd name="T59" fmla="*/ 13 h 132"/>
              <a:gd name="T60" fmla="*/ 143 w 168"/>
              <a:gd name="T61" fmla="*/ 9 h 132"/>
              <a:gd name="T62" fmla="*/ 139 w 168"/>
              <a:gd name="T63" fmla="*/ 11 h 132"/>
              <a:gd name="T64" fmla="*/ 115 w 168"/>
              <a:gd name="T65" fmla="*/ 9 h 132"/>
              <a:gd name="T66" fmla="*/ 108 w 168"/>
              <a:gd name="T67" fmla="*/ 0 h 132"/>
              <a:gd name="T68" fmla="*/ 101 w 168"/>
              <a:gd name="T69" fmla="*/ 6 h 132"/>
              <a:gd name="T70" fmla="*/ 93 w 168"/>
              <a:gd name="T71" fmla="*/ 19 h 132"/>
              <a:gd name="T72" fmla="*/ 86 w 168"/>
              <a:gd name="T73" fmla="*/ 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68" h="132">
                <a:moveTo>
                  <a:pt x="86" y="32"/>
                </a:moveTo>
                <a:lnTo>
                  <a:pt x="74" y="41"/>
                </a:lnTo>
                <a:lnTo>
                  <a:pt x="61" y="48"/>
                </a:lnTo>
                <a:lnTo>
                  <a:pt x="55" y="61"/>
                </a:lnTo>
                <a:lnTo>
                  <a:pt x="48" y="73"/>
                </a:lnTo>
                <a:lnTo>
                  <a:pt x="49" y="87"/>
                </a:lnTo>
                <a:lnTo>
                  <a:pt x="43" y="99"/>
                </a:lnTo>
                <a:lnTo>
                  <a:pt x="37" y="110"/>
                </a:lnTo>
                <a:lnTo>
                  <a:pt x="26" y="117"/>
                </a:lnTo>
                <a:lnTo>
                  <a:pt x="15" y="126"/>
                </a:lnTo>
                <a:lnTo>
                  <a:pt x="0" y="132"/>
                </a:lnTo>
                <a:lnTo>
                  <a:pt x="15" y="132"/>
                </a:lnTo>
                <a:lnTo>
                  <a:pt x="31" y="132"/>
                </a:lnTo>
                <a:lnTo>
                  <a:pt x="47" y="132"/>
                </a:lnTo>
                <a:lnTo>
                  <a:pt x="62" y="132"/>
                </a:lnTo>
                <a:lnTo>
                  <a:pt x="65" y="114"/>
                </a:lnTo>
                <a:lnTo>
                  <a:pt x="77" y="107"/>
                </a:lnTo>
                <a:lnTo>
                  <a:pt x="87" y="101"/>
                </a:lnTo>
                <a:lnTo>
                  <a:pt x="99" y="96"/>
                </a:lnTo>
                <a:lnTo>
                  <a:pt x="111" y="91"/>
                </a:lnTo>
                <a:lnTo>
                  <a:pt x="121" y="84"/>
                </a:lnTo>
                <a:lnTo>
                  <a:pt x="132" y="77"/>
                </a:lnTo>
                <a:lnTo>
                  <a:pt x="131" y="67"/>
                </a:lnTo>
                <a:lnTo>
                  <a:pt x="150" y="60"/>
                </a:lnTo>
                <a:lnTo>
                  <a:pt x="164" y="59"/>
                </a:lnTo>
                <a:lnTo>
                  <a:pt x="168" y="54"/>
                </a:lnTo>
                <a:lnTo>
                  <a:pt x="158" y="41"/>
                </a:lnTo>
                <a:lnTo>
                  <a:pt x="157" y="29"/>
                </a:lnTo>
                <a:lnTo>
                  <a:pt x="155" y="17"/>
                </a:lnTo>
                <a:lnTo>
                  <a:pt x="151" y="13"/>
                </a:lnTo>
                <a:lnTo>
                  <a:pt x="143" y="9"/>
                </a:lnTo>
                <a:lnTo>
                  <a:pt x="139" y="11"/>
                </a:lnTo>
                <a:lnTo>
                  <a:pt x="115" y="9"/>
                </a:lnTo>
                <a:lnTo>
                  <a:pt x="108" y="0"/>
                </a:lnTo>
                <a:lnTo>
                  <a:pt x="101" y="6"/>
                </a:lnTo>
                <a:lnTo>
                  <a:pt x="93" y="19"/>
                </a:lnTo>
                <a:lnTo>
                  <a:pt x="86" y="32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5" name="Freeform 154">
            <a:extLst>
              <a:ext uri="{FF2B5EF4-FFF2-40B4-BE49-F238E27FC236}">
                <a16:creationId xmlns:a16="http://schemas.microsoft.com/office/drawing/2014/main" id="{5629FA80-B7BA-4220-B05D-7EB367A0152E}"/>
              </a:ext>
            </a:extLst>
          </p:cNvPr>
          <p:cNvSpPr>
            <a:spLocks/>
          </p:cNvSpPr>
          <p:nvPr/>
        </p:nvSpPr>
        <p:spPr bwMode="gray">
          <a:xfrm>
            <a:off x="4772262" y="3600011"/>
            <a:ext cx="466169" cy="418637"/>
          </a:xfrm>
          <a:custGeom>
            <a:avLst/>
            <a:gdLst>
              <a:gd name="T0" fmla="*/ 24 w 219"/>
              <a:gd name="T1" fmla="*/ 174 h 190"/>
              <a:gd name="T2" fmla="*/ 19 w 219"/>
              <a:gd name="T3" fmla="*/ 175 h 190"/>
              <a:gd name="T4" fmla="*/ 10 w 219"/>
              <a:gd name="T5" fmla="*/ 168 h 190"/>
              <a:gd name="T6" fmla="*/ 10 w 219"/>
              <a:gd name="T7" fmla="*/ 163 h 190"/>
              <a:gd name="T8" fmla="*/ 13 w 219"/>
              <a:gd name="T9" fmla="*/ 162 h 190"/>
              <a:gd name="T10" fmla="*/ 1 w 219"/>
              <a:gd name="T11" fmla="*/ 151 h 190"/>
              <a:gd name="T12" fmla="*/ 0 w 219"/>
              <a:gd name="T13" fmla="*/ 137 h 190"/>
              <a:gd name="T14" fmla="*/ 2 w 219"/>
              <a:gd name="T15" fmla="*/ 137 h 190"/>
              <a:gd name="T16" fmla="*/ 14 w 219"/>
              <a:gd name="T17" fmla="*/ 132 h 190"/>
              <a:gd name="T18" fmla="*/ 30 w 219"/>
              <a:gd name="T19" fmla="*/ 132 h 190"/>
              <a:gd name="T20" fmla="*/ 45 w 219"/>
              <a:gd name="T21" fmla="*/ 131 h 190"/>
              <a:gd name="T22" fmla="*/ 52 w 219"/>
              <a:gd name="T23" fmla="*/ 116 h 190"/>
              <a:gd name="T24" fmla="*/ 54 w 219"/>
              <a:gd name="T25" fmla="*/ 106 h 190"/>
              <a:gd name="T26" fmla="*/ 54 w 219"/>
              <a:gd name="T27" fmla="*/ 94 h 190"/>
              <a:gd name="T28" fmla="*/ 55 w 219"/>
              <a:gd name="T29" fmla="*/ 82 h 190"/>
              <a:gd name="T30" fmla="*/ 55 w 219"/>
              <a:gd name="T31" fmla="*/ 70 h 190"/>
              <a:gd name="T32" fmla="*/ 67 w 219"/>
              <a:gd name="T33" fmla="*/ 67 h 190"/>
              <a:gd name="T34" fmla="*/ 78 w 219"/>
              <a:gd name="T35" fmla="*/ 65 h 190"/>
              <a:gd name="T36" fmla="*/ 88 w 219"/>
              <a:gd name="T37" fmla="*/ 54 h 190"/>
              <a:gd name="T38" fmla="*/ 99 w 219"/>
              <a:gd name="T39" fmla="*/ 43 h 190"/>
              <a:gd name="T40" fmla="*/ 116 w 219"/>
              <a:gd name="T41" fmla="*/ 32 h 190"/>
              <a:gd name="T42" fmla="*/ 132 w 219"/>
              <a:gd name="T43" fmla="*/ 22 h 190"/>
              <a:gd name="T44" fmla="*/ 146 w 219"/>
              <a:gd name="T45" fmla="*/ 11 h 190"/>
              <a:gd name="T46" fmla="*/ 162 w 219"/>
              <a:gd name="T47" fmla="*/ 0 h 190"/>
              <a:gd name="T48" fmla="*/ 182 w 219"/>
              <a:gd name="T49" fmla="*/ 5 h 190"/>
              <a:gd name="T50" fmla="*/ 194 w 219"/>
              <a:gd name="T51" fmla="*/ 14 h 190"/>
              <a:gd name="T52" fmla="*/ 204 w 219"/>
              <a:gd name="T53" fmla="*/ 8 h 190"/>
              <a:gd name="T54" fmla="*/ 206 w 219"/>
              <a:gd name="T55" fmla="*/ 20 h 190"/>
              <a:gd name="T56" fmla="*/ 207 w 219"/>
              <a:gd name="T57" fmla="*/ 32 h 190"/>
              <a:gd name="T58" fmla="*/ 219 w 219"/>
              <a:gd name="T59" fmla="*/ 50 h 190"/>
              <a:gd name="T60" fmla="*/ 216 w 219"/>
              <a:gd name="T61" fmla="*/ 58 h 190"/>
              <a:gd name="T62" fmla="*/ 216 w 219"/>
              <a:gd name="T63" fmla="*/ 70 h 190"/>
              <a:gd name="T64" fmla="*/ 214 w 219"/>
              <a:gd name="T65" fmla="*/ 82 h 190"/>
              <a:gd name="T66" fmla="*/ 213 w 219"/>
              <a:gd name="T67" fmla="*/ 94 h 190"/>
              <a:gd name="T68" fmla="*/ 213 w 219"/>
              <a:gd name="T69" fmla="*/ 106 h 190"/>
              <a:gd name="T70" fmla="*/ 207 w 219"/>
              <a:gd name="T71" fmla="*/ 115 h 190"/>
              <a:gd name="T72" fmla="*/ 200 w 219"/>
              <a:gd name="T73" fmla="*/ 125 h 190"/>
              <a:gd name="T74" fmla="*/ 194 w 219"/>
              <a:gd name="T75" fmla="*/ 134 h 190"/>
              <a:gd name="T76" fmla="*/ 188 w 219"/>
              <a:gd name="T77" fmla="*/ 144 h 190"/>
              <a:gd name="T78" fmla="*/ 188 w 219"/>
              <a:gd name="T79" fmla="*/ 157 h 190"/>
              <a:gd name="T80" fmla="*/ 172 w 219"/>
              <a:gd name="T81" fmla="*/ 167 h 190"/>
              <a:gd name="T82" fmla="*/ 158 w 219"/>
              <a:gd name="T83" fmla="*/ 166 h 190"/>
              <a:gd name="T84" fmla="*/ 144 w 219"/>
              <a:gd name="T85" fmla="*/ 164 h 190"/>
              <a:gd name="T86" fmla="*/ 127 w 219"/>
              <a:gd name="T87" fmla="*/ 172 h 190"/>
              <a:gd name="T88" fmla="*/ 117 w 219"/>
              <a:gd name="T89" fmla="*/ 168 h 190"/>
              <a:gd name="T90" fmla="*/ 106 w 219"/>
              <a:gd name="T91" fmla="*/ 163 h 190"/>
              <a:gd name="T92" fmla="*/ 92 w 219"/>
              <a:gd name="T93" fmla="*/ 167 h 190"/>
              <a:gd name="T94" fmla="*/ 82 w 219"/>
              <a:gd name="T95" fmla="*/ 158 h 190"/>
              <a:gd name="T96" fmla="*/ 68 w 219"/>
              <a:gd name="T97" fmla="*/ 157 h 190"/>
              <a:gd name="T98" fmla="*/ 55 w 219"/>
              <a:gd name="T99" fmla="*/ 161 h 190"/>
              <a:gd name="T100" fmla="*/ 51 w 219"/>
              <a:gd name="T101" fmla="*/ 173 h 190"/>
              <a:gd name="T102" fmla="*/ 48 w 219"/>
              <a:gd name="T103" fmla="*/ 184 h 190"/>
              <a:gd name="T104" fmla="*/ 46 w 219"/>
              <a:gd name="T105" fmla="*/ 190 h 190"/>
              <a:gd name="T106" fmla="*/ 34 w 219"/>
              <a:gd name="T107" fmla="*/ 179 h 190"/>
              <a:gd name="T108" fmla="*/ 31 w 219"/>
              <a:gd name="T109" fmla="*/ 185 h 190"/>
              <a:gd name="T110" fmla="*/ 30 w 219"/>
              <a:gd name="T111" fmla="*/ 187 h 190"/>
              <a:gd name="T112" fmla="*/ 30 w 219"/>
              <a:gd name="T113" fmla="*/ 186 h 190"/>
              <a:gd name="T114" fmla="*/ 26 w 219"/>
              <a:gd name="T115" fmla="*/ 179 h 190"/>
              <a:gd name="T116" fmla="*/ 24 w 219"/>
              <a:gd name="T117" fmla="*/ 174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9" h="190">
                <a:moveTo>
                  <a:pt x="24" y="174"/>
                </a:moveTo>
                <a:lnTo>
                  <a:pt x="19" y="175"/>
                </a:lnTo>
                <a:lnTo>
                  <a:pt x="10" y="168"/>
                </a:lnTo>
                <a:lnTo>
                  <a:pt x="10" y="163"/>
                </a:lnTo>
                <a:lnTo>
                  <a:pt x="13" y="162"/>
                </a:lnTo>
                <a:lnTo>
                  <a:pt x="1" y="151"/>
                </a:lnTo>
                <a:lnTo>
                  <a:pt x="0" y="137"/>
                </a:lnTo>
                <a:lnTo>
                  <a:pt x="2" y="137"/>
                </a:lnTo>
                <a:lnTo>
                  <a:pt x="14" y="132"/>
                </a:lnTo>
                <a:lnTo>
                  <a:pt x="30" y="132"/>
                </a:lnTo>
                <a:lnTo>
                  <a:pt x="45" y="131"/>
                </a:lnTo>
                <a:lnTo>
                  <a:pt x="52" y="116"/>
                </a:lnTo>
                <a:lnTo>
                  <a:pt x="54" y="106"/>
                </a:lnTo>
                <a:lnTo>
                  <a:pt x="54" y="94"/>
                </a:lnTo>
                <a:lnTo>
                  <a:pt x="55" y="82"/>
                </a:lnTo>
                <a:lnTo>
                  <a:pt x="55" y="70"/>
                </a:lnTo>
                <a:lnTo>
                  <a:pt x="67" y="67"/>
                </a:lnTo>
                <a:lnTo>
                  <a:pt x="78" y="65"/>
                </a:lnTo>
                <a:lnTo>
                  <a:pt x="88" y="54"/>
                </a:lnTo>
                <a:lnTo>
                  <a:pt x="99" y="43"/>
                </a:lnTo>
                <a:lnTo>
                  <a:pt x="116" y="32"/>
                </a:lnTo>
                <a:lnTo>
                  <a:pt x="132" y="22"/>
                </a:lnTo>
                <a:lnTo>
                  <a:pt x="146" y="11"/>
                </a:lnTo>
                <a:lnTo>
                  <a:pt x="162" y="0"/>
                </a:lnTo>
                <a:lnTo>
                  <a:pt x="182" y="5"/>
                </a:lnTo>
                <a:lnTo>
                  <a:pt x="194" y="14"/>
                </a:lnTo>
                <a:lnTo>
                  <a:pt x="204" y="8"/>
                </a:lnTo>
                <a:lnTo>
                  <a:pt x="206" y="20"/>
                </a:lnTo>
                <a:lnTo>
                  <a:pt x="207" y="32"/>
                </a:lnTo>
                <a:lnTo>
                  <a:pt x="219" y="50"/>
                </a:lnTo>
                <a:lnTo>
                  <a:pt x="216" y="58"/>
                </a:lnTo>
                <a:lnTo>
                  <a:pt x="216" y="70"/>
                </a:lnTo>
                <a:lnTo>
                  <a:pt x="214" y="82"/>
                </a:lnTo>
                <a:lnTo>
                  <a:pt x="213" y="94"/>
                </a:lnTo>
                <a:lnTo>
                  <a:pt x="213" y="106"/>
                </a:lnTo>
                <a:lnTo>
                  <a:pt x="207" y="115"/>
                </a:lnTo>
                <a:lnTo>
                  <a:pt x="200" y="125"/>
                </a:lnTo>
                <a:lnTo>
                  <a:pt x="194" y="134"/>
                </a:lnTo>
                <a:lnTo>
                  <a:pt x="188" y="144"/>
                </a:lnTo>
                <a:lnTo>
                  <a:pt x="188" y="157"/>
                </a:lnTo>
                <a:lnTo>
                  <a:pt x="172" y="167"/>
                </a:lnTo>
                <a:lnTo>
                  <a:pt x="158" y="166"/>
                </a:lnTo>
                <a:lnTo>
                  <a:pt x="144" y="164"/>
                </a:lnTo>
                <a:lnTo>
                  <a:pt x="127" y="172"/>
                </a:lnTo>
                <a:lnTo>
                  <a:pt x="117" y="168"/>
                </a:lnTo>
                <a:lnTo>
                  <a:pt x="106" y="163"/>
                </a:lnTo>
                <a:lnTo>
                  <a:pt x="92" y="167"/>
                </a:lnTo>
                <a:lnTo>
                  <a:pt x="82" y="158"/>
                </a:lnTo>
                <a:lnTo>
                  <a:pt x="68" y="157"/>
                </a:lnTo>
                <a:lnTo>
                  <a:pt x="55" y="161"/>
                </a:lnTo>
                <a:lnTo>
                  <a:pt x="51" y="173"/>
                </a:lnTo>
                <a:lnTo>
                  <a:pt x="48" y="184"/>
                </a:lnTo>
                <a:lnTo>
                  <a:pt x="46" y="190"/>
                </a:lnTo>
                <a:lnTo>
                  <a:pt x="34" y="179"/>
                </a:lnTo>
                <a:lnTo>
                  <a:pt x="31" y="185"/>
                </a:lnTo>
                <a:lnTo>
                  <a:pt x="30" y="187"/>
                </a:lnTo>
                <a:lnTo>
                  <a:pt x="30" y="186"/>
                </a:lnTo>
                <a:lnTo>
                  <a:pt x="26" y="179"/>
                </a:lnTo>
                <a:lnTo>
                  <a:pt x="24" y="174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6" name="Freeform 155">
            <a:extLst>
              <a:ext uri="{FF2B5EF4-FFF2-40B4-BE49-F238E27FC236}">
                <a16:creationId xmlns:a16="http://schemas.microsoft.com/office/drawing/2014/main" id="{6DF1D973-3D0A-4725-88FD-9C72682471E5}"/>
              </a:ext>
            </a:extLst>
          </p:cNvPr>
          <p:cNvSpPr>
            <a:spLocks/>
          </p:cNvSpPr>
          <p:nvPr/>
        </p:nvSpPr>
        <p:spPr bwMode="gray">
          <a:xfrm>
            <a:off x="4247109" y="3842066"/>
            <a:ext cx="176955" cy="154755"/>
          </a:xfrm>
          <a:custGeom>
            <a:avLst/>
            <a:gdLst>
              <a:gd name="T0" fmla="*/ 16 w 84"/>
              <a:gd name="T1" fmla="*/ 3 h 70"/>
              <a:gd name="T2" fmla="*/ 13 w 84"/>
              <a:gd name="T3" fmla="*/ 10 h 70"/>
              <a:gd name="T4" fmla="*/ 6 w 84"/>
              <a:gd name="T5" fmla="*/ 21 h 70"/>
              <a:gd name="T6" fmla="*/ 0 w 84"/>
              <a:gd name="T7" fmla="*/ 32 h 70"/>
              <a:gd name="T8" fmla="*/ 9 w 84"/>
              <a:gd name="T9" fmla="*/ 44 h 70"/>
              <a:gd name="T10" fmla="*/ 12 w 84"/>
              <a:gd name="T11" fmla="*/ 40 h 70"/>
              <a:gd name="T12" fmla="*/ 10 w 84"/>
              <a:gd name="T13" fmla="*/ 44 h 70"/>
              <a:gd name="T14" fmla="*/ 12 w 84"/>
              <a:gd name="T15" fmla="*/ 45 h 70"/>
              <a:gd name="T16" fmla="*/ 12 w 84"/>
              <a:gd name="T17" fmla="*/ 50 h 70"/>
              <a:gd name="T18" fmla="*/ 27 w 84"/>
              <a:gd name="T19" fmla="*/ 50 h 70"/>
              <a:gd name="T20" fmla="*/ 29 w 84"/>
              <a:gd name="T21" fmla="*/ 46 h 70"/>
              <a:gd name="T22" fmla="*/ 46 w 84"/>
              <a:gd name="T23" fmla="*/ 51 h 70"/>
              <a:gd name="T24" fmla="*/ 49 w 84"/>
              <a:gd name="T25" fmla="*/ 54 h 70"/>
              <a:gd name="T26" fmla="*/ 31 w 84"/>
              <a:gd name="T27" fmla="*/ 51 h 70"/>
              <a:gd name="T28" fmla="*/ 19 w 84"/>
              <a:gd name="T29" fmla="*/ 54 h 70"/>
              <a:gd name="T30" fmla="*/ 9 w 84"/>
              <a:gd name="T31" fmla="*/ 58 h 70"/>
              <a:gd name="T32" fmla="*/ 10 w 84"/>
              <a:gd name="T33" fmla="*/ 65 h 70"/>
              <a:gd name="T34" fmla="*/ 21 w 84"/>
              <a:gd name="T35" fmla="*/ 63 h 70"/>
              <a:gd name="T36" fmla="*/ 27 w 84"/>
              <a:gd name="T37" fmla="*/ 62 h 70"/>
              <a:gd name="T38" fmla="*/ 25 w 84"/>
              <a:gd name="T39" fmla="*/ 64 h 70"/>
              <a:gd name="T40" fmla="*/ 12 w 84"/>
              <a:gd name="T41" fmla="*/ 65 h 70"/>
              <a:gd name="T42" fmla="*/ 9 w 84"/>
              <a:gd name="T43" fmla="*/ 70 h 70"/>
              <a:gd name="T44" fmla="*/ 28 w 84"/>
              <a:gd name="T45" fmla="*/ 66 h 70"/>
              <a:gd name="T46" fmla="*/ 40 w 84"/>
              <a:gd name="T47" fmla="*/ 65 h 70"/>
              <a:gd name="T48" fmla="*/ 52 w 84"/>
              <a:gd name="T49" fmla="*/ 64 h 70"/>
              <a:gd name="T50" fmla="*/ 64 w 84"/>
              <a:gd name="T51" fmla="*/ 66 h 70"/>
              <a:gd name="T52" fmla="*/ 84 w 84"/>
              <a:gd name="T53" fmla="*/ 69 h 70"/>
              <a:gd name="T54" fmla="*/ 81 w 84"/>
              <a:gd name="T55" fmla="*/ 53 h 70"/>
              <a:gd name="T56" fmla="*/ 77 w 84"/>
              <a:gd name="T57" fmla="*/ 46 h 70"/>
              <a:gd name="T58" fmla="*/ 72 w 84"/>
              <a:gd name="T59" fmla="*/ 30 h 70"/>
              <a:gd name="T60" fmla="*/ 63 w 84"/>
              <a:gd name="T61" fmla="*/ 20 h 70"/>
              <a:gd name="T62" fmla="*/ 52 w 84"/>
              <a:gd name="T63" fmla="*/ 9 h 70"/>
              <a:gd name="T64" fmla="*/ 39 w 84"/>
              <a:gd name="T65" fmla="*/ 0 h 70"/>
              <a:gd name="T66" fmla="*/ 28 w 84"/>
              <a:gd name="T67" fmla="*/ 2 h 70"/>
              <a:gd name="T68" fmla="*/ 16 w 84"/>
              <a:gd name="T69" fmla="*/ 3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4" h="70">
                <a:moveTo>
                  <a:pt x="16" y="3"/>
                </a:moveTo>
                <a:lnTo>
                  <a:pt x="13" y="10"/>
                </a:lnTo>
                <a:lnTo>
                  <a:pt x="6" y="21"/>
                </a:lnTo>
                <a:lnTo>
                  <a:pt x="0" y="32"/>
                </a:lnTo>
                <a:lnTo>
                  <a:pt x="9" y="44"/>
                </a:lnTo>
                <a:lnTo>
                  <a:pt x="12" y="40"/>
                </a:lnTo>
                <a:lnTo>
                  <a:pt x="10" y="44"/>
                </a:lnTo>
                <a:lnTo>
                  <a:pt x="12" y="45"/>
                </a:lnTo>
                <a:lnTo>
                  <a:pt x="12" y="50"/>
                </a:lnTo>
                <a:lnTo>
                  <a:pt x="27" y="50"/>
                </a:lnTo>
                <a:lnTo>
                  <a:pt x="29" y="46"/>
                </a:lnTo>
                <a:lnTo>
                  <a:pt x="46" y="51"/>
                </a:lnTo>
                <a:lnTo>
                  <a:pt x="49" y="54"/>
                </a:lnTo>
                <a:lnTo>
                  <a:pt x="31" y="51"/>
                </a:lnTo>
                <a:lnTo>
                  <a:pt x="19" y="54"/>
                </a:lnTo>
                <a:lnTo>
                  <a:pt x="9" y="58"/>
                </a:lnTo>
                <a:lnTo>
                  <a:pt x="10" y="65"/>
                </a:lnTo>
                <a:lnTo>
                  <a:pt x="21" y="63"/>
                </a:lnTo>
                <a:lnTo>
                  <a:pt x="27" y="62"/>
                </a:lnTo>
                <a:lnTo>
                  <a:pt x="25" y="64"/>
                </a:lnTo>
                <a:lnTo>
                  <a:pt x="12" y="65"/>
                </a:lnTo>
                <a:lnTo>
                  <a:pt x="9" y="70"/>
                </a:lnTo>
                <a:lnTo>
                  <a:pt x="28" y="66"/>
                </a:lnTo>
                <a:lnTo>
                  <a:pt x="40" y="65"/>
                </a:lnTo>
                <a:lnTo>
                  <a:pt x="52" y="64"/>
                </a:lnTo>
                <a:lnTo>
                  <a:pt x="64" y="66"/>
                </a:lnTo>
                <a:lnTo>
                  <a:pt x="84" y="69"/>
                </a:lnTo>
                <a:lnTo>
                  <a:pt x="81" y="53"/>
                </a:lnTo>
                <a:lnTo>
                  <a:pt x="77" y="46"/>
                </a:lnTo>
                <a:lnTo>
                  <a:pt x="72" y="30"/>
                </a:lnTo>
                <a:lnTo>
                  <a:pt x="63" y="20"/>
                </a:lnTo>
                <a:lnTo>
                  <a:pt x="52" y="9"/>
                </a:lnTo>
                <a:lnTo>
                  <a:pt x="39" y="0"/>
                </a:lnTo>
                <a:lnTo>
                  <a:pt x="28" y="2"/>
                </a:lnTo>
                <a:lnTo>
                  <a:pt x="16" y="3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7" name="Freeform 156">
            <a:extLst>
              <a:ext uri="{FF2B5EF4-FFF2-40B4-BE49-F238E27FC236}">
                <a16:creationId xmlns:a16="http://schemas.microsoft.com/office/drawing/2014/main" id="{AF047293-EAED-4E78-B61B-564C1004EDA9}"/>
              </a:ext>
            </a:extLst>
          </p:cNvPr>
          <p:cNvSpPr>
            <a:spLocks/>
          </p:cNvSpPr>
          <p:nvPr/>
        </p:nvSpPr>
        <p:spPr bwMode="gray">
          <a:xfrm>
            <a:off x="4975854" y="3113918"/>
            <a:ext cx="117970" cy="248008"/>
          </a:xfrm>
          <a:custGeom>
            <a:avLst/>
            <a:gdLst>
              <a:gd name="T0" fmla="*/ 36 w 55"/>
              <a:gd name="T1" fmla="*/ 107 h 113"/>
              <a:gd name="T2" fmla="*/ 29 w 55"/>
              <a:gd name="T3" fmla="*/ 113 h 113"/>
              <a:gd name="T4" fmla="*/ 25 w 55"/>
              <a:gd name="T5" fmla="*/ 97 h 113"/>
              <a:gd name="T6" fmla="*/ 21 w 55"/>
              <a:gd name="T7" fmla="*/ 83 h 113"/>
              <a:gd name="T8" fmla="*/ 11 w 55"/>
              <a:gd name="T9" fmla="*/ 71 h 113"/>
              <a:gd name="T10" fmla="*/ 0 w 55"/>
              <a:gd name="T11" fmla="*/ 55 h 113"/>
              <a:gd name="T12" fmla="*/ 6 w 55"/>
              <a:gd name="T13" fmla="*/ 43 h 113"/>
              <a:gd name="T14" fmla="*/ 12 w 55"/>
              <a:gd name="T15" fmla="*/ 31 h 113"/>
              <a:gd name="T16" fmla="*/ 11 w 55"/>
              <a:gd name="T17" fmla="*/ 10 h 113"/>
              <a:gd name="T18" fmla="*/ 13 w 55"/>
              <a:gd name="T19" fmla="*/ 5 h 113"/>
              <a:gd name="T20" fmla="*/ 29 w 55"/>
              <a:gd name="T21" fmla="*/ 0 h 113"/>
              <a:gd name="T22" fmla="*/ 33 w 55"/>
              <a:gd name="T23" fmla="*/ 4 h 113"/>
              <a:gd name="T24" fmla="*/ 37 w 55"/>
              <a:gd name="T25" fmla="*/ 9 h 113"/>
              <a:gd name="T26" fmla="*/ 45 w 55"/>
              <a:gd name="T27" fmla="*/ 4 h 113"/>
              <a:gd name="T28" fmla="*/ 39 w 55"/>
              <a:gd name="T29" fmla="*/ 21 h 113"/>
              <a:gd name="T30" fmla="*/ 48 w 55"/>
              <a:gd name="T31" fmla="*/ 33 h 113"/>
              <a:gd name="T32" fmla="*/ 41 w 55"/>
              <a:gd name="T33" fmla="*/ 42 h 113"/>
              <a:gd name="T34" fmla="*/ 33 w 55"/>
              <a:gd name="T35" fmla="*/ 52 h 113"/>
              <a:gd name="T36" fmla="*/ 45 w 55"/>
              <a:gd name="T37" fmla="*/ 59 h 113"/>
              <a:gd name="T38" fmla="*/ 55 w 55"/>
              <a:gd name="T39" fmla="*/ 65 h 113"/>
              <a:gd name="T40" fmla="*/ 54 w 55"/>
              <a:gd name="T41" fmla="*/ 78 h 113"/>
              <a:gd name="T42" fmla="*/ 45 w 55"/>
              <a:gd name="T43" fmla="*/ 87 h 113"/>
              <a:gd name="T44" fmla="*/ 36 w 55"/>
              <a:gd name="T45" fmla="*/ 94 h 113"/>
              <a:gd name="T46" fmla="*/ 36 w 55"/>
              <a:gd name="T47" fmla="*/ 107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55" h="113">
                <a:moveTo>
                  <a:pt x="36" y="107"/>
                </a:moveTo>
                <a:lnTo>
                  <a:pt x="29" y="113"/>
                </a:lnTo>
                <a:lnTo>
                  <a:pt x="25" y="97"/>
                </a:lnTo>
                <a:lnTo>
                  <a:pt x="21" y="83"/>
                </a:lnTo>
                <a:lnTo>
                  <a:pt x="11" y="71"/>
                </a:lnTo>
                <a:lnTo>
                  <a:pt x="0" y="55"/>
                </a:lnTo>
                <a:lnTo>
                  <a:pt x="6" y="43"/>
                </a:lnTo>
                <a:lnTo>
                  <a:pt x="12" y="31"/>
                </a:lnTo>
                <a:lnTo>
                  <a:pt x="11" y="10"/>
                </a:lnTo>
                <a:lnTo>
                  <a:pt x="13" y="5"/>
                </a:lnTo>
                <a:lnTo>
                  <a:pt x="29" y="0"/>
                </a:lnTo>
                <a:lnTo>
                  <a:pt x="33" y="4"/>
                </a:lnTo>
                <a:lnTo>
                  <a:pt x="37" y="9"/>
                </a:lnTo>
                <a:lnTo>
                  <a:pt x="45" y="4"/>
                </a:lnTo>
                <a:lnTo>
                  <a:pt x="39" y="21"/>
                </a:lnTo>
                <a:lnTo>
                  <a:pt x="48" y="33"/>
                </a:lnTo>
                <a:lnTo>
                  <a:pt x="41" y="42"/>
                </a:lnTo>
                <a:lnTo>
                  <a:pt x="33" y="52"/>
                </a:lnTo>
                <a:lnTo>
                  <a:pt x="45" y="59"/>
                </a:lnTo>
                <a:lnTo>
                  <a:pt x="55" y="65"/>
                </a:lnTo>
                <a:lnTo>
                  <a:pt x="54" y="78"/>
                </a:lnTo>
                <a:lnTo>
                  <a:pt x="45" y="87"/>
                </a:lnTo>
                <a:lnTo>
                  <a:pt x="36" y="94"/>
                </a:lnTo>
                <a:lnTo>
                  <a:pt x="36" y="107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2" name="Freeform 211">
            <a:extLst>
              <a:ext uri="{FF2B5EF4-FFF2-40B4-BE49-F238E27FC236}">
                <a16:creationId xmlns:a16="http://schemas.microsoft.com/office/drawing/2014/main" id="{89016F78-C677-42CF-A04C-29FF0C1A7E4C}"/>
              </a:ext>
            </a:extLst>
          </p:cNvPr>
          <p:cNvSpPr>
            <a:spLocks/>
          </p:cNvSpPr>
          <p:nvPr/>
        </p:nvSpPr>
        <p:spPr bwMode="gray">
          <a:xfrm>
            <a:off x="8037341" y="4818219"/>
            <a:ext cx="1193010" cy="1001948"/>
          </a:xfrm>
          <a:custGeom>
            <a:avLst/>
            <a:gdLst>
              <a:gd name="T0" fmla="*/ 319 w 565"/>
              <a:gd name="T1" fmla="*/ 10 h 454"/>
              <a:gd name="T2" fmla="*/ 324 w 565"/>
              <a:gd name="T3" fmla="*/ 22 h 454"/>
              <a:gd name="T4" fmla="*/ 298 w 565"/>
              <a:gd name="T5" fmla="*/ 29 h 454"/>
              <a:gd name="T6" fmla="*/ 288 w 565"/>
              <a:gd name="T7" fmla="*/ 42 h 454"/>
              <a:gd name="T8" fmla="*/ 282 w 565"/>
              <a:gd name="T9" fmla="*/ 64 h 454"/>
              <a:gd name="T10" fmla="*/ 271 w 565"/>
              <a:gd name="T11" fmla="*/ 68 h 454"/>
              <a:gd name="T12" fmla="*/ 252 w 565"/>
              <a:gd name="T13" fmla="*/ 76 h 454"/>
              <a:gd name="T14" fmla="*/ 241 w 565"/>
              <a:gd name="T15" fmla="*/ 50 h 454"/>
              <a:gd name="T16" fmla="*/ 228 w 565"/>
              <a:gd name="T17" fmla="*/ 53 h 454"/>
              <a:gd name="T18" fmla="*/ 216 w 565"/>
              <a:gd name="T19" fmla="*/ 70 h 454"/>
              <a:gd name="T20" fmla="*/ 202 w 565"/>
              <a:gd name="T21" fmla="*/ 80 h 454"/>
              <a:gd name="T22" fmla="*/ 201 w 565"/>
              <a:gd name="T23" fmla="*/ 89 h 454"/>
              <a:gd name="T24" fmla="*/ 190 w 565"/>
              <a:gd name="T25" fmla="*/ 88 h 454"/>
              <a:gd name="T26" fmla="*/ 187 w 565"/>
              <a:gd name="T27" fmla="*/ 114 h 454"/>
              <a:gd name="T28" fmla="*/ 165 w 565"/>
              <a:gd name="T29" fmla="*/ 108 h 454"/>
              <a:gd name="T30" fmla="*/ 129 w 565"/>
              <a:gd name="T31" fmla="*/ 146 h 454"/>
              <a:gd name="T32" fmla="*/ 84 w 565"/>
              <a:gd name="T33" fmla="*/ 156 h 454"/>
              <a:gd name="T34" fmla="*/ 39 w 565"/>
              <a:gd name="T35" fmla="*/ 176 h 454"/>
              <a:gd name="T36" fmla="*/ 26 w 565"/>
              <a:gd name="T37" fmla="*/ 235 h 454"/>
              <a:gd name="T38" fmla="*/ 19 w 565"/>
              <a:gd name="T39" fmla="*/ 238 h 454"/>
              <a:gd name="T40" fmla="*/ 16 w 565"/>
              <a:gd name="T41" fmla="*/ 262 h 454"/>
              <a:gd name="T42" fmla="*/ 21 w 565"/>
              <a:gd name="T43" fmla="*/ 316 h 454"/>
              <a:gd name="T44" fmla="*/ 7 w 565"/>
              <a:gd name="T45" fmla="*/ 367 h 454"/>
              <a:gd name="T46" fmla="*/ 19 w 565"/>
              <a:gd name="T47" fmla="*/ 390 h 454"/>
              <a:gd name="T48" fmla="*/ 64 w 565"/>
              <a:gd name="T49" fmla="*/ 373 h 454"/>
              <a:gd name="T50" fmla="*/ 127 w 565"/>
              <a:gd name="T51" fmla="*/ 359 h 454"/>
              <a:gd name="T52" fmla="*/ 196 w 565"/>
              <a:gd name="T53" fmla="*/ 338 h 454"/>
              <a:gd name="T54" fmla="*/ 260 w 565"/>
              <a:gd name="T55" fmla="*/ 343 h 454"/>
              <a:gd name="T56" fmla="*/ 268 w 565"/>
              <a:gd name="T57" fmla="*/ 370 h 454"/>
              <a:gd name="T58" fmla="*/ 277 w 565"/>
              <a:gd name="T59" fmla="*/ 385 h 454"/>
              <a:gd name="T60" fmla="*/ 312 w 565"/>
              <a:gd name="T61" fmla="*/ 362 h 454"/>
              <a:gd name="T62" fmla="*/ 296 w 565"/>
              <a:gd name="T63" fmla="*/ 392 h 454"/>
              <a:gd name="T64" fmla="*/ 308 w 565"/>
              <a:gd name="T65" fmla="*/ 397 h 454"/>
              <a:gd name="T66" fmla="*/ 309 w 565"/>
              <a:gd name="T67" fmla="*/ 437 h 454"/>
              <a:gd name="T68" fmla="*/ 362 w 565"/>
              <a:gd name="T69" fmla="*/ 442 h 454"/>
              <a:gd name="T70" fmla="*/ 367 w 565"/>
              <a:gd name="T71" fmla="*/ 444 h 454"/>
              <a:gd name="T72" fmla="*/ 382 w 565"/>
              <a:gd name="T73" fmla="*/ 449 h 454"/>
              <a:gd name="T74" fmla="*/ 444 w 565"/>
              <a:gd name="T75" fmla="*/ 420 h 454"/>
              <a:gd name="T76" fmla="*/ 492 w 565"/>
              <a:gd name="T77" fmla="*/ 366 h 454"/>
              <a:gd name="T78" fmla="*/ 536 w 565"/>
              <a:gd name="T79" fmla="*/ 319 h 454"/>
              <a:gd name="T80" fmla="*/ 558 w 565"/>
              <a:gd name="T81" fmla="*/ 266 h 454"/>
              <a:gd name="T82" fmla="*/ 558 w 565"/>
              <a:gd name="T83" fmla="*/ 222 h 454"/>
              <a:gd name="T84" fmla="*/ 544 w 565"/>
              <a:gd name="T85" fmla="*/ 188 h 454"/>
              <a:gd name="T86" fmla="*/ 531 w 565"/>
              <a:gd name="T87" fmla="*/ 172 h 454"/>
              <a:gd name="T88" fmla="*/ 514 w 565"/>
              <a:gd name="T89" fmla="*/ 140 h 454"/>
              <a:gd name="T90" fmla="*/ 496 w 565"/>
              <a:gd name="T91" fmla="*/ 86 h 454"/>
              <a:gd name="T92" fmla="*/ 477 w 565"/>
              <a:gd name="T93" fmla="*/ 58 h 454"/>
              <a:gd name="T94" fmla="*/ 470 w 565"/>
              <a:gd name="T95" fmla="*/ 11 h 454"/>
              <a:gd name="T96" fmla="*/ 456 w 565"/>
              <a:gd name="T97" fmla="*/ 19 h 454"/>
              <a:gd name="T98" fmla="*/ 450 w 565"/>
              <a:gd name="T99" fmla="*/ 37 h 454"/>
              <a:gd name="T100" fmla="*/ 445 w 565"/>
              <a:gd name="T101" fmla="*/ 71 h 454"/>
              <a:gd name="T102" fmla="*/ 404 w 565"/>
              <a:gd name="T103" fmla="*/ 102 h 454"/>
              <a:gd name="T104" fmla="*/ 358 w 565"/>
              <a:gd name="T105" fmla="*/ 62 h 454"/>
              <a:gd name="T106" fmla="*/ 379 w 565"/>
              <a:gd name="T107" fmla="*/ 34 h 454"/>
              <a:gd name="T108" fmla="*/ 372 w 565"/>
              <a:gd name="T109" fmla="*/ 23 h 454"/>
              <a:gd name="T110" fmla="*/ 348 w 565"/>
              <a:gd name="T111" fmla="*/ 2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65" h="454">
                <a:moveTo>
                  <a:pt x="331" y="10"/>
                </a:moveTo>
                <a:lnTo>
                  <a:pt x="325" y="8"/>
                </a:lnTo>
                <a:lnTo>
                  <a:pt x="321" y="7"/>
                </a:lnTo>
                <a:lnTo>
                  <a:pt x="319" y="10"/>
                </a:lnTo>
                <a:lnTo>
                  <a:pt x="315" y="8"/>
                </a:lnTo>
                <a:lnTo>
                  <a:pt x="321" y="11"/>
                </a:lnTo>
                <a:lnTo>
                  <a:pt x="326" y="14"/>
                </a:lnTo>
                <a:lnTo>
                  <a:pt x="324" y="22"/>
                </a:lnTo>
                <a:lnTo>
                  <a:pt x="320" y="23"/>
                </a:lnTo>
                <a:lnTo>
                  <a:pt x="307" y="22"/>
                </a:lnTo>
                <a:lnTo>
                  <a:pt x="302" y="24"/>
                </a:lnTo>
                <a:lnTo>
                  <a:pt x="298" y="29"/>
                </a:lnTo>
                <a:lnTo>
                  <a:pt x="296" y="26"/>
                </a:lnTo>
                <a:lnTo>
                  <a:pt x="294" y="30"/>
                </a:lnTo>
                <a:lnTo>
                  <a:pt x="289" y="38"/>
                </a:lnTo>
                <a:lnTo>
                  <a:pt x="288" y="42"/>
                </a:lnTo>
                <a:lnTo>
                  <a:pt x="282" y="47"/>
                </a:lnTo>
                <a:lnTo>
                  <a:pt x="276" y="59"/>
                </a:lnTo>
                <a:lnTo>
                  <a:pt x="279" y="61"/>
                </a:lnTo>
                <a:lnTo>
                  <a:pt x="282" y="64"/>
                </a:lnTo>
                <a:lnTo>
                  <a:pt x="277" y="68"/>
                </a:lnTo>
                <a:lnTo>
                  <a:pt x="283" y="74"/>
                </a:lnTo>
                <a:lnTo>
                  <a:pt x="272" y="66"/>
                </a:lnTo>
                <a:lnTo>
                  <a:pt x="271" y="68"/>
                </a:lnTo>
                <a:lnTo>
                  <a:pt x="260" y="65"/>
                </a:lnTo>
                <a:lnTo>
                  <a:pt x="258" y="73"/>
                </a:lnTo>
                <a:lnTo>
                  <a:pt x="255" y="73"/>
                </a:lnTo>
                <a:lnTo>
                  <a:pt x="252" y="76"/>
                </a:lnTo>
                <a:lnTo>
                  <a:pt x="253" y="71"/>
                </a:lnTo>
                <a:lnTo>
                  <a:pt x="256" y="61"/>
                </a:lnTo>
                <a:lnTo>
                  <a:pt x="242" y="47"/>
                </a:lnTo>
                <a:lnTo>
                  <a:pt x="241" y="50"/>
                </a:lnTo>
                <a:lnTo>
                  <a:pt x="235" y="53"/>
                </a:lnTo>
                <a:lnTo>
                  <a:pt x="234" y="50"/>
                </a:lnTo>
                <a:lnTo>
                  <a:pt x="231" y="53"/>
                </a:lnTo>
                <a:lnTo>
                  <a:pt x="228" y="53"/>
                </a:lnTo>
                <a:lnTo>
                  <a:pt x="225" y="61"/>
                </a:lnTo>
                <a:lnTo>
                  <a:pt x="223" y="56"/>
                </a:lnTo>
                <a:lnTo>
                  <a:pt x="216" y="65"/>
                </a:lnTo>
                <a:lnTo>
                  <a:pt x="216" y="70"/>
                </a:lnTo>
                <a:lnTo>
                  <a:pt x="210" y="68"/>
                </a:lnTo>
                <a:lnTo>
                  <a:pt x="213" y="76"/>
                </a:lnTo>
                <a:lnTo>
                  <a:pt x="206" y="73"/>
                </a:lnTo>
                <a:lnTo>
                  <a:pt x="202" y="80"/>
                </a:lnTo>
                <a:lnTo>
                  <a:pt x="204" y="80"/>
                </a:lnTo>
                <a:lnTo>
                  <a:pt x="205" y="80"/>
                </a:lnTo>
                <a:lnTo>
                  <a:pt x="201" y="84"/>
                </a:lnTo>
                <a:lnTo>
                  <a:pt x="201" y="89"/>
                </a:lnTo>
                <a:lnTo>
                  <a:pt x="205" y="89"/>
                </a:lnTo>
                <a:lnTo>
                  <a:pt x="196" y="89"/>
                </a:lnTo>
                <a:lnTo>
                  <a:pt x="193" y="89"/>
                </a:lnTo>
                <a:lnTo>
                  <a:pt x="190" y="88"/>
                </a:lnTo>
                <a:lnTo>
                  <a:pt x="188" y="91"/>
                </a:lnTo>
                <a:lnTo>
                  <a:pt x="190" y="98"/>
                </a:lnTo>
                <a:lnTo>
                  <a:pt x="187" y="101"/>
                </a:lnTo>
                <a:lnTo>
                  <a:pt x="187" y="114"/>
                </a:lnTo>
                <a:lnTo>
                  <a:pt x="183" y="102"/>
                </a:lnTo>
                <a:lnTo>
                  <a:pt x="178" y="90"/>
                </a:lnTo>
                <a:lnTo>
                  <a:pt x="174" y="95"/>
                </a:lnTo>
                <a:lnTo>
                  <a:pt x="165" y="108"/>
                </a:lnTo>
                <a:lnTo>
                  <a:pt x="164" y="119"/>
                </a:lnTo>
                <a:lnTo>
                  <a:pt x="151" y="133"/>
                </a:lnTo>
                <a:lnTo>
                  <a:pt x="140" y="140"/>
                </a:lnTo>
                <a:lnTo>
                  <a:pt x="129" y="146"/>
                </a:lnTo>
                <a:lnTo>
                  <a:pt x="112" y="150"/>
                </a:lnTo>
                <a:lnTo>
                  <a:pt x="100" y="154"/>
                </a:lnTo>
                <a:lnTo>
                  <a:pt x="87" y="158"/>
                </a:lnTo>
                <a:lnTo>
                  <a:pt x="84" y="156"/>
                </a:lnTo>
                <a:lnTo>
                  <a:pt x="64" y="169"/>
                </a:lnTo>
                <a:lnTo>
                  <a:pt x="45" y="182"/>
                </a:lnTo>
                <a:lnTo>
                  <a:pt x="39" y="187"/>
                </a:lnTo>
                <a:lnTo>
                  <a:pt x="39" y="176"/>
                </a:lnTo>
                <a:lnTo>
                  <a:pt x="33" y="192"/>
                </a:lnTo>
                <a:lnTo>
                  <a:pt x="26" y="210"/>
                </a:lnTo>
                <a:lnTo>
                  <a:pt x="25" y="224"/>
                </a:lnTo>
                <a:lnTo>
                  <a:pt x="26" y="235"/>
                </a:lnTo>
                <a:lnTo>
                  <a:pt x="27" y="247"/>
                </a:lnTo>
                <a:lnTo>
                  <a:pt x="24" y="250"/>
                </a:lnTo>
                <a:lnTo>
                  <a:pt x="24" y="245"/>
                </a:lnTo>
                <a:lnTo>
                  <a:pt x="19" y="238"/>
                </a:lnTo>
                <a:lnTo>
                  <a:pt x="20" y="254"/>
                </a:lnTo>
                <a:lnTo>
                  <a:pt x="16" y="247"/>
                </a:lnTo>
                <a:lnTo>
                  <a:pt x="15" y="246"/>
                </a:lnTo>
                <a:lnTo>
                  <a:pt x="16" y="262"/>
                </a:lnTo>
                <a:lnTo>
                  <a:pt x="19" y="276"/>
                </a:lnTo>
                <a:lnTo>
                  <a:pt x="21" y="290"/>
                </a:lnTo>
                <a:lnTo>
                  <a:pt x="22" y="304"/>
                </a:lnTo>
                <a:lnTo>
                  <a:pt x="21" y="316"/>
                </a:lnTo>
                <a:lnTo>
                  <a:pt x="20" y="328"/>
                </a:lnTo>
                <a:lnTo>
                  <a:pt x="19" y="340"/>
                </a:lnTo>
                <a:lnTo>
                  <a:pt x="18" y="350"/>
                </a:lnTo>
                <a:lnTo>
                  <a:pt x="7" y="367"/>
                </a:lnTo>
                <a:lnTo>
                  <a:pt x="1" y="368"/>
                </a:lnTo>
                <a:lnTo>
                  <a:pt x="0" y="378"/>
                </a:lnTo>
                <a:lnTo>
                  <a:pt x="9" y="384"/>
                </a:lnTo>
                <a:lnTo>
                  <a:pt x="19" y="390"/>
                </a:lnTo>
                <a:lnTo>
                  <a:pt x="37" y="389"/>
                </a:lnTo>
                <a:lnTo>
                  <a:pt x="54" y="382"/>
                </a:lnTo>
                <a:lnTo>
                  <a:pt x="56" y="379"/>
                </a:lnTo>
                <a:lnTo>
                  <a:pt x="64" y="373"/>
                </a:lnTo>
                <a:lnTo>
                  <a:pt x="80" y="373"/>
                </a:lnTo>
                <a:lnTo>
                  <a:pt x="96" y="373"/>
                </a:lnTo>
                <a:lnTo>
                  <a:pt x="114" y="372"/>
                </a:lnTo>
                <a:lnTo>
                  <a:pt x="127" y="359"/>
                </a:lnTo>
                <a:lnTo>
                  <a:pt x="145" y="353"/>
                </a:lnTo>
                <a:lnTo>
                  <a:pt x="163" y="346"/>
                </a:lnTo>
                <a:lnTo>
                  <a:pt x="180" y="342"/>
                </a:lnTo>
                <a:lnTo>
                  <a:pt x="196" y="338"/>
                </a:lnTo>
                <a:lnTo>
                  <a:pt x="214" y="336"/>
                </a:lnTo>
                <a:lnTo>
                  <a:pt x="231" y="334"/>
                </a:lnTo>
                <a:lnTo>
                  <a:pt x="241" y="337"/>
                </a:lnTo>
                <a:lnTo>
                  <a:pt x="260" y="343"/>
                </a:lnTo>
                <a:lnTo>
                  <a:pt x="264" y="348"/>
                </a:lnTo>
                <a:lnTo>
                  <a:pt x="265" y="353"/>
                </a:lnTo>
                <a:lnTo>
                  <a:pt x="267" y="359"/>
                </a:lnTo>
                <a:lnTo>
                  <a:pt x="268" y="370"/>
                </a:lnTo>
                <a:lnTo>
                  <a:pt x="271" y="380"/>
                </a:lnTo>
                <a:lnTo>
                  <a:pt x="267" y="380"/>
                </a:lnTo>
                <a:lnTo>
                  <a:pt x="273" y="388"/>
                </a:lnTo>
                <a:lnTo>
                  <a:pt x="277" y="385"/>
                </a:lnTo>
                <a:lnTo>
                  <a:pt x="292" y="371"/>
                </a:lnTo>
                <a:lnTo>
                  <a:pt x="309" y="358"/>
                </a:lnTo>
                <a:lnTo>
                  <a:pt x="315" y="350"/>
                </a:lnTo>
                <a:lnTo>
                  <a:pt x="312" y="362"/>
                </a:lnTo>
                <a:lnTo>
                  <a:pt x="302" y="374"/>
                </a:lnTo>
                <a:lnTo>
                  <a:pt x="292" y="388"/>
                </a:lnTo>
                <a:lnTo>
                  <a:pt x="285" y="392"/>
                </a:lnTo>
                <a:lnTo>
                  <a:pt x="296" y="392"/>
                </a:lnTo>
                <a:lnTo>
                  <a:pt x="307" y="377"/>
                </a:lnTo>
                <a:lnTo>
                  <a:pt x="312" y="385"/>
                </a:lnTo>
                <a:lnTo>
                  <a:pt x="300" y="397"/>
                </a:lnTo>
                <a:lnTo>
                  <a:pt x="308" y="397"/>
                </a:lnTo>
                <a:lnTo>
                  <a:pt x="310" y="398"/>
                </a:lnTo>
                <a:lnTo>
                  <a:pt x="314" y="406"/>
                </a:lnTo>
                <a:lnTo>
                  <a:pt x="308" y="420"/>
                </a:lnTo>
                <a:lnTo>
                  <a:pt x="309" y="437"/>
                </a:lnTo>
                <a:lnTo>
                  <a:pt x="322" y="442"/>
                </a:lnTo>
                <a:lnTo>
                  <a:pt x="332" y="445"/>
                </a:lnTo>
                <a:lnTo>
                  <a:pt x="342" y="449"/>
                </a:lnTo>
                <a:lnTo>
                  <a:pt x="362" y="442"/>
                </a:lnTo>
                <a:lnTo>
                  <a:pt x="361" y="439"/>
                </a:lnTo>
                <a:lnTo>
                  <a:pt x="369" y="436"/>
                </a:lnTo>
                <a:lnTo>
                  <a:pt x="364" y="443"/>
                </a:lnTo>
                <a:lnTo>
                  <a:pt x="367" y="444"/>
                </a:lnTo>
                <a:lnTo>
                  <a:pt x="373" y="444"/>
                </a:lnTo>
                <a:lnTo>
                  <a:pt x="375" y="451"/>
                </a:lnTo>
                <a:lnTo>
                  <a:pt x="378" y="454"/>
                </a:lnTo>
                <a:lnTo>
                  <a:pt x="382" y="449"/>
                </a:lnTo>
                <a:lnTo>
                  <a:pt x="408" y="436"/>
                </a:lnTo>
                <a:lnTo>
                  <a:pt x="421" y="434"/>
                </a:lnTo>
                <a:lnTo>
                  <a:pt x="438" y="430"/>
                </a:lnTo>
                <a:lnTo>
                  <a:pt x="444" y="420"/>
                </a:lnTo>
                <a:lnTo>
                  <a:pt x="459" y="404"/>
                </a:lnTo>
                <a:lnTo>
                  <a:pt x="474" y="388"/>
                </a:lnTo>
                <a:lnTo>
                  <a:pt x="487" y="371"/>
                </a:lnTo>
                <a:lnTo>
                  <a:pt x="492" y="366"/>
                </a:lnTo>
                <a:lnTo>
                  <a:pt x="508" y="353"/>
                </a:lnTo>
                <a:lnTo>
                  <a:pt x="514" y="349"/>
                </a:lnTo>
                <a:lnTo>
                  <a:pt x="525" y="334"/>
                </a:lnTo>
                <a:lnTo>
                  <a:pt x="536" y="319"/>
                </a:lnTo>
                <a:lnTo>
                  <a:pt x="547" y="304"/>
                </a:lnTo>
                <a:lnTo>
                  <a:pt x="556" y="289"/>
                </a:lnTo>
                <a:lnTo>
                  <a:pt x="556" y="278"/>
                </a:lnTo>
                <a:lnTo>
                  <a:pt x="558" y="266"/>
                </a:lnTo>
                <a:lnTo>
                  <a:pt x="561" y="254"/>
                </a:lnTo>
                <a:lnTo>
                  <a:pt x="565" y="241"/>
                </a:lnTo>
                <a:lnTo>
                  <a:pt x="562" y="232"/>
                </a:lnTo>
                <a:lnTo>
                  <a:pt x="558" y="222"/>
                </a:lnTo>
                <a:lnTo>
                  <a:pt x="553" y="214"/>
                </a:lnTo>
                <a:lnTo>
                  <a:pt x="543" y="204"/>
                </a:lnTo>
                <a:lnTo>
                  <a:pt x="547" y="185"/>
                </a:lnTo>
                <a:lnTo>
                  <a:pt x="544" y="188"/>
                </a:lnTo>
                <a:lnTo>
                  <a:pt x="538" y="182"/>
                </a:lnTo>
                <a:lnTo>
                  <a:pt x="536" y="190"/>
                </a:lnTo>
                <a:lnTo>
                  <a:pt x="532" y="185"/>
                </a:lnTo>
                <a:lnTo>
                  <a:pt x="531" y="172"/>
                </a:lnTo>
                <a:lnTo>
                  <a:pt x="526" y="160"/>
                </a:lnTo>
                <a:lnTo>
                  <a:pt x="528" y="155"/>
                </a:lnTo>
                <a:lnTo>
                  <a:pt x="524" y="150"/>
                </a:lnTo>
                <a:lnTo>
                  <a:pt x="514" y="140"/>
                </a:lnTo>
                <a:lnTo>
                  <a:pt x="499" y="128"/>
                </a:lnTo>
                <a:lnTo>
                  <a:pt x="499" y="113"/>
                </a:lnTo>
                <a:lnTo>
                  <a:pt x="499" y="98"/>
                </a:lnTo>
                <a:lnTo>
                  <a:pt x="496" y="86"/>
                </a:lnTo>
                <a:lnTo>
                  <a:pt x="498" y="71"/>
                </a:lnTo>
                <a:lnTo>
                  <a:pt x="495" y="65"/>
                </a:lnTo>
                <a:lnTo>
                  <a:pt x="487" y="55"/>
                </a:lnTo>
                <a:lnTo>
                  <a:pt x="477" y="58"/>
                </a:lnTo>
                <a:lnTo>
                  <a:pt x="476" y="46"/>
                </a:lnTo>
                <a:lnTo>
                  <a:pt x="475" y="35"/>
                </a:lnTo>
                <a:lnTo>
                  <a:pt x="474" y="20"/>
                </a:lnTo>
                <a:lnTo>
                  <a:pt x="470" y="11"/>
                </a:lnTo>
                <a:lnTo>
                  <a:pt x="468" y="4"/>
                </a:lnTo>
                <a:lnTo>
                  <a:pt x="466" y="0"/>
                </a:lnTo>
                <a:lnTo>
                  <a:pt x="459" y="13"/>
                </a:lnTo>
                <a:lnTo>
                  <a:pt x="456" y="19"/>
                </a:lnTo>
                <a:lnTo>
                  <a:pt x="452" y="29"/>
                </a:lnTo>
                <a:lnTo>
                  <a:pt x="454" y="30"/>
                </a:lnTo>
                <a:lnTo>
                  <a:pt x="454" y="31"/>
                </a:lnTo>
                <a:lnTo>
                  <a:pt x="450" y="37"/>
                </a:lnTo>
                <a:lnTo>
                  <a:pt x="450" y="44"/>
                </a:lnTo>
                <a:lnTo>
                  <a:pt x="447" y="44"/>
                </a:lnTo>
                <a:lnTo>
                  <a:pt x="446" y="58"/>
                </a:lnTo>
                <a:lnTo>
                  <a:pt x="445" y="71"/>
                </a:lnTo>
                <a:lnTo>
                  <a:pt x="434" y="89"/>
                </a:lnTo>
                <a:lnTo>
                  <a:pt x="424" y="108"/>
                </a:lnTo>
                <a:lnTo>
                  <a:pt x="414" y="109"/>
                </a:lnTo>
                <a:lnTo>
                  <a:pt x="404" y="102"/>
                </a:lnTo>
                <a:lnTo>
                  <a:pt x="390" y="91"/>
                </a:lnTo>
                <a:lnTo>
                  <a:pt x="375" y="82"/>
                </a:lnTo>
                <a:lnTo>
                  <a:pt x="367" y="72"/>
                </a:lnTo>
                <a:lnTo>
                  <a:pt x="358" y="62"/>
                </a:lnTo>
                <a:lnTo>
                  <a:pt x="368" y="48"/>
                </a:lnTo>
                <a:lnTo>
                  <a:pt x="373" y="38"/>
                </a:lnTo>
                <a:lnTo>
                  <a:pt x="375" y="40"/>
                </a:lnTo>
                <a:lnTo>
                  <a:pt x="379" y="34"/>
                </a:lnTo>
                <a:lnTo>
                  <a:pt x="385" y="25"/>
                </a:lnTo>
                <a:lnTo>
                  <a:pt x="379" y="19"/>
                </a:lnTo>
                <a:lnTo>
                  <a:pt x="373" y="26"/>
                </a:lnTo>
                <a:lnTo>
                  <a:pt x="372" y="23"/>
                </a:lnTo>
                <a:lnTo>
                  <a:pt x="368" y="23"/>
                </a:lnTo>
                <a:lnTo>
                  <a:pt x="369" y="20"/>
                </a:lnTo>
                <a:lnTo>
                  <a:pt x="357" y="23"/>
                </a:lnTo>
                <a:lnTo>
                  <a:pt x="348" y="20"/>
                </a:lnTo>
                <a:lnTo>
                  <a:pt x="340" y="17"/>
                </a:lnTo>
                <a:lnTo>
                  <a:pt x="331" y="10"/>
                </a:lnTo>
                <a:close/>
              </a:path>
            </a:pathLst>
          </a:custGeom>
          <a:solidFill>
            <a:srgbClr val="D5DDE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461" name="Group 460">
            <a:extLst>
              <a:ext uri="{FF2B5EF4-FFF2-40B4-BE49-F238E27FC236}">
                <a16:creationId xmlns:a16="http://schemas.microsoft.com/office/drawing/2014/main" id="{D168AF8C-0CCB-45E9-B127-9E11FD7B0EC9}"/>
              </a:ext>
            </a:extLst>
          </p:cNvPr>
          <p:cNvGrpSpPr/>
          <p:nvPr/>
        </p:nvGrpSpPr>
        <p:grpSpPr>
          <a:xfrm>
            <a:off x="8735643" y="5657475"/>
            <a:ext cx="1029376" cy="450381"/>
            <a:chOff x="8735643" y="5657475"/>
            <a:chExt cx="1029376" cy="450381"/>
          </a:xfrm>
        </p:grpSpPr>
        <p:sp>
          <p:nvSpPr>
            <p:cNvPr id="203" name="Freeform 212">
              <a:extLst>
                <a:ext uri="{FF2B5EF4-FFF2-40B4-BE49-F238E27FC236}">
                  <a16:creationId xmlns:a16="http://schemas.microsoft.com/office/drawing/2014/main" id="{8B765E39-AED5-4614-8427-60150E17094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35643" y="5883658"/>
              <a:ext cx="114163" cy="97218"/>
            </a:xfrm>
            <a:custGeom>
              <a:avLst/>
              <a:gdLst>
                <a:gd name="T0" fmla="*/ 21 w 54"/>
                <a:gd name="T1" fmla="*/ 35 h 46"/>
                <a:gd name="T2" fmla="*/ 6 w 54"/>
                <a:gd name="T3" fmla="*/ 46 h 46"/>
                <a:gd name="T4" fmla="*/ 0 w 54"/>
                <a:gd name="T5" fmla="*/ 41 h 46"/>
                <a:gd name="T6" fmla="*/ 0 w 54"/>
                <a:gd name="T7" fmla="*/ 27 h 46"/>
                <a:gd name="T8" fmla="*/ 2 w 54"/>
                <a:gd name="T9" fmla="*/ 24 h 46"/>
                <a:gd name="T10" fmla="*/ 3 w 54"/>
                <a:gd name="T11" fmla="*/ 25 h 46"/>
                <a:gd name="T12" fmla="*/ 6 w 54"/>
                <a:gd name="T13" fmla="*/ 15 h 46"/>
                <a:gd name="T14" fmla="*/ 7 w 54"/>
                <a:gd name="T15" fmla="*/ 3 h 46"/>
                <a:gd name="T16" fmla="*/ 11 w 54"/>
                <a:gd name="T17" fmla="*/ 0 h 46"/>
                <a:gd name="T18" fmla="*/ 23 w 54"/>
                <a:gd name="T19" fmla="*/ 5 h 46"/>
                <a:gd name="T20" fmla="*/ 33 w 54"/>
                <a:gd name="T21" fmla="*/ 10 h 46"/>
                <a:gd name="T22" fmla="*/ 37 w 54"/>
                <a:gd name="T23" fmla="*/ 4 h 46"/>
                <a:gd name="T24" fmla="*/ 54 w 54"/>
                <a:gd name="T25" fmla="*/ 3 h 46"/>
                <a:gd name="T26" fmla="*/ 42 w 54"/>
                <a:gd name="T27" fmla="*/ 23 h 46"/>
                <a:gd name="T28" fmla="*/ 39 w 54"/>
                <a:gd name="T29" fmla="*/ 22 h 46"/>
                <a:gd name="T30" fmla="*/ 24 w 54"/>
                <a:gd name="T31" fmla="*/ 39 h 46"/>
                <a:gd name="T32" fmla="*/ 26 w 54"/>
                <a:gd name="T33" fmla="*/ 36 h 46"/>
                <a:gd name="T34" fmla="*/ 23 w 54"/>
                <a:gd name="T35" fmla="*/ 35 h 46"/>
                <a:gd name="T36" fmla="*/ 21 w 54"/>
                <a:gd name="T37" fmla="*/ 3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46">
                  <a:moveTo>
                    <a:pt x="21" y="35"/>
                  </a:moveTo>
                  <a:lnTo>
                    <a:pt x="6" y="46"/>
                  </a:lnTo>
                  <a:lnTo>
                    <a:pt x="0" y="41"/>
                  </a:lnTo>
                  <a:lnTo>
                    <a:pt x="0" y="27"/>
                  </a:lnTo>
                  <a:lnTo>
                    <a:pt x="2" y="24"/>
                  </a:lnTo>
                  <a:lnTo>
                    <a:pt x="3" y="25"/>
                  </a:lnTo>
                  <a:lnTo>
                    <a:pt x="6" y="15"/>
                  </a:lnTo>
                  <a:lnTo>
                    <a:pt x="7" y="3"/>
                  </a:lnTo>
                  <a:lnTo>
                    <a:pt x="11" y="0"/>
                  </a:lnTo>
                  <a:lnTo>
                    <a:pt x="23" y="5"/>
                  </a:lnTo>
                  <a:lnTo>
                    <a:pt x="33" y="10"/>
                  </a:lnTo>
                  <a:lnTo>
                    <a:pt x="37" y="4"/>
                  </a:lnTo>
                  <a:lnTo>
                    <a:pt x="54" y="3"/>
                  </a:lnTo>
                  <a:lnTo>
                    <a:pt x="42" y="23"/>
                  </a:lnTo>
                  <a:lnTo>
                    <a:pt x="39" y="22"/>
                  </a:lnTo>
                  <a:lnTo>
                    <a:pt x="24" y="39"/>
                  </a:lnTo>
                  <a:lnTo>
                    <a:pt x="26" y="36"/>
                  </a:lnTo>
                  <a:lnTo>
                    <a:pt x="23" y="35"/>
                  </a:lnTo>
                  <a:lnTo>
                    <a:pt x="21" y="35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05" name="Freeform 216">
              <a:extLst>
                <a:ext uri="{FF2B5EF4-FFF2-40B4-BE49-F238E27FC236}">
                  <a16:creationId xmlns:a16="http://schemas.microsoft.com/office/drawing/2014/main" id="{3D304D89-84FB-41FA-861A-EB4FE36BD1AF}"/>
                </a:ext>
              </a:extLst>
            </p:cNvPr>
            <p:cNvSpPr>
              <a:spLocks/>
            </p:cNvSpPr>
            <p:nvPr/>
          </p:nvSpPr>
          <p:spPr bwMode="gray">
            <a:xfrm>
              <a:off x="9226546" y="5873736"/>
              <a:ext cx="334879" cy="212294"/>
            </a:xfrm>
            <a:custGeom>
              <a:avLst/>
              <a:gdLst>
                <a:gd name="T0" fmla="*/ 103 w 160"/>
                <a:gd name="T1" fmla="*/ 52 h 97"/>
                <a:gd name="T2" fmla="*/ 99 w 160"/>
                <a:gd name="T3" fmla="*/ 43 h 97"/>
                <a:gd name="T4" fmla="*/ 97 w 160"/>
                <a:gd name="T5" fmla="*/ 42 h 97"/>
                <a:gd name="T6" fmla="*/ 94 w 160"/>
                <a:gd name="T7" fmla="*/ 44 h 97"/>
                <a:gd name="T8" fmla="*/ 99 w 160"/>
                <a:gd name="T9" fmla="*/ 54 h 97"/>
                <a:gd name="T10" fmla="*/ 88 w 160"/>
                <a:gd name="T11" fmla="*/ 56 h 97"/>
                <a:gd name="T12" fmla="*/ 81 w 160"/>
                <a:gd name="T13" fmla="*/ 57 h 97"/>
                <a:gd name="T14" fmla="*/ 78 w 160"/>
                <a:gd name="T15" fmla="*/ 63 h 97"/>
                <a:gd name="T16" fmla="*/ 73 w 160"/>
                <a:gd name="T17" fmla="*/ 69 h 97"/>
                <a:gd name="T18" fmla="*/ 72 w 160"/>
                <a:gd name="T19" fmla="*/ 70 h 97"/>
                <a:gd name="T20" fmla="*/ 54 w 160"/>
                <a:gd name="T21" fmla="*/ 84 h 97"/>
                <a:gd name="T22" fmla="*/ 23 w 160"/>
                <a:gd name="T23" fmla="*/ 97 h 97"/>
                <a:gd name="T24" fmla="*/ 17 w 160"/>
                <a:gd name="T25" fmla="*/ 94 h 97"/>
                <a:gd name="T26" fmla="*/ 6 w 160"/>
                <a:gd name="T27" fmla="*/ 91 h 97"/>
                <a:gd name="T28" fmla="*/ 1 w 160"/>
                <a:gd name="T29" fmla="*/ 88 h 97"/>
                <a:gd name="T30" fmla="*/ 3 w 160"/>
                <a:gd name="T31" fmla="*/ 87 h 97"/>
                <a:gd name="T32" fmla="*/ 0 w 160"/>
                <a:gd name="T33" fmla="*/ 86 h 97"/>
                <a:gd name="T34" fmla="*/ 7 w 160"/>
                <a:gd name="T35" fmla="*/ 81 h 97"/>
                <a:gd name="T36" fmla="*/ 11 w 160"/>
                <a:gd name="T37" fmla="*/ 79 h 97"/>
                <a:gd name="T38" fmla="*/ 15 w 160"/>
                <a:gd name="T39" fmla="*/ 76 h 97"/>
                <a:gd name="T40" fmla="*/ 16 w 160"/>
                <a:gd name="T41" fmla="*/ 76 h 97"/>
                <a:gd name="T42" fmla="*/ 22 w 160"/>
                <a:gd name="T43" fmla="*/ 70 h 97"/>
                <a:gd name="T44" fmla="*/ 27 w 160"/>
                <a:gd name="T45" fmla="*/ 68 h 97"/>
                <a:gd name="T46" fmla="*/ 35 w 160"/>
                <a:gd name="T47" fmla="*/ 64 h 97"/>
                <a:gd name="T48" fmla="*/ 53 w 160"/>
                <a:gd name="T49" fmla="*/ 55 h 97"/>
                <a:gd name="T50" fmla="*/ 60 w 160"/>
                <a:gd name="T51" fmla="*/ 54 h 97"/>
                <a:gd name="T52" fmla="*/ 85 w 160"/>
                <a:gd name="T53" fmla="*/ 42 h 97"/>
                <a:gd name="T54" fmla="*/ 96 w 160"/>
                <a:gd name="T55" fmla="*/ 37 h 97"/>
                <a:gd name="T56" fmla="*/ 112 w 160"/>
                <a:gd name="T57" fmla="*/ 27 h 97"/>
                <a:gd name="T58" fmla="*/ 108 w 160"/>
                <a:gd name="T59" fmla="*/ 27 h 97"/>
                <a:gd name="T60" fmla="*/ 119 w 160"/>
                <a:gd name="T61" fmla="*/ 19 h 97"/>
                <a:gd name="T62" fmla="*/ 144 w 160"/>
                <a:gd name="T63" fmla="*/ 1 h 97"/>
                <a:gd name="T64" fmla="*/ 151 w 160"/>
                <a:gd name="T65" fmla="*/ 0 h 97"/>
                <a:gd name="T66" fmla="*/ 145 w 160"/>
                <a:gd name="T67" fmla="*/ 3 h 97"/>
                <a:gd name="T68" fmla="*/ 144 w 160"/>
                <a:gd name="T69" fmla="*/ 10 h 97"/>
                <a:gd name="T70" fmla="*/ 157 w 160"/>
                <a:gd name="T71" fmla="*/ 6 h 97"/>
                <a:gd name="T72" fmla="*/ 155 w 160"/>
                <a:gd name="T73" fmla="*/ 9 h 97"/>
                <a:gd name="T74" fmla="*/ 156 w 160"/>
                <a:gd name="T75" fmla="*/ 10 h 97"/>
                <a:gd name="T76" fmla="*/ 160 w 160"/>
                <a:gd name="T77" fmla="*/ 10 h 97"/>
                <a:gd name="T78" fmla="*/ 153 w 160"/>
                <a:gd name="T79" fmla="*/ 18 h 97"/>
                <a:gd name="T80" fmla="*/ 136 w 160"/>
                <a:gd name="T81" fmla="*/ 30 h 97"/>
                <a:gd name="T82" fmla="*/ 119 w 160"/>
                <a:gd name="T83" fmla="*/ 40 h 97"/>
                <a:gd name="T84" fmla="*/ 111 w 160"/>
                <a:gd name="T85" fmla="*/ 43 h 97"/>
                <a:gd name="T86" fmla="*/ 111 w 160"/>
                <a:gd name="T87" fmla="*/ 46 h 97"/>
                <a:gd name="T88" fmla="*/ 105 w 160"/>
                <a:gd name="T89" fmla="*/ 45 h 97"/>
                <a:gd name="T90" fmla="*/ 109 w 160"/>
                <a:gd name="T91" fmla="*/ 49 h 97"/>
                <a:gd name="T92" fmla="*/ 111 w 160"/>
                <a:gd name="T93" fmla="*/ 52 h 97"/>
                <a:gd name="T94" fmla="*/ 103 w 160"/>
                <a:gd name="T95" fmla="*/ 5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0" h="97">
                  <a:moveTo>
                    <a:pt x="103" y="52"/>
                  </a:moveTo>
                  <a:lnTo>
                    <a:pt x="99" y="43"/>
                  </a:lnTo>
                  <a:lnTo>
                    <a:pt x="97" y="42"/>
                  </a:lnTo>
                  <a:lnTo>
                    <a:pt x="94" y="44"/>
                  </a:lnTo>
                  <a:lnTo>
                    <a:pt x="99" y="54"/>
                  </a:lnTo>
                  <a:lnTo>
                    <a:pt x="88" y="56"/>
                  </a:lnTo>
                  <a:lnTo>
                    <a:pt x="81" y="57"/>
                  </a:lnTo>
                  <a:lnTo>
                    <a:pt x="78" y="63"/>
                  </a:lnTo>
                  <a:lnTo>
                    <a:pt x="73" y="69"/>
                  </a:lnTo>
                  <a:lnTo>
                    <a:pt x="72" y="70"/>
                  </a:lnTo>
                  <a:lnTo>
                    <a:pt x="54" y="84"/>
                  </a:lnTo>
                  <a:lnTo>
                    <a:pt x="23" y="97"/>
                  </a:lnTo>
                  <a:lnTo>
                    <a:pt x="17" y="94"/>
                  </a:lnTo>
                  <a:lnTo>
                    <a:pt x="6" y="91"/>
                  </a:lnTo>
                  <a:lnTo>
                    <a:pt x="1" y="88"/>
                  </a:lnTo>
                  <a:lnTo>
                    <a:pt x="3" y="87"/>
                  </a:lnTo>
                  <a:lnTo>
                    <a:pt x="0" y="86"/>
                  </a:lnTo>
                  <a:lnTo>
                    <a:pt x="7" y="81"/>
                  </a:lnTo>
                  <a:lnTo>
                    <a:pt x="11" y="79"/>
                  </a:lnTo>
                  <a:lnTo>
                    <a:pt x="15" y="76"/>
                  </a:lnTo>
                  <a:lnTo>
                    <a:pt x="16" y="76"/>
                  </a:lnTo>
                  <a:lnTo>
                    <a:pt x="22" y="70"/>
                  </a:lnTo>
                  <a:lnTo>
                    <a:pt x="27" y="68"/>
                  </a:lnTo>
                  <a:lnTo>
                    <a:pt x="35" y="64"/>
                  </a:lnTo>
                  <a:lnTo>
                    <a:pt x="53" y="55"/>
                  </a:lnTo>
                  <a:lnTo>
                    <a:pt x="60" y="54"/>
                  </a:lnTo>
                  <a:lnTo>
                    <a:pt x="85" y="42"/>
                  </a:lnTo>
                  <a:lnTo>
                    <a:pt x="96" y="37"/>
                  </a:lnTo>
                  <a:lnTo>
                    <a:pt x="112" y="27"/>
                  </a:lnTo>
                  <a:lnTo>
                    <a:pt x="108" y="27"/>
                  </a:lnTo>
                  <a:lnTo>
                    <a:pt x="119" y="19"/>
                  </a:lnTo>
                  <a:lnTo>
                    <a:pt x="144" y="1"/>
                  </a:lnTo>
                  <a:lnTo>
                    <a:pt x="151" y="0"/>
                  </a:lnTo>
                  <a:lnTo>
                    <a:pt x="145" y="3"/>
                  </a:lnTo>
                  <a:lnTo>
                    <a:pt x="144" y="10"/>
                  </a:lnTo>
                  <a:lnTo>
                    <a:pt x="157" y="6"/>
                  </a:lnTo>
                  <a:lnTo>
                    <a:pt x="155" y="9"/>
                  </a:lnTo>
                  <a:lnTo>
                    <a:pt x="156" y="10"/>
                  </a:lnTo>
                  <a:lnTo>
                    <a:pt x="160" y="10"/>
                  </a:lnTo>
                  <a:lnTo>
                    <a:pt x="153" y="18"/>
                  </a:lnTo>
                  <a:lnTo>
                    <a:pt x="136" y="30"/>
                  </a:lnTo>
                  <a:lnTo>
                    <a:pt x="119" y="40"/>
                  </a:lnTo>
                  <a:lnTo>
                    <a:pt x="111" y="43"/>
                  </a:lnTo>
                  <a:lnTo>
                    <a:pt x="111" y="46"/>
                  </a:lnTo>
                  <a:lnTo>
                    <a:pt x="105" y="45"/>
                  </a:lnTo>
                  <a:lnTo>
                    <a:pt x="109" y="49"/>
                  </a:lnTo>
                  <a:lnTo>
                    <a:pt x="111" y="52"/>
                  </a:lnTo>
                  <a:lnTo>
                    <a:pt x="103" y="52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06" name="Freeform 217">
              <a:extLst>
                <a:ext uri="{FF2B5EF4-FFF2-40B4-BE49-F238E27FC236}">
                  <a16:creationId xmlns:a16="http://schemas.microsoft.com/office/drawing/2014/main" id="{366DF80F-5024-4931-9CD9-113D2B8292FE}"/>
                </a:ext>
              </a:extLst>
            </p:cNvPr>
            <p:cNvSpPr>
              <a:spLocks/>
            </p:cNvSpPr>
            <p:nvPr/>
          </p:nvSpPr>
          <p:spPr bwMode="gray">
            <a:xfrm>
              <a:off x="9569038" y="5657475"/>
              <a:ext cx="195981" cy="251975"/>
            </a:xfrm>
            <a:custGeom>
              <a:avLst/>
              <a:gdLst>
                <a:gd name="T0" fmla="*/ 12 w 93"/>
                <a:gd name="T1" fmla="*/ 77 h 114"/>
                <a:gd name="T2" fmla="*/ 17 w 93"/>
                <a:gd name="T3" fmla="*/ 84 h 114"/>
                <a:gd name="T4" fmla="*/ 21 w 93"/>
                <a:gd name="T5" fmla="*/ 93 h 114"/>
                <a:gd name="T6" fmla="*/ 0 w 93"/>
                <a:gd name="T7" fmla="*/ 111 h 114"/>
                <a:gd name="T8" fmla="*/ 5 w 93"/>
                <a:gd name="T9" fmla="*/ 114 h 114"/>
                <a:gd name="T10" fmla="*/ 24 w 93"/>
                <a:gd name="T11" fmla="*/ 104 h 114"/>
                <a:gd name="T12" fmla="*/ 44 w 93"/>
                <a:gd name="T13" fmla="*/ 92 h 114"/>
                <a:gd name="T14" fmla="*/ 53 w 93"/>
                <a:gd name="T15" fmla="*/ 78 h 114"/>
                <a:gd name="T16" fmla="*/ 68 w 93"/>
                <a:gd name="T17" fmla="*/ 75 h 114"/>
                <a:gd name="T18" fmla="*/ 75 w 93"/>
                <a:gd name="T19" fmla="*/ 68 h 114"/>
                <a:gd name="T20" fmla="*/ 93 w 93"/>
                <a:gd name="T21" fmla="*/ 52 h 114"/>
                <a:gd name="T22" fmla="*/ 90 w 93"/>
                <a:gd name="T23" fmla="*/ 51 h 114"/>
                <a:gd name="T24" fmla="*/ 75 w 93"/>
                <a:gd name="T25" fmla="*/ 57 h 114"/>
                <a:gd name="T26" fmla="*/ 60 w 93"/>
                <a:gd name="T27" fmla="*/ 50 h 114"/>
                <a:gd name="T28" fmla="*/ 65 w 93"/>
                <a:gd name="T29" fmla="*/ 33 h 114"/>
                <a:gd name="T30" fmla="*/ 59 w 93"/>
                <a:gd name="T31" fmla="*/ 42 h 114"/>
                <a:gd name="T32" fmla="*/ 52 w 93"/>
                <a:gd name="T33" fmla="*/ 39 h 114"/>
                <a:gd name="T34" fmla="*/ 54 w 93"/>
                <a:gd name="T35" fmla="*/ 33 h 114"/>
                <a:gd name="T36" fmla="*/ 58 w 93"/>
                <a:gd name="T37" fmla="*/ 21 h 114"/>
                <a:gd name="T38" fmla="*/ 62 w 93"/>
                <a:gd name="T39" fmla="*/ 15 h 114"/>
                <a:gd name="T40" fmla="*/ 59 w 93"/>
                <a:gd name="T41" fmla="*/ 14 h 114"/>
                <a:gd name="T42" fmla="*/ 53 w 93"/>
                <a:gd name="T43" fmla="*/ 6 h 114"/>
                <a:gd name="T44" fmla="*/ 50 w 93"/>
                <a:gd name="T45" fmla="*/ 2 h 114"/>
                <a:gd name="T46" fmla="*/ 50 w 93"/>
                <a:gd name="T47" fmla="*/ 0 h 114"/>
                <a:gd name="T48" fmla="*/ 47 w 93"/>
                <a:gd name="T49" fmla="*/ 11 h 114"/>
                <a:gd name="T50" fmla="*/ 50 w 93"/>
                <a:gd name="T51" fmla="*/ 16 h 114"/>
                <a:gd name="T52" fmla="*/ 47 w 93"/>
                <a:gd name="T53" fmla="*/ 30 h 114"/>
                <a:gd name="T54" fmla="*/ 48 w 93"/>
                <a:gd name="T55" fmla="*/ 24 h 114"/>
                <a:gd name="T56" fmla="*/ 51 w 93"/>
                <a:gd name="T57" fmla="*/ 28 h 114"/>
                <a:gd name="T58" fmla="*/ 51 w 93"/>
                <a:gd name="T59" fmla="*/ 30 h 114"/>
                <a:gd name="T60" fmla="*/ 48 w 93"/>
                <a:gd name="T61" fmla="*/ 34 h 114"/>
                <a:gd name="T62" fmla="*/ 46 w 93"/>
                <a:gd name="T63" fmla="*/ 41 h 114"/>
                <a:gd name="T64" fmla="*/ 51 w 93"/>
                <a:gd name="T65" fmla="*/ 40 h 114"/>
                <a:gd name="T66" fmla="*/ 47 w 93"/>
                <a:gd name="T67" fmla="*/ 44 h 114"/>
                <a:gd name="T68" fmla="*/ 44 w 93"/>
                <a:gd name="T69" fmla="*/ 51 h 114"/>
                <a:gd name="T70" fmla="*/ 30 w 93"/>
                <a:gd name="T71" fmla="*/ 69 h 114"/>
                <a:gd name="T72" fmla="*/ 12 w 93"/>
                <a:gd name="T73" fmla="*/ 7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3" h="114">
                  <a:moveTo>
                    <a:pt x="12" y="77"/>
                  </a:moveTo>
                  <a:lnTo>
                    <a:pt x="17" y="84"/>
                  </a:lnTo>
                  <a:lnTo>
                    <a:pt x="21" y="93"/>
                  </a:lnTo>
                  <a:lnTo>
                    <a:pt x="0" y="111"/>
                  </a:lnTo>
                  <a:lnTo>
                    <a:pt x="5" y="114"/>
                  </a:lnTo>
                  <a:lnTo>
                    <a:pt x="24" y="104"/>
                  </a:lnTo>
                  <a:lnTo>
                    <a:pt x="44" y="92"/>
                  </a:lnTo>
                  <a:lnTo>
                    <a:pt x="53" y="78"/>
                  </a:lnTo>
                  <a:lnTo>
                    <a:pt x="68" y="75"/>
                  </a:lnTo>
                  <a:lnTo>
                    <a:pt x="75" y="68"/>
                  </a:lnTo>
                  <a:lnTo>
                    <a:pt x="93" y="52"/>
                  </a:lnTo>
                  <a:lnTo>
                    <a:pt x="90" y="51"/>
                  </a:lnTo>
                  <a:lnTo>
                    <a:pt x="75" y="57"/>
                  </a:lnTo>
                  <a:lnTo>
                    <a:pt x="60" y="50"/>
                  </a:lnTo>
                  <a:lnTo>
                    <a:pt x="65" y="33"/>
                  </a:lnTo>
                  <a:lnTo>
                    <a:pt x="59" y="42"/>
                  </a:lnTo>
                  <a:lnTo>
                    <a:pt x="52" y="39"/>
                  </a:lnTo>
                  <a:lnTo>
                    <a:pt x="54" y="33"/>
                  </a:lnTo>
                  <a:lnTo>
                    <a:pt x="58" y="21"/>
                  </a:lnTo>
                  <a:lnTo>
                    <a:pt x="62" y="15"/>
                  </a:lnTo>
                  <a:lnTo>
                    <a:pt x="59" y="14"/>
                  </a:lnTo>
                  <a:lnTo>
                    <a:pt x="53" y="6"/>
                  </a:lnTo>
                  <a:lnTo>
                    <a:pt x="50" y="2"/>
                  </a:lnTo>
                  <a:lnTo>
                    <a:pt x="50" y="0"/>
                  </a:lnTo>
                  <a:lnTo>
                    <a:pt x="47" y="11"/>
                  </a:lnTo>
                  <a:lnTo>
                    <a:pt x="50" y="16"/>
                  </a:lnTo>
                  <a:lnTo>
                    <a:pt x="47" y="30"/>
                  </a:lnTo>
                  <a:lnTo>
                    <a:pt x="48" y="24"/>
                  </a:lnTo>
                  <a:lnTo>
                    <a:pt x="51" y="28"/>
                  </a:lnTo>
                  <a:lnTo>
                    <a:pt x="51" y="30"/>
                  </a:lnTo>
                  <a:lnTo>
                    <a:pt x="48" y="34"/>
                  </a:lnTo>
                  <a:lnTo>
                    <a:pt x="46" y="41"/>
                  </a:lnTo>
                  <a:lnTo>
                    <a:pt x="51" y="40"/>
                  </a:lnTo>
                  <a:lnTo>
                    <a:pt x="47" y="44"/>
                  </a:lnTo>
                  <a:lnTo>
                    <a:pt x="44" y="51"/>
                  </a:lnTo>
                  <a:lnTo>
                    <a:pt x="30" y="69"/>
                  </a:lnTo>
                  <a:lnTo>
                    <a:pt x="12" y="77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07" name="Freeform 218">
              <a:extLst>
                <a:ext uri="{FF2B5EF4-FFF2-40B4-BE49-F238E27FC236}">
                  <a16:creationId xmlns:a16="http://schemas.microsoft.com/office/drawing/2014/main" id="{CE1EFDB6-6A3E-481F-B553-768D46F970AB}"/>
                </a:ext>
              </a:extLst>
            </p:cNvPr>
            <p:cNvSpPr>
              <a:spLocks/>
            </p:cNvSpPr>
            <p:nvPr/>
          </p:nvSpPr>
          <p:spPr bwMode="gray">
            <a:xfrm>
              <a:off x="9222740" y="6093967"/>
              <a:ext cx="20930" cy="13889"/>
            </a:xfrm>
            <a:custGeom>
              <a:avLst/>
              <a:gdLst>
                <a:gd name="T0" fmla="*/ 10 w 10"/>
                <a:gd name="T1" fmla="*/ 3 h 6"/>
                <a:gd name="T2" fmla="*/ 10 w 10"/>
                <a:gd name="T3" fmla="*/ 1 h 6"/>
                <a:gd name="T4" fmla="*/ 5 w 10"/>
                <a:gd name="T5" fmla="*/ 0 h 6"/>
                <a:gd name="T6" fmla="*/ 0 w 10"/>
                <a:gd name="T7" fmla="*/ 6 h 6"/>
                <a:gd name="T8" fmla="*/ 10 w 10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6">
                  <a:moveTo>
                    <a:pt x="10" y="3"/>
                  </a:moveTo>
                  <a:lnTo>
                    <a:pt x="10" y="1"/>
                  </a:lnTo>
                  <a:lnTo>
                    <a:pt x="5" y="0"/>
                  </a:lnTo>
                  <a:lnTo>
                    <a:pt x="0" y="6"/>
                  </a:lnTo>
                  <a:lnTo>
                    <a:pt x="10" y="3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grpSp>
        <p:nvGrpSpPr>
          <p:cNvPr id="462" name="Group 461">
            <a:extLst>
              <a:ext uri="{FF2B5EF4-FFF2-40B4-BE49-F238E27FC236}">
                <a16:creationId xmlns:a16="http://schemas.microsoft.com/office/drawing/2014/main" id="{6EADAE5A-48C8-4027-BDD6-7C770868AE36}"/>
              </a:ext>
            </a:extLst>
          </p:cNvPr>
          <p:cNvGrpSpPr/>
          <p:nvPr/>
        </p:nvGrpSpPr>
        <p:grpSpPr>
          <a:xfrm>
            <a:off x="9218935" y="4530532"/>
            <a:ext cx="553694" cy="694420"/>
            <a:chOff x="9218935" y="4530532"/>
            <a:chExt cx="553694" cy="694420"/>
          </a:xfrm>
        </p:grpSpPr>
        <p:sp>
          <p:nvSpPr>
            <p:cNvPr id="42" name="Freeform 46">
              <a:extLst>
                <a:ext uri="{FF2B5EF4-FFF2-40B4-BE49-F238E27FC236}">
                  <a16:creationId xmlns:a16="http://schemas.microsoft.com/office/drawing/2014/main" id="{8D1FE9A0-3932-4AE0-8A72-3D9FDECD4E7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18935" y="4584101"/>
              <a:ext cx="121774" cy="71426"/>
            </a:xfrm>
            <a:custGeom>
              <a:avLst/>
              <a:gdLst>
                <a:gd name="T0" fmla="*/ 58 w 58"/>
                <a:gd name="T1" fmla="*/ 2 h 33"/>
                <a:gd name="T2" fmla="*/ 55 w 58"/>
                <a:gd name="T3" fmla="*/ 12 h 33"/>
                <a:gd name="T4" fmla="*/ 51 w 58"/>
                <a:gd name="T5" fmla="*/ 15 h 33"/>
                <a:gd name="T6" fmla="*/ 52 w 58"/>
                <a:gd name="T7" fmla="*/ 20 h 33"/>
                <a:gd name="T8" fmla="*/ 43 w 58"/>
                <a:gd name="T9" fmla="*/ 24 h 33"/>
                <a:gd name="T10" fmla="*/ 24 w 58"/>
                <a:gd name="T11" fmla="*/ 33 h 33"/>
                <a:gd name="T12" fmla="*/ 12 w 58"/>
                <a:gd name="T13" fmla="*/ 30 h 33"/>
                <a:gd name="T14" fmla="*/ 3 w 58"/>
                <a:gd name="T15" fmla="*/ 26 h 33"/>
                <a:gd name="T16" fmla="*/ 0 w 58"/>
                <a:gd name="T17" fmla="*/ 21 h 33"/>
                <a:gd name="T18" fmla="*/ 20 w 58"/>
                <a:gd name="T19" fmla="*/ 22 h 33"/>
                <a:gd name="T20" fmla="*/ 25 w 58"/>
                <a:gd name="T21" fmla="*/ 12 h 33"/>
                <a:gd name="T22" fmla="*/ 25 w 58"/>
                <a:gd name="T23" fmla="*/ 17 h 33"/>
                <a:gd name="T24" fmla="*/ 32 w 58"/>
                <a:gd name="T25" fmla="*/ 21 h 33"/>
                <a:gd name="T26" fmla="*/ 45 w 58"/>
                <a:gd name="T27" fmla="*/ 11 h 33"/>
                <a:gd name="T28" fmla="*/ 46 w 58"/>
                <a:gd name="T29" fmla="*/ 2 h 33"/>
                <a:gd name="T30" fmla="*/ 54 w 58"/>
                <a:gd name="T31" fmla="*/ 0 h 33"/>
                <a:gd name="T32" fmla="*/ 58 w 58"/>
                <a:gd name="T33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33">
                  <a:moveTo>
                    <a:pt x="58" y="2"/>
                  </a:moveTo>
                  <a:lnTo>
                    <a:pt x="55" y="12"/>
                  </a:lnTo>
                  <a:lnTo>
                    <a:pt x="51" y="15"/>
                  </a:lnTo>
                  <a:lnTo>
                    <a:pt x="52" y="20"/>
                  </a:lnTo>
                  <a:lnTo>
                    <a:pt x="43" y="24"/>
                  </a:lnTo>
                  <a:lnTo>
                    <a:pt x="24" y="33"/>
                  </a:lnTo>
                  <a:lnTo>
                    <a:pt x="12" y="30"/>
                  </a:lnTo>
                  <a:lnTo>
                    <a:pt x="3" y="26"/>
                  </a:lnTo>
                  <a:lnTo>
                    <a:pt x="0" y="21"/>
                  </a:lnTo>
                  <a:lnTo>
                    <a:pt x="20" y="22"/>
                  </a:lnTo>
                  <a:lnTo>
                    <a:pt x="25" y="12"/>
                  </a:lnTo>
                  <a:lnTo>
                    <a:pt x="25" y="17"/>
                  </a:lnTo>
                  <a:lnTo>
                    <a:pt x="32" y="21"/>
                  </a:lnTo>
                  <a:lnTo>
                    <a:pt x="45" y="11"/>
                  </a:lnTo>
                  <a:lnTo>
                    <a:pt x="46" y="2"/>
                  </a:lnTo>
                  <a:lnTo>
                    <a:pt x="54" y="0"/>
                  </a:lnTo>
                  <a:lnTo>
                    <a:pt x="58" y="2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3" name="Freeform 47">
              <a:extLst>
                <a:ext uri="{FF2B5EF4-FFF2-40B4-BE49-F238E27FC236}">
                  <a16:creationId xmlns:a16="http://schemas.microsoft.com/office/drawing/2014/main" id="{D701405C-73A7-4944-B3C7-12D452A940AB}"/>
                </a:ext>
              </a:extLst>
            </p:cNvPr>
            <p:cNvSpPr>
              <a:spLocks/>
            </p:cNvSpPr>
            <p:nvPr/>
          </p:nvSpPr>
          <p:spPr bwMode="gray">
            <a:xfrm>
              <a:off x="9409209" y="4627750"/>
              <a:ext cx="34249" cy="49602"/>
            </a:xfrm>
            <a:custGeom>
              <a:avLst/>
              <a:gdLst>
                <a:gd name="T0" fmla="*/ 15 w 15"/>
                <a:gd name="T1" fmla="*/ 20 h 22"/>
                <a:gd name="T2" fmla="*/ 11 w 15"/>
                <a:gd name="T3" fmla="*/ 22 h 22"/>
                <a:gd name="T4" fmla="*/ 2 w 15"/>
                <a:gd name="T5" fmla="*/ 12 h 22"/>
                <a:gd name="T6" fmla="*/ 0 w 15"/>
                <a:gd name="T7" fmla="*/ 0 h 22"/>
                <a:gd name="T8" fmla="*/ 7 w 15"/>
                <a:gd name="T9" fmla="*/ 9 h 22"/>
                <a:gd name="T10" fmla="*/ 15 w 15"/>
                <a:gd name="T1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15" y="20"/>
                  </a:moveTo>
                  <a:lnTo>
                    <a:pt x="11" y="22"/>
                  </a:lnTo>
                  <a:lnTo>
                    <a:pt x="2" y="12"/>
                  </a:lnTo>
                  <a:lnTo>
                    <a:pt x="0" y="0"/>
                  </a:lnTo>
                  <a:lnTo>
                    <a:pt x="7" y="9"/>
                  </a:lnTo>
                  <a:lnTo>
                    <a:pt x="15" y="2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4" name="Freeform 48">
              <a:extLst>
                <a:ext uri="{FF2B5EF4-FFF2-40B4-BE49-F238E27FC236}">
                  <a16:creationId xmlns:a16="http://schemas.microsoft.com/office/drawing/2014/main" id="{C828E025-B03E-4323-872C-43E3F38DFA4D}"/>
                </a:ext>
              </a:extLst>
            </p:cNvPr>
            <p:cNvSpPr>
              <a:spLocks/>
            </p:cNvSpPr>
            <p:nvPr/>
          </p:nvSpPr>
          <p:spPr bwMode="gray">
            <a:xfrm>
              <a:off x="9298849" y="4530532"/>
              <a:ext cx="68498" cy="71426"/>
            </a:xfrm>
            <a:custGeom>
              <a:avLst/>
              <a:gdLst>
                <a:gd name="T0" fmla="*/ 31 w 31"/>
                <a:gd name="T1" fmla="*/ 28 h 33"/>
                <a:gd name="T2" fmla="*/ 26 w 31"/>
                <a:gd name="T3" fmla="*/ 33 h 33"/>
                <a:gd name="T4" fmla="*/ 17 w 31"/>
                <a:gd name="T5" fmla="*/ 13 h 33"/>
                <a:gd name="T6" fmla="*/ 8 w 31"/>
                <a:gd name="T7" fmla="*/ 7 h 33"/>
                <a:gd name="T8" fmla="*/ 0 w 31"/>
                <a:gd name="T9" fmla="*/ 0 h 33"/>
                <a:gd name="T10" fmla="*/ 12 w 31"/>
                <a:gd name="T11" fmla="*/ 9 h 33"/>
                <a:gd name="T12" fmla="*/ 23 w 31"/>
                <a:gd name="T13" fmla="*/ 17 h 33"/>
                <a:gd name="T14" fmla="*/ 31 w 31"/>
                <a:gd name="T15" fmla="*/ 2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3">
                  <a:moveTo>
                    <a:pt x="31" y="28"/>
                  </a:moveTo>
                  <a:lnTo>
                    <a:pt x="26" y="33"/>
                  </a:lnTo>
                  <a:lnTo>
                    <a:pt x="17" y="13"/>
                  </a:lnTo>
                  <a:lnTo>
                    <a:pt x="8" y="7"/>
                  </a:lnTo>
                  <a:lnTo>
                    <a:pt x="0" y="0"/>
                  </a:lnTo>
                  <a:lnTo>
                    <a:pt x="12" y="9"/>
                  </a:lnTo>
                  <a:lnTo>
                    <a:pt x="23" y="17"/>
                  </a:lnTo>
                  <a:lnTo>
                    <a:pt x="31" y="28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5" name="Freeform 49">
              <a:extLst>
                <a:ext uri="{FF2B5EF4-FFF2-40B4-BE49-F238E27FC236}">
                  <a16:creationId xmlns:a16="http://schemas.microsoft.com/office/drawing/2014/main" id="{3CAFA2D2-429C-4A63-A18C-E5ABA10E033F}"/>
                </a:ext>
              </a:extLst>
            </p:cNvPr>
            <p:cNvSpPr>
              <a:spLocks/>
            </p:cNvSpPr>
            <p:nvPr/>
          </p:nvSpPr>
          <p:spPr bwMode="gray">
            <a:xfrm>
              <a:off x="9281725" y="4782507"/>
              <a:ext cx="13319" cy="13889"/>
            </a:xfrm>
            <a:custGeom>
              <a:avLst/>
              <a:gdLst>
                <a:gd name="T0" fmla="*/ 6 w 6"/>
                <a:gd name="T1" fmla="*/ 3 h 5"/>
                <a:gd name="T2" fmla="*/ 2 w 6"/>
                <a:gd name="T3" fmla="*/ 5 h 5"/>
                <a:gd name="T4" fmla="*/ 0 w 6"/>
                <a:gd name="T5" fmla="*/ 0 h 5"/>
                <a:gd name="T6" fmla="*/ 6 w 6"/>
                <a:gd name="T7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5">
                  <a:moveTo>
                    <a:pt x="6" y="3"/>
                  </a:moveTo>
                  <a:lnTo>
                    <a:pt x="2" y="5"/>
                  </a:lnTo>
                  <a:lnTo>
                    <a:pt x="0" y="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04" name="Freeform 215">
              <a:extLst>
                <a:ext uri="{FF2B5EF4-FFF2-40B4-BE49-F238E27FC236}">
                  <a16:creationId xmlns:a16="http://schemas.microsoft.com/office/drawing/2014/main" id="{9CE4EF5F-9755-4552-A165-F2B98BDAF44D}"/>
                </a:ext>
              </a:extLst>
            </p:cNvPr>
            <p:cNvSpPr>
              <a:spLocks/>
            </p:cNvSpPr>
            <p:nvPr/>
          </p:nvSpPr>
          <p:spPr bwMode="gray">
            <a:xfrm>
              <a:off x="9612801" y="5149557"/>
              <a:ext cx="62790" cy="75395"/>
            </a:xfrm>
            <a:custGeom>
              <a:avLst/>
              <a:gdLst>
                <a:gd name="T0" fmla="*/ 31 w 31"/>
                <a:gd name="T1" fmla="*/ 34 h 34"/>
                <a:gd name="T2" fmla="*/ 22 w 31"/>
                <a:gd name="T3" fmla="*/ 34 h 34"/>
                <a:gd name="T4" fmla="*/ 12 w 31"/>
                <a:gd name="T5" fmla="*/ 22 h 34"/>
                <a:gd name="T6" fmla="*/ 1 w 31"/>
                <a:gd name="T7" fmla="*/ 10 h 34"/>
                <a:gd name="T8" fmla="*/ 0 w 31"/>
                <a:gd name="T9" fmla="*/ 0 h 34"/>
                <a:gd name="T10" fmla="*/ 7 w 31"/>
                <a:gd name="T11" fmla="*/ 8 h 34"/>
                <a:gd name="T12" fmla="*/ 15 w 31"/>
                <a:gd name="T13" fmla="*/ 17 h 34"/>
                <a:gd name="T14" fmla="*/ 24 w 31"/>
                <a:gd name="T15" fmla="*/ 25 h 34"/>
                <a:gd name="T16" fmla="*/ 31 w 31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4">
                  <a:moveTo>
                    <a:pt x="31" y="34"/>
                  </a:moveTo>
                  <a:lnTo>
                    <a:pt x="22" y="34"/>
                  </a:lnTo>
                  <a:lnTo>
                    <a:pt x="12" y="22"/>
                  </a:lnTo>
                  <a:lnTo>
                    <a:pt x="1" y="10"/>
                  </a:lnTo>
                  <a:lnTo>
                    <a:pt x="0" y="0"/>
                  </a:lnTo>
                  <a:lnTo>
                    <a:pt x="7" y="8"/>
                  </a:lnTo>
                  <a:lnTo>
                    <a:pt x="15" y="17"/>
                  </a:lnTo>
                  <a:lnTo>
                    <a:pt x="24" y="25"/>
                  </a:lnTo>
                  <a:lnTo>
                    <a:pt x="31" y="34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09" name="Freeform 220">
              <a:extLst>
                <a:ext uri="{FF2B5EF4-FFF2-40B4-BE49-F238E27FC236}">
                  <a16:creationId xmlns:a16="http://schemas.microsoft.com/office/drawing/2014/main" id="{AD3A5203-8118-4516-B390-D4B2EC6C3E79}"/>
                </a:ext>
              </a:extLst>
            </p:cNvPr>
            <p:cNvSpPr>
              <a:spLocks/>
            </p:cNvSpPr>
            <p:nvPr/>
          </p:nvSpPr>
          <p:spPr bwMode="gray">
            <a:xfrm>
              <a:off x="9544302" y="4760682"/>
              <a:ext cx="34249" cy="27777"/>
            </a:xfrm>
            <a:custGeom>
              <a:avLst/>
              <a:gdLst>
                <a:gd name="T0" fmla="*/ 16 w 16"/>
                <a:gd name="T1" fmla="*/ 11 h 11"/>
                <a:gd name="T2" fmla="*/ 16 w 16"/>
                <a:gd name="T3" fmla="*/ 9 h 11"/>
                <a:gd name="T4" fmla="*/ 3 w 16"/>
                <a:gd name="T5" fmla="*/ 0 h 11"/>
                <a:gd name="T6" fmla="*/ 0 w 16"/>
                <a:gd name="T7" fmla="*/ 5 h 11"/>
                <a:gd name="T8" fmla="*/ 16 w 16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1">
                  <a:moveTo>
                    <a:pt x="16" y="11"/>
                  </a:moveTo>
                  <a:lnTo>
                    <a:pt x="16" y="9"/>
                  </a:lnTo>
                  <a:lnTo>
                    <a:pt x="3" y="0"/>
                  </a:lnTo>
                  <a:lnTo>
                    <a:pt x="0" y="5"/>
                  </a:lnTo>
                  <a:lnTo>
                    <a:pt x="16" y="1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10" name="Freeform 221">
              <a:extLst>
                <a:ext uri="{FF2B5EF4-FFF2-40B4-BE49-F238E27FC236}">
                  <a16:creationId xmlns:a16="http://schemas.microsoft.com/office/drawing/2014/main" id="{41036C8F-27DD-410E-AE96-9D68D8BCFC09}"/>
                </a:ext>
              </a:extLst>
            </p:cNvPr>
            <p:cNvSpPr>
              <a:spLocks/>
            </p:cNvSpPr>
            <p:nvPr/>
          </p:nvSpPr>
          <p:spPr bwMode="gray">
            <a:xfrm>
              <a:off x="9458679" y="4669416"/>
              <a:ext cx="26639" cy="25793"/>
            </a:xfrm>
            <a:custGeom>
              <a:avLst/>
              <a:gdLst>
                <a:gd name="T0" fmla="*/ 0 w 12"/>
                <a:gd name="T1" fmla="*/ 0 h 12"/>
                <a:gd name="T2" fmla="*/ 12 w 12"/>
                <a:gd name="T3" fmla="*/ 12 h 12"/>
                <a:gd name="T4" fmla="*/ 3 w 12"/>
                <a:gd name="T5" fmla="*/ 8 h 12"/>
                <a:gd name="T6" fmla="*/ 0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lnTo>
                    <a:pt x="12" y="12"/>
                  </a:lnTo>
                  <a:lnTo>
                    <a:pt x="3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11" name="Freeform 222">
              <a:extLst>
                <a:ext uri="{FF2B5EF4-FFF2-40B4-BE49-F238E27FC236}">
                  <a16:creationId xmlns:a16="http://schemas.microsoft.com/office/drawing/2014/main" id="{513A493C-26AC-4FBC-9852-5E071211A7CE}"/>
                </a:ext>
              </a:extLst>
            </p:cNvPr>
            <p:cNvSpPr>
              <a:spLocks/>
            </p:cNvSpPr>
            <p:nvPr/>
          </p:nvSpPr>
          <p:spPr bwMode="gray">
            <a:xfrm>
              <a:off x="9595674" y="4796396"/>
              <a:ext cx="24735" cy="21825"/>
            </a:xfrm>
            <a:custGeom>
              <a:avLst/>
              <a:gdLst>
                <a:gd name="T0" fmla="*/ 12 w 12"/>
                <a:gd name="T1" fmla="*/ 10 h 10"/>
                <a:gd name="T2" fmla="*/ 1 w 12"/>
                <a:gd name="T3" fmla="*/ 4 h 10"/>
                <a:gd name="T4" fmla="*/ 0 w 12"/>
                <a:gd name="T5" fmla="*/ 0 h 10"/>
                <a:gd name="T6" fmla="*/ 12 w 12"/>
                <a:gd name="T7" fmla="*/ 8 h 10"/>
                <a:gd name="T8" fmla="*/ 12 w 12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12" y="10"/>
                  </a:moveTo>
                  <a:lnTo>
                    <a:pt x="1" y="4"/>
                  </a:lnTo>
                  <a:lnTo>
                    <a:pt x="0" y="0"/>
                  </a:lnTo>
                  <a:lnTo>
                    <a:pt x="12" y="8"/>
                  </a:lnTo>
                  <a:lnTo>
                    <a:pt x="12" y="1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12" name="Freeform 223">
              <a:extLst>
                <a:ext uri="{FF2B5EF4-FFF2-40B4-BE49-F238E27FC236}">
                  <a16:creationId xmlns:a16="http://schemas.microsoft.com/office/drawing/2014/main" id="{1F628A54-658E-4D32-ACEE-197A03172D83}"/>
                </a:ext>
              </a:extLst>
            </p:cNvPr>
            <p:cNvSpPr>
              <a:spLocks/>
            </p:cNvSpPr>
            <p:nvPr/>
          </p:nvSpPr>
          <p:spPr bwMode="gray">
            <a:xfrm>
              <a:off x="9481511" y="4717033"/>
              <a:ext cx="11418" cy="17858"/>
            </a:xfrm>
            <a:custGeom>
              <a:avLst/>
              <a:gdLst>
                <a:gd name="T0" fmla="*/ 7 w 7"/>
                <a:gd name="T1" fmla="*/ 9 h 9"/>
                <a:gd name="T2" fmla="*/ 5 w 7"/>
                <a:gd name="T3" fmla="*/ 0 h 9"/>
                <a:gd name="T4" fmla="*/ 0 w 7"/>
                <a:gd name="T5" fmla="*/ 4 h 9"/>
                <a:gd name="T6" fmla="*/ 4 w 7"/>
                <a:gd name="T7" fmla="*/ 5 h 9"/>
                <a:gd name="T8" fmla="*/ 7 w 7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7" y="9"/>
                  </a:moveTo>
                  <a:lnTo>
                    <a:pt x="5" y="0"/>
                  </a:lnTo>
                  <a:lnTo>
                    <a:pt x="0" y="4"/>
                  </a:lnTo>
                  <a:lnTo>
                    <a:pt x="4" y="5"/>
                  </a:lnTo>
                  <a:lnTo>
                    <a:pt x="7" y="9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13" name="Freeform 224">
              <a:extLst>
                <a:ext uri="{FF2B5EF4-FFF2-40B4-BE49-F238E27FC236}">
                  <a16:creationId xmlns:a16="http://schemas.microsoft.com/office/drawing/2014/main" id="{01B889F8-168A-4CE8-9119-8A221EF0668F}"/>
                </a:ext>
              </a:extLst>
            </p:cNvPr>
            <p:cNvSpPr>
              <a:spLocks/>
            </p:cNvSpPr>
            <p:nvPr/>
          </p:nvSpPr>
          <p:spPr bwMode="gray">
            <a:xfrm>
              <a:off x="9582357" y="4730922"/>
              <a:ext cx="13319" cy="43648"/>
            </a:xfrm>
            <a:custGeom>
              <a:avLst/>
              <a:gdLst>
                <a:gd name="T0" fmla="*/ 0 w 6"/>
                <a:gd name="T1" fmla="*/ 0 h 21"/>
                <a:gd name="T2" fmla="*/ 6 w 6"/>
                <a:gd name="T3" fmla="*/ 21 h 21"/>
                <a:gd name="T4" fmla="*/ 0 w 6"/>
                <a:gd name="T5" fmla="*/ 5 h 21"/>
                <a:gd name="T6" fmla="*/ 0 w 6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1">
                  <a:moveTo>
                    <a:pt x="0" y="0"/>
                  </a:moveTo>
                  <a:lnTo>
                    <a:pt x="6" y="21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14" name="Freeform 225">
              <a:extLst>
                <a:ext uri="{FF2B5EF4-FFF2-40B4-BE49-F238E27FC236}">
                  <a16:creationId xmlns:a16="http://schemas.microsoft.com/office/drawing/2014/main" id="{6B19A0A8-9F7B-4265-8B69-7DCB900B6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9519565" y="4703145"/>
              <a:ext cx="38054" cy="35712"/>
            </a:xfrm>
            <a:custGeom>
              <a:avLst/>
              <a:gdLst>
                <a:gd name="T0" fmla="*/ 16 w 17"/>
                <a:gd name="T1" fmla="*/ 16 h 16"/>
                <a:gd name="T2" fmla="*/ 17 w 17"/>
                <a:gd name="T3" fmla="*/ 16 h 16"/>
                <a:gd name="T4" fmla="*/ 9 w 17"/>
                <a:gd name="T5" fmla="*/ 8 h 16"/>
                <a:gd name="T6" fmla="*/ 0 w 17"/>
                <a:gd name="T7" fmla="*/ 0 h 16"/>
                <a:gd name="T8" fmla="*/ 8 w 17"/>
                <a:gd name="T9" fmla="*/ 8 h 16"/>
                <a:gd name="T10" fmla="*/ 16 w 17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6" y="16"/>
                  </a:moveTo>
                  <a:lnTo>
                    <a:pt x="17" y="16"/>
                  </a:lnTo>
                  <a:lnTo>
                    <a:pt x="9" y="8"/>
                  </a:lnTo>
                  <a:lnTo>
                    <a:pt x="0" y="0"/>
                  </a:lnTo>
                  <a:lnTo>
                    <a:pt x="8" y="8"/>
                  </a:lnTo>
                  <a:lnTo>
                    <a:pt x="16" y="1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15" name="Freeform 227">
              <a:extLst>
                <a:ext uri="{FF2B5EF4-FFF2-40B4-BE49-F238E27FC236}">
                  <a16:creationId xmlns:a16="http://schemas.microsoft.com/office/drawing/2014/main" id="{77777E37-5C82-4AEC-B239-1FBC2D2DA13B}"/>
                </a:ext>
              </a:extLst>
            </p:cNvPr>
            <p:cNvSpPr>
              <a:spLocks/>
            </p:cNvSpPr>
            <p:nvPr/>
          </p:nvSpPr>
          <p:spPr bwMode="gray">
            <a:xfrm>
              <a:off x="9721255" y="4959087"/>
              <a:ext cx="17125" cy="27777"/>
            </a:xfrm>
            <a:custGeom>
              <a:avLst/>
              <a:gdLst>
                <a:gd name="T0" fmla="*/ 6 w 8"/>
                <a:gd name="T1" fmla="*/ 12 h 12"/>
                <a:gd name="T2" fmla="*/ 8 w 8"/>
                <a:gd name="T3" fmla="*/ 4 h 12"/>
                <a:gd name="T4" fmla="*/ 6 w 8"/>
                <a:gd name="T5" fmla="*/ 4 h 12"/>
                <a:gd name="T6" fmla="*/ 3 w 8"/>
                <a:gd name="T7" fmla="*/ 0 h 12"/>
                <a:gd name="T8" fmla="*/ 0 w 8"/>
                <a:gd name="T9" fmla="*/ 12 h 12"/>
                <a:gd name="T10" fmla="*/ 6 w 8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">
                  <a:moveTo>
                    <a:pt x="6" y="12"/>
                  </a:moveTo>
                  <a:lnTo>
                    <a:pt x="8" y="4"/>
                  </a:lnTo>
                  <a:lnTo>
                    <a:pt x="6" y="4"/>
                  </a:lnTo>
                  <a:lnTo>
                    <a:pt x="3" y="0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16" name="Freeform 228">
              <a:extLst>
                <a:ext uri="{FF2B5EF4-FFF2-40B4-BE49-F238E27FC236}">
                  <a16:creationId xmlns:a16="http://schemas.microsoft.com/office/drawing/2014/main" id="{831FCB75-7780-4FD4-913C-36D557BF0DA6}"/>
                </a:ext>
              </a:extLst>
            </p:cNvPr>
            <p:cNvSpPr>
              <a:spLocks/>
            </p:cNvSpPr>
            <p:nvPr/>
          </p:nvSpPr>
          <p:spPr bwMode="gray">
            <a:xfrm>
              <a:off x="9734575" y="5000753"/>
              <a:ext cx="13319" cy="21825"/>
            </a:xfrm>
            <a:custGeom>
              <a:avLst/>
              <a:gdLst>
                <a:gd name="T0" fmla="*/ 6 w 6"/>
                <a:gd name="T1" fmla="*/ 9 h 9"/>
                <a:gd name="T2" fmla="*/ 2 w 6"/>
                <a:gd name="T3" fmla="*/ 8 h 9"/>
                <a:gd name="T4" fmla="*/ 0 w 6"/>
                <a:gd name="T5" fmla="*/ 0 h 9"/>
                <a:gd name="T6" fmla="*/ 6 w 6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9">
                  <a:moveTo>
                    <a:pt x="6" y="9"/>
                  </a:moveTo>
                  <a:lnTo>
                    <a:pt x="2" y="8"/>
                  </a:lnTo>
                  <a:lnTo>
                    <a:pt x="0" y="0"/>
                  </a:lnTo>
                  <a:lnTo>
                    <a:pt x="6" y="9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17" name="Freeform 229">
              <a:extLst>
                <a:ext uri="{FF2B5EF4-FFF2-40B4-BE49-F238E27FC236}">
                  <a16:creationId xmlns:a16="http://schemas.microsoft.com/office/drawing/2014/main" id="{6D7EA2D8-4691-4C59-BACD-BEFCCE3A3F1A}"/>
                </a:ext>
              </a:extLst>
            </p:cNvPr>
            <p:cNvSpPr>
              <a:spLocks/>
            </p:cNvSpPr>
            <p:nvPr/>
          </p:nvSpPr>
          <p:spPr bwMode="gray">
            <a:xfrm>
              <a:off x="9761211" y="5008690"/>
              <a:ext cx="3805" cy="3967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3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lnTo>
                    <a:pt x="0" y="4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18" name="Freeform 230">
              <a:extLst>
                <a:ext uri="{FF2B5EF4-FFF2-40B4-BE49-F238E27FC236}">
                  <a16:creationId xmlns:a16="http://schemas.microsoft.com/office/drawing/2014/main" id="{EF321755-88FC-4C7D-8D19-9D8F8BD61863}"/>
                </a:ext>
              </a:extLst>
            </p:cNvPr>
            <p:cNvSpPr>
              <a:spLocks/>
            </p:cNvSpPr>
            <p:nvPr/>
          </p:nvSpPr>
          <p:spPr bwMode="gray">
            <a:xfrm>
              <a:off x="9768824" y="5095987"/>
              <a:ext cx="3805" cy="9919"/>
            </a:xfrm>
            <a:custGeom>
              <a:avLst/>
              <a:gdLst>
                <a:gd name="T0" fmla="*/ 2 w 2"/>
                <a:gd name="T1" fmla="*/ 2 h 5"/>
                <a:gd name="T2" fmla="*/ 1 w 2"/>
                <a:gd name="T3" fmla="*/ 0 h 5"/>
                <a:gd name="T4" fmla="*/ 0 w 2"/>
                <a:gd name="T5" fmla="*/ 5 h 5"/>
                <a:gd name="T6" fmla="*/ 2 w 2"/>
                <a:gd name="T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2" y="2"/>
                  </a:moveTo>
                  <a:lnTo>
                    <a:pt x="1" y="0"/>
                  </a:lnTo>
                  <a:lnTo>
                    <a:pt x="0" y="5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grpSp>
        <p:nvGrpSpPr>
          <p:cNvPr id="457" name="Group 456">
            <a:extLst>
              <a:ext uri="{FF2B5EF4-FFF2-40B4-BE49-F238E27FC236}">
                <a16:creationId xmlns:a16="http://schemas.microsoft.com/office/drawing/2014/main" id="{E245062C-1B51-40F5-9A23-41F07A53CCCA}"/>
              </a:ext>
            </a:extLst>
          </p:cNvPr>
          <p:cNvGrpSpPr/>
          <p:nvPr/>
        </p:nvGrpSpPr>
        <p:grpSpPr>
          <a:xfrm>
            <a:off x="4365079" y="4040471"/>
            <a:ext cx="2621958" cy="1630892"/>
            <a:chOff x="4365079" y="4040471"/>
            <a:chExt cx="2621958" cy="1630892"/>
          </a:xfrm>
        </p:grpSpPr>
        <p:sp>
          <p:nvSpPr>
            <p:cNvPr id="88" name="Freeform 92">
              <a:extLst>
                <a:ext uri="{FF2B5EF4-FFF2-40B4-BE49-F238E27FC236}">
                  <a16:creationId xmlns:a16="http://schemas.microsoft.com/office/drawing/2014/main" id="{88E9CF33-BD67-413B-8A00-A94F059D4F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2295" y="4469027"/>
              <a:ext cx="58984" cy="61504"/>
            </a:xfrm>
            <a:custGeom>
              <a:avLst/>
              <a:gdLst>
                <a:gd name="T0" fmla="*/ 10 w 28"/>
                <a:gd name="T1" fmla="*/ 6 h 26"/>
                <a:gd name="T2" fmla="*/ 4 w 28"/>
                <a:gd name="T3" fmla="*/ 17 h 26"/>
                <a:gd name="T4" fmla="*/ 0 w 28"/>
                <a:gd name="T5" fmla="*/ 26 h 26"/>
                <a:gd name="T6" fmla="*/ 2 w 28"/>
                <a:gd name="T7" fmla="*/ 26 h 26"/>
                <a:gd name="T8" fmla="*/ 3 w 28"/>
                <a:gd name="T9" fmla="*/ 26 h 26"/>
                <a:gd name="T10" fmla="*/ 15 w 28"/>
                <a:gd name="T11" fmla="*/ 26 h 26"/>
                <a:gd name="T12" fmla="*/ 16 w 28"/>
                <a:gd name="T13" fmla="*/ 20 h 26"/>
                <a:gd name="T14" fmla="*/ 24 w 28"/>
                <a:gd name="T15" fmla="*/ 21 h 26"/>
                <a:gd name="T16" fmla="*/ 28 w 28"/>
                <a:gd name="T17" fmla="*/ 20 h 26"/>
                <a:gd name="T18" fmla="*/ 23 w 28"/>
                <a:gd name="T19" fmla="*/ 0 h 26"/>
                <a:gd name="T20" fmla="*/ 15 w 28"/>
                <a:gd name="T21" fmla="*/ 6 h 26"/>
                <a:gd name="T22" fmla="*/ 10 w 28"/>
                <a:gd name="T23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6">
                  <a:moveTo>
                    <a:pt x="10" y="6"/>
                  </a:moveTo>
                  <a:lnTo>
                    <a:pt x="4" y="17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3" y="26"/>
                  </a:lnTo>
                  <a:lnTo>
                    <a:pt x="15" y="26"/>
                  </a:lnTo>
                  <a:lnTo>
                    <a:pt x="16" y="20"/>
                  </a:lnTo>
                  <a:lnTo>
                    <a:pt x="24" y="21"/>
                  </a:lnTo>
                  <a:lnTo>
                    <a:pt x="28" y="20"/>
                  </a:lnTo>
                  <a:lnTo>
                    <a:pt x="23" y="0"/>
                  </a:lnTo>
                  <a:lnTo>
                    <a:pt x="15" y="6"/>
                  </a:lnTo>
                  <a:lnTo>
                    <a:pt x="10" y="6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89" name="Freeform 93">
              <a:extLst>
                <a:ext uri="{FF2B5EF4-FFF2-40B4-BE49-F238E27FC236}">
                  <a16:creationId xmlns:a16="http://schemas.microsoft.com/office/drawing/2014/main" id="{FE2A2590-5FD2-47F0-BA30-FA2459A3EF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7522" y="4363872"/>
              <a:ext cx="5707" cy="3967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0" name="Freeform 94">
              <a:extLst>
                <a:ext uri="{FF2B5EF4-FFF2-40B4-BE49-F238E27FC236}">
                  <a16:creationId xmlns:a16="http://schemas.microsoft.com/office/drawing/2014/main" id="{58EA8815-EB00-4759-BA35-A7362977B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6983232" y="4447202"/>
              <a:ext cx="3805" cy="3967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1 w 2"/>
                <a:gd name="T5" fmla="*/ 1 h 1"/>
                <a:gd name="T6" fmla="*/ 0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lnTo>
                    <a:pt x="2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1" name="Freeform 95">
              <a:extLst>
                <a:ext uri="{FF2B5EF4-FFF2-40B4-BE49-F238E27FC236}">
                  <a16:creationId xmlns:a16="http://schemas.microsoft.com/office/drawing/2014/main" id="{5D3D5089-E96C-4899-8745-401809F93E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7522" y="4429346"/>
              <a:ext cx="5707" cy="5952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2" name="Freeform 96">
              <a:extLst>
                <a:ext uri="{FF2B5EF4-FFF2-40B4-BE49-F238E27FC236}">
                  <a16:creationId xmlns:a16="http://schemas.microsoft.com/office/drawing/2014/main" id="{5C3C0D56-1369-4503-9947-9603BD5EA425}"/>
                </a:ext>
              </a:extLst>
            </p:cNvPr>
            <p:cNvSpPr>
              <a:spLocks/>
            </p:cNvSpPr>
            <p:nvPr/>
          </p:nvSpPr>
          <p:spPr bwMode="gray">
            <a:xfrm>
              <a:off x="6966106" y="4457121"/>
              <a:ext cx="3805" cy="3967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0 w 1"/>
                <a:gd name="T5" fmla="*/ 0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3" name="Freeform 97">
              <a:extLst>
                <a:ext uri="{FF2B5EF4-FFF2-40B4-BE49-F238E27FC236}">
                  <a16:creationId xmlns:a16="http://schemas.microsoft.com/office/drawing/2014/main" id="{1F5BD1A8-1914-4EB4-892F-4B4C0C15EC85}"/>
                </a:ext>
              </a:extLst>
            </p:cNvPr>
            <p:cNvSpPr>
              <a:spLocks/>
            </p:cNvSpPr>
            <p:nvPr/>
          </p:nvSpPr>
          <p:spPr bwMode="gray">
            <a:xfrm>
              <a:off x="6969911" y="4465060"/>
              <a:ext cx="3805" cy="3967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4" name="Freeform 98">
              <a:extLst>
                <a:ext uri="{FF2B5EF4-FFF2-40B4-BE49-F238E27FC236}">
                  <a16:creationId xmlns:a16="http://schemas.microsoft.com/office/drawing/2014/main" id="{6B02C323-EBD8-48A0-A7FA-48865372EAE7}"/>
                </a:ext>
              </a:extLst>
            </p:cNvPr>
            <p:cNvSpPr>
              <a:spLocks/>
            </p:cNvSpPr>
            <p:nvPr/>
          </p:nvSpPr>
          <p:spPr bwMode="gray">
            <a:xfrm>
              <a:off x="6966106" y="4230940"/>
              <a:ext cx="3805" cy="3967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5" name="Freeform 99">
              <a:extLst>
                <a:ext uri="{FF2B5EF4-FFF2-40B4-BE49-F238E27FC236}">
                  <a16:creationId xmlns:a16="http://schemas.microsoft.com/office/drawing/2014/main" id="{E031FDEF-0360-4233-9CC2-84CA68655292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3718" y="4457121"/>
              <a:ext cx="3805" cy="396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6" name="Freeform 100">
              <a:extLst>
                <a:ext uri="{FF2B5EF4-FFF2-40B4-BE49-F238E27FC236}">
                  <a16:creationId xmlns:a16="http://schemas.microsoft.com/office/drawing/2014/main" id="{42C8C168-7409-409B-AB03-F39E32E8857F}"/>
                </a:ext>
              </a:extLst>
            </p:cNvPr>
            <p:cNvSpPr>
              <a:spLocks/>
            </p:cNvSpPr>
            <p:nvPr/>
          </p:nvSpPr>
          <p:spPr bwMode="gray">
            <a:xfrm>
              <a:off x="6983232" y="4359903"/>
              <a:ext cx="3805" cy="3967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7" name="Freeform 101">
              <a:extLst>
                <a:ext uri="{FF2B5EF4-FFF2-40B4-BE49-F238E27FC236}">
                  <a16:creationId xmlns:a16="http://schemas.microsoft.com/office/drawing/2014/main" id="{EC73A52F-0F7C-401D-8275-54519C1C74F2}"/>
                </a:ext>
              </a:extLst>
            </p:cNvPr>
            <p:cNvSpPr>
              <a:spLocks/>
            </p:cNvSpPr>
            <p:nvPr/>
          </p:nvSpPr>
          <p:spPr bwMode="gray">
            <a:xfrm>
              <a:off x="6962301" y="4187292"/>
              <a:ext cx="3805" cy="3967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8" name="Freeform 102">
              <a:extLst>
                <a:ext uri="{FF2B5EF4-FFF2-40B4-BE49-F238E27FC236}">
                  <a16:creationId xmlns:a16="http://schemas.microsoft.com/office/drawing/2014/main" id="{F49330B2-E2DF-4136-9472-5601EF686D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969911" y="4371807"/>
              <a:ext cx="3805" cy="5952"/>
            </a:xfrm>
            <a:custGeom>
              <a:avLst/>
              <a:gdLst>
                <a:gd name="T0" fmla="*/ 1 w 1"/>
                <a:gd name="T1" fmla="*/ 1 h 3"/>
                <a:gd name="T2" fmla="*/ 0 w 1"/>
                <a:gd name="T3" fmla="*/ 0 h 3"/>
                <a:gd name="T4" fmla="*/ 0 w 1"/>
                <a:gd name="T5" fmla="*/ 3 h 3"/>
                <a:gd name="T6" fmla="*/ 1 w 1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1" y="1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9" name="Freeform 103">
              <a:extLst>
                <a:ext uri="{FF2B5EF4-FFF2-40B4-BE49-F238E27FC236}">
                  <a16:creationId xmlns:a16="http://schemas.microsoft.com/office/drawing/2014/main" id="{D687AC73-5564-47AC-A39B-3AF88716A94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7522" y="4349984"/>
              <a:ext cx="5707" cy="3967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0 w 2"/>
                <a:gd name="T5" fmla="*/ 1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0" name="Freeform 104">
              <a:extLst>
                <a:ext uri="{FF2B5EF4-FFF2-40B4-BE49-F238E27FC236}">
                  <a16:creationId xmlns:a16="http://schemas.microsoft.com/office/drawing/2014/main" id="{720642A1-0BB1-454C-BF33-30BB5D5A27A4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3718" y="4230940"/>
              <a:ext cx="3805" cy="3967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0 h 1"/>
                <a:gd name="T4" fmla="*/ 0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1" name="Freeform 105">
              <a:extLst>
                <a:ext uri="{FF2B5EF4-FFF2-40B4-BE49-F238E27FC236}">
                  <a16:creationId xmlns:a16="http://schemas.microsoft.com/office/drawing/2014/main" id="{C51CFE6C-F0C6-4F96-B254-F7BD7C3FE504}"/>
                </a:ext>
              </a:extLst>
            </p:cNvPr>
            <p:cNvSpPr>
              <a:spLocks/>
            </p:cNvSpPr>
            <p:nvPr/>
          </p:nvSpPr>
          <p:spPr bwMode="gray">
            <a:xfrm>
              <a:off x="6956594" y="4195226"/>
              <a:ext cx="9514" cy="5952"/>
            </a:xfrm>
            <a:custGeom>
              <a:avLst/>
              <a:gdLst>
                <a:gd name="T0" fmla="*/ 2 w 2"/>
                <a:gd name="T1" fmla="*/ 1 h 1"/>
                <a:gd name="T2" fmla="*/ 1 w 2"/>
                <a:gd name="T3" fmla="*/ 0 h 1"/>
                <a:gd name="T4" fmla="*/ 0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2" name="Freeform 106">
              <a:extLst>
                <a:ext uri="{FF2B5EF4-FFF2-40B4-BE49-F238E27FC236}">
                  <a16:creationId xmlns:a16="http://schemas.microsoft.com/office/drawing/2014/main" id="{C3489BA1-F907-40A5-90CA-126946D0AC07}"/>
                </a:ext>
              </a:extLst>
            </p:cNvPr>
            <p:cNvSpPr>
              <a:spLocks/>
            </p:cNvSpPr>
            <p:nvPr/>
          </p:nvSpPr>
          <p:spPr bwMode="gray">
            <a:xfrm>
              <a:off x="6952788" y="4338078"/>
              <a:ext cx="3805" cy="3967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3" name="Freeform 107">
              <a:extLst>
                <a:ext uri="{FF2B5EF4-FFF2-40B4-BE49-F238E27FC236}">
                  <a16:creationId xmlns:a16="http://schemas.microsoft.com/office/drawing/2014/main" id="{341058DE-B35D-4084-B6F4-176C18D05688}"/>
                </a:ext>
              </a:extLst>
            </p:cNvPr>
            <p:cNvSpPr>
              <a:spLocks/>
            </p:cNvSpPr>
            <p:nvPr/>
          </p:nvSpPr>
          <p:spPr bwMode="gray">
            <a:xfrm>
              <a:off x="6956594" y="4183323"/>
              <a:ext cx="5707" cy="3967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4" name="Freeform 108">
              <a:extLst>
                <a:ext uri="{FF2B5EF4-FFF2-40B4-BE49-F238E27FC236}">
                  <a16:creationId xmlns:a16="http://schemas.microsoft.com/office/drawing/2014/main" id="{C4E95B9C-58AF-411C-83C2-A1B0E3E1B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3718" y="4328159"/>
              <a:ext cx="3805" cy="396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5" name="Freeform 109">
              <a:extLst>
                <a:ext uri="{FF2B5EF4-FFF2-40B4-BE49-F238E27FC236}">
                  <a16:creationId xmlns:a16="http://schemas.microsoft.com/office/drawing/2014/main" id="{91FBFCB8-10BF-4EAD-A7D4-C845E57E819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7522" y="4411490"/>
              <a:ext cx="5707" cy="5952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2 h 2"/>
                <a:gd name="T4" fmla="*/ 0 w 1"/>
                <a:gd name="T5" fmla="*/ 2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6" name="Freeform 110">
              <a:extLst>
                <a:ext uri="{FF2B5EF4-FFF2-40B4-BE49-F238E27FC236}">
                  <a16:creationId xmlns:a16="http://schemas.microsoft.com/office/drawing/2014/main" id="{655138DA-5E6C-4FE3-BBBA-E94E484BD871}"/>
                </a:ext>
              </a:extLst>
            </p:cNvPr>
            <p:cNvSpPr>
              <a:spLocks/>
            </p:cNvSpPr>
            <p:nvPr/>
          </p:nvSpPr>
          <p:spPr bwMode="gray">
            <a:xfrm>
              <a:off x="6956594" y="4187292"/>
              <a:ext cx="5707" cy="3967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2 h 2"/>
                <a:gd name="T4" fmla="*/ 0 w 1"/>
                <a:gd name="T5" fmla="*/ 2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7" name="Freeform 111">
              <a:extLst>
                <a:ext uri="{FF2B5EF4-FFF2-40B4-BE49-F238E27FC236}">
                  <a16:creationId xmlns:a16="http://schemas.microsoft.com/office/drawing/2014/main" id="{7F25B024-C461-4D78-A812-3EEC6B08E8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3718" y="4346014"/>
              <a:ext cx="3805" cy="396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8" name="Freeform 112">
              <a:extLst>
                <a:ext uri="{FF2B5EF4-FFF2-40B4-BE49-F238E27FC236}">
                  <a16:creationId xmlns:a16="http://schemas.microsoft.com/office/drawing/2014/main" id="{0F03FF93-80C1-46CD-942F-4AAD1126B6B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3718" y="4270621"/>
              <a:ext cx="3805" cy="3967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09" name="Freeform 113">
              <a:extLst>
                <a:ext uri="{FF2B5EF4-FFF2-40B4-BE49-F238E27FC236}">
                  <a16:creationId xmlns:a16="http://schemas.microsoft.com/office/drawing/2014/main" id="{F9618594-4AB6-4E10-8984-E92748BDB2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27635" y="4597990"/>
              <a:ext cx="3805" cy="3967"/>
            </a:xfrm>
            <a:custGeom>
              <a:avLst/>
              <a:gdLst>
                <a:gd name="T0" fmla="*/ 2 w 2"/>
                <a:gd name="T1" fmla="*/ 3 h 3"/>
                <a:gd name="T2" fmla="*/ 1 w 2"/>
                <a:gd name="T3" fmla="*/ 0 h 3"/>
                <a:gd name="T4" fmla="*/ 0 w 2"/>
                <a:gd name="T5" fmla="*/ 0 h 3"/>
                <a:gd name="T6" fmla="*/ 2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10" name="Freeform 114">
              <a:extLst>
                <a:ext uri="{FF2B5EF4-FFF2-40B4-BE49-F238E27FC236}">
                  <a16:creationId xmlns:a16="http://schemas.microsoft.com/office/drawing/2014/main" id="{8E3FA9C6-E200-402D-BA5F-218F85E11C5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47935" y="4764649"/>
              <a:ext cx="9514" cy="5952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0 w 4"/>
                <a:gd name="T5" fmla="*/ 1 h 1"/>
                <a:gd name="T6" fmla="*/ 4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18" name="Freeform 122">
              <a:extLst>
                <a:ext uri="{FF2B5EF4-FFF2-40B4-BE49-F238E27FC236}">
                  <a16:creationId xmlns:a16="http://schemas.microsoft.com/office/drawing/2014/main" id="{30771CD6-0026-4BFA-A255-E3819AB6DBF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100" y="4518628"/>
              <a:ext cx="55179" cy="75395"/>
            </a:xfrm>
            <a:custGeom>
              <a:avLst/>
              <a:gdLst>
                <a:gd name="T0" fmla="*/ 22 w 26"/>
                <a:gd name="T1" fmla="*/ 10 h 35"/>
                <a:gd name="T2" fmla="*/ 22 w 26"/>
                <a:gd name="T3" fmla="*/ 1 h 35"/>
                <a:gd name="T4" fmla="*/ 14 w 26"/>
                <a:gd name="T5" fmla="*/ 0 h 35"/>
                <a:gd name="T6" fmla="*/ 13 w 26"/>
                <a:gd name="T7" fmla="*/ 6 h 35"/>
                <a:gd name="T8" fmla="*/ 1 w 26"/>
                <a:gd name="T9" fmla="*/ 6 h 35"/>
                <a:gd name="T10" fmla="*/ 0 w 26"/>
                <a:gd name="T11" fmla="*/ 7 h 35"/>
                <a:gd name="T12" fmla="*/ 1 w 26"/>
                <a:gd name="T13" fmla="*/ 9 h 35"/>
                <a:gd name="T14" fmla="*/ 3 w 26"/>
                <a:gd name="T15" fmla="*/ 22 h 35"/>
                <a:gd name="T16" fmla="*/ 6 w 26"/>
                <a:gd name="T17" fmla="*/ 35 h 35"/>
                <a:gd name="T18" fmla="*/ 9 w 26"/>
                <a:gd name="T19" fmla="*/ 35 h 35"/>
                <a:gd name="T20" fmla="*/ 18 w 26"/>
                <a:gd name="T21" fmla="*/ 24 h 35"/>
                <a:gd name="T22" fmla="*/ 26 w 26"/>
                <a:gd name="T23" fmla="*/ 15 h 35"/>
                <a:gd name="T24" fmla="*/ 22 w 26"/>
                <a:gd name="T25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5">
                  <a:moveTo>
                    <a:pt x="22" y="10"/>
                  </a:moveTo>
                  <a:lnTo>
                    <a:pt x="22" y="1"/>
                  </a:lnTo>
                  <a:lnTo>
                    <a:pt x="14" y="0"/>
                  </a:lnTo>
                  <a:lnTo>
                    <a:pt x="13" y="6"/>
                  </a:lnTo>
                  <a:lnTo>
                    <a:pt x="1" y="6"/>
                  </a:lnTo>
                  <a:lnTo>
                    <a:pt x="0" y="7"/>
                  </a:lnTo>
                  <a:lnTo>
                    <a:pt x="1" y="9"/>
                  </a:lnTo>
                  <a:lnTo>
                    <a:pt x="3" y="22"/>
                  </a:lnTo>
                  <a:lnTo>
                    <a:pt x="6" y="35"/>
                  </a:lnTo>
                  <a:lnTo>
                    <a:pt x="9" y="35"/>
                  </a:lnTo>
                  <a:lnTo>
                    <a:pt x="18" y="24"/>
                  </a:lnTo>
                  <a:lnTo>
                    <a:pt x="26" y="15"/>
                  </a:lnTo>
                  <a:lnTo>
                    <a:pt x="22" y="1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19" name="Freeform 123">
              <a:extLst>
                <a:ext uri="{FF2B5EF4-FFF2-40B4-BE49-F238E27FC236}">
                  <a16:creationId xmlns:a16="http://schemas.microsoft.com/office/drawing/2014/main" id="{4F641D18-9BA8-4E1F-B795-CCD9896E13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97628" y="4306333"/>
              <a:ext cx="224523" cy="305545"/>
            </a:xfrm>
            <a:custGeom>
              <a:avLst/>
              <a:gdLst>
                <a:gd name="T0" fmla="*/ 20 w 106"/>
                <a:gd name="T1" fmla="*/ 98 h 138"/>
                <a:gd name="T2" fmla="*/ 6 w 106"/>
                <a:gd name="T3" fmla="*/ 99 h 138"/>
                <a:gd name="T4" fmla="*/ 8 w 106"/>
                <a:gd name="T5" fmla="*/ 102 h 138"/>
                <a:gd name="T6" fmla="*/ 9 w 106"/>
                <a:gd name="T7" fmla="*/ 107 h 138"/>
                <a:gd name="T8" fmla="*/ 11 w 106"/>
                <a:gd name="T9" fmla="*/ 114 h 138"/>
                <a:gd name="T10" fmla="*/ 9 w 106"/>
                <a:gd name="T11" fmla="*/ 117 h 138"/>
                <a:gd name="T12" fmla="*/ 5 w 106"/>
                <a:gd name="T13" fmla="*/ 114 h 138"/>
                <a:gd name="T14" fmla="*/ 0 w 106"/>
                <a:gd name="T15" fmla="*/ 122 h 138"/>
                <a:gd name="T16" fmla="*/ 12 w 106"/>
                <a:gd name="T17" fmla="*/ 138 h 138"/>
                <a:gd name="T18" fmla="*/ 22 w 106"/>
                <a:gd name="T19" fmla="*/ 130 h 138"/>
                <a:gd name="T20" fmla="*/ 28 w 106"/>
                <a:gd name="T21" fmla="*/ 132 h 138"/>
                <a:gd name="T22" fmla="*/ 35 w 106"/>
                <a:gd name="T23" fmla="*/ 135 h 138"/>
                <a:gd name="T24" fmla="*/ 39 w 106"/>
                <a:gd name="T25" fmla="*/ 130 h 138"/>
                <a:gd name="T26" fmla="*/ 47 w 106"/>
                <a:gd name="T27" fmla="*/ 129 h 138"/>
                <a:gd name="T28" fmla="*/ 48 w 106"/>
                <a:gd name="T29" fmla="*/ 136 h 138"/>
                <a:gd name="T30" fmla="*/ 59 w 106"/>
                <a:gd name="T31" fmla="*/ 126 h 138"/>
                <a:gd name="T32" fmla="*/ 70 w 106"/>
                <a:gd name="T33" fmla="*/ 116 h 138"/>
                <a:gd name="T34" fmla="*/ 72 w 106"/>
                <a:gd name="T35" fmla="*/ 102 h 138"/>
                <a:gd name="T36" fmla="*/ 75 w 106"/>
                <a:gd name="T37" fmla="*/ 90 h 138"/>
                <a:gd name="T38" fmla="*/ 84 w 106"/>
                <a:gd name="T39" fmla="*/ 77 h 138"/>
                <a:gd name="T40" fmla="*/ 94 w 106"/>
                <a:gd name="T41" fmla="*/ 64 h 138"/>
                <a:gd name="T42" fmla="*/ 96 w 106"/>
                <a:gd name="T43" fmla="*/ 52 h 138"/>
                <a:gd name="T44" fmla="*/ 99 w 106"/>
                <a:gd name="T45" fmla="*/ 40 h 138"/>
                <a:gd name="T46" fmla="*/ 100 w 106"/>
                <a:gd name="T47" fmla="*/ 28 h 138"/>
                <a:gd name="T48" fmla="*/ 102 w 106"/>
                <a:gd name="T49" fmla="*/ 16 h 138"/>
                <a:gd name="T50" fmla="*/ 106 w 106"/>
                <a:gd name="T51" fmla="*/ 2 h 138"/>
                <a:gd name="T52" fmla="*/ 95 w 106"/>
                <a:gd name="T53" fmla="*/ 2 h 138"/>
                <a:gd name="T54" fmla="*/ 84 w 106"/>
                <a:gd name="T55" fmla="*/ 0 h 138"/>
                <a:gd name="T56" fmla="*/ 77 w 106"/>
                <a:gd name="T57" fmla="*/ 5 h 138"/>
                <a:gd name="T58" fmla="*/ 72 w 106"/>
                <a:gd name="T59" fmla="*/ 22 h 138"/>
                <a:gd name="T60" fmla="*/ 69 w 106"/>
                <a:gd name="T61" fmla="*/ 29 h 138"/>
                <a:gd name="T62" fmla="*/ 57 w 106"/>
                <a:gd name="T63" fmla="*/ 27 h 138"/>
                <a:gd name="T64" fmla="*/ 45 w 106"/>
                <a:gd name="T65" fmla="*/ 23 h 138"/>
                <a:gd name="T66" fmla="*/ 30 w 106"/>
                <a:gd name="T67" fmla="*/ 23 h 138"/>
                <a:gd name="T68" fmla="*/ 29 w 106"/>
                <a:gd name="T69" fmla="*/ 39 h 138"/>
                <a:gd name="T70" fmla="*/ 45 w 106"/>
                <a:gd name="T71" fmla="*/ 38 h 138"/>
                <a:gd name="T72" fmla="*/ 46 w 106"/>
                <a:gd name="T73" fmla="*/ 48 h 138"/>
                <a:gd name="T74" fmla="*/ 40 w 106"/>
                <a:gd name="T75" fmla="*/ 57 h 138"/>
                <a:gd name="T76" fmla="*/ 47 w 106"/>
                <a:gd name="T77" fmla="*/ 71 h 138"/>
                <a:gd name="T78" fmla="*/ 44 w 106"/>
                <a:gd name="T79" fmla="*/ 93 h 138"/>
                <a:gd name="T80" fmla="*/ 39 w 106"/>
                <a:gd name="T81" fmla="*/ 98 h 138"/>
                <a:gd name="T82" fmla="*/ 36 w 106"/>
                <a:gd name="T83" fmla="*/ 93 h 138"/>
                <a:gd name="T84" fmla="*/ 29 w 106"/>
                <a:gd name="T85" fmla="*/ 96 h 138"/>
                <a:gd name="T86" fmla="*/ 21 w 106"/>
                <a:gd name="T87" fmla="*/ 87 h 138"/>
                <a:gd name="T88" fmla="*/ 20 w 106"/>
                <a:gd name="T89" fmla="*/ 9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6" h="138">
                  <a:moveTo>
                    <a:pt x="20" y="98"/>
                  </a:moveTo>
                  <a:lnTo>
                    <a:pt x="6" y="99"/>
                  </a:lnTo>
                  <a:lnTo>
                    <a:pt x="8" y="102"/>
                  </a:lnTo>
                  <a:lnTo>
                    <a:pt x="9" y="107"/>
                  </a:lnTo>
                  <a:lnTo>
                    <a:pt x="11" y="114"/>
                  </a:lnTo>
                  <a:lnTo>
                    <a:pt x="9" y="117"/>
                  </a:lnTo>
                  <a:lnTo>
                    <a:pt x="5" y="114"/>
                  </a:lnTo>
                  <a:lnTo>
                    <a:pt x="0" y="122"/>
                  </a:lnTo>
                  <a:lnTo>
                    <a:pt x="12" y="138"/>
                  </a:lnTo>
                  <a:lnTo>
                    <a:pt x="22" y="130"/>
                  </a:lnTo>
                  <a:lnTo>
                    <a:pt x="28" y="132"/>
                  </a:lnTo>
                  <a:lnTo>
                    <a:pt x="35" y="135"/>
                  </a:lnTo>
                  <a:lnTo>
                    <a:pt x="39" y="130"/>
                  </a:lnTo>
                  <a:lnTo>
                    <a:pt x="47" y="129"/>
                  </a:lnTo>
                  <a:lnTo>
                    <a:pt x="48" y="136"/>
                  </a:lnTo>
                  <a:lnTo>
                    <a:pt x="59" y="126"/>
                  </a:lnTo>
                  <a:lnTo>
                    <a:pt x="70" y="116"/>
                  </a:lnTo>
                  <a:lnTo>
                    <a:pt x="72" y="102"/>
                  </a:lnTo>
                  <a:lnTo>
                    <a:pt x="75" y="90"/>
                  </a:lnTo>
                  <a:lnTo>
                    <a:pt x="84" y="77"/>
                  </a:lnTo>
                  <a:lnTo>
                    <a:pt x="94" y="64"/>
                  </a:lnTo>
                  <a:lnTo>
                    <a:pt x="96" y="52"/>
                  </a:lnTo>
                  <a:lnTo>
                    <a:pt x="99" y="40"/>
                  </a:lnTo>
                  <a:lnTo>
                    <a:pt x="100" y="28"/>
                  </a:lnTo>
                  <a:lnTo>
                    <a:pt x="102" y="16"/>
                  </a:lnTo>
                  <a:lnTo>
                    <a:pt x="106" y="2"/>
                  </a:lnTo>
                  <a:lnTo>
                    <a:pt x="95" y="2"/>
                  </a:lnTo>
                  <a:lnTo>
                    <a:pt x="84" y="0"/>
                  </a:lnTo>
                  <a:lnTo>
                    <a:pt x="77" y="5"/>
                  </a:lnTo>
                  <a:lnTo>
                    <a:pt x="72" y="22"/>
                  </a:lnTo>
                  <a:lnTo>
                    <a:pt x="69" y="29"/>
                  </a:lnTo>
                  <a:lnTo>
                    <a:pt x="57" y="27"/>
                  </a:lnTo>
                  <a:lnTo>
                    <a:pt x="45" y="23"/>
                  </a:lnTo>
                  <a:lnTo>
                    <a:pt x="30" y="23"/>
                  </a:lnTo>
                  <a:lnTo>
                    <a:pt x="29" y="39"/>
                  </a:lnTo>
                  <a:lnTo>
                    <a:pt x="45" y="38"/>
                  </a:lnTo>
                  <a:lnTo>
                    <a:pt x="46" y="48"/>
                  </a:lnTo>
                  <a:lnTo>
                    <a:pt x="40" y="57"/>
                  </a:lnTo>
                  <a:lnTo>
                    <a:pt x="47" y="71"/>
                  </a:lnTo>
                  <a:lnTo>
                    <a:pt x="44" y="93"/>
                  </a:lnTo>
                  <a:lnTo>
                    <a:pt x="39" y="98"/>
                  </a:lnTo>
                  <a:lnTo>
                    <a:pt x="36" y="93"/>
                  </a:lnTo>
                  <a:lnTo>
                    <a:pt x="29" y="96"/>
                  </a:lnTo>
                  <a:lnTo>
                    <a:pt x="21" y="87"/>
                  </a:lnTo>
                  <a:lnTo>
                    <a:pt x="20" y="98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20" name="Freeform 124">
              <a:extLst>
                <a:ext uri="{FF2B5EF4-FFF2-40B4-BE49-F238E27FC236}">
                  <a16:creationId xmlns:a16="http://schemas.microsoft.com/office/drawing/2014/main" id="{4B8DC5AF-FD07-4C46-9C92-D11D8429B0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4513" y="4270621"/>
              <a:ext cx="235939" cy="331338"/>
            </a:xfrm>
            <a:custGeom>
              <a:avLst/>
              <a:gdLst>
                <a:gd name="T0" fmla="*/ 53 w 113"/>
                <a:gd name="T1" fmla="*/ 122 h 150"/>
                <a:gd name="T2" fmla="*/ 40 w 113"/>
                <a:gd name="T3" fmla="*/ 115 h 150"/>
                <a:gd name="T4" fmla="*/ 27 w 113"/>
                <a:gd name="T5" fmla="*/ 106 h 150"/>
                <a:gd name="T6" fmla="*/ 13 w 113"/>
                <a:gd name="T7" fmla="*/ 98 h 150"/>
                <a:gd name="T8" fmla="*/ 0 w 113"/>
                <a:gd name="T9" fmla="*/ 90 h 150"/>
                <a:gd name="T10" fmla="*/ 0 w 113"/>
                <a:gd name="T11" fmla="*/ 73 h 150"/>
                <a:gd name="T12" fmla="*/ 10 w 113"/>
                <a:gd name="T13" fmla="*/ 56 h 150"/>
                <a:gd name="T14" fmla="*/ 16 w 113"/>
                <a:gd name="T15" fmla="*/ 44 h 150"/>
                <a:gd name="T16" fmla="*/ 12 w 113"/>
                <a:gd name="T17" fmla="*/ 31 h 150"/>
                <a:gd name="T18" fmla="*/ 7 w 113"/>
                <a:gd name="T19" fmla="*/ 19 h 150"/>
                <a:gd name="T20" fmla="*/ 1 w 113"/>
                <a:gd name="T21" fmla="*/ 6 h 150"/>
                <a:gd name="T22" fmla="*/ 7 w 113"/>
                <a:gd name="T23" fmla="*/ 0 h 150"/>
                <a:gd name="T24" fmla="*/ 18 w 113"/>
                <a:gd name="T25" fmla="*/ 0 h 150"/>
                <a:gd name="T26" fmla="*/ 29 w 113"/>
                <a:gd name="T27" fmla="*/ 0 h 150"/>
                <a:gd name="T28" fmla="*/ 41 w 113"/>
                <a:gd name="T29" fmla="*/ 2 h 150"/>
                <a:gd name="T30" fmla="*/ 58 w 113"/>
                <a:gd name="T31" fmla="*/ 14 h 150"/>
                <a:gd name="T32" fmla="*/ 78 w 113"/>
                <a:gd name="T33" fmla="*/ 18 h 150"/>
                <a:gd name="T34" fmla="*/ 84 w 113"/>
                <a:gd name="T35" fmla="*/ 12 h 150"/>
                <a:gd name="T36" fmla="*/ 100 w 113"/>
                <a:gd name="T37" fmla="*/ 7 h 150"/>
                <a:gd name="T38" fmla="*/ 113 w 113"/>
                <a:gd name="T39" fmla="*/ 10 h 150"/>
                <a:gd name="T40" fmla="*/ 107 w 113"/>
                <a:gd name="T41" fmla="*/ 19 h 150"/>
                <a:gd name="T42" fmla="*/ 101 w 113"/>
                <a:gd name="T43" fmla="*/ 28 h 150"/>
                <a:gd name="T44" fmla="*/ 101 w 113"/>
                <a:gd name="T45" fmla="*/ 43 h 150"/>
                <a:gd name="T46" fmla="*/ 101 w 113"/>
                <a:gd name="T47" fmla="*/ 58 h 150"/>
                <a:gd name="T48" fmla="*/ 101 w 113"/>
                <a:gd name="T49" fmla="*/ 73 h 150"/>
                <a:gd name="T50" fmla="*/ 101 w 113"/>
                <a:gd name="T51" fmla="*/ 88 h 150"/>
                <a:gd name="T52" fmla="*/ 109 w 113"/>
                <a:gd name="T53" fmla="*/ 100 h 150"/>
                <a:gd name="T54" fmla="*/ 101 w 113"/>
                <a:gd name="T55" fmla="*/ 105 h 150"/>
                <a:gd name="T56" fmla="*/ 95 w 113"/>
                <a:gd name="T57" fmla="*/ 115 h 150"/>
                <a:gd name="T58" fmla="*/ 89 w 113"/>
                <a:gd name="T59" fmla="*/ 121 h 150"/>
                <a:gd name="T60" fmla="*/ 83 w 113"/>
                <a:gd name="T61" fmla="*/ 134 h 150"/>
                <a:gd name="T62" fmla="*/ 77 w 113"/>
                <a:gd name="T63" fmla="*/ 148 h 150"/>
                <a:gd name="T64" fmla="*/ 75 w 113"/>
                <a:gd name="T65" fmla="*/ 150 h 150"/>
                <a:gd name="T66" fmla="*/ 65 w 113"/>
                <a:gd name="T67" fmla="*/ 139 h 150"/>
                <a:gd name="T68" fmla="*/ 54 w 113"/>
                <a:gd name="T69" fmla="*/ 128 h 150"/>
                <a:gd name="T70" fmla="*/ 53 w 113"/>
                <a:gd name="T71" fmla="*/ 12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3" h="150">
                  <a:moveTo>
                    <a:pt x="53" y="122"/>
                  </a:moveTo>
                  <a:lnTo>
                    <a:pt x="40" y="115"/>
                  </a:lnTo>
                  <a:lnTo>
                    <a:pt x="27" y="106"/>
                  </a:lnTo>
                  <a:lnTo>
                    <a:pt x="13" y="98"/>
                  </a:lnTo>
                  <a:lnTo>
                    <a:pt x="0" y="90"/>
                  </a:lnTo>
                  <a:lnTo>
                    <a:pt x="0" y="73"/>
                  </a:lnTo>
                  <a:lnTo>
                    <a:pt x="10" y="56"/>
                  </a:lnTo>
                  <a:lnTo>
                    <a:pt x="16" y="44"/>
                  </a:lnTo>
                  <a:lnTo>
                    <a:pt x="12" y="31"/>
                  </a:lnTo>
                  <a:lnTo>
                    <a:pt x="7" y="19"/>
                  </a:lnTo>
                  <a:lnTo>
                    <a:pt x="1" y="6"/>
                  </a:lnTo>
                  <a:lnTo>
                    <a:pt x="7" y="0"/>
                  </a:lnTo>
                  <a:lnTo>
                    <a:pt x="18" y="0"/>
                  </a:lnTo>
                  <a:lnTo>
                    <a:pt x="29" y="0"/>
                  </a:lnTo>
                  <a:lnTo>
                    <a:pt x="41" y="2"/>
                  </a:lnTo>
                  <a:lnTo>
                    <a:pt x="58" y="14"/>
                  </a:lnTo>
                  <a:lnTo>
                    <a:pt x="78" y="18"/>
                  </a:lnTo>
                  <a:lnTo>
                    <a:pt x="84" y="12"/>
                  </a:lnTo>
                  <a:lnTo>
                    <a:pt x="100" y="7"/>
                  </a:lnTo>
                  <a:lnTo>
                    <a:pt x="113" y="10"/>
                  </a:lnTo>
                  <a:lnTo>
                    <a:pt x="107" y="19"/>
                  </a:lnTo>
                  <a:lnTo>
                    <a:pt x="101" y="28"/>
                  </a:lnTo>
                  <a:lnTo>
                    <a:pt x="101" y="43"/>
                  </a:lnTo>
                  <a:lnTo>
                    <a:pt x="101" y="58"/>
                  </a:lnTo>
                  <a:lnTo>
                    <a:pt x="101" y="73"/>
                  </a:lnTo>
                  <a:lnTo>
                    <a:pt x="101" y="88"/>
                  </a:lnTo>
                  <a:lnTo>
                    <a:pt x="109" y="100"/>
                  </a:lnTo>
                  <a:lnTo>
                    <a:pt x="101" y="105"/>
                  </a:lnTo>
                  <a:lnTo>
                    <a:pt x="95" y="115"/>
                  </a:lnTo>
                  <a:lnTo>
                    <a:pt x="89" y="121"/>
                  </a:lnTo>
                  <a:lnTo>
                    <a:pt x="83" y="134"/>
                  </a:lnTo>
                  <a:lnTo>
                    <a:pt x="77" y="148"/>
                  </a:lnTo>
                  <a:lnTo>
                    <a:pt x="75" y="150"/>
                  </a:lnTo>
                  <a:lnTo>
                    <a:pt x="65" y="139"/>
                  </a:lnTo>
                  <a:lnTo>
                    <a:pt x="54" y="128"/>
                  </a:lnTo>
                  <a:lnTo>
                    <a:pt x="53" y="122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25" name="Freeform 134">
              <a:extLst>
                <a:ext uri="{FF2B5EF4-FFF2-40B4-BE49-F238E27FC236}">
                  <a16:creationId xmlns:a16="http://schemas.microsoft.com/office/drawing/2014/main" id="{F95AA678-ABC0-43C3-AD57-7DD516F44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0375" y="4046423"/>
              <a:ext cx="388157" cy="307528"/>
            </a:xfrm>
            <a:custGeom>
              <a:avLst/>
              <a:gdLst>
                <a:gd name="T0" fmla="*/ 65 w 185"/>
                <a:gd name="T1" fmla="*/ 38 h 139"/>
                <a:gd name="T2" fmla="*/ 63 w 185"/>
                <a:gd name="T3" fmla="*/ 32 h 139"/>
                <a:gd name="T4" fmla="*/ 83 w 185"/>
                <a:gd name="T5" fmla="*/ 29 h 139"/>
                <a:gd name="T6" fmla="*/ 94 w 185"/>
                <a:gd name="T7" fmla="*/ 15 h 139"/>
                <a:gd name="T8" fmla="*/ 105 w 185"/>
                <a:gd name="T9" fmla="*/ 2 h 139"/>
                <a:gd name="T10" fmla="*/ 118 w 185"/>
                <a:gd name="T11" fmla="*/ 0 h 139"/>
                <a:gd name="T12" fmla="*/ 124 w 185"/>
                <a:gd name="T13" fmla="*/ 9 h 139"/>
                <a:gd name="T14" fmla="*/ 130 w 185"/>
                <a:gd name="T15" fmla="*/ 19 h 139"/>
                <a:gd name="T16" fmla="*/ 127 w 185"/>
                <a:gd name="T17" fmla="*/ 35 h 139"/>
                <a:gd name="T18" fmla="*/ 138 w 185"/>
                <a:gd name="T19" fmla="*/ 37 h 139"/>
                <a:gd name="T20" fmla="*/ 141 w 185"/>
                <a:gd name="T21" fmla="*/ 42 h 139"/>
                <a:gd name="T22" fmla="*/ 154 w 185"/>
                <a:gd name="T23" fmla="*/ 51 h 139"/>
                <a:gd name="T24" fmla="*/ 156 w 185"/>
                <a:gd name="T25" fmla="*/ 59 h 139"/>
                <a:gd name="T26" fmla="*/ 168 w 185"/>
                <a:gd name="T27" fmla="*/ 71 h 139"/>
                <a:gd name="T28" fmla="*/ 174 w 185"/>
                <a:gd name="T29" fmla="*/ 79 h 139"/>
                <a:gd name="T30" fmla="*/ 183 w 185"/>
                <a:gd name="T31" fmla="*/ 90 h 139"/>
                <a:gd name="T32" fmla="*/ 185 w 185"/>
                <a:gd name="T33" fmla="*/ 95 h 139"/>
                <a:gd name="T34" fmla="*/ 177 w 185"/>
                <a:gd name="T35" fmla="*/ 92 h 139"/>
                <a:gd name="T36" fmla="*/ 166 w 185"/>
                <a:gd name="T37" fmla="*/ 91 h 139"/>
                <a:gd name="T38" fmla="*/ 155 w 185"/>
                <a:gd name="T39" fmla="*/ 90 h 139"/>
                <a:gd name="T40" fmla="*/ 149 w 185"/>
                <a:gd name="T41" fmla="*/ 95 h 139"/>
                <a:gd name="T42" fmla="*/ 139 w 185"/>
                <a:gd name="T43" fmla="*/ 95 h 139"/>
                <a:gd name="T44" fmla="*/ 125 w 185"/>
                <a:gd name="T45" fmla="*/ 99 h 139"/>
                <a:gd name="T46" fmla="*/ 118 w 185"/>
                <a:gd name="T47" fmla="*/ 99 h 139"/>
                <a:gd name="T48" fmla="*/ 112 w 185"/>
                <a:gd name="T49" fmla="*/ 109 h 139"/>
                <a:gd name="T50" fmla="*/ 99 w 185"/>
                <a:gd name="T51" fmla="*/ 104 h 139"/>
                <a:gd name="T52" fmla="*/ 85 w 185"/>
                <a:gd name="T53" fmla="*/ 101 h 139"/>
                <a:gd name="T54" fmla="*/ 71 w 185"/>
                <a:gd name="T55" fmla="*/ 92 h 139"/>
                <a:gd name="T56" fmla="*/ 59 w 185"/>
                <a:gd name="T57" fmla="*/ 107 h 139"/>
                <a:gd name="T58" fmla="*/ 59 w 185"/>
                <a:gd name="T59" fmla="*/ 119 h 139"/>
                <a:gd name="T60" fmla="*/ 48 w 185"/>
                <a:gd name="T61" fmla="*/ 119 h 139"/>
                <a:gd name="T62" fmla="*/ 37 w 185"/>
                <a:gd name="T63" fmla="*/ 117 h 139"/>
                <a:gd name="T64" fmla="*/ 30 w 185"/>
                <a:gd name="T65" fmla="*/ 122 h 139"/>
                <a:gd name="T66" fmla="*/ 25 w 185"/>
                <a:gd name="T67" fmla="*/ 139 h 139"/>
                <a:gd name="T68" fmla="*/ 21 w 185"/>
                <a:gd name="T69" fmla="*/ 125 h 139"/>
                <a:gd name="T70" fmla="*/ 13 w 185"/>
                <a:gd name="T71" fmla="*/ 114 h 139"/>
                <a:gd name="T72" fmla="*/ 5 w 185"/>
                <a:gd name="T73" fmla="*/ 102 h 139"/>
                <a:gd name="T74" fmla="*/ 0 w 185"/>
                <a:gd name="T75" fmla="*/ 80 h 139"/>
                <a:gd name="T76" fmla="*/ 7 w 185"/>
                <a:gd name="T77" fmla="*/ 67 h 139"/>
                <a:gd name="T78" fmla="*/ 15 w 185"/>
                <a:gd name="T79" fmla="*/ 54 h 139"/>
                <a:gd name="T80" fmla="*/ 28 w 185"/>
                <a:gd name="T81" fmla="*/ 49 h 139"/>
                <a:gd name="T82" fmla="*/ 30 w 185"/>
                <a:gd name="T83" fmla="*/ 51 h 139"/>
                <a:gd name="T84" fmla="*/ 39 w 185"/>
                <a:gd name="T85" fmla="*/ 50 h 139"/>
                <a:gd name="T86" fmla="*/ 58 w 185"/>
                <a:gd name="T87" fmla="*/ 45 h 139"/>
                <a:gd name="T88" fmla="*/ 65 w 185"/>
                <a:gd name="T89" fmla="*/ 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139">
                  <a:moveTo>
                    <a:pt x="65" y="38"/>
                  </a:moveTo>
                  <a:lnTo>
                    <a:pt x="63" y="32"/>
                  </a:lnTo>
                  <a:lnTo>
                    <a:pt x="83" y="29"/>
                  </a:lnTo>
                  <a:lnTo>
                    <a:pt x="94" y="15"/>
                  </a:lnTo>
                  <a:lnTo>
                    <a:pt x="105" y="2"/>
                  </a:lnTo>
                  <a:lnTo>
                    <a:pt x="118" y="0"/>
                  </a:lnTo>
                  <a:lnTo>
                    <a:pt x="124" y="9"/>
                  </a:lnTo>
                  <a:lnTo>
                    <a:pt x="130" y="19"/>
                  </a:lnTo>
                  <a:lnTo>
                    <a:pt x="127" y="35"/>
                  </a:lnTo>
                  <a:lnTo>
                    <a:pt x="138" y="37"/>
                  </a:lnTo>
                  <a:lnTo>
                    <a:pt x="141" y="42"/>
                  </a:lnTo>
                  <a:lnTo>
                    <a:pt x="154" y="51"/>
                  </a:lnTo>
                  <a:lnTo>
                    <a:pt x="156" y="59"/>
                  </a:lnTo>
                  <a:lnTo>
                    <a:pt x="168" y="71"/>
                  </a:lnTo>
                  <a:lnTo>
                    <a:pt x="174" y="79"/>
                  </a:lnTo>
                  <a:lnTo>
                    <a:pt x="183" y="90"/>
                  </a:lnTo>
                  <a:lnTo>
                    <a:pt x="185" y="95"/>
                  </a:lnTo>
                  <a:lnTo>
                    <a:pt x="177" y="92"/>
                  </a:lnTo>
                  <a:lnTo>
                    <a:pt x="166" y="91"/>
                  </a:lnTo>
                  <a:lnTo>
                    <a:pt x="155" y="90"/>
                  </a:lnTo>
                  <a:lnTo>
                    <a:pt x="149" y="95"/>
                  </a:lnTo>
                  <a:lnTo>
                    <a:pt x="139" y="95"/>
                  </a:lnTo>
                  <a:lnTo>
                    <a:pt x="125" y="99"/>
                  </a:lnTo>
                  <a:lnTo>
                    <a:pt x="118" y="99"/>
                  </a:lnTo>
                  <a:lnTo>
                    <a:pt x="112" y="109"/>
                  </a:lnTo>
                  <a:lnTo>
                    <a:pt x="99" y="104"/>
                  </a:lnTo>
                  <a:lnTo>
                    <a:pt x="85" y="101"/>
                  </a:lnTo>
                  <a:lnTo>
                    <a:pt x="71" y="92"/>
                  </a:lnTo>
                  <a:lnTo>
                    <a:pt x="59" y="107"/>
                  </a:lnTo>
                  <a:lnTo>
                    <a:pt x="59" y="119"/>
                  </a:lnTo>
                  <a:lnTo>
                    <a:pt x="48" y="119"/>
                  </a:lnTo>
                  <a:lnTo>
                    <a:pt x="37" y="117"/>
                  </a:lnTo>
                  <a:lnTo>
                    <a:pt x="30" y="122"/>
                  </a:lnTo>
                  <a:lnTo>
                    <a:pt x="25" y="139"/>
                  </a:lnTo>
                  <a:lnTo>
                    <a:pt x="21" y="125"/>
                  </a:lnTo>
                  <a:lnTo>
                    <a:pt x="13" y="114"/>
                  </a:lnTo>
                  <a:lnTo>
                    <a:pt x="5" y="102"/>
                  </a:lnTo>
                  <a:lnTo>
                    <a:pt x="0" y="80"/>
                  </a:lnTo>
                  <a:lnTo>
                    <a:pt x="7" y="67"/>
                  </a:lnTo>
                  <a:lnTo>
                    <a:pt x="15" y="54"/>
                  </a:lnTo>
                  <a:lnTo>
                    <a:pt x="28" y="49"/>
                  </a:lnTo>
                  <a:lnTo>
                    <a:pt x="30" y="51"/>
                  </a:lnTo>
                  <a:lnTo>
                    <a:pt x="39" y="50"/>
                  </a:lnTo>
                  <a:lnTo>
                    <a:pt x="58" y="45"/>
                  </a:lnTo>
                  <a:lnTo>
                    <a:pt x="65" y="38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27" name="Freeform 136">
              <a:extLst>
                <a:ext uri="{FF2B5EF4-FFF2-40B4-BE49-F238E27FC236}">
                  <a16:creationId xmlns:a16="http://schemas.microsoft.com/office/drawing/2014/main" id="{555526E7-4FF0-41C3-9B08-E86F35BEC2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710" y="4040471"/>
              <a:ext cx="131288" cy="226183"/>
            </a:xfrm>
            <a:custGeom>
              <a:avLst/>
              <a:gdLst>
                <a:gd name="T0" fmla="*/ 56 w 63"/>
                <a:gd name="T1" fmla="*/ 87 h 102"/>
                <a:gd name="T2" fmla="*/ 46 w 63"/>
                <a:gd name="T3" fmla="*/ 90 h 102"/>
                <a:gd name="T4" fmla="*/ 35 w 63"/>
                <a:gd name="T5" fmla="*/ 94 h 102"/>
                <a:gd name="T6" fmla="*/ 26 w 63"/>
                <a:gd name="T7" fmla="*/ 97 h 102"/>
                <a:gd name="T8" fmla="*/ 15 w 63"/>
                <a:gd name="T9" fmla="*/ 102 h 102"/>
                <a:gd name="T10" fmla="*/ 2 w 63"/>
                <a:gd name="T11" fmla="*/ 97 h 102"/>
                <a:gd name="T12" fmla="*/ 6 w 63"/>
                <a:gd name="T13" fmla="*/ 94 h 102"/>
                <a:gd name="T14" fmla="*/ 4 w 63"/>
                <a:gd name="T15" fmla="*/ 82 h 102"/>
                <a:gd name="T16" fmla="*/ 0 w 63"/>
                <a:gd name="T17" fmla="*/ 70 h 102"/>
                <a:gd name="T18" fmla="*/ 5 w 63"/>
                <a:gd name="T19" fmla="*/ 58 h 102"/>
                <a:gd name="T20" fmla="*/ 11 w 63"/>
                <a:gd name="T21" fmla="*/ 47 h 102"/>
                <a:gd name="T22" fmla="*/ 8 w 63"/>
                <a:gd name="T23" fmla="*/ 27 h 102"/>
                <a:gd name="T24" fmla="*/ 8 w 63"/>
                <a:gd name="T25" fmla="*/ 15 h 102"/>
                <a:gd name="T26" fmla="*/ 6 w 63"/>
                <a:gd name="T27" fmla="*/ 3 h 102"/>
                <a:gd name="T28" fmla="*/ 23 w 63"/>
                <a:gd name="T29" fmla="*/ 1 h 102"/>
                <a:gd name="T30" fmla="*/ 40 w 63"/>
                <a:gd name="T31" fmla="*/ 1 h 102"/>
                <a:gd name="T32" fmla="*/ 44 w 63"/>
                <a:gd name="T33" fmla="*/ 0 h 102"/>
                <a:gd name="T34" fmla="*/ 46 w 63"/>
                <a:gd name="T35" fmla="*/ 5 h 102"/>
                <a:gd name="T36" fmla="*/ 52 w 63"/>
                <a:gd name="T37" fmla="*/ 19 h 102"/>
                <a:gd name="T38" fmla="*/ 51 w 63"/>
                <a:gd name="T39" fmla="*/ 27 h 102"/>
                <a:gd name="T40" fmla="*/ 52 w 63"/>
                <a:gd name="T41" fmla="*/ 37 h 102"/>
                <a:gd name="T42" fmla="*/ 54 w 63"/>
                <a:gd name="T43" fmla="*/ 48 h 102"/>
                <a:gd name="T44" fmla="*/ 56 w 63"/>
                <a:gd name="T45" fmla="*/ 60 h 102"/>
                <a:gd name="T46" fmla="*/ 56 w 63"/>
                <a:gd name="T47" fmla="*/ 73 h 102"/>
                <a:gd name="T48" fmla="*/ 63 w 63"/>
                <a:gd name="T49" fmla="*/ 81 h 102"/>
                <a:gd name="T50" fmla="*/ 56 w 63"/>
                <a:gd name="T51" fmla="*/ 87 h 102"/>
                <a:gd name="T52" fmla="*/ 51 w 63"/>
                <a:gd name="T53" fmla="*/ 82 h 102"/>
                <a:gd name="T54" fmla="*/ 56 w 63"/>
                <a:gd name="T55" fmla="*/ 8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3" h="102">
                  <a:moveTo>
                    <a:pt x="56" y="87"/>
                  </a:moveTo>
                  <a:lnTo>
                    <a:pt x="46" y="90"/>
                  </a:lnTo>
                  <a:lnTo>
                    <a:pt x="35" y="94"/>
                  </a:lnTo>
                  <a:lnTo>
                    <a:pt x="26" y="97"/>
                  </a:lnTo>
                  <a:lnTo>
                    <a:pt x="15" y="102"/>
                  </a:lnTo>
                  <a:lnTo>
                    <a:pt x="2" y="97"/>
                  </a:lnTo>
                  <a:lnTo>
                    <a:pt x="6" y="94"/>
                  </a:lnTo>
                  <a:lnTo>
                    <a:pt x="4" y="82"/>
                  </a:lnTo>
                  <a:lnTo>
                    <a:pt x="0" y="70"/>
                  </a:lnTo>
                  <a:lnTo>
                    <a:pt x="5" y="58"/>
                  </a:lnTo>
                  <a:lnTo>
                    <a:pt x="11" y="47"/>
                  </a:lnTo>
                  <a:lnTo>
                    <a:pt x="8" y="27"/>
                  </a:lnTo>
                  <a:lnTo>
                    <a:pt x="8" y="15"/>
                  </a:lnTo>
                  <a:lnTo>
                    <a:pt x="6" y="3"/>
                  </a:lnTo>
                  <a:lnTo>
                    <a:pt x="23" y="1"/>
                  </a:lnTo>
                  <a:lnTo>
                    <a:pt x="40" y="1"/>
                  </a:lnTo>
                  <a:lnTo>
                    <a:pt x="44" y="0"/>
                  </a:lnTo>
                  <a:lnTo>
                    <a:pt x="46" y="5"/>
                  </a:lnTo>
                  <a:lnTo>
                    <a:pt x="52" y="19"/>
                  </a:lnTo>
                  <a:lnTo>
                    <a:pt x="51" y="27"/>
                  </a:lnTo>
                  <a:lnTo>
                    <a:pt x="52" y="37"/>
                  </a:lnTo>
                  <a:lnTo>
                    <a:pt x="54" y="48"/>
                  </a:lnTo>
                  <a:lnTo>
                    <a:pt x="56" y="60"/>
                  </a:lnTo>
                  <a:lnTo>
                    <a:pt x="56" y="73"/>
                  </a:lnTo>
                  <a:lnTo>
                    <a:pt x="63" y="81"/>
                  </a:lnTo>
                  <a:lnTo>
                    <a:pt x="56" y="87"/>
                  </a:lnTo>
                  <a:lnTo>
                    <a:pt x="51" y="82"/>
                  </a:lnTo>
                  <a:lnTo>
                    <a:pt x="56" y="87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30" name="Freeform 139">
              <a:extLst>
                <a:ext uri="{FF2B5EF4-FFF2-40B4-BE49-F238E27FC236}">
                  <a16:creationId xmlns:a16="http://schemas.microsoft.com/office/drawing/2014/main" id="{D3FE01E1-1440-4C8D-B859-B6AE8163FB23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9687" y="4054358"/>
              <a:ext cx="182662" cy="226183"/>
            </a:xfrm>
            <a:custGeom>
              <a:avLst/>
              <a:gdLst>
                <a:gd name="T0" fmla="*/ 48 w 85"/>
                <a:gd name="T1" fmla="*/ 6 h 102"/>
                <a:gd name="T2" fmla="*/ 42 w 85"/>
                <a:gd name="T3" fmla="*/ 4 h 102"/>
                <a:gd name="T4" fmla="*/ 32 w 85"/>
                <a:gd name="T5" fmla="*/ 6 h 102"/>
                <a:gd name="T6" fmla="*/ 31 w 85"/>
                <a:gd name="T7" fmla="*/ 0 h 102"/>
                <a:gd name="T8" fmla="*/ 25 w 85"/>
                <a:gd name="T9" fmla="*/ 4 h 102"/>
                <a:gd name="T10" fmla="*/ 19 w 85"/>
                <a:gd name="T11" fmla="*/ 8 h 102"/>
                <a:gd name="T12" fmla="*/ 11 w 85"/>
                <a:gd name="T13" fmla="*/ 5 h 102"/>
                <a:gd name="T14" fmla="*/ 7 w 85"/>
                <a:gd name="T15" fmla="*/ 9 h 102"/>
                <a:gd name="T16" fmla="*/ 6 w 85"/>
                <a:gd name="T17" fmla="*/ 21 h 102"/>
                <a:gd name="T18" fmla="*/ 8 w 85"/>
                <a:gd name="T19" fmla="*/ 23 h 102"/>
                <a:gd name="T20" fmla="*/ 8 w 85"/>
                <a:gd name="T21" fmla="*/ 27 h 102"/>
                <a:gd name="T22" fmla="*/ 11 w 85"/>
                <a:gd name="T23" fmla="*/ 33 h 102"/>
                <a:gd name="T24" fmla="*/ 10 w 85"/>
                <a:gd name="T25" fmla="*/ 36 h 102"/>
                <a:gd name="T26" fmla="*/ 4 w 85"/>
                <a:gd name="T27" fmla="*/ 38 h 102"/>
                <a:gd name="T28" fmla="*/ 6 w 85"/>
                <a:gd name="T29" fmla="*/ 44 h 102"/>
                <a:gd name="T30" fmla="*/ 1 w 85"/>
                <a:gd name="T31" fmla="*/ 50 h 102"/>
                <a:gd name="T32" fmla="*/ 0 w 85"/>
                <a:gd name="T33" fmla="*/ 51 h 102"/>
                <a:gd name="T34" fmla="*/ 0 w 85"/>
                <a:gd name="T35" fmla="*/ 65 h 102"/>
                <a:gd name="T36" fmla="*/ 0 w 85"/>
                <a:gd name="T37" fmla="*/ 68 h 102"/>
                <a:gd name="T38" fmla="*/ 10 w 85"/>
                <a:gd name="T39" fmla="*/ 76 h 102"/>
                <a:gd name="T40" fmla="*/ 16 w 85"/>
                <a:gd name="T41" fmla="*/ 82 h 102"/>
                <a:gd name="T42" fmla="*/ 13 w 85"/>
                <a:gd name="T43" fmla="*/ 102 h 102"/>
                <a:gd name="T44" fmla="*/ 31 w 85"/>
                <a:gd name="T45" fmla="*/ 95 h 102"/>
                <a:gd name="T46" fmla="*/ 49 w 85"/>
                <a:gd name="T47" fmla="*/ 89 h 102"/>
                <a:gd name="T48" fmla="*/ 46 w 85"/>
                <a:gd name="T49" fmla="*/ 89 h 102"/>
                <a:gd name="T50" fmla="*/ 64 w 85"/>
                <a:gd name="T51" fmla="*/ 88 h 102"/>
                <a:gd name="T52" fmla="*/ 54 w 85"/>
                <a:gd name="T53" fmla="*/ 88 h 102"/>
                <a:gd name="T54" fmla="*/ 65 w 85"/>
                <a:gd name="T55" fmla="*/ 87 h 102"/>
                <a:gd name="T56" fmla="*/ 74 w 85"/>
                <a:gd name="T57" fmla="*/ 88 h 102"/>
                <a:gd name="T58" fmla="*/ 76 w 85"/>
                <a:gd name="T59" fmla="*/ 90 h 102"/>
                <a:gd name="T60" fmla="*/ 80 w 85"/>
                <a:gd name="T61" fmla="*/ 87 h 102"/>
                <a:gd name="T62" fmla="*/ 78 w 85"/>
                <a:gd name="T63" fmla="*/ 75 h 102"/>
                <a:gd name="T64" fmla="*/ 74 w 85"/>
                <a:gd name="T65" fmla="*/ 63 h 102"/>
                <a:gd name="T66" fmla="*/ 79 w 85"/>
                <a:gd name="T67" fmla="*/ 51 h 102"/>
                <a:gd name="T68" fmla="*/ 85 w 85"/>
                <a:gd name="T69" fmla="*/ 40 h 102"/>
                <a:gd name="T70" fmla="*/ 82 w 85"/>
                <a:gd name="T71" fmla="*/ 20 h 102"/>
                <a:gd name="T72" fmla="*/ 70 w 85"/>
                <a:gd name="T73" fmla="*/ 12 h 102"/>
                <a:gd name="T74" fmla="*/ 56 w 85"/>
                <a:gd name="T75" fmla="*/ 16 h 102"/>
                <a:gd name="T76" fmla="*/ 48 w 85"/>
                <a:gd name="T77" fmla="*/ 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5" h="102">
                  <a:moveTo>
                    <a:pt x="48" y="6"/>
                  </a:moveTo>
                  <a:lnTo>
                    <a:pt x="42" y="4"/>
                  </a:lnTo>
                  <a:lnTo>
                    <a:pt x="32" y="6"/>
                  </a:lnTo>
                  <a:lnTo>
                    <a:pt x="31" y="0"/>
                  </a:lnTo>
                  <a:lnTo>
                    <a:pt x="25" y="4"/>
                  </a:lnTo>
                  <a:lnTo>
                    <a:pt x="19" y="8"/>
                  </a:lnTo>
                  <a:lnTo>
                    <a:pt x="11" y="5"/>
                  </a:lnTo>
                  <a:lnTo>
                    <a:pt x="7" y="9"/>
                  </a:lnTo>
                  <a:lnTo>
                    <a:pt x="6" y="21"/>
                  </a:lnTo>
                  <a:lnTo>
                    <a:pt x="8" y="23"/>
                  </a:lnTo>
                  <a:lnTo>
                    <a:pt x="8" y="27"/>
                  </a:lnTo>
                  <a:lnTo>
                    <a:pt x="11" y="33"/>
                  </a:lnTo>
                  <a:lnTo>
                    <a:pt x="10" y="36"/>
                  </a:lnTo>
                  <a:lnTo>
                    <a:pt x="4" y="38"/>
                  </a:lnTo>
                  <a:lnTo>
                    <a:pt x="6" y="44"/>
                  </a:lnTo>
                  <a:lnTo>
                    <a:pt x="1" y="50"/>
                  </a:lnTo>
                  <a:lnTo>
                    <a:pt x="0" y="51"/>
                  </a:lnTo>
                  <a:lnTo>
                    <a:pt x="0" y="65"/>
                  </a:lnTo>
                  <a:lnTo>
                    <a:pt x="0" y="68"/>
                  </a:lnTo>
                  <a:lnTo>
                    <a:pt x="10" y="76"/>
                  </a:lnTo>
                  <a:lnTo>
                    <a:pt x="16" y="82"/>
                  </a:lnTo>
                  <a:lnTo>
                    <a:pt x="13" y="102"/>
                  </a:lnTo>
                  <a:lnTo>
                    <a:pt x="31" y="95"/>
                  </a:lnTo>
                  <a:lnTo>
                    <a:pt x="49" y="89"/>
                  </a:lnTo>
                  <a:lnTo>
                    <a:pt x="46" y="89"/>
                  </a:lnTo>
                  <a:lnTo>
                    <a:pt x="64" y="88"/>
                  </a:lnTo>
                  <a:lnTo>
                    <a:pt x="54" y="88"/>
                  </a:lnTo>
                  <a:lnTo>
                    <a:pt x="65" y="87"/>
                  </a:lnTo>
                  <a:lnTo>
                    <a:pt x="74" y="88"/>
                  </a:lnTo>
                  <a:lnTo>
                    <a:pt x="76" y="90"/>
                  </a:lnTo>
                  <a:lnTo>
                    <a:pt x="80" y="87"/>
                  </a:lnTo>
                  <a:lnTo>
                    <a:pt x="78" y="75"/>
                  </a:lnTo>
                  <a:lnTo>
                    <a:pt x="74" y="63"/>
                  </a:lnTo>
                  <a:lnTo>
                    <a:pt x="79" y="51"/>
                  </a:lnTo>
                  <a:lnTo>
                    <a:pt x="85" y="40"/>
                  </a:lnTo>
                  <a:lnTo>
                    <a:pt x="82" y="20"/>
                  </a:lnTo>
                  <a:lnTo>
                    <a:pt x="70" y="12"/>
                  </a:lnTo>
                  <a:lnTo>
                    <a:pt x="56" y="16"/>
                  </a:lnTo>
                  <a:lnTo>
                    <a:pt x="48" y="6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31" name="Freeform 140">
              <a:extLst>
                <a:ext uri="{FF2B5EF4-FFF2-40B4-BE49-F238E27FC236}">
                  <a16:creationId xmlns:a16="http://schemas.microsoft.com/office/drawing/2014/main" id="{CEF9DEB7-FF29-4B43-831F-98FAC16FA3DD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5079" y="4080152"/>
              <a:ext cx="89428" cy="107139"/>
            </a:xfrm>
            <a:custGeom>
              <a:avLst/>
              <a:gdLst>
                <a:gd name="T0" fmla="*/ 43 w 43"/>
                <a:gd name="T1" fmla="*/ 24 h 49"/>
                <a:gd name="T2" fmla="*/ 36 w 43"/>
                <a:gd name="T3" fmla="*/ 35 h 49"/>
                <a:gd name="T4" fmla="*/ 30 w 43"/>
                <a:gd name="T5" fmla="*/ 45 h 49"/>
                <a:gd name="T6" fmla="*/ 25 w 43"/>
                <a:gd name="T7" fmla="*/ 49 h 49"/>
                <a:gd name="T8" fmla="*/ 10 w 43"/>
                <a:gd name="T9" fmla="*/ 42 h 49"/>
                <a:gd name="T10" fmla="*/ 13 w 43"/>
                <a:gd name="T11" fmla="*/ 40 h 49"/>
                <a:gd name="T12" fmla="*/ 10 w 43"/>
                <a:gd name="T13" fmla="*/ 37 h 49"/>
                <a:gd name="T14" fmla="*/ 1 w 43"/>
                <a:gd name="T15" fmla="*/ 27 h 49"/>
                <a:gd name="T16" fmla="*/ 6 w 43"/>
                <a:gd name="T17" fmla="*/ 23 h 49"/>
                <a:gd name="T18" fmla="*/ 1 w 43"/>
                <a:gd name="T19" fmla="*/ 22 h 49"/>
                <a:gd name="T20" fmla="*/ 4 w 43"/>
                <a:gd name="T21" fmla="*/ 18 h 49"/>
                <a:gd name="T22" fmla="*/ 0 w 43"/>
                <a:gd name="T23" fmla="*/ 16 h 49"/>
                <a:gd name="T24" fmla="*/ 10 w 43"/>
                <a:gd name="T25" fmla="*/ 5 h 49"/>
                <a:gd name="T26" fmla="*/ 30 w 43"/>
                <a:gd name="T27" fmla="*/ 0 h 49"/>
                <a:gd name="T28" fmla="*/ 38 w 43"/>
                <a:gd name="T29" fmla="*/ 15 h 49"/>
                <a:gd name="T30" fmla="*/ 37 w 43"/>
                <a:gd name="T31" fmla="*/ 25 h 49"/>
                <a:gd name="T32" fmla="*/ 43 w 43"/>
                <a:gd name="T33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" h="49">
                  <a:moveTo>
                    <a:pt x="43" y="24"/>
                  </a:moveTo>
                  <a:lnTo>
                    <a:pt x="36" y="35"/>
                  </a:lnTo>
                  <a:lnTo>
                    <a:pt x="30" y="45"/>
                  </a:lnTo>
                  <a:lnTo>
                    <a:pt x="25" y="49"/>
                  </a:lnTo>
                  <a:lnTo>
                    <a:pt x="10" y="42"/>
                  </a:lnTo>
                  <a:lnTo>
                    <a:pt x="13" y="40"/>
                  </a:lnTo>
                  <a:lnTo>
                    <a:pt x="10" y="37"/>
                  </a:lnTo>
                  <a:lnTo>
                    <a:pt x="1" y="27"/>
                  </a:lnTo>
                  <a:lnTo>
                    <a:pt x="6" y="23"/>
                  </a:lnTo>
                  <a:lnTo>
                    <a:pt x="1" y="22"/>
                  </a:lnTo>
                  <a:lnTo>
                    <a:pt x="4" y="18"/>
                  </a:lnTo>
                  <a:lnTo>
                    <a:pt x="0" y="16"/>
                  </a:lnTo>
                  <a:lnTo>
                    <a:pt x="10" y="5"/>
                  </a:lnTo>
                  <a:lnTo>
                    <a:pt x="30" y="0"/>
                  </a:lnTo>
                  <a:lnTo>
                    <a:pt x="38" y="15"/>
                  </a:lnTo>
                  <a:lnTo>
                    <a:pt x="37" y="25"/>
                  </a:lnTo>
                  <a:lnTo>
                    <a:pt x="43" y="24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32" name="Freeform 141">
              <a:extLst>
                <a:ext uri="{FF2B5EF4-FFF2-40B4-BE49-F238E27FC236}">
                  <a16:creationId xmlns:a16="http://schemas.microsoft.com/office/drawing/2014/main" id="{CFD5BA84-050C-47D8-A1F6-962AF7E89D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8943" y="4040471"/>
              <a:ext cx="51374" cy="176580"/>
            </a:xfrm>
            <a:custGeom>
              <a:avLst/>
              <a:gdLst>
                <a:gd name="T0" fmla="*/ 12 w 25"/>
                <a:gd name="T1" fmla="*/ 3 h 81"/>
                <a:gd name="T2" fmla="*/ 0 w 25"/>
                <a:gd name="T3" fmla="*/ 0 h 81"/>
                <a:gd name="T4" fmla="*/ 2 w 25"/>
                <a:gd name="T5" fmla="*/ 5 h 81"/>
                <a:gd name="T6" fmla="*/ 8 w 25"/>
                <a:gd name="T7" fmla="*/ 19 h 81"/>
                <a:gd name="T8" fmla="*/ 7 w 25"/>
                <a:gd name="T9" fmla="*/ 27 h 81"/>
                <a:gd name="T10" fmla="*/ 8 w 25"/>
                <a:gd name="T11" fmla="*/ 37 h 81"/>
                <a:gd name="T12" fmla="*/ 10 w 25"/>
                <a:gd name="T13" fmla="*/ 48 h 81"/>
                <a:gd name="T14" fmla="*/ 12 w 25"/>
                <a:gd name="T15" fmla="*/ 60 h 81"/>
                <a:gd name="T16" fmla="*/ 12 w 25"/>
                <a:gd name="T17" fmla="*/ 73 h 81"/>
                <a:gd name="T18" fmla="*/ 19 w 25"/>
                <a:gd name="T19" fmla="*/ 81 h 81"/>
                <a:gd name="T20" fmla="*/ 25 w 25"/>
                <a:gd name="T21" fmla="*/ 79 h 81"/>
                <a:gd name="T22" fmla="*/ 25 w 25"/>
                <a:gd name="T23" fmla="*/ 67 h 81"/>
                <a:gd name="T24" fmla="*/ 24 w 25"/>
                <a:gd name="T25" fmla="*/ 55 h 81"/>
                <a:gd name="T26" fmla="*/ 24 w 25"/>
                <a:gd name="T27" fmla="*/ 43 h 81"/>
                <a:gd name="T28" fmla="*/ 24 w 25"/>
                <a:gd name="T29" fmla="*/ 30 h 81"/>
                <a:gd name="T30" fmla="*/ 21 w 25"/>
                <a:gd name="T31" fmla="*/ 18 h 81"/>
                <a:gd name="T32" fmla="*/ 13 w 25"/>
                <a:gd name="T33" fmla="*/ 9 h 81"/>
                <a:gd name="T34" fmla="*/ 15 w 25"/>
                <a:gd name="T35" fmla="*/ 3 h 81"/>
                <a:gd name="T36" fmla="*/ 12 w 25"/>
                <a:gd name="T37" fmla="*/ 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81">
                  <a:moveTo>
                    <a:pt x="12" y="3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8" y="19"/>
                  </a:lnTo>
                  <a:lnTo>
                    <a:pt x="7" y="27"/>
                  </a:lnTo>
                  <a:lnTo>
                    <a:pt x="8" y="37"/>
                  </a:lnTo>
                  <a:lnTo>
                    <a:pt x="10" y="48"/>
                  </a:lnTo>
                  <a:lnTo>
                    <a:pt x="12" y="60"/>
                  </a:lnTo>
                  <a:lnTo>
                    <a:pt x="12" y="73"/>
                  </a:lnTo>
                  <a:lnTo>
                    <a:pt x="19" y="81"/>
                  </a:lnTo>
                  <a:lnTo>
                    <a:pt x="25" y="79"/>
                  </a:lnTo>
                  <a:lnTo>
                    <a:pt x="25" y="67"/>
                  </a:lnTo>
                  <a:lnTo>
                    <a:pt x="24" y="55"/>
                  </a:lnTo>
                  <a:lnTo>
                    <a:pt x="24" y="43"/>
                  </a:lnTo>
                  <a:lnTo>
                    <a:pt x="24" y="30"/>
                  </a:lnTo>
                  <a:lnTo>
                    <a:pt x="21" y="18"/>
                  </a:lnTo>
                  <a:lnTo>
                    <a:pt x="13" y="9"/>
                  </a:lnTo>
                  <a:lnTo>
                    <a:pt x="15" y="3"/>
                  </a:lnTo>
                  <a:lnTo>
                    <a:pt x="12" y="3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48" name="Freeform 157">
              <a:extLst>
                <a:ext uri="{FF2B5EF4-FFF2-40B4-BE49-F238E27FC236}">
                  <a16:creationId xmlns:a16="http://schemas.microsoft.com/office/drawing/2014/main" id="{8A8A3819-60C9-4B74-B3FC-162581EA432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6451" y="4133722"/>
              <a:ext cx="127483" cy="146821"/>
            </a:xfrm>
            <a:custGeom>
              <a:avLst/>
              <a:gdLst>
                <a:gd name="T0" fmla="*/ 56 w 59"/>
                <a:gd name="T1" fmla="*/ 67 h 67"/>
                <a:gd name="T2" fmla="*/ 42 w 59"/>
                <a:gd name="T3" fmla="*/ 58 h 67"/>
                <a:gd name="T4" fmla="*/ 27 w 59"/>
                <a:gd name="T5" fmla="*/ 49 h 67"/>
                <a:gd name="T6" fmla="*/ 13 w 59"/>
                <a:gd name="T7" fmla="*/ 37 h 67"/>
                <a:gd name="T8" fmla="*/ 0 w 59"/>
                <a:gd name="T9" fmla="*/ 25 h 67"/>
                <a:gd name="T10" fmla="*/ 5 w 59"/>
                <a:gd name="T11" fmla="*/ 21 h 67"/>
                <a:gd name="T12" fmla="*/ 11 w 59"/>
                <a:gd name="T13" fmla="*/ 11 h 67"/>
                <a:gd name="T14" fmla="*/ 18 w 59"/>
                <a:gd name="T15" fmla="*/ 0 h 67"/>
                <a:gd name="T16" fmla="*/ 26 w 59"/>
                <a:gd name="T17" fmla="*/ 0 h 67"/>
                <a:gd name="T18" fmla="*/ 30 w 59"/>
                <a:gd name="T19" fmla="*/ 17 h 67"/>
                <a:gd name="T20" fmla="*/ 33 w 59"/>
                <a:gd name="T21" fmla="*/ 19 h 67"/>
                <a:gd name="T22" fmla="*/ 39 w 59"/>
                <a:gd name="T23" fmla="*/ 16 h 67"/>
                <a:gd name="T24" fmla="*/ 43 w 59"/>
                <a:gd name="T25" fmla="*/ 16 h 67"/>
                <a:gd name="T26" fmla="*/ 43 w 59"/>
                <a:gd name="T27" fmla="*/ 30 h 67"/>
                <a:gd name="T28" fmla="*/ 43 w 59"/>
                <a:gd name="T29" fmla="*/ 33 h 67"/>
                <a:gd name="T30" fmla="*/ 53 w 59"/>
                <a:gd name="T31" fmla="*/ 41 h 67"/>
                <a:gd name="T32" fmla="*/ 59 w 59"/>
                <a:gd name="T33" fmla="*/ 47 h 67"/>
                <a:gd name="T34" fmla="*/ 56 w 59"/>
                <a:gd name="T3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" h="67">
                  <a:moveTo>
                    <a:pt x="56" y="67"/>
                  </a:moveTo>
                  <a:lnTo>
                    <a:pt x="42" y="58"/>
                  </a:lnTo>
                  <a:lnTo>
                    <a:pt x="27" y="49"/>
                  </a:lnTo>
                  <a:lnTo>
                    <a:pt x="13" y="37"/>
                  </a:lnTo>
                  <a:lnTo>
                    <a:pt x="0" y="25"/>
                  </a:lnTo>
                  <a:lnTo>
                    <a:pt x="5" y="21"/>
                  </a:lnTo>
                  <a:lnTo>
                    <a:pt x="11" y="11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0" y="17"/>
                  </a:lnTo>
                  <a:lnTo>
                    <a:pt x="33" y="19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3" y="30"/>
                  </a:lnTo>
                  <a:lnTo>
                    <a:pt x="43" y="33"/>
                  </a:lnTo>
                  <a:lnTo>
                    <a:pt x="53" y="41"/>
                  </a:lnTo>
                  <a:lnTo>
                    <a:pt x="59" y="47"/>
                  </a:lnTo>
                  <a:lnTo>
                    <a:pt x="56" y="67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01" name="Freeform 210">
              <a:extLst>
                <a:ext uri="{FF2B5EF4-FFF2-40B4-BE49-F238E27FC236}">
                  <a16:creationId xmlns:a16="http://schemas.microsoft.com/office/drawing/2014/main" id="{C8AA5E0C-68E6-4DFA-914B-89EC35BD3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8077" y="5145589"/>
              <a:ext cx="11418" cy="13889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6 h 6"/>
                <a:gd name="T4" fmla="*/ 7 w 7"/>
                <a:gd name="T5" fmla="*/ 2 h 6"/>
                <a:gd name="T6" fmla="*/ 6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lnTo>
                    <a:pt x="0" y="6"/>
                  </a:lnTo>
                  <a:lnTo>
                    <a:pt x="7" y="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08" name="Freeform 219">
              <a:extLst>
                <a:ext uri="{FF2B5EF4-FFF2-40B4-BE49-F238E27FC236}">
                  <a16:creationId xmlns:a16="http://schemas.microsoft.com/office/drawing/2014/main" id="{44E2CBB2-CE91-4B2D-BDC9-6DE51D53B35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3386" y="5177334"/>
              <a:ext cx="17125" cy="11904"/>
            </a:xfrm>
            <a:custGeom>
              <a:avLst/>
              <a:gdLst>
                <a:gd name="T0" fmla="*/ 3 w 8"/>
                <a:gd name="T1" fmla="*/ 0 h 6"/>
                <a:gd name="T2" fmla="*/ 0 w 8"/>
                <a:gd name="T3" fmla="*/ 6 h 6"/>
                <a:gd name="T4" fmla="*/ 8 w 8"/>
                <a:gd name="T5" fmla="*/ 5 h 6"/>
                <a:gd name="T6" fmla="*/ 3 w 8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3" y="0"/>
                  </a:moveTo>
                  <a:lnTo>
                    <a:pt x="0" y="6"/>
                  </a:lnTo>
                  <a:lnTo>
                    <a:pt x="8" y="5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21" name="Freeform 235">
              <a:extLst>
                <a:ext uri="{FF2B5EF4-FFF2-40B4-BE49-F238E27FC236}">
                  <a16:creationId xmlns:a16="http://schemas.microsoft.com/office/drawing/2014/main" id="{F6A9FE06-3BF7-4FCD-B576-EBC203B32D4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0947" y="5040434"/>
              <a:ext cx="401474" cy="418637"/>
            </a:xfrm>
            <a:custGeom>
              <a:avLst/>
              <a:gdLst>
                <a:gd name="T0" fmla="*/ 112 w 190"/>
                <a:gd name="T1" fmla="*/ 124 h 190"/>
                <a:gd name="T2" fmla="*/ 113 w 190"/>
                <a:gd name="T3" fmla="*/ 102 h 190"/>
                <a:gd name="T4" fmla="*/ 114 w 190"/>
                <a:gd name="T5" fmla="*/ 80 h 190"/>
                <a:gd name="T6" fmla="*/ 128 w 190"/>
                <a:gd name="T7" fmla="*/ 80 h 190"/>
                <a:gd name="T8" fmla="*/ 129 w 190"/>
                <a:gd name="T9" fmla="*/ 66 h 190"/>
                <a:gd name="T10" fmla="*/ 129 w 190"/>
                <a:gd name="T11" fmla="*/ 50 h 190"/>
                <a:gd name="T12" fmla="*/ 129 w 190"/>
                <a:gd name="T13" fmla="*/ 36 h 190"/>
                <a:gd name="T14" fmla="*/ 130 w 190"/>
                <a:gd name="T15" fmla="*/ 21 h 190"/>
                <a:gd name="T16" fmla="*/ 146 w 190"/>
                <a:gd name="T17" fmla="*/ 19 h 190"/>
                <a:gd name="T18" fmla="*/ 162 w 190"/>
                <a:gd name="T19" fmla="*/ 16 h 190"/>
                <a:gd name="T20" fmla="*/ 167 w 190"/>
                <a:gd name="T21" fmla="*/ 22 h 190"/>
                <a:gd name="T22" fmla="*/ 179 w 190"/>
                <a:gd name="T23" fmla="*/ 16 h 190"/>
                <a:gd name="T24" fmla="*/ 190 w 190"/>
                <a:gd name="T25" fmla="*/ 13 h 190"/>
                <a:gd name="T26" fmla="*/ 174 w 190"/>
                <a:gd name="T27" fmla="*/ 8 h 190"/>
                <a:gd name="T28" fmla="*/ 165 w 190"/>
                <a:gd name="T29" fmla="*/ 9 h 190"/>
                <a:gd name="T30" fmla="*/ 143 w 190"/>
                <a:gd name="T31" fmla="*/ 12 h 190"/>
                <a:gd name="T32" fmla="*/ 123 w 190"/>
                <a:gd name="T33" fmla="*/ 15 h 190"/>
                <a:gd name="T34" fmla="*/ 110 w 190"/>
                <a:gd name="T35" fmla="*/ 12 h 190"/>
                <a:gd name="T36" fmla="*/ 96 w 190"/>
                <a:gd name="T37" fmla="*/ 9 h 190"/>
                <a:gd name="T38" fmla="*/ 94 w 190"/>
                <a:gd name="T39" fmla="*/ 6 h 190"/>
                <a:gd name="T40" fmla="*/ 77 w 190"/>
                <a:gd name="T41" fmla="*/ 6 h 190"/>
                <a:gd name="T42" fmla="*/ 62 w 190"/>
                <a:gd name="T43" fmla="*/ 4 h 190"/>
                <a:gd name="T44" fmla="*/ 45 w 190"/>
                <a:gd name="T45" fmla="*/ 4 h 190"/>
                <a:gd name="T46" fmla="*/ 29 w 190"/>
                <a:gd name="T47" fmla="*/ 3 h 190"/>
                <a:gd name="T48" fmla="*/ 18 w 190"/>
                <a:gd name="T49" fmla="*/ 0 h 190"/>
                <a:gd name="T50" fmla="*/ 0 w 190"/>
                <a:gd name="T51" fmla="*/ 3 h 190"/>
                <a:gd name="T52" fmla="*/ 0 w 190"/>
                <a:gd name="T53" fmla="*/ 13 h 190"/>
                <a:gd name="T54" fmla="*/ 10 w 190"/>
                <a:gd name="T55" fmla="*/ 32 h 190"/>
                <a:gd name="T56" fmla="*/ 20 w 190"/>
                <a:gd name="T57" fmla="*/ 51 h 190"/>
                <a:gd name="T58" fmla="*/ 28 w 190"/>
                <a:gd name="T59" fmla="*/ 72 h 190"/>
                <a:gd name="T60" fmla="*/ 38 w 190"/>
                <a:gd name="T61" fmla="*/ 91 h 190"/>
                <a:gd name="T62" fmla="*/ 40 w 190"/>
                <a:gd name="T63" fmla="*/ 99 h 190"/>
                <a:gd name="T64" fmla="*/ 36 w 190"/>
                <a:gd name="T65" fmla="*/ 98 h 190"/>
                <a:gd name="T66" fmla="*/ 39 w 190"/>
                <a:gd name="T67" fmla="*/ 115 h 190"/>
                <a:gd name="T68" fmla="*/ 41 w 190"/>
                <a:gd name="T69" fmla="*/ 130 h 190"/>
                <a:gd name="T70" fmla="*/ 44 w 190"/>
                <a:gd name="T71" fmla="*/ 147 h 190"/>
                <a:gd name="T72" fmla="*/ 46 w 190"/>
                <a:gd name="T73" fmla="*/ 164 h 190"/>
                <a:gd name="T74" fmla="*/ 53 w 190"/>
                <a:gd name="T75" fmla="*/ 175 h 190"/>
                <a:gd name="T76" fmla="*/ 62 w 190"/>
                <a:gd name="T77" fmla="*/ 186 h 190"/>
                <a:gd name="T78" fmla="*/ 70 w 190"/>
                <a:gd name="T79" fmla="*/ 177 h 190"/>
                <a:gd name="T80" fmla="*/ 74 w 190"/>
                <a:gd name="T81" fmla="*/ 187 h 190"/>
                <a:gd name="T82" fmla="*/ 95 w 190"/>
                <a:gd name="T83" fmla="*/ 190 h 190"/>
                <a:gd name="T84" fmla="*/ 107 w 190"/>
                <a:gd name="T85" fmla="*/ 184 h 190"/>
                <a:gd name="T86" fmla="*/ 108 w 190"/>
                <a:gd name="T87" fmla="*/ 170 h 190"/>
                <a:gd name="T88" fmla="*/ 110 w 190"/>
                <a:gd name="T89" fmla="*/ 154 h 190"/>
                <a:gd name="T90" fmla="*/ 111 w 190"/>
                <a:gd name="T91" fmla="*/ 139 h 190"/>
                <a:gd name="T92" fmla="*/ 112 w 190"/>
                <a:gd name="T93" fmla="*/ 12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0" h="190">
                  <a:moveTo>
                    <a:pt x="112" y="124"/>
                  </a:moveTo>
                  <a:lnTo>
                    <a:pt x="113" y="102"/>
                  </a:lnTo>
                  <a:lnTo>
                    <a:pt x="114" y="80"/>
                  </a:lnTo>
                  <a:lnTo>
                    <a:pt x="128" y="80"/>
                  </a:lnTo>
                  <a:lnTo>
                    <a:pt x="129" y="66"/>
                  </a:lnTo>
                  <a:lnTo>
                    <a:pt x="129" y="50"/>
                  </a:lnTo>
                  <a:lnTo>
                    <a:pt x="129" y="36"/>
                  </a:lnTo>
                  <a:lnTo>
                    <a:pt x="130" y="21"/>
                  </a:lnTo>
                  <a:lnTo>
                    <a:pt x="146" y="19"/>
                  </a:lnTo>
                  <a:lnTo>
                    <a:pt x="162" y="16"/>
                  </a:lnTo>
                  <a:lnTo>
                    <a:pt x="167" y="22"/>
                  </a:lnTo>
                  <a:lnTo>
                    <a:pt x="179" y="16"/>
                  </a:lnTo>
                  <a:lnTo>
                    <a:pt x="190" y="13"/>
                  </a:lnTo>
                  <a:lnTo>
                    <a:pt x="174" y="8"/>
                  </a:lnTo>
                  <a:lnTo>
                    <a:pt x="165" y="9"/>
                  </a:lnTo>
                  <a:lnTo>
                    <a:pt x="143" y="12"/>
                  </a:lnTo>
                  <a:lnTo>
                    <a:pt x="123" y="15"/>
                  </a:lnTo>
                  <a:lnTo>
                    <a:pt x="110" y="12"/>
                  </a:lnTo>
                  <a:lnTo>
                    <a:pt x="96" y="9"/>
                  </a:lnTo>
                  <a:lnTo>
                    <a:pt x="94" y="6"/>
                  </a:lnTo>
                  <a:lnTo>
                    <a:pt x="77" y="6"/>
                  </a:lnTo>
                  <a:lnTo>
                    <a:pt x="62" y="4"/>
                  </a:lnTo>
                  <a:lnTo>
                    <a:pt x="45" y="4"/>
                  </a:lnTo>
                  <a:lnTo>
                    <a:pt x="29" y="3"/>
                  </a:lnTo>
                  <a:lnTo>
                    <a:pt x="18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10" y="32"/>
                  </a:lnTo>
                  <a:lnTo>
                    <a:pt x="20" y="51"/>
                  </a:lnTo>
                  <a:lnTo>
                    <a:pt x="28" y="72"/>
                  </a:lnTo>
                  <a:lnTo>
                    <a:pt x="38" y="91"/>
                  </a:lnTo>
                  <a:lnTo>
                    <a:pt x="40" y="99"/>
                  </a:lnTo>
                  <a:lnTo>
                    <a:pt x="36" y="98"/>
                  </a:lnTo>
                  <a:lnTo>
                    <a:pt x="39" y="115"/>
                  </a:lnTo>
                  <a:lnTo>
                    <a:pt x="41" y="130"/>
                  </a:lnTo>
                  <a:lnTo>
                    <a:pt x="44" y="147"/>
                  </a:lnTo>
                  <a:lnTo>
                    <a:pt x="46" y="164"/>
                  </a:lnTo>
                  <a:lnTo>
                    <a:pt x="53" y="175"/>
                  </a:lnTo>
                  <a:lnTo>
                    <a:pt x="62" y="186"/>
                  </a:lnTo>
                  <a:lnTo>
                    <a:pt x="70" y="177"/>
                  </a:lnTo>
                  <a:lnTo>
                    <a:pt x="74" y="187"/>
                  </a:lnTo>
                  <a:lnTo>
                    <a:pt x="95" y="190"/>
                  </a:lnTo>
                  <a:lnTo>
                    <a:pt x="107" y="184"/>
                  </a:lnTo>
                  <a:lnTo>
                    <a:pt x="108" y="170"/>
                  </a:lnTo>
                  <a:lnTo>
                    <a:pt x="110" y="154"/>
                  </a:lnTo>
                  <a:lnTo>
                    <a:pt x="111" y="139"/>
                  </a:lnTo>
                  <a:lnTo>
                    <a:pt x="112" y="124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23" name="Freeform 237">
              <a:extLst>
                <a:ext uri="{FF2B5EF4-FFF2-40B4-BE49-F238E27FC236}">
                  <a16:creationId xmlns:a16="http://schemas.microsoft.com/office/drawing/2014/main" id="{3812B7BD-0AE4-49A6-839A-982DAB1F57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8788" y="5066227"/>
              <a:ext cx="273993" cy="317449"/>
            </a:xfrm>
            <a:custGeom>
              <a:avLst/>
              <a:gdLst>
                <a:gd name="T0" fmla="*/ 0 w 131"/>
                <a:gd name="T1" fmla="*/ 111 h 144"/>
                <a:gd name="T2" fmla="*/ 1 w 131"/>
                <a:gd name="T3" fmla="*/ 89 h 144"/>
                <a:gd name="T4" fmla="*/ 2 w 131"/>
                <a:gd name="T5" fmla="*/ 67 h 144"/>
                <a:gd name="T6" fmla="*/ 16 w 131"/>
                <a:gd name="T7" fmla="*/ 67 h 144"/>
                <a:gd name="T8" fmla="*/ 17 w 131"/>
                <a:gd name="T9" fmla="*/ 53 h 144"/>
                <a:gd name="T10" fmla="*/ 17 w 131"/>
                <a:gd name="T11" fmla="*/ 37 h 144"/>
                <a:gd name="T12" fmla="*/ 17 w 131"/>
                <a:gd name="T13" fmla="*/ 23 h 144"/>
                <a:gd name="T14" fmla="*/ 18 w 131"/>
                <a:gd name="T15" fmla="*/ 8 h 144"/>
                <a:gd name="T16" fmla="*/ 34 w 131"/>
                <a:gd name="T17" fmla="*/ 6 h 144"/>
                <a:gd name="T18" fmla="*/ 50 w 131"/>
                <a:gd name="T19" fmla="*/ 3 h 144"/>
                <a:gd name="T20" fmla="*/ 55 w 131"/>
                <a:gd name="T21" fmla="*/ 9 h 144"/>
                <a:gd name="T22" fmla="*/ 67 w 131"/>
                <a:gd name="T23" fmla="*/ 3 h 144"/>
                <a:gd name="T24" fmla="*/ 78 w 131"/>
                <a:gd name="T25" fmla="*/ 0 h 144"/>
                <a:gd name="T26" fmla="*/ 86 w 131"/>
                <a:gd name="T27" fmla="*/ 15 h 144"/>
                <a:gd name="T28" fmla="*/ 94 w 131"/>
                <a:gd name="T29" fmla="*/ 31 h 144"/>
                <a:gd name="T30" fmla="*/ 104 w 131"/>
                <a:gd name="T31" fmla="*/ 38 h 144"/>
                <a:gd name="T32" fmla="*/ 107 w 131"/>
                <a:gd name="T33" fmla="*/ 42 h 144"/>
                <a:gd name="T34" fmla="*/ 110 w 131"/>
                <a:gd name="T35" fmla="*/ 47 h 144"/>
                <a:gd name="T36" fmla="*/ 115 w 131"/>
                <a:gd name="T37" fmla="*/ 60 h 144"/>
                <a:gd name="T38" fmla="*/ 127 w 131"/>
                <a:gd name="T39" fmla="*/ 66 h 144"/>
                <a:gd name="T40" fmla="*/ 131 w 131"/>
                <a:gd name="T41" fmla="*/ 68 h 144"/>
                <a:gd name="T42" fmla="*/ 131 w 131"/>
                <a:gd name="T43" fmla="*/ 69 h 144"/>
                <a:gd name="T44" fmla="*/ 112 w 131"/>
                <a:gd name="T45" fmla="*/ 83 h 144"/>
                <a:gd name="T46" fmla="*/ 97 w 131"/>
                <a:gd name="T47" fmla="*/ 95 h 144"/>
                <a:gd name="T48" fmla="*/ 90 w 131"/>
                <a:gd name="T49" fmla="*/ 109 h 144"/>
                <a:gd name="T50" fmla="*/ 82 w 131"/>
                <a:gd name="T51" fmla="*/ 114 h 144"/>
                <a:gd name="T52" fmla="*/ 73 w 131"/>
                <a:gd name="T53" fmla="*/ 127 h 144"/>
                <a:gd name="T54" fmla="*/ 53 w 131"/>
                <a:gd name="T55" fmla="*/ 125 h 144"/>
                <a:gd name="T56" fmla="*/ 42 w 131"/>
                <a:gd name="T57" fmla="*/ 120 h 144"/>
                <a:gd name="T58" fmla="*/ 35 w 131"/>
                <a:gd name="T59" fmla="*/ 131 h 144"/>
                <a:gd name="T60" fmla="*/ 28 w 131"/>
                <a:gd name="T61" fmla="*/ 141 h 144"/>
                <a:gd name="T62" fmla="*/ 12 w 131"/>
                <a:gd name="T63" fmla="*/ 144 h 144"/>
                <a:gd name="T64" fmla="*/ 7 w 131"/>
                <a:gd name="T65" fmla="*/ 143 h 144"/>
                <a:gd name="T66" fmla="*/ 10 w 131"/>
                <a:gd name="T67" fmla="*/ 127 h 144"/>
                <a:gd name="T68" fmla="*/ 0 w 131"/>
                <a:gd name="T69" fmla="*/ 11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1" h="144">
                  <a:moveTo>
                    <a:pt x="0" y="111"/>
                  </a:moveTo>
                  <a:lnTo>
                    <a:pt x="1" y="89"/>
                  </a:lnTo>
                  <a:lnTo>
                    <a:pt x="2" y="67"/>
                  </a:lnTo>
                  <a:lnTo>
                    <a:pt x="16" y="67"/>
                  </a:lnTo>
                  <a:lnTo>
                    <a:pt x="17" y="53"/>
                  </a:lnTo>
                  <a:lnTo>
                    <a:pt x="17" y="37"/>
                  </a:lnTo>
                  <a:lnTo>
                    <a:pt x="17" y="23"/>
                  </a:lnTo>
                  <a:lnTo>
                    <a:pt x="18" y="8"/>
                  </a:lnTo>
                  <a:lnTo>
                    <a:pt x="34" y="6"/>
                  </a:lnTo>
                  <a:lnTo>
                    <a:pt x="50" y="3"/>
                  </a:lnTo>
                  <a:lnTo>
                    <a:pt x="55" y="9"/>
                  </a:lnTo>
                  <a:lnTo>
                    <a:pt x="67" y="3"/>
                  </a:lnTo>
                  <a:lnTo>
                    <a:pt x="78" y="0"/>
                  </a:lnTo>
                  <a:lnTo>
                    <a:pt x="86" y="15"/>
                  </a:lnTo>
                  <a:lnTo>
                    <a:pt x="94" y="31"/>
                  </a:lnTo>
                  <a:lnTo>
                    <a:pt x="104" y="38"/>
                  </a:lnTo>
                  <a:lnTo>
                    <a:pt x="107" y="42"/>
                  </a:lnTo>
                  <a:lnTo>
                    <a:pt x="110" y="47"/>
                  </a:lnTo>
                  <a:lnTo>
                    <a:pt x="115" y="60"/>
                  </a:lnTo>
                  <a:lnTo>
                    <a:pt x="127" y="66"/>
                  </a:lnTo>
                  <a:lnTo>
                    <a:pt x="131" y="68"/>
                  </a:lnTo>
                  <a:lnTo>
                    <a:pt x="131" y="69"/>
                  </a:lnTo>
                  <a:lnTo>
                    <a:pt x="112" y="83"/>
                  </a:lnTo>
                  <a:lnTo>
                    <a:pt x="97" y="95"/>
                  </a:lnTo>
                  <a:lnTo>
                    <a:pt x="90" y="109"/>
                  </a:lnTo>
                  <a:lnTo>
                    <a:pt x="82" y="114"/>
                  </a:lnTo>
                  <a:lnTo>
                    <a:pt x="73" y="127"/>
                  </a:lnTo>
                  <a:lnTo>
                    <a:pt x="53" y="125"/>
                  </a:lnTo>
                  <a:lnTo>
                    <a:pt x="42" y="120"/>
                  </a:lnTo>
                  <a:lnTo>
                    <a:pt x="35" y="131"/>
                  </a:lnTo>
                  <a:lnTo>
                    <a:pt x="28" y="141"/>
                  </a:lnTo>
                  <a:lnTo>
                    <a:pt x="12" y="144"/>
                  </a:lnTo>
                  <a:lnTo>
                    <a:pt x="7" y="143"/>
                  </a:lnTo>
                  <a:lnTo>
                    <a:pt x="10" y="127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24" name="Freeform 238">
              <a:extLst>
                <a:ext uri="{FF2B5EF4-FFF2-40B4-BE49-F238E27FC236}">
                  <a16:creationId xmlns:a16="http://schemas.microsoft.com/office/drawing/2014/main" id="{7C6EECA2-F48D-4E65-B1CC-66C6EC30E41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4699" y="4840044"/>
              <a:ext cx="9514" cy="17858"/>
            </a:xfrm>
            <a:custGeom>
              <a:avLst/>
              <a:gdLst>
                <a:gd name="T0" fmla="*/ 2 w 2"/>
                <a:gd name="T1" fmla="*/ 8 h 8"/>
                <a:gd name="T2" fmla="*/ 2 w 2"/>
                <a:gd name="T3" fmla="*/ 6 h 8"/>
                <a:gd name="T4" fmla="*/ 0 w 2"/>
                <a:gd name="T5" fmla="*/ 0 h 8"/>
                <a:gd name="T6" fmla="*/ 2 w 2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8">
                  <a:moveTo>
                    <a:pt x="2" y="8"/>
                  </a:moveTo>
                  <a:lnTo>
                    <a:pt x="2" y="6"/>
                  </a:lnTo>
                  <a:lnTo>
                    <a:pt x="0" y="0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25" name="Freeform 239">
              <a:extLst>
                <a:ext uri="{FF2B5EF4-FFF2-40B4-BE49-F238E27FC236}">
                  <a16:creationId xmlns:a16="http://schemas.microsoft.com/office/drawing/2014/main" id="{8AD7411C-B519-470A-A8C8-745E8C5FB7B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6672" y="5451132"/>
              <a:ext cx="64693" cy="69441"/>
            </a:xfrm>
            <a:custGeom>
              <a:avLst/>
              <a:gdLst>
                <a:gd name="T0" fmla="*/ 13 w 31"/>
                <a:gd name="T1" fmla="*/ 3 h 31"/>
                <a:gd name="T2" fmla="*/ 0 w 31"/>
                <a:gd name="T3" fmla="*/ 18 h 31"/>
                <a:gd name="T4" fmla="*/ 9 w 31"/>
                <a:gd name="T5" fmla="*/ 31 h 31"/>
                <a:gd name="T6" fmla="*/ 15 w 31"/>
                <a:gd name="T7" fmla="*/ 27 h 31"/>
                <a:gd name="T8" fmla="*/ 28 w 31"/>
                <a:gd name="T9" fmla="*/ 17 h 31"/>
                <a:gd name="T10" fmla="*/ 31 w 31"/>
                <a:gd name="T11" fmla="*/ 7 h 31"/>
                <a:gd name="T12" fmla="*/ 19 w 31"/>
                <a:gd name="T13" fmla="*/ 0 h 31"/>
                <a:gd name="T14" fmla="*/ 13 w 31"/>
                <a:gd name="T15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1">
                  <a:moveTo>
                    <a:pt x="13" y="3"/>
                  </a:moveTo>
                  <a:lnTo>
                    <a:pt x="0" y="18"/>
                  </a:lnTo>
                  <a:lnTo>
                    <a:pt x="9" y="31"/>
                  </a:lnTo>
                  <a:lnTo>
                    <a:pt x="15" y="27"/>
                  </a:lnTo>
                  <a:lnTo>
                    <a:pt x="28" y="17"/>
                  </a:lnTo>
                  <a:lnTo>
                    <a:pt x="31" y="7"/>
                  </a:lnTo>
                  <a:lnTo>
                    <a:pt x="19" y="0"/>
                  </a:lnTo>
                  <a:lnTo>
                    <a:pt x="13" y="3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26" name="Freeform 240">
              <a:extLst>
                <a:ext uri="{FF2B5EF4-FFF2-40B4-BE49-F238E27FC236}">
                  <a16:creationId xmlns:a16="http://schemas.microsoft.com/office/drawing/2014/main" id="{04118A9E-17DC-4D1C-BBC4-9BDB981D62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575" y="4863854"/>
              <a:ext cx="228327" cy="476174"/>
            </a:xfrm>
            <a:custGeom>
              <a:avLst/>
              <a:gdLst>
                <a:gd name="T0" fmla="*/ 39 w 108"/>
                <a:gd name="T1" fmla="*/ 62 h 216"/>
                <a:gd name="T2" fmla="*/ 34 w 108"/>
                <a:gd name="T3" fmla="*/ 63 h 216"/>
                <a:gd name="T4" fmla="*/ 21 w 108"/>
                <a:gd name="T5" fmla="*/ 69 h 216"/>
                <a:gd name="T6" fmla="*/ 17 w 108"/>
                <a:gd name="T7" fmla="*/ 82 h 216"/>
                <a:gd name="T8" fmla="*/ 14 w 108"/>
                <a:gd name="T9" fmla="*/ 95 h 216"/>
                <a:gd name="T10" fmla="*/ 16 w 108"/>
                <a:gd name="T11" fmla="*/ 111 h 216"/>
                <a:gd name="T12" fmla="*/ 18 w 108"/>
                <a:gd name="T13" fmla="*/ 128 h 216"/>
                <a:gd name="T14" fmla="*/ 11 w 108"/>
                <a:gd name="T15" fmla="*/ 138 h 216"/>
                <a:gd name="T16" fmla="*/ 4 w 108"/>
                <a:gd name="T17" fmla="*/ 149 h 216"/>
                <a:gd name="T18" fmla="*/ 0 w 108"/>
                <a:gd name="T19" fmla="*/ 171 h 216"/>
                <a:gd name="T20" fmla="*/ 3 w 108"/>
                <a:gd name="T21" fmla="*/ 189 h 216"/>
                <a:gd name="T22" fmla="*/ 8 w 108"/>
                <a:gd name="T23" fmla="*/ 209 h 216"/>
                <a:gd name="T24" fmla="*/ 27 w 108"/>
                <a:gd name="T25" fmla="*/ 216 h 216"/>
                <a:gd name="T26" fmla="*/ 39 w 108"/>
                <a:gd name="T27" fmla="*/ 210 h 216"/>
                <a:gd name="T28" fmla="*/ 51 w 108"/>
                <a:gd name="T29" fmla="*/ 204 h 216"/>
                <a:gd name="T30" fmla="*/ 56 w 108"/>
                <a:gd name="T31" fmla="*/ 190 h 216"/>
                <a:gd name="T32" fmla="*/ 62 w 108"/>
                <a:gd name="T33" fmla="*/ 176 h 216"/>
                <a:gd name="T34" fmla="*/ 66 w 108"/>
                <a:gd name="T35" fmla="*/ 160 h 216"/>
                <a:gd name="T36" fmla="*/ 71 w 108"/>
                <a:gd name="T37" fmla="*/ 146 h 216"/>
                <a:gd name="T38" fmla="*/ 76 w 108"/>
                <a:gd name="T39" fmla="*/ 131 h 216"/>
                <a:gd name="T40" fmla="*/ 81 w 108"/>
                <a:gd name="T41" fmla="*/ 117 h 216"/>
                <a:gd name="T42" fmla="*/ 87 w 108"/>
                <a:gd name="T43" fmla="*/ 102 h 216"/>
                <a:gd name="T44" fmla="*/ 92 w 108"/>
                <a:gd name="T45" fmla="*/ 87 h 216"/>
                <a:gd name="T46" fmla="*/ 96 w 108"/>
                <a:gd name="T47" fmla="*/ 77 h 216"/>
                <a:gd name="T48" fmla="*/ 96 w 108"/>
                <a:gd name="T49" fmla="*/ 54 h 216"/>
                <a:gd name="T50" fmla="*/ 105 w 108"/>
                <a:gd name="T51" fmla="*/ 62 h 216"/>
                <a:gd name="T52" fmla="*/ 108 w 108"/>
                <a:gd name="T53" fmla="*/ 52 h 216"/>
                <a:gd name="T54" fmla="*/ 104 w 108"/>
                <a:gd name="T55" fmla="*/ 32 h 216"/>
                <a:gd name="T56" fmla="*/ 99 w 108"/>
                <a:gd name="T57" fmla="*/ 12 h 216"/>
                <a:gd name="T58" fmla="*/ 94 w 108"/>
                <a:gd name="T59" fmla="*/ 0 h 216"/>
                <a:gd name="T60" fmla="*/ 92 w 108"/>
                <a:gd name="T61" fmla="*/ 0 h 216"/>
                <a:gd name="T62" fmla="*/ 87 w 108"/>
                <a:gd name="T63" fmla="*/ 5 h 216"/>
                <a:gd name="T64" fmla="*/ 84 w 108"/>
                <a:gd name="T65" fmla="*/ 22 h 216"/>
                <a:gd name="T66" fmla="*/ 80 w 108"/>
                <a:gd name="T67" fmla="*/ 24 h 216"/>
                <a:gd name="T68" fmla="*/ 77 w 108"/>
                <a:gd name="T69" fmla="*/ 27 h 216"/>
                <a:gd name="T70" fmla="*/ 72 w 108"/>
                <a:gd name="T71" fmla="*/ 24 h 216"/>
                <a:gd name="T72" fmla="*/ 74 w 108"/>
                <a:gd name="T73" fmla="*/ 34 h 216"/>
                <a:gd name="T74" fmla="*/ 71 w 108"/>
                <a:gd name="T75" fmla="*/ 40 h 216"/>
                <a:gd name="T76" fmla="*/ 72 w 108"/>
                <a:gd name="T77" fmla="*/ 42 h 216"/>
                <a:gd name="T78" fmla="*/ 65 w 108"/>
                <a:gd name="T79" fmla="*/ 47 h 216"/>
                <a:gd name="T80" fmla="*/ 65 w 108"/>
                <a:gd name="T81" fmla="*/ 42 h 216"/>
                <a:gd name="T82" fmla="*/ 60 w 108"/>
                <a:gd name="T83" fmla="*/ 53 h 216"/>
                <a:gd name="T84" fmla="*/ 59 w 108"/>
                <a:gd name="T85" fmla="*/ 53 h 216"/>
                <a:gd name="T86" fmla="*/ 56 w 108"/>
                <a:gd name="T87" fmla="*/ 52 h 216"/>
                <a:gd name="T88" fmla="*/ 50 w 108"/>
                <a:gd name="T89" fmla="*/ 60 h 216"/>
                <a:gd name="T90" fmla="*/ 39 w 108"/>
                <a:gd name="T91" fmla="*/ 6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8" h="216">
                  <a:moveTo>
                    <a:pt x="39" y="62"/>
                  </a:moveTo>
                  <a:lnTo>
                    <a:pt x="34" y="63"/>
                  </a:lnTo>
                  <a:lnTo>
                    <a:pt x="21" y="69"/>
                  </a:lnTo>
                  <a:lnTo>
                    <a:pt x="17" y="82"/>
                  </a:lnTo>
                  <a:lnTo>
                    <a:pt x="14" y="95"/>
                  </a:lnTo>
                  <a:lnTo>
                    <a:pt x="16" y="111"/>
                  </a:lnTo>
                  <a:lnTo>
                    <a:pt x="18" y="128"/>
                  </a:lnTo>
                  <a:lnTo>
                    <a:pt x="11" y="138"/>
                  </a:lnTo>
                  <a:lnTo>
                    <a:pt x="4" y="149"/>
                  </a:lnTo>
                  <a:lnTo>
                    <a:pt x="0" y="171"/>
                  </a:lnTo>
                  <a:lnTo>
                    <a:pt x="3" y="189"/>
                  </a:lnTo>
                  <a:lnTo>
                    <a:pt x="8" y="209"/>
                  </a:lnTo>
                  <a:lnTo>
                    <a:pt x="27" y="216"/>
                  </a:lnTo>
                  <a:lnTo>
                    <a:pt x="39" y="210"/>
                  </a:lnTo>
                  <a:lnTo>
                    <a:pt x="51" y="204"/>
                  </a:lnTo>
                  <a:lnTo>
                    <a:pt x="56" y="190"/>
                  </a:lnTo>
                  <a:lnTo>
                    <a:pt x="62" y="176"/>
                  </a:lnTo>
                  <a:lnTo>
                    <a:pt x="66" y="160"/>
                  </a:lnTo>
                  <a:lnTo>
                    <a:pt x="71" y="146"/>
                  </a:lnTo>
                  <a:lnTo>
                    <a:pt x="76" y="131"/>
                  </a:lnTo>
                  <a:lnTo>
                    <a:pt x="81" y="117"/>
                  </a:lnTo>
                  <a:lnTo>
                    <a:pt x="87" y="102"/>
                  </a:lnTo>
                  <a:lnTo>
                    <a:pt x="92" y="87"/>
                  </a:lnTo>
                  <a:lnTo>
                    <a:pt x="96" y="77"/>
                  </a:lnTo>
                  <a:lnTo>
                    <a:pt x="96" y="54"/>
                  </a:lnTo>
                  <a:lnTo>
                    <a:pt x="105" y="62"/>
                  </a:lnTo>
                  <a:lnTo>
                    <a:pt x="108" y="52"/>
                  </a:lnTo>
                  <a:lnTo>
                    <a:pt x="104" y="32"/>
                  </a:lnTo>
                  <a:lnTo>
                    <a:pt x="99" y="12"/>
                  </a:lnTo>
                  <a:lnTo>
                    <a:pt x="94" y="0"/>
                  </a:lnTo>
                  <a:lnTo>
                    <a:pt x="92" y="0"/>
                  </a:lnTo>
                  <a:lnTo>
                    <a:pt x="87" y="5"/>
                  </a:lnTo>
                  <a:lnTo>
                    <a:pt x="84" y="22"/>
                  </a:lnTo>
                  <a:lnTo>
                    <a:pt x="80" y="24"/>
                  </a:lnTo>
                  <a:lnTo>
                    <a:pt x="77" y="27"/>
                  </a:lnTo>
                  <a:lnTo>
                    <a:pt x="72" y="24"/>
                  </a:lnTo>
                  <a:lnTo>
                    <a:pt x="74" y="34"/>
                  </a:lnTo>
                  <a:lnTo>
                    <a:pt x="71" y="40"/>
                  </a:lnTo>
                  <a:lnTo>
                    <a:pt x="72" y="42"/>
                  </a:lnTo>
                  <a:lnTo>
                    <a:pt x="65" y="47"/>
                  </a:lnTo>
                  <a:lnTo>
                    <a:pt x="65" y="42"/>
                  </a:lnTo>
                  <a:lnTo>
                    <a:pt x="60" y="53"/>
                  </a:lnTo>
                  <a:lnTo>
                    <a:pt x="59" y="53"/>
                  </a:lnTo>
                  <a:lnTo>
                    <a:pt x="56" y="52"/>
                  </a:lnTo>
                  <a:lnTo>
                    <a:pt x="50" y="60"/>
                  </a:lnTo>
                  <a:lnTo>
                    <a:pt x="39" y="62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27" name="Freeform 241">
              <a:extLst>
                <a:ext uri="{FF2B5EF4-FFF2-40B4-BE49-F238E27FC236}">
                  <a16:creationId xmlns:a16="http://schemas.microsoft.com/office/drawing/2014/main" id="{1FDC07EF-1B4F-4601-8950-FB7426DE4AE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36944" y="4770603"/>
              <a:ext cx="97039" cy="273801"/>
            </a:xfrm>
            <a:custGeom>
              <a:avLst/>
              <a:gdLst>
                <a:gd name="T0" fmla="*/ 25 w 44"/>
                <a:gd name="T1" fmla="*/ 88 h 125"/>
                <a:gd name="T2" fmla="*/ 20 w 44"/>
                <a:gd name="T3" fmla="*/ 103 h 125"/>
                <a:gd name="T4" fmla="*/ 27 w 44"/>
                <a:gd name="T5" fmla="*/ 114 h 125"/>
                <a:gd name="T6" fmla="*/ 33 w 44"/>
                <a:gd name="T7" fmla="*/ 125 h 125"/>
                <a:gd name="T8" fmla="*/ 32 w 44"/>
                <a:gd name="T9" fmla="*/ 115 h 125"/>
                <a:gd name="T10" fmla="*/ 39 w 44"/>
                <a:gd name="T11" fmla="*/ 108 h 125"/>
                <a:gd name="T12" fmla="*/ 42 w 44"/>
                <a:gd name="T13" fmla="*/ 96 h 125"/>
                <a:gd name="T14" fmla="*/ 44 w 44"/>
                <a:gd name="T15" fmla="*/ 84 h 125"/>
                <a:gd name="T16" fmla="*/ 36 w 44"/>
                <a:gd name="T17" fmla="*/ 76 h 125"/>
                <a:gd name="T18" fmla="*/ 27 w 44"/>
                <a:gd name="T19" fmla="*/ 66 h 125"/>
                <a:gd name="T20" fmla="*/ 25 w 44"/>
                <a:gd name="T21" fmla="*/ 51 h 125"/>
                <a:gd name="T22" fmla="*/ 27 w 44"/>
                <a:gd name="T23" fmla="*/ 39 h 125"/>
                <a:gd name="T24" fmla="*/ 32 w 44"/>
                <a:gd name="T25" fmla="*/ 35 h 125"/>
                <a:gd name="T26" fmla="*/ 29 w 44"/>
                <a:gd name="T27" fmla="*/ 23 h 125"/>
                <a:gd name="T28" fmla="*/ 25 w 44"/>
                <a:gd name="T29" fmla="*/ 5 h 125"/>
                <a:gd name="T30" fmla="*/ 19 w 44"/>
                <a:gd name="T31" fmla="*/ 3 h 125"/>
                <a:gd name="T32" fmla="*/ 5 w 44"/>
                <a:gd name="T33" fmla="*/ 0 h 125"/>
                <a:gd name="T34" fmla="*/ 6 w 44"/>
                <a:gd name="T35" fmla="*/ 4 h 125"/>
                <a:gd name="T36" fmla="*/ 14 w 44"/>
                <a:gd name="T37" fmla="*/ 17 h 125"/>
                <a:gd name="T38" fmla="*/ 11 w 44"/>
                <a:gd name="T39" fmla="*/ 23 h 125"/>
                <a:gd name="T40" fmla="*/ 11 w 44"/>
                <a:gd name="T41" fmla="*/ 35 h 125"/>
                <a:gd name="T42" fmla="*/ 9 w 44"/>
                <a:gd name="T43" fmla="*/ 48 h 125"/>
                <a:gd name="T44" fmla="*/ 8 w 44"/>
                <a:gd name="T45" fmla="*/ 52 h 125"/>
                <a:gd name="T46" fmla="*/ 0 w 44"/>
                <a:gd name="T47" fmla="*/ 67 h 125"/>
                <a:gd name="T48" fmla="*/ 7 w 44"/>
                <a:gd name="T49" fmla="*/ 75 h 125"/>
                <a:gd name="T50" fmla="*/ 11 w 44"/>
                <a:gd name="T51" fmla="*/ 81 h 125"/>
                <a:gd name="T52" fmla="*/ 20 w 44"/>
                <a:gd name="T53" fmla="*/ 82 h 125"/>
                <a:gd name="T54" fmla="*/ 25 w 44"/>
                <a:gd name="T55" fmla="*/ 8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4" h="125">
                  <a:moveTo>
                    <a:pt x="25" y="88"/>
                  </a:moveTo>
                  <a:lnTo>
                    <a:pt x="20" y="103"/>
                  </a:lnTo>
                  <a:lnTo>
                    <a:pt x="27" y="114"/>
                  </a:lnTo>
                  <a:lnTo>
                    <a:pt x="33" y="125"/>
                  </a:lnTo>
                  <a:lnTo>
                    <a:pt x="32" y="115"/>
                  </a:lnTo>
                  <a:lnTo>
                    <a:pt x="39" y="108"/>
                  </a:lnTo>
                  <a:lnTo>
                    <a:pt x="42" y="96"/>
                  </a:lnTo>
                  <a:lnTo>
                    <a:pt x="44" y="84"/>
                  </a:lnTo>
                  <a:lnTo>
                    <a:pt x="36" y="76"/>
                  </a:lnTo>
                  <a:lnTo>
                    <a:pt x="27" y="66"/>
                  </a:lnTo>
                  <a:lnTo>
                    <a:pt x="25" y="51"/>
                  </a:lnTo>
                  <a:lnTo>
                    <a:pt x="27" y="39"/>
                  </a:lnTo>
                  <a:lnTo>
                    <a:pt x="32" y="35"/>
                  </a:lnTo>
                  <a:lnTo>
                    <a:pt x="29" y="23"/>
                  </a:lnTo>
                  <a:lnTo>
                    <a:pt x="25" y="5"/>
                  </a:lnTo>
                  <a:lnTo>
                    <a:pt x="19" y="3"/>
                  </a:lnTo>
                  <a:lnTo>
                    <a:pt x="5" y="0"/>
                  </a:lnTo>
                  <a:lnTo>
                    <a:pt x="6" y="4"/>
                  </a:lnTo>
                  <a:lnTo>
                    <a:pt x="14" y="17"/>
                  </a:lnTo>
                  <a:lnTo>
                    <a:pt x="11" y="23"/>
                  </a:lnTo>
                  <a:lnTo>
                    <a:pt x="11" y="35"/>
                  </a:lnTo>
                  <a:lnTo>
                    <a:pt x="9" y="48"/>
                  </a:lnTo>
                  <a:lnTo>
                    <a:pt x="8" y="52"/>
                  </a:lnTo>
                  <a:lnTo>
                    <a:pt x="0" y="67"/>
                  </a:lnTo>
                  <a:lnTo>
                    <a:pt x="7" y="75"/>
                  </a:lnTo>
                  <a:lnTo>
                    <a:pt x="11" y="81"/>
                  </a:lnTo>
                  <a:lnTo>
                    <a:pt x="20" y="82"/>
                  </a:lnTo>
                  <a:lnTo>
                    <a:pt x="25" y="88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28" name="Freeform 242">
              <a:extLst>
                <a:ext uri="{FF2B5EF4-FFF2-40B4-BE49-F238E27FC236}">
                  <a16:creationId xmlns:a16="http://schemas.microsoft.com/office/drawing/2014/main" id="{8FC469EF-F76C-4F9E-A9CE-CBA111628B6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0836" y="4810284"/>
              <a:ext cx="317755" cy="577359"/>
            </a:xfrm>
            <a:custGeom>
              <a:avLst/>
              <a:gdLst>
                <a:gd name="T0" fmla="*/ 60 w 149"/>
                <a:gd name="T1" fmla="*/ 154 h 263"/>
                <a:gd name="T2" fmla="*/ 66 w 149"/>
                <a:gd name="T3" fmla="*/ 148 h 263"/>
                <a:gd name="T4" fmla="*/ 91 w 149"/>
                <a:gd name="T5" fmla="*/ 121 h 263"/>
                <a:gd name="T6" fmla="*/ 116 w 149"/>
                <a:gd name="T7" fmla="*/ 106 h 263"/>
                <a:gd name="T8" fmla="*/ 145 w 149"/>
                <a:gd name="T9" fmla="*/ 76 h 263"/>
                <a:gd name="T10" fmla="*/ 147 w 149"/>
                <a:gd name="T11" fmla="*/ 64 h 263"/>
                <a:gd name="T12" fmla="*/ 147 w 149"/>
                <a:gd name="T13" fmla="*/ 33 h 263"/>
                <a:gd name="T14" fmla="*/ 147 w 149"/>
                <a:gd name="T15" fmla="*/ 0 h 263"/>
                <a:gd name="T16" fmla="*/ 132 w 149"/>
                <a:gd name="T17" fmla="*/ 7 h 263"/>
                <a:gd name="T18" fmla="*/ 109 w 149"/>
                <a:gd name="T19" fmla="*/ 15 h 263"/>
                <a:gd name="T20" fmla="*/ 83 w 149"/>
                <a:gd name="T21" fmla="*/ 16 h 263"/>
                <a:gd name="T22" fmla="*/ 68 w 149"/>
                <a:gd name="T23" fmla="*/ 17 h 263"/>
                <a:gd name="T24" fmla="*/ 61 w 149"/>
                <a:gd name="T25" fmla="*/ 33 h 263"/>
                <a:gd name="T26" fmla="*/ 72 w 149"/>
                <a:gd name="T27" fmla="*/ 58 h 263"/>
                <a:gd name="T28" fmla="*/ 78 w 149"/>
                <a:gd name="T29" fmla="*/ 78 h 263"/>
                <a:gd name="T30" fmla="*/ 68 w 149"/>
                <a:gd name="T31" fmla="*/ 97 h 263"/>
                <a:gd name="T32" fmla="*/ 63 w 149"/>
                <a:gd name="T33" fmla="*/ 96 h 263"/>
                <a:gd name="T34" fmla="*/ 61 w 149"/>
                <a:gd name="T35" fmla="*/ 70 h 263"/>
                <a:gd name="T36" fmla="*/ 47 w 149"/>
                <a:gd name="T37" fmla="*/ 63 h 263"/>
                <a:gd name="T38" fmla="*/ 32 w 149"/>
                <a:gd name="T39" fmla="*/ 61 h 263"/>
                <a:gd name="T40" fmla="*/ 11 w 149"/>
                <a:gd name="T41" fmla="*/ 70 h 263"/>
                <a:gd name="T42" fmla="*/ 2 w 149"/>
                <a:gd name="T43" fmla="*/ 83 h 263"/>
                <a:gd name="T44" fmla="*/ 9 w 149"/>
                <a:gd name="T45" fmla="*/ 88 h 263"/>
                <a:gd name="T46" fmla="*/ 37 w 149"/>
                <a:gd name="T47" fmla="*/ 100 h 263"/>
                <a:gd name="T48" fmla="*/ 33 w 149"/>
                <a:gd name="T49" fmla="*/ 133 h 263"/>
                <a:gd name="T50" fmla="*/ 30 w 149"/>
                <a:gd name="T51" fmla="*/ 161 h 263"/>
                <a:gd name="T52" fmla="*/ 19 w 149"/>
                <a:gd name="T53" fmla="*/ 183 h 263"/>
                <a:gd name="T54" fmla="*/ 13 w 149"/>
                <a:gd name="T55" fmla="*/ 203 h 263"/>
                <a:gd name="T56" fmla="*/ 15 w 149"/>
                <a:gd name="T57" fmla="*/ 232 h 263"/>
                <a:gd name="T58" fmla="*/ 17 w 149"/>
                <a:gd name="T59" fmla="*/ 263 h 263"/>
                <a:gd name="T60" fmla="*/ 27 w 149"/>
                <a:gd name="T61" fmla="*/ 252 h 263"/>
                <a:gd name="T62" fmla="*/ 41 w 149"/>
                <a:gd name="T63" fmla="*/ 235 h 263"/>
                <a:gd name="T64" fmla="*/ 65 w 149"/>
                <a:gd name="T65" fmla="*/ 221 h 263"/>
                <a:gd name="T66" fmla="*/ 67 w 149"/>
                <a:gd name="T67" fmla="*/ 201 h 263"/>
                <a:gd name="T68" fmla="*/ 66 w 149"/>
                <a:gd name="T69" fmla="*/ 191 h 263"/>
                <a:gd name="T70" fmla="*/ 61 w 149"/>
                <a:gd name="T71" fmla="*/ 1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9" h="263">
                  <a:moveTo>
                    <a:pt x="61" y="163"/>
                  </a:moveTo>
                  <a:lnTo>
                    <a:pt x="60" y="154"/>
                  </a:lnTo>
                  <a:lnTo>
                    <a:pt x="59" y="149"/>
                  </a:lnTo>
                  <a:lnTo>
                    <a:pt x="66" y="148"/>
                  </a:lnTo>
                  <a:lnTo>
                    <a:pt x="81" y="135"/>
                  </a:lnTo>
                  <a:lnTo>
                    <a:pt x="91" y="121"/>
                  </a:lnTo>
                  <a:lnTo>
                    <a:pt x="104" y="113"/>
                  </a:lnTo>
                  <a:lnTo>
                    <a:pt x="116" y="106"/>
                  </a:lnTo>
                  <a:lnTo>
                    <a:pt x="134" y="95"/>
                  </a:lnTo>
                  <a:lnTo>
                    <a:pt x="145" y="76"/>
                  </a:lnTo>
                  <a:lnTo>
                    <a:pt x="149" y="63"/>
                  </a:lnTo>
                  <a:lnTo>
                    <a:pt x="147" y="64"/>
                  </a:lnTo>
                  <a:lnTo>
                    <a:pt x="145" y="40"/>
                  </a:lnTo>
                  <a:lnTo>
                    <a:pt x="147" y="33"/>
                  </a:lnTo>
                  <a:lnTo>
                    <a:pt x="147" y="10"/>
                  </a:lnTo>
                  <a:lnTo>
                    <a:pt x="147" y="0"/>
                  </a:lnTo>
                  <a:lnTo>
                    <a:pt x="146" y="0"/>
                  </a:lnTo>
                  <a:lnTo>
                    <a:pt x="132" y="7"/>
                  </a:lnTo>
                  <a:lnTo>
                    <a:pt x="117" y="15"/>
                  </a:lnTo>
                  <a:lnTo>
                    <a:pt x="109" y="15"/>
                  </a:lnTo>
                  <a:lnTo>
                    <a:pt x="99" y="18"/>
                  </a:lnTo>
                  <a:lnTo>
                    <a:pt x="83" y="16"/>
                  </a:lnTo>
                  <a:lnTo>
                    <a:pt x="75" y="17"/>
                  </a:lnTo>
                  <a:lnTo>
                    <a:pt x="68" y="17"/>
                  </a:lnTo>
                  <a:lnTo>
                    <a:pt x="63" y="21"/>
                  </a:lnTo>
                  <a:lnTo>
                    <a:pt x="61" y="33"/>
                  </a:lnTo>
                  <a:lnTo>
                    <a:pt x="63" y="48"/>
                  </a:lnTo>
                  <a:lnTo>
                    <a:pt x="72" y="58"/>
                  </a:lnTo>
                  <a:lnTo>
                    <a:pt x="80" y="66"/>
                  </a:lnTo>
                  <a:lnTo>
                    <a:pt x="78" y="78"/>
                  </a:lnTo>
                  <a:lnTo>
                    <a:pt x="75" y="90"/>
                  </a:lnTo>
                  <a:lnTo>
                    <a:pt x="68" y="97"/>
                  </a:lnTo>
                  <a:lnTo>
                    <a:pt x="69" y="107"/>
                  </a:lnTo>
                  <a:lnTo>
                    <a:pt x="63" y="96"/>
                  </a:lnTo>
                  <a:lnTo>
                    <a:pt x="56" y="85"/>
                  </a:lnTo>
                  <a:lnTo>
                    <a:pt x="61" y="70"/>
                  </a:lnTo>
                  <a:lnTo>
                    <a:pt x="56" y="64"/>
                  </a:lnTo>
                  <a:lnTo>
                    <a:pt x="47" y="63"/>
                  </a:lnTo>
                  <a:lnTo>
                    <a:pt x="43" y="57"/>
                  </a:lnTo>
                  <a:lnTo>
                    <a:pt x="32" y="61"/>
                  </a:lnTo>
                  <a:lnTo>
                    <a:pt x="21" y="65"/>
                  </a:lnTo>
                  <a:lnTo>
                    <a:pt x="11" y="70"/>
                  </a:lnTo>
                  <a:lnTo>
                    <a:pt x="0" y="73"/>
                  </a:lnTo>
                  <a:lnTo>
                    <a:pt x="2" y="83"/>
                  </a:lnTo>
                  <a:lnTo>
                    <a:pt x="2" y="89"/>
                  </a:lnTo>
                  <a:lnTo>
                    <a:pt x="9" y="88"/>
                  </a:lnTo>
                  <a:lnTo>
                    <a:pt x="23" y="94"/>
                  </a:lnTo>
                  <a:lnTo>
                    <a:pt x="37" y="100"/>
                  </a:lnTo>
                  <a:lnTo>
                    <a:pt x="37" y="119"/>
                  </a:lnTo>
                  <a:lnTo>
                    <a:pt x="33" y="133"/>
                  </a:lnTo>
                  <a:lnTo>
                    <a:pt x="36" y="148"/>
                  </a:lnTo>
                  <a:lnTo>
                    <a:pt x="30" y="161"/>
                  </a:lnTo>
                  <a:lnTo>
                    <a:pt x="27" y="174"/>
                  </a:lnTo>
                  <a:lnTo>
                    <a:pt x="19" y="183"/>
                  </a:lnTo>
                  <a:lnTo>
                    <a:pt x="9" y="191"/>
                  </a:lnTo>
                  <a:lnTo>
                    <a:pt x="13" y="203"/>
                  </a:lnTo>
                  <a:lnTo>
                    <a:pt x="15" y="215"/>
                  </a:lnTo>
                  <a:lnTo>
                    <a:pt x="15" y="232"/>
                  </a:lnTo>
                  <a:lnTo>
                    <a:pt x="15" y="249"/>
                  </a:lnTo>
                  <a:lnTo>
                    <a:pt x="17" y="263"/>
                  </a:lnTo>
                  <a:lnTo>
                    <a:pt x="27" y="263"/>
                  </a:lnTo>
                  <a:lnTo>
                    <a:pt x="27" y="252"/>
                  </a:lnTo>
                  <a:lnTo>
                    <a:pt x="25" y="249"/>
                  </a:lnTo>
                  <a:lnTo>
                    <a:pt x="41" y="235"/>
                  </a:lnTo>
                  <a:lnTo>
                    <a:pt x="53" y="228"/>
                  </a:lnTo>
                  <a:lnTo>
                    <a:pt x="65" y="221"/>
                  </a:lnTo>
                  <a:lnTo>
                    <a:pt x="65" y="215"/>
                  </a:lnTo>
                  <a:lnTo>
                    <a:pt x="67" y="201"/>
                  </a:lnTo>
                  <a:lnTo>
                    <a:pt x="68" y="186"/>
                  </a:lnTo>
                  <a:lnTo>
                    <a:pt x="66" y="191"/>
                  </a:lnTo>
                  <a:lnTo>
                    <a:pt x="63" y="178"/>
                  </a:lnTo>
                  <a:lnTo>
                    <a:pt x="61" y="163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29" name="Freeform 243">
              <a:extLst>
                <a:ext uri="{FF2B5EF4-FFF2-40B4-BE49-F238E27FC236}">
                  <a16:creationId xmlns:a16="http://schemas.microsoft.com/office/drawing/2014/main" id="{29D3F1DC-BD66-4619-B174-C4E38AD18F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2235" y="5220982"/>
              <a:ext cx="477585" cy="450381"/>
            </a:xfrm>
            <a:custGeom>
              <a:avLst/>
              <a:gdLst>
                <a:gd name="T0" fmla="*/ 49 w 226"/>
                <a:gd name="T1" fmla="*/ 57 h 203"/>
                <a:gd name="T2" fmla="*/ 46 w 226"/>
                <a:gd name="T3" fmla="*/ 88 h 203"/>
                <a:gd name="T4" fmla="*/ 33 w 226"/>
                <a:gd name="T5" fmla="*/ 108 h 203"/>
                <a:gd name="T6" fmla="*/ 8 w 226"/>
                <a:gd name="T7" fmla="*/ 95 h 203"/>
                <a:gd name="T8" fmla="*/ 6 w 226"/>
                <a:gd name="T9" fmla="*/ 119 h 203"/>
                <a:gd name="T10" fmla="*/ 16 w 226"/>
                <a:gd name="T11" fmla="*/ 148 h 203"/>
                <a:gd name="T12" fmla="*/ 16 w 226"/>
                <a:gd name="T13" fmla="*/ 171 h 203"/>
                <a:gd name="T14" fmla="*/ 22 w 226"/>
                <a:gd name="T15" fmla="*/ 195 h 203"/>
                <a:gd name="T16" fmla="*/ 33 w 226"/>
                <a:gd name="T17" fmla="*/ 198 h 203"/>
                <a:gd name="T18" fmla="*/ 57 w 226"/>
                <a:gd name="T19" fmla="*/ 198 h 203"/>
                <a:gd name="T20" fmla="*/ 86 w 226"/>
                <a:gd name="T21" fmla="*/ 192 h 203"/>
                <a:gd name="T22" fmla="*/ 118 w 226"/>
                <a:gd name="T23" fmla="*/ 190 h 203"/>
                <a:gd name="T24" fmla="*/ 142 w 226"/>
                <a:gd name="T25" fmla="*/ 178 h 203"/>
                <a:gd name="T26" fmla="*/ 166 w 226"/>
                <a:gd name="T27" fmla="*/ 160 h 203"/>
                <a:gd name="T28" fmla="*/ 183 w 226"/>
                <a:gd name="T29" fmla="*/ 142 h 203"/>
                <a:gd name="T30" fmla="*/ 202 w 226"/>
                <a:gd name="T31" fmla="*/ 119 h 203"/>
                <a:gd name="T32" fmla="*/ 220 w 226"/>
                <a:gd name="T33" fmla="*/ 92 h 203"/>
                <a:gd name="T34" fmla="*/ 216 w 226"/>
                <a:gd name="T35" fmla="*/ 76 h 203"/>
                <a:gd name="T36" fmla="*/ 200 w 226"/>
                <a:gd name="T37" fmla="*/ 77 h 203"/>
                <a:gd name="T38" fmla="*/ 207 w 226"/>
                <a:gd name="T39" fmla="*/ 58 h 203"/>
                <a:gd name="T40" fmla="*/ 214 w 226"/>
                <a:gd name="T41" fmla="*/ 45 h 203"/>
                <a:gd name="T42" fmla="*/ 212 w 226"/>
                <a:gd name="T43" fmla="*/ 16 h 203"/>
                <a:gd name="T44" fmla="*/ 195 w 226"/>
                <a:gd name="T45" fmla="*/ 3 h 203"/>
                <a:gd name="T46" fmla="*/ 181 w 226"/>
                <a:gd name="T47" fmla="*/ 0 h 203"/>
                <a:gd name="T48" fmla="*/ 147 w 226"/>
                <a:gd name="T49" fmla="*/ 26 h 203"/>
                <a:gd name="T50" fmla="*/ 132 w 226"/>
                <a:gd name="T51" fmla="*/ 45 h 203"/>
                <a:gd name="T52" fmla="*/ 103 w 226"/>
                <a:gd name="T53" fmla="*/ 56 h 203"/>
                <a:gd name="T54" fmla="*/ 85 w 226"/>
                <a:gd name="T55" fmla="*/ 62 h 203"/>
                <a:gd name="T56" fmla="*/ 62 w 226"/>
                <a:gd name="T57" fmla="*/ 75 h 203"/>
                <a:gd name="T58" fmla="*/ 60 w 226"/>
                <a:gd name="T59" fmla="*/ 58 h 203"/>
                <a:gd name="T60" fmla="*/ 157 w 226"/>
                <a:gd name="T61" fmla="*/ 108 h 203"/>
                <a:gd name="T62" fmla="*/ 153 w 226"/>
                <a:gd name="T63" fmla="*/ 136 h 203"/>
                <a:gd name="T64" fmla="*/ 172 w 226"/>
                <a:gd name="T65" fmla="*/ 122 h 203"/>
                <a:gd name="T66" fmla="*/ 163 w 226"/>
                <a:gd name="T67" fmla="*/ 105 h 203"/>
                <a:gd name="T68" fmla="*/ 50 w 226"/>
                <a:gd name="T69" fmla="*/ 42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6" h="203">
                  <a:moveTo>
                    <a:pt x="50" y="42"/>
                  </a:moveTo>
                  <a:lnTo>
                    <a:pt x="49" y="57"/>
                  </a:lnTo>
                  <a:lnTo>
                    <a:pt x="48" y="72"/>
                  </a:lnTo>
                  <a:lnTo>
                    <a:pt x="46" y="88"/>
                  </a:lnTo>
                  <a:lnTo>
                    <a:pt x="45" y="102"/>
                  </a:lnTo>
                  <a:lnTo>
                    <a:pt x="33" y="108"/>
                  </a:lnTo>
                  <a:lnTo>
                    <a:pt x="12" y="105"/>
                  </a:lnTo>
                  <a:lnTo>
                    <a:pt x="8" y="95"/>
                  </a:lnTo>
                  <a:lnTo>
                    <a:pt x="0" y="104"/>
                  </a:lnTo>
                  <a:lnTo>
                    <a:pt x="6" y="119"/>
                  </a:lnTo>
                  <a:lnTo>
                    <a:pt x="12" y="134"/>
                  </a:lnTo>
                  <a:lnTo>
                    <a:pt x="16" y="148"/>
                  </a:lnTo>
                  <a:lnTo>
                    <a:pt x="22" y="164"/>
                  </a:lnTo>
                  <a:lnTo>
                    <a:pt x="16" y="171"/>
                  </a:lnTo>
                  <a:lnTo>
                    <a:pt x="19" y="178"/>
                  </a:lnTo>
                  <a:lnTo>
                    <a:pt x="22" y="195"/>
                  </a:lnTo>
                  <a:lnTo>
                    <a:pt x="27" y="194"/>
                  </a:lnTo>
                  <a:lnTo>
                    <a:pt x="33" y="198"/>
                  </a:lnTo>
                  <a:lnTo>
                    <a:pt x="43" y="203"/>
                  </a:lnTo>
                  <a:lnTo>
                    <a:pt x="57" y="198"/>
                  </a:lnTo>
                  <a:lnTo>
                    <a:pt x="72" y="194"/>
                  </a:lnTo>
                  <a:lnTo>
                    <a:pt x="86" y="192"/>
                  </a:lnTo>
                  <a:lnTo>
                    <a:pt x="100" y="192"/>
                  </a:lnTo>
                  <a:lnTo>
                    <a:pt x="118" y="190"/>
                  </a:lnTo>
                  <a:lnTo>
                    <a:pt x="128" y="188"/>
                  </a:lnTo>
                  <a:lnTo>
                    <a:pt x="142" y="178"/>
                  </a:lnTo>
                  <a:lnTo>
                    <a:pt x="157" y="170"/>
                  </a:lnTo>
                  <a:lnTo>
                    <a:pt x="166" y="160"/>
                  </a:lnTo>
                  <a:lnTo>
                    <a:pt x="175" y="150"/>
                  </a:lnTo>
                  <a:lnTo>
                    <a:pt x="183" y="142"/>
                  </a:lnTo>
                  <a:lnTo>
                    <a:pt x="193" y="132"/>
                  </a:lnTo>
                  <a:lnTo>
                    <a:pt x="202" y="119"/>
                  </a:lnTo>
                  <a:lnTo>
                    <a:pt x="213" y="107"/>
                  </a:lnTo>
                  <a:lnTo>
                    <a:pt x="220" y="92"/>
                  </a:lnTo>
                  <a:lnTo>
                    <a:pt x="226" y="76"/>
                  </a:lnTo>
                  <a:lnTo>
                    <a:pt x="216" y="76"/>
                  </a:lnTo>
                  <a:lnTo>
                    <a:pt x="213" y="83"/>
                  </a:lnTo>
                  <a:lnTo>
                    <a:pt x="200" y="77"/>
                  </a:lnTo>
                  <a:lnTo>
                    <a:pt x="201" y="66"/>
                  </a:lnTo>
                  <a:lnTo>
                    <a:pt x="207" y="58"/>
                  </a:lnTo>
                  <a:lnTo>
                    <a:pt x="214" y="62"/>
                  </a:lnTo>
                  <a:lnTo>
                    <a:pt x="214" y="45"/>
                  </a:lnTo>
                  <a:lnTo>
                    <a:pt x="214" y="28"/>
                  </a:lnTo>
                  <a:lnTo>
                    <a:pt x="212" y="16"/>
                  </a:lnTo>
                  <a:lnTo>
                    <a:pt x="208" y="4"/>
                  </a:lnTo>
                  <a:lnTo>
                    <a:pt x="195" y="3"/>
                  </a:lnTo>
                  <a:lnTo>
                    <a:pt x="182" y="0"/>
                  </a:lnTo>
                  <a:lnTo>
                    <a:pt x="181" y="0"/>
                  </a:lnTo>
                  <a:lnTo>
                    <a:pt x="162" y="14"/>
                  </a:lnTo>
                  <a:lnTo>
                    <a:pt x="147" y="26"/>
                  </a:lnTo>
                  <a:lnTo>
                    <a:pt x="140" y="40"/>
                  </a:lnTo>
                  <a:lnTo>
                    <a:pt x="132" y="45"/>
                  </a:lnTo>
                  <a:lnTo>
                    <a:pt x="123" y="58"/>
                  </a:lnTo>
                  <a:lnTo>
                    <a:pt x="103" y="56"/>
                  </a:lnTo>
                  <a:lnTo>
                    <a:pt x="92" y="51"/>
                  </a:lnTo>
                  <a:lnTo>
                    <a:pt x="85" y="62"/>
                  </a:lnTo>
                  <a:lnTo>
                    <a:pt x="78" y="72"/>
                  </a:lnTo>
                  <a:lnTo>
                    <a:pt x="62" y="75"/>
                  </a:lnTo>
                  <a:lnTo>
                    <a:pt x="57" y="74"/>
                  </a:lnTo>
                  <a:lnTo>
                    <a:pt x="60" y="58"/>
                  </a:lnTo>
                  <a:lnTo>
                    <a:pt x="50" y="42"/>
                  </a:lnTo>
                  <a:lnTo>
                    <a:pt x="157" y="108"/>
                  </a:lnTo>
                  <a:lnTo>
                    <a:pt x="144" y="123"/>
                  </a:lnTo>
                  <a:lnTo>
                    <a:pt x="153" y="136"/>
                  </a:lnTo>
                  <a:lnTo>
                    <a:pt x="159" y="132"/>
                  </a:lnTo>
                  <a:lnTo>
                    <a:pt x="172" y="122"/>
                  </a:lnTo>
                  <a:lnTo>
                    <a:pt x="175" y="112"/>
                  </a:lnTo>
                  <a:lnTo>
                    <a:pt x="163" y="105"/>
                  </a:lnTo>
                  <a:lnTo>
                    <a:pt x="157" y="108"/>
                  </a:lnTo>
                  <a:lnTo>
                    <a:pt x="50" y="42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30" name="Freeform 244">
              <a:extLst>
                <a:ext uri="{FF2B5EF4-FFF2-40B4-BE49-F238E27FC236}">
                  <a16:creationId xmlns:a16="http://schemas.microsoft.com/office/drawing/2014/main" id="{985A9ADF-4117-4B7C-A51F-9061BDDF8D40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2235" y="5220982"/>
              <a:ext cx="477585" cy="450381"/>
            </a:xfrm>
            <a:custGeom>
              <a:avLst/>
              <a:gdLst>
                <a:gd name="T0" fmla="*/ 50 w 226"/>
                <a:gd name="T1" fmla="*/ 42 h 203"/>
                <a:gd name="T2" fmla="*/ 49 w 226"/>
                <a:gd name="T3" fmla="*/ 57 h 203"/>
                <a:gd name="T4" fmla="*/ 48 w 226"/>
                <a:gd name="T5" fmla="*/ 72 h 203"/>
                <a:gd name="T6" fmla="*/ 46 w 226"/>
                <a:gd name="T7" fmla="*/ 88 h 203"/>
                <a:gd name="T8" fmla="*/ 45 w 226"/>
                <a:gd name="T9" fmla="*/ 102 h 203"/>
                <a:gd name="T10" fmla="*/ 33 w 226"/>
                <a:gd name="T11" fmla="*/ 108 h 203"/>
                <a:gd name="T12" fmla="*/ 12 w 226"/>
                <a:gd name="T13" fmla="*/ 105 h 203"/>
                <a:gd name="T14" fmla="*/ 8 w 226"/>
                <a:gd name="T15" fmla="*/ 95 h 203"/>
                <a:gd name="T16" fmla="*/ 0 w 226"/>
                <a:gd name="T17" fmla="*/ 104 h 203"/>
                <a:gd name="T18" fmla="*/ 6 w 226"/>
                <a:gd name="T19" fmla="*/ 119 h 203"/>
                <a:gd name="T20" fmla="*/ 12 w 226"/>
                <a:gd name="T21" fmla="*/ 134 h 203"/>
                <a:gd name="T22" fmla="*/ 16 w 226"/>
                <a:gd name="T23" fmla="*/ 148 h 203"/>
                <a:gd name="T24" fmla="*/ 22 w 226"/>
                <a:gd name="T25" fmla="*/ 164 h 203"/>
                <a:gd name="T26" fmla="*/ 16 w 226"/>
                <a:gd name="T27" fmla="*/ 171 h 203"/>
                <a:gd name="T28" fmla="*/ 19 w 226"/>
                <a:gd name="T29" fmla="*/ 178 h 203"/>
                <a:gd name="T30" fmla="*/ 22 w 226"/>
                <a:gd name="T31" fmla="*/ 195 h 203"/>
                <a:gd name="T32" fmla="*/ 27 w 226"/>
                <a:gd name="T33" fmla="*/ 194 h 203"/>
                <a:gd name="T34" fmla="*/ 33 w 226"/>
                <a:gd name="T35" fmla="*/ 198 h 203"/>
                <a:gd name="T36" fmla="*/ 43 w 226"/>
                <a:gd name="T37" fmla="*/ 203 h 203"/>
                <a:gd name="T38" fmla="*/ 57 w 226"/>
                <a:gd name="T39" fmla="*/ 198 h 203"/>
                <a:gd name="T40" fmla="*/ 72 w 226"/>
                <a:gd name="T41" fmla="*/ 194 h 203"/>
                <a:gd name="T42" fmla="*/ 86 w 226"/>
                <a:gd name="T43" fmla="*/ 192 h 203"/>
                <a:gd name="T44" fmla="*/ 100 w 226"/>
                <a:gd name="T45" fmla="*/ 192 h 203"/>
                <a:gd name="T46" fmla="*/ 118 w 226"/>
                <a:gd name="T47" fmla="*/ 190 h 203"/>
                <a:gd name="T48" fmla="*/ 128 w 226"/>
                <a:gd name="T49" fmla="*/ 188 h 203"/>
                <a:gd name="T50" fmla="*/ 142 w 226"/>
                <a:gd name="T51" fmla="*/ 178 h 203"/>
                <a:gd name="T52" fmla="*/ 157 w 226"/>
                <a:gd name="T53" fmla="*/ 170 h 203"/>
                <a:gd name="T54" fmla="*/ 166 w 226"/>
                <a:gd name="T55" fmla="*/ 160 h 203"/>
                <a:gd name="T56" fmla="*/ 175 w 226"/>
                <a:gd name="T57" fmla="*/ 150 h 203"/>
                <a:gd name="T58" fmla="*/ 183 w 226"/>
                <a:gd name="T59" fmla="*/ 142 h 203"/>
                <a:gd name="T60" fmla="*/ 193 w 226"/>
                <a:gd name="T61" fmla="*/ 132 h 203"/>
                <a:gd name="T62" fmla="*/ 202 w 226"/>
                <a:gd name="T63" fmla="*/ 119 h 203"/>
                <a:gd name="T64" fmla="*/ 213 w 226"/>
                <a:gd name="T65" fmla="*/ 107 h 203"/>
                <a:gd name="T66" fmla="*/ 220 w 226"/>
                <a:gd name="T67" fmla="*/ 92 h 203"/>
                <a:gd name="T68" fmla="*/ 226 w 226"/>
                <a:gd name="T69" fmla="*/ 76 h 203"/>
                <a:gd name="T70" fmla="*/ 216 w 226"/>
                <a:gd name="T71" fmla="*/ 76 h 203"/>
                <a:gd name="T72" fmla="*/ 213 w 226"/>
                <a:gd name="T73" fmla="*/ 83 h 203"/>
                <a:gd name="T74" fmla="*/ 200 w 226"/>
                <a:gd name="T75" fmla="*/ 77 h 203"/>
                <a:gd name="T76" fmla="*/ 201 w 226"/>
                <a:gd name="T77" fmla="*/ 66 h 203"/>
                <a:gd name="T78" fmla="*/ 207 w 226"/>
                <a:gd name="T79" fmla="*/ 58 h 203"/>
                <a:gd name="T80" fmla="*/ 214 w 226"/>
                <a:gd name="T81" fmla="*/ 62 h 203"/>
                <a:gd name="T82" fmla="*/ 214 w 226"/>
                <a:gd name="T83" fmla="*/ 45 h 203"/>
                <a:gd name="T84" fmla="*/ 214 w 226"/>
                <a:gd name="T85" fmla="*/ 28 h 203"/>
                <a:gd name="T86" fmla="*/ 212 w 226"/>
                <a:gd name="T87" fmla="*/ 16 h 203"/>
                <a:gd name="T88" fmla="*/ 208 w 226"/>
                <a:gd name="T89" fmla="*/ 4 h 203"/>
                <a:gd name="T90" fmla="*/ 195 w 226"/>
                <a:gd name="T91" fmla="*/ 3 h 203"/>
                <a:gd name="T92" fmla="*/ 182 w 226"/>
                <a:gd name="T93" fmla="*/ 0 h 203"/>
                <a:gd name="T94" fmla="*/ 181 w 226"/>
                <a:gd name="T95" fmla="*/ 0 h 203"/>
                <a:gd name="T96" fmla="*/ 162 w 226"/>
                <a:gd name="T97" fmla="*/ 14 h 203"/>
                <a:gd name="T98" fmla="*/ 147 w 226"/>
                <a:gd name="T99" fmla="*/ 26 h 203"/>
                <a:gd name="T100" fmla="*/ 140 w 226"/>
                <a:gd name="T101" fmla="*/ 40 h 203"/>
                <a:gd name="T102" fmla="*/ 132 w 226"/>
                <a:gd name="T103" fmla="*/ 45 h 203"/>
                <a:gd name="T104" fmla="*/ 123 w 226"/>
                <a:gd name="T105" fmla="*/ 58 h 203"/>
                <a:gd name="T106" fmla="*/ 103 w 226"/>
                <a:gd name="T107" fmla="*/ 56 h 203"/>
                <a:gd name="T108" fmla="*/ 92 w 226"/>
                <a:gd name="T109" fmla="*/ 51 h 203"/>
                <a:gd name="T110" fmla="*/ 85 w 226"/>
                <a:gd name="T111" fmla="*/ 62 h 203"/>
                <a:gd name="T112" fmla="*/ 78 w 226"/>
                <a:gd name="T113" fmla="*/ 72 h 203"/>
                <a:gd name="T114" fmla="*/ 62 w 226"/>
                <a:gd name="T115" fmla="*/ 75 h 203"/>
                <a:gd name="T116" fmla="*/ 57 w 226"/>
                <a:gd name="T117" fmla="*/ 74 h 203"/>
                <a:gd name="T118" fmla="*/ 60 w 226"/>
                <a:gd name="T119" fmla="*/ 58 h 203"/>
                <a:gd name="T120" fmla="*/ 50 w 226"/>
                <a:gd name="T121" fmla="*/ 42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6" h="203">
                  <a:moveTo>
                    <a:pt x="50" y="42"/>
                  </a:moveTo>
                  <a:lnTo>
                    <a:pt x="49" y="57"/>
                  </a:lnTo>
                  <a:lnTo>
                    <a:pt x="48" y="72"/>
                  </a:lnTo>
                  <a:lnTo>
                    <a:pt x="46" y="88"/>
                  </a:lnTo>
                  <a:lnTo>
                    <a:pt x="45" y="102"/>
                  </a:lnTo>
                  <a:lnTo>
                    <a:pt x="33" y="108"/>
                  </a:lnTo>
                  <a:lnTo>
                    <a:pt x="12" y="105"/>
                  </a:lnTo>
                  <a:lnTo>
                    <a:pt x="8" y="95"/>
                  </a:lnTo>
                  <a:lnTo>
                    <a:pt x="0" y="104"/>
                  </a:lnTo>
                  <a:lnTo>
                    <a:pt x="6" y="119"/>
                  </a:lnTo>
                  <a:lnTo>
                    <a:pt x="12" y="134"/>
                  </a:lnTo>
                  <a:lnTo>
                    <a:pt x="16" y="148"/>
                  </a:lnTo>
                  <a:lnTo>
                    <a:pt x="22" y="164"/>
                  </a:lnTo>
                  <a:lnTo>
                    <a:pt x="16" y="171"/>
                  </a:lnTo>
                  <a:lnTo>
                    <a:pt x="19" y="178"/>
                  </a:lnTo>
                  <a:lnTo>
                    <a:pt x="22" y="195"/>
                  </a:lnTo>
                  <a:lnTo>
                    <a:pt x="27" y="194"/>
                  </a:lnTo>
                  <a:lnTo>
                    <a:pt x="33" y="198"/>
                  </a:lnTo>
                  <a:lnTo>
                    <a:pt x="43" y="203"/>
                  </a:lnTo>
                  <a:lnTo>
                    <a:pt x="57" y="198"/>
                  </a:lnTo>
                  <a:lnTo>
                    <a:pt x="72" y="194"/>
                  </a:lnTo>
                  <a:lnTo>
                    <a:pt x="86" y="192"/>
                  </a:lnTo>
                  <a:lnTo>
                    <a:pt x="100" y="192"/>
                  </a:lnTo>
                  <a:lnTo>
                    <a:pt x="118" y="190"/>
                  </a:lnTo>
                  <a:lnTo>
                    <a:pt x="128" y="188"/>
                  </a:lnTo>
                  <a:lnTo>
                    <a:pt x="142" y="178"/>
                  </a:lnTo>
                  <a:lnTo>
                    <a:pt x="157" y="170"/>
                  </a:lnTo>
                  <a:lnTo>
                    <a:pt x="166" y="160"/>
                  </a:lnTo>
                  <a:lnTo>
                    <a:pt x="175" y="150"/>
                  </a:lnTo>
                  <a:lnTo>
                    <a:pt x="183" y="142"/>
                  </a:lnTo>
                  <a:lnTo>
                    <a:pt x="193" y="132"/>
                  </a:lnTo>
                  <a:lnTo>
                    <a:pt x="202" y="119"/>
                  </a:lnTo>
                  <a:lnTo>
                    <a:pt x="213" y="107"/>
                  </a:lnTo>
                  <a:lnTo>
                    <a:pt x="220" y="92"/>
                  </a:lnTo>
                  <a:lnTo>
                    <a:pt x="226" y="76"/>
                  </a:lnTo>
                  <a:lnTo>
                    <a:pt x="216" y="76"/>
                  </a:lnTo>
                  <a:lnTo>
                    <a:pt x="213" y="83"/>
                  </a:lnTo>
                  <a:lnTo>
                    <a:pt x="200" y="77"/>
                  </a:lnTo>
                  <a:lnTo>
                    <a:pt x="201" y="66"/>
                  </a:lnTo>
                  <a:lnTo>
                    <a:pt x="207" y="58"/>
                  </a:lnTo>
                  <a:lnTo>
                    <a:pt x="214" y="62"/>
                  </a:lnTo>
                  <a:lnTo>
                    <a:pt x="214" y="45"/>
                  </a:lnTo>
                  <a:lnTo>
                    <a:pt x="214" y="28"/>
                  </a:lnTo>
                  <a:lnTo>
                    <a:pt x="212" y="16"/>
                  </a:lnTo>
                  <a:lnTo>
                    <a:pt x="208" y="4"/>
                  </a:lnTo>
                  <a:lnTo>
                    <a:pt x="195" y="3"/>
                  </a:lnTo>
                  <a:lnTo>
                    <a:pt x="182" y="0"/>
                  </a:lnTo>
                  <a:lnTo>
                    <a:pt x="181" y="0"/>
                  </a:lnTo>
                  <a:lnTo>
                    <a:pt x="162" y="14"/>
                  </a:lnTo>
                  <a:lnTo>
                    <a:pt x="147" y="26"/>
                  </a:lnTo>
                  <a:lnTo>
                    <a:pt x="140" y="40"/>
                  </a:lnTo>
                  <a:lnTo>
                    <a:pt x="132" y="45"/>
                  </a:lnTo>
                  <a:lnTo>
                    <a:pt x="123" y="58"/>
                  </a:lnTo>
                  <a:lnTo>
                    <a:pt x="103" y="56"/>
                  </a:lnTo>
                  <a:lnTo>
                    <a:pt x="92" y="51"/>
                  </a:lnTo>
                  <a:lnTo>
                    <a:pt x="85" y="62"/>
                  </a:lnTo>
                  <a:lnTo>
                    <a:pt x="78" y="72"/>
                  </a:lnTo>
                  <a:lnTo>
                    <a:pt x="62" y="75"/>
                  </a:lnTo>
                  <a:lnTo>
                    <a:pt x="57" y="74"/>
                  </a:lnTo>
                  <a:lnTo>
                    <a:pt x="60" y="58"/>
                  </a:lnTo>
                  <a:lnTo>
                    <a:pt x="50" y="42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31" name="Freeform 245">
              <a:extLst>
                <a:ext uri="{FF2B5EF4-FFF2-40B4-BE49-F238E27FC236}">
                  <a16:creationId xmlns:a16="http://schemas.microsoft.com/office/drawing/2014/main" id="{B266D3B2-E014-4553-9949-B617DCF66D3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6672" y="5451132"/>
              <a:ext cx="64693" cy="69441"/>
            </a:xfrm>
            <a:custGeom>
              <a:avLst/>
              <a:gdLst>
                <a:gd name="T0" fmla="*/ 13 w 31"/>
                <a:gd name="T1" fmla="*/ 3 h 31"/>
                <a:gd name="T2" fmla="*/ 0 w 31"/>
                <a:gd name="T3" fmla="*/ 18 h 31"/>
                <a:gd name="T4" fmla="*/ 9 w 31"/>
                <a:gd name="T5" fmla="*/ 31 h 31"/>
                <a:gd name="T6" fmla="*/ 15 w 31"/>
                <a:gd name="T7" fmla="*/ 27 h 31"/>
                <a:gd name="T8" fmla="*/ 28 w 31"/>
                <a:gd name="T9" fmla="*/ 17 h 31"/>
                <a:gd name="T10" fmla="*/ 31 w 31"/>
                <a:gd name="T11" fmla="*/ 7 h 31"/>
                <a:gd name="T12" fmla="*/ 19 w 31"/>
                <a:gd name="T13" fmla="*/ 0 h 31"/>
                <a:gd name="T14" fmla="*/ 13 w 31"/>
                <a:gd name="T15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1">
                  <a:moveTo>
                    <a:pt x="13" y="3"/>
                  </a:moveTo>
                  <a:lnTo>
                    <a:pt x="0" y="18"/>
                  </a:lnTo>
                  <a:lnTo>
                    <a:pt x="9" y="31"/>
                  </a:lnTo>
                  <a:lnTo>
                    <a:pt x="15" y="27"/>
                  </a:lnTo>
                  <a:lnTo>
                    <a:pt x="28" y="17"/>
                  </a:lnTo>
                  <a:lnTo>
                    <a:pt x="31" y="7"/>
                  </a:lnTo>
                  <a:lnTo>
                    <a:pt x="19" y="0"/>
                  </a:lnTo>
                  <a:lnTo>
                    <a:pt x="13" y="3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32" name="Freeform 246">
              <a:extLst>
                <a:ext uri="{FF2B5EF4-FFF2-40B4-BE49-F238E27FC236}">
                  <a16:creationId xmlns:a16="http://schemas.microsoft.com/office/drawing/2014/main" id="{EE36801B-9643-4F54-91E1-6335876FA0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7056" y="5238840"/>
              <a:ext cx="7611" cy="21825"/>
            </a:xfrm>
            <a:custGeom>
              <a:avLst/>
              <a:gdLst>
                <a:gd name="T0" fmla="*/ 4 w 4"/>
                <a:gd name="T1" fmla="*/ 8 h 8"/>
                <a:gd name="T2" fmla="*/ 0 w 4"/>
                <a:gd name="T3" fmla="*/ 7 h 8"/>
                <a:gd name="T4" fmla="*/ 2 w 4"/>
                <a:gd name="T5" fmla="*/ 0 h 8"/>
                <a:gd name="T6" fmla="*/ 4 w 4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4" y="8"/>
                  </a:moveTo>
                  <a:lnTo>
                    <a:pt x="0" y="7"/>
                  </a:lnTo>
                  <a:lnTo>
                    <a:pt x="2" y="0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33" name="Freeform 247">
              <a:extLst>
                <a:ext uri="{FF2B5EF4-FFF2-40B4-BE49-F238E27FC236}">
                  <a16:creationId xmlns:a16="http://schemas.microsoft.com/office/drawing/2014/main" id="{54815B2F-2069-4432-9E2B-76442F481B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4641" y="5347962"/>
              <a:ext cx="34249" cy="57537"/>
            </a:xfrm>
            <a:custGeom>
              <a:avLst/>
              <a:gdLst>
                <a:gd name="T0" fmla="*/ 7 w 16"/>
                <a:gd name="T1" fmla="*/ 0 h 25"/>
                <a:gd name="T2" fmla="*/ 1 w 16"/>
                <a:gd name="T3" fmla="*/ 8 h 25"/>
                <a:gd name="T4" fmla="*/ 0 w 16"/>
                <a:gd name="T5" fmla="*/ 19 h 25"/>
                <a:gd name="T6" fmla="*/ 13 w 16"/>
                <a:gd name="T7" fmla="*/ 25 h 25"/>
                <a:gd name="T8" fmla="*/ 16 w 16"/>
                <a:gd name="T9" fmla="*/ 18 h 25"/>
                <a:gd name="T10" fmla="*/ 14 w 16"/>
                <a:gd name="T11" fmla="*/ 4 h 25"/>
                <a:gd name="T12" fmla="*/ 7 w 16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5">
                  <a:moveTo>
                    <a:pt x="7" y="0"/>
                  </a:moveTo>
                  <a:lnTo>
                    <a:pt x="1" y="8"/>
                  </a:lnTo>
                  <a:lnTo>
                    <a:pt x="0" y="19"/>
                  </a:lnTo>
                  <a:lnTo>
                    <a:pt x="13" y="25"/>
                  </a:lnTo>
                  <a:lnTo>
                    <a:pt x="16" y="18"/>
                  </a:lnTo>
                  <a:lnTo>
                    <a:pt x="14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34" name="Freeform 248">
              <a:extLst>
                <a:ext uri="{FF2B5EF4-FFF2-40B4-BE49-F238E27FC236}">
                  <a16:creationId xmlns:a16="http://schemas.microsoft.com/office/drawing/2014/main" id="{978C38E6-A8FF-4705-A49F-170563C5AE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0947" y="4641640"/>
              <a:ext cx="369130" cy="432523"/>
            </a:xfrm>
            <a:custGeom>
              <a:avLst/>
              <a:gdLst>
                <a:gd name="T0" fmla="*/ 174 w 174"/>
                <a:gd name="T1" fmla="*/ 113 h 194"/>
                <a:gd name="T2" fmla="*/ 160 w 174"/>
                <a:gd name="T3" fmla="*/ 114 h 194"/>
                <a:gd name="T4" fmla="*/ 146 w 174"/>
                <a:gd name="T5" fmla="*/ 114 h 194"/>
                <a:gd name="T6" fmla="*/ 146 w 174"/>
                <a:gd name="T7" fmla="*/ 127 h 194"/>
                <a:gd name="T8" fmla="*/ 146 w 174"/>
                <a:gd name="T9" fmla="*/ 139 h 194"/>
                <a:gd name="T10" fmla="*/ 146 w 174"/>
                <a:gd name="T11" fmla="*/ 152 h 194"/>
                <a:gd name="T12" fmla="*/ 144 w 174"/>
                <a:gd name="T13" fmla="*/ 165 h 194"/>
                <a:gd name="T14" fmla="*/ 155 w 174"/>
                <a:gd name="T15" fmla="*/ 177 h 194"/>
                <a:gd name="T16" fmla="*/ 165 w 174"/>
                <a:gd name="T17" fmla="*/ 188 h 194"/>
                <a:gd name="T18" fmla="*/ 143 w 174"/>
                <a:gd name="T19" fmla="*/ 191 h 194"/>
                <a:gd name="T20" fmla="*/ 123 w 174"/>
                <a:gd name="T21" fmla="*/ 194 h 194"/>
                <a:gd name="T22" fmla="*/ 110 w 174"/>
                <a:gd name="T23" fmla="*/ 191 h 194"/>
                <a:gd name="T24" fmla="*/ 96 w 174"/>
                <a:gd name="T25" fmla="*/ 188 h 194"/>
                <a:gd name="T26" fmla="*/ 94 w 174"/>
                <a:gd name="T27" fmla="*/ 185 h 194"/>
                <a:gd name="T28" fmla="*/ 77 w 174"/>
                <a:gd name="T29" fmla="*/ 185 h 194"/>
                <a:gd name="T30" fmla="*/ 62 w 174"/>
                <a:gd name="T31" fmla="*/ 183 h 194"/>
                <a:gd name="T32" fmla="*/ 45 w 174"/>
                <a:gd name="T33" fmla="*/ 183 h 194"/>
                <a:gd name="T34" fmla="*/ 29 w 174"/>
                <a:gd name="T35" fmla="*/ 182 h 194"/>
                <a:gd name="T36" fmla="*/ 18 w 174"/>
                <a:gd name="T37" fmla="*/ 179 h 194"/>
                <a:gd name="T38" fmla="*/ 0 w 174"/>
                <a:gd name="T39" fmla="*/ 182 h 194"/>
                <a:gd name="T40" fmla="*/ 2 w 174"/>
                <a:gd name="T41" fmla="*/ 170 h 194"/>
                <a:gd name="T42" fmla="*/ 4 w 174"/>
                <a:gd name="T43" fmla="*/ 157 h 194"/>
                <a:gd name="T44" fmla="*/ 10 w 174"/>
                <a:gd name="T45" fmla="*/ 137 h 194"/>
                <a:gd name="T46" fmla="*/ 16 w 174"/>
                <a:gd name="T47" fmla="*/ 116 h 194"/>
                <a:gd name="T48" fmla="*/ 23 w 174"/>
                <a:gd name="T49" fmla="*/ 105 h 194"/>
                <a:gd name="T50" fmla="*/ 30 w 174"/>
                <a:gd name="T51" fmla="*/ 95 h 194"/>
                <a:gd name="T52" fmla="*/ 28 w 174"/>
                <a:gd name="T53" fmla="*/ 74 h 194"/>
                <a:gd name="T54" fmla="*/ 24 w 174"/>
                <a:gd name="T55" fmla="*/ 61 h 194"/>
                <a:gd name="T56" fmla="*/ 21 w 174"/>
                <a:gd name="T57" fmla="*/ 49 h 194"/>
                <a:gd name="T58" fmla="*/ 26 w 174"/>
                <a:gd name="T59" fmla="*/ 41 h 194"/>
                <a:gd name="T60" fmla="*/ 18 w 174"/>
                <a:gd name="T61" fmla="*/ 23 h 194"/>
                <a:gd name="T62" fmla="*/ 11 w 174"/>
                <a:gd name="T63" fmla="*/ 3 h 194"/>
                <a:gd name="T64" fmla="*/ 23 w 174"/>
                <a:gd name="T65" fmla="*/ 0 h 194"/>
                <a:gd name="T66" fmla="*/ 35 w 174"/>
                <a:gd name="T67" fmla="*/ 0 h 194"/>
                <a:gd name="T68" fmla="*/ 47 w 174"/>
                <a:gd name="T69" fmla="*/ 0 h 194"/>
                <a:gd name="T70" fmla="*/ 59 w 174"/>
                <a:gd name="T71" fmla="*/ 1 h 194"/>
                <a:gd name="T72" fmla="*/ 71 w 174"/>
                <a:gd name="T73" fmla="*/ 1 h 194"/>
                <a:gd name="T74" fmla="*/ 77 w 174"/>
                <a:gd name="T75" fmla="*/ 17 h 194"/>
                <a:gd name="T76" fmla="*/ 83 w 174"/>
                <a:gd name="T77" fmla="*/ 31 h 194"/>
                <a:gd name="T78" fmla="*/ 93 w 174"/>
                <a:gd name="T79" fmla="*/ 36 h 194"/>
                <a:gd name="T80" fmla="*/ 110 w 174"/>
                <a:gd name="T81" fmla="*/ 32 h 194"/>
                <a:gd name="T82" fmla="*/ 113 w 174"/>
                <a:gd name="T83" fmla="*/ 18 h 194"/>
                <a:gd name="T84" fmla="*/ 128 w 174"/>
                <a:gd name="T85" fmla="*/ 19 h 194"/>
                <a:gd name="T86" fmla="*/ 126 w 174"/>
                <a:gd name="T87" fmla="*/ 23 h 194"/>
                <a:gd name="T88" fmla="*/ 146 w 174"/>
                <a:gd name="T89" fmla="*/ 25 h 194"/>
                <a:gd name="T90" fmla="*/ 146 w 174"/>
                <a:gd name="T91" fmla="*/ 43 h 194"/>
                <a:gd name="T92" fmla="*/ 147 w 174"/>
                <a:gd name="T93" fmla="*/ 62 h 194"/>
                <a:gd name="T94" fmla="*/ 152 w 174"/>
                <a:gd name="T95" fmla="*/ 79 h 194"/>
                <a:gd name="T96" fmla="*/ 152 w 174"/>
                <a:gd name="T97" fmla="*/ 85 h 194"/>
                <a:gd name="T98" fmla="*/ 164 w 174"/>
                <a:gd name="T99" fmla="*/ 83 h 194"/>
                <a:gd name="T100" fmla="*/ 174 w 174"/>
                <a:gd name="T101" fmla="*/ 80 h 194"/>
                <a:gd name="T102" fmla="*/ 174 w 174"/>
                <a:gd name="T103" fmla="*/ 97 h 194"/>
                <a:gd name="T104" fmla="*/ 174 w 174"/>
                <a:gd name="T105" fmla="*/ 11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4" h="194">
                  <a:moveTo>
                    <a:pt x="174" y="113"/>
                  </a:moveTo>
                  <a:lnTo>
                    <a:pt x="160" y="114"/>
                  </a:lnTo>
                  <a:lnTo>
                    <a:pt x="146" y="114"/>
                  </a:lnTo>
                  <a:lnTo>
                    <a:pt x="146" y="127"/>
                  </a:lnTo>
                  <a:lnTo>
                    <a:pt x="146" y="139"/>
                  </a:lnTo>
                  <a:lnTo>
                    <a:pt x="146" y="152"/>
                  </a:lnTo>
                  <a:lnTo>
                    <a:pt x="144" y="165"/>
                  </a:lnTo>
                  <a:lnTo>
                    <a:pt x="155" y="177"/>
                  </a:lnTo>
                  <a:lnTo>
                    <a:pt x="165" y="188"/>
                  </a:lnTo>
                  <a:lnTo>
                    <a:pt x="143" y="191"/>
                  </a:lnTo>
                  <a:lnTo>
                    <a:pt x="123" y="194"/>
                  </a:lnTo>
                  <a:lnTo>
                    <a:pt x="110" y="191"/>
                  </a:lnTo>
                  <a:lnTo>
                    <a:pt x="96" y="188"/>
                  </a:lnTo>
                  <a:lnTo>
                    <a:pt x="94" y="185"/>
                  </a:lnTo>
                  <a:lnTo>
                    <a:pt x="77" y="185"/>
                  </a:lnTo>
                  <a:lnTo>
                    <a:pt x="62" y="183"/>
                  </a:lnTo>
                  <a:lnTo>
                    <a:pt x="45" y="183"/>
                  </a:lnTo>
                  <a:lnTo>
                    <a:pt x="29" y="182"/>
                  </a:lnTo>
                  <a:lnTo>
                    <a:pt x="18" y="179"/>
                  </a:lnTo>
                  <a:lnTo>
                    <a:pt x="0" y="182"/>
                  </a:lnTo>
                  <a:lnTo>
                    <a:pt x="2" y="170"/>
                  </a:lnTo>
                  <a:lnTo>
                    <a:pt x="4" y="157"/>
                  </a:lnTo>
                  <a:lnTo>
                    <a:pt x="10" y="137"/>
                  </a:lnTo>
                  <a:lnTo>
                    <a:pt x="16" y="116"/>
                  </a:lnTo>
                  <a:lnTo>
                    <a:pt x="23" y="105"/>
                  </a:lnTo>
                  <a:lnTo>
                    <a:pt x="30" y="95"/>
                  </a:lnTo>
                  <a:lnTo>
                    <a:pt x="28" y="74"/>
                  </a:lnTo>
                  <a:lnTo>
                    <a:pt x="24" y="61"/>
                  </a:lnTo>
                  <a:lnTo>
                    <a:pt x="21" y="49"/>
                  </a:lnTo>
                  <a:lnTo>
                    <a:pt x="26" y="41"/>
                  </a:lnTo>
                  <a:lnTo>
                    <a:pt x="18" y="23"/>
                  </a:lnTo>
                  <a:lnTo>
                    <a:pt x="11" y="3"/>
                  </a:lnTo>
                  <a:lnTo>
                    <a:pt x="23" y="0"/>
                  </a:lnTo>
                  <a:lnTo>
                    <a:pt x="35" y="0"/>
                  </a:lnTo>
                  <a:lnTo>
                    <a:pt x="47" y="0"/>
                  </a:lnTo>
                  <a:lnTo>
                    <a:pt x="59" y="1"/>
                  </a:lnTo>
                  <a:lnTo>
                    <a:pt x="71" y="1"/>
                  </a:lnTo>
                  <a:lnTo>
                    <a:pt x="77" y="17"/>
                  </a:lnTo>
                  <a:lnTo>
                    <a:pt x="83" y="31"/>
                  </a:lnTo>
                  <a:lnTo>
                    <a:pt x="93" y="36"/>
                  </a:lnTo>
                  <a:lnTo>
                    <a:pt x="110" y="32"/>
                  </a:lnTo>
                  <a:lnTo>
                    <a:pt x="113" y="18"/>
                  </a:lnTo>
                  <a:lnTo>
                    <a:pt x="128" y="19"/>
                  </a:lnTo>
                  <a:lnTo>
                    <a:pt x="126" y="23"/>
                  </a:lnTo>
                  <a:lnTo>
                    <a:pt x="146" y="25"/>
                  </a:lnTo>
                  <a:lnTo>
                    <a:pt x="146" y="43"/>
                  </a:lnTo>
                  <a:lnTo>
                    <a:pt x="147" y="62"/>
                  </a:lnTo>
                  <a:lnTo>
                    <a:pt x="152" y="79"/>
                  </a:lnTo>
                  <a:lnTo>
                    <a:pt x="152" y="85"/>
                  </a:lnTo>
                  <a:lnTo>
                    <a:pt x="164" y="83"/>
                  </a:lnTo>
                  <a:lnTo>
                    <a:pt x="174" y="80"/>
                  </a:lnTo>
                  <a:lnTo>
                    <a:pt x="174" y="97"/>
                  </a:lnTo>
                  <a:lnTo>
                    <a:pt x="174" y="113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35" name="Freeform 249">
              <a:extLst>
                <a:ext uri="{FF2B5EF4-FFF2-40B4-BE49-F238E27FC236}">
                  <a16:creationId xmlns:a16="http://schemas.microsoft.com/office/drawing/2014/main" id="{5BD65CF5-C536-4A74-97B6-870796BCC8FD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266" y="4594021"/>
              <a:ext cx="32347" cy="47618"/>
            </a:xfrm>
            <a:custGeom>
              <a:avLst/>
              <a:gdLst>
                <a:gd name="T0" fmla="*/ 3 w 16"/>
                <a:gd name="T1" fmla="*/ 22 h 22"/>
                <a:gd name="T2" fmla="*/ 0 w 16"/>
                <a:gd name="T3" fmla="*/ 8 h 22"/>
                <a:gd name="T4" fmla="*/ 10 w 16"/>
                <a:gd name="T5" fmla="*/ 0 h 22"/>
                <a:gd name="T6" fmla="*/ 16 w 16"/>
                <a:gd name="T7" fmla="*/ 2 h 22"/>
                <a:gd name="T8" fmla="*/ 9 w 16"/>
                <a:gd name="T9" fmla="*/ 7 h 22"/>
                <a:gd name="T10" fmla="*/ 8 w 16"/>
                <a:gd name="T11" fmla="*/ 20 h 22"/>
                <a:gd name="T12" fmla="*/ 3 w 1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2">
                  <a:moveTo>
                    <a:pt x="3" y="22"/>
                  </a:moveTo>
                  <a:lnTo>
                    <a:pt x="0" y="8"/>
                  </a:lnTo>
                  <a:lnTo>
                    <a:pt x="10" y="0"/>
                  </a:lnTo>
                  <a:lnTo>
                    <a:pt x="16" y="2"/>
                  </a:lnTo>
                  <a:lnTo>
                    <a:pt x="9" y="7"/>
                  </a:lnTo>
                  <a:lnTo>
                    <a:pt x="8" y="20"/>
                  </a:lnTo>
                  <a:lnTo>
                    <a:pt x="3" y="22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38" name="Freeform 252">
              <a:extLst>
                <a:ext uri="{FF2B5EF4-FFF2-40B4-BE49-F238E27FC236}">
                  <a16:creationId xmlns:a16="http://schemas.microsoft.com/office/drawing/2014/main" id="{168A2E5F-0E1E-41A5-AE45-36FAD8E0145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8158" y="4349984"/>
              <a:ext cx="53275" cy="49602"/>
            </a:xfrm>
            <a:custGeom>
              <a:avLst/>
              <a:gdLst>
                <a:gd name="T0" fmla="*/ 5 w 27"/>
                <a:gd name="T1" fmla="*/ 21 h 21"/>
                <a:gd name="T2" fmla="*/ 0 w 27"/>
                <a:gd name="T3" fmla="*/ 19 h 21"/>
                <a:gd name="T4" fmla="*/ 2 w 27"/>
                <a:gd name="T5" fmla="*/ 13 h 21"/>
                <a:gd name="T6" fmla="*/ 5 w 27"/>
                <a:gd name="T7" fmla="*/ 0 h 21"/>
                <a:gd name="T8" fmla="*/ 16 w 27"/>
                <a:gd name="T9" fmla="*/ 1 h 21"/>
                <a:gd name="T10" fmla="*/ 27 w 27"/>
                <a:gd name="T11" fmla="*/ 2 h 21"/>
                <a:gd name="T12" fmla="*/ 27 w 27"/>
                <a:gd name="T13" fmla="*/ 21 h 21"/>
                <a:gd name="T14" fmla="*/ 16 w 27"/>
                <a:gd name="T15" fmla="*/ 21 h 21"/>
                <a:gd name="T16" fmla="*/ 5 w 27"/>
                <a:gd name="T1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1">
                  <a:moveTo>
                    <a:pt x="5" y="21"/>
                  </a:moveTo>
                  <a:lnTo>
                    <a:pt x="0" y="19"/>
                  </a:lnTo>
                  <a:lnTo>
                    <a:pt x="2" y="13"/>
                  </a:lnTo>
                  <a:lnTo>
                    <a:pt x="5" y="0"/>
                  </a:lnTo>
                  <a:lnTo>
                    <a:pt x="16" y="1"/>
                  </a:lnTo>
                  <a:lnTo>
                    <a:pt x="27" y="2"/>
                  </a:lnTo>
                  <a:lnTo>
                    <a:pt x="27" y="21"/>
                  </a:lnTo>
                  <a:lnTo>
                    <a:pt x="16" y="21"/>
                  </a:lnTo>
                  <a:lnTo>
                    <a:pt x="5" y="2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39" name="Freeform 253">
              <a:extLst>
                <a:ext uri="{FF2B5EF4-FFF2-40B4-BE49-F238E27FC236}">
                  <a16:creationId xmlns:a16="http://schemas.microsoft.com/office/drawing/2014/main" id="{0FE546C6-B014-40A2-87AF-D044919A213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1519" y="4302366"/>
              <a:ext cx="13319" cy="17858"/>
            </a:xfrm>
            <a:custGeom>
              <a:avLst/>
              <a:gdLst>
                <a:gd name="T0" fmla="*/ 6 w 6"/>
                <a:gd name="T1" fmla="*/ 0 h 7"/>
                <a:gd name="T2" fmla="*/ 4 w 6"/>
                <a:gd name="T3" fmla="*/ 0 h 7"/>
                <a:gd name="T4" fmla="*/ 0 w 6"/>
                <a:gd name="T5" fmla="*/ 7 h 7"/>
                <a:gd name="T6" fmla="*/ 6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lnTo>
                    <a:pt x="4" y="0"/>
                  </a:lnTo>
                  <a:lnTo>
                    <a:pt x="0" y="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40" name="Freeform 254">
              <a:extLst>
                <a:ext uri="{FF2B5EF4-FFF2-40B4-BE49-F238E27FC236}">
                  <a16:creationId xmlns:a16="http://schemas.microsoft.com/office/drawing/2014/main" id="{2C173E42-519B-4906-A924-DCF49E6B55E9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5324" y="4359903"/>
              <a:ext cx="175051" cy="216262"/>
            </a:xfrm>
            <a:custGeom>
              <a:avLst/>
              <a:gdLst>
                <a:gd name="T0" fmla="*/ 14 w 80"/>
                <a:gd name="T1" fmla="*/ 18 h 99"/>
                <a:gd name="T2" fmla="*/ 12 w 80"/>
                <a:gd name="T3" fmla="*/ 25 h 99"/>
                <a:gd name="T4" fmla="*/ 7 w 80"/>
                <a:gd name="T5" fmla="*/ 25 h 99"/>
                <a:gd name="T6" fmla="*/ 17 w 80"/>
                <a:gd name="T7" fmla="*/ 33 h 99"/>
                <a:gd name="T8" fmla="*/ 8 w 80"/>
                <a:gd name="T9" fmla="*/ 31 h 99"/>
                <a:gd name="T10" fmla="*/ 3 w 80"/>
                <a:gd name="T11" fmla="*/ 47 h 99"/>
                <a:gd name="T12" fmla="*/ 0 w 80"/>
                <a:gd name="T13" fmla="*/ 47 h 99"/>
                <a:gd name="T14" fmla="*/ 6 w 80"/>
                <a:gd name="T15" fmla="*/ 58 h 99"/>
                <a:gd name="T16" fmla="*/ 8 w 80"/>
                <a:gd name="T17" fmla="*/ 60 h 99"/>
                <a:gd name="T18" fmla="*/ 3 w 80"/>
                <a:gd name="T19" fmla="*/ 57 h 99"/>
                <a:gd name="T20" fmla="*/ 11 w 80"/>
                <a:gd name="T21" fmla="*/ 66 h 99"/>
                <a:gd name="T22" fmla="*/ 8 w 80"/>
                <a:gd name="T23" fmla="*/ 66 h 99"/>
                <a:gd name="T24" fmla="*/ 17 w 80"/>
                <a:gd name="T25" fmla="*/ 76 h 99"/>
                <a:gd name="T26" fmla="*/ 15 w 80"/>
                <a:gd name="T27" fmla="*/ 76 h 99"/>
                <a:gd name="T28" fmla="*/ 24 w 80"/>
                <a:gd name="T29" fmla="*/ 87 h 99"/>
                <a:gd name="T30" fmla="*/ 33 w 80"/>
                <a:gd name="T31" fmla="*/ 99 h 99"/>
                <a:gd name="T32" fmla="*/ 38 w 80"/>
                <a:gd name="T33" fmla="*/ 91 h 99"/>
                <a:gd name="T34" fmla="*/ 42 w 80"/>
                <a:gd name="T35" fmla="*/ 94 h 99"/>
                <a:gd name="T36" fmla="*/ 44 w 80"/>
                <a:gd name="T37" fmla="*/ 91 h 99"/>
                <a:gd name="T38" fmla="*/ 42 w 80"/>
                <a:gd name="T39" fmla="*/ 84 h 99"/>
                <a:gd name="T40" fmla="*/ 41 w 80"/>
                <a:gd name="T41" fmla="*/ 79 h 99"/>
                <a:gd name="T42" fmla="*/ 39 w 80"/>
                <a:gd name="T43" fmla="*/ 76 h 99"/>
                <a:gd name="T44" fmla="*/ 53 w 80"/>
                <a:gd name="T45" fmla="*/ 75 h 99"/>
                <a:gd name="T46" fmla="*/ 54 w 80"/>
                <a:gd name="T47" fmla="*/ 64 h 99"/>
                <a:gd name="T48" fmla="*/ 62 w 80"/>
                <a:gd name="T49" fmla="*/ 73 h 99"/>
                <a:gd name="T50" fmla="*/ 69 w 80"/>
                <a:gd name="T51" fmla="*/ 70 h 99"/>
                <a:gd name="T52" fmla="*/ 72 w 80"/>
                <a:gd name="T53" fmla="*/ 75 h 99"/>
                <a:gd name="T54" fmla="*/ 77 w 80"/>
                <a:gd name="T55" fmla="*/ 70 h 99"/>
                <a:gd name="T56" fmla="*/ 80 w 80"/>
                <a:gd name="T57" fmla="*/ 48 h 99"/>
                <a:gd name="T58" fmla="*/ 73 w 80"/>
                <a:gd name="T59" fmla="*/ 34 h 99"/>
                <a:gd name="T60" fmla="*/ 79 w 80"/>
                <a:gd name="T61" fmla="*/ 25 h 99"/>
                <a:gd name="T62" fmla="*/ 78 w 80"/>
                <a:gd name="T63" fmla="*/ 15 h 99"/>
                <a:gd name="T64" fmla="*/ 62 w 80"/>
                <a:gd name="T65" fmla="*/ 16 h 99"/>
                <a:gd name="T66" fmla="*/ 63 w 80"/>
                <a:gd name="T67" fmla="*/ 0 h 99"/>
                <a:gd name="T68" fmla="*/ 50 w 80"/>
                <a:gd name="T69" fmla="*/ 0 h 99"/>
                <a:gd name="T70" fmla="*/ 36 w 80"/>
                <a:gd name="T71" fmla="*/ 0 h 99"/>
                <a:gd name="T72" fmla="*/ 36 w 80"/>
                <a:gd name="T73" fmla="*/ 19 h 99"/>
                <a:gd name="T74" fmla="*/ 25 w 80"/>
                <a:gd name="T75" fmla="*/ 19 h 99"/>
                <a:gd name="T76" fmla="*/ 14 w 80"/>
                <a:gd name="T77" fmla="*/ 19 h 99"/>
                <a:gd name="T78" fmla="*/ 14 w 80"/>
                <a:gd name="T79" fmla="*/ 1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99">
                  <a:moveTo>
                    <a:pt x="14" y="18"/>
                  </a:moveTo>
                  <a:lnTo>
                    <a:pt x="12" y="25"/>
                  </a:lnTo>
                  <a:lnTo>
                    <a:pt x="7" y="25"/>
                  </a:lnTo>
                  <a:lnTo>
                    <a:pt x="17" y="33"/>
                  </a:lnTo>
                  <a:lnTo>
                    <a:pt x="8" y="31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3" y="57"/>
                  </a:lnTo>
                  <a:lnTo>
                    <a:pt x="11" y="66"/>
                  </a:lnTo>
                  <a:lnTo>
                    <a:pt x="8" y="66"/>
                  </a:lnTo>
                  <a:lnTo>
                    <a:pt x="17" y="76"/>
                  </a:lnTo>
                  <a:lnTo>
                    <a:pt x="15" y="76"/>
                  </a:lnTo>
                  <a:lnTo>
                    <a:pt x="24" y="87"/>
                  </a:lnTo>
                  <a:lnTo>
                    <a:pt x="33" y="99"/>
                  </a:lnTo>
                  <a:lnTo>
                    <a:pt x="38" y="91"/>
                  </a:lnTo>
                  <a:lnTo>
                    <a:pt x="42" y="94"/>
                  </a:lnTo>
                  <a:lnTo>
                    <a:pt x="44" y="91"/>
                  </a:lnTo>
                  <a:lnTo>
                    <a:pt x="42" y="84"/>
                  </a:lnTo>
                  <a:lnTo>
                    <a:pt x="41" y="79"/>
                  </a:lnTo>
                  <a:lnTo>
                    <a:pt x="39" y="76"/>
                  </a:lnTo>
                  <a:lnTo>
                    <a:pt x="53" y="75"/>
                  </a:lnTo>
                  <a:lnTo>
                    <a:pt x="54" y="64"/>
                  </a:lnTo>
                  <a:lnTo>
                    <a:pt x="62" y="73"/>
                  </a:lnTo>
                  <a:lnTo>
                    <a:pt x="69" y="70"/>
                  </a:lnTo>
                  <a:lnTo>
                    <a:pt x="72" y="75"/>
                  </a:lnTo>
                  <a:lnTo>
                    <a:pt x="77" y="70"/>
                  </a:lnTo>
                  <a:lnTo>
                    <a:pt x="80" y="48"/>
                  </a:lnTo>
                  <a:lnTo>
                    <a:pt x="73" y="34"/>
                  </a:lnTo>
                  <a:lnTo>
                    <a:pt x="79" y="25"/>
                  </a:lnTo>
                  <a:lnTo>
                    <a:pt x="78" y="15"/>
                  </a:lnTo>
                  <a:lnTo>
                    <a:pt x="62" y="16"/>
                  </a:lnTo>
                  <a:lnTo>
                    <a:pt x="63" y="0"/>
                  </a:lnTo>
                  <a:lnTo>
                    <a:pt x="50" y="0"/>
                  </a:lnTo>
                  <a:lnTo>
                    <a:pt x="36" y="0"/>
                  </a:lnTo>
                  <a:lnTo>
                    <a:pt x="36" y="19"/>
                  </a:lnTo>
                  <a:lnTo>
                    <a:pt x="25" y="19"/>
                  </a:lnTo>
                  <a:lnTo>
                    <a:pt x="14" y="19"/>
                  </a:lnTo>
                  <a:lnTo>
                    <a:pt x="14" y="18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42" name="Freeform 256">
              <a:extLst>
                <a:ext uri="{FF2B5EF4-FFF2-40B4-BE49-F238E27FC236}">
                  <a16:creationId xmlns:a16="http://schemas.microsoft.com/office/drawing/2014/main" id="{FFF761F4-62D7-4B89-A6D6-8824E72F50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8729" y="4421409"/>
              <a:ext cx="7611" cy="13889"/>
            </a:xfrm>
            <a:custGeom>
              <a:avLst/>
              <a:gdLst>
                <a:gd name="T0" fmla="*/ 4 w 4"/>
                <a:gd name="T1" fmla="*/ 1 h 6"/>
                <a:gd name="T2" fmla="*/ 2 w 4"/>
                <a:gd name="T3" fmla="*/ 6 h 6"/>
                <a:gd name="T4" fmla="*/ 0 w 4"/>
                <a:gd name="T5" fmla="*/ 2 h 6"/>
                <a:gd name="T6" fmla="*/ 2 w 4"/>
                <a:gd name="T7" fmla="*/ 0 h 6"/>
                <a:gd name="T8" fmla="*/ 4 w 4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4" y="1"/>
                  </a:moveTo>
                  <a:lnTo>
                    <a:pt x="2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43" name="Freeform 257">
              <a:extLst>
                <a:ext uri="{FF2B5EF4-FFF2-40B4-BE49-F238E27FC236}">
                  <a16:creationId xmlns:a16="http://schemas.microsoft.com/office/drawing/2014/main" id="{5FEDC726-1C4B-4761-8382-2DE538B476BA}"/>
                </a:ext>
              </a:extLst>
            </p:cNvPr>
            <p:cNvSpPr>
              <a:spLocks/>
            </p:cNvSpPr>
            <p:nvPr/>
          </p:nvSpPr>
          <p:spPr bwMode="gray">
            <a:xfrm>
              <a:off x="4983464" y="4377761"/>
              <a:ext cx="3805" cy="3967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0 h 1"/>
                <a:gd name="T4" fmla="*/ 2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44" name="Freeform 258">
              <a:extLst>
                <a:ext uri="{FF2B5EF4-FFF2-40B4-BE49-F238E27FC236}">
                  <a16:creationId xmlns:a16="http://schemas.microsoft.com/office/drawing/2014/main" id="{90359EB3-9364-46EF-A49C-FD5806C2420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9418" y="4469027"/>
              <a:ext cx="325365" cy="380938"/>
            </a:xfrm>
            <a:custGeom>
              <a:avLst/>
              <a:gdLst>
                <a:gd name="T0" fmla="*/ 117 w 153"/>
                <a:gd name="T1" fmla="*/ 38 h 171"/>
                <a:gd name="T2" fmla="*/ 116 w 153"/>
                <a:gd name="T3" fmla="*/ 32 h 171"/>
                <a:gd name="T4" fmla="*/ 103 w 153"/>
                <a:gd name="T5" fmla="*/ 25 h 171"/>
                <a:gd name="T6" fmla="*/ 90 w 153"/>
                <a:gd name="T7" fmla="*/ 16 h 171"/>
                <a:gd name="T8" fmla="*/ 76 w 153"/>
                <a:gd name="T9" fmla="*/ 8 h 171"/>
                <a:gd name="T10" fmla="*/ 63 w 153"/>
                <a:gd name="T11" fmla="*/ 0 h 171"/>
                <a:gd name="T12" fmla="*/ 51 w 153"/>
                <a:gd name="T13" fmla="*/ 1 h 171"/>
                <a:gd name="T14" fmla="*/ 39 w 153"/>
                <a:gd name="T15" fmla="*/ 1 h 171"/>
                <a:gd name="T16" fmla="*/ 27 w 153"/>
                <a:gd name="T17" fmla="*/ 1 h 171"/>
                <a:gd name="T18" fmla="*/ 15 w 153"/>
                <a:gd name="T19" fmla="*/ 1 h 171"/>
                <a:gd name="T20" fmla="*/ 20 w 153"/>
                <a:gd name="T21" fmla="*/ 21 h 171"/>
                <a:gd name="T22" fmla="*/ 16 w 153"/>
                <a:gd name="T23" fmla="*/ 22 h 171"/>
                <a:gd name="T24" fmla="*/ 16 w 153"/>
                <a:gd name="T25" fmla="*/ 31 h 171"/>
                <a:gd name="T26" fmla="*/ 20 w 153"/>
                <a:gd name="T27" fmla="*/ 36 h 171"/>
                <a:gd name="T28" fmla="*/ 12 w 153"/>
                <a:gd name="T29" fmla="*/ 45 h 171"/>
                <a:gd name="T30" fmla="*/ 3 w 153"/>
                <a:gd name="T31" fmla="*/ 56 h 171"/>
                <a:gd name="T32" fmla="*/ 0 w 153"/>
                <a:gd name="T33" fmla="*/ 56 h 171"/>
                <a:gd name="T34" fmla="*/ 0 w 153"/>
                <a:gd name="T35" fmla="*/ 67 h 171"/>
                <a:gd name="T36" fmla="*/ 1 w 153"/>
                <a:gd name="T37" fmla="*/ 79 h 171"/>
                <a:gd name="T38" fmla="*/ 6 w 153"/>
                <a:gd name="T39" fmla="*/ 92 h 171"/>
                <a:gd name="T40" fmla="*/ 12 w 153"/>
                <a:gd name="T41" fmla="*/ 104 h 171"/>
                <a:gd name="T42" fmla="*/ 18 w 153"/>
                <a:gd name="T43" fmla="*/ 116 h 171"/>
                <a:gd name="T44" fmla="*/ 19 w 153"/>
                <a:gd name="T45" fmla="*/ 118 h 171"/>
                <a:gd name="T46" fmla="*/ 33 w 153"/>
                <a:gd name="T47" fmla="*/ 127 h 171"/>
                <a:gd name="T48" fmla="*/ 48 w 153"/>
                <a:gd name="T49" fmla="*/ 135 h 171"/>
                <a:gd name="T50" fmla="*/ 62 w 153"/>
                <a:gd name="T51" fmla="*/ 138 h 171"/>
                <a:gd name="T52" fmla="*/ 68 w 153"/>
                <a:gd name="T53" fmla="*/ 140 h 171"/>
                <a:gd name="T54" fmla="*/ 72 w 153"/>
                <a:gd name="T55" fmla="*/ 158 h 171"/>
                <a:gd name="T56" fmla="*/ 75 w 153"/>
                <a:gd name="T57" fmla="*/ 170 h 171"/>
                <a:gd name="T58" fmla="*/ 82 w 153"/>
                <a:gd name="T59" fmla="*/ 170 h 171"/>
                <a:gd name="T60" fmla="*/ 90 w 153"/>
                <a:gd name="T61" fmla="*/ 169 h 171"/>
                <a:gd name="T62" fmla="*/ 106 w 153"/>
                <a:gd name="T63" fmla="*/ 171 h 171"/>
                <a:gd name="T64" fmla="*/ 116 w 153"/>
                <a:gd name="T65" fmla="*/ 168 h 171"/>
                <a:gd name="T66" fmla="*/ 124 w 153"/>
                <a:gd name="T67" fmla="*/ 168 h 171"/>
                <a:gd name="T68" fmla="*/ 139 w 153"/>
                <a:gd name="T69" fmla="*/ 160 h 171"/>
                <a:gd name="T70" fmla="*/ 153 w 153"/>
                <a:gd name="T71" fmla="*/ 153 h 171"/>
                <a:gd name="T72" fmla="*/ 144 w 153"/>
                <a:gd name="T73" fmla="*/ 142 h 171"/>
                <a:gd name="T74" fmla="*/ 141 w 153"/>
                <a:gd name="T75" fmla="*/ 128 h 171"/>
                <a:gd name="T76" fmla="*/ 140 w 153"/>
                <a:gd name="T77" fmla="*/ 115 h 171"/>
                <a:gd name="T78" fmla="*/ 139 w 153"/>
                <a:gd name="T79" fmla="*/ 110 h 171"/>
                <a:gd name="T80" fmla="*/ 141 w 153"/>
                <a:gd name="T81" fmla="*/ 94 h 171"/>
                <a:gd name="T82" fmla="*/ 132 w 153"/>
                <a:gd name="T83" fmla="*/ 80 h 171"/>
                <a:gd name="T84" fmla="*/ 138 w 153"/>
                <a:gd name="T85" fmla="*/ 60 h 171"/>
                <a:gd name="T86" fmla="*/ 128 w 153"/>
                <a:gd name="T87" fmla="*/ 49 h 171"/>
                <a:gd name="T88" fmla="*/ 117 w 153"/>
                <a:gd name="T89" fmla="*/ 3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3" h="171">
                  <a:moveTo>
                    <a:pt x="117" y="38"/>
                  </a:moveTo>
                  <a:lnTo>
                    <a:pt x="116" y="32"/>
                  </a:lnTo>
                  <a:lnTo>
                    <a:pt x="103" y="25"/>
                  </a:lnTo>
                  <a:lnTo>
                    <a:pt x="90" y="16"/>
                  </a:lnTo>
                  <a:lnTo>
                    <a:pt x="76" y="8"/>
                  </a:lnTo>
                  <a:lnTo>
                    <a:pt x="63" y="0"/>
                  </a:lnTo>
                  <a:lnTo>
                    <a:pt x="51" y="1"/>
                  </a:lnTo>
                  <a:lnTo>
                    <a:pt x="39" y="1"/>
                  </a:lnTo>
                  <a:lnTo>
                    <a:pt x="27" y="1"/>
                  </a:lnTo>
                  <a:lnTo>
                    <a:pt x="15" y="1"/>
                  </a:lnTo>
                  <a:lnTo>
                    <a:pt x="20" y="21"/>
                  </a:lnTo>
                  <a:lnTo>
                    <a:pt x="16" y="22"/>
                  </a:lnTo>
                  <a:lnTo>
                    <a:pt x="16" y="31"/>
                  </a:lnTo>
                  <a:lnTo>
                    <a:pt x="20" y="36"/>
                  </a:lnTo>
                  <a:lnTo>
                    <a:pt x="12" y="45"/>
                  </a:lnTo>
                  <a:lnTo>
                    <a:pt x="3" y="56"/>
                  </a:lnTo>
                  <a:lnTo>
                    <a:pt x="0" y="56"/>
                  </a:lnTo>
                  <a:lnTo>
                    <a:pt x="0" y="67"/>
                  </a:lnTo>
                  <a:lnTo>
                    <a:pt x="1" y="79"/>
                  </a:lnTo>
                  <a:lnTo>
                    <a:pt x="6" y="92"/>
                  </a:lnTo>
                  <a:lnTo>
                    <a:pt x="12" y="104"/>
                  </a:lnTo>
                  <a:lnTo>
                    <a:pt x="18" y="116"/>
                  </a:lnTo>
                  <a:lnTo>
                    <a:pt x="19" y="118"/>
                  </a:lnTo>
                  <a:lnTo>
                    <a:pt x="33" y="127"/>
                  </a:lnTo>
                  <a:lnTo>
                    <a:pt x="48" y="135"/>
                  </a:lnTo>
                  <a:lnTo>
                    <a:pt x="62" y="138"/>
                  </a:lnTo>
                  <a:lnTo>
                    <a:pt x="68" y="140"/>
                  </a:lnTo>
                  <a:lnTo>
                    <a:pt x="72" y="158"/>
                  </a:lnTo>
                  <a:lnTo>
                    <a:pt x="75" y="170"/>
                  </a:lnTo>
                  <a:lnTo>
                    <a:pt x="82" y="170"/>
                  </a:lnTo>
                  <a:lnTo>
                    <a:pt x="90" y="169"/>
                  </a:lnTo>
                  <a:lnTo>
                    <a:pt x="106" y="171"/>
                  </a:lnTo>
                  <a:lnTo>
                    <a:pt x="116" y="168"/>
                  </a:lnTo>
                  <a:lnTo>
                    <a:pt x="124" y="168"/>
                  </a:lnTo>
                  <a:lnTo>
                    <a:pt x="139" y="160"/>
                  </a:lnTo>
                  <a:lnTo>
                    <a:pt x="153" y="153"/>
                  </a:lnTo>
                  <a:lnTo>
                    <a:pt x="144" y="142"/>
                  </a:lnTo>
                  <a:lnTo>
                    <a:pt x="141" y="128"/>
                  </a:lnTo>
                  <a:lnTo>
                    <a:pt x="140" y="115"/>
                  </a:lnTo>
                  <a:lnTo>
                    <a:pt x="139" y="110"/>
                  </a:lnTo>
                  <a:lnTo>
                    <a:pt x="141" y="94"/>
                  </a:lnTo>
                  <a:lnTo>
                    <a:pt x="132" y="80"/>
                  </a:lnTo>
                  <a:lnTo>
                    <a:pt x="138" y="60"/>
                  </a:lnTo>
                  <a:lnTo>
                    <a:pt x="128" y="49"/>
                  </a:lnTo>
                  <a:lnTo>
                    <a:pt x="117" y="38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45" name="Freeform 259">
              <a:extLst>
                <a:ext uri="{FF2B5EF4-FFF2-40B4-BE49-F238E27FC236}">
                  <a16:creationId xmlns:a16="http://schemas.microsoft.com/office/drawing/2014/main" id="{D2CC430E-3862-4484-AE27-DC142EE8854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40536" y="4641640"/>
              <a:ext cx="9514" cy="21825"/>
            </a:xfrm>
            <a:custGeom>
              <a:avLst/>
              <a:gdLst>
                <a:gd name="T0" fmla="*/ 4 w 4"/>
                <a:gd name="T1" fmla="*/ 9 h 9"/>
                <a:gd name="T2" fmla="*/ 2 w 4"/>
                <a:gd name="T3" fmla="*/ 0 h 9"/>
                <a:gd name="T4" fmla="*/ 0 w 4"/>
                <a:gd name="T5" fmla="*/ 3 h 9"/>
                <a:gd name="T6" fmla="*/ 4 w 4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4" y="9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4" y="9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46" name="Freeform 260">
              <a:extLst>
                <a:ext uri="{FF2B5EF4-FFF2-40B4-BE49-F238E27FC236}">
                  <a16:creationId xmlns:a16="http://schemas.microsoft.com/office/drawing/2014/main" id="{77010741-9795-4DD0-A103-57868646EED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53225" y="4284508"/>
              <a:ext cx="159828" cy="198406"/>
            </a:xfrm>
            <a:custGeom>
              <a:avLst/>
              <a:gdLst>
                <a:gd name="T0" fmla="*/ 68 w 77"/>
                <a:gd name="T1" fmla="*/ 13 h 91"/>
                <a:gd name="T2" fmla="*/ 62 w 77"/>
                <a:gd name="T3" fmla="*/ 0 h 91"/>
                <a:gd name="T4" fmla="*/ 55 w 77"/>
                <a:gd name="T5" fmla="*/ 8 h 91"/>
                <a:gd name="T6" fmla="*/ 40 w 77"/>
                <a:gd name="T7" fmla="*/ 8 h 91"/>
                <a:gd name="T8" fmla="*/ 34 w 77"/>
                <a:gd name="T9" fmla="*/ 10 h 91"/>
                <a:gd name="T10" fmla="*/ 30 w 77"/>
                <a:gd name="T11" fmla="*/ 8 h 91"/>
                <a:gd name="T12" fmla="*/ 19 w 77"/>
                <a:gd name="T13" fmla="*/ 9 h 91"/>
                <a:gd name="T14" fmla="*/ 18 w 77"/>
                <a:gd name="T15" fmla="*/ 12 h 91"/>
                <a:gd name="T16" fmla="*/ 17 w 77"/>
                <a:gd name="T17" fmla="*/ 26 h 91"/>
                <a:gd name="T18" fmla="*/ 24 w 77"/>
                <a:gd name="T19" fmla="*/ 33 h 91"/>
                <a:gd name="T20" fmla="*/ 16 w 77"/>
                <a:gd name="T21" fmla="*/ 44 h 91"/>
                <a:gd name="T22" fmla="*/ 6 w 77"/>
                <a:gd name="T23" fmla="*/ 54 h 91"/>
                <a:gd name="T24" fmla="*/ 4 w 77"/>
                <a:gd name="T25" fmla="*/ 72 h 91"/>
                <a:gd name="T26" fmla="*/ 0 w 77"/>
                <a:gd name="T27" fmla="*/ 91 h 91"/>
                <a:gd name="T28" fmla="*/ 5 w 77"/>
                <a:gd name="T29" fmla="*/ 91 h 91"/>
                <a:gd name="T30" fmla="*/ 13 w 77"/>
                <a:gd name="T31" fmla="*/ 85 h 91"/>
                <a:gd name="T32" fmla="*/ 25 w 77"/>
                <a:gd name="T33" fmla="*/ 85 h 91"/>
                <a:gd name="T34" fmla="*/ 37 w 77"/>
                <a:gd name="T35" fmla="*/ 85 h 91"/>
                <a:gd name="T36" fmla="*/ 49 w 77"/>
                <a:gd name="T37" fmla="*/ 85 h 91"/>
                <a:gd name="T38" fmla="*/ 61 w 77"/>
                <a:gd name="T39" fmla="*/ 84 h 91"/>
                <a:gd name="T40" fmla="*/ 61 w 77"/>
                <a:gd name="T41" fmla="*/ 67 h 91"/>
                <a:gd name="T42" fmla="*/ 71 w 77"/>
                <a:gd name="T43" fmla="*/ 50 h 91"/>
                <a:gd name="T44" fmla="*/ 77 w 77"/>
                <a:gd name="T45" fmla="*/ 38 h 91"/>
                <a:gd name="T46" fmla="*/ 73 w 77"/>
                <a:gd name="T47" fmla="*/ 25 h 91"/>
                <a:gd name="T48" fmla="*/ 68 w 77"/>
                <a:gd name="T49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" h="91">
                  <a:moveTo>
                    <a:pt x="68" y="13"/>
                  </a:moveTo>
                  <a:lnTo>
                    <a:pt x="62" y="0"/>
                  </a:lnTo>
                  <a:lnTo>
                    <a:pt x="55" y="8"/>
                  </a:lnTo>
                  <a:lnTo>
                    <a:pt x="40" y="8"/>
                  </a:lnTo>
                  <a:lnTo>
                    <a:pt x="34" y="10"/>
                  </a:lnTo>
                  <a:lnTo>
                    <a:pt x="30" y="8"/>
                  </a:lnTo>
                  <a:lnTo>
                    <a:pt x="19" y="9"/>
                  </a:lnTo>
                  <a:lnTo>
                    <a:pt x="18" y="12"/>
                  </a:lnTo>
                  <a:lnTo>
                    <a:pt x="17" y="26"/>
                  </a:lnTo>
                  <a:lnTo>
                    <a:pt x="24" y="33"/>
                  </a:lnTo>
                  <a:lnTo>
                    <a:pt x="16" y="44"/>
                  </a:lnTo>
                  <a:lnTo>
                    <a:pt x="6" y="54"/>
                  </a:lnTo>
                  <a:lnTo>
                    <a:pt x="4" y="72"/>
                  </a:lnTo>
                  <a:lnTo>
                    <a:pt x="0" y="91"/>
                  </a:lnTo>
                  <a:lnTo>
                    <a:pt x="5" y="91"/>
                  </a:lnTo>
                  <a:lnTo>
                    <a:pt x="13" y="85"/>
                  </a:lnTo>
                  <a:lnTo>
                    <a:pt x="25" y="85"/>
                  </a:lnTo>
                  <a:lnTo>
                    <a:pt x="37" y="85"/>
                  </a:lnTo>
                  <a:lnTo>
                    <a:pt x="49" y="85"/>
                  </a:lnTo>
                  <a:lnTo>
                    <a:pt x="61" y="84"/>
                  </a:lnTo>
                  <a:lnTo>
                    <a:pt x="61" y="67"/>
                  </a:lnTo>
                  <a:lnTo>
                    <a:pt x="71" y="50"/>
                  </a:lnTo>
                  <a:lnTo>
                    <a:pt x="77" y="38"/>
                  </a:lnTo>
                  <a:lnTo>
                    <a:pt x="73" y="25"/>
                  </a:lnTo>
                  <a:lnTo>
                    <a:pt x="68" y="13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47" name="Freeform 261">
              <a:extLst>
                <a:ext uri="{FF2B5EF4-FFF2-40B4-BE49-F238E27FC236}">
                  <a16:creationId xmlns:a16="http://schemas.microsoft.com/office/drawing/2014/main" id="{51BDB61C-839F-4336-AFE5-3BD2FEE46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8072" y="4244829"/>
              <a:ext cx="574624" cy="666643"/>
            </a:xfrm>
            <a:custGeom>
              <a:avLst/>
              <a:gdLst>
                <a:gd name="T0" fmla="*/ 241 w 271"/>
                <a:gd name="T1" fmla="*/ 119 h 301"/>
                <a:gd name="T2" fmla="*/ 239 w 271"/>
                <a:gd name="T3" fmla="*/ 128 h 301"/>
                <a:gd name="T4" fmla="*/ 240 w 271"/>
                <a:gd name="T5" fmla="*/ 131 h 301"/>
                <a:gd name="T6" fmla="*/ 245 w 271"/>
                <a:gd name="T7" fmla="*/ 157 h 301"/>
                <a:gd name="T8" fmla="*/ 246 w 271"/>
                <a:gd name="T9" fmla="*/ 180 h 301"/>
                <a:gd name="T10" fmla="*/ 257 w 271"/>
                <a:gd name="T11" fmla="*/ 205 h 301"/>
                <a:gd name="T12" fmla="*/ 249 w 271"/>
                <a:gd name="T13" fmla="*/ 219 h 301"/>
                <a:gd name="T14" fmla="*/ 229 w 271"/>
                <a:gd name="T15" fmla="*/ 235 h 301"/>
                <a:gd name="T16" fmla="*/ 230 w 271"/>
                <a:gd name="T17" fmla="*/ 263 h 301"/>
                <a:gd name="T18" fmla="*/ 243 w 271"/>
                <a:gd name="T19" fmla="*/ 285 h 301"/>
                <a:gd name="T20" fmla="*/ 245 w 271"/>
                <a:gd name="T21" fmla="*/ 301 h 301"/>
                <a:gd name="T22" fmla="*/ 235 w 271"/>
                <a:gd name="T23" fmla="*/ 300 h 301"/>
                <a:gd name="T24" fmla="*/ 215 w 271"/>
                <a:gd name="T25" fmla="*/ 278 h 301"/>
                <a:gd name="T26" fmla="*/ 204 w 271"/>
                <a:gd name="T27" fmla="*/ 278 h 301"/>
                <a:gd name="T28" fmla="*/ 182 w 271"/>
                <a:gd name="T29" fmla="*/ 266 h 301"/>
                <a:gd name="T30" fmla="*/ 165 w 271"/>
                <a:gd name="T31" fmla="*/ 260 h 301"/>
                <a:gd name="T32" fmla="*/ 143 w 271"/>
                <a:gd name="T33" fmla="*/ 265 h 301"/>
                <a:gd name="T34" fmla="*/ 138 w 271"/>
                <a:gd name="T35" fmla="*/ 242 h 301"/>
                <a:gd name="T36" fmla="*/ 137 w 271"/>
                <a:gd name="T37" fmla="*/ 205 h 301"/>
                <a:gd name="T38" fmla="*/ 119 w 271"/>
                <a:gd name="T39" fmla="*/ 199 h 301"/>
                <a:gd name="T40" fmla="*/ 101 w 271"/>
                <a:gd name="T41" fmla="*/ 212 h 301"/>
                <a:gd name="T42" fmla="*/ 74 w 271"/>
                <a:gd name="T43" fmla="*/ 211 h 301"/>
                <a:gd name="T44" fmla="*/ 62 w 271"/>
                <a:gd name="T45" fmla="*/ 181 h 301"/>
                <a:gd name="T46" fmla="*/ 38 w 271"/>
                <a:gd name="T47" fmla="*/ 180 h 301"/>
                <a:gd name="T48" fmla="*/ 14 w 271"/>
                <a:gd name="T49" fmla="*/ 180 h 301"/>
                <a:gd name="T50" fmla="*/ 0 w 271"/>
                <a:gd name="T51" fmla="*/ 179 h 301"/>
                <a:gd name="T52" fmla="*/ 6 w 271"/>
                <a:gd name="T53" fmla="*/ 164 h 301"/>
                <a:gd name="T54" fmla="*/ 20 w 271"/>
                <a:gd name="T55" fmla="*/ 162 h 301"/>
                <a:gd name="T56" fmla="*/ 32 w 271"/>
                <a:gd name="T57" fmla="*/ 156 h 301"/>
                <a:gd name="T58" fmla="*/ 44 w 271"/>
                <a:gd name="T59" fmla="*/ 153 h 301"/>
                <a:gd name="T60" fmla="*/ 57 w 271"/>
                <a:gd name="T61" fmla="*/ 129 h 301"/>
                <a:gd name="T62" fmla="*/ 69 w 271"/>
                <a:gd name="T63" fmla="*/ 104 h 301"/>
                <a:gd name="T64" fmla="*/ 81 w 271"/>
                <a:gd name="T65" fmla="*/ 79 h 301"/>
                <a:gd name="T66" fmla="*/ 85 w 271"/>
                <a:gd name="T67" fmla="*/ 55 h 301"/>
                <a:gd name="T68" fmla="*/ 91 w 271"/>
                <a:gd name="T69" fmla="*/ 29 h 301"/>
                <a:gd name="T70" fmla="*/ 103 w 271"/>
                <a:gd name="T71" fmla="*/ 2 h 301"/>
                <a:gd name="T72" fmla="*/ 131 w 271"/>
                <a:gd name="T73" fmla="*/ 14 h 301"/>
                <a:gd name="T74" fmla="*/ 150 w 271"/>
                <a:gd name="T75" fmla="*/ 9 h 301"/>
                <a:gd name="T76" fmla="*/ 171 w 271"/>
                <a:gd name="T77" fmla="*/ 5 h 301"/>
                <a:gd name="T78" fmla="*/ 187 w 271"/>
                <a:gd name="T79" fmla="*/ 0 h 301"/>
                <a:gd name="T80" fmla="*/ 209 w 271"/>
                <a:gd name="T81" fmla="*/ 2 h 301"/>
                <a:gd name="T82" fmla="*/ 219 w 271"/>
                <a:gd name="T83" fmla="*/ 8 h 301"/>
                <a:gd name="T84" fmla="*/ 240 w 271"/>
                <a:gd name="T85" fmla="*/ 14 h 301"/>
                <a:gd name="T86" fmla="*/ 255 w 271"/>
                <a:gd name="T87" fmla="*/ 19 h 301"/>
                <a:gd name="T88" fmla="*/ 264 w 271"/>
                <a:gd name="T89" fmla="*/ 43 h 301"/>
                <a:gd name="T90" fmla="*/ 263 w 271"/>
                <a:gd name="T91" fmla="*/ 61 h 301"/>
                <a:gd name="T92" fmla="*/ 251 w 271"/>
                <a:gd name="T93" fmla="*/ 89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1" h="301">
                  <a:moveTo>
                    <a:pt x="247" y="108"/>
                  </a:moveTo>
                  <a:lnTo>
                    <a:pt x="241" y="119"/>
                  </a:lnTo>
                  <a:lnTo>
                    <a:pt x="237" y="128"/>
                  </a:lnTo>
                  <a:lnTo>
                    <a:pt x="239" y="128"/>
                  </a:lnTo>
                  <a:lnTo>
                    <a:pt x="239" y="129"/>
                  </a:lnTo>
                  <a:lnTo>
                    <a:pt x="240" y="131"/>
                  </a:lnTo>
                  <a:lnTo>
                    <a:pt x="242" y="144"/>
                  </a:lnTo>
                  <a:lnTo>
                    <a:pt x="245" y="157"/>
                  </a:lnTo>
                  <a:lnTo>
                    <a:pt x="245" y="168"/>
                  </a:lnTo>
                  <a:lnTo>
                    <a:pt x="246" y="180"/>
                  </a:lnTo>
                  <a:lnTo>
                    <a:pt x="251" y="193"/>
                  </a:lnTo>
                  <a:lnTo>
                    <a:pt x="257" y="205"/>
                  </a:lnTo>
                  <a:lnTo>
                    <a:pt x="263" y="217"/>
                  </a:lnTo>
                  <a:lnTo>
                    <a:pt x="249" y="219"/>
                  </a:lnTo>
                  <a:lnTo>
                    <a:pt x="236" y="223"/>
                  </a:lnTo>
                  <a:lnTo>
                    <a:pt x="229" y="235"/>
                  </a:lnTo>
                  <a:lnTo>
                    <a:pt x="231" y="248"/>
                  </a:lnTo>
                  <a:lnTo>
                    <a:pt x="230" y="263"/>
                  </a:lnTo>
                  <a:lnTo>
                    <a:pt x="229" y="276"/>
                  </a:lnTo>
                  <a:lnTo>
                    <a:pt x="243" y="285"/>
                  </a:lnTo>
                  <a:lnTo>
                    <a:pt x="247" y="281"/>
                  </a:lnTo>
                  <a:lnTo>
                    <a:pt x="245" y="301"/>
                  </a:lnTo>
                  <a:lnTo>
                    <a:pt x="241" y="300"/>
                  </a:lnTo>
                  <a:lnTo>
                    <a:pt x="235" y="300"/>
                  </a:lnTo>
                  <a:lnTo>
                    <a:pt x="223" y="284"/>
                  </a:lnTo>
                  <a:lnTo>
                    <a:pt x="215" y="278"/>
                  </a:lnTo>
                  <a:lnTo>
                    <a:pt x="209" y="271"/>
                  </a:lnTo>
                  <a:lnTo>
                    <a:pt x="204" y="278"/>
                  </a:lnTo>
                  <a:lnTo>
                    <a:pt x="185" y="271"/>
                  </a:lnTo>
                  <a:lnTo>
                    <a:pt x="182" y="266"/>
                  </a:lnTo>
                  <a:lnTo>
                    <a:pt x="171" y="267"/>
                  </a:lnTo>
                  <a:lnTo>
                    <a:pt x="165" y="260"/>
                  </a:lnTo>
                  <a:lnTo>
                    <a:pt x="155" y="263"/>
                  </a:lnTo>
                  <a:lnTo>
                    <a:pt x="143" y="265"/>
                  </a:lnTo>
                  <a:lnTo>
                    <a:pt x="143" y="259"/>
                  </a:lnTo>
                  <a:lnTo>
                    <a:pt x="138" y="242"/>
                  </a:lnTo>
                  <a:lnTo>
                    <a:pt x="137" y="223"/>
                  </a:lnTo>
                  <a:lnTo>
                    <a:pt x="137" y="205"/>
                  </a:lnTo>
                  <a:lnTo>
                    <a:pt x="117" y="203"/>
                  </a:lnTo>
                  <a:lnTo>
                    <a:pt x="119" y="199"/>
                  </a:lnTo>
                  <a:lnTo>
                    <a:pt x="104" y="198"/>
                  </a:lnTo>
                  <a:lnTo>
                    <a:pt x="101" y="212"/>
                  </a:lnTo>
                  <a:lnTo>
                    <a:pt x="84" y="216"/>
                  </a:lnTo>
                  <a:lnTo>
                    <a:pt x="74" y="211"/>
                  </a:lnTo>
                  <a:lnTo>
                    <a:pt x="68" y="197"/>
                  </a:lnTo>
                  <a:lnTo>
                    <a:pt x="62" y="181"/>
                  </a:lnTo>
                  <a:lnTo>
                    <a:pt x="50" y="181"/>
                  </a:lnTo>
                  <a:lnTo>
                    <a:pt x="38" y="180"/>
                  </a:lnTo>
                  <a:lnTo>
                    <a:pt x="26" y="180"/>
                  </a:lnTo>
                  <a:lnTo>
                    <a:pt x="14" y="180"/>
                  </a:lnTo>
                  <a:lnTo>
                    <a:pt x="2" y="181"/>
                  </a:lnTo>
                  <a:lnTo>
                    <a:pt x="0" y="179"/>
                  </a:lnTo>
                  <a:lnTo>
                    <a:pt x="5" y="177"/>
                  </a:lnTo>
                  <a:lnTo>
                    <a:pt x="6" y="164"/>
                  </a:lnTo>
                  <a:lnTo>
                    <a:pt x="13" y="159"/>
                  </a:lnTo>
                  <a:lnTo>
                    <a:pt x="20" y="162"/>
                  </a:lnTo>
                  <a:lnTo>
                    <a:pt x="24" y="157"/>
                  </a:lnTo>
                  <a:lnTo>
                    <a:pt x="32" y="156"/>
                  </a:lnTo>
                  <a:lnTo>
                    <a:pt x="33" y="163"/>
                  </a:lnTo>
                  <a:lnTo>
                    <a:pt x="44" y="153"/>
                  </a:lnTo>
                  <a:lnTo>
                    <a:pt x="55" y="143"/>
                  </a:lnTo>
                  <a:lnTo>
                    <a:pt x="57" y="129"/>
                  </a:lnTo>
                  <a:lnTo>
                    <a:pt x="60" y="117"/>
                  </a:lnTo>
                  <a:lnTo>
                    <a:pt x="69" y="104"/>
                  </a:lnTo>
                  <a:lnTo>
                    <a:pt x="79" y="91"/>
                  </a:lnTo>
                  <a:lnTo>
                    <a:pt x="81" y="79"/>
                  </a:lnTo>
                  <a:lnTo>
                    <a:pt x="84" y="67"/>
                  </a:lnTo>
                  <a:lnTo>
                    <a:pt x="85" y="55"/>
                  </a:lnTo>
                  <a:lnTo>
                    <a:pt x="87" y="43"/>
                  </a:lnTo>
                  <a:lnTo>
                    <a:pt x="91" y="29"/>
                  </a:lnTo>
                  <a:lnTo>
                    <a:pt x="91" y="17"/>
                  </a:lnTo>
                  <a:lnTo>
                    <a:pt x="103" y="2"/>
                  </a:lnTo>
                  <a:lnTo>
                    <a:pt x="117" y="11"/>
                  </a:lnTo>
                  <a:lnTo>
                    <a:pt x="131" y="14"/>
                  </a:lnTo>
                  <a:lnTo>
                    <a:pt x="144" y="19"/>
                  </a:lnTo>
                  <a:lnTo>
                    <a:pt x="150" y="9"/>
                  </a:lnTo>
                  <a:lnTo>
                    <a:pt x="157" y="9"/>
                  </a:lnTo>
                  <a:lnTo>
                    <a:pt x="171" y="5"/>
                  </a:lnTo>
                  <a:lnTo>
                    <a:pt x="181" y="5"/>
                  </a:lnTo>
                  <a:lnTo>
                    <a:pt x="187" y="0"/>
                  </a:lnTo>
                  <a:lnTo>
                    <a:pt x="198" y="1"/>
                  </a:lnTo>
                  <a:lnTo>
                    <a:pt x="209" y="2"/>
                  </a:lnTo>
                  <a:lnTo>
                    <a:pt x="217" y="5"/>
                  </a:lnTo>
                  <a:lnTo>
                    <a:pt x="219" y="8"/>
                  </a:lnTo>
                  <a:lnTo>
                    <a:pt x="231" y="14"/>
                  </a:lnTo>
                  <a:lnTo>
                    <a:pt x="240" y="14"/>
                  </a:lnTo>
                  <a:lnTo>
                    <a:pt x="245" y="9"/>
                  </a:lnTo>
                  <a:lnTo>
                    <a:pt x="255" y="19"/>
                  </a:lnTo>
                  <a:lnTo>
                    <a:pt x="265" y="29"/>
                  </a:lnTo>
                  <a:lnTo>
                    <a:pt x="264" y="43"/>
                  </a:lnTo>
                  <a:lnTo>
                    <a:pt x="271" y="50"/>
                  </a:lnTo>
                  <a:lnTo>
                    <a:pt x="263" y="61"/>
                  </a:lnTo>
                  <a:lnTo>
                    <a:pt x="253" y="71"/>
                  </a:lnTo>
                  <a:lnTo>
                    <a:pt x="251" y="89"/>
                  </a:lnTo>
                  <a:lnTo>
                    <a:pt x="247" y="108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48" name="Freeform 262">
              <a:extLst>
                <a:ext uri="{FF2B5EF4-FFF2-40B4-BE49-F238E27FC236}">
                  <a16:creationId xmlns:a16="http://schemas.microsoft.com/office/drawing/2014/main" id="{F353EB88-9132-4750-A1E5-2FA042DDB59B}"/>
                </a:ext>
              </a:extLst>
            </p:cNvPr>
            <p:cNvSpPr>
              <a:spLocks/>
            </p:cNvSpPr>
            <p:nvPr/>
          </p:nvSpPr>
          <p:spPr bwMode="gray">
            <a:xfrm>
              <a:off x="5415384" y="4726955"/>
              <a:ext cx="355809" cy="347209"/>
            </a:xfrm>
            <a:custGeom>
              <a:avLst/>
              <a:gdLst>
                <a:gd name="T0" fmla="*/ 30 w 167"/>
                <a:gd name="T1" fmla="*/ 76 h 158"/>
                <a:gd name="T2" fmla="*/ 16 w 167"/>
                <a:gd name="T3" fmla="*/ 77 h 158"/>
                <a:gd name="T4" fmla="*/ 2 w 167"/>
                <a:gd name="T5" fmla="*/ 77 h 158"/>
                <a:gd name="T6" fmla="*/ 2 w 167"/>
                <a:gd name="T7" fmla="*/ 90 h 158"/>
                <a:gd name="T8" fmla="*/ 2 w 167"/>
                <a:gd name="T9" fmla="*/ 102 h 158"/>
                <a:gd name="T10" fmla="*/ 2 w 167"/>
                <a:gd name="T11" fmla="*/ 115 h 158"/>
                <a:gd name="T12" fmla="*/ 0 w 167"/>
                <a:gd name="T13" fmla="*/ 128 h 158"/>
                <a:gd name="T14" fmla="*/ 11 w 167"/>
                <a:gd name="T15" fmla="*/ 140 h 158"/>
                <a:gd name="T16" fmla="*/ 21 w 167"/>
                <a:gd name="T17" fmla="*/ 151 h 158"/>
                <a:gd name="T18" fmla="*/ 30 w 167"/>
                <a:gd name="T19" fmla="*/ 150 h 158"/>
                <a:gd name="T20" fmla="*/ 46 w 167"/>
                <a:gd name="T21" fmla="*/ 155 h 158"/>
                <a:gd name="T22" fmla="*/ 65 w 167"/>
                <a:gd name="T23" fmla="*/ 158 h 158"/>
                <a:gd name="T24" fmla="*/ 78 w 167"/>
                <a:gd name="T25" fmla="*/ 146 h 158"/>
                <a:gd name="T26" fmla="*/ 94 w 167"/>
                <a:gd name="T27" fmla="*/ 134 h 158"/>
                <a:gd name="T28" fmla="*/ 99 w 167"/>
                <a:gd name="T29" fmla="*/ 125 h 158"/>
                <a:gd name="T30" fmla="*/ 108 w 167"/>
                <a:gd name="T31" fmla="*/ 122 h 158"/>
                <a:gd name="T32" fmla="*/ 119 w 167"/>
                <a:gd name="T33" fmla="*/ 120 h 158"/>
                <a:gd name="T34" fmla="*/ 117 w 167"/>
                <a:gd name="T35" fmla="*/ 110 h 158"/>
                <a:gd name="T36" fmla="*/ 128 w 167"/>
                <a:gd name="T37" fmla="*/ 107 h 158"/>
                <a:gd name="T38" fmla="*/ 138 w 167"/>
                <a:gd name="T39" fmla="*/ 102 h 158"/>
                <a:gd name="T40" fmla="*/ 149 w 167"/>
                <a:gd name="T41" fmla="*/ 98 h 158"/>
                <a:gd name="T42" fmla="*/ 160 w 167"/>
                <a:gd name="T43" fmla="*/ 94 h 158"/>
                <a:gd name="T44" fmla="*/ 153 w 167"/>
                <a:gd name="T45" fmla="*/ 86 h 158"/>
                <a:gd name="T46" fmla="*/ 161 w 167"/>
                <a:gd name="T47" fmla="*/ 71 h 158"/>
                <a:gd name="T48" fmla="*/ 162 w 167"/>
                <a:gd name="T49" fmla="*/ 67 h 158"/>
                <a:gd name="T50" fmla="*/ 164 w 167"/>
                <a:gd name="T51" fmla="*/ 54 h 158"/>
                <a:gd name="T52" fmla="*/ 164 w 167"/>
                <a:gd name="T53" fmla="*/ 42 h 158"/>
                <a:gd name="T54" fmla="*/ 167 w 167"/>
                <a:gd name="T55" fmla="*/ 36 h 158"/>
                <a:gd name="T56" fmla="*/ 159 w 167"/>
                <a:gd name="T57" fmla="*/ 23 h 158"/>
                <a:gd name="T58" fmla="*/ 158 w 167"/>
                <a:gd name="T59" fmla="*/ 19 h 158"/>
                <a:gd name="T60" fmla="*/ 143 w 167"/>
                <a:gd name="T61" fmla="*/ 11 h 158"/>
                <a:gd name="T62" fmla="*/ 129 w 167"/>
                <a:gd name="T63" fmla="*/ 2 h 158"/>
                <a:gd name="T64" fmla="*/ 128 w 167"/>
                <a:gd name="T65" fmla="*/ 0 h 158"/>
                <a:gd name="T66" fmla="*/ 114 w 167"/>
                <a:gd name="T67" fmla="*/ 2 h 158"/>
                <a:gd name="T68" fmla="*/ 101 w 167"/>
                <a:gd name="T69" fmla="*/ 6 h 158"/>
                <a:gd name="T70" fmla="*/ 94 w 167"/>
                <a:gd name="T71" fmla="*/ 18 h 158"/>
                <a:gd name="T72" fmla="*/ 96 w 167"/>
                <a:gd name="T73" fmla="*/ 31 h 158"/>
                <a:gd name="T74" fmla="*/ 95 w 167"/>
                <a:gd name="T75" fmla="*/ 46 h 158"/>
                <a:gd name="T76" fmla="*/ 94 w 167"/>
                <a:gd name="T77" fmla="*/ 59 h 158"/>
                <a:gd name="T78" fmla="*/ 108 w 167"/>
                <a:gd name="T79" fmla="*/ 68 h 158"/>
                <a:gd name="T80" fmla="*/ 112 w 167"/>
                <a:gd name="T81" fmla="*/ 64 h 158"/>
                <a:gd name="T82" fmla="*/ 110 w 167"/>
                <a:gd name="T83" fmla="*/ 84 h 158"/>
                <a:gd name="T84" fmla="*/ 106 w 167"/>
                <a:gd name="T85" fmla="*/ 83 h 158"/>
                <a:gd name="T86" fmla="*/ 100 w 167"/>
                <a:gd name="T87" fmla="*/ 83 h 158"/>
                <a:gd name="T88" fmla="*/ 88 w 167"/>
                <a:gd name="T89" fmla="*/ 67 h 158"/>
                <a:gd name="T90" fmla="*/ 80 w 167"/>
                <a:gd name="T91" fmla="*/ 61 h 158"/>
                <a:gd name="T92" fmla="*/ 74 w 167"/>
                <a:gd name="T93" fmla="*/ 54 h 158"/>
                <a:gd name="T94" fmla="*/ 69 w 167"/>
                <a:gd name="T95" fmla="*/ 61 h 158"/>
                <a:gd name="T96" fmla="*/ 50 w 167"/>
                <a:gd name="T97" fmla="*/ 54 h 158"/>
                <a:gd name="T98" fmla="*/ 47 w 167"/>
                <a:gd name="T99" fmla="*/ 49 h 158"/>
                <a:gd name="T100" fmla="*/ 36 w 167"/>
                <a:gd name="T101" fmla="*/ 50 h 158"/>
                <a:gd name="T102" fmla="*/ 30 w 167"/>
                <a:gd name="T103" fmla="*/ 43 h 158"/>
                <a:gd name="T104" fmla="*/ 30 w 167"/>
                <a:gd name="T105" fmla="*/ 60 h 158"/>
                <a:gd name="T106" fmla="*/ 30 w 167"/>
                <a:gd name="T107" fmla="*/ 7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7" h="158">
                  <a:moveTo>
                    <a:pt x="30" y="76"/>
                  </a:moveTo>
                  <a:lnTo>
                    <a:pt x="16" y="77"/>
                  </a:lnTo>
                  <a:lnTo>
                    <a:pt x="2" y="77"/>
                  </a:lnTo>
                  <a:lnTo>
                    <a:pt x="2" y="90"/>
                  </a:lnTo>
                  <a:lnTo>
                    <a:pt x="2" y="102"/>
                  </a:lnTo>
                  <a:lnTo>
                    <a:pt x="2" y="115"/>
                  </a:lnTo>
                  <a:lnTo>
                    <a:pt x="0" y="128"/>
                  </a:lnTo>
                  <a:lnTo>
                    <a:pt x="11" y="140"/>
                  </a:lnTo>
                  <a:lnTo>
                    <a:pt x="21" y="151"/>
                  </a:lnTo>
                  <a:lnTo>
                    <a:pt x="30" y="150"/>
                  </a:lnTo>
                  <a:lnTo>
                    <a:pt x="46" y="155"/>
                  </a:lnTo>
                  <a:lnTo>
                    <a:pt x="65" y="158"/>
                  </a:lnTo>
                  <a:lnTo>
                    <a:pt x="78" y="146"/>
                  </a:lnTo>
                  <a:lnTo>
                    <a:pt x="94" y="134"/>
                  </a:lnTo>
                  <a:lnTo>
                    <a:pt x="99" y="125"/>
                  </a:lnTo>
                  <a:lnTo>
                    <a:pt x="108" y="122"/>
                  </a:lnTo>
                  <a:lnTo>
                    <a:pt x="119" y="120"/>
                  </a:lnTo>
                  <a:lnTo>
                    <a:pt x="117" y="110"/>
                  </a:lnTo>
                  <a:lnTo>
                    <a:pt x="128" y="107"/>
                  </a:lnTo>
                  <a:lnTo>
                    <a:pt x="138" y="102"/>
                  </a:lnTo>
                  <a:lnTo>
                    <a:pt x="149" y="98"/>
                  </a:lnTo>
                  <a:lnTo>
                    <a:pt x="160" y="94"/>
                  </a:lnTo>
                  <a:lnTo>
                    <a:pt x="153" y="86"/>
                  </a:lnTo>
                  <a:lnTo>
                    <a:pt x="161" y="71"/>
                  </a:lnTo>
                  <a:lnTo>
                    <a:pt x="162" y="67"/>
                  </a:lnTo>
                  <a:lnTo>
                    <a:pt x="164" y="54"/>
                  </a:lnTo>
                  <a:lnTo>
                    <a:pt x="164" y="42"/>
                  </a:lnTo>
                  <a:lnTo>
                    <a:pt x="167" y="36"/>
                  </a:lnTo>
                  <a:lnTo>
                    <a:pt x="159" y="23"/>
                  </a:lnTo>
                  <a:lnTo>
                    <a:pt x="158" y="19"/>
                  </a:lnTo>
                  <a:lnTo>
                    <a:pt x="143" y="11"/>
                  </a:lnTo>
                  <a:lnTo>
                    <a:pt x="129" y="2"/>
                  </a:lnTo>
                  <a:lnTo>
                    <a:pt x="128" y="0"/>
                  </a:lnTo>
                  <a:lnTo>
                    <a:pt x="114" y="2"/>
                  </a:lnTo>
                  <a:lnTo>
                    <a:pt x="101" y="6"/>
                  </a:lnTo>
                  <a:lnTo>
                    <a:pt x="94" y="18"/>
                  </a:lnTo>
                  <a:lnTo>
                    <a:pt x="96" y="31"/>
                  </a:lnTo>
                  <a:lnTo>
                    <a:pt x="95" y="46"/>
                  </a:lnTo>
                  <a:lnTo>
                    <a:pt x="94" y="59"/>
                  </a:lnTo>
                  <a:lnTo>
                    <a:pt x="108" y="68"/>
                  </a:lnTo>
                  <a:lnTo>
                    <a:pt x="112" y="64"/>
                  </a:lnTo>
                  <a:lnTo>
                    <a:pt x="110" y="84"/>
                  </a:lnTo>
                  <a:lnTo>
                    <a:pt x="106" y="83"/>
                  </a:lnTo>
                  <a:lnTo>
                    <a:pt x="100" y="83"/>
                  </a:lnTo>
                  <a:lnTo>
                    <a:pt x="88" y="67"/>
                  </a:lnTo>
                  <a:lnTo>
                    <a:pt x="80" y="61"/>
                  </a:lnTo>
                  <a:lnTo>
                    <a:pt x="74" y="54"/>
                  </a:lnTo>
                  <a:lnTo>
                    <a:pt x="69" y="61"/>
                  </a:lnTo>
                  <a:lnTo>
                    <a:pt x="50" y="54"/>
                  </a:lnTo>
                  <a:lnTo>
                    <a:pt x="47" y="49"/>
                  </a:lnTo>
                  <a:lnTo>
                    <a:pt x="36" y="50"/>
                  </a:lnTo>
                  <a:lnTo>
                    <a:pt x="30" y="43"/>
                  </a:lnTo>
                  <a:lnTo>
                    <a:pt x="30" y="60"/>
                  </a:lnTo>
                  <a:lnTo>
                    <a:pt x="30" y="76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49" name="Freeform 263">
              <a:extLst>
                <a:ext uri="{FF2B5EF4-FFF2-40B4-BE49-F238E27FC236}">
                  <a16:creationId xmlns:a16="http://schemas.microsoft.com/office/drawing/2014/main" id="{1B7DD8DB-8F36-470E-827E-F5F4518DB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5512423" y="4990832"/>
              <a:ext cx="230230" cy="238087"/>
            </a:xfrm>
            <a:custGeom>
              <a:avLst/>
              <a:gdLst>
                <a:gd name="T0" fmla="*/ 53 w 108"/>
                <a:gd name="T1" fmla="*/ 103 h 108"/>
                <a:gd name="T2" fmla="*/ 49 w 108"/>
                <a:gd name="T3" fmla="*/ 101 h 108"/>
                <a:gd name="T4" fmla="*/ 37 w 108"/>
                <a:gd name="T5" fmla="*/ 95 h 108"/>
                <a:gd name="T6" fmla="*/ 32 w 108"/>
                <a:gd name="T7" fmla="*/ 82 h 108"/>
                <a:gd name="T8" fmla="*/ 29 w 108"/>
                <a:gd name="T9" fmla="*/ 77 h 108"/>
                <a:gd name="T10" fmla="*/ 26 w 108"/>
                <a:gd name="T11" fmla="*/ 73 h 108"/>
                <a:gd name="T12" fmla="*/ 16 w 108"/>
                <a:gd name="T13" fmla="*/ 66 h 108"/>
                <a:gd name="T14" fmla="*/ 8 w 108"/>
                <a:gd name="T15" fmla="*/ 50 h 108"/>
                <a:gd name="T16" fmla="*/ 0 w 108"/>
                <a:gd name="T17" fmla="*/ 35 h 108"/>
                <a:gd name="T18" fmla="*/ 19 w 108"/>
                <a:gd name="T19" fmla="*/ 38 h 108"/>
                <a:gd name="T20" fmla="*/ 32 w 108"/>
                <a:gd name="T21" fmla="*/ 26 h 108"/>
                <a:gd name="T22" fmla="*/ 48 w 108"/>
                <a:gd name="T23" fmla="*/ 14 h 108"/>
                <a:gd name="T24" fmla="*/ 53 w 108"/>
                <a:gd name="T25" fmla="*/ 5 h 108"/>
                <a:gd name="T26" fmla="*/ 62 w 108"/>
                <a:gd name="T27" fmla="*/ 2 h 108"/>
                <a:gd name="T28" fmla="*/ 73 w 108"/>
                <a:gd name="T29" fmla="*/ 0 h 108"/>
                <a:gd name="T30" fmla="*/ 73 w 108"/>
                <a:gd name="T31" fmla="*/ 6 h 108"/>
                <a:gd name="T32" fmla="*/ 80 w 108"/>
                <a:gd name="T33" fmla="*/ 5 h 108"/>
                <a:gd name="T34" fmla="*/ 94 w 108"/>
                <a:gd name="T35" fmla="*/ 11 h 108"/>
                <a:gd name="T36" fmla="*/ 108 w 108"/>
                <a:gd name="T37" fmla="*/ 17 h 108"/>
                <a:gd name="T38" fmla="*/ 108 w 108"/>
                <a:gd name="T39" fmla="*/ 36 h 108"/>
                <a:gd name="T40" fmla="*/ 104 w 108"/>
                <a:gd name="T41" fmla="*/ 50 h 108"/>
                <a:gd name="T42" fmla="*/ 107 w 108"/>
                <a:gd name="T43" fmla="*/ 65 h 108"/>
                <a:gd name="T44" fmla="*/ 101 w 108"/>
                <a:gd name="T45" fmla="*/ 78 h 108"/>
                <a:gd name="T46" fmla="*/ 98 w 108"/>
                <a:gd name="T47" fmla="*/ 91 h 108"/>
                <a:gd name="T48" fmla="*/ 90 w 108"/>
                <a:gd name="T49" fmla="*/ 100 h 108"/>
                <a:gd name="T50" fmla="*/ 80 w 108"/>
                <a:gd name="T51" fmla="*/ 108 h 108"/>
                <a:gd name="T52" fmla="*/ 67 w 108"/>
                <a:gd name="T53" fmla="*/ 107 h 108"/>
                <a:gd name="T54" fmla="*/ 54 w 108"/>
                <a:gd name="T55" fmla="*/ 104 h 108"/>
                <a:gd name="T56" fmla="*/ 53 w 108"/>
                <a:gd name="T57" fmla="*/ 10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" h="108">
                  <a:moveTo>
                    <a:pt x="53" y="103"/>
                  </a:moveTo>
                  <a:lnTo>
                    <a:pt x="49" y="101"/>
                  </a:lnTo>
                  <a:lnTo>
                    <a:pt x="37" y="95"/>
                  </a:lnTo>
                  <a:lnTo>
                    <a:pt x="32" y="82"/>
                  </a:lnTo>
                  <a:lnTo>
                    <a:pt x="29" y="77"/>
                  </a:lnTo>
                  <a:lnTo>
                    <a:pt x="26" y="73"/>
                  </a:lnTo>
                  <a:lnTo>
                    <a:pt x="16" y="66"/>
                  </a:lnTo>
                  <a:lnTo>
                    <a:pt x="8" y="50"/>
                  </a:lnTo>
                  <a:lnTo>
                    <a:pt x="0" y="35"/>
                  </a:lnTo>
                  <a:lnTo>
                    <a:pt x="19" y="38"/>
                  </a:lnTo>
                  <a:lnTo>
                    <a:pt x="32" y="26"/>
                  </a:lnTo>
                  <a:lnTo>
                    <a:pt x="48" y="14"/>
                  </a:lnTo>
                  <a:lnTo>
                    <a:pt x="53" y="5"/>
                  </a:lnTo>
                  <a:lnTo>
                    <a:pt x="62" y="2"/>
                  </a:lnTo>
                  <a:lnTo>
                    <a:pt x="73" y="0"/>
                  </a:lnTo>
                  <a:lnTo>
                    <a:pt x="73" y="6"/>
                  </a:lnTo>
                  <a:lnTo>
                    <a:pt x="80" y="5"/>
                  </a:lnTo>
                  <a:lnTo>
                    <a:pt x="94" y="11"/>
                  </a:lnTo>
                  <a:lnTo>
                    <a:pt x="108" y="17"/>
                  </a:lnTo>
                  <a:lnTo>
                    <a:pt x="108" y="36"/>
                  </a:lnTo>
                  <a:lnTo>
                    <a:pt x="104" y="50"/>
                  </a:lnTo>
                  <a:lnTo>
                    <a:pt x="107" y="65"/>
                  </a:lnTo>
                  <a:lnTo>
                    <a:pt x="101" y="78"/>
                  </a:lnTo>
                  <a:lnTo>
                    <a:pt x="98" y="91"/>
                  </a:lnTo>
                  <a:lnTo>
                    <a:pt x="90" y="100"/>
                  </a:lnTo>
                  <a:lnTo>
                    <a:pt x="80" y="108"/>
                  </a:lnTo>
                  <a:lnTo>
                    <a:pt x="67" y="107"/>
                  </a:lnTo>
                  <a:lnTo>
                    <a:pt x="54" y="104"/>
                  </a:lnTo>
                  <a:lnTo>
                    <a:pt x="53" y="103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275" name="Freeform 309">
            <a:extLst>
              <a:ext uri="{FF2B5EF4-FFF2-40B4-BE49-F238E27FC236}">
                <a16:creationId xmlns:a16="http://schemas.microsoft.com/office/drawing/2014/main" id="{BAD7C5AB-B8B8-43B6-A852-5385E56D60BD}"/>
              </a:ext>
            </a:extLst>
          </p:cNvPr>
          <p:cNvSpPr>
            <a:spLocks/>
          </p:cNvSpPr>
          <p:nvPr/>
        </p:nvSpPr>
        <p:spPr bwMode="gray">
          <a:xfrm>
            <a:off x="5995715" y="2482989"/>
            <a:ext cx="1054110" cy="486093"/>
          </a:xfrm>
          <a:custGeom>
            <a:avLst/>
            <a:gdLst>
              <a:gd name="T0" fmla="*/ 58 w 498"/>
              <a:gd name="T1" fmla="*/ 130 h 220"/>
              <a:gd name="T2" fmla="*/ 40 w 498"/>
              <a:gd name="T3" fmla="*/ 139 h 220"/>
              <a:gd name="T4" fmla="*/ 14 w 498"/>
              <a:gd name="T5" fmla="*/ 111 h 220"/>
              <a:gd name="T6" fmla="*/ 1 w 498"/>
              <a:gd name="T7" fmla="*/ 81 h 220"/>
              <a:gd name="T8" fmla="*/ 18 w 498"/>
              <a:gd name="T9" fmla="*/ 72 h 220"/>
              <a:gd name="T10" fmla="*/ 30 w 498"/>
              <a:gd name="T11" fmla="*/ 57 h 220"/>
              <a:gd name="T12" fmla="*/ 58 w 498"/>
              <a:gd name="T13" fmla="*/ 50 h 220"/>
              <a:gd name="T14" fmla="*/ 91 w 498"/>
              <a:gd name="T15" fmla="*/ 66 h 220"/>
              <a:gd name="T16" fmla="*/ 134 w 498"/>
              <a:gd name="T17" fmla="*/ 64 h 220"/>
              <a:gd name="T18" fmla="*/ 161 w 498"/>
              <a:gd name="T19" fmla="*/ 63 h 220"/>
              <a:gd name="T20" fmla="*/ 154 w 498"/>
              <a:gd name="T21" fmla="*/ 30 h 220"/>
              <a:gd name="T22" fmla="*/ 149 w 498"/>
              <a:gd name="T23" fmla="*/ 22 h 220"/>
              <a:gd name="T24" fmla="*/ 181 w 498"/>
              <a:gd name="T25" fmla="*/ 18 h 220"/>
              <a:gd name="T26" fmla="*/ 211 w 498"/>
              <a:gd name="T27" fmla="*/ 9 h 220"/>
              <a:gd name="T28" fmla="*/ 241 w 498"/>
              <a:gd name="T29" fmla="*/ 1 h 220"/>
              <a:gd name="T30" fmla="*/ 262 w 498"/>
              <a:gd name="T31" fmla="*/ 9 h 220"/>
              <a:gd name="T32" fmla="*/ 294 w 498"/>
              <a:gd name="T33" fmla="*/ 22 h 220"/>
              <a:gd name="T34" fmla="*/ 320 w 498"/>
              <a:gd name="T35" fmla="*/ 18 h 220"/>
              <a:gd name="T36" fmla="*/ 338 w 498"/>
              <a:gd name="T37" fmla="*/ 15 h 220"/>
              <a:gd name="T38" fmla="*/ 353 w 498"/>
              <a:gd name="T39" fmla="*/ 33 h 220"/>
              <a:gd name="T40" fmla="*/ 388 w 498"/>
              <a:gd name="T41" fmla="*/ 56 h 220"/>
              <a:gd name="T42" fmla="*/ 407 w 498"/>
              <a:gd name="T43" fmla="*/ 64 h 220"/>
              <a:gd name="T44" fmla="*/ 432 w 498"/>
              <a:gd name="T45" fmla="*/ 64 h 220"/>
              <a:gd name="T46" fmla="*/ 467 w 498"/>
              <a:gd name="T47" fmla="*/ 86 h 220"/>
              <a:gd name="T48" fmla="*/ 498 w 498"/>
              <a:gd name="T49" fmla="*/ 97 h 220"/>
              <a:gd name="T50" fmla="*/ 486 w 498"/>
              <a:gd name="T51" fmla="*/ 112 h 220"/>
              <a:gd name="T52" fmla="*/ 481 w 498"/>
              <a:gd name="T53" fmla="*/ 130 h 220"/>
              <a:gd name="T54" fmla="*/ 462 w 498"/>
              <a:gd name="T55" fmla="*/ 140 h 220"/>
              <a:gd name="T56" fmla="*/ 468 w 498"/>
              <a:gd name="T57" fmla="*/ 159 h 220"/>
              <a:gd name="T58" fmla="*/ 436 w 498"/>
              <a:gd name="T59" fmla="*/ 164 h 220"/>
              <a:gd name="T60" fmla="*/ 450 w 498"/>
              <a:gd name="T61" fmla="*/ 180 h 220"/>
              <a:gd name="T62" fmla="*/ 456 w 498"/>
              <a:gd name="T63" fmla="*/ 194 h 220"/>
              <a:gd name="T64" fmla="*/ 436 w 498"/>
              <a:gd name="T65" fmla="*/ 187 h 220"/>
              <a:gd name="T66" fmla="*/ 402 w 498"/>
              <a:gd name="T67" fmla="*/ 190 h 220"/>
              <a:gd name="T68" fmla="*/ 372 w 498"/>
              <a:gd name="T69" fmla="*/ 189 h 220"/>
              <a:gd name="T70" fmla="*/ 352 w 498"/>
              <a:gd name="T71" fmla="*/ 196 h 220"/>
              <a:gd name="T72" fmla="*/ 329 w 498"/>
              <a:gd name="T73" fmla="*/ 202 h 220"/>
              <a:gd name="T74" fmla="*/ 305 w 498"/>
              <a:gd name="T75" fmla="*/ 220 h 220"/>
              <a:gd name="T76" fmla="*/ 280 w 498"/>
              <a:gd name="T77" fmla="*/ 207 h 220"/>
              <a:gd name="T78" fmla="*/ 264 w 498"/>
              <a:gd name="T79" fmla="*/ 184 h 220"/>
              <a:gd name="T80" fmla="*/ 238 w 498"/>
              <a:gd name="T81" fmla="*/ 182 h 220"/>
              <a:gd name="T82" fmla="*/ 210 w 498"/>
              <a:gd name="T83" fmla="*/ 181 h 220"/>
              <a:gd name="T84" fmla="*/ 180 w 498"/>
              <a:gd name="T85" fmla="*/ 156 h 220"/>
              <a:gd name="T86" fmla="*/ 146 w 498"/>
              <a:gd name="T87" fmla="*/ 153 h 220"/>
              <a:gd name="T88" fmla="*/ 134 w 498"/>
              <a:gd name="T89" fmla="*/ 174 h 220"/>
              <a:gd name="T90" fmla="*/ 142 w 498"/>
              <a:gd name="T91" fmla="*/ 202 h 220"/>
              <a:gd name="T92" fmla="*/ 130 w 498"/>
              <a:gd name="T93" fmla="*/ 212 h 220"/>
              <a:gd name="T94" fmla="*/ 116 w 498"/>
              <a:gd name="T95" fmla="*/ 195 h 220"/>
              <a:gd name="T96" fmla="*/ 83 w 498"/>
              <a:gd name="T97" fmla="*/ 192 h 220"/>
              <a:gd name="T98" fmla="*/ 66 w 498"/>
              <a:gd name="T99" fmla="*/ 172 h 220"/>
              <a:gd name="T100" fmla="*/ 74 w 498"/>
              <a:gd name="T101" fmla="*/ 168 h 220"/>
              <a:gd name="T102" fmla="*/ 76 w 498"/>
              <a:gd name="T103" fmla="*/ 156 h 220"/>
              <a:gd name="T104" fmla="*/ 88 w 498"/>
              <a:gd name="T105" fmla="*/ 150 h 220"/>
              <a:gd name="T106" fmla="*/ 68 w 498"/>
              <a:gd name="T107" fmla="*/ 13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8" h="220">
                <a:moveTo>
                  <a:pt x="68" y="130"/>
                </a:moveTo>
                <a:lnTo>
                  <a:pt x="58" y="130"/>
                </a:lnTo>
                <a:lnTo>
                  <a:pt x="41" y="138"/>
                </a:lnTo>
                <a:lnTo>
                  <a:pt x="40" y="139"/>
                </a:lnTo>
                <a:lnTo>
                  <a:pt x="30" y="123"/>
                </a:lnTo>
                <a:lnTo>
                  <a:pt x="14" y="111"/>
                </a:lnTo>
                <a:lnTo>
                  <a:pt x="0" y="99"/>
                </a:lnTo>
                <a:lnTo>
                  <a:pt x="1" y="81"/>
                </a:lnTo>
                <a:lnTo>
                  <a:pt x="4" y="64"/>
                </a:lnTo>
                <a:lnTo>
                  <a:pt x="18" y="72"/>
                </a:lnTo>
                <a:lnTo>
                  <a:pt x="20" y="64"/>
                </a:lnTo>
                <a:lnTo>
                  <a:pt x="30" y="57"/>
                </a:lnTo>
                <a:lnTo>
                  <a:pt x="40" y="51"/>
                </a:lnTo>
                <a:lnTo>
                  <a:pt x="58" y="50"/>
                </a:lnTo>
                <a:lnTo>
                  <a:pt x="74" y="57"/>
                </a:lnTo>
                <a:lnTo>
                  <a:pt x="91" y="66"/>
                </a:lnTo>
                <a:lnTo>
                  <a:pt x="110" y="64"/>
                </a:lnTo>
                <a:lnTo>
                  <a:pt x="134" y="64"/>
                </a:lnTo>
                <a:lnTo>
                  <a:pt x="158" y="68"/>
                </a:lnTo>
                <a:lnTo>
                  <a:pt x="161" y="63"/>
                </a:lnTo>
                <a:lnTo>
                  <a:pt x="148" y="48"/>
                </a:lnTo>
                <a:lnTo>
                  <a:pt x="154" y="30"/>
                </a:lnTo>
                <a:lnTo>
                  <a:pt x="164" y="31"/>
                </a:lnTo>
                <a:lnTo>
                  <a:pt x="149" y="22"/>
                </a:lnTo>
                <a:lnTo>
                  <a:pt x="166" y="20"/>
                </a:lnTo>
                <a:lnTo>
                  <a:pt x="181" y="18"/>
                </a:lnTo>
                <a:lnTo>
                  <a:pt x="197" y="13"/>
                </a:lnTo>
                <a:lnTo>
                  <a:pt x="211" y="9"/>
                </a:lnTo>
                <a:lnTo>
                  <a:pt x="227" y="4"/>
                </a:lnTo>
                <a:lnTo>
                  <a:pt x="241" y="1"/>
                </a:lnTo>
                <a:lnTo>
                  <a:pt x="252" y="0"/>
                </a:lnTo>
                <a:lnTo>
                  <a:pt x="262" y="9"/>
                </a:lnTo>
                <a:lnTo>
                  <a:pt x="286" y="18"/>
                </a:lnTo>
                <a:lnTo>
                  <a:pt x="294" y="22"/>
                </a:lnTo>
                <a:lnTo>
                  <a:pt x="304" y="24"/>
                </a:lnTo>
                <a:lnTo>
                  <a:pt x="320" y="18"/>
                </a:lnTo>
                <a:lnTo>
                  <a:pt x="336" y="13"/>
                </a:lnTo>
                <a:lnTo>
                  <a:pt x="338" y="15"/>
                </a:lnTo>
                <a:lnTo>
                  <a:pt x="336" y="22"/>
                </a:lnTo>
                <a:lnTo>
                  <a:pt x="353" y="33"/>
                </a:lnTo>
                <a:lnTo>
                  <a:pt x="370" y="45"/>
                </a:lnTo>
                <a:lnTo>
                  <a:pt x="388" y="56"/>
                </a:lnTo>
                <a:lnTo>
                  <a:pt x="404" y="68"/>
                </a:lnTo>
                <a:lnTo>
                  <a:pt x="407" y="64"/>
                </a:lnTo>
                <a:lnTo>
                  <a:pt x="416" y="68"/>
                </a:lnTo>
                <a:lnTo>
                  <a:pt x="432" y="64"/>
                </a:lnTo>
                <a:lnTo>
                  <a:pt x="450" y="75"/>
                </a:lnTo>
                <a:lnTo>
                  <a:pt x="467" y="86"/>
                </a:lnTo>
                <a:lnTo>
                  <a:pt x="484" y="82"/>
                </a:lnTo>
                <a:lnTo>
                  <a:pt x="498" y="97"/>
                </a:lnTo>
                <a:lnTo>
                  <a:pt x="492" y="108"/>
                </a:lnTo>
                <a:lnTo>
                  <a:pt x="486" y="112"/>
                </a:lnTo>
                <a:lnTo>
                  <a:pt x="492" y="129"/>
                </a:lnTo>
                <a:lnTo>
                  <a:pt x="481" y="130"/>
                </a:lnTo>
                <a:lnTo>
                  <a:pt x="461" y="127"/>
                </a:lnTo>
                <a:lnTo>
                  <a:pt x="462" y="140"/>
                </a:lnTo>
                <a:lnTo>
                  <a:pt x="463" y="153"/>
                </a:lnTo>
                <a:lnTo>
                  <a:pt x="468" y="159"/>
                </a:lnTo>
                <a:lnTo>
                  <a:pt x="451" y="158"/>
                </a:lnTo>
                <a:lnTo>
                  <a:pt x="436" y="164"/>
                </a:lnTo>
                <a:lnTo>
                  <a:pt x="444" y="168"/>
                </a:lnTo>
                <a:lnTo>
                  <a:pt x="450" y="180"/>
                </a:lnTo>
                <a:lnTo>
                  <a:pt x="456" y="192"/>
                </a:lnTo>
                <a:lnTo>
                  <a:pt x="456" y="194"/>
                </a:lnTo>
                <a:lnTo>
                  <a:pt x="452" y="198"/>
                </a:lnTo>
                <a:lnTo>
                  <a:pt x="436" y="187"/>
                </a:lnTo>
                <a:lnTo>
                  <a:pt x="419" y="189"/>
                </a:lnTo>
                <a:lnTo>
                  <a:pt x="402" y="190"/>
                </a:lnTo>
                <a:lnTo>
                  <a:pt x="384" y="190"/>
                </a:lnTo>
                <a:lnTo>
                  <a:pt x="372" y="189"/>
                </a:lnTo>
                <a:lnTo>
                  <a:pt x="365" y="199"/>
                </a:lnTo>
                <a:lnTo>
                  <a:pt x="352" y="196"/>
                </a:lnTo>
                <a:lnTo>
                  <a:pt x="337" y="195"/>
                </a:lnTo>
                <a:lnTo>
                  <a:pt x="329" y="202"/>
                </a:lnTo>
                <a:lnTo>
                  <a:pt x="317" y="211"/>
                </a:lnTo>
                <a:lnTo>
                  <a:pt x="305" y="220"/>
                </a:lnTo>
                <a:lnTo>
                  <a:pt x="292" y="213"/>
                </a:lnTo>
                <a:lnTo>
                  <a:pt x="280" y="207"/>
                </a:lnTo>
                <a:lnTo>
                  <a:pt x="278" y="194"/>
                </a:lnTo>
                <a:lnTo>
                  <a:pt x="264" y="184"/>
                </a:lnTo>
                <a:lnTo>
                  <a:pt x="251" y="183"/>
                </a:lnTo>
                <a:lnTo>
                  <a:pt x="238" y="182"/>
                </a:lnTo>
                <a:lnTo>
                  <a:pt x="223" y="182"/>
                </a:lnTo>
                <a:lnTo>
                  <a:pt x="210" y="181"/>
                </a:lnTo>
                <a:lnTo>
                  <a:pt x="197" y="164"/>
                </a:lnTo>
                <a:lnTo>
                  <a:pt x="180" y="156"/>
                </a:lnTo>
                <a:lnTo>
                  <a:pt x="163" y="147"/>
                </a:lnTo>
                <a:lnTo>
                  <a:pt x="146" y="153"/>
                </a:lnTo>
                <a:lnTo>
                  <a:pt x="131" y="159"/>
                </a:lnTo>
                <a:lnTo>
                  <a:pt x="134" y="174"/>
                </a:lnTo>
                <a:lnTo>
                  <a:pt x="138" y="188"/>
                </a:lnTo>
                <a:lnTo>
                  <a:pt x="142" y="202"/>
                </a:lnTo>
                <a:lnTo>
                  <a:pt x="145" y="216"/>
                </a:lnTo>
                <a:lnTo>
                  <a:pt x="130" y="212"/>
                </a:lnTo>
                <a:lnTo>
                  <a:pt x="115" y="207"/>
                </a:lnTo>
                <a:lnTo>
                  <a:pt x="116" y="195"/>
                </a:lnTo>
                <a:lnTo>
                  <a:pt x="94" y="195"/>
                </a:lnTo>
                <a:lnTo>
                  <a:pt x="83" y="192"/>
                </a:lnTo>
                <a:lnTo>
                  <a:pt x="78" y="188"/>
                </a:lnTo>
                <a:lnTo>
                  <a:pt x="66" y="172"/>
                </a:lnTo>
                <a:lnTo>
                  <a:pt x="60" y="169"/>
                </a:lnTo>
                <a:lnTo>
                  <a:pt x="74" y="168"/>
                </a:lnTo>
                <a:lnTo>
                  <a:pt x="68" y="162"/>
                </a:lnTo>
                <a:lnTo>
                  <a:pt x="76" y="156"/>
                </a:lnTo>
                <a:lnTo>
                  <a:pt x="92" y="156"/>
                </a:lnTo>
                <a:lnTo>
                  <a:pt x="88" y="150"/>
                </a:lnTo>
                <a:lnTo>
                  <a:pt x="85" y="132"/>
                </a:lnTo>
                <a:lnTo>
                  <a:pt x="68" y="130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8" name="Freeform 312">
            <a:extLst>
              <a:ext uri="{FF2B5EF4-FFF2-40B4-BE49-F238E27FC236}">
                <a16:creationId xmlns:a16="http://schemas.microsoft.com/office/drawing/2014/main" id="{2FEAE42D-A6C9-41C3-9AE3-0892116D89BF}"/>
              </a:ext>
            </a:extLst>
          </p:cNvPr>
          <p:cNvSpPr>
            <a:spLocks/>
          </p:cNvSpPr>
          <p:nvPr/>
        </p:nvSpPr>
        <p:spPr bwMode="gray">
          <a:xfrm>
            <a:off x="6195501" y="2915513"/>
            <a:ext cx="410988" cy="269831"/>
          </a:xfrm>
          <a:custGeom>
            <a:avLst/>
            <a:gdLst>
              <a:gd name="T0" fmla="*/ 184 w 194"/>
              <a:gd name="T1" fmla="*/ 95 h 123"/>
              <a:gd name="T2" fmla="*/ 180 w 194"/>
              <a:gd name="T3" fmla="*/ 107 h 123"/>
              <a:gd name="T4" fmla="*/ 166 w 194"/>
              <a:gd name="T5" fmla="*/ 114 h 123"/>
              <a:gd name="T6" fmla="*/ 163 w 194"/>
              <a:gd name="T7" fmla="*/ 123 h 123"/>
              <a:gd name="T8" fmla="*/ 156 w 194"/>
              <a:gd name="T9" fmla="*/ 120 h 123"/>
              <a:gd name="T10" fmla="*/ 142 w 194"/>
              <a:gd name="T11" fmla="*/ 117 h 123"/>
              <a:gd name="T12" fmla="*/ 136 w 194"/>
              <a:gd name="T13" fmla="*/ 100 h 123"/>
              <a:gd name="T14" fmla="*/ 126 w 194"/>
              <a:gd name="T15" fmla="*/ 97 h 123"/>
              <a:gd name="T16" fmla="*/ 114 w 194"/>
              <a:gd name="T17" fmla="*/ 90 h 123"/>
              <a:gd name="T18" fmla="*/ 102 w 194"/>
              <a:gd name="T19" fmla="*/ 83 h 123"/>
              <a:gd name="T20" fmla="*/ 80 w 194"/>
              <a:gd name="T21" fmla="*/ 76 h 123"/>
              <a:gd name="T22" fmla="*/ 68 w 194"/>
              <a:gd name="T23" fmla="*/ 77 h 123"/>
              <a:gd name="T24" fmla="*/ 52 w 194"/>
              <a:gd name="T25" fmla="*/ 78 h 123"/>
              <a:gd name="T26" fmla="*/ 43 w 194"/>
              <a:gd name="T27" fmla="*/ 89 h 123"/>
              <a:gd name="T28" fmla="*/ 38 w 194"/>
              <a:gd name="T29" fmla="*/ 88 h 123"/>
              <a:gd name="T30" fmla="*/ 34 w 194"/>
              <a:gd name="T31" fmla="*/ 75 h 123"/>
              <a:gd name="T32" fmla="*/ 31 w 194"/>
              <a:gd name="T33" fmla="*/ 61 h 123"/>
              <a:gd name="T34" fmla="*/ 22 w 194"/>
              <a:gd name="T35" fmla="*/ 57 h 123"/>
              <a:gd name="T36" fmla="*/ 25 w 194"/>
              <a:gd name="T37" fmla="*/ 53 h 123"/>
              <a:gd name="T38" fmla="*/ 26 w 194"/>
              <a:gd name="T39" fmla="*/ 52 h 123"/>
              <a:gd name="T40" fmla="*/ 22 w 194"/>
              <a:gd name="T41" fmla="*/ 46 h 123"/>
              <a:gd name="T42" fmla="*/ 18 w 194"/>
              <a:gd name="T43" fmla="*/ 47 h 123"/>
              <a:gd name="T44" fmla="*/ 18 w 194"/>
              <a:gd name="T45" fmla="*/ 48 h 123"/>
              <a:gd name="T46" fmla="*/ 13 w 194"/>
              <a:gd name="T47" fmla="*/ 33 h 123"/>
              <a:gd name="T48" fmla="*/ 14 w 194"/>
              <a:gd name="T49" fmla="*/ 31 h 123"/>
              <a:gd name="T50" fmla="*/ 22 w 194"/>
              <a:gd name="T51" fmla="*/ 31 h 123"/>
              <a:gd name="T52" fmla="*/ 28 w 194"/>
              <a:gd name="T53" fmla="*/ 35 h 123"/>
              <a:gd name="T54" fmla="*/ 32 w 194"/>
              <a:gd name="T55" fmla="*/ 35 h 123"/>
              <a:gd name="T56" fmla="*/ 33 w 194"/>
              <a:gd name="T57" fmla="*/ 33 h 123"/>
              <a:gd name="T58" fmla="*/ 34 w 194"/>
              <a:gd name="T59" fmla="*/ 28 h 123"/>
              <a:gd name="T60" fmla="*/ 22 w 194"/>
              <a:gd name="T61" fmla="*/ 15 h 123"/>
              <a:gd name="T62" fmla="*/ 12 w 194"/>
              <a:gd name="T63" fmla="*/ 13 h 123"/>
              <a:gd name="T64" fmla="*/ 12 w 194"/>
              <a:gd name="T65" fmla="*/ 27 h 123"/>
              <a:gd name="T66" fmla="*/ 12 w 194"/>
              <a:gd name="T67" fmla="*/ 28 h 123"/>
              <a:gd name="T68" fmla="*/ 3 w 194"/>
              <a:gd name="T69" fmla="*/ 11 h 123"/>
              <a:gd name="T70" fmla="*/ 3 w 194"/>
              <a:gd name="T71" fmla="*/ 4 h 123"/>
              <a:gd name="T72" fmla="*/ 0 w 194"/>
              <a:gd name="T73" fmla="*/ 0 h 123"/>
              <a:gd name="T74" fmla="*/ 22 w 194"/>
              <a:gd name="T75" fmla="*/ 0 h 123"/>
              <a:gd name="T76" fmla="*/ 21 w 194"/>
              <a:gd name="T77" fmla="*/ 12 h 123"/>
              <a:gd name="T78" fmla="*/ 36 w 194"/>
              <a:gd name="T79" fmla="*/ 17 h 123"/>
              <a:gd name="T80" fmla="*/ 51 w 194"/>
              <a:gd name="T81" fmla="*/ 21 h 123"/>
              <a:gd name="T82" fmla="*/ 69 w 194"/>
              <a:gd name="T83" fmla="*/ 25 h 123"/>
              <a:gd name="T84" fmla="*/ 67 w 194"/>
              <a:gd name="T85" fmla="*/ 16 h 123"/>
              <a:gd name="T86" fmla="*/ 73 w 194"/>
              <a:gd name="T87" fmla="*/ 12 h 123"/>
              <a:gd name="T88" fmla="*/ 84 w 194"/>
              <a:gd name="T89" fmla="*/ 1 h 123"/>
              <a:gd name="T90" fmla="*/ 100 w 194"/>
              <a:gd name="T91" fmla="*/ 12 h 123"/>
              <a:gd name="T92" fmla="*/ 111 w 194"/>
              <a:gd name="T93" fmla="*/ 29 h 123"/>
              <a:gd name="T94" fmla="*/ 129 w 194"/>
              <a:gd name="T95" fmla="*/ 36 h 123"/>
              <a:gd name="T96" fmla="*/ 140 w 194"/>
              <a:gd name="T97" fmla="*/ 41 h 123"/>
              <a:gd name="T98" fmla="*/ 163 w 194"/>
              <a:gd name="T99" fmla="*/ 55 h 123"/>
              <a:gd name="T100" fmla="*/ 186 w 194"/>
              <a:gd name="T101" fmla="*/ 70 h 123"/>
              <a:gd name="T102" fmla="*/ 194 w 194"/>
              <a:gd name="T103" fmla="*/ 85 h 123"/>
              <a:gd name="T104" fmla="*/ 189 w 194"/>
              <a:gd name="T105" fmla="*/ 90 h 123"/>
              <a:gd name="T106" fmla="*/ 184 w 194"/>
              <a:gd name="T107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94" h="123">
                <a:moveTo>
                  <a:pt x="184" y="95"/>
                </a:moveTo>
                <a:lnTo>
                  <a:pt x="180" y="107"/>
                </a:lnTo>
                <a:lnTo>
                  <a:pt x="166" y="114"/>
                </a:lnTo>
                <a:lnTo>
                  <a:pt x="163" y="123"/>
                </a:lnTo>
                <a:lnTo>
                  <a:pt x="156" y="120"/>
                </a:lnTo>
                <a:lnTo>
                  <a:pt x="142" y="117"/>
                </a:lnTo>
                <a:lnTo>
                  <a:pt x="136" y="100"/>
                </a:lnTo>
                <a:lnTo>
                  <a:pt x="126" y="97"/>
                </a:lnTo>
                <a:lnTo>
                  <a:pt x="114" y="90"/>
                </a:lnTo>
                <a:lnTo>
                  <a:pt x="102" y="83"/>
                </a:lnTo>
                <a:lnTo>
                  <a:pt x="80" y="76"/>
                </a:lnTo>
                <a:lnTo>
                  <a:pt x="68" y="77"/>
                </a:lnTo>
                <a:lnTo>
                  <a:pt x="52" y="78"/>
                </a:lnTo>
                <a:lnTo>
                  <a:pt x="43" y="89"/>
                </a:lnTo>
                <a:lnTo>
                  <a:pt x="38" y="88"/>
                </a:lnTo>
                <a:lnTo>
                  <a:pt x="34" y="75"/>
                </a:lnTo>
                <a:lnTo>
                  <a:pt x="31" y="61"/>
                </a:lnTo>
                <a:lnTo>
                  <a:pt x="22" y="57"/>
                </a:lnTo>
                <a:lnTo>
                  <a:pt x="25" y="53"/>
                </a:lnTo>
                <a:lnTo>
                  <a:pt x="26" y="52"/>
                </a:lnTo>
                <a:lnTo>
                  <a:pt x="22" y="46"/>
                </a:lnTo>
                <a:lnTo>
                  <a:pt x="18" y="47"/>
                </a:lnTo>
                <a:lnTo>
                  <a:pt x="18" y="48"/>
                </a:lnTo>
                <a:lnTo>
                  <a:pt x="13" y="33"/>
                </a:lnTo>
                <a:lnTo>
                  <a:pt x="14" y="31"/>
                </a:lnTo>
                <a:lnTo>
                  <a:pt x="22" y="31"/>
                </a:lnTo>
                <a:lnTo>
                  <a:pt x="28" y="35"/>
                </a:lnTo>
                <a:lnTo>
                  <a:pt x="32" y="35"/>
                </a:lnTo>
                <a:lnTo>
                  <a:pt x="33" y="33"/>
                </a:lnTo>
                <a:lnTo>
                  <a:pt x="34" y="28"/>
                </a:lnTo>
                <a:lnTo>
                  <a:pt x="22" y="15"/>
                </a:lnTo>
                <a:lnTo>
                  <a:pt x="12" y="13"/>
                </a:lnTo>
                <a:lnTo>
                  <a:pt x="12" y="27"/>
                </a:lnTo>
                <a:lnTo>
                  <a:pt x="12" y="28"/>
                </a:lnTo>
                <a:lnTo>
                  <a:pt x="3" y="11"/>
                </a:lnTo>
                <a:lnTo>
                  <a:pt x="3" y="4"/>
                </a:lnTo>
                <a:lnTo>
                  <a:pt x="0" y="0"/>
                </a:lnTo>
                <a:lnTo>
                  <a:pt x="22" y="0"/>
                </a:lnTo>
                <a:lnTo>
                  <a:pt x="21" y="12"/>
                </a:lnTo>
                <a:lnTo>
                  <a:pt x="36" y="17"/>
                </a:lnTo>
                <a:lnTo>
                  <a:pt x="51" y="21"/>
                </a:lnTo>
                <a:lnTo>
                  <a:pt x="69" y="25"/>
                </a:lnTo>
                <a:lnTo>
                  <a:pt x="67" y="16"/>
                </a:lnTo>
                <a:lnTo>
                  <a:pt x="73" y="12"/>
                </a:lnTo>
                <a:lnTo>
                  <a:pt x="84" y="1"/>
                </a:lnTo>
                <a:lnTo>
                  <a:pt x="100" y="12"/>
                </a:lnTo>
                <a:lnTo>
                  <a:pt x="111" y="29"/>
                </a:lnTo>
                <a:lnTo>
                  <a:pt x="129" y="36"/>
                </a:lnTo>
                <a:lnTo>
                  <a:pt x="140" y="41"/>
                </a:lnTo>
                <a:lnTo>
                  <a:pt x="163" y="55"/>
                </a:lnTo>
                <a:lnTo>
                  <a:pt x="186" y="70"/>
                </a:lnTo>
                <a:lnTo>
                  <a:pt x="194" y="85"/>
                </a:lnTo>
                <a:lnTo>
                  <a:pt x="189" y="90"/>
                </a:lnTo>
                <a:lnTo>
                  <a:pt x="184" y="95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9" name="Freeform 313">
            <a:extLst>
              <a:ext uri="{FF2B5EF4-FFF2-40B4-BE49-F238E27FC236}">
                <a16:creationId xmlns:a16="http://schemas.microsoft.com/office/drawing/2014/main" id="{CC64E492-75AE-49D0-9D6A-9E9FF206628E}"/>
              </a:ext>
            </a:extLst>
          </p:cNvPr>
          <p:cNvSpPr>
            <a:spLocks/>
          </p:cNvSpPr>
          <p:nvPr/>
        </p:nvSpPr>
        <p:spPr bwMode="gray">
          <a:xfrm>
            <a:off x="6486619" y="3070268"/>
            <a:ext cx="380546" cy="321416"/>
          </a:xfrm>
          <a:custGeom>
            <a:avLst/>
            <a:gdLst>
              <a:gd name="T0" fmla="*/ 1 w 179"/>
              <a:gd name="T1" fmla="*/ 64 h 145"/>
              <a:gd name="T2" fmla="*/ 0 w 179"/>
              <a:gd name="T3" fmla="*/ 66 h 145"/>
              <a:gd name="T4" fmla="*/ 0 w 179"/>
              <a:gd name="T5" fmla="*/ 74 h 145"/>
              <a:gd name="T6" fmla="*/ 5 w 179"/>
              <a:gd name="T7" fmla="*/ 78 h 145"/>
              <a:gd name="T8" fmla="*/ 3 w 179"/>
              <a:gd name="T9" fmla="*/ 82 h 145"/>
              <a:gd name="T10" fmla="*/ 7 w 179"/>
              <a:gd name="T11" fmla="*/ 95 h 145"/>
              <a:gd name="T12" fmla="*/ 9 w 179"/>
              <a:gd name="T13" fmla="*/ 109 h 145"/>
              <a:gd name="T14" fmla="*/ 23 w 179"/>
              <a:gd name="T15" fmla="*/ 113 h 145"/>
              <a:gd name="T16" fmla="*/ 25 w 179"/>
              <a:gd name="T17" fmla="*/ 119 h 145"/>
              <a:gd name="T18" fmla="*/ 15 w 179"/>
              <a:gd name="T19" fmla="*/ 138 h 145"/>
              <a:gd name="T20" fmla="*/ 27 w 179"/>
              <a:gd name="T21" fmla="*/ 142 h 145"/>
              <a:gd name="T22" fmla="*/ 38 w 179"/>
              <a:gd name="T23" fmla="*/ 145 h 145"/>
              <a:gd name="T24" fmla="*/ 60 w 179"/>
              <a:gd name="T25" fmla="*/ 144 h 145"/>
              <a:gd name="T26" fmla="*/ 74 w 179"/>
              <a:gd name="T27" fmla="*/ 142 h 145"/>
              <a:gd name="T28" fmla="*/ 89 w 179"/>
              <a:gd name="T29" fmla="*/ 138 h 145"/>
              <a:gd name="T30" fmla="*/ 89 w 179"/>
              <a:gd name="T31" fmla="*/ 131 h 145"/>
              <a:gd name="T32" fmla="*/ 91 w 179"/>
              <a:gd name="T33" fmla="*/ 118 h 145"/>
              <a:gd name="T34" fmla="*/ 104 w 179"/>
              <a:gd name="T35" fmla="*/ 113 h 145"/>
              <a:gd name="T36" fmla="*/ 108 w 179"/>
              <a:gd name="T37" fmla="*/ 108 h 145"/>
              <a:gd name="T38" fmla="*/ 121 w 179"/>
              <a:gd name="T39" fmla="*/ 109 h 145"/>
              <a:gd name="T40" fmla="*/ 122 w 179"/>
              <a:gd name="T41" fmla="*/ 91 h 145"/>
              <a:gd name="T42" fmla="*/ 133 w 179"/>
              <a:gd name="T43" fmla="*/ 82 h 145"/>
              <a:gd name="T44" fmla="*/ 125 w 179"/>
              <a:gd name="T45" fmla="*/ 73 h 145"/>
              <a:gd name="T46" fmla="*/ 137 w 179"/>
              <a:gd name="T47" fmla="*/ 72 h 145"/>
              <a:gd name="T48" fmla="*/ 139 w 179"/>
              <a:gd name="T49" fmla="*/ 65 h 145"/>
              <a:gd name="T50" fmla="*/ 143 w 179"/>
              <a:gd name="T51" fmla="*/ 53 h 145"/>
              <a:gd name="T52" fmla="*/ 135 w 179"/>
              <a:gd name="T53" fmla="*/ 40 h 145"/>
              <a:gd name="T54" fmla="*/ 143 w 179"/>
              <a:gd name="T55" fmla="*/ 30 h 145"/>
              <a:gd name="T56" fmla="*/ 158 w 179"/>
              <a:gd name="T57" fmla="*/ 26 h 145"/>
              <a:gd name="T58" fmla="*/ 175 w 179"/>
              <a:gd name="T59" fmla="*/ 23 h 145"/>
              <a:gd name="T60" fmla="*/ 174 w 179"/>
              <a:gd name="T61" fmla="*/ 19 h 145"/>
              <a:gd name="T62" fmla="*/ 179 w 179"/>
              <a:gd name="T63" fmla="*/ 19 h 145"/>
              <a:gd name="T64" fmla="*/ 167 w 179"/>
              <a:gd name="T65" fmla="*/ 18 h 145"/>
              <a:gd name="T66" fmla="*/ 163 w 179"/>
              <a:gd name="T67" fmla="*/ 18 h 145"/>
              <a:gd name="T68" fmla="*/ 152 w 179"/>
              <a:gd name="T69" fmla="*/ 18 h 145"/>
              <a:gd name="T70" fmla="*/ 135 w 179"/>
              <a:gd name="T71" fmla="*/ 26 h 145"/>
              <a:gd name="T72" fmla="*/ 131 w 179"/>
              <a:gd name="T73" fmla="*/ 7 h 145"/>
              <a:gd name="T74" fmla="*/ 127 w 179"/>
              <a:gd name="T75" fmla="*/ 7 h 145"/>
              <a:gd name="T76" fmla="*/ 122 w 179"/>
              <a:gd name="T77" fmla="*/ 0 h 145"/>
              <a:gd name="T78" fmla="*/ 116 w 179"/>
              <a:gd name="T79" fmla="*/ 2 h 145"/>
              <a:gd name="T80" fmla="*/ 115 w 179"/>
              <a:gd name="T81" fmla="*/ 12 h 145"/>
              <a:gd name="T82" fmla="*/ 104 w 179"/>
              <a:gd name="T83" fmla="*/ 17 h 145"/>
              <a:gd name="T84" fmla="*/ 102 w 179"/>
              <a:gd name="T85" fmla="*/ 20 h 145"/>
              <a:gd name="T86" fmla="*/ 92 w 179"/>
              <a:gd name="T87" fmla="*/ 20 h 145"/>
              <a:gd name="T88" fmla="*/ 86 w 179"/>
              <a:gd name="T89" fmla="*/ 22 h 145"/>
              <a:gd name="T90" fmla="*/ 81 w 179"/>
              <a:gd name="T91" fmla="*/ 19 h 145"/>
              <a:gd name="T92" fmla="*/ 68 w 179"/>
              <a:gd name="T93" fmla="*/ 17 h 145"/>
              <a:gd name="T94" fmla="*/ 55 w 179"/>
              <a:gd name="T95" fmla="*/ 14 h 145"/>
              <a:gd name="T96" fmla="*/ 50 w 179"/>
              <a:gd name="T97" fmla="*/ 19 h 145"/>
              <a:gd name="T98" fmla="*/ 45 w 179"/>
              <a:gd name="T99" fmla="*/ 24 h 145"/>
              <a:gd name="T100" fmla="*/ 41 w 179"/>
              <a:gd name="T101" fmla="*/ 36 h 145"/>
              <a:gd name="T102" fmla="*/ 27 w 179"/>
              <a:gd name="T103" fmla="*/ 43 h 145"/>
              <a:gd name="T104" fmla="*/ 24 w 179"/>
              <a:gd name="T105" fmla="*/ 52 h 145"/>
              <a:gd name="T106" fmla="*/ 17 w 179"/>
              <a:gd name="T107" fmla="*/ 49 h 145"/>
              <a:gd name="T108" fmla="*/ 3 w 179"/>
              <a:gd name="T109" fmla="*/ 46 h 145"/>
              <a:gd name="T110" fmla="*/ 1 w 179"/>
              <a:gd name="T111" fmla="*/ 64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79" h="145">
                <a:moveTo>
                  <a:pt x="1" y="64"/>
                </a:moveTo>
                <a:lnTo>
                  <a:pt x="0" y="66"/>
                </a:lnTo>
                <a:lnTo>
                  <a:pt x="0" y="74"/>
                </a:lnTo>
                <a:lnTo>
                  <a:pt x="5" y="78"/>
                </a:lnTo>
                <a:lnTo>
                  <a:pt x="3" y="82"/>
                </a:lnTo>
                <a:lnTo>
                  <a:pt x="7" y="95"/>
                </a:lnTo>
                <a:lnTo>
                  <a:pt x="9" y="109"/>
                </a:lnTo>
                <a:lnTo>
                  <a:pt x="23" y="113"/>
                </a:lnTo>
                <a:lnTo>
                  <a:pt x="25" y="119"/>
                </a:lnTo>
                <a:lnTo>
                  <a:pt x="15" y="138"/>
                </a:lnTo>
                <a:lnTo>
                  <a:pt x="27" y="142"/>
                </a:lnTo>
                <a:lnTo>
                  <a:pt x="38" y="145"/>
                </a:lnTo>
                <a:lnTo>
                  <a:pt x="60" y="144"/>
                </a:lnTo>
                <a:lnTo>
                  <a:pt x="74" y="142"/>
                </a:lnTo>
                <a:lnTo>
                  <a:pt x="89" y="138"/>
                </a:lnTo>
                <a:lnTo>
                  <a:pt x="89" y="131"/>
                </a:lnTo>
                <a:lnTo>
                  <a:pt x="91" y="118"/>
                </a:lnTo>
                <a:lnTo>
                  <a:pt x="104" y="113"/>
                </a:lnTo>
                <a:lnTo>
                  <a:pt x="108" y="108"/>
                </a:lnTo>
                <a:lnTo>
                  <a:pt x="121" y="109"/>
                </a:lnTo>
                <a:lnTo>
                  <a:pt x="122" y="91"/>
                </a:lnTo>
                <a:lnTo>
                  <a:pt x="133" y="82"/>
                </a:lnTo>
                <a:lnTo>
                  <a:pt x="125" y="73"/>
                </a:lnTo>
                <a:lnTo>
                  <a:pt x="137" y="72"/>
                </a:lnTo>
                <a:lnTo>
                  <a:pt x="139" y="65"/>
                </a:lnTo>
                <a:lnTo>
                  <a:pt x="143" y="53"/>
                </a:lnTo>
                <a:lnTo>
                  <a:pt x="135" y="40"/>
                </a:lnTo>
                <a:lnTo>
                  <a:pt x="143" y="30"/>
                </a:lnTo>
                <a:lnTo>
                  <a:pt x="158" y="26"/>
                </a:lnTo>
                <a:lnTo>
                  <a:pt x="175" y="23"/>
                </a:lnTo>
                <a:lnTo>
                  <a:pt x="174" y="19"/>
                </a:lnTo>
                <a:lnTo>
                  <a:pt x="179" y="19"/>
                </a:lnTo>
                <a:lnTo>
                  <a:pt x="167" y="18"/>
                </a:lnTo>
                <a:lnTo>
                  <a:pt x="163" y="18"/>
                </a:lnTo>
                <a:lnTo>
                  <a:pt x="152" y="18"/>
                </a:lnTo>
                <a:lnTo>
                  <a:pt x="135" y="26"/>
                </a:lnTo>
                <a:lnTo>
                  <a:pt x="131" y="7"/>
                </a:lnTo>
                <a:lnTo>
                  <a:pt x="127" y="7"/>
                </a:lnTo>
                <a:lnTo>
                  <a:pt x="122" y="0"/>
                </a:lnTo>
                <a:lnTo>
                  <a:pt x="116" y="2"/>
                </a:lnTo>
                <a:lnTo>
                  <a:pt x="115" y="12"/>
                </a:lnTo>
                <a:lnTo>
                  <a:pt x="104" y="17"/>
                </a:lnTo>
                <a:lnTo>
                  <a:pt x="102" y="20"/>
                </a:lnTo>
                <a:lnTo>
                  <a:pt x="92" y="20"/>
                </a:lnTo>
                <a:lnTo>
                  <a:pt x="86" y="22"/>
                </a:lnTo>
                <a:lnTo>
                  <a:pt x="81" y="19"/>
                </a:lnTo>
                <a:lnTo>
                  <a:pt x="68" y="17"/>
                </a:lnTo>
                <a:lnTo>
                  <a:pt x="55" y="14"/>
                </a:lnTo>
                <a:lnTo>
                  <a:pt x="50" y="19"/>
                </a:lnTo>
                <a:lnTo>
                  <a:pt x="45" y="24"/>
                </a:lnTo>
                <a:lnTo>
                  <a:pt x="41" y="36"/>
                </a:lnTo>
                <a:lnTo>
                  <a:pt x="27" y="43"/>
                </a:lnTo>
                <a:lnTo>
                  <a:pt x="24" y="52"/>
                </a:lnTo>
                <a:lnTo>
                  <a:pt x="17" y="49"/>
                </a:lnTo>
                <a:lnTo>
                  <a:pt x="3" y="46"/>
                </a:lnTo>
                <a:lnTo>
                  <a:pt x="1" y="64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4" name="Freeform 338">
            <a:extLst>
              <a:ext uri="{FF2B5EF4-FFF2-40B4-BE49-F238E27FC236}">
                <a16:creationId xmlns:a16="http://schemas.microsoft.com/office/drawing/2014/main" id="{076AE0D2-A20B-4550-90DE-16EC5236A82F}"/>
              </a:ext>
            </a:extLst>
          </p:cNvPr>
          <p:cNvSpPr>
            <a:spLocks/>
          </p:cNvSpPr>
          <p:nvPr/>
        </p:nvSpPr>
        <p:spPr bwMode="gray">
          <a:xfrm>
            <a:off x="6271612" y="2810356"/>
            <a:ext cx="439529" cy="303561"/>
          </a:xfrm>
          <a:custGeom>
            <a:avLst/>
            <a:gdLst>
              <a:gd name="T0" fmla="*/ 149 w 207"/>
              <a:gd name="T1" fmla="*/ 118 h 138"/>
              <a:gd name="T2" fmla="*/ 126 w 207"/>
              <a:gd name="T3" fmla="*/ 103 h 138"/>
              <a:gd name="T4" fmla="*/ 103 w 207"/>
              <a:gd name="T5" fmla="*/ 89 h 138"/>
              <a:gd name="T6" fmla="*/ 92 w 207"/>
              <a:gd name="T7" fmla="*/ 84 h 138"/>
              <a:gd name="T8" fmla="*/ 74 w 207"/>
              <a:gd name="T9" fmla="*/ 77 h 138"/>
              <a:gd name="T10" fmla="*/ 63 w 207"/>
              <a:gd name="T11" fmla="*/ 60 h 138"/>
              <a:gd name="T12" fmla="*/ 47 w 207"/>
              <a:gd name="T13" fmla="*/ 49 h 138"/>
              <a:gd name="T14" fmla="*/ 36 w 207"/>
              <a:gd name="T15" fmla="*/ 60 h 138"/>
              <a:gd name="T16" fmla="*/ 30 w 207"/>
              <a:gd name="T17" fmla="*/ 64 h 138"/>
              <a:gd name="T18" fmla="*/ 32 w 207"/>
              <a:gd name="T19" fmla="*/ 73 h 138"/>
              <a:gd name="T20" fmla="*/ 14 w 207"/>
              <a:gd name="T21" fmla="*/ 69 h 138"/>
              <a:gd name="T22" fmla="*/ 11 w 207"/>
              <a:gd name="T23" fmla="*/ 55 h 138"/>
              <a:gd name="T24" fmla="*/ 7 w 207"/>
              <a:gd name="T25" fmla="*/ 41 h 138"/>
              <a:gd name="T26" fmla="*/ 3 w 207"/>
              <a:gd name="T27" fmla="*/ 27 h 138"/>
              <a:gd name="T28" fmla="*/ 0 w 207"/>
              <a:gd name="T29" fmla="*/ 12 h 138"/>
              <a:gd name="T30" fmla="*/ 15 w 207"/>
              <a:gd name="T31" fmla="*/ 6 h 138"/>
              <a:gd name="T32" fmla="*/ 32 w 207"/>
              <a:gd name="T33" fmla="*/ 0 h 138"/>
              <a:gd name="T34" fmla="*/ 49 w 207"/>
              <a:gd name="T35" fmla="*/ 9 h 138"/>
              <a:gd name="T36" fmla="*/ 66 w 207"/>
              <a:gd name="T37" fmla="*/ 17 h 138"/>
              <a:gd name="T38" fmla="*/ 79 w 207"/>
              <a:gd name="T39" fmla="*/ 34 h 138"/>
              <a:gd name="T40" fmla="*/ 92 w 207"/>
              <a:gd name="T41" fmla="*/ 35 h 138"/>
              <a:gd name="T42" fmla="*/ 107 w 207"/>
              <a:gd name="T43" fmla="*/ 35 h 138"/>
              <a:gd name="T44" fmla="*/ 120 w 207"/>
              <a:gd name="T45" fmla="*/ 36 h 138"/>
              <a:gd name="T46" fmla="*/ 133 w 207"/>
              <a:gd name="T47" fmla="*/ 37 h 138"/>
              <a:gd name="T48" fmla="*/ 147 w 207"/>
              <a:gd name="T49" fmla="*/ 47 h 138"/>
              <a:gd name="T50" fmla="*/ 149 w 207"/>
              <a:gd name="T51" fmla="*/ 60 h 138"/>
              <a:gd name="T52" fmla="*/ 161 w 207"/>
              <a:gd name="T53" fmla="*/ 66 h 138"/>
              <a:gd name="T54" fmla="*/ 174 w 207"/>
              <a:gd name="T55" fmla="*/ 73 h 138"/>
              <a:gd name="T56" fmla="*/ 186 w 207"/>
              <a:gd name="T57" fmla="*/ 64 h 138"/>
              <a:gd name="T58" fmla="*/ 198 w 207"/>
              <a:gd name="T59" fmla="*/ 55 h 138"/>
              <a:gd name="T60" fmla="*/ 207 w 207"/>
              <a:gd name="T61" fmla="*/ 67 h 138"/>
              <a:gd name="T62" fmla="*/ 198 w 207"/>
              <a:gd name="T63" fmla="*/ 76 h 138"/>
              <a:gd name="T64" fmla="*/ 185 w 207"/>
              <a:gd name="T65" fmla="*/ 87 h 138"/>
              <a:gd name="T66" fmla="*/ 170 w 207"/>
              <a:gd name="T67" fmla="*/ 99 h 138"/>
              <a:gd name="T68" fmla="*/ 176 w 207"/>
              <a:gd name="T69" fmla="*/ 106 h 138"/>
              <a:gd name="T70" fmla="*/ 186 w 207"/>
              <a:gd name="T71" fmla="*/ 111 h 138"/>
              <a:gd name="T72" fmla="*/ 189 w 207"/>
              <a:gd name="T73" fmla="*/ 118 h 138"/>
              <a:gd name="T74" fmla="*/ 186 w 207"/>
              <a:gd name="T75" fmla="*/ 127 h 138"/>
              <a:gd name="T76" fmla="*/ 183 w 207"/>
              <a:gd name="T77" fmla="*/ 138 h 138"/>
              <a:gd name="T78" fmla="*/ 170 w 207"/>
              <a:gd name="T79" fmla="*/ 136 h 138"/>
              <a:gd name="T80" fmla="*/ 157 w 207"/>
              <a:gd name="T81" fmla="*/ 133 h 138"/>
              <a:gd name="T82" fmla="*/ 149 w 207"/>
              <a:gd name="T83" fmla="*/ 11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07" h="138">
                <a:moveTo>
                  <a:pt x="149" y="118"/>
                </a:moveTo>
                <a:lnTo>
                  <a:pt x="126" y="103"/>
                </a:lnTo>
                <a:lnTo>
                  <a:pt x="103" y="89"/>
                </a:lnTo>
                <a:lnTo>
                  <a:pt x="92" y="84"/>
                </a:lnTo>
                <a:lnTo>
                  <a:pt x="74" y="77"/>
                </a:lnTo>
                <a:lnTo>
                  <a:pt x="63" y="60"/>
                </a:lnTo>
                <a:lnTo>
                  <a:pt x="47" y="49"/>
                </a:lnTo>
                <a:lnTo>
                  <a:pt x="36" y="60"/>
                </a:lnTo>
                <a:lnTo>
                  <a:pt x="30" y="64"/>
                </a:lnTo>
                <a:lnTo>
                  <a:pt x="32" y="73"/>
                </a:lnTo>
                <a:lnTo>
                  <a:pt x="14" y="69"/>
                </a:lnTo>
                <a:lnTo>
                  <a:pt x="11" y="55"/>
                </a:lnTo>
                <a:lnTo>
                  <a:pt x="7" y="41"/>
                </a:lnTo>
                <a:lnTo>
                  <a:pt x="3" y="27"/>
                </a:lnTo>
                <a:lnTo>
                  <a:pt x="0" y="12"/>
                </a:lnTo>
                <a:lnTo>
                  <a:pt x="15" y="6"/>
                </a:lnTo>
                <a:lnTo>
                  <a:pt x="32" y="0"/>
                </a:lnTo>
                <a:lnTo>
                  <a:pt x="49" y="9"/>
                </a:lnTo>
                <a:lnTo>
                  <a:pt x="66" y="17"/>
                </a:lnTo>
                <a:lnTo>
                  <a:pt x="79" y="34"/>
                </a:lnTo>
                <a:lnTo>
                  <a:pt x="92" y="35"/>
                </a:lnTo>
                <a:lnTo>
                  <a:pt x="107" y="35"/>
                </a:lnTo>
                <a:lnTo>
                  <a:pt x="120" y="36"/>
                </a:lnTo>
                <a:lnTo>
                  <a:pt x="133" y="37"/>
                </a:lnTo>
                <a:lnTo>
                  <a:pt x="147" y="47"/>
                </a:lnTo>
                <a:lnTo>
                  <a:pt x="149" y="60"/>
                </a:lnTo>
                <a:lnTo>
                  <a:pt x="161" y="66"/>
                </a:lnTo>
                <a:lnTo>
                  <a:pt x="174" y="73"/>
                </a:lnTo>
                <a:lnTo>
                  <a:pt x="186" y="64"/>
                </a:lnTo>
                <a:lnTo>
                  <a:pt x="198" y="55"/>
                </a:lnTo>
                <a:lnTo>
                  <a:pt x="207" y="67"/>
                </a:lnTo>
                <a:lnTo>
                  <a:pt x="198" y="76"/>
                </a:lnTo>
                <a:lnTo>
                  <a:pt x="185" y="87"/>
                </a:lnTo>
                <a:lnTo>
                  <a:pt x="170" y="99"/>
                </a:lnTo>
                <a:lnTo>
                  <a:pt x="176" y="106"/>
                </a:lnTo>
                <a:lnTo>
                  <a:pt x="186" y="111"/>
                </a:lnTo>
                <a:lnTo>
                  <a:pt x="189" y="118"/>
                </a:lnTo>
                <a:lnTo>
                  <a:pt x="186" y="127"/>
                </a:lnTo>
                <a:lnTo>
                  <a:pt x="183" y="138"/>
                </a:lnTo>
                <a:lnTo>
                  <a:pt x="170" y="136"/>
                </a:lnTo>
                <a:lnTo>
                  <a:pt x="157" y="133"/>
                </a:lnTo>
                <a:lnTo>
                  <a:pt x="149" y="118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1" name="Freeform 397">
            <a:extLst>
              <a:ext uri="{FF2B5EF4-FFF2-40B4-BE49-F238E27FC236}">
                <a16:creationId xmlns:a16="http://schemas.microsoft.com/office/drawing/2014/main" id="{32816A4E-966E-482C-AA36-33140956743C}"/>
              </a:ext>
            </a:extLst>
          </p:cNvPr>
          <p:cNvSpPr>
            <a:spLocks/>
          </p:cNvSpPr>
          <p:nvPr/>
        </p:nvSpPr>
        <p:spPr bwMode="gray">
          <a:xfrm>
            <a:off x="6524674" y="1740952"/>
            <a:ext cx="135093" cy="35712"/>
          </a:xfrm>
          <a:custGeom>
            <a:avLst/>
            <a:gdLst>
              <a:gd name="T0" fmla="*/ 55 w 63"/>
              <a:gd name="T1" fmla="*/ 4 h 15"/>
              <a:gd name="T2" fmla="*/ 39 w 63"/>
              <a:gd name="T3" fmla="*/ 2 h 15"/>
              <a:gd name="T4" fmla="*/ 32 w 63"/>
              <a:gd name="T5" fmla="*/ 3 h 15"/>
              <a:gd name="T6" fmla="*/ 27 w 63"/>
              <a:gd name="T7" fmla="*/ 0 h 15"/>
              <a:gd name="T8" fmla="*/ 2 w 63"/>
              <a:gd name="T9" fmla="*/ 3 h 15"/>
              <a:gd name="T10" fmla="*/ 0 w 63"/>
              <a:gd name="T11" fmla="*/ 7 h 15"/>
              <a:gd name="T12" fmla="*/ 8 w 63"/>
              <a:gd name="T13" fmla="*/ 8 h 15"/>
              <a:gd name="T14" fmla="*/ 20 w 63"/>
              <a:gd name="T15" fmla="*/ 13 h 15"/>
              <a:gd name="T16" fmla="*/ 63 w 63"/>
              <a:gd name="T17" fmla="*/ 15 h 15"/>
              <a:gd name="T18" fmla="*/ 60 w 63"/>
              <a:gd name="T19" fmla="*/ 12 h 15"/>
              <a:gd name="T20" fmla="*/ 55 w 63"/>
              <a:gd name="T21" fmla="*/ 4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3" h="15">
                <a:moveTo>
                  <a:pt x="55" y="4"/>
                </a:moveTo>
                <a:lnTo>
                  <a:pt x="39" y="2"/>
                </a:lnTo>
                <a:lnTo>
                  <a:pt x="32" y="3"/>
                </a:lnTo>
                <a:lnTo>
                  <a:pt x="27" y="0"/>
                </a:lnTo>
                <a:lnTo>
                  <a:pt x="2" y="3"/>
                </a:lnTo>
                <a:lnTo>
                  <a:pt x="0" y="7"/>
                </a:lnTo>
                <a:lnTo>
                  <a:pt x="8" y="8"/>
                </a:lnTo>
                <a:lnTo>
                  <a:pt x="20" y="13"/>
                </a:lnTo>
                <a:lnTo>
                  <a:pt x="63" y="15"/>
                </a:lnTo>
                <a:lnTo>
                  <a:pt x="60" y="12"/>
                </a:lnTo>
                <a:lnTo>
                  <a:pt x="55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3" name="Freeform 399">
            <a:extLst>
              <a:ext uri="{FF2B5EF4-FFF2-40B4-BE49-F238E27FC236}">
                <a16:creationId xmlns:a16="http://schemas.microsoft.com/office/drawing/2014/main" id="{3306A4A9-5800-4427-AB11-882F69C9BC16}"/>
              </a:ext>
            </a:extLst>
          </p:cNvPr>
          <p:cNvSpPr>
            <a:spLocks/>
          </p:cNvSpPr>
          <p:nvPr/>
        </p:nvSpPr>
        <p:spPr bwMode="gray">
          <a:xfrm>
            <a:off x="6465689" y="1719128"/>
            <a:ext cx="110358" cy="21825"/>
          </a:xfrm>
          <a:custGeom>
            <a:avLst/>
            <a:gdLst>
              <a:gd name="T0" fmla="*/ 52 w 52"/>
              <a:gd name="T1" fmla="*/ 5 h 10"/>
              <a:gd name="T2" fmla="*/ 29 w 52"/>
              <a:gd name="T3" fmla="*/ 0 h 10"/>
              <a:gd name="T4" fmla="*/ 2 w 52"/>
              <a:gd name="T5" fmla="*/ 2 h 10"/>
              <a:gd name="T6" fmla="*/ 10 w 52"/>
              <a:gd name="T7" fmla="*/ 4 h 10"/>
              <a:gd name="T8" fmla="*/ 8 w 52"/>
              <a:gd name="T9" fmla="*/ 6 h 10"/>
              <a:gd name="T10" fmla="*/ 0 w 52"/>
              <a:gd name="T11" fmla="*/ 7 h 10"/>
              <a:gd name="T12" fmla="*/ 16 w 52"/>
              <a:gd name="T13" fmla="*/ 8 h 10"/>
              <a:gd name="T14" fmla="*/ 12 w 52"/>
              <a:gd name="T15" fmla="*/ 10 h 10"/>
              <a:gd name="T16" fmla="*/ 50 w 52"/>
              <a:gd name="T17" fmla="*/ 10 h 10"/>
              <a:gd name="T18" fmla="*/ 46 w 52"/>
              <a:gd name="T19" fmla="*/ 6 h 10"/>
              <a:gd name="T20" fmla="*/ 52 w 52"/>
              <a:gd name="T21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" h="10">
                <a:moveTo>
                  <a:pt x="52" y="5"/>
                </a:moveTo>
                <a:lnTo>
                  <a:pt x="29" y="0"/>
                </a:lnTo>
                <a:lnTo>
                  <a:pt x="2" y="2"/>
                </a:lnTo>
                <a:lnTo>
                  <a:pt x="10" y="4"/>
                </a:lnTo>
                <a:lnTo>
                  <a:pt x="8" y="6"/>
                </a:lnTo>
                <a:lnTo>
                  <a:pt x="0" y="7"/>
                </a:lnTo>
                <a:lnTo>
                  <a:pt x="16" y="8"/>
                </a:lnTo>
                <a:lnTo>
                  <a:pt x="12" y="10"/>
                </a:lnTo>
                <a:lnTo>
                  <a:pt x="50" y="10"/>
                </a:lnTo>
                <a:lnTo>
                  <a:pt x="46" y="6"/>
                </a:lnTo>
                <a:lnTo>
                  <a:pt x="52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6" name="Freeform 412">
            <a:extLst>
              <a:ext uri="{FF2B5EF4-FFF2-40B4-BE49-F238E27FC236}">
                <a16:creationId xmlns:a16="http://schemas.microsoft.com/office/drawing/2014/main" id="{4C940196-753C-4BB5-8630-9CFC682D073F}"/>
              </a:ext>
            </a:extLst>
          </p:cNvPr>
          <p:cNvSpPr>
            <a:spLocks/>
          </p:cNvSpPr>
          <p:nvPr/>
        </p:nvSpPr>
        <p:spPr bwMode="gray">
          <a:xfrm>
            <a:off x="6216431" y="1917534"/>
            <a:ext cx="34249" cy="7937"/>
          </a:xfrm>
          <a:custGeom>
            <a:avLst/>
            <a:gdLst>
              <a:gd name="T0" fmla="*/ 17 w 17"/>
              <a:gd name="T1" fmla="*/ 5 h 5"/>
              <a:gd name="T2" fmla="*/ 0 w 17"/>
              <a:gd name="T3" fmla="*/ 5 h 5"/>
              <a:gd name="T4" fmla="*/ 3 w 17"/>
              <a:gd name="T5" fmla="*/ 0 h 5"/>
              <a:gd name="T6" fmla="*/ 11 w 17"/>
              <a:gd name="T7" fmla="*/ 4 h 5"/>
              <a:gd name="T8" fmla="*/ 17 w 17"/>
              <a:gd name="T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5">
                <a:moveTo>
                  <a:pt x="17" y="5"/>
                </a:moveTo>
                <a:lnTo>
                  <a:pt x="0" y="5"/>
                </a:lnTo>
                <a:lnTo>
                  <a:pt x="3" y="0"/>
                </a:lnTo>
                <a:lnTo>
                  <a:pt x="11" y="4"/>
                </a:lnTo>
                <a:lnTo>
                  <a:pt x="17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459" name="Group 458">
            <a:extLst>
              <a:ext uri="{FF2B5EF4-FFF2-40B4-BE49-F238E27FC236}">
                <a16:creationId xmlns:a16="http://schemas.microsoft.com/office/drawing/2014/main" id="{9DA2259F-50F6-448A-B223-00AAF8919438}"/>
              </a:ext>
            </a:extLst>
          </p:cNvPr>
          <p:cNvGrpSpPr/>
          <p:nvPr/>
        </p:nvGrpSpPr>
        <p:grpSpPr>
          <a:xfrm>
            <a:off x="5491493" y="1723096"/>
            <a:ext cx="673566" cy="1696367"/>
            <a:chOff x="5491493" y="1723096"/>
            <a:chExt cx="673566" cy="1696367"/>
          </a:xfrm>
        </p:grpSpPr>
        <p:sp>
          <p:nvSpPr>
            <p:cNvPr id="6" name="Freeform 357">
              <a:extLst>
                <a:ext uri="{FF2B5EF4-FFF2-40B4-BE49-F238E27FC236}">
                  <a16:creationId xmlns:a16="http://schemas.microsoft.com/office/drawing/2014/main" id="{921B2B7A-6155-4E6B-BA3D-7E6088DAD19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91493" y="2947257"/>
              <a:ext cx="528959" cy="212294"/>
            </a:xfrm>
            <a:custGeom>
              <a:avLst/>
              <a:gdLst>
                <a:gd name="T0" fmla="*/ 167 w 250"/>
                <a:gd name="T1" fmla="*/ 81 h 97"/>
                <a:gd name="T2" fmla="*/ 142 w 250"/>
                <a:gd name="T3" fmla="*/ 85 h 97"/>
                <a:gd name="T4" fmla="*/ 136 w 250"/>
                <a:gd name="T5" fmla="*/ 97 h 97"/>
                <a:gd name="T6" fmla="*/ 135 w 250"/>
                <a:gd name="T7" fmla="*/ 93 h 97"/>
                <a:gd name="T8" fmla="*/ 130 w 250"/>
                <a:gd name="T9" fmla="*/ 85 h 97"/>
                <a:gd name="T10" fmla="*/ 111 w 250"/>
                <a:gd name="T11" fmla="*/ 87 h 97"/>
                <a:gd name="T12" fmla="*/ 86 w 250"/>
                <a:gd name="T13" fmla="*/ 91 h 97"/>
                <a:gd name="T14" fmla="*/ 62 w 250"/>
                <a:gd name="T15" fmla="*/ 88 h 97"/>
                <a:gd name="T16" fmla="*/ 44 w 250"/>
                <a:gd name="T17" fmla="*/ 87 h 97"/>
                <a:gd name="T18" fmla="*/ 29 w 250"/>
                <a:gd name="T19" fmla="*/ 85 h 97"/>
                <a:gd name="T20" fmla="*/ 30 w 250"/>
                <a:gd name="T21" fmla="*/ 80 h 97"/>
                <a:gd name="T22" fmla="*/ 21 w 250"/>
                <a:gd name="T23" fmla="*/ 75 h 97"/>
                <a:gd name="T24" fmla="*/ 16 w 250"/>
                <a:gd name="T25" fmla="*/ 66 h 97"/>
                <a:gd name="T26" fmla="*/ 4 w 250"/>
                <a:gd name="T27" fmla="*/ 55 h 97"/>
                <a:gd name="T28" fmla="*/ 12 w 250"/>
                <a:gd name="T29" fmla="*/ 57 h 97"/>
                <a:gd name="T30" fmla="*/ 9 w 250"/>
                <a:gd name="T31" fmla="*/ 49 h 97"/>
                <a:gd name="T32" fmla="*/ 0 w 250"/>
                <a:gd name="T33" fmla="*/ 39 h 97"/>
                <a:gd name="T34" fmla="*/ 15 w 250"/>
                <a:gd name="T35" fmla="*/ 26 h 97"/>
                <a:gd name="T36" fmla="*/ 35 w 250"/>
                <a:gd name="T37" fmla="*/ 24 h 97"/>
                <a:gd name="T38" fmla="*/ 41 w 250"/>
                <a:gd name="T39" fmla="*/ 19 h 97"/>
                <a:gd name="T40" fmla="*/ 59 w 250"/>
                <a:gd name="T41" fmla="*/ 14 h 97"/>
                <a:gd name="T42" fmla="*/ 89 w 250"/>
                <a:gd name="T43" fmla="*/ 1 h 97"/>
                <a:gd name="T44" fmla="*/ 111 w 250"/>
                <a:gd name="T45" fmla="*/ 1 h 97"/>
                <a:gd name="T46" fmla="*/ 125 w 250"/>
                <a:gd name="T47" fmla="*/ 8 h 97"/>
                <a:gd name="T48" fmla="*/ 159 w 250"/>
                <a:gd name="T49" fmla="*/ 15 h 97"/>
                <a:gd name="T50" fmla="*/ 195 w 250"/>
                <a:gd name="T51" fmla="*/ 7 h 97"/>
                <a:gd name="T52" fmla="*/ 220 w 250"/>
                <a:gd name="T53" fmla="*/ 12 h 97"/>
                <a:gd name="T54" fmla="*/ 231 w 250"/>
                <a:gd name="T55" fmla="*/ 31 h 97"/>
                <a:gd name="T56" fmla="*/ 237 w 250"/>
                <a:gd name="T57" fmla="*/ 40 h 97"/>
                <a:gd name="T58" fmla="*/ 242 w 250"/>
                <a:gd name="T59" fmla="*/ 66 h 97"/>
                <a:gd name="T60" fmla="*/ 243 w 250"/>
                <a:gd name="T61" fmla="*/ 78 h 97"/>
                <a:gd name="T62" fmla="*/ 221 w 250"/>
                <a:gd name="T63" fmla="*/ 75 h 97"/>
                <a:gd name="T64" fmla="*/ 214 w 250"/>
                <a:gd name="T65" fmla="*/ 76 h 97"/>
                <a:gd name="T66" fmla="*/ 188 w 250"/>
                <a:gd name="T67" fmla="*/ 8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0" h="97">
                  <a:moveTo>
                    <a:pt x="188" y="82"/>
                  </a:moveTo>
                  <a:lnTo>
                    <a:pt x="167" y="81"/>
                  </a:lnTo>
                  <a:lnTo>
                    <a:pt x="148" y="82"/>
                  </a:lnTo>
                  <a:lnTo>
                    <a:pt x="142" y="85"/>
                  </a:lnTo>
                  <a:lnTo>
                    <a:pt x="142" y="92"/>
                  </a:lnTo>
                  <a:lnTo>
                    <a:pt x="136" y="97"/>
                  </a:lnTo>
                  <a:lnTo>
                    <a:pt x="135" y="96"/>
                  </a:lnTo>
                  <a:lnTo>
                    <a:pt x="135" y="93"/>
                  </a:lnTo>
                  <a:lnTo>
                    <a:pt x="136" y="81"/>
                  </a:lnTo>
                  <a:lnTo>
                    <a:pt x="130" y="85"/>
                  </a:lnTo>
                  <a:lnTo>
                    <a:pt x="120" y="84"/>
                  </a:lnTo>
                  <a:lnTo>
                    <a:pt x="111" y="87"/>
                  </a:lnTo>
                  <a:lnTo>
                    <a:pt x="96" y="94"/>
                  </a:lnTo>
                  <a:lnTo>
                    <a:pt x="86" y="91"/>
                  </a:lnTo>
                  <a:lnTo>
                    <a:pt x="64" y="81"/>
                  </a:lnTo>
                  <a:lnTo>
                    <a:pt x="62" y="88"/>
                  </a:lnTo>
                  <a:lnTo>
                    <a:pt x="56" y="92"/>
                  </a:lnTo>
                  <a:lnTo>
                    <a:pt x="44" y="87"/>
                  </a:lnTo>
                  <a:lnTo>
                    <a:pt x="36" y="84"/>
                  </a:lnTo>
                  <a:lnTo>
                    <a:pt x="29" y="85"/>
                  </a:lnTo>
                  <a:lnTo>
                    <a:pt x="22" y="84"/>
                  </a:lnTo>
                  <a:lnTo>
                    <a:pt x="30" y="80"/>
                  </a:lnTo>
                  <a:lnTo>
                    <a:pt x="20" y="79"/>
                  </a:lnTo>
                  <a:lnTo>
                    <a:pt x="21" y="75"/>
                  </a:lnTo>
                  <a:lnTo>
                    <a:pt x="15" y="69"/>
                  </a:lnTo>
                  <a:lnTo>
                    <a:pt x="16" y="66"/>
                  </a:lnTo>
                  <a:lnTo>
                    <a:pt x="5" y="61"/>
                  </a:lnTo>
                  <a:lnTo>
                    <a:pt x="4" y="55"/>
                  </a:lnTo>
                  <a:lnTo>
                    <a:pt x="8" y="56"/>
                  </a:lnTo>
                  <a:lnTo>
                    <a:pt x="12" y="57"/>
                  </a:lnTo>
                  <a:lnTo>
                    <a:pt x="9" y="51"/>
                  </a:lnTo>
                  <a:lnTo>
                    <a:pt x="9" y="49"/>
                  </a:lnTo>
                  <a:lnTo>
                    <a:pt x="8" y="40"/>
                  </a:lnTo>
                  <a:lnTo>
                    <a:pt x="0" y="39"/>
                  </a:lnTo>
                  <a:lnTo>
                    <a:pt x="2" y="27"/>
                  </a:lnTo>
                  <a:lnTo>
                    <a:pt x="15" y="26"/>
                  </a:lnTo>
                  <a:lnTo>
                    <a:pt x="18" y="22"/>
                  </a:lnTo>
                  <a:lnTo>
                    <a:pt x="35" y="24"/>
                  </a:lnTo>
                  <a:lnTo>
                    <a:pt x="45" y="19"/>
                  </a:lnTo>
                  <a:lnTo>
                    <a:pt x="41" y="19"/>
                  </a:lnTo>
                  <a:lnTo>
                    <a:pt x="34" y="13"/>
                  </a:lnTo>
                  <a:lnTo>
                    <a:pt x="59" y="14"/>
                  </a:lnTo>
                  <a:lnTo>
                    <a:pt x="77" y="3"/>
                  </a:lnTo>
                  <a:lnTo>
                    <a:pt x="89" y="1"/>
                  </a:lnTo>
                  <a:lnTo>
                    <a:pt x="102" y="0"/>
                  </a:lnTo>
                  <a:lnTo>
                    <a:pt x="111" y="1"/>
                  </a:lnTo>
                  <a:lnTo>
                    <a:pt x="120" y="4"/>
                  </a:lnTo>
                  <a:lnTo>
                    <a:pt x="125" y="8"/>
                  </a:lnTo>
                  <a:lnTo>
                    <a:pt x="142" y="12"/>
                  </a:lnTo>
                  <a:lnTo>
                    <a:pt x="159" y="15"/>
                  </a:lnTo>
                  <a:lnTo>
                    <a:pt x="176" y="15"/>
                  </a:lnTo>
                  <a:lnTo>
                    <a:pt x="195" y="7"/>
                  </a:lnTo>
                  <a:lnTo>
                    <a:pt x="212" y="6"/>
                  </a:lnTo>
                  <a:lnTo>
                    <a:pt x="220" y="12"/>
                  </a:lnTo>
                  <a:lnTo>
                    <a:pt x="226" y="22"/>
                  </a:lnTo>
                  <a:lnTo>
                    <a:pt x="231" y="31"/>
                  </a:lnTo>
                  <a:lnTo>
                    <a:pt x="243" y="36"/>
                  </a:lnTo>
                  <a:lnTo>
                    <a:pt x="237" y="40"/>
                  </a:lnTo>
                  <a:lnTo>
                    <a:pt x="238" y="49"/>
                  </a:lnTo>
                  <a:lnTo>
                    <a:pt x="242" y="66"/>
                  </a:lnTo>
                  <a:lnTo>
                    <a:pt x="250" y="76"/>
                  </a:lnTo>
                  <a:lnTo>
                    <a:pt x="243" y="78"/>
                  </a:lnTo>
                  <a:lnTo>
                    <a:pt x="239" y="74"/>
                  </a:lnTo>
                  <a:lnTo>
                    <a:pt x="221" y="75"/>
                  </a:lnTo>
                  <a:lnTo>
                    <a:pt x="218" y="78"/>
                  </a:lnTo>
                  <a:lnTo>
                    <a:pt x="214" y="76"/>
                  </a:lnTo>
                  <a:lnTo>
                    <a:pt x="201" y="79"/>
                  </a:lnTo>
                  <a:lnTo>
                    <a:pt x="188" y="82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74" name="Freeform 78">
              <a:extLst>
                <a:ext uri="{FF2B5EF4-FFF2-40B4-BE49-F238E27FC236}">
                  <a16:creationId xmlns:a16="http://schemas.microsoft.com/office/drawing/2014/main" id="{DC6767FE-A97B-4E14-9BA0-9E88D0F21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3941" y="3109949"/>
              <a:ext cx="291118" cy="291655"/>
            </a:xfrm>
            <a:custGeom>
              <a:avLst/>
              <a:gdLst>
                <a:gd name="T0" fmla="*/ 90 w 139"/>
                <a:gd name="T1" fmla="*/ 56 h 132"/>
                <a:gd name="T2" fmla="*/ 89 w 139"/>
                <a:gd name="T3" fmla="*/ 48 h 132"/>
                <a:gd name="T4" fmla="*/ 94 w 139"/>
                <a:gd name="T5" fmla="*/ 34 h 132"/>
                <a:gd name="T6" fmla="*/ 94 w 139"/>
                <a:gd name="T7" fmla="*/ 25 h 132"/>
                <a:gd name="T8" fmla="*/ 84 w 139"/>
                <a:gd name="T9" fmla="*/ 20 h 132"/>
                <a:gd name="T10" fmla="*/ 71 w 139"/>
                <a:gd name="T11" fmla="*/ 2 h 132"/>
                <a:gd name="T12" fmla="*/ 64 w 139"/>
                <a:gd name="T13" fmla="*/ 4 h 132"/>
                <a:gd name="T14" fmla="*/ 60 w 139"/>
                <a:gd name="T15" fmla="*/ 0 h 132"/>
                <a:gd name="T16" fmla="*/ 42 w 139"/>
                <a:gd name="T17" fmla="*/ 1 h 132"/>
                <a:gd name="T18" fmla="*/ 39 w 139"/>
                <a:gd name="T19" fmla="*/ 4 h 132"/>
                <a:gd name="T20" fmla="*/ 27 w 139"/>
                <a:gd name="T21" fmla="*/ 16 h 132"/>
                <a:gd name="T22" fmla="*/ 27 w 139"/>
                <a:gd name="T23" fmla="*/ 31 h 132"/>
                <a:gd name="T24" fmla="*/ 28 w 139"/>
                <a:gd name="T25" fmla="*/ 47 h 132"/>
                <a:gd name="T26" fmla="*/ 13 w 139"/>
                <a:gd name="T27" fmla="*/ 55 h 132"/>
                <a:gd name="T28" fmla="*/ 0 w 139"/>
                <a:gd name="T29" fmla="*/ 64 h 132"/>
                <a:gd name="T30" fmla="*/ 9 w 139"/>
                <a:gd name="T31" fmla="*/ 82 h 132"/>
                <a:gd name="T32" fmla="*/ 22 w 139"/>
                <a:gd name="T33" fmla="*/ 88 h 132"/>
                <a:gd name="T34" fmla="*/ 35 w 139"/>
                <a:gd name="T35" fmla="*/ 94 h 132"/>
                <a:gd name="T36" fmla="*/ 48 w 139"/>
                <a:gd name="T37" fmla="*/ 100 h 132"/>
                <a:gd name="T38" fmla="*/ 61 w 139"/>
                <a:gd name="T39" fmla="*/ 106 h 132"/>
                <a:gd name="T40" fmla="*/ 73 w 139"/>
                <a:gd name="T41" fmla="*/ 118 h 132"/>
                <a:gd name="T42" fmla="*/ 88 w 139"/>
                <a:gd name="T43" fmla="*/ 131 h 132"/>
                <a:gd name="T44" fmla="*/ 113 w 139"/>
                <a:gd name="T45" fmla="*/ 132 h 132"/>
                <a:gd name="T46" fmla="*/ 120 w 139"/>
                <a:gd name="T47" fmla="*/ 119 h 132"/>
                <a:gd name="T48" fmla="*/ 131 w 139"/>
                <a:gd name="T49" fmla="*/ 118 h 132"/>
                <a:gd name="T50" fmla="*/ 139 w 139"/>
                <a:gd name="T51" fmla="*/ 118 h 132"/>
                <a:gd name="T52" fmla="*/ 135 w 139"/>
                <a:gd name="T53" fmla="*/ 112 h 132"/>
                <a:gd name="T54" fmla="*/ 130 w 139"/>
                <a:gd name="T55" fmla="*/ 101 h 132"/>
                <a:gd name="T56" fmla="*/ 125 w 139"/>
                <a:gd name="T57" fmla="*/ 101 h 132"/>
                <a:gd name="T58" fmla="*/ 125 w 139"/>
                <a:gd name="T59" fmla="*/ 89 h 132"/>
                <a:gd name="T60" fmla="*/ 120 w 139"/>
                <a:gd name="T61" fmla="*/ 82 h 132"/>
                <a:gd name="T62" fmla="*/ 109 w 139"/>
                <a:gd name="T63" fmla="*/ 74 h 132"/>
                <a:gd name="T64" fmla="*/ 97 w 139"/>
                <a:gd name="T65" fmla="*/ 67 h 132"/>
                <a:gd name="T66" fmla="*/ 90 w 139"/>
                <a:gd name="T67" fmla="*/ 5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9" h="132">
                  <a:moveTo>
                    <a:pt x="90" y="56"/>
                  </a:moveTo>
                  <a:lnTo>
                    <a:pt x="89" y="48"/>
                  </a:lnTo>
                  <a:lnTo>
                    <a:pt x="94" y="34"/>
                  </a:lnTo>
                  <a:lnTo>
                    <a:pt x="94" y="25"/>
                  </a:lnTo>
                  <a:lnTo>
                    <a:pt x="84" y="20"/>
                  </a:lnTo>
                  <a:lnTo>
                    <a:pt x="71" y="2"/>
                  </a:lnTo>
                  <a:lnTo>
                    <a:pt x="64" y="4"/>
                  </a:lnTo>
                  <a:lnTo>
                    <a:pt x="60" y="0"/>
                  </a:lnTo>
                  <a:lnTo>
                    <a:pt x="42" y="1"/>
                  </a:lnTo>
                  <a:lnTo>
                    <a:pt x="39" y="4"/>
                  </a:lnTo>
                  <a:lnTo>
                    <a:pt x="27" y="16"/>
                  </a:lnTo>
                  <a:lnTo>
                    <a:pt x="27" y="31"/>
                  </a:lnTo>
                  <a:lnTo>
                    <a:pt x="28" y="47"/>
                  </a:lnTo>
                  <a:lnTo>
                    <a:pt x="13" y="55"/>
                  </a:lnTo>
                  <a:lnTo>
                    <a:pt x="0" y="64"/>
                  </a:lnTo>
                  <a:lnTo>
                    <a:pt x="9" y="82"/>
                  </a:lnTo>
                  <a:lnTo>
                    <a:pt x="22" y="88"/>
                  </a:lnTo>
                  <a:lnTo>
                    <a:pt x="35" y="94"/>
                  </a:lnTo>
                  <a:lnTo>
                    <a:pt x="48" y="100"/>
                  </a:lnTo>
                  <a:lnTo>
                    <a:pt x="61" y="106"/>
                  </a:lnTo>
                  <a:lnTo>
                    <a:pt x="73" y="118"/>
                  </a:lnTo>
                  <a:lnTo>
                    <a:pt x="88" y="131"/>
                  </a:lnTo>
                  <a:lnTo>
                    <a:pt x="113" y="132"/>
                  </a:lnTo>
                  <a:lnTo>
                    <a:pt x="120" y="119"/>
                  </a:lnTo>
                  <a:lnTo>
                    <a:pt x="131" y="118"/>
                  </a:lnTo>
                  <a:lnTo>
                    <a:pt x="139" y="118"/>
                  </a:lnTo>
                  <a:lnTo>
                    <a:pt x="135" y="112"/>
                  </a:lnTo>
                  <a:lnTo>
                    <a:pt x="130" y="101"/>
                  </a:lnTo>
                  <a:lnTo>
                    <a:pt x="125" y="101"/>
                  </a:lnTo>
                  <a:lnTo>
                    <a:pt x="125" y="89"/>
                  </a:lnTo>
                  <a:lnTo>
                    <a:pt x="120" y="82"/>
                  </a:lnTo>
                  <a:lnTo>
                    <a:pt x="109" y="74"/>
                  </a:lnTo>
                  <a:lnTo>
                    <a:pt x="97" y="67"/>
                  </a:lnTo>
                  <a:lnTo>
                    <a:pt x="90" y="5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75" name="Freeform 79">
              <a:extLst>
                <a:ext uri="{FF2B5EF4-FFF2-40B4-BE49-F238E27FC236}">
                  <a16:creationId xmlns:a16="http://schemas.microsoft.com/office/drawing/2014/main" id="{30754660-B22E-437C-B962-BA8F818F10E0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9878" y="3369861"/>
              <a:ext cx="55179" cy="49602"/>
            </a:xfrm>
            <a:custGeom>
              <a:avLst/>
              <a:gdLst>
                <a:gd name="T0" fmla="*/ 22 w 26"/>
                <a:gd name="T1" fmla="*/ 6 h 22"/>
                <a:gd name="T2" fmla="*/ 18 w 26"/>
                <a:gd name="T3" fmla="*/ 7 h 22"/>
                <a:gd name="T4" fmla="*/ 18 w 26"/>
                <a:gd name="T5" fmla="*/ 10 h 22"/>
                <a:gd name="T6" fmla="*/ 26 w 26"/>
                <a:gd name="T7" fmla="*/ 22 h 22"/>
                <a:gd name="T8" fmla="*/ 16 w 26"/>
                <a:gd name="T9" fmla="*/ 20 h 22"/>
                <a:gd name="T10" fmla="*/ 13 w 26"/>
                <a:gd name="T11" fmla="*/ 15 h 22"/>
                <a:gd name="T12" fmla="*/ 0 w 26"/>
                <a:gd name="T13" fmla="*/ 14 h 22"/>
                <a:gd name="T14" fmla="*/ 7 w 26"/>
                <a:gd name="T15" fmla="*/ 1 h 22"/>
                <a:gd name="T16" fmla="*/ 18 w 26"/>
                <a:gd name="T17" fmla="*/ 0 h 22"/>
                <a:gd name="T18" fmla="*/ 22 w 26"/>
                <a:gd name="T19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2">
                  <a:moveTo>
                    <a:pt x="22" y="6"/>
                  </a:moveTo>
                  <a:lnTo>
                    <a:pt x="18" y="7"/>
                  </a:lnTo>
                  <a:lnTo>
                    <a:pt x="18" y="10"/>
                  </a:lnTo>
                  <a:lnTo>
                    <a:pt x="26" y="22"/>
                  </a:lnTo>
                  <a:lnTo>
                    <a:pt x="16" y="20"/>
                  </a:lnTo>
                  <a:lnTo>
                    <a:pt x="13" y="15"/>
                  </a:lnTo>
                  <a:lnTo>
                    <a:pt x="0" y="14"/>
                  </a:lnTo>
                  <a:lnTo>
                    <a:pt x="7" y="1"/>
                  </a:lnTo>
                  <a:lnTo>
                    <a:pt x="18" y="0"/>
                  </a:lnTo>
                  <a:lnTo>
                    <a:pt x="22" y="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80" name="Freeform 84">
              <a:extLst>
                <a:ext uri="{FF2B5EF4-FFF2-40B4-BE49-F238E27FC236}">
                  <a16:creationId xmlns:a16="http://schemas.microsoft.com/office/drawing/2014/main" id="{9C48E6AA-2401-45DF-AC89-BA7D4D1992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6459" y="3250818"/>
              <a:ext cx="38054" cy="136899"/>
            </a:xfrm>
            <a:custGeom>
              <a:avLst/>
              <a:gdLst>
                <a:gd name="T0" fmla="*/ 12 w 17"/>
                <a:gd name="T1" fmla="*/ 61 h 61"/>
                <a:gd name="T2" fmla="*/ 6 w 17"/>
                <a:gd name="T3" fmla="*/ 45 h 61"/>
                <a:gd name="T4" fmla="*/ 0 w 17"/>
                <a:gd name="T5" fmla="*/ 31 h 61"/>
                <a:gd name="T6" fmla="*/ 5 w 17"/>
                <a:gd name="T7" fmla="*/ 17 h 61"/>
                <a:gd name="T8" fmla="*/ 9 w 17"/>
                <a:gd name="T9" fmla="*/ 2 h 61"/>
                <a:gd name="T10" fmla="*/ 16 w 17"/>
                <a:gd name="T11" fmla="*/ 0 h 61"/>
                <a:gd name="T12" fmla="*/ 17 w 17"/>
                <a:gd name="T13" fmla="*/ 8 h 61"/>
                <a:gd name="T14" fmla="*/ 16 w 17"/>
                <a:gd name="T15" fmla="*/ 21 h 61"/>
                <a:gd name="T16" fmla="*/ 16 w 17"/>
                <a:gd name="T17" fmla="*/ 33 h 61"/>
                <a:gd name="T18" fmla="*/ 15 w 17"/>
                <a:gd name="T19" fmla="*/ 47 h 61"/>
                <a:gd name="T20" fmla="*/ 14 w 17"/>
                <a:gd name="T21" fmla="*/ 60 h 61"/>
                <a:gd name="T22" fmla="*/ 12 w 17"/>
                <a:gd name="T2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61">
                  <a:moveTo>
                    <a:pt x="12" y="61"/>
                  </a:moveTo>
                  <a:lnTo>
                    <a:pt x="6" y="45"/>
                  </a:lnTo>
                  <a:lnTo>
                    <a:pt x="0" y="31"/>
                  </a:lnTo>
                  <a:lnTo>
                    <a:pt x="5" y="17"/>
                  </a:lnTo>
                  <a:lnTo>
                    <a:pt x="9" y="2"/>
                  </a:lnTo>
                  <a:lnTo>
                    <a:pt x="16" y="0"/>
                  </a:lnTo>
                  <a:lnTo>
                    <a:pt x="17" y="8"/>
                  </a:lnTo>
                  <a:lnTo>
                    <a:pt x="16" y="21"/>
                  </a:lnTo>
                  <a:lnTo>
                    <a:pt x="16" y="33"/>
                  </a:lnTo>
                  <a:lnTo>
                    <a:pt x="15" y="47"/>
                  </a:lnTo>
                  <a:lnTo>
                    <a:pt x="14" y="60"/>
                  </a:lnTo>
                  <a:lnTo>
                    <a:pt x="12" y="6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81" name="Freeform 85">
              <a:extLst>
                <a:ext uri="{FF2B5EF4-FFF2-40B4-BE49-F238E27FC236}">
                  <a16:creationId xmlns:a16="http://schemas.microsoft.com/office/drawing/2014/main" id="{45BB3280-183F-4BEE-9CF7-B1704E5D8061}"/>
                </a:ext>
              </a:extLst>
            </p:cNvPr>
            <p:cNvSpPr>
              <a:spLocks/>
            </p:cNvSpPr>
            <p:nvPr/>
          </p:nvSpPr>
          <p:spPr bwMode="gray">
            <a:xfrm>
              <a:off x="5774999" y="3250818"/>
              <a:ext cx="116067" cy="144836"/>
            </a:xfrm>
            <a:custGeom>
              <a:avLst/>
              <a:gdLst>
                <a:gd name="T0" fmla="*/ 20 w 54"/>
                <a:gd name="T1" fmla="*/ 16 h 67"/>
                <a:gd name="T2" fmla="*/ 3 w 54"/>
                <a:gd name="T3" fmla="*/ 9 h 67"/>
                <a:gd name="T4" fmla="*/ 2 w 54"/>
                <a:gd name="T5" fmla="*/ 22 h 67"/>
                <a:gd name="T6" fmla="*/ 2 w 54"/>
                <a:gd name="T7" fmla="*/ 34 h 67"/>
                <a:gd name="T8" fmla="*/ 1 w 54"/>
                <a:gd name="T9" fmla="*/ 48 h 67"/>
                <a:gd name="T10" fmla="*/ 0 w 54"/>
                <a:gd name="T11" fmla="*/ 61 h 67"/>
                <a:gd name="T12" fmla="*/ 0 w 54"/>
                <a:gd name="T13" fmla="*/ 63 h 67"/>
                <a:gd name="T14" fmla="*/ 15 w 54"/>
                <a:gd name="T15" fmla="*/ 67 h 67"/>
                <a:gd name="T16" fmla="*/ 24 w 54"/>
                <a:gd name="T17" fmla="*/ 56 h 67"/>
                <a:gd name="T18" fmla="*/ 33 w 54"/>
                <a:gd name="T19" fmla="*/ 54 h 67"/>
                <a:gd name="T20" fmla="*/ 39 w 54"/>
                <a:gd name="T21" fmla="*/ 45 h 67"/>
                <a:gd name="T22" fmla="*/ 24 w 54"/>
                <a:gd name="T23" fmla="*/ 30 h 67"/>
                <a:gd name="T24" fmla="*/ 39 w 54"/>
                <a:gd name="T25" fmla="*/ 24 h 67"/>
                <a:gd name="T26" fmla="*/ 54 w 54"/>
                <a:gd name="T27" fmla="*/ 18 h 67"/>
                <a:gd name="T28" fmla="*/ 45 w 54"/>
                <a:gd name="T29" fmla="*/ 0 h 67"/>
                <a:gd name="T30" fmla="*/ 32 w 54"/>
                <a:gd name="T31" fmla="*/ 8 h 67"/>
                <a:gd name="T32" fmla="*/ 20 w 54"/>
                <a:gd name="T33" fmla="*/ 1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" h="67">
                  <a:moveTo>
                    <a:pt x="20" y="16"/>
                  </a:moveTo>
                  <a:lnTo>
                    <a:pt x="3" y="9"/>
                  </a:lnTo>
                  <a:lnTo>
                    <a:pt x="2" y="22"/>
                  </a:lnTo>
                  <a:lnTo>
                    <a:pt x="2" y="34"/>
                  </a:lnTo>
                  <a:lnTo>
                    <a:pt x="1" y="48"/>
                  </a:lnTo>
                  <a:lnTo>
                    <a:pt x="0" y="61"/>
                  </a:lnTo>
                  <a:lnTo>
                    <a:pt x="0" y="63"/>
                  </a:lnTo>
                  <a:lnTo>
                    <a:pt x="15" y="67"/>
                  </a:lnTo>
                  <a:lnTo>
                    <a:pt x="24" y="56"/>
                  </a:lnTo>
                  <a:lnTo>
                    <a:pt x="33" y="54"/>
                  </a:lnTo>
                  <a:lnTo>
                    <a:pt x="39" y="45"/>
                  </a:lnTo>
                  <a:lnTo>
                    <a:pt x="24" y="30"/>
                  </a:lnTo>
                  <a:lnTo>
                    <a:pt x="39" y="24"/>
                  </a:lnTo>
                  <a:lnTo>
                    <a:pt x="54" y="18"/>
                  </a:lnTo>
                  <a:lnTo>
                    <a:pt x="45" y="0"/>
                  </a:lnTo>
                  <a:lnTo>
                    <a:pt x="32" y="8"/>
                  </a:lnTo>
                  <a:lnTo>
                    <a:pt x="20" y="1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76" name="Freeform 310">
              <a:extLst>
                <a:ext uri="{FF2B5EF4-FFF2-40B4-BE49-F238E27FC236}">
                  <a16:creationId xmlns:a16="http://schemas.microsoft.com/office/drawing/2014/main" id="{DF3CB1C1-4800-40D6-B48A-F2D5507E48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0178" y="2875831"/>
              <a:ext cx="228327" cy="89282"/>
            </a:xfrm>
            <a:custGeom>
              <a:avLst/>
              <a:gdLst>
                <a:gd name="T0" fmla="*/ 22 w 108"/>
                <a:gd name="T1" fmla="*/ 15 h 41"/>
                <a:gd name="T2" fmla="*/ 0 w 108"/>
                <a:gd name="T3" fmla="*/ 1 h 41"/>
                <a:gd name="T4" fmla="*/ 1 w 108"/>
                <a:gd name="T5" fmla="*/ 0 h 41"/>
                <a:gd name="T6" fmla="*/ 16 w 108"/>
                <a:gd name="T7" fmla="*/ 1 h 41"/>
                <a:gd name="T8" fmla="*/ 30 w 108"/>
                <a:gd name="T9" fmla="*/ 3 h 41"/>
                <a:gd name="T10" fmla="*/ 49 w 108"/>
                <a:gd name="T11" fmla="*/ 10 h 41"/>
                <a:gd name="T12" fmla="*/ 68 w 108"/>
                <a:gd name="T13" fmla="*/ 18 h 41"/>
                <a:gd name="T14" fmla="*/ 88 w 108"/>
                <a:gd name="T15" fmla="*/ 25 h 41"/>
                <a:gd name="T16" fmla="*/ 108 w 108"/>
                <a:gd name="T17" fmla="*/ 34 h 41"/>
                <a:gd name="T18" fmla="*/ 103 w 108"/>
                <a:gd name="T19" fmla="*/ 41 h 41"/>
                <a:gd name="T20" fmla="*/ 90 w 108"/>
                <a:gd name="T21" fmla="*/ 39 h 41"/>
                <a:gd name="T22" fmla="*/ 71 w 108"/>
                <a:gd name="T23" fmla="*/ 39 h 41"/>
                <a:gd name="T24" fmla="*/ 52 w 108"/>
                <a:gd name="T25" fmla="*/ 39 h 41"/>
                <a:gd name="T26" fmla="*/ 35 w 108"/>
                <a:gd name="T27" fmla="*/ 40 h 41"/>
                <a:gd name="T28" fmla="*/ 35 w 108"/>
                <a:gd name="T29" fmla="*/ 28 h 41"/>
                <a:gd name="T30" fmla="*/ 22 w 108"/>
                <a:gd name="T31" fmla="*/ 1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" h="41">
                  <a:moveTo>
                    <a:pt x="22" y="15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16" y="1"/>
                  </a:lnTo>
                  <a:lnTo>
                    <a:pt x="30" y="3"/>
                  </a:lnTo>
                  <a:lnTo>
                    <a:pt x="49" y="10"/>
                  </a:lnTo>
                  <a:lnTo>
                    <a:pt x="68" y="18"/>
                  </a:lnTo>
                  <a:lnTo>
                    <a:pt x="88" y="25"/>
                  </a:lnTo>
                  <a:lnTo>
                    <a:pt x="108" y="34"/>
                  </a:lnTo>
                  <a:lnTo>
                    <a:pt x="103" y="41"/>
                  </a:lnTo>
                  <a:lnTo>
                    <a:pt x="90" y="39"/>
                  </a:lnTo>
                  <a:lnTo>
                    <a:pt x="71" y="39"/>
                  </a:lnTo>
                  <a:lnTo>
                    <a:pt x="52" y="39"/>
                  </a:lnTo>
                  <a:lnTo>
                    <a:pt x="35" y="40"/>
                  </a:lnTo>
                  <a:lnTo>
                    <a:pt x="35" y="28"/>
                  </a:lnTo>
                  <a:lnTo>
                    <a:pt x="22" y="15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80" name="Freeform 314">
              <a:extLst>
                <a:ext uri="{FF2B5EF4-FFF2-40B4-BE49-F238E27FC236}">
                  <a16:creationId xmlns:a16="http://schemas.microsoft.com/office/drawing/2014/main" id="{49F8D9D4-83F8-47EF-A750-F59BEFBEA17B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1765" y="3167488"/>
              <a:ext cx="60888" cy="39681"/>
            </a:xfrm>
            <a:custGeom>
              <a:avLst/>
              <a:gdLst>
                <a:gd name="T0" fmla="*/ 28 w 28"/>
                <a:gd name="T1" fmla="*/ 0 h 17"/>
                <a:gd name="T2" fmla="*/ 10 w 28"/>
                <a:gd name="T3" fmla="*/ 5 h 17"/>
                <a:gd name="T4" fmla="*/ 0 w 28"/>
                <a:gd name="T5" fmla="*/ 10 h 17"/>
                <a:gd name="T6" fmla="*/ 5 w 28"/>
                <a:gd name="T7" fmla="*/ 17 h 17"/>
                <a:gd name="T8" fmla="*/ 20 w 28"/>
                <a:gd name="T9" fmla="*/ 11 h 17"/>
                <a:gd name="T10" fmla="*/ 20 w 28"/>
                <a:gd name="T11" fmla="*/ 9 h 17"/>
                <a:gd name="T12" fmla="*/ 28 w 2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7">
                  <a:moveTo>
                    <a:pt x="28" y="0"/>
                  </a:moveTo>
                  <a:lnTo>
                    <a:pt x="10" y="5"/>
                  </a:lnTo>
                  <a:lnTo>
                    <a:pt x="0" y="10"/>
                  </a:lnTo>
                  <a:lnTo>
                    <a:pt x="5" y="17"/>
                  </a:lnTo>
                  <a:lnTo>
                    <a:pt x="20" y="11"/>
                  </a:lnTo>
                  <a:lnTo>
                    <a:pt x="20" y="9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01" name="Freeform 335">
              <a:extLst>
                <a:ext uri="{FF2B5EF4-FFF2-40B4-BE49-F238E27FC236}">
                  <a16:creationId xmlns:a16="http://schemas.microsoft.com/office/drawing/2014/main" id="{46A1B156-6E9F-4BC0-ABE0-94F769EED2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63583" y="3207167"/>
              <a:ext cx="38054" cy="53570"/>
            </a:xfrm>
            <a:custGeom>
              <a:avLst/>
              <a:gdLst>
                <a:gd name="T0" fmla="*/ 15 w 18"/>
                <a:gd name="T1" fmla="*/ 12 h 24"/>
                <a:gd name="T2" fmla="*/ 7 w 18"/>
                <a:gd name="T3" fmla="*/ 22 h 24"/>
                <a:gd name="T4" fmla="*/ 0 w 18"/>
                <a:gd name="T5" fmla="*/ 24 h 24"/>
                <a:gd name="T6" fmla="*/ 5 w 18"/>
                <a:gd name="T7" fmla="*/ 12 h 24"/>
                <a:gd name="T8" fmla="*/ 9 w 18"/>
                <a:gd name="T9" fmla="*/ 0 h 24"/>
                <a:gd name="T10" fmla="*/ 18 w 18"/>
                <a:gd name="T11" fmla="*/ 4 h 24"/>
                <a:gd name="T12" fmla="*/ 15 w 18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4">
                  <a:moveTo>
                    <a:pt x="15" y="12"/>
                  </a:moveTo>
                  <a:lnTo>
                    <a:pt x="7" y="22"/>
                  </a:lnTo>
                  <a:lnTo>
                    <a:pt x="0" y="24"/>
                  </a:lnTo>
                  <a:lnTo>
                    <a:pt x="5" y="12"/>
                  </a:lnTo>
                  <a:lnTo>
                    <a:pt x="9" y="0"/>
                  </a:lnTo>
                  <a:lnTo>
                    <a:pt x="18" y="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02" name="Freeform 336">
              <a:extLst>
                <a:ext uri="{FF2B5EF4-FFF2-40B4-BE49-F238E27FC236}">
                  <a16:creationId xmlns:a16="http://schemas.microsoft.com/office/drawing/2014/main" id="{14F24D8A-1E32-4211-AD12-028CF9BEE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5774999" y="3113918"/>
              <a:ext cx="178856" cy="172613"/>
            </a:xfrm>
            <a:custGeom>
              <a:avLst/>
              <a:gdLst>
                <a:gd name="T0" fmla="*/ 53 w 83"/>
                <a:gd name="T1" fmla="*/ 6 h 78"/>
                <a:gd name="T2" fmla="*/ 32 w 83"/>
                <a:gd name="T3" fmla="*/ 5 h 78"/>
                <a:gd name="T4" fmla="*/ 13 w 83"/>
                <a:gd name="T5" fmla="*/ 6 h 78"/>
                <a:gd name="T6" fmla="*/ 7 w 83"/>
                <a:gd name="T7" fmla="*/ 9 h 78"/>
                <a:gd name="T8" fmla="*/ 7 w 83"/>
                <a:gd name="T9" fmla="*/ 16 h 78"/>
                <a:gd name="T10" fmla="*/ 1 w 83"/>
                <a:gd name="T11" fmla="*/ 21 h 78"/>
                <a:gd name="T12" fmla="*/ 0 w 83"/>
                <a:gd name="T13" fmla="*/ 20 h 78"/>
                <a:gd name="T14" fmla="*/ 3 w 83"/>
                <a:gd name="T15" fmla="*/ 41 h 78"/>
                <a:gd name="T16" fmla="*/ 12 w 83"/>
                <a:gd name="T17" fmla="*/ 45 h 78"/>
                <a:gd name="T18" fmla="*/ 9 w 83"/>
                <a:gd name="T19" fmla="*/ 53 h 78"/>
                <a:gd name="T20" fmla="*/ 1 w 83"/>
                <a:gd name="T21" fmla="*/ 63 h 78"/>
                <a:gd name="T22" fmla="*/ 2 w 83"/>
                <a:gd name="T23" fmla="*/ 71 h 78"/>
                <a:gd name="T24" fmla="*/ 19 w 83"/>
                <a:gd name="T25" fmla="*/ 78 h 78"/>
                <a:gd name="T26" fmla="*/ 31 w 83"/>
                <a:gd name="T27" fmla="*/ 70 h 78"/>
                <a:gd name="T28" fmla="*/ 44 w 83"/>
                <a:gd name="T29" fmla="*/ 62 h 78"/>
                <a:gd name="T30" fmla="*/ 57 w 83"/>
                <a:gd name="T31" fmla="*/ 53 h 78"/>
                <a:gd name="T32" fmla="*/ 72 w 83"/>
                <a:gd name="T33" fmla="*/ 45 h 78"/>
                <a:gd name="T34" fmla="*/ 71 w 83"/>
                <a:gd name="T35" fmla="*/ 29 h 78"/>
                <a:gd name="T36" fmla="*/ 71 w 83"/>
                <a:gd name="T37" fmla="*/ 14 h 78"/>
                <a:gd name="T38" fmla="*/ 83 w 83"/>
                <a:gd name="T39" fmla="*/ 2 h 78"/>
                <a:gd name="T40" fmla="*/ 79 w 83"/>
                <a:gd name="T41" fmla="*/ 0 h 78"/>
                <a:gd name="T42" fmla="*/ 66 w 83"/>
                <a:gd name="T43" fmla="*/ 3 h 78"/>
                <a:gd name="T44" fmla="*/ 53 w 83"/>
                <a:gd name="T45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3" h="78">
                  <a:moveTo>
                    <a:pt x="53" y="6"/>
                  </a:moveTo>
                  <a:lnTo>
                    <a:pt x="32" y="5"/>
                  </a:lnTo>
                  <a:lnTo>
                    <a:pt x="13" y="6"/>
                  </a:lnTo>
                  <a:lnTo>
                    <a:pt x="7" y="9"/>
                  </a:lnTo>
                  <a:lnTo>
                    <a:pt x="7" y="16"/>
                  </a:lnTo>
                  <a:lnTo>
                    <a:pt x="1" y="21"/>
                  </a:lnTo>
                  <a:lnTo>
                    <a:pt x="0" y="20"/>
                  </a:lnTo>
                  <a:lnTo>
                    <a:pt x="3" y="41"/>
                  </a:lnTo>
                  <a:lnTo>
                    <a:pt x="12" y="45"/>
                  </a:lnTo>
                  <a:lnTo>
                    <a:pt x="9" y="53"/>
                  </a:lnTo>
                  <a:lnTo>
                    <a:pt x="1" y="63"/>
                  </a:lnTo>
                  <a:lnTo>
                    <a:pt x="2" y="71"/>
                  </a:lnTo>
                  <a:lnTo>
                    <a:pt x="19" y="78"/>
                  </a:lnTo>
                  <a:lnTo>
                    <a:pt x="31" y="70"/>
                  </a:lnTo>
                  <a:lnTo>
                    <a:pt x="44" y="62"/>
                  </a:lnTo>
                  <a:lnTo>
                    <a:pt x="57" y="53"/>
                  </a:lnTo>
                  <a:lnTo>
                    <a:pt x="72" y="45"/>
                  </a:lnTo>
                  <a:lnTo>
                    <a:pt x="71" y="29"/>
                  </a:lnTo>
                  <a:lnTo>
                    <a:pt x="71" y="14"/>
                  </a:lnTo>
                  <a:lnTo>
                    <a:pt x="83" y="2"/>
                  </a:lnTo>
                  <a:lnTo>
                    <a:pt x="79" y="0"/>
                  </a:lnTo>
                  <a:lnTo>
                    <a:pt x="66" y="3"/>
                  </a:lnTo>
                  <a:lnTo>
                    <a:pt x="53" y="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08" name="Freeform 342">
              <a:extLst>
                <a:ext uri="{FF2B5EF4-FFF2-40B4-BE49-F238E27FC236}">
                  <a16:creationId xmlns:a16="http://schemas.microsoft.com/office/drawing/2014/main" id="{BD7B66CB-65F1-4D2B-B47B-209A374429D8}"/>
                </a:ext>
              </a:extLst>
            </p:cNvPr>
            <p:cNvSpPr>
              <a:spLocks/>
            </p:cNvSpPr>
            <p:nvPr/>
          </p:nvSpPr>
          <p:spPr bwMode="gray">
            <a:xfrm>
              <a:off x="5940536" y="2959161"/>
              <a:ext cx="127483" cy="89282"/>
            </a:xfrm>
            <a:custGeom>
              <a:avLst/>
              <a:gdLst>
                <a:gd name="T0" fmla="*/ 8 w 61"/>
                <a:gd name="T1" fmla="*/ 6 h 40"/>
                <a:gd name="T2" fmla="*/ 0 w 61"/>
                <a:gd name="T3" fmla="*/ 0 h 40"/>
                <a:gd name="T4" fmla="*/ 19 w 61"/>
                <a:gd name="T5" fmla="*/ 0 h 40"/>
                <a:gd name="T6" fmla="*/ 38 w 61"/>
                <a:gd name="T7" fmla="*/ 0 h 40"/>
                <a:gd name="T8" fmla="*/ 51 w 61"/>
                <a:gd name="T9" fmla="*/ 2 h 40"/>
                <a:gd name="T10" fmla="*/ 50 w 61"/>
                <a:gd name="T11" fmla="*/ 16 h 40"/>
                <a:gd name="T12" fmla="*/ 56 w 61"/>
                <a:gd name="T13" fmla="*/ 19 h 40"/>
                <a:gd name="T14" fmla="*/ 51 w 61"/>
                <a:gd name="T15" fmla="*/ 25 h 40"/>
                <a:gd name="T16" fmla="*/ 61 w 61"/>
                <a:gd name="T17" fmla="*/ 38 h 40"/>
                <a:gd name="T18" fmla="*/ 55 w 61"/>
                <a:gd name="T19" fmla="*/ 40 h 40"/>
                <a:gd name="T20" fmla="*/ 51 w 61"/>
                <a:gd name="T21" fmla="*/ 38 h 40"/>
                <a:gd name="T22" fmla="*/ 50 w 61"/>
                <a:gd name="T23" fmla="*/ 36 h 40"/>
                <a:gd name="T24" fmla="*/ 46 w 61"/>
                <a:gd name="T25" fmla="*/ 33 h 40"/>
                <a:gd name="T26" fmla="*/ 43 w 61"/>
                <a:gd name="T27" fmla="*/ 33 h 40"/>
                <a:gd name="T28" fmla="*/ 39 w 61"/>
                <a:gd name="T29" fmla="*/ 32 h 40"/>
                <a:gd name="T30" fmla="*/ 36 w 61"/>
                <a:gd name="T31" fmla="*/ 30 h 40"/>
                <a:gd name="T32" fmla="*/ 31 w 61"/>
                <a:gd name="T33" fmla="*/ 30 h 40"/>
                <a:gd name="T34" fmla="*/ 19 w 61"/>
                <a:gd name="T35" fmla="*/ 25 h 40"/>
                <a:gd name="T36" fmla="*/ 14 w 61"/>
                <a:gd name="T37" fmla="*/ 16 h 40"/>
                <a:gd name="T38" fmla="*/ 8 w 61"/>
                <a:gd name="T39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1" h="40">
                  <a:moveTo>
                    <a:pt x="8" y="6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38" y="0"/>
                  </a:lnTo>
                  <a:lnTo>
                    <a:pt x="51" y="2"/>
                  </a:lnTo>
                  <a:lnTo>
                    <a:pt x="50" y="16"/>
                  </a:lnTo>
                  <a:lnTo>
                    <a:pt x="56" y="19"/>
                  </a:lnTo>
                  <a:lnTo>
                    <a:pt x="51" y="25"/>
                  </a:lnTo>
                  <a:lnTo>
                    <a:pt x="61" y="38"/>
                  </a:lnTo>
                  <a:lnTo>
                    <a:pt x="55" y="40"/>
                  </a:lnTo>
                  <a:lnTo>
                    <a:pt x="51" y="38"/>
                  </a:lnTo>
                  <a:lnTo>
                    <a:pt x="50" y="36"/>
                  </a:lnTo>
                  <a:lnTo>
                    <a:pt x="46" y="33"/>
                  </a:lnTo>
                  <a:lnTo>
                    <a:pt x="43" y="33"/>
                  </a:lnTo>
                  <a:lnTo>
                    <a:pt x="39" y="32"/>
                  </a:lnTo>
                  <a:lnTo>
                    <a:pt x="36" y="30"/>
                  </a:lnTo>
                  <a:lnTo>
                    <a:pt x="31" y="30"/>
                  </a:lnTo>
                  <a:lnTo>
                    <a:pt x="19" y="25"/>
                  </a:lnTo>
                  <a:lnTo>
                    <a:pt x="14" y="16"/>
                  </a:lnTo>
                  <a:lnTo>
                    <a:pt x="8" y="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09" name="Freeform 343">
              <a:extLst>
                <a:ext uri="{FF2B5EF4-FFF2-40B4-BE49-F238E27FC236}">
                  <a16:creationId xmlns:a16="http://schemas.microsoft.com/office/drawing/2014/main" id="{3612E169-23DD-4BDA-B435-35F1D016F1C5}"/>
                </a:ext>
              </a:extLst>
            </p:cNvPr>
            <p:cNvSpPr>
              <a:spLocks/>
            </p:cNvSpPr>
            <p:nvPr/>
          </p:nvSpPr>
          <p:spPr bwMode="gray">
            <a:xfrm>
              <a:off x="6047089" y="2947257"/>
              <a:ext cx="110358" cy="123011"/>
            </a:xfrm>
            <a:custGeom>
              <a:avLst/>
              <a:gdLst>
                <a:gd name="T0" fmla="*/ 11 w 52"/>
                <a:gd name="T1" fmla="*/ 43 h 55"/>
                <a:gd name="T2" fmla="*/ 1 w 52"/>
                <a:gd name="T3" fmla="*/ 30 h 55"/>
                <a:gd name="T4" fmla="*/ 6 w 52"/>
                <a:gd name="T5" fmla="*/ 24 h 55"/>
                <a:gd name="T6" fmla="*/ 0 w 52"/>
                <a:gd name="T7" fmla="*/ 21 h 55"/>
                <a:gd name="T8" fmla="*/ 1 w 52"/>
                <a:gd name="T9" fmla="*/ 7 h 55"/>
                <a:gd name="T10" fmla="*/ 6 w 52"/>
                <a:gd name="T11" fmla="*/ 0 h 55"/>
                <a:gd name="T12" fmla="*/ 26 w 52"/>
                <a:gd name="T13" fmla="*/ 3 h 55"/>
                <a:gd name="T14" fmla="*/ 35 w 52"/>
                <a:gd name="T15" fmla="*/ 13 h 55"/>
                <a:gd name="T16" fmla="*/ 52 w 52"/>
                <a:gd name="T17" fmla="*/ 24 h 55"/>
                <a:gd name="T18" fmla="*/ 43 w 52"/>
                <a:gd name="T19" fmla="*/ 26 h 55"/>
                <a:gd name="T20" fmla="*/ 40 w 52"/>
                <a:gd name="T21" fmla="*/ 44 h 55"/>
                <a:gd name="T22" fmla="*/ 38 w 52"/>
                <a:gd name="T23" fmla="*/ 55 h 55"/>
                <a:gd name="T24" fmla="*/ 26 w 52"/>
                <a:gd name="T25" fmla="*/ 47 h 55"/>
                <a:gd name="T26" fmla="*/ 28 w 52"/>
                <a:gd name="T27" fmla="*/ 43 h 55"/>
                <a:gd name="T28" fmla="*/ 24 w 52"/>
                <a:gd name="T29" fmla="*/ 35 h 55"/>
                <a:gd name="T30" fmla="*/ 11 w 52"/>
                <a:gd name="T31" fmla="*/ 4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5">
                  <a:moveTo>
                    <a:pt x="11" y="43"/>
                  </a:moveTo>
                  <a:lnTo>
                    <a:pt x="1" y="30"/>
                  </a:lnTo>
                  <a:lnTo>
                    <a:pt x="6" y="24"/>
                  </a:lnTo>
                  <a:lnTo>
                    <a:pt x="0" y="21"/>
                  </a:lnTo>
                  <a:lnTo>
                    <a:pt x="1" y="7"/>
                  </a:lnTo>
                  <a:lnTo>
                    <a:pt x="6" y="0"/>
                  </a:lnTo>
                  <a:lnTo>
                    <a:pt x="26" y="3"/>
                  </a:lnTo>
                  <a:lnTo>
                    <a:pt x="35" y="13"/>
                  </a:lnTo>
                  <a:lnTo>
                    <a:pt x="52" y="24"/>
                  </a:lnTo>
                  <a:lnTo>
                    <a:pt x="43" y="26"/>
                  </a:lnTo>
                  <a:lnTo>
                    <a:pt x="40" y="44"/>
                  </a:lnTo>
                  <a:lnTo>
                    <a:pt x="38" y="55"/>
                  </a:lnTo>
                  <a:lnTo>
                    <a:pt x="26" y="47"/>
                  </a:lnTo>
                  <a:lnTo>
                    <a:pt x="28" y="43"/>
                  </a:lnTo>
                  <a:lnTo>
                    <a:pt x="24" y="35"/>
                  </a:lnTo>
                  <a:lnTo>
                    <a:pt x="11" y="4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10" name="Freeform 344">
              <a:extLst>
                <a:ext uri="{FF2B5EF4-FFF2-40B4-BE49-F238E27FC236}">
                  <a16:creationId xmlns:a16="http://schemas.microsoft.com/office/drawing/2014/main" id="{3DCB34E2-CFB3-4A07-B49F-B6011B68B6A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3327" y="3026619"/>
              <a:ext cx="51374" cy="25793"/>
            </a:xfrm>
            <a:custGeom>
              <a:avLst/>
              <a:gdLst>
                <a:gd name="T0" fmla="*/ 24 w 24"/>
                <a:gd name="T1" fmla="*/ 10 h 13"/>
                <a:gd name="T2" fmla="*/ 19 w 24"/>
                <a:gd name="T3" fmla="*/ 13 h 13"/>
                <a:gd name="T4" fmla="*/ 3 w 24"/>
                <a:gd name="T5" fmla="*/ 3 h 13"/>
                <a:gd name="T6" fmla="*/ 1 w 24"/>
                <a:gd name="T7" fmla="*/ 1 h 13"/>
                <a:gd name="T8" fmla="*/ 0 w 24"/>
                <a:gd name="T9" fmla="*/ 0 h 13"/>
                <a:gd name="T10" fmla="*/ 5 w 24"/>
                <a:gd name="T11" fmla="*/ 0 h 13"/>
                <a:gd name="T12" fmla="*/ 8 w 24"/>
                <a:gd name="T13" fmla="*/ 2 h 13"/>
                <a:gd name="T14" fmla="*/ 12 w 24"/>
                <a:gd name="T15" fmla="*/ 2 h 13"/>
                <a:gd name="T16" fmla="*/ 15 w 24"/>
                <a:gd name="T17" fmla="*/ 3 h 13"/>
                <a:gd name="T18" fmla="*/ 19 w 24"/>
                <a:gd name="T19" fmla="*/ 6 h 13"/>
                <a:gd name="T20" fmla="*/ 20 w 24"/>
                <a:gd name="T21" fmla="*/ 8 h 13"/>
                <a:gd name="T22" fmla="*/ 24 w 24"/>
                <a:gd name="T23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3">
                  <a:moveTo>
                    <a:pt x="24" y="10"/>
                  </a:moveTo>
                  <a:lnTo>
                    <a:pt x="19" y="13"/>
                  </a:lnTo>
                  <a:lnTo>
                    <a:pt x="3" y="3"/>
                  </a:lnTo>
                  <a:lnTo>
                    <a:pt x="1" y="1"/>
                  </a:lnTo>
                  <a:lnTo>
                    <a:pt x="0" y="0"/>
                  </a:lnTo>
                  <a:lnTo>
                    <a:pt x="5" y="0"/>
                  </a:lnTo>
                  <a:lnTo>
                    <a:pt x="8" y="2"/>
                  </a:lnTo>
                  <a:lnTo>
                    <a:pt x="12" y="2"/>
                  </a:lnTo>
                  <a:lnTo>
                    <a:pt x="15" y="3"/>
                  </a:lnTo>
                  <a:lnTo>
                    <a:pt x="19" y="6"/>
                  </a:lnTo>
                  <a:lnTo>
                    <a:pt x="20" y="8"/>
                  </a:lnTo>
                  <a:lnTo>
                    <a:pt x="24" y="1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58" name="Freeform 394">
              <a:extLst>
                <a:ext uri="{FF2B5EF4-FFF2-40B4-BE49-F238E27FC236}">
                  <a16:creationId xmlns:a16="http://schemas.microsoft.com/office/drawing/2014/main" id="{739B25CE-36EC-4BD8-B320-8F5BC636B0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868232" y="1824281"/>
              <a:ext cx="258771" cy="97218"/>
            </a:xfrm>
            <a:custGeom>
              <a:avLst/>
              <a:gdLst>
                <a:gd name="T0" fmla="*/ 121 w 121"/>
                <a:gd name="T1" fmla="*/ 2 h 44"/>
                <a:gd name="T2" fmla="*/ 112 w 121"/>
                <a:gd name="T3" fmla="*/ 8 h 44"/>
                <a:gd name="T4" fmla="*/ 85 w 121"/>
                <a:gd name="T5" fmla="*/ 16 h 44"/>
                <a:gd name="T6" fmla="*/ 58 w 121"/>
                <a:gd name="T7" fmla="*/ 22 h 44"/>
                <a:gd name="T8" fmla="*/ 52 w 121"/>
                <a:gd name="T9" fmla="*/ 23 h 44"/>
                <a:gd name="T10" fmla="*/ 55 w 121"/>
                <a:gd name="T11" fmla="*/ 25 h 44"/>
                <a:gd name="T12" fmla="*/ 53 w 121"/>
                <a:gd name="T13" fmla="*/ 26 h 44"/>
                <a:gd name="T14" fmla="*/ 47 w 121"/>
                <a:gd name="T15" fmla="*/ 28 h 44"/>
                <a:gd name="T16" fmla="*/ 48 w 121"/>
                <a:gd name="T17" fmla="*/ 30 h 44"/>
                <a:gd name="T18" fmla="*/ 38 w 121"/>
                <a:gd name="T19" fmla="*/ 29 h 44"/>
                <a:gd name="T20" fmla="*/ 41 w 121"/>
                <a:gd name="T21" fmla="*/ 34 h 44"/>
                <a:gd name="T22" fmla="*/ 37 w 121"/>
                <a:gd name="T23" fmla="*/ 35 h 44"/>
                <a:gd name="T24" fmla="*/ 40 w 121"/>
                <a:gd name="T25" fmla="*/ 40 h 44"/>
                <a:gd name="T26" fmla="*/ 26 w 121"/>
                <a:gd name="T27" fmla="*/ 37 h 44"/>
                <a:gd name="T28" fmla="*/ 40 w 121"/>
                <a:gd name="T29" fmla="*/ 41 h 44"/>
                <a:gd name="T30" fmla="*/ 32 w 121"/>
                <a:gd name="T31" fmla="*/ 41 h 44"/>
                <a:gd name="T32" fmla="*/ 35 w 121"/>
                <a:gd name="T33" fmla="*/ 44 h 44"/>
                <a:gd name="T34" fmla="*/ 7 w 121"/>
                <a:gd name="T35" fmla="*/ 42 h 44"/>
                <a:gd name="T36" fmla="*/ 12 w 121"/>
                <a:gd name="T37" fmla="*/ 40 h 44"/>
                <a:gd name="T38" fmla="*/ 0 w 121"/>
                <a:gd name="T39" fmla="*/ 40 h 44"/>
                <a:gd name="T40" fmla="*/ 12 w 121"/>
                <a:gd name="T41" fmla="*/ 34 h 44"/>
                <a:gd name="T42" fmla="*/ 16 w 121"/>
                <a:gd name="T43" fmla="*/ 34 h 44"/>
                <a:gd name="T44" fmla="*/ 11 w 121"/>
                <a:gd name="T45" fmla="*/ 31 h 44"/>
                <a:gd name="T46" fmla="*/ 13 w 121"/>
                <a:gd name="T47" fmla="*/ 29 h 44"/>
                <a:gd name="T48" fmla="*/ 19 w 121"/>
                <a:gd name="T49" fmla="*/ 25 h 44"/>
                <a:gd name="T50" fmla="*/ 16 w 121"/>
                <a:gd name="T51" fmla="*/ 24 h 44"/>
                <a:gd name="T52" fmla="*/ 17 w 121"/>
                <a:gd name="T53" fmla="*/ 23 h 44"/>
                <a:gd name="T54" fmla="*/ 11 w 121"/>
                <a:gd name="T55" fmla="*/ 22 h 44"/>
                <a:gd name="T56" fmla="*/ 18 w 121"/>
                <a:gd name="T57" fmla="*/ 19 h 44"/>
                <a:gd name="T58" fmla="*/ 25 w 121"/>
                <a:gd name="T59" fmla="*/ 18 h 44"/>
                <a:gd name="T60" fmla="*/ 47 w 121"/>
                <a:gd name="T61" fmla="*/ 11 h 44"/>
                <a:gd name="T62" fmla="*/ 50 w 121"/>
                <a:gd name="T63" fmla="*/ 8 h 44"/>
                <a:gd name="T64" fmla="*/ 92 w 121"/>
                <a:gd name="T65" fmla="*/ 4 h 44"/>
                <a:gd name="T66" fmla="*/ 110 w 121"/>
                <a:gd name="T67" fmla="*/ 0 h 44"/>
                <a:gd name="T68" fmla="*/ 121 w 121"/>
                <a:gd name="T69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1" h="44">
                  <a:moveTo>
                    <a:pt x="121" y="2"/>
                  </a:moveTo>
                  <a:lnTo>
                    <a:pt x="112" y="8"/>
                  </a:lnTo>
                  <a:lnTo>
                    <a:pt x="85" y="16"/>
                  </a:lnTo>
                  <a:lnTo>
                    <a:pt x="58" y="22"/>
                  </a:lnTo>
                  <a:lnTo>
                    <a:pt x="52" y="23"/>
                  </a:lnTo>
                  <a:lnTo>
                    <a:pt x="55" y="25"/>
                  </a:lnTo>
                  <a:lnTo>
                    <a:pt x="53" y="26"/>
                  </a:lnTo>
                  <a:lnTo>
                    <a:pt x="47" y="28"/>
                  </a:lnTo>
                  <a:lnTo>
                    <a:pt x="48" y="30"/>
                  </a:lnTo>
                  <a:lnTo>
                    <a:pt x="38" y="29"/>
                  </a:lnTo>
                  <a:lnTo>
                    <a:pt x="41" y="34"/>
                  </a:lnTo>
                  <a:lnTo>
                    <a:pt x="37" y="35"/>
                  </a:lnTo>
                  <a:lnTo>
                    <a:pt x="40" y="40"/>
                  </a:lnTo>
                  <a:lnTo>
                    <a:pt x="26" y="37"/>
                  </a:lnTo>
                  <a:lnTo>
                    <a:pt x="40" y="41"/>
                  </a:lnTo>
                  <a:lnTo>
                    <a:pt x="32" y="41"/>
                  </a:lnTo>
                  <a:lnTo>
                    <a:pt x="35" y="44"/>
                  </a:lnTo>
                  <a:lnTo>
                    <a:pt x="7" y="42"/>
                  </a:lnTo>
                  <a:lnTo>
                    <a:pt x="12" y="40"/>
                  </a:lnTo>
                  <a:lnTo>
                    <a:pt x="0" y="40"/>
                  </a:lnTo>
                  <a:lnTo>
                    <a:pt x="12" y="34"/>
                  </a:lnTo>
                  <a:lnTo>
                    <a:pt x="16" y="34"/>
                  </a:lnTo>
                  <a:lnTo>
                    <a:pt x="11" y="31"/>
                  </a:lnTo>
                  <a:lnTo>
                    <a:pt x="13" y="29"/>
                  </a:lnTo>
                  <a:lnTo>
                    <a:pt x="19" y="25"/>
                  </a:lnTo>
                  <a:lnTo>
                    <a:pt x="16" y="24"/>
                  </a:lnTo>
                  <a:lnTo>
                    <a:pt x="17" y="23"/>
                  </a:lnTo>
                  <a:lnTo>
                    <a:pt x="11" y="22"/>
                  </a:lnTo>
                  <a:lnTo>
                    <a:pt x="18" y="19"/>
                  </a:lnTo>
                  <a:lnTo>
                    <a:pt x="25" y="18"/>
                  </a:lnTo>
                  <a:lnTo>
                    <a:pt x="47" y="11"/>
                  </a:lnTo>
                  <a:lnTo>
                    <a:pt x="50" y="8"/>
                  </a:lnTo>
                  <a:lnTo>
                    <a:pt x="92" y="4"/>
                  </a:lnTo>
                  <a:lnTo>
                    <a:pt x="110" y="0"/>
                  </a:lnTo>
                  <a:lnTo>
                    <a:pt x="121" y="2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59" name="Freeform 395">
              <a:extLst>
                <a:ext uri="{FF2B5EF4-FFF2-40B4-BE49-F238E27FC236}">
                  <a16:creationId xmlns:a16="http://schemas.microsoft.com/office/drawing/2014/main" id="{34720BB7-7015-4BE3-BDB3-04F2975FE2A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7302" y="1921501"/>
              <a:ext cx="152218" cy="79362"/>
            </a:xfrm>
            <a:custGeom>
              <a:avLst/>
              <a:gdLst>
                <a:gd name="T0" fmla="*/ 71 w 71"/>
                <a:gd name="T1" fmla="*/ 34 h 35"/>
                <a:gd name="T2" fmla="*/ 45 w 71"/>
                <a:gd name="T3" fmla="*/ 23 h 35"/>
                <a:gd name="T4" fmla="*/ 36 w 71"/>
                <a:gd name="T5" fmla="*/ 10 h 35"/>
                <a:gd name="T6" fmla="*/ 38 w 71"/>
                <a:gd name="T7" fmla="*/ 8 h 35"/>
                <a:gd name="T8" fmla="*/ 39 w 71"/>
                <a:gd name="T9" fmla="*/ 5 h 35"/>
                <a:gd name="T10" fmla="*/ 40 w 71"/>
                <a:gd name="T11" fmla="*/ 2 h 35"/>
                <a:gd name="T12" fmla="*/ 14 w 71"/>
                <a:gd name="T13" fmla="*/ 0 h 35"/>
                <a:gd name="T14" fmla="*/ 10 w 71"/>
                <a:gd name="T15" fmla="*/ 5 h 35"/>
                <a:gd name="T16" fmla="*/ 6 w 71"/>
                <a:gd name="T17" fmla="*/ 9 h 35"/>
                <a:gd name="T18" fmla="*/ 10 w 71"/>
                <a:gd name="T19" fmla="*/ 11 h 35"/>
                <a:gd name="T20" fmla="*/ 5 w 71"/>
                <a:gd name="T21" fmla="*/ 17 h 35"/>
                <a:gd name="T22" fmla="*/ 0 w 71"/>
                <a:gd name="T23" fmla="*/ 18 h 35"/>
                <a:gd name="T24" fmla="*/ 8 w 71"/>
                <a:gd name="T25" fmla="*/ 24 h 35"/>
                <a:gd name="T26" fmla="*/ 16 w 71"/>
                <a:gd name="T27" fmla="*/ 24 h 35"/>
                <a:gd name="T28" fmla="*/ 22 w 71"/>
                <a:gd name="T29" fmla="*/ 24 h 35"/>
                <a:gd name="T30" fmla="*/ 27 w 71"/>
                <a:gd name="T31" fmla="*/ 26 h 35"/>
                <a:gd name="T32" fmla="*/ 32 w 71"/>
                <a:gd name="T33" fmla="*/ 30 h 35"/>
                <a:gd name="T34" fmla="*/ 30 w 71"/>
                <a:gd name="T35" fmla="*/ 32 h 35"/>
                <a:gd name="T36" fmla="*/ 40 w 71"/>
                <a:gd name="T37" fmla="*/ 34 h 35"/>
                <a:gd name="T38" fmla="*/ 48 w 71"/>
                <a:gd name="T39" fmla="*/ 35 h 35"/>
                <a:gd name="T40" fmla="*/ 58 w 71"/>
                <a:gd name="T41" fmla="*/ 35 h 35"/>
                <a:gd name="T42" fmla="*/ 66 w 71"/>
                <a:gd name="T43" fmla="*/ 35 h 35"/>
                <a:gd name="T44" fmla="*/ 71 w 71"/>
                <a:gd name="T45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1" h="35">
                  <a:moveTo>
                    <a:pt x="71" y="34"/>
                  </a:moveTo>
                  <a:lnTo>
                    <a:pt x="45" y="23"/>
                  </a:lnTo>
                  <a:lnTo>
                    <a:pt x="36" y="10"/>
                  </a:lnTo>
                  <a:lnTo>
                    <a:pt x="38" y="8"/>
                  </a:lnTo>
                  <a:lnTo>
                    <a:pt x="39" y="5"/>
                  </a:lnTo>
                  <a:lnTo>
                    <a:pt x="40" y="2"/>
                  </a:lnTo>
                  <a:lnTo>
                    <a:pt x="14" y="0"/>
                  </a:lnTo>
                  <a:lnTo>
                    <a:pt x="10" y="5"/>
                  </a:lnTo>
                  <a:lnTo>
                    <a:pt x="6" y="9"/>
                  </a:lnTo>
                  <a:lnTo>
                    <a:pt x="10" y="11"/>
                  </a:lnTo>
                  <a:lnTo>
                    <a:pt x="5" y="17"/>
                  </a:lnTo>
                  <a:lnTo>
                    <a:pt x="0" y="18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22" y="24"/>
                  </a:lnTo>
                  <a:lnTo>
                    <a:pt x="27" y="26"/>
                  </a:lnTo>
                  <a:lnTo>
                    <a:pt x="32" y="30"/>
                  </a:lnTo>
                  <a:lnTo>
                    <a:pt x="30" y="32"/>
                  </a:lnTo>
                  <a:lnTo>
                    <a:pt x="40" y="34"/>
                  </a:lnTo>
                  <a:lnTo>
                    <a:pt x="48" y="35"/>
                  </a:lnTo>
                  <a:lnTo>
                    <a:pt x="58" y="35"/>
                  </a:lnTo>
                  <a:lnTo>
                    <a:pt x="66" y="35"/>
                  </a:lnTo>
                  <a:lnTo>
                    <a:pt x="71" y="34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72" name="Freeform 408">
              <a:extLst>
                <a:ext uri="{FF2B5EF4-FFF2-40B4-BE49-F238E27FC236}">
                  <a16:creationId xmlns:a16="http://schemas.microsoft.com/office/drawing/2014/main" id="{DD7DDE3F-D172-41F0-B5BC-C92B454498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0452" y="2004831"/>
              <a:ext cx="55179" cy="17858"/>
            </a:xfrm>
            <a:custGeom>
              <a:avLst/>
              <a:gdLst>
                <a:gd name="T0" fmla="*/ 25 w 25"/>
                <a:gd name="T1" fmla="*/ 7 h 7"/>
                <a:gd name="T2" fmla="*/ 4 w 25"/>
                <a:gd name="T3" fmla="*/ 0 h 7"/>
                <a:gd name="T4" fmla="*/ 0 w 25"/>
                <a:gd name="T5" fmla="*/ 1 h 7"/>
                <a:gd name="T6" fmla="*/ 16 w 25"/>
                <a:gd name="T7" fmla="*/ 7 h 7"/>
                <a:gd name="T8" fmla="*/ 25 w 2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7">
                  <a:moveTo>
                    <a:pt x="25" y="7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16" y="7"/>
                  </a:lnTo>
                  <a:lnTo>
                    <a:pt x="25" y="7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77" name="Freeform 413">
              <a:extLst>
                <a:ext uri="{FF2B5EF4-FFF2-40B4-BE49-F238E27FC236}">
                  <a16:creationId xmlns:a16="http://schemas.microsoft.com/office/drawing/2014/main" id="{C10DD061-F8AA-4D60-B35A-A955673DC91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60622" y="1727063"/>
              <a:ext cx="55179" cy="9919"/>
            </a:xfrm>
            <a:custGeom>
              <a:avLst/>
              <a:gdLst>
                <a:gd name="T0" fmla="*/ 27 w 27"/>
                <a:gd name="T1" fmla="*/ 0 h 3"/>
                <a:gd name="T2" fmla="*/ 0 w 27"/>
                <a:gd name="T3" fmla="*/ 1 h 3"/>
                <a:gd name="T4" fmla="*/ 15 w 27"/>
                <a:gd name="T5" fmla="*/ 3 h 3"/>
                <a:gd name="T6" fmla="*/ 27 w 2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">
                  <a:moveTo>
                    <a:pt x="27" y="0"/>
                  </a:moveTo>
                  <a:lnTo>
                    <a:pt x="0" y="1"/>
                  </a:lnTo>
                  <a:lnTo>
                    <a:pt x="15" y="3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78" name="Freeform 414">
              <a:extLst>
                <a:ext uri="{FF2B5EF4-FFF2-40B4-BE49-F238E27FC236}">
                  <a16:creationId xmlns:a16="http://schemas.microsoft.com/office/drawing/2014/main" id="{9FCEB274-E95D-42E3-ACAD-6CC469652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5801" y="1723096"/>
              <a:ext cx="55179" cy="3967"/>
            </a:xfrm>
            <a:custGeom>
              <a:avLst/>
              <a:gdLst>
                <a:gd name="T0" fmla="*/ 25 w 25"/>
                <a:gd name="T1" fmla="*/ 1 h 3"/>
                <a:gd name="T2" fmla="*/ 0 w 25"/>
                <a:gd name="T3" fmla="*/ 3 h 3"/>
                <a:gd name="T4" fmla="*/ 20 w 25"/>
                <a:gd name="T5" fmla="*/ 0 h 3"/>
                <a:gd name="T6" fmla="*/ 25 w 25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3">
                  <a:moveTo>
                    <a:pt x="25" y="1"/>
                  </a:moveTo>
                  <a:lnTo>
                    <a:pt x="0" y="3"/>
                  </a:lnTo>
                  <a:lnTo>
                    <a:pt x="20" y="0"/>
                  </a:lnTo>
                  <a:lnTo>
                    <a:pt x="25" y="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384" name="Freeform 420">
            <a:extLst>
              <a:ext uri="{FF2B5EF4-FFF2-40B4-BE49-F238E27FC236}">
                <a16:creationId xmlns:a16="http://schemas.microsoft.com/office/drawing/2014/main" id="{F6FF827B-4A26-441C-B248-A50BA4F8A1FC}"/>
              </a:ext>
            </a:extLst>
          </p:cNvPr>
          <p:cNvSpPr>
            <a:spLocks/>
          </p:cNvSpPr>
          <p:nvPr/>
        </p:nvSpPr>
        <p:spPr bwMode="gray">
          <a:xfrm>
            <a:off x="6381968" y="1947294"/>
            <a:ext cx="24735" cy="5952"/>
          </a:xfrm>
          <a:custGeom>
            <a:avLst/>
            <a:gdLst>
              <a:gd name="T0" fmla="*/ 11 w 11"/>
              <a:gd name="T1" fmla="*/ 0 h 4"/>
              <a:gd name="T2" fmla="*/ 0 w 11"/>
              <a:gd name="T3" fmla="*/ 4 h 4"/>
              <a:gd name="T4" fmla="*/ 0 w 11"/>
              <a:gd name="T5" fmla="*/ 0 h 4"/>
              <a:gd name="T6" fmla="*/ 11 w 11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1" h="4">
                <a:moveTo>
                  <a:pt x="11" y="0"/>
                </a:moveTo>
                <a:lnTo>
                  <a:pt x="0" y="4"/>
                </a:lnTo>
                <a:lnTo>
                  <a:pt x="0" y="0"/>
                </a:lnTo>
                <a:lnTo>
                  <a:pt x="1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460" name="Group 459">
            <a:extLst>
              <a:ext uri="{FF2B5EF4-FFF2-40B4-BE49-F238E27FC236}">
                <a16:creationId xmlns:a16="http://schemas.microsoft.com/office/drawing/2014/main" id="{DF19458E-81D3-40CD-9D27-3A1F5AEDBE5F}"/>
              </a:ext>
            </a:extLst>
          </p:cNvPr>
          <p:cNvGrpSpPr/>
          <p:nvPr/>
        </p:nvGrpSpPr>
        <p:grpSpPr>
          <a:xfrm>
            <a:off x="6635032" y="1758808"/>
            <a:ext cx="2469738" cy="2202301"/>
            <a:chOff x="6635032" y="1758808"/>
            <a:chExt cx="2469738" cy="2202301"/>
          </a:xfrm>
        </p:grpSpPr>
        <p:sp>
          <p:nvSpPr>
            <p:cNvPr id="46" name="Freeform 50">
              <a:extLst>
                <a:ext uri="{FF2B5EF4-FFF2-40B4-BE49-F238E27FC236}">
                  <a16:creationId xmlns:a16="http://schemas.microsoft.com/office/drawing/2014/main" id="{03D65DFE-72AD-4E08-8033-D3A5AE77AED7}"/>
                </a:ext>
              </a:extLst>
            </p:cNvPr>
            <p:cNvSpPr>
              <a:spLocks/>
            </p:cNvSpPr>
            <p:nvPr/>
          </p:nvSpPr>
          <p:spPr bwMode="gray">
            <a:xfrm>
              <a:off x="9099063" y="3891666"/>
              <a:ext cx="5707" cy="7937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1 h 4"/>
                <a:gd name="T4" fmla="*/ 0 w 2"/>
                <a:gd name="T5" fmla="*/ 1 h 4"/>
                <a:gd name="T6" fmla="*/ 0 w 2"/>
                <a:gd name="T7" fmla="*/ 4 h 4"/>
                <a:gd name="T8" fmla="*/ 2 w 2"/>
                <a:gd name="T9" fmla="*/ 4 h 4"/>
                <a:gd name="T10" fmla="*/ 2 w 2"/>
                <a:gd name="T11" fmla="*/ 2 h 4"/>
                <a:gd name="T12" fmla="*/ 2 w 2"/>
                <a:gd name="T13" fmla="*/ 1 h 4"/>
                <a:gd name="T14" fmla="*/ 2 w 2"/>
                <a:gd name="T1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2" y="1"/>
                  </a:lnTo>
                  <a:lnTo>
                    <a:pt x="0" y="1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7" name="Freeform 51">
              <a:extLst>
                <a:ext uri="{FF2B5EF4-FFF2-40B4-BE49-F238E27FC236}">
                  <a16:creationId xmlns:a16="http://schemas.microsoft.com/office/drawing/2014/main" id="{8F349E4C-1680-480D-9B81-66E6C640ED89}"/>
                </a:ext>
              </a:extLst>
            </p:cNvPr>
            <p:cNvSpPr>
              <a:spLocks/>
            </p:cNvSpPr>
            <p:nvPr/>
          </p:nvSpPr>
          <p:spPr bwMode="gray">
            <a:xfrm>
              <a:off x="9099063" y="3899603"/>
              <a:ext cx="5707" cy="3967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0 h 2"/>
                <a:gd name="T4" fmla="*/ 0 w 1"/>
                <a:gd name="T5" fmla="*/ 1 h 2"/>
                <a:gd name="T6" fmla="*/ 1 w 1"/>
                <a:gd name="T7" fmla="*/ 2 h 2"/>
                <a:gd name="T8" fmla="*/ 1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8" name="Freeform 52">
              <a:extLst>
                <a:ext uri="{FF2B5EF4-FFF2-40B4-BE49-F238E27FC236}">
                  <a16:creationId xmlns:a16="http://schemas.microsoft.com/office/drawing/2014/main" id="{A37E8D96-9B6D-4E25-9398-BAC525BAF76A}"/>
                </a:ext>
              </a:extLst>
            </p:cNvPr>
            <p:cNvSpPr>
              <a:spLocks/>
            </p:cNvSpPr>
            <p:nvPr/>
          </p:nvSpPr>
          <p:spPr bwMode="gray">
            <a:xfrm>
              <a:off x="9087647" y="3931349"/>
              <a:ext cx="3805" cy="396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1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9" name="Freeform 53">
              <a:extLst>
                <a:ext uri="{FF2B5EF4-FFF2-40B4-BE49-F238E27FC236}">
                  <a16:creationId xmlns:a16="http://schemas.microsoft.com/office/drawing/2014/main" id="{4AFB3FA7-2070-4A07-A6CB-8C43C5D82338}"/>
                </a:ext>
              </a:extLst>
            </p:cNvPr>
            <p:cNvSpPr>
              <a:spLocks/>
            </p:cNvSpPr>
            <p:nvPr/>
          </p:nvSpPr>
          <p:spPr bwMode="gray">
            <a:xfrm>
              <a:off x="9083842" y="3790480"/>
              <a:ext cx="3805" cy="3967"/>
            </a:xfrm>
            <a:custGeom>
              <a:avLst/>
              <a:gdLst>
                <a:gd name="T0" fmla="*/ 1 w 1"/>
                <a:gd name="T1" fmla="*/ 1 h 3"/>
                <a:gd name="T2" fmla="*/ 0 w 1"/>
                <a:gd name="T3" fmla="*/ 3 h 3"/>
                <a:gd name="T4" fmla="*/ 0 w 1"/>
                <a:gd name="T5" fmla="*/ 1 h 3"/>
                <a:gd name="T6" fmla="*/ 0 w 1"/>
                <a:gd name="T7" fmla="*/ 0 h 3"/>
                <a:gd name="T8" fmla="*/ 1 w 1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1" y="1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50" name="Freeform 54">
              <a:extLst>
                <a:ext uri="{FF2B5EF4-FFF2-40B4-BE49-F238E27FC236}">
                  <a16:creationId xmlns:a16="http://schemas.microsoft.com/office/drawing/2014/main" id="{E18BD7D9-37CE-409C-93AC-6CB8FE558BFE}"/>
                </a:ext>
              </a:extLst>
            </p:cNvPr>
            <p:cNvSpPr>
              <a:spLocks/>
            </p:cNvSpPr>
            <p:nvPr/>
          </p:nvSpPr>
          <p:spPr bwMode="gray">
            <a:xfrm>
              <a:off x="9074328" y="3766671"/>
              <a:ext cx="3805" cy="5952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0 w 2"/>
                <a:gd name="T5" fmla="*/ 1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51" name="Freeform 55">
              <a:extLst>
                <a:ext uri="{FF2B5EF4-FFF2-40B4-BE49-F238E27FC236}">
                  <a16:creationId xmlns:a16="http://schemas.microsoft.com/office/drawing/2014/main" id="{E40C1004-C2B5-498B-AD23-B76818F804D6}"/>
                </a:ext>
              </a:extLst>
            </p:cNvPr>
            <p:cNvSpPr>
              <a:spLocks/>
            </p:cNvSpPr>
            <p:nvPr/>
          </p:nvSpPr>
          <p:spPr bwMode="gray">
            <a:xfrm>
              <a:off x="9091453" y="3855954"/>
              <a:ext cx="3805" cy="3967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52" name="Freeform 56">
              <a:extLst>
                <a:ext uri="{FF2B5EF4-FFF2-40B4-BE49-F238E27FC236}">
                  <a16:creationId xmlns:a16="http://schemas.microsoft.com/office/drawing/2014/main" id="{E63923AF-62FA-49CC-935F-6C221F8E720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39041" y="3488903"/>
              <a:ext cx="152218" cy="204358"/>
            </a:xfrm>
            <a:custGeom>
              <a:avLst/>
              <a:gdLst>
                <a:gd name="T0" fmla="*/ 26 w 71"/>
                <a:gd name="T1" fmla="*/ 75 h 91"/>
                <a:gd name="T2" fmla="*/ 25 w 71"/>
                <a:gd name="T3" fmla="*/ 77 h 91"/>
                <a:gd name="T4" fmla="*/ 21 w 71"/>
                <a:gd name="T5" fmla="*/ 73 h 91"/>
                <a:gd name="T6" fmla="*/ 21 w 71"/>
                <a:gd name="T7" fmla="*/ 74 h 91"/>
                <a:gd name="T8" fmla="*/ 18 w 71"/>
                <a:gd name="T9" fmla="*/ 62 h 91"/>
                <a:gd name="T10" fmla="*/ 13 w 71"/>
                <a:gd name="T11" fmla="*/ 49 h 91"/>
                <a:gd name="T12" fmla="*/ 12 w 71"/>
                <a:gd name="T13" fmla="*/ 41 h 91"/>
                <a:gd name="T14" fmla="*/ 2 w 71"/>
                <a:gd name="T15" fmla="*/ 31 h 91"/>
                <a:gd name="T16" fmla="*/ 5 w 71"/>
                <a:gd name="T17" fmla="*/ 25 h 91"/>
                <a:gd name="T18" fmla="*/ 11 w 71"/>
                <a:gd name="T19" fmla="*/ 21 h 91"/>
                <a:gd name="T20" fmla="*/ 0 w 71"/>
                <a:gd name="T21" fmla="*/ 12 h 91"/>
                <a:gd name="T22" fmla="*/ 0 w 71"/>
                <a:gd name="T23" fmla="*/ 0 h 91"/>
                <a:gd name="T24" fmla="*/ 9 w 71"/>
                <a:gd name="T25" fmla="*/ 3 h 91"/>
                <a:gd name="T26" fmla="*/ 14 w 71"/>
                <a:gd name="T27" fmla="*/ 8 h 91"/>
                <a:gd name="T28" fmla="*/ 18 w 71"/>
                <a:gd name="T29" fmla="*/ 6 h 91"/>
                <a:gd name="T30" fmla="*/ 24 w 71"/>
                <a:gd name="T31" fmla="*/ 19 h 91"/>
                <a:gd name="T32" fmla="*/ 38 w 71"/>
                <a:gd name="T33" fmla="*/ 20 h 91"/>
                <a:gd name="T34" fmla="*/ 53 w 71"/>
                <a:gd name="T35" fmla="*/ 21 h 91"/>
                <a:gd name="T36" fmla="*/ 60 w 71"/>
                <a:gd name="T37" fmla="*/ 27 h 91"/>
                <a:gd name="T38" fmla="*/ 57 w 71"/>
                <a:gd name="T39" fmla="*/ 33 h 91"/>
                <a:gd name="T40" fmla="*/ 48 w 71"/>
                <a:gd name="T41" fmla="*/ 41 h 91"/>
                <a:gd name="T42" fmla="*/ 50 w 71"/>
                <a:gd name="T43" fmla="*/ 54 h 91"/>
                <a:gd name="T44" fmla="*/ 54 w 71"/>
                <a:gd name="T45" fmla="*/ 57 h 91"/>
                <a:gd name="T46" fmla="*/ 60 w 71"/>
                <a:gd name="T47" fmla="*/ 45 h 91"/>
                <a:gd name="T48" fmla="*/ 65 w 71"/>
                <a:gd name="T49" fmla="*/ 60 h 91"/>
                <a:gd name="T50" fmla="*/ 71 w 71"/>
                <a:gd name="T51" fmla="*/ 73 h 91"/>
                <a:gd name="T52" fmla="*/ 71 w 71"/>
                <a:gd name="T53" fmla="*/ 83 h 91"/>
                <a:gd name="T54" fmla="*/ 67 w 71"/>
                <a:gd name="T55" fmla="*/ 86 h 91"/>
                <a:gd name="T56" fmla="*/ 68 w 71"/>
                <a:gd name="T57" fmla="*/ 91 h 91"/>
                <a:gd name="T58" fmla="*/ 61 w 71"/>
                <a:gd name="T59" fmla="*/ 75 h 91"/>
                <a:gd name="T60" fmla="*/ 53 w 71"/>
                <a:gd name="T61" fmla="*/ 61 h 91"/>
                <a:gd name="T62" fmla="*/ 44 w 71"/>
                <a:gd name="T63" fmla="*/ 59 h 91"/>
                <a:gd name="T64" fmla="*/ 38 w 71"/>
                <a:gd name="T65" fmla="*/ 49 h 91"/>
                <a:gd name="T66" fmla="*/ 25 w 71"/>
                <a:gd name="T67" fmla="*/ 42 h 91"/>
                <a:gd name="T68" fmla="*/ 20 w 71"/>
                <a:gd name="T69" fmla="*/ 42 h 91"/>
                <a:gd name="T70" fmla="*/ 36 w 71"/>
                <a:gd name="T71" fmla="*/ 51 h 91"/>
                <a:gd name="T72" fmla="*/ 39 w 71"/>
                <a:gd name="T73" fmla="*/ 60 h 91"/>
                <a:gd name="T74" fmla="*/ 41 w 71"/>
                <a:gd name="T75" fmla="*/ 65 h 91"/>
                <a:gd name="T76" fmla="*/ 37 w 71"/>
                <a:gd name="T77" fmla="*/ 77 h 91"/>
                <a:gd name="T78" fmla="*/ 35 w 71"/>
                <a:gd name="T79" fmla="*/ 72 h 91"/>
                <a:gd name="T80" fmla="*/ 32 w 71"/>
                <a:gd name="T81" fmla="*/ 73 h 91"/>
                <a:gd name="T82" fmla="*/ 29 w 71"/>
                <a:gd name="T83" fmla="*/ 75 h 91"/>
                <a:gd name="T84" fmla="*/ 26 w 71"/>
                <a:gd name="T85" fmla="*/ 7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1" h="91">
                  <a:moveTo>
                    <a:pt x="26" y="75"/>
                  </a:moveTo>
                  <a:lnTo>
                    <a:pt x="25" y="77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18" y="62"/>
                  </a:lnTo>
                  <a:lnTo>
                    <a:pt x="13" y="49"/>
                  </a:lnTo>
                  <a:lnTo>
                    <a:pt x="12" y="41"/>
                  </a:lnTo>
                  <a:lnTo>
                    <a:pt x="2" y="31"/>
                  </a:lnTo>
                  <a:lnTo>
                    <a:pt x="5" y="25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0" y="0"/>
                  </a:lnTo>
                  <a:lnTo>
                    <a:pt x="9" y="3"/>
                  </a:lnTo>
                  <a:lnTo>
                    <a:pt x="14" y="8"/>
                  </a:lnTo>
                  <a:lnTo>
                    <a:pt x="18" y="6"/>
                  </a:lnTo>
                  <a:lnTo>
                    <a:pt x="24" y="19"/>
                  </a:lnTo>
                  <a:lnTo>
                    <a:pt x="38" y="20"/>
                  </a:lnTo>
                  <a:lnTo>
                    <a:pt x="53" y="21"/>
                  </a:lnTo>
                  <a:lnTo>
                    <a:pt x="60" y="27"/>
                  </a:lnTo>
                  <a:lnTo>
                    <a:pt x="57" y="33"/>
                  </a:lnTo>
                  <a:lnTo>
                    <a:pt x="48" y="41"/>
                  </a:lnTo>
                  <a:lnTo>
                    <a:pt x="50" y="54"/>
                  </a:lnTo>
                  <a:lnTo>
                    <a:pt x="54" y="57"/>
                  </a:lnTo>
                  <a:lnTo>
                    <a:pt x="60" y="45"/>
                  </a:lnTo>
                  <a:lnTo>
                    <a:pt x="65" y="60"/>
                  </a:lnTo>
                  <a:lnTo>
                    <a:pt x="71" y="73"/>
                  </a:lnTo>
                  <a:lnTo>
                    <a:pt x="71" y="83"/>
                  </a:lnTo>
                  <a:lnTo>
                    <a:pt x="67" y="86"/>
                  </a:lnTo>
                  <a:lnTo>
                    <a:pt x="68" y="91"/>
                  </a:lnTo>
                  <a:lnTo>
                    <a:pt x="61" y="75"/>
                  </a:lnTo>
                  <a:lnTo>
                    <a:pt x="53" y="61"/>
                  </a:lnTo>
                  <a:lnTo>
                    <a:pt x="44" y="59"/>
                  </a:lnTo>
                  <a:lnTo>
                    <a:pt x="38" y="49"/>
                  </a:lnTo>
                  <a:lnTo>
                    <a:pt x="25" y="42"/>
                  </a:lnTo>
                  <a:lnTo>
                    <a:pt x="20" y="42"/>
                  </a:lnTo>
                  <a:lnTo>
                    <a:pt x="36" y="51"/>
                  </a:lnTo>
                  <a:lnTo>
                    <a:pt x="39" y="60"/>
                  </a:lnTo>
                  <a:lnTo>
                    <a:pt x="41" y="65"/>
                  </a:lnTo>
                  <a:lnTo>
                    <a:pt x="37" y="77"/>
                  </a:lnTo>
                  <a:lnTo>
                    <a:pt x="35" y="72"/>
                  </a:lnTo>
                  <a:lnTo>
                    <a:pt x="32" y="73"/>
                  </a:lnTo>
                  <a:lnTo>
                    <a:pt x="29" y="75"/>
                  </a:lnTo>
                  <a:lnTo>
                    <a:pt x="26" y="75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53" name="Freeform 57">
              <a:extLst>
                <a:ext uri="{FF2B5EF4-FFF2-40B4-BE49-F238E27FC236}">
                  <a16:creationId xmlns:a16="http://schemas.microsoft.com/office/drawing/2014/main" id="{8CF8541E-2240-4FB6-A1AE-F0D3B9839A2E}"/>
                </a:ext>
              </a:extLst>
            </p:cNvPr>
            <p:cNvSpPr>
              <a:spLocks/>
            </p:cNvSpPr>
            <p:nvPr/>
          </p:nvSpPr>
          <p:spPr bwMode="gray">
            <a:xfrm>
              <a:off x="7350457" y="3431366"/>
              <a:ext cx="98942" cy="53570"/>
            </a:xfrm>
            <a:custGeom>
              <a:avLst/>
              <a:gdLst>
                <a:gd name="T0" fmla="*/ 28 w 45"/>
                <a:gd name="T1" fmla="*/ 3 h 23"/>
                <a:gd name="T2" fmla="*/ 9 w 45"/>
                <a:gd name="T3" fmla="*/ 0 h 23"/>
                <a:gd name="T4" fmla="*/ 0 w 45"/>
                <a:gd name="T5" fmla="*/ 15 h 23"/>
                <a:gd name="T6" fmla="*/ 2 w 45"/>
                <a:gd name="T7" fmla="*/ 21 h 23"/>
                <a:gd name="T8" fmla="*/ 19 w 45"/>
                <a:gd name="T9" fmla="*/ 23 h 23"/>
                <a:gd name="T10" fmla="*/ 32 w 45"/>
                <a:gd name="T11" fmla="*/ 22 h 23"/>
                <a:gd name="T12" fmla="*/ 45 w 45"/>
                <a:gd name="T13" fmla="*/ 21 h 23"/>
                <a:gd name="T14" fmla="*/ 39 w 45"/>
                <a:gd name="T15" fmla="*/ 12 h 23"/>
                <a:gd name="T16" fmla="*/ 36 w 45"/>
                <a:gd name="T17" fmla="*/ 8 h 23"/>
                <a:gd name="T18" fmla="*/ 28 w 45"/>
                <a:gd name="T19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23">
                  <a:moveTo>
                    <a:pt x="28" y="3"/>
                  </a:moveTo>
                  <a:lnTo>
                    <a:pt x="9" y="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19" y="23"/>
                  </a:lnTo>
                  <a:lnTo>
                    <a:pt x="32" y="22"/>
                  </a:lnTo>
                  <a:lnTo>
                    <a:pt x="45" y="21"/>
                  </a:lnTo>
                  <a:lnTo>
                    <a:pt x="39" y="12"/>
                  </a:lnTo>
                  <a:lnTo>
                    <a:pt x="36" y="8"/>
                  </a:lnTo>
                  <a:lnTo>
                    <a:pt x="28" y="3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55" name="Freeform 59">
              <a:extLst>
                <a:ext uri="{FF2B5EF4-FFF2-40B4-BE49-F238E27FC236}">
                  <a16:creationId xmlns:a16="http://schemas.microsoft.com/office/drawing/2014/main" id="{A33A1C93-FBC2-426C-ACD8-B7CFA6FDFF6C}"/>
                </a:ext>
              </a:extLst>
            </p:cNvPr>
            <p:cNvSpPr>
              <a:spLocks/>
            </p:cNvSpPr>
            <p:nvPr/>
          </p:nvSpPr>
          <p:spPr bwMode="gray">
            <a:xfrm>
              <a:off x="9078133" y="3953172"/>
              <a:ext cx="9514" cy="7937"/>
            </a:xfrm>
            <a:custGeom>
              <a:avLst/>
              <a:gdLst>
                <a:gd name="T0" fmla="*/ 1 w 4"/>
                <a:gd name="T1" fmla="*/ 4 h 4"/>
                <a:gd name="T2" fmla="*/ 0 w 4"/>
                <a:gd name="T3" fmla="*/ 2 h 4"/>
                <a:gd name="T4" fmla="*/ 3 w 4"/>
                <a:gd name="T5" fmla="*/ 0 h 4"/>
                <a:gd name="T6" fmla="*/ 4 w 4"/>
                <a:gd name="T7" fmla="*/ 0 h 4"/>
                <a:gd name="T8" fmla="*/ 1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4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56" name="Freeform 60">
              <a:extLst>
                <a:ext uri="{FF2B5EF4-FFF2-40B4-BE49-F238E27FC236}">
                  <a16:creationId xmlns:a16="http://schemas.microsoft.com/office/drawing/2014/main" id="{871549E8-0C5C-4C82-A52E-2AE7625D1D25}"/>
                </a:ext>
              </a:extLst>
            </p:cNvPr>
            <p:cNvSpPr>
              <a:spLocks/>
            </p:cNvSpPr>
            <p:nvPr/>
          </p:nvSpPr>
          <p:spPr bwMode="gray">
            <a:xfrm>
              <a:off x="8113451" y="3643660"/>
              <a:ext cx="3805" cy="3967"/>
            </a:xfrm>
            <a:custGeom>
              <a:avLst/>
              <a:gdLst>
                <a:gd name="T0" fmla="*/ 2 w 2"/>
                <a:gd name="T1" fmla="*/ 0 h 1"/>
                <a:gd name="T2" fmla="*/ 2 w 2"/>
                <a:gd name="T3" fmla="*/ 1 h 1"/>
                <a:gd name="T4" fmla="*/ 0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2" y="1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57" name="Freeform 61">
              <a:extLst>
                <a:ext uri="{FF2B5EF4-FFF2-40B4-BE49-F238E27FC236}">
                  <a16:creationId xmlns:a16="http://schemas.microsoft.com/office/drawing/2014/main" id="{CADD4B61-9481-4203-A59C-9ABFA9BB2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7719586" y="3639692"/>
              <a:ext cx="249256" cy="299593"/>
            </a:xfrm>
            <a:custGeom>
              <a:avLst/>
              <a:gdLst>
                <a:gd name="T0" fmla="*/ 66 w 117"/>
                <a:gd name="T1" fmla="*/ 35 h 136"/>
                <a:gd name="T2" fmla="*/ 62 w 117"/>
                <a:gd name="T3" fmla="*/ 30 h 136"/>
                <a:gd name="T4" fmla="*/ 54 w 117"/>
                <a:gd name="T5" fmla="*/ 23 h 136"/>
                <a:gd name="T6" fmla="*/ 46 w 117"/>
                <a:gd name="T7" fmla="*/ 26 h 136"/>
                <a:gd name="T8" fmla="*/ 37 w 117"/>
                <a:gd name="T9" fmla="*/ 17 h 136"/>
                <a:gd name="T10" fmla="*/ 34 w 117"/>
                <a:gd name="T11" fmla="*/ 11 h 136"/>
                <a:gd name="T12" fmla="*/ 22 w 117"/>
                <a:gd name="T13" fmla="*/ 0 h 136"/>
                <a:gd name="T14" fmla="*/ 16 w 117"/>
                <a:gd name="T15" fmla="*/ 0 h 136"/>
                <a:gd name="T16" fmla="*/ 20 w 117"/>
                <a:gd name="T17" fmla="*/ 19 h 136"/>
                <a:gd name="T18" fmla="*/ 13 w 117"/>
                <a:gd name="T19" fmla="*/ 16 h 136"/>
                <a:gd name="T20" fmla="*/ 12 w 117"/>
                <a:gd name="T21" fmla="*/ 13 h 136"/>
                <a:gd name="T22" fmla="*/ 4 w 117"/>
                <a:gd name="T23" fmla="*/ 24 h 136"/>
                <a:gd name="T24" fmla="*/ 0 w 117"/>
                <a:gd name="T25" fmla="*/ 32 h 136"/>
                <a:gd name="T26" fmla="*/ 4 w 117"/>
                <a:gd name="T27" fmla="*/ 35 h 136"/>
                <a:gd name="T28" fmla="*/ 7 w 117"/>
                <a:gd name="T29" fmla="*/ 44 h 136"/>
                <a:gd name="T30" fmla="*/ 18 w 117"/>
                <a:gd name="T31" fmla="*/ 44 h 136"/>
                <a:gd name="T32" fmla="*/ 19 w 117"/>
                <a:gd name="T33" fmla="*/ 61 h 136"/>
                <a:gd name="T34" fmla="*/ 19 w 117"/>
                <a:gd name="T35" fmla="*/ 78 h 136"/>
                <a:gd name="T36" fmla="*/ 32 w 117"/>
                <a:gd name="T37" fmla="*/ 68 h 136"/>
                <a:gd name="T38" fmla="*/ 40 w 117"/>
                <a:gd name="T39" fmla="*/ 71 h 136"/>
                <a:gd name="T40" fmla="*/ 46 w 117"/>
                <a:gd name="T41" fmla="*/ 68 h 136"/>
                <a:gd name="T42" fmla="*/ 54 w 117"/>
                <a:gd name="T43" fmla="*/ 64 h 136"/>
                <a:gd name="T44" fmla="*/ 70 w 117"/>
                <a:gd name="T45" fmla="*/ 78 h 136"/>
                <a:gd name="T46" fmla="*/ 73 w 117"/>
                <a:gd name="T47" fmla="*/ 90 h 136"/>
                <a:gd name="T48" fmla="*/ 85 w 117"/>
                <a:gd name="T49" fmla="*/ 107 h 136"/>
                <a:gd name="T50" fmla="*/ 90 w 117"/>
                <a:gd name="T51" fmla="*/ 120 h 136"/>
                <a:gd name="T52" fmla="*/ 85 w 117"/>
                <a:gd name="T53" fmla="*/ 130 h 136"/>
                <a:gd name="T54" fmla="*/ 97 w 117"/>
                <a:gd name="T55" fmla="*/ 136 h 136"/>
                <a:gd name="T56" fmla="*/ 97 w 117"/>
                <a:gd name="T57" fmla="*/ 131 h 136"/>
                <a:gd name="T58" fmla="*/ 102 w 117"/>
                <a:gd name="T59" fmla="*/ 127 h 136"/>
                <a:gd name="T60" fmla="*/ 108 w 117"/>
                <a:gd name="T61" fmla="*/ 130 h 136"/>
                <a:gd name="T62" fmla="*/ 117 w 117"/>
                <a:gd name="T63" fmla="*/ 124 h 136"/>
                <a:gd name="T64" fmla="*/ 115 w 117"/>
                <a:gd name="T65" fmla="*/ 110 h 136"/>
                <a:gd name="T66" fmla="*/ 111 w 117"/>
                <a:gd name="T67" fmla="*/ 106 h 136"/>
                <a:gd name="T68" fmla="*/ 111 w 117"/>
                <a:gd name="T69" fmla="*/ 102 h 136"/>
                <a:gd name="T70" fmla="*/ 99 w 117"/>
                <a:gd name="T71" fmla="*/ 91 h 136"/>
                <a:gd name="T72" fmla="*/ 92 w 117"/>
                <a:gd name="T73" fmla="*/ 83 h 136"/>
                <a:gd name="T74" fmla="*/ 84 w 117"/>
                <a:gd name="T75" fmla="*/ 72 h 136"/>
                <a:gd name="T76" fmla="*/ 75 w 117"/>
                <a:gd name="T77" fmla="*/ 61 h 136"/>
                <a:gd name="T78" fmla="*/ 57 w 117"/>
                <a:gd name="T79" fmla="*/ 48 h 136"/>
                <a:gd name="T80" fmla="*/ 60 w 117"/>
                <a:gd name="T81" fmla="*/ 43 h 136"/>
                <a:gd name="T82" fmla="*/ 67 w 117"/>
                <a:gd name="T83" fmla="*/ 41 h 136"/>
                <a:gd name="T84" fmla="*/ 66 w 117"/>
                <a:gd name="T85" fmla="*/ 3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7" h="136">
                  <a:moveTo>
                    <a:pt x="66" y="35"/>
                  </a:moveTo>
                  <a:lnTo>
                    <a:pt x="62" y="30"/>
                  </a:lnTo>
                  <a:lnTo>
                    <a:pt x="54" y="23"/>
                  </a:lnTo>
                  <a:lnTo>
                    <a:pt x="46" y="26"/>
                  </a:lnTo>
                  <a:lnTo>
                    <a:pt x="37" y="17"/>
                  </a:lnTo>
                  <a:lnTo>
                    <a:pt x="34" y="11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20" y="19"/>
                  </a:lnTo>
                  <a:lnTo>
                    <a:pt x="13" y="16"/>
                  </a:lnTo>
                  <a:lnTo>
                    <a:pt x="12" y="13"/>
                  </a:lnTo>
                  <a:lnTo>
                    <a:pt x="4" y="24"/>
                  </a:lnTo>
                  <a:lnTo>
                    <a:pt x="0" y="32"/>
                  </a:lnTo>
                  <a:lnTo>
                    <a:pt x="4" y="35"/>
                  </a:lnTo>
                  <a:lnTo>
                    <a:pt x="7" y="44"/>
                  </a:lnTo>
                  <a:lnTo>
                    <a:pt x="18" y="44"/>
                  </a:lnTo>
                  <a:lnTo>
                    <a:pt x="19" y="61"/>
                  </a:lnTo>
                  <a:lnTo>
                    <a:pt x="19" y="78"/>
                  </a:lnTo>
                  <a:lnTo>
                    <a:pt x="32" y="68"/>
                  </a:lnTo>
                  <a:lnTo>
                    <a:pt x="40" y="71"/>
                  </a:lnTo>
                  <a:lnTo>
                    <a:pt x="46" y="68"/>
                  </a:lnTo>
                  <a:lnTo>
                    <a:pt x="54" y="64"/>
                  </a:lnTo>
                  <a:lnTo>
                    <a:pt x="70" y="78"/>
                  </a:lnTo>
                  <a:lnTo>
                    <a:pt x="73" y="90"/>
                  </a:lnTo>
                  <a:lnTo>
                    <a:pt x="85" y="107"/>
                  </a:lnTo>
                  <a:lnTo>
                    <a:pt x="90" y="120"/>
                  </a:lnTo>
                  <a:lnTo>
                    <a:pt x="85" y="130"/>
                  </a:lnTo>
                  <a:lnTo>
                    <a:pt x="97" y="136"/>
                  </a:lnTo>
                  <a:lnTo>
                    <a:pt x="97" y="131"/>
                  </a:lnTo>
                  <a:lnTo>
                    <a:pt x="102" y="127"/>
                  </a:lnTo>
                  <a:lnTo>
                    <a:pt x="108" y="130"/>
                  </a:lnTo>
                  <a:lnTo>
                    <a:pt x="117" y="124"/>
                  </a:lnTo>
                  <a:lnTo>
                    <a:pt x="115" y="110"/>
                  </a:lnTo>
                  <a:lnTo>
                    <a:pt x="111" y="106"/>
                  </a:lnTo>
                  <a:lnTo>
                    <a:pt x="111" y="102"/>
                  </a:lnTo>
                  <a:lnTo>
                    <a:pt x="99" y="91"/>
                  </a:lnTo>
                  <a:lnTo>
                    <a:pt x="92" y="83"/>
                  </a:lnTo>
                  <a:lnTo>
                    <a:pt x="84" y="72"/>
                  </a:lnTo>
                  <a:lnTo>
                    <a:pt x="75" y="61"/>
                  </a:lnTo>
                  <a:lnTo>
                    <a:pt x="57" y="48"/>
                  </a:lnTo>
                  <a:lnTo>
                    <a:pt x="60" y="43"/>
                  </a:lnTo>
                  <a:lnTo>
                    <a:pt x="67" y="41"/>
                  </a:lnTo>
                  <a:lnTo>
                    <a:pt x="66" y="35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76" name="Freeform 80">
              <a:extLst>
                <a:ext uri="{FF2B5EF4-FFF2-40B4-BE49-F238E27FC236}">
                  <a16:creationId xmlns:a16="http://schemas.microsoft.com/office/drawing/2014/main" id="{93104327-4CC9-4E71-9A42-F7F63BC96235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4074" y="3352003"/>
              <a:ext cx="249256" cy="140869"/>
            </a:xfrm>
            <a:custGeom>
              <a:avLst/>
              <a:gdLst>
                <a:gd name="T0" fmla="*/ 66 w 116"/>
                <a:gd name="T1" fmla="*/ 51 h 64"/>
                <a:gd name="T2" fmla="*/ 48 w 116"/>
                <a:gd name="T3" fmla="*/ 48 h 64"/>
                <a:gd name="T4" fmla="*/ 35 w 116"/>
                <a:gd name="T5" fmla="*/ 45 h 64"/>
                <a:gd name="T6" fmla="*/ 18 w 116"/>
                <a:gd name="T7" fmla="*/ 36 h 64"/>
                <a:gd name="T8" fmla="*/ 0 w 116"/>
                <a:gd name="T9" fmla="*/ 27 h 64"/>
                <a:gd name="T10" fmla="*/ 0 w 116"/>
                <a:gd name="T11" fmla="*/ 17 h 64"/>
                <a:gd name="T12" fmla="*/ 7 w 116"/>
                <a:gd name="T13" fmla="*/ 4 h 64"/>
                <a:gd name="T14" fmla="*/ 8 w 116"/>
                <a:gd name="T15" fmla="*/ 5 h 64"/>
                <a:gd name="T16" fmla="*/ 14 w 116"/>
                <a:gd name="T17" fmla="*/ 0 h 64"/>
                <a:gd name="T18" fmla="*/ 26 w 116"/>
                <a:gd name="T19" fmla="*/ 6 h 64"/>
                <a:gd name="T20" fmla="*/ 44 w 116"/>
                <a:gd name="T21" fmla="*/ 21 h 64"/>
                <a:gd name="T22" fmla="*/ 49 w 116"/>
                <a:gd name="T23" fmla="*/ 18 h 64"/>
                <a:gd name="T24" fmla="*/ 54 w 116"/>
                <a:gd name="T25" fmla="*/ 23 h 64"/>
                <a:gd name="T26" fmla="*/ 67 w 116"/>
                <a:gd name="T27" fmla="*/ 29 h 64"/>
                <a:gd name="T28" fmla="*/ 68 w 116"/>
                <a:gd name="T29" fmla="*/ 33 h 64"/>
                <a:gd name="T30" fmla="*/ 83 w 116"/>
                <a:gd name="T31" fmla="*/ 39 h 64"/>
                <a:gd name="T32" fmla="*/ 95 w 116"/>
                <a:gd name="T33" fmla="*/ 40 h 64"/>
                <a:gd name="T34" fmla="*/ 113 w 116"/>
                <a:gd name="T35" fmla="*/ 41 h 64"/>
                <a:gd name="T36" fmla="*/ 116 w 116"/>
                <a:gd name="T37" fmla="*/ 64 h 64"/>
                <a:gd name="T38" fmla="*/ 101 w 116"/>
                <a:gd name="T39" fmla="*/ 63 h 64"/>
                <a:gd name="T40" fmla="*/ 83 w 116"/>
                <a:gd name="T41" fmla="*/ 62 h 64"/>
                <a:gd name="T42" fmla="*/ 73 w 116"/>
                <a:gd name="T43" fmla="*/ 58 h 64"/>
                <a:gd name="T44" fmla="*/ 66 w 116"/>
                <a:gd name="T45" fmla="*/ 5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" h="64">
                  <a:moveTo>
                    <a:pt x="66" y="51"/>
                  </a:moveTo>
                  <a:lnTo>
                    <a:pt x="48" y="48"/>
                  </a:lnTo>
                  <a:lnTo>
                    <a:pt x="35" y="45"/>
                  </a:lnTo>
                  <a:lnTo>
                    <a:pt x="18" y="36"/>
                  </a:lnTo>
                  <a:lnTo>
                    <a:pt x="0" y="27"/>
                  </a:lnTo>
                  <a:lnTo>
                    <a:pt x="0" y="17"/>
                  </a:lnTo>
                  <a:lnTo>
                    <a:pt x="7" y="4"/>
                  </a:lnTo>
                  <a:lnTo>
                    <a:pt x="8" y="5"/>
                  </a:lnTo>
                  <a:lnTo>
                    <a:pt x="14" y="0"/>
                  </a:lnTo>
                  <a:lnTo>
                    <a:pt x="26" y="6"/>
                  </a:lnTo>
                  <a:lnTo>
                    <a:pt x="44" y="21"/>
                  </a:lnTo>
                  <a:lnTo>
                    <a:pt x="49" y="18"/>
                  </a:lnTo>
                  <a:lnTo>
                    <a:pt x="54" y="23"/>
                  </a:lnTo>
                  <a:lnTo>
                    <a:pt x="67" y="29"/>
                  </a:lnTo>
                  <a:lnTo>
                    <a:pt x="68" y="33"/>
                  </a:lnTo>
                  <a:lnTo>
                    <a:pt x="83" y="39"/>
                  </a:lnTo>
                  <a:lnTo>
                    <a:pt x="95" y="40"/>
                  </a:lnTo>
                  <a:lnTo>
                    <a:pt x="113" y="41"/>
                  </a:lnTo>
                  <a:lnTo>
                    <a:pt x="116" y="64"/>
                  </a:lnTo>
                  <a:lnTo>
                    <a:pt x="101" y="63"/>
                  </a:lnTo>
                  <a:lnTo>
                    <a:pt x="83" y="62"/>
                  </a:lnTo>
                  <a:lnTo>
                    <a:pt x="73" y="58"/>
                  </a:lnTo>
                  <a:lnTo>
                    <a:pt x="66" y="5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62" name="Freeform 296">
              <a:extLst>
                <a:ext uri="{FF2B5EF4-FFF2-40B4-BE49-F238E27FC236}">
                  <a16:creationId xmlns:a16="http://schemas.microsoft.com/office/drawing/2014/main" id="{AF3D8878-1F9A-4B1D-8E76-6DE0B614C2F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13888" y="2548461"/>
              <a:ext cx="1527890" cy="1166624"/>
            </a:xfrm>
            <a:custGeom>
              <a:avLst/>
              <a:gdLst>
                <a:gd name="T0" fmla="*/ 283 w 724"/>
                <a:gd name="T1" fmla="*/ 402 h 527"/>
                <a:gd name="T2" fmla="*/ 225 w 724"/>
                <a:gd name="T3" fmla="*/ 403 h 527"/>
                <a:gd name="T4" fmla="*/ 179 w 724"/>
                <a:gd name="T5" fmla="*/ 381 h 527"/>
                <a:gd name="T6" fmla="*/ 137 w 724"/>
                <a:gd name="T7" fmla="*/ 367 h 527"/>
                <a:gd name="T8" fmla="*/ 103 w 724"/>
                <a:gd name="T9" fmla="*/ 330 h 527"/>
                <a:gd name="T10" fmla="*/ 93 w 724"/>
                <a:gd name="T11" fmla="*/ 300 h 527"/>
                <a:gd name="T12" fmla="*/ 77 w 724"/>
                <a:gd name="T13" fmla="*/ 284 h 527"/>
                <a:gd name="T14" fmla="*/ 23 w 724"/>
                <a:gd name="T15" fmla="*/ 258 h 527"/>
                <a:gd name="T16" fmla="*/ 7 w 724"/>
                <a:gd name="T17" fmla="*/ 234 h 527"/>
                <a:gd name="T18" fmla="*/ 29 w 724"/>
                <a:gd name="T19" fmla="*/ 204 h 527"/>
                <a:gd name="T20" fmla="*/ 67 w 724"/>
                <a:gd name="T21" fmla="*/ 167 h 527"/>
                <a:gd name="T22" fmla="*/ 51 w 724"/>
                <a:gd name="T23" fmla="*/ 133 h 527"/>
                <a:gd name="T24" fmla="*/ 76 w 724"/>
                <a:gd name="T25" fmla="*/ 96 h 527"/>
                <a:gd name="T26" fmla="*/ 113 w 724"/>
                <a:gd name="T27" fmla="*/ 66 h 527"/>
                <a:gd name="T28" fmla="*/ 157 w 724"/>
                <a:gd name="T29" fmla="*/ 86 h 527"/>
                <a:gd name="T30" fmla="*/ 216 w 724"/>
                <a:gd name="T31" fmla="*/ 131 h 527"/>
                <a:gd name="T32" fmla="*/ 294 w 724"/>
                <a:gd name="T33" fmla="*/ 168 h 527"/>
                <a:gd name="T34" fmla="*/ 369 w 724"/>
                <a:gd name="T35" fmla="*/ 177 h 527"/>
                <a:gd name="T36" fmla="*/ 430 w 724"/>
                <a:gd name="T37" fmla="*/ 173 h 527"/>
                <a:gd name="T38" fmla="*/ 459 w 724"/>
                <a:gd name="T39" fmla="*/ 128 h 527"/>
                <a:gd name="T40" fmla="*/ 519 w 724"/>
                <a:gd name="T41" fmla="*/ 105 h 527"/>
                <a:gd name="T42" fmla="*/ 498 w 724"/>
                <a:gd name="T43" fmla="*/ 86 h 527"/>
                <a:gd name="T44" fmla="*/ 474 w 724"/>
                <a:gd name="T45" fmla="*/ 55 h 527"/>
                <a:gd name="T46" fmla="*/ 487 w 724"/>
                <a:gd name="T47" fmla="*/ 12 h 527"/>
                <a:gd name="T48" fmla="*/ 555 w 724"/>
                <a:gd name="T49" fmla="*/ 9 h 527"/>
                <a:gd name="T50" fmla="*/ 621 w 724"/>
                <a:gd name="T51" fmla="*/ 59 h 527"/>
                <a:gd name="T52" fmla="*/ 711 w 724"/>
                <a:gd name="T53" fmla="*/ 79 h 527"/>
                <a:gd name="T54" fmla="*/ 705 w 724"/>
                <a:gd name="T55" fmla="*/ 135 h 527"/>
                <a:gd name="T56" fmla="*/ 706 w 724"/>
                <a:gd name="T57" fmla="*/ 163 h 527"/>
                <a:gd name="T58" fmla="*/ 682 w 724"/>
                <a:gd name="T59" fmla="*/ 183 h 527"/>
                <a:gd name="T60" fmla="*/ 646 w 724"/>
                <a:gd name="T61" fmla="*/ 218 h 527"/>
                <a:gd name="T62" fmla="*/ 627 w 724"/>
                <a:gd name="T63" fmla="*/ 200 h 527"/>
                <a:gd name="T64" fmla="*/ 588 w 724"/>
                <a:gd name="T65" fmla="*/ 225 h 527"/>
                <a:gd name="T66" fmla="*/ 622 w 724"/>
                <a:gd name="T67" fmla="*/ 253 h 527"/>
                <a:gd name="T68" fmla="*/ 651 w 724"/>
                <a:gd name="T69" fmla="*/ 260 h 527"/>
                <a:gd name="T70" fmla="*/ 651 w 724"/>
                <a:gd name="T71" fmla="*/ 306 h 527"/>
                <a:gd name="T72" fmla="*/ 664 w 724"/>
                <a:gd name="T73" fmla="*/ 338 h 527"/>
                <a:gd name="T74" fmla="*/ 681 w 724"/>
                <a:gd name="T75" fmla="*/ 368 h 527"/>
                <a:gd name="T76" fmla="*/ 697 w 724"/>
                <a:gd name="T77" fmla="*/ 381 h 527"/>
                <a:gd name="T78" fmla="*/ 697 w 724"/>
                <a:gd name="T79" fmla="*/ 397 h 527"/>
                <a:gd name="T80" fmla="*/ 683 w 724"/>
                <a:gd name="T81" fmla="*/ 426 h 527"/>
                <a:gd name="T82" fmla="*/ 683 w 724"/>
                <a:gd name="T83" fmla="*/ 437 h 527"/>
                <a:gd name="T84" fmla="*/ 675 w 724"/>
                <a:gd name="T85" fmla="*/ 452 h 527"/>
                <a:gd name="T86" fmla="*/ 661 w 724"/>
                <a:gd name="T87" fmla="*/ 469 h 527"/>
                <a:gd name="T88" fmla="*/ 637 w 724"/>
                <a:gd name="T89" fmla="*/ 486 h 527"/>
                <a:gd name="T90" fmla="*/ 621 w 724"/>
                <a:gd name="T91" fmla="*/ 492 h 527"/>
                <a:gd name="T92" fmla="*/ 606 w 724"/>
                <a:gd name="T93" fmla="*/ 493 h 527"/>
                <a:gd name="T94" fmla="*/ 593 w 724"/>
                <a:gd name="T95" fmla="*/ 503 h 527"/>
                <a:gd name="T96" fmla="*/ 569 w 724"/>
                <a:gd name="T97" fmla="*/ 518 h 527"/>
                <a:gd name="T98" fmla="*/ 552 w 724"/>
                <a:gd name="T99" fmla="*/ 506 h 527"/>
                <a:gd name="T100" fmla="*/ 521 w 724"/>
                <a:gd name="T101" fmla="*/ 500 h 527"/>
                <a:gd name="T102" fmla="*/ 481 w 724"/>
                <a:gd name="T103" fmla="*/ 488 h 527"/>
                <a:gd name="T104" fmla="*/ 462 w 724"/>
                <a:gd name="T105" fmla="*/ 492 h 527"/>
                <a:gd name="T106" fmla="*/ 442 w 724"/>
                <a:gd name="T107" fmla="*/ 509 h 527"/>
                <a:gd name="T108" fmla="*/ 412 w 724"/>
                <a:gd name="T109" fmla="*/ 495 h 527"/>
                <a:gd name="T110" fmla="*/ 385 w 724"/>
                <a:gd name="T111" fmla="*/ 467 h 527"/>
                <a:gd name="T112" fmla="*/ 389 w 724"/>
                <a:gd name="T113" fmla="*/ 422 h 527"/>
                <a:gd name="T114" fmla="*/ 352 w 724"/>
                <a:gd name="T115" fmla="*/ 393 h 527"/>
                <a:gd name="T116" fmla="*/ 335 w 724"/>
                <a:gd name="T117" fmla="*/ 385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24" h="527">
                  <a:moveTo>
                    <a:pt x="323" y="384"/>
                  </a:moveTo>
                  <a:lnTo>
                    <a:pt x="313" y="392"/>
                  </a:lnTo>
                  <a:lnTo>
                    <a:pt x="304" y="402"/>
                  </a:lnTo>
                  <a:lnTo>
                    <a:pt x="291" y="407"/>
                  </a:lnTo>
                  <a:lnTo>
                    <a:pt x="283" y="402"/>
                  </a:lnTo>
                  <a:lnTo>
                    <a:pt x="264" y="399"/>
                  </a:lnTo>
                  <a:lnTo>
                    <a:pt x="255" y="414"/>
                  </a:lnTo>
                  <a:lnTo>
                    <a:pt x="247" y="401"/>
                  </a:lnTo>
                  <a:lnTo>
                    <a:pt x="243" y="404"/>
                  </a:lnTo>
                  <a:lnTo>
                    <a:pt x="225" y="403"/>
                  </a:lnTo>
                  <a:lnTo>
                    <a:pt x="213" y="402"/>
                  </a:lnTo>
                  <a:lnTo>
                    <a:pt x="198" y="396"/>
                  </a:lnTo>
                  <a:lnTo>
                    <a:pt x="197" y="392"/>
                  </a:lnTo>
                  <a:lnTo>
                    <a:pt x="184" y="386"/>
                  </a:lnTo>
                  <a:lnTo>
                    <a:pt x="179" y="381"/>
                  </a:lnTo>
                  <a:lnTo>
                    <a:pt x="174" y="384"/>
                  </a:lnTo>
                  <a:lnTo>
                    <a:pt x="156" y="369"/>
                  </a:lnTo>
                  <a:lnTo>
                    <a:pt x="144" y="363"/>
                  </a:lnTo>
                  <a:lnTo>
                    <a:pt x="138" y="368"/>
                  </a:lnTo>
                  <a:lnTo>
                    <a:pt x="137" y="367"/>
                  </a:lnTo>
                  <a:lnTo>
                    <a:pt x="124" y="359"/>
                  </a:lnTo>
                  <a:lnTo>
                    <a:pt x="107" y="349"/>
                  </a:lnTo>
                  <a:lnTo>
                    <a:pt x="101" y="347"/>
                  </a:lnTo>
                  <a:lnTo>
                    <a:pt x="95" y="329"/>
                  </a:lnTo>
                  <a:lnTo>
                    <a:pt x="103" y="330"/>
                  </a:lnTo>
                  <a:lnTo>
                    <a:pt x="106" y="324"/>
                  </a:lnTo>
                  <a:lnTo>
                    <a:pt x="96" y="312"/>
                  </a:lnTo>
                  <a:lnTo>
                    <a:pt x="96" y="306"/>
                  </a:lnTo>
                  <a:lnTo>
                    <a:pt x="95" y="302"/>
                  </a:lnTo>
                  <a:lnTo>
                    <a:pt x="93" y="300"/>
                  </a:lnTo>
                  <a:lnTo>
                    <a:pt x="90" y="296"/>
                  </a:lnTo>
                  <a:lnTo>
                    <a:pt x="90" y="291"/>
                  </a:lnTo>
                  <a:lnTo>
                    <a:pt x="88" y="288"/>
                  </a:lnTo>
                  <a:lnTo>
                    <a:pt x="83" y="287"/>
                  </a:lnTo>
                  <a:lnTo>
                    <a:pt x="77" y="284"/>
                  </a:lnTo>
                  <a:lnTo>
                    <a:pt x="73" y="282"/>
                  </a:lnTo>
                  <a:lnTo>
                    <a:pt x="54" y="277"/>
                  </a:lnTo>
                  <a:lnTo>
                    <a:pt x="45" y="272"/>
                  </a:lnTo>
                  <a:lnTo>
                    <a:pt x="39" y="261"/>
                  </a:lnTo>
                  <a:lnTo>
                    <a:pt x="23" y="258"/>
                  </a:lnTo>
                  <a:lnTo>
                    <a:pt x="22" y="254"/>
                  </a:lnTo>
                  <a:lnTo>
                    <a:pt x="27" y="254"/>
                  </a:lnTo>
                  <a:lnTo>
                    <a:pt x="28" y="253"/>
                  </a:lnTo>
                  <a:lnTo>
                    <a:pt x="19" y="235"/>
                  </a:lnTo>
                  <a:lnTo>
                    <a:pt x="7" y="234"/>
                  </a:lnTo>
                  <a:lnTo>
                    <a:pt x="0" y="221"/>
                  </a:lnTo>
                  <a:lnTo>
                    <a:pt x="5" y="209"/>
                  </a:lnTo>
                  <a:lnTo>
                    <a:pt x="15" y="203"/>
                  </a:lnTo>
                  <a:lnTo>
                    <a:pt x="21" y="203"/>
                  </a:lnTo>
                  <a:lnTo>
                    <a:pt x="29" y="204"/>
                  </a:lnTo>
                  <a:lnTo>
                    <a:pt x="37" y="194"/>
                  </a:lnTo>
                  <a:lnTo>
                    <a:pt x="51" y="191"/>
                  </a:lnTo>
                  <a:lnTo>
                    <a:pt x="61" y="182"/>
                  </a:lnTo>
                  <a:lnTo>
                    <a:pt x="71" y="174"/>
                  </a:lnTo>
                  <a:lnTo>
                    <a:pt x="67" y="167"/>
                  </a:lnTo>
                  <a:lnTo>
                    <a:pt x="71" y="163"/>
                  </a:lnTo>
                  <a:lnTo>
                    <a:pt x="71" y="161"/>
                  </a:lnTo>
                  <a:lnTo>
                    <a:pt x="65" y="149"/>
                  </a:lnTo>
                  <a:lnTo>
                    <a:pt x="59" y="137"/>
                  </a:lnTo>
                  <a:lnTo>
                    <a:pt x="51" y="133"/>
                  </a:lnTo>
                  <a:lnTo>
                    <a:pt x="66" y="127"/>
                  </a:lnTo>
                  <a:lnTo>
                    <a:pt x="83" y="128"/>
                  </a:lnTo>
                  <a:lnTo>
                    <a:pt x="78" y="122"/>
                  </a:lnTo>
                  <a:lnTo>
                    <a:pt x="77" y="109"/>
                  </a:lnTo>
                  <a:lnTo>
                    <a:pt x="76" y="96"/>
                  </a:lnTo>
                  <a:lnTo>
                    <a:pt x="96" y="99"/>
                  </a:lnTo>
                  <a:lnTo>
                    <a:pt x="107" y="98"/>
                  </a:lnTo>
                  <a:lnTo>
                    <a:pt x="101" y="81"/>
                  </a:lnTo>
                  <a:lnTo>
                    <a:pt x="107" y="77"/>
                  </a:lnTo>
                  <a:lnTo>
                    <a:pt x="113" y="66"/>
                  </a:lnTo>
                  <a:lnTo>
                    <a:pt x="123" y="65"/>
                  </a:lnTo>
                  <a:lnTo>
                    <a:pt x="124" y="67"/>
                  </a:lnTo>
                  <a:lnTo>
                    <a:pt x="129" y="73"/>
                  </a:lnTo>
                  <a:lnTo>
                    <a:pt x="148" y="84"/>
                  </a:lnTo>
                  <a:lnTo>
                    <a:pt x="157" y="86"/>
                  </a:lnTo>
                  <a:lnTo>
                    <a:pt x="177" y="99"/>
                  </a:lnTo>
                  <a:lnTo>
                    <a:pt x="180" y="113"/>
                  </a:lnTo>
                  <a:lnTo>
                    <a:pt x="185" y="126"/>
                  </a:lnTo>
                  <a:lnTo>
                    <a:pt x="201" y="128"/>
                  </a:lnTo>
                  <a:lnTo>
                    <a:pt x="216" y="131"/>
                  </a:lnTo>
                  <a:lnTo>
                    <a:pt x="234" y="137"/>
                  </a:lnTo>
                  <a:lnTo>
                    <a:pt x="252" y="141"/>
                  </a:lnTo>
                  <a:lnTo>
                    <a:pt x="264" y="155"/>
                  </a:lnTo>
                  <a:lnTo>
                    <a:pt x="276" y="167"/>
                  </a:lnTo>
                  <a:lnTo>
                    <a:pt x="294" y="168"/>
                  </a:lnTo>
                  <a:lnTo>
                    <a:pt x="312" y="169"/>
                  </a:lnTo>
                  <a:lnTo>
                    <a:pt x="330" y="169"/>
                  </a:lnTo>
                  <a:lnTo>
                    <a:pt x="348" y="170"/>
                  </a:lnTo>
                  <a:lnTo>
                    <a:pt x="353" y="175"/>
                  </a:lnTo>
                  <a:lnTo>
                    <a:pt x="369" y="177"/>
                  </a:lnTo>
                  <a:lnTo>
                    <a:pt x="385" y="181"/>
                  </a:lnTo>
                  <a:lnTo>
                    <a:pt x="395" y="186"/>
                  </a:lnTo>
                  <a:lnTo>
                    <a:pt x="405" y="180"/>
                  </a:lnTo>
                  <a:lnTo>
                    <a:pt x="414" y="174"/>
                  </a:lnTo>
                  <a:lnTo>
                    <a:pt x="430" y="173"/>
                  </a:lnTo>
                  <a:lnTo>
                    <a:pt x="445" y="171"/>
                  </a:lnTo>
                  <a:lnTo>
                    <a:pt x="457" y="162"/>
                  </a:lnTo>
                  <a:lnTo>
                    <a:pt x="468" y="151"/>
                  </a:lnTo>
                  <a:lnTo>
                    <a:pt x="460" y="144"/>
                  </a:lnTo>
                  <a:lnTo>
                    <a:pt x="459" y="128"/>
                  </a:lnTo>
                  <a:lnTo>
                    <a:pt x="477" y="134"/>
                  </a:lnTo>
                  <a:lnTo>
                    <a:pt x="489" y="127"/>
                  </a:lnTo>
                  <a:lnTo>
                    <a:pt x="502" y="123"/>
                  </a:lnTo>
                  <a:lnTo>
                    <a:pt x="504" y="113"/>
                  </a:lnTo>
                  <a:lnTo>
                    <a:pt x="519" y="105"/>
                  </a:lnTo>
                  <a:lnTo>
                    <a:pt x="541" y="105"/>
                  </a:lnTo>
                  <a:lnTo>
                    <a:pt x="538" y="97"/>
                  </a:lnTo>
                  <a:lnTo>
                    <a:pt x="509" y="83"/>
                  </a:lnTo>
                  <a:lnTo>
                    <a:pt x="503" y="89"/>
                  </a:lnTo>
                  <a:lnTo>
                    <a:pt x="498" y="86"/>
                  </a:lnTo>
                  <a:lnTo>
                    <a:pt x="485" y="86"/>
                  </a:lnTo>
                  <a:lnTo>
                    <a:pt x="474" y="80"/>
                  </a:lnTo>
                  <a:lnTo>
                    <a:pt x="478" y="79"/>
                  </a:lnTo>
                  <a:lnTo>
                    <a:pt x="475" y="67"/>
                  </a:lnTo>
                  <a:lnTo>
                    <a:pt x="474" y="55"/>
                  </a:lnTo>
                  <a:lnTo>
                    <a:pt x="492" y="59"/>
                  </a:lnTo>
                  <a:lnTo>
                    <a:pt x="502" y="48"/>
                  </a:lnTo>
                  <a:lnTo>
                    <a:pt x="497" y="37"/>
                  </a:lnTo>
                  <a:lnTo>
                    <a:pt x="497" y="18"/>
                  </a:lnTo>
                  <a:lnTo>
                    <a:pt x="487" y="12"/>
                  </a:lnTo>
                  <a:lnTo>
                    <a:pt x="481" y="9"/>
                  </a:lnTo>
                  <a:lnTo>
                    <a:pt x="491" y="1"/>
                  </a:lnTo>
                  <a:lnTo>
                    <a:pt x="507" y="0"/>
                  </a:lnTo>
                  <a:lnTo>
                    <a:pt x="522" y="0"/>
                  </a:lnTo>
                  <a:lnTo>
                    <a:pt x="555" y="9"/>
                  </a:lnTo>
                  <a:lnTo>
                    <a:pt x="568" y="20"/>
                  </a:lnTo>
                  <a:lnTo>
                    <a:pt x="581" y="31"/>
                  </a:lnTo>
                  <a:lnTo>
                    <a:pt x="593" y="42"/>
                  </a:lnTo>
                  <a:lnTo>
                    <a:pt x="606" y="53"/>
                  </a:lnTo>
                  <a:lnTo>
                    <a:pt x="621" y="59"/>
                  </a:lnTo>
                  <a:lnTo>
                    <a:pt x="643" y="65"/>
                  </a:lnTo>
                  <a:lnTo>
                    <a:pt x="657" y="71"/>
                  </a:lnTo>
                  <a:lnTo>
                    <a:pt x="672" y="87"/>
                  </a:lnTo>
                  <a:lnTo>
                    <a:pt x="691" y="85"/>
                  </a:lnTo>
                  <a:lnTo>
                    <a:pt x="711" y="79"/>
                  </a:lnTo>
                  <a:lnTo>
                    <a:pt x="719" y="92"/>
                  </a:lnTo>
                  <a:lnTo>
                    <a:pt x="721" y="111"/>
                  </a:lnTo>
                  <a:lnTo>
                    <a:pt x="724" y="129"/>
                  </a:lnTo>
                  <a:lnTo>
                    <a:pt x="707" y="127"/>
                  </a:lnTo>
                  <a:lnTo>
                    <a:pt x="705" y="135"/>
                  </a:lnTo>
                  <a:lnTo>
                    <a:pt x="713" y="150"/>
                  </a:lnTo>
                  <a:lnTo>
                    <a:pt x="723" y="163"/>
                  </a:lnTo>
                  <a:lnTo>
                    <a:pt x="717" y="167"/>
                  </a:lnTo>
                  <a:lnTo>
                    <a:pt x="720" y="171"/>
                  </a:lnTo>
                  <a:lnTo>
                    <a:pt x="706" y="163"/>
                  </a:lnTo>
                  <a:lnTo>
                    <a:pt x="705" y="171"/>
                  </a:lnTo>
                  <a:lnTo>
                    <a:pt x="696" y="179"/>
                  </a:lnTo>
                  <a:lnTo>
                    <a:pt x="693" y="180"/>
                  </a:lnTo>
                  <a:lnTo>
                    <a:pt x="697" y="188"/>
                  </a:lnTo>
                  <a:lnTo>
                    <a:pt x="682" y="183"/>
                  </a:lnTo>
                  <a:lnTo>
                    <a:pt x="676" y="186"/>
                  </a:lnTo>
                  <a:lnTo>
                    <a:pt x="669" y="200"/>
                  </a:lnTo>
                  <a:lnTo>
                    <a:pt x="660" y="209"/>
                  </a:lnTo>
                  <a:lnTo>
                    <a:pt x="654" y="212"/>
                  </a:lnTo>
                  <a:lnTo>
                    <a:pt x="646" y="218"/>
                  </a:lnTo>
                  <a:lnTo>
                    <a:pt x="637" y="224"/>
                  </a:lnTo>
                  <a:lnTo>
                    <a:pt x="627" y="228"/>
                  </a:lnTo>
                  <a:lnTo>
                    <a:pt x="633" y="219"/>
                  </a:lnTo>
                  <a:lnTo>
                    <a:pt x="624" y="216"/>
                  </a:lnTo>
                  <a:lnTo>
                    <a:pt x="627" y="200"/>
                  </a:lnTo>
                  <a:lnTo>
                    <a:pt x="619" y="197"/>
                  </a:lnTo>
                  <a:lnTo>
                    <a:pt x="611" y="198"/>
                  </a:lnTo>
                  <a:lnTo>
                    <a:pt x="605" y="209"/>
                  </a:lnTo>
                  <a:lnTo>
                    <a:pt x="598" y="218"/>
                  </a:lnTo>
                  <a:lnTo>
                    <a:pt x="588" y="225"/>
                  </a:lnTo>
                  <a:lnTo>
                    <a:pt x="581" y="225"/>
                  </a:lnTo>
                  <a:lnTo>
                    <a:pt x="586" y="236"/>
                  </a:lnTo>
                  <a:lnTo>
                    <a:pt x="605" y="241"/>
                  </a:lnTo>
                  <a:lnTo>
                    <a:pt x="611" y="254"/>
                  </a:lnTo>
                  <a:lnTo>
                    <a:pt x="622" y="253"/>
                  </a:lnTo>
                  <a:lnTo>
                    <a:pt x="633" y="245"/>
                  </a:lnTo>
                  <a:lnTo>
                    <a:pt x="649" y="252"/>
                  </a:lnTo>
                  <a:lnTo>
                    <a:pt x="658" y="253"/>
                  </a:lnTo>
                  <a:lnTo>
                    <a:pt x="658" y="261"/>
                  </a:lnTo>
                  <a:lnTo>
                    <a:pt x="651" y="260"/>
                  </a:lnTo>
                  <a:lnTo>
                    <a:pt x="641" y="265"/>
                  </a:lnTo>
                  <a:lnTo>
                    <a:pt x="636" y="272"/>
                  </a:lnTo>
                  <a:lnTo>
                    <a:pt x="634" y="278"/>
                  </a:lnTo>
                  <a:lnTo>
                    <a:pt x="631" y="294"/>
                  </a:lnTo>
                  <a:lnTo>
                    <a:pt x="651" y="306"/>
                  </a:lnTo>
                  <a:lnTo>
                    <a:pt x="660" y="318"/>
                  </a:lnTo>
                  <a:lnTo>
                    <a:pt x="670" y="330"/>
                  </a:lnTo>
                  <a:lnTo>
                    <a:pt x="684" y="343"/>
                  </a:lnTo>
                  <a:lnTo>
                    <a:pt x="663" y="337"/>
                  </a:lnTo>
                  <a:lnTo>
                    <a:pt x="664" y="338"/>
                  </a:lnTo>
                  <a:lnTo>
                    <a:pt x="677" y="347"/>
                  </a:lnTo>
                  <a:lnTo>
                    <a:pt x="689" y="355"/>
                  </a:lnTo>
                  <a:lnTo>
                    <a:pt x="677" y="365"/>
                  </a:lnTo>
                  <a:lnTo>
                    <a:pt x="672" y="367"/>
                  </a:lnTo>
                  <a:lnTo>
                    <a:pt x="681" y="368"/>
                  </a:lnTo>
                  <a:lnTo>
                    <a:pt x="689" y="367"/>
                  </a:lnTo>
                  <a:lnTo>
                    <a:pt x="699" y="373"/>
                  </a:lnTo>
                  <a:lnTo>
                    <a:pt x="694" y="379"/>
                  </a:lnTo>
                  <a:lnTo>
                    <a:pt x="699" y="379"/>
                  </a:lnTo>
                  <a:lnTo>
                    <a:pt x="697" y="381"/>
                  </a:lnTo>
                  <a:lnTo>
                    <a:pt x="694" y="385"/>
                  </a:lnTo>
                  <a:lnTo>
                    <a:pt x="695" y="387"/>
                  </a:lnTo>
                  <a:lnTo>
                    <a:pt x="696" y="391"/>
                  </a:lnTo>
                  <a:lnTo>
                    <a:pt x="694" y="391"/>
                  </a:lnTo>
                  <a:lnTo>
                    <a:pt x="697" y="397"/>
                  </a:lnTo>
                  <a:lnTo>
                    <a:pt x="694" y="398"/>
                  </a:lnTo>
                  <a:lnTo>
                    <a:pt x="687" y="402"/>
                  </a:lnTo>
                  <a:lnTo>
                    <a:pt x="690" y="407"/>
                  </a:lnTo>
                  <a:lnTo>
                    <a:pt x="687" y="415"/>
                  </a:lnTo>
                  <a:lnTo>
                    <a:pt x="683" y="426"/>
                  </a:lnTo>
                  <a:lnTo>
                    <a:pt x="681" y="427"/>
                  </a:lnTo>
                  <a:lnTo>
                    <a:pt x="683" y="431"/>
                  </a:lnTo>
                  <a:lnTo>
                    <a:pt x="677" y="434"/>
                  </a:lnTo>
                  <a:lnTo>
                    <a:pt x="676" y="433"/>
                  </a:lnTo>
                  <a:lnTo>
                    <a:pt x="683" y="437"/>
                  </a:lnTo>
                  <a:lnTo>
                    <a:pt x="683" y="444"/>
                  </a:lnTo>
                  <a:lnTo>
                    <a:pt x="679" y="444"/>
                  </a:lnTo>
                  <a:lnTo>
                    <a:pt x="679" y="447"/>
                  </a:lnTo>
                  <a:lnTo>
                    <a:pt x="676" y="450"/>
                  </a:lnTo>
                  <a:lnTo>
                    <a:pt x="675" y="452"/>
                  </a:lnTo>
                  <a:lnTo>
                    <a:pt x="673" y="458"/>
                  </a:lnTo>
                  <a:lnTo>
                    <a:pt x="666" y="459"/>
                  </a:lnTo>
                  <a:lnTo>
                    <a:pt x="665" y="461"/>
                  </a:lnTo>
                  <a:lnTo>
                    <a:pt x="666" y="464"/>
                  </a:lnTo>
                  <a:lnTo>
                    <a:pt x="661" y="469"/>
                  </a:lnTo>
                  <a:lnTo>
                    <a:pt x="651" y="477"/>
                  </a:lnTo>
                  <a:lnTo>
                    <a:pt x="651" y="480"/>
                  </a:lnTo>
                  <a:lnTo>
                    <a:pt x="646" y="483"/>
                  </a:lnTo>
                  <a:lnTo>
                    <a:pt x="639" y="485"/>
                  </a:lnTo>
                  <a:lnTo>
                    <a:pt x="637" y="486"/>
                  </a:lnTo>
                  <a:lnTo>
                    <a:pt x="635" y="487"/>
                  </a:lnTo>
                  <a:lnTo>
                    <a:pt x="629" y="488"/>
                  </a:lnTo>
                  <a:lnTo>
                    <a:pt x="625" y="487"/>
                  </a:lnTo>
                  <a:lnTo>
                    <a:pt x="623" y="491"/>
                  </a:lnTo>
                  <a:lnTo>
                    <a:pt x="621" y="492"/>
                  </a:lnTo>
                  <a:lnTo>
                    <a:pt x="617" y="492"/>
                  </a:lnTo>
                  <a:lnTo>
                    <a:pt x="610" y="481"/>
                  </a:lnTo>
                  <a:lnTo>
                    <a:pt x="606" y="485"/>
                  </a:lnTo>
                  <a:lnTo>
                    <a:pt x="610" y="497"/>
                  </a:lnTo>
                  <a:lnTo>
                    <a:pt x="606" y="493"/>
                  </a:lnTo>
                  <a:lnTo>
                    <a:pt x="606" y="498"/>
                  </a:lnTo>
                  <a:lnTo>
                    <a:pt x="604" y="498"/>
                  </a:lnTo>
                  <a:lnTo>
                    <a:pt x="599" y="503"/>
                  </a:lnTo>
                  <a:lnTo>
                    <a:pt x="595" y="499"/>
                  </a:lnTo>
                  <a:lnTo>
                    <a:pt x="593" y="503"/>
                  </a:lnTo>
                  <a:lnTo>
                    <a:pt x="589" y="503"/>
                  </a:lnTo>
                  <a:lnTo>
                    <a:pt x="581" y="507"/>
                  </a:lnTo>
                  <a:lnTo>
                    <a:pt x="573" y="510"/>
                  </a:lnTo>
                  <a:lnTo>
                    <a:pt x="570" y="510"/>
                  </a:lnTo>
                  <a:lnTo>
                    <a:pt x="569" y="518"/>
                  </a:lnTo>
                  <a:lnTo>
                    <a:pt x="573" y="527"/>
                  </a:lnTo>
                  <a:lnTo>
                    <a:pt x="565" y="525"/>
                  </a:lnTo>
                  <a:lnTo>
                    <a:pt x="562" y="510"/>
                  </a:lnTo>
                  <a:lnTo>
                    <a:pt x="557" y="506"/>
                  </a:lnTo>
                  <a:lnTo>
                    <a:pt x="552" y="506"/>
                  </a:lnTo>
                  <a:lnTo>
                    <a:pt x="547" y="505"/>
                  </a:lnTo>
                  <a:lnTo>
                    <a:pt x="541" y="503"/>
                  </a:lnTo>
                  <a:lnTo>
                    <a:pt x="540" y="504"/>
                  </a:lnTo>
                  <a:lnTo>
                    <a:pt x="535" y="506"/>
                  </a:lnTo>
                  <a:lnTo>
                    <a:pt x="521" y="500"/>
                  </a:lnTo>
                  <a:lnTo>
                    <a:pt x="515" y="495"/>
                  </a:lnTo>
                  <a:lnTo>
                    <a:pt x="514" y="486"/>
                  </a:lnTo>
                  <a:lnTo>
                    <a:pt x="496" y="480"/>
                  </a:lnTo>
                  <a:lnTo>
                    <a:pt x="490" y="479"/>
                  </a:lnTo>
                  <a:lnTo>
                    <a:pt x="481" y="488"/>
                  </a:lnTo>
                  <a:lnTo>
                    <a:pt x="478" y="488"/>
                  </a:lnTo>
                  <a:lnTo>
                    <a:pt x="474" y="489"/>
                  </a:lnTo>
                  <a:lnTo>
                    <a:pt x="471" y="488"/>
                  </a:lnTo>
                  <a:lnTo>
                    <a:pt x="466" y="489"/>
                  </a:lnTo>
                  <a:lnTo>
                    <a:pt x="462" y="492"/>
                  </a:lnTo>
                  <a:lnTo>
                    <a:pt x="455" y="489"/>
                  </a:lnTo>
                  <a:lnTo>
                    <a:pt x="451" y="493"/>
                  </a:lnTo>
                  <a:lnTo>
                    <a:pt x="445" y="493"/>
                  </a:lnTo>
                  <a:lnTo>
                    <a:pt x="449" y="512"/>
                  </a:lnTo>
                  <a:lnTo>
                    <a:pt x="442" y="509"/>
                  </a:lnTo>
                  <a:lnTo>
                    <a:pt x="441" y="506"/>
                  </a:lnTo>
                  <a:lnTo>
                    <a:pt x="436" y="504"/>
                  </a:lnTo>
                  <a:lnTo>
                    <a:pt x="426" y="507"/>
                  </a:lnTo>
                  <a:lnTo>
                    <a:pt x="419" y="498"/>
                  </a:lnTo>
                  <a:lnTo>
                    <a:pt x="412" y="495"/>
                  </a:lnTo>
                  <a:lnTo>
                    <a:pt x="413" y="482"/>
                  </a:lnTo>
                  <a:lnTo>
                    <a:pt x="405" y="477"/>
                  </a:lnTo>
                  <a:lnTo>
                    <a:pt x="401" y="467"/>
                  </a:lnTo>
                  <a:lnTo>
                    <a:pt x="400" y="465"/>
                  </a:lnTo>
                  <a:lnTo>
                    <a:pt x="385" y="467"/>
                  </a:lnTo>
                  <a:lnTo>
                    <a:pt x="384" y="459"/>
                  </a:lnTo>
                  <a:lnTo>
                    <a:pt x="384" y="453"/>
                  </a:lnTo>
                  <a:lnTo>
                    <a:pt x="390" y="443"/>
                  </a:lnTo>
                  <a:lnTo>
                    <a:pt x="393" y="434"/>
                  </a:lnTo>
                  <a:lnTo>
                    <a:pt x="389" y="422"/>
                  </a:lnTo>
                  <a:lnTo>
                    <a:pt x="387" y="409"/>
                  </a:lnTo>
                  <a:lnTo>
                    <a:pt x="381" y="405"/>
                  </a:lnTo>
                  <a:lnTo>
                    <a:pt x="369" y="393"/>
                  </a:lnTo>
                  <a:lnTo>
                    <a:pt x="367" y="399"/>
                  </a:lnTo>
                  <a:lnTo>
                    <a:pt x="352" y="393"/>
                  </a:lnTo>
                  <a:lnTo>
                    <a:pt x="353" y="387"/>
                  </a:lnTo>
                  <a:lnTo>
                    <a:pt x="347" y="385"/>
                  </a:lnTo>
                  <a:lnTo>
                    <a:pt x="348" y="383"/>
                  </a:lnTo>
                  <a:lnTo>
                    <a:pt x="342" y="380"/>
                  </a:lnTo>
                  <a:lnTo>
                    <a:pt x="335" y="385"/>
                  </a:lnTo>
                  <a:lnTo>
                    <a:pt x="323" y="384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63" name="Freeform 297">
              <a:extLst>
                <a:ext uri="{FF2B5EF4-FFF2-40B4-BE49-F238E27FC236}">
                  <a16:creationId xmlns:a16="http://schemas.microsoft.com/office/drawing/2014/main" id="{92E026E3-0F22-4459-B74F-43BE12312FA4}"/>
                </a:ext>
              </a:extLst>
            </p:cNvPr>
            <p:cNvSpPr>
              <a:spLocks/>
            </p:cNvSpPr>
            <p:nvPr/>
          </p:nvSpPr>
          <p:spPr bwMode="gray">
            <a:xfrm>
              <a:off x="7982163" y="3723022"/>
              <a:ext cx="62790" cy="63489"/>
            </a:xfrm>
            <a:custGeom>
              <a:avLst/>
              <a:gdLst>
                <a:gd name="T0" fmla="*/ 24 w 31"/>
                <a:gd name="T1" fmla="*/ 0 h 28"/>
                <a:gd name="T2" fmla="*/ 10 w 31"/>
                <a:gd name="T3" fmla="*/ 3 h 28"/>
                <a:gd name="T4" fmla="*/ 0 w 31"/>
                <a:gd name="T5" fmla="*/ 10 h 28"/>
                <a:gd name="T6" fmla="*/ 1 w 31"/>
                <a:gd name="T7" fmla="*/ 22 h 28"/>
                <a:gd name="T8" fmla="*/ 12 w 31"/>
                <a:gd name="T9" fmla="*/ 28 h 28"/>
                <a:gd name="T10" fmla="*/ 17 w 31"/>
                <a:gd name="T11" fmla="*/ 27 h 28"/>
                <a:gd name="T12" fmla="*/ 25 w 31"/>
                <a:gd name="T13" fmla="*/ 17 h 28"/>
                <a:gd name="T14" fmla="*/ 31 w 31"/>
                <a:gd name="T15" fmla="*/ 6 h 28"/>
                <a:gd name="T16" fmla="*/ 29 w 31"/>
                <a:gd name="T17" fmla="*/ 0 h 28"/>
                <a:gd name="T18" fmla="*/ 24 w 31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28">
                  <a:moveTo>
                    <a:pt x="24" y="0"/>
                  </a:moveTo>
                  <a:lnTo>
                    <a:pt x="10" y="3"/>
                  </a:lnTo>
                  <a:lnTo>
                    <a:pt x="0" y="10"/>
                  </a:lnTo>
                  <a:lnTo>
                    <a:pt x="1" y="22"/>
                  </a:lnTo>
                  <a:lnTo>
                    <a:pt x="12" y="28"/>
                  </a:lnTo>
                  <a:lnTo>
                    <a:pt x="17" y="27"/>
                  </a:lnTo>
                  <a:lnTo>
                    <a:pt x="25" y="17"/>
                  </a:lnTo>
                  <a:lnTo>
                    <a:pt x="31" y="6"/>
                  </a:lnTo>
                  <a:lnTo>
                    <a:pt x="29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64" name="Freeform 298">
              <a:extLst>
                <a:ext uri="{FF2B5EF4-FFF2-40B4-BE49-F238E27FC236}">
                  <a16:creationId xmlns:a16="http://schemas.microsoft.com/office/drawing/2014/main" id="{37578656-D86B-4CA9-8C82-AC3E6D76F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486385" y="2965113"/>
              <a:ext cx="256867" cy="281735"/>
            </a:xfrm>
            <a:custGeom>
              <a:avLst/>
              <a:gdLst>
                <a:gd name="T0" fmla="*/ 113 w 121"/>
                <a:gd name="T1" fmla="*/ 96 h 128"/>
                <a:gd name="T2" fmla="*/ 109 w 121"/>
                <a:gd name="T3" fmla="*/ 92 h 128"/>
                <a:gd name="T4" fmla="*/ 110 w 121"/>
                <a:gd name="T5" fmla="*/ 100 h 128"/>
                <a:gd name="T6" fmla="*/ 104 w 121"/>
                <a:gd name="T7" fmla="*/ 102 h 128"/>
                <a:gd name="T8" fmla="*/ 103 w 121"/>
                <a:gd name="T9" fmla="*/ 108 h 128"/>
                <a:gd name="T10" fmla="*/ 100 w 121"/>
                <a:gd name="T11" fmla="*/ 101 h 128"/>
                <a:gd name="T12" fmla="*/ 96 w 121"/>
                <a:gd name="T13" fmla="*/ 109 h 128"/>
                <a:gd name="T14" fmla="*/ 82 w 121"/>
                <a:gd name="T15" fmla="*/ 109 h 128"/>
                <a:gd name="T16" fmla="*/ 77 w 121"/>
                <a:gd name="T17" fmla="*/ 107 h 128"/>
                <a:gd name="T18" fmla="*/ 73 w 121"/>
                <a:gd name="T19" fmla="*/ 103 h 128"/>
                <a:gd name="T20" fmla="*/ 76 w 121"/>
                <a:gd name="T21" fmla="*/ 110 h 128"/>
                <a:gd name="T22" fmla="*/ 78 w 121"/>
                <a:gd name="T23" fmla="*/ 114 h 128"/>
                <a:gd name="T24" fmla="*/ 72 w 121"/>
                <a:gd name="T25" fmla="*/ 121 h 128"/>
                <a:gd name="T26" fmla="*/ 71 w 121"/>
                <a:gd name="T27" fmla="*/ 128 h 128"/>
                <a:gd name="T28" fmla="*/ 58 w 121"/>
                <a:gd name="T29" fmla="*/ 118 h 128"/>
                <a:gd name="T30" fmla="*/ 56 w 121"/>
                <a:gd name="T31" fmla="*/ 108 h 128"/>
                <a:gd name="T32" fmla="*/ 40 w 121"/>
                <a:gd name="T33" fmla="*/ 109 h 128"/>
                <a:gd name="T34" fmla="*/ 22 w 121"/>
                <a:gd name="T35" fmla="*/ 114 h 128"/>
                <a:gd name="T36" fmla="*/ 17 w 121"/>
                <a:gd name="T37" fmla="*/ 120 h 128"/>
                <a:gd name="T38" fmla="*/ 0 w 121"/>
                <a:gd name="T39" fmla="*/ 118 h 128"/>
                <a:gd name="T40" fmla="*/ 4 w 121"/>
                <a:gd name="T41" fmla="*/ 112 h 128"/>
                <a:gd name="T42" fmla="*/ 12 w 121"/>
                <a:gd name="T43" fmla="*/ 103 h 128"/>
                <a:gd name="T44" fmla="*/ 20 w 121"/>
                <a:gd name="T45" fmla="*/ 94 h 128"/>
                <a:gd name="T46" fmla="*/ 35 w 121"/>
                <a:gd name="T47" fmla="*/ 94 h 128"/>
                <a:gd name="T48" fmla="*/ 48 w 121"/>
                <a:gd name="T49" fmla="*/ 92 h 128"/>
                <a:gd name="T50" fmla="*/ 50 w 121"/>
                <a:gd name="T51" fmla="*/ 94 h 128"/>
                <a:gd name="T52" fmla="*/ 59 w 121"/>
                <a:gd name="T53" fmla="*/ 90 h 128"/>
                <a:gd name="T54" fmla="*/ 56 w 121"/>
                <a:gd name="T55" fmla="*/ 82 h 128"/>
                <a:gd name="T56" fmla="*/ 55 w 121"/>
                <a:gd name="T57" fmla="*/ 68 h 128"/>
                <a:gd name="T58" fmla="*/ 61 w 121"/>
                <a:gd name="T59" fmla="*/ 65 h 128"/>
                <a:gd name="T60" fmla="*/ 60 w 121"/>
                <a:gd name="T61" fmla="*/ 70 h 128"/>
                <a:gd name="T62" fmla="*/ 65 w 121"/>
                <a:gd name="T63" fmla="*/ 74 h 128"/>
                <a:gd name="T64" fmla="*/ 72 w 121"/>
                <a:gd name="T65" fmla="*/ 68 h 128"/>
                <a:gd name="T66" fmla="*/ 78 w 121"/>
                <a:gd name="T67" fmla="*/ 61 h 128"/>
                <a:gd name="T68" fmla="*/ 80 w 121"/>
                <a:gd name="T69" fmla="*/ 49 h 128"/>
                <a:gd name="T70" fmla="*/ 82 w 121"/>
                <a:gd name="T71" fmla="*/ 38 h 128"/>
                <a:gd name="T72" fmla="*/ 74 w 121"/>
                <a:gd name="T73" fmla="*/ 25 h 128"/>
                <a:gd name="T74" fmla="*/ 68 w 121"/>
                <a:gd name="T75" fmla="*/ 11 h 128"/>
                <a:gd name="T76" fmla="*/ 70 w 121"/>
                <a:gd name="T77" fmla="*/ 4 h 128"/>
                <a:gd name="T78" fmla="*/ 77 w 121"/>
                <a:gd name="T79" fmla="*/ 8 h 128"/>
                <a:gd name="T80" fmla="*/ 80 w 121"/>
                <a:gd name="T81" fmla="*/ 6 h 128"/>
                <a:gd name="T82" fmla="*/ 78 w 121"/>
                <a:gd name="T83" fmla="*/ 4 h 128"/>
                <a:gd name="T84" fmla="*/ 73 w 121"/>
                <a:gd name="T85" fmla="*/ 4 h 128"/>
                <a:gd name="T86" fmla="*/ 74 w 121"/>
                <a:gd name="T87" fmla="*/ 0 h 128"/>
                <a:gd name="T88" fmla="*/ 80 w 121"/>
                <a:gd name="T89" fmla="*/ 2 h 128"/>
                <a:gd name="T90" fmla="*/ 92 w 121"/>
                <a:gd name="T91" fmla="*/ 16 h 128"/>
                <a:gd name="T92" fmla="*/ 106 w 121"/>
                <a:gd name="T93" fmla="*/ 30 h 128"/>
                <a:gd name="T94" fmla="*/ 107 w 121"/>
                <a:gd name="T95" fmla="*/ 49 h 128"/>
                <a:gd name="T96" fmla="*/ 103 w 121"/>
                <a:gd name="T97" fmla="*/ 54 h 128"/>
                <a:gd name="T98" fmla="*/ 112 w 121"/>
                <a:gd name="T99" fmla="*/ 74 h 128"/>
                <a:gd name="T100" fmla="*/ 121 w 121"/>
                <a:gd name="T101" fmla="*/ 90 h 128"/>
                <a:gd name="T102" fmla="*/ 115 w 121"/>
                <a:gd name="T103" fmla="*/ 104 h 128"/>
                <a:gd name="T104" fmla="*/ 113 w 121"/>
                <a:gd name="T105" fmla="*/ 9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1" h="128">
                  <a:moveTo>
                    <a:pt x="113" y="96"/>
                  </a:moveTo>
                  <a:lnTo>
                    <a:pt x="109" y="92"/>
                  </a:lnTo>
                  <a:lnTo>
                    <a:pt x="110" y="100"/>
                  </a:lnTo>
                  <a:lnTo>
                    <a:pt x="104" y="102"/>
                  </a:lnTo>
                  <a:lnTo>
                    <a:pt x="103" y="108"/>
                  </a:lnTo>
                  <a:lnTo>
                    <a:pt x="100" y="101"/>
                  </a:lnTo>
                  <a:lnTo>
                    <a:pt x="96" y="109"/>
                  </a:lnTo>
                  <a:lnTo>
                    <a:pt x="82" y="109"/>
                  </a:lnTo>
                  <a:lnTo>
                    <a:pt x="77" y="107"/>
                  </a:lnTo>
                  <a:lnTo>
                    <a:pt x="73" y="103"/>
                  </a:lnTo>
                  <a:lnTo>
                    <a:pt x="76" y="110"/>
                  </a:lnTo>
                  <a:lnTo>
                    <a:pt x="78" y="114"/>
                  </a:lnTo>
                  <a:lnTo>
                    <a:pt x="72" y="121"/>
                  </a:lnTo>
                  <a:lnTo>
                    <a:pt x="71" y="128"/>
                  </a:lnTo>
                  <a:lnTo>
                    <a:pt x="58" y="118"/>
                  </a:lnTo>
                  <a:lnTo>
                    <a:pt x="56" y="108"/>
                  </a:lnTo>
                  <a:lnTo>
                    <a:pt x="40" y="109"/>
                  </a:lnTo>
                  <a:lnTo>
                    <a:pt x="22" y="114"/>
                  </a:lnTo>
                  <a:lnTo>
                    <a:pt x="17" y="120"/>
                  </a:lnTo>
                  <a:lnTo>
                    <a:pt x="0" y="118"/>
                  </a:lnTo>
                  <a:lnTo>
                    <a:pt x="4" y="112"/>
                  </a:lnTo>
                  <a:lnTo>
                    <a:pt x="12" y="103"/>
                  </a:lnTo>
                  <a:lnTo>
                    <a:pt x="20" y="94"/>
                  </a:lnTo>
                  <a:lnTo>
                    <a:pt x="35" y="94"/>
                  </a:lnTo>
                  <a:lnTo>
                    <a:pt x="48" y="92"/>
                  </a:lnTo>
                  <a:lnTo>
                    <a:pt x="50" y="94"/>
                  </a:lnTo>
                  <a:lnTo>
                    <a:pt x="59" y="90"/>
                  </a:lnTo>
                  <a:lnTo>
                    <a:pt x="56" y="82"/>
                  </a:lnTo>
                  <a:lnTo>
                    <a:pt x="55" y="68"/>
                  </a:lnTo>
                  <a:lnTo>
                    <a:pt x="61" y="65"/>
                  </a:lnTo>
                  <a:lnTo>
                    <a:pt x="60" y="70"/>
                  </a:lnTo>
                  <a:lnTo>
                    <a:pt x="65" y="74"/>
                  </a:lnTo>
                  <a:lnTo>
                    <a:pt x="72" y="68"/>
                  </a:lnTo>
                  <a:lnTo>
                    <a:pt x="78" y="61"/>
                  </a:lnTo>
                  <a:lnTo>
                    <a:pt x="80" y="49"/>
                  </a:lnTo>
                  <a:lnTo>
                    <a:pt x="82" y="38"/>
                  </a:lnTo>
                  <a:lnTo>
                    <a:pt x="74" y="25"/>
                  </a:lnTo>
                  <a:lnTo>
                    <a:pt x="68" y="11"/>
                  </a:lnTo>
                  <a:lnTo>
                    <a:pt x="70" y="4"/>
                  </a:lnTo>
                  <a:lnTo>
                    <a:pt x="77" y="8"/>
                  </a:lnTo>
                  <a:lnTo>
                    <a:pt x="80" y="6"/>
                  </a:lnTo>
                  <a:lnTo>
                    <a:pt x="78" y="4"/>
                  </a:lnTo>
                  <a:lnTo>
                    <a:pt x="73" y="4"/>
                  </a:lnTo>
                  <a:lnTo>
                    <a:pt x="74" y="0"/>
                  </a:lnTo>
                  <a:lnTo>
                    <a:pt x="80" y="2"/>
                  </a:lnTo>
                  <a:lnTo>
                    <a:pt x="92" y="16"/>
                  </a:lnTo>
                  <a:lnTo>
                    <a:pt x="106" y="30"/>
                  </a:lnTo>
                  <a:lnTo>
                    <a:pt x="107" y="49"/>
                  </a:lnTo>
                  <a:lnTo>
                    <a:pt x="103" y="54"/>
                  </a:lnTo>
                  <a:lnTo>
                    <a:pt x="112" y="74"/>
                  </a:lnTo>
                  <a:lnTo>
                    <a:pt x="121" y="90"/>
                  </a:lnTo>
                  <a:lnTo>
                    <a:pt x="115" y="104"/>
                  </a:lnTo>
                  <a:lnTo>
                    <a:pt x="113" y="96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65" name="Freeform 299">
              <a:extLst>
                <a:ext uri="{FF2B5EF4-FFF2-40B4-BE49-F238E27FC236}">
                  <a16:creationId xmlns:a16="http://schemas.microsoft.com/office/drawing/2014/main" id="{033FA658-DE5E-4663-9D73-FBDC9A1978D6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9619" y="2822262"/>
              <a:ext cx="142704" cy="142851"/>
            </a:xfrm>
            <a:custGeom>
              <a:avLst/>
              <a:gdLst>
                <a:gd name="T0" fmla="*/ 54 w 70"/>
                <a:gd name="T1" fmla="*/ 25 h 65"/>
                <a:gd name="T2" fmla="*/ 42 w 70"/>
                <a:gd name="T3" fmla="*/ 22 h 65"/>
                <a:gd name="T4" fmla="*/ 21 w 70"/>
                <a:gd name="T5" fmla="*/ 11 h 65"/>
                <a:gd name="T6" fmla="*/ 0 w 70"/>
                <a:gd name="T7" fmla="*/ 0 h 65"/>
                <a:gd name="T8" fmla="*/ 4 w 70"/>
                <a:gd name="T9" fmla="*/ 9 h 65"/>
                <a:gd name="T10" fmla="*/ 10 w 70"/>
                <a:gd name="T11" fmla="*/ 22 h 65"/>
                <a:gd name="T12" fmla="*/ 17 w 70"/>
                <a:gd name="T13" fmla="*/ 36 h 65"/>
                <a:gd name="T14" fmla="*/ 7 w 70"/>
                <a:gd name="T15" fmla="*/ 36 h 65"/>
                <a:gd name="T16" fmla="*/ 5 w 70"/>
                <a:gd name="T17" fmla="*/ 37 h 65"/>
                <a:gd name="T18" fmla="*/ 6 w 70"/>
                <a:gd name="T19" fmla="*/ 45 h 65"/>
                <a:gd name="T20" fmla="*/ 9 w 70"/>
                <a:gd name="T21" fmla="*/ 53 h 65"/>
                <a:gd name="T22" fmla="*/ 18 w 70"/>
                <a:gd name="T23" fmla="*/ 65 h 65"/>
                <a:gd name="T24" fmla="*/ 21 w 70"/>
                <a:gd name="T25" fmla="*/ 61 h 65"/>
                <a:gd name="T26" fmla="*/ 28 w 70"/>
                <a:gd name="T27" fmla="*/ 60 h 65"/>
                <a:gd name="T28" fmla="*/ 12 w 70"/>
                <a:gd name="T29" fmla="*/ 49 h 65"/>
                <a:gd name="T30" fmla="*/ 19 w 70"/>
                <a:gd name="T31" fmla="*/ 49 h 65"/>
                <a:gd name="T32" fmla="*/ 24 w 70"/>
                <a:gd name="T33" fmla="*/ 47 h 65"/>
                <a:gd name="T34" fmla="*/ 52 w 70"/>
                <a:gd name="T35" fmla="*/ 55 h 65"/>
                <a:gd name="T36" fmla="*/ 52 w 70"/>
                <a:gd name="T37" fmla="*/ 52 h 65"/>
                <a:gd name="T38" fmla="*/ 59 w 70"/>
                <a:gd name="T39" fmla="*/ 41 h 65"/>
                <a:gd name="T40" fmla="*/ 70 w 70"/>
                <a:gd name="T41" fmla="*/ 36 h 65"/>
                <a:gd name="T42" fmla="*/ 63 w 70"/>
                <a:gd name="T43" fmla="*/ 31 h 65"/>
                <a:gd name="T44" fmla="*/ 58 w 70"/>
                <a:gd name="T45" fmla="*/ 19 h 65"/>
                <a:gd name="T46" fmla="*/ 54 w 70"/>
                <a:gd name="T47" fmla="*/ 2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65">
                  <a:moveTo>
                    <a:pt x="54" y="25"/>
                  </a:moveTo>
                  <a:lnTo>
                    <a:pt x="42" y="22"/>
                  </a:lnTo>
                  <a:lnTo>
                    <a:pt x="21" y="11"/>
                  </a:lnTo>
                  <a:lnTo>
                    <a:pt x="0" y="0"/>
                  </a:lnTo>
                  <a:lnTo>
                    <a:pt x="4" y="9"/>
                  </a:lnTo>
                  <a:lnTo>
                    <a:pt x="10" y="22"/>
                  </a:lnTo>
                  <a:lnTo>
                    <a:pt x="17" y="36"/>
                  </a:lnTo>
                  <a:lnTo>
                    <a:pt x="7" y="36"/>
                  </a:lnTo>
                  <a:lnTo>
                    <a:pt x="5" y="37"/>
                  </a:lnTo>
                  <a:lnTo>
                    <a:pt x="6" y="45"/>
                  </a:lnTo>
                  <a:lnTo>
                    <a:pt x="9" y="53"/>
                  </a:lnTo>
                  <a:lnTo>
                    <a:pt x="18" y="65"/>
                  </a:lnTo>
                  <a:lnTo>
                    <a:pt x="21" y="61"/>
                  </a:lnTo>
                  <a:lnTo>
                    <a:pt x="28" y="60"/>
                  </a:lnTo>
                  <a:lnTo>
                    <a:pt x="12" y="49"/>
                  </a:lnTo>
                  <a:lnTo>
                    <a:pt x="19" y="49"/>
                  </a:lnTo>
                  <a:lnTo>
                    <a:pt x="24" y="47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9" y="41"/>
                  </a:lnTo>
                  <a:lnTo>
                    <a:pt x="70" y="36"/>
                  </a:lnTo>
                  <a:lnTo>
                    <a:pt x="63" y="31"/>
                  </a:lnTo>
                  <a:lnTo>
                    <a:pt x="58" y="19"/>
                  </a:lnTo>
                  <a:lnTo>
                    <a:pt x="54" y="25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66" name="Freeform 300">
              <a:extLst>
                <a:ext uri="{FF2B5EF4-FFF2-40B4-BE49-F238E27FC236}">
                  <a16:creationId xmlns:a16="http://schemas.microsoft.com/office/drawing/2014/main" id="{FF737AAA-88F7-43A6-B2AF-32311FAF207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65455" y="3232960"/>
              <a:ext cx="70402" cy="97218"/>
            </a:xfrm>
            <a:custGeom>
              <a:avLst/>
              <a:gdLst>
                <a:gd name="T0" fmla="*/ 35 w 35"/>
                <a:gd name="T1" fmla="*/ 16 h 45"/>
                <a:gd name="T2" fmla="*/ 34 w 35"/>
                <a:gd name="T3" fmla="*/ 27 h 45"/>
                <a:gd name="T4" fmla="*/ 33 w 35"/>
                <a:gd name="T5" fmla="*/ 39 h 45"/>
                <a:gd name="T6" fmla="*/ 29 w 35"/>
                <a:gd name="T7" fmla="*/ 45 h 45"/>
                <a:gd name="T8" fmla="*/ 23 w 35"/>
                <a:gd name="T9" fmla="*/ 35 h 45"/>
                <a:gd name="T10" fmla="*/ 24 w 35"/>
                <a:gd name="T11" fmla="*/ 42 h 45"/>
                <a:gd name="T12" fmla="*/ 21 w 35"/>
                <a:gd name="T13" fmla="*/ 39 h 45"/>
                <a:gd name="T14" fmla="*/ 17 w 35"/>
                <a:gd name="T15" fmla="*/ 27 h 45"/>
                <a:gd name="T16" fmla="*/ 17 w 35"/>
                <a:gd name="T17" fmla="*/ 21 h 45"/>
                <a:gd name="T18" fmla="*/ 9 w 35"/>
                <a:gd name="T19" fmla="*/ 12 h 45"/>
                <a:gd name="T20" fmla="*/ 12 w 35"/>
                <a:gd name="T21" fmla="*/ 21 h 45"/>
                <a:gd name="T22" fmla="*/ 7 w 35"/>
                <a:gd name="T23" fmla="*/ 21 h 45"/>
                <a:gd name="T24" fmla="*/ 5 w 35"/>
                <a:gd name="T25" fmla="*/ 15 h 45"/>
                <a:gd name="T26" fmla="*/ 6 w 35"/>
                <a:gd name="T27" fmla="*/ 15 h 45"/>
                <a:gd name="T28" fmla="*/ 0 w 35"/>
                <a:gd name="T29" fmla="*/ 9 h 45"/>
                <a:gd name="T30" fmla="*/ 15 w 35"/>
                <a:gd name="T31" fmla="*/ 0 h 45"/>
                <a:gd name="T32" fmla="*/ 23 w 35"/>
                <a:gd name="T33" fmla="*/ 5 h 45"/>
                <a:gd name="T34" fmla="*/ 27 w 35"/>
                <a:gd name="T35" fmla="*/ 7 h 45"/>
                <a:gd name="T36" fmla="*/ 28 w 35"/>
                <a:gd name="T37" fmla="*/ 10 h 45"/>
                <a:gd name="T38" fmla="*/ 35 w 35"/>
                <a:gd name="T39" fmla="*/ 1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45">
                  <a:moveTo>
                    <a:pt x="35" y="16"/>
                  </a:moveTo>
                  <a:lnTo>
                    <a:pt x="34" y="27"/>
                  </a:lnTo>
                  <a:lnTo>
                    <a:pt x="33" y="39"/>
                  </a:lnTo>
                  <a:lnTo>
                    <a:pt x="29" y="45"/>
                  </a:lnTo>
                  <a:lnTo>
                    <a:pt x="23" y="35"/>
                  </a:lnTo>
                  <a:lnTo>
                    <a:pt x="24" y="42"/>
                  </a:lnTo>
                  <a:lnTo>
                    <a:pt x="21" y="39"/>
                  </a:lnTo>
                  <a:lnTo>
                    <a:pt x="17" y="27"/>
                  </a:lnTo>
                  <a:lnTo>
                    <a:pt x="17" y="21"/>
                  </a:lnTo>
                  <a:lnTo>
                    <a:pt x="9" y="12"/>
                  </a:lnTo>
                  <a:lnTo>
                    <a:pt x="12" y="21"/>
                  </a:lnTo>
                  <a:lnTo>
                    <a:pt x="7" y="21"/>
                  </a:lnTo>
                  <a:lnTo>
                    <a:pt x="5" y="15"/>
                  </a:lnTo>
                  <a:lnTo>
                    <a:pt x="6" y="15"/>
                  </a:lnTo>
                  <a:lnTo>
                    <a:pt x="0" y="9"/>
                  </a:lnTo>
                  <a:lnTo>
                    <a:pt x="15" y="0"/>
                  </a:lnTo>
                  <a:lnTo>
                    <a:pt x="23" y="5"/>
                  </a:lnTo>
                  <a:lnTo>
                    <a:pt x="27" y="7"/>
                  </a:lnTo>
                  <a:lnTo>
                    <a:pt x="28" y="10"/>
                  </a:lnTo>
                  <a:lnTo>
                    <a:pt x="35" y="16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67" name="Freeform 301">
              <a:extLst>
                <a:ext uri="{FF2B5EF4-FFF2-40B4-BE49-F238E27FC236}">
                  <a16:creationId xmlns:a16="http://schemas.microsoft.com/office/drawing/2014/main" id="{03FBDDD3-D652-4CF1-AC09-65A4248AE27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32052" y="3215104"/>
              <a:ext cx="68498" cy="57537"/>
            </a:xfrm>
            <a:custGeom>
              <a:avLst/>
              <a:gdLst>
                <a:gd name="T0" fmla="*/ 26 w 32"/>
                <a:gd name="T1" fmla="*/ 16 h 25"/>
                <a:gd name="T2" fmla="*/ 15 w 32"/>
                <a:gd name="T3" fmla="*/ 16 h 25"/>
                <a:gd name="T4" fmla="*/ 14 w 32"/>
                <a:gd name="T5" fmla="*/ 25 h 25"/>
                <a:gd name="T6" fmla="*/ 6 w 32"/>
                <a:gd name="T7" fmla="*/ 18 h 25"/>
                <a:gd name="T8" fmla="*/ 2 w 32"/>
                <a:gd name="T9" fmla="*/ 14 h 25"/>
                <a:gd name="T10" fmla="*/ 0 w 32"/>
                <a:gd name="T11" fmla="*/ 14 h 25"/>
                <a:gd name="T12" fmla="*/ 8 w 32"/>
                <a:gd name="T13" fmla="*/ 5 h 25"/>
                <a:gd name="T14" fmla="*/ 16 w 32"/>
                <a:gd name="T15" fmla="*/ 4 h 25"/>
                <a:gd name="T16" fmla="*/ 22 w 32"/>
                <a:gd name="T17" fmla="*/ 0 h 25"/>
                <a:gd name="T18" fmla="*/ 28 w 32"/>
                <a:gd name="T19" fmla="*/ 4 h 25"/>
                <a:gd name="T20" fmla="*/ 32 w 32"/>
                <a:gd name="T21" fmla="*/ 8 h 25"/>
                <a:gd name="T22" fmla="*/ 26 w 32"/>
                <a:gd name="T23" fmla="*/ 1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25">
                  <a:moveTo>
                    <a:pt x="26" y="16"/>
                  </a:moveTo>
                  <a:lnTo>
                    <a:pt x="15" y="16"/>
                  </a:lnTo>
                  <a:lnTo>
                    <a:pt x="14" y="25"/>
                  </a:lnTo>
                  <a:lnTo>
                    <a:pt x="6" y="18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8" y="5"/>
                  </a:lnTo>
                  <a:lnTo>
                    <a:pt x="16" y="4"/>
                  </a:lnTo>
                  <a:lnTo>
                    <a:pt x="22" y="0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26" y="16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68" name="Freeform 302">
              <a:extLst>
                <a:ext uri="{FF2B5EF4-FFF2-40B4-BE49-F238E27FC236}">
                  <a16:creationId xmlns:a16="http://schemas.microsoft.com/office/drawing/2014/main" id="{9E77868B-A334-4917-8762-8DFE4D18786A}"/>
                </a:ext>
              </a:extLst>
            </p:cNvPr>
            <p:cNvSpPr>
              <a:spLocks/>
            </p:cNvSpPr>
            <p:nvPr/>
          </p:nvSpPr>
          <p:spPr bwMode="gray">
            <a:xfrm>
              <a:off x="8490190" y="3480968"/>
              <a:ext cx="13319" cy="21825"/>
            </a:xfrm>
            <a:custGeom>
              <a:avLst/>
              <a:gdLst>
                <a:gd name="T0" fmla="*/ 0 w 6"/>
                <a:gd name="T1" fmla="*/ 11 h 11"/>
                <a:gd name="T2" fmla="*/ 6 w 6"/>
                <a:gd name="T3" fmla="*/ 1 h 11"/>
                <a:gd name="T4" fmla="*/ 5 w 6"/>
                <a:gd name="T5" fmla="*/ 0 h 11"/>
                <a:gd name="T6" fmla="*/ 0 w 6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1">
                  <a:moveTo>
                    <a:pt x="0" y="11"/>
                  </a:moveTo>
                  <a:lnTo>
                    <a:pt x="6" y="1"/>
                  </a:lnTo>
                  <a:lnTo>
                    <a:pt x="5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69" name="Freeform 303">
              <a:extLst>
                <a:ext uri="{FF2B5EF4-FFF2-40B4-BE49-F238E27FC236}">
                  <a16:creationId xmlns:a16="http://schemas.microsoft.com/office/drawing/2014/main" id="{9A43FF66-7C3A-4311-8B13-B1654EACDF8B}"/>
                </a:ext>
              </a:extLst>
            </p:cNvPr>
            <p:cNvSpPr>
              <a:spLocks/>
            </p:cNvSpPr>
            <p:nvPr/>
          </p:nvSpPr>
          <p:spPr bwMode="gray">
            <a:xfrm>
              <a:off x="8634798" y="3074237"/>
              <a:ext cx="7611" cy="13889"/>
            </a:xfrm>
            <a:custGeom>
              <a:avLst/>
              <a:gdLst>
                <a:gd name="T0" fmla="*/ 3 w 3"/>
                <a:gd name="T1" fmla="*/ 5 h 5"/>
                <a:gd name="T2" fmla="*/ 0 w 3"/>
                <a:gd name="T3" fmla="*/ 0 h 5"/>
                <a:gd name="T4" fmla="*/ 0 w 3"/>
                <a:gd name="T5" fmla="*/ 5 h 5"/>
                <a:gd name="T6" fmla="*/ 3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70" name="Freeform 304">
              <a:extLst>
                <a:ext uri="{FF2B5EF4-FFF2-40B4-BE49-F238E27FC236}">
                  <a16:creationId xmlns:a16="http://schemas.microsoft.com/office/drawing/2014/main" id="{9D1C354C-6094-4141-994D-636DE134F14F}"/>
                </a:ext>
              </a:extLst>
            </p:cNvPr>
            <p:cNvSpPr>
              <a:spLocks/>
            </p:cNvSpPr>
            <p:nvPr/>
          </p:nvSpPr>
          <p:spPr bwMode="gray">
            <a:xfrm>
              <a:off x="8486385" y="3282562"/>
              <a:ext cx="3805" cy="3967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2 h 2"/>
                <a:gd name="T4" fmla="*/ 0 w 2"/>
                <a:gd name="T5" fmla="*/ 1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71" name="Freeform 305">
              <a:extLst>
                <a:ext uri="{FF2B5EF4-FFF2-40B4-BE49-F238E27FC236}">
                  <a16:creationId xmlns:a16="http://schemas.microsoft.com/office/drawing/2014/main" id="{A079E979-63C6-4A08-92F7-99757A2F2B8A}"/>
                </a:ext>
              </a:extLst>
            </p:cNvPr>
            <p:cNvSpPr>
              <a:spLocks/>
            </p:cNvSpPr>
            <p:nvPr/>
          </p:nvSpPr>
          <p:spPr bwMode="gray">
            <a:xfrm>
              <a:off x="8210490" y="2911543"/>
              <a:ext cx="131288" cy="180548"/>
            </a:xfrm>
            <a:custGeom>
              <a:avLst/>
              <a:gdLst>
                <a:gd name="T0" fmla="*/ 17 w 64"/>
                <a:gd name="T1" fmla="*/ 54 h 82"/>
                <a:gd name="T2" fmla="*/ 9 w 64"/>
                <a:gd name="T3" fmla="*/ 53 h 82"/>
                <a:gd name="T4" fmla="*/ 0 w 64"/>
                <a:gd name="T5" fmla="*/ 46 h 82"/>
                <a:gd name="T6" fmla="*/ 9 w 64"/>
                <a:gd name="T7" fmla="*/ 37 h 82"/>
                <a:gd name="T8" fmla="*/ 16 w 64"/>
                <a:gd name="T9" fmla="*/ 23 h 82"/>
                <a:gd name="T10" fmla="*/ 22 w 64"/>
                <a:gd name="T11" fmla="*/ 20 h 82"/>
                <a:gd name="T12" fmla="*/ 37 w 64"/>
                <a:gd name="T13" fmla="*/ 25 h 82"/>
                <a:gd name="T14" fmla="*/ 33 w 64"/>
                <a:gd name="T15" fmla="*/ 17 h 82"/>
                <a:gd name="T16" fmla="*/ 36 w 64"/>
                <a:gd name="T17" fmla="*/ 16 h 82"/>
                <a:gd name="T18" fmla="*/ 45 w 64"/>
                <a:gd name="T19" fmla="*/ 8 h 82"/>
                <a:gd name="T20" fmla="*/ 46 w 64"/>
                <a:gd name="T21" fmla="*/ 0 h 82"/>
                <a:gd name="T22" fmla="*/ 60 w 64"/>
                <a:gd name="T23" fmla="*/ 8 h 82"/>
                <a:gd name="T24" fmla="*/ 63 w 64"/>
                <a:gd name="T25" fmla="*/ 11 h 82"/>
                <a:gd name="T26" fmla="*/ 55 w 64"/>
                <a:gd name="T27" fmla="*/ 19 h 82"/>
                <a:gd name="T28" fmla="*/ 61 w 64"/>
                <a:gd name="T29" fmla="*/ 35 h 82"/>
                <a:gd name="T30" fmla="*/ 54 w 64"/>
                <a:gd name="T31" fmla="*/ 44 h 82"/>
                <a:gd name="T32" fmla="*/ 47 w 64"/>
                <a:gd name="T33" fmla="*/ 53 h 82"/>
                <a:gd name="T34" fmla="*/ 49 w 64"/>
                <a:gd name="T35" fmla="*/ 61 h 82"/>
                <a:gd name="T36" fmla="*/ 64 w 64"/>
                <a:gd name="T37" fmla="*/ 70 h 82"/>
                <a:gd name="T38" fmla="*/ 59 w 64"/>
                <a:gd name="T39" fmla="*/ 73 h 82"/>
                <a:gd name="T40" fmla="*/ 48 w 64"/>
                <a:gd name="T41" fmla="*/ 79 h 82"/>
                <a:gd name="T42" fmla="*/ 48 w 64"/>
                <a:gd name="T43" fmla="*/ 82 h 82"/>
                <a:gd name="T44" fmla="*/ 35 w 64"/>
                <a:gd name="T45" fmla="*/ 79 h 82"/>
                <a:gd name="T46" fmla="*/ 31 w 64"/>
                <a:gd name="T47" fmla="*/ 82 h 82"/>
                <a:gd name="T48" fmla="*/ 25 w 64"/>
                <a:gd name="T49" fmla="*/ 78 h 82"/>
                <a:gd name="T50" fmla="*/ 21 w 64"/>
                <a:gd name="T51" fmla="*/ 76 h 82"/>
                <a:gd name="T52" fmla="*/ 24 w 64"/>
                <a:gd name="T53" fmla="*/ 68 h 82"/>
                <a:gd name="T54" fmla="*/ 25 w 64"/>
                <a:gd name="T55" fmla="*/ 67 h 82"/>
                <a:gd name="T56" fmla="*/ 19 w 64"/>
                <a:gd name="T57" fmla="*/ 64 h 82"/>
                <a:gd name="T58" fmla="*/ 17 w 64"/>
                <a:gd name="T59" fmla="*/ 5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4" h="82">
                  <a:moveTo>
                    <a:pt x="17" y="54"/>
                  </a:moveTo>
                  <a:lnTo>
                    <a:pt x="9" y="53"/>
                  </a:lnTo>
                  <a:lnTo>
                    <a:pt x="0" y="46"/>
                  </a:lnTo>
                  <a:lnTo>
                    <a:pt x="9" y="37"/>
                  </a:lnTo>
                  <a:lnTo>
                    <a:pt x="16" y="23"/>
                  </a:lnTo>
                  <a:lnTo>
                    <a:pt x="22" y="20"/>
                  </a:lnTo>
                  <a:lnTo>
                    <a:pt x="37" y="25"/>
                  </a:lnTo>
                  <a:lnTo>
                    <a:pt x="33" y="17"/>
                  </a:lnTo>
                  <a:lnTo>
                    <a:pt x="36" y="16"/>
                  </a:lnTo>
                  <a:lnTo>
                    <a:pt x="45" y="8"/>
                  </a:lnTo>
                  <a:lnTo>
                    <a:pt x="46" y="0"/>
                  </a:lnTo>
                  <a:lnTo>
                    <a:pt x="60" y="8"/>
                  </a:lnTo>
                  <a:lnTo>
                    <a:pt x="63" y="11"/>
                  </a:lnTo>
                  <a:lnTo>
                    <a:pt x="55" y="19"/>
                  </a:lnTo>
                  <a:lnTo>
                    <a:pt x="61" y="35"/>
                  </a:lnTo>
                  <a:lnTo>
                    <a:pt x="54" y="44"/>
                  </a:lnTo>
                  <a:lnTo>
                    <a:pt x="47" y="53"/>
                  </a:lnTo>
                  <a:lnTo>
                    <a:pt x="49" y="61"/>
                  </a:lnTo>
                  <a:lnTo>
                    <a:pt x="64" y="70"/>
                  </a:lnTo>
                  <a:lnTo>
                    <a:pt x="59" y="73"/>
                  </a:lnTo>
                  <a:lnTo>
                    <a:pt x="48" y="79"/>
                  </a:lnTo>
                  <a:lnTo>
                    <a:pt x="48" y="82"/>
                  </a:lnTo>
                  <a:lnTo>
                    <a:pt x="35" y="79"/>
                  </a:lnTo>
                  <a:lnTo>
                    <a:pt x="31" y="82"/>
                  </a:lnTo>
                  <a:lnTo>
                    <a:pt x="25" y="78"/>
                  </a:lnTo>
                  <a:lnTo>
                    <a:pt x="21" y="76"/>
                  </a:lnTo>
                  <a:lnTo>
                    <a:pt x="24" y="68"/>
                  </a:lnTo>
                  <a:lnTo>
                    <a:pt x="25" y="67"/>
                  </a:lnTo>
                  <a:lnTo>
                    <a:pt x="19" y="64"/>
                  </a:lnTo>
                  <a:lnTo>
                    <a:pt x="17" y="54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72" name="Freeform 306">
              <a:extLst>
                <a:ext uri="{FF2B5EF4-FFF2-40B4-BE49-F238E27FC236}">
                  <a16:creationId xmlns:a16="http://schemas.microsoft.com/office/drawing/2014/main" id="{9AEAD08E-5522-4A7F-B2C5-C945DC775665}"/>
                </a:ext>
              </a:extLst>
            </p:cNvPr>
            <p:cNvSpPr>
              <a:spLocks/>
            </p:cNvSpPr>
            <p:nvPr/>
          </p:nvSpPr>
          <p:spPr bwMode="gray">
            <a:xfrm>
              <a:off x="8311334" y="3066299"/>
              <a:ext cx="114163" cy="144836"/>
            </a:xfrm>
            <a:custGeom>
              <a:avLst/>
              <a:gdLst>
                <a:gd name="T0" fmla="*/ 31 w 54"/>
                <a:gd name="T1" fmla="*/ 64 h 66"/>
                <a:gd name="T2" fmla="*/ 30 w 54"/>
                <a:gd name="T3" fmla="*/ 62 h 66"/>
                <a:gd name="T4" fmla="*/ 25 w 54"/>
                <a:gd name="T5" fmla="*/ 64 h 66"/>
                <a:gd name="T6" fmla="*/ 23 w 54"/>
                <a:gd name="T7" fmla="*/ 66 h 66"/>
                <a:gd name="T8" fmla="*/ 21 w 54"/>
                <a:gd name="T9" fmla="*/ 63 h 66"/>
                <a:gd name="T10" fmla="*/ 21 w 54"/>
                <a:gd name="T11" fmla="*/ 62 h 66"/>
                <a:gd name="T12" fmla="*/ 21 w 54"/>
                <a:gd name="T13" fmla="*/ 60 h 66"/>
                <a:gd name="T14" fmla="*/ 17 w 54"/>
                <a:gd name="T15" fmla="*/ 56 h 66"/>
                <a:gd name="T16" fmla="*/ 15 w 54"/>
                <a:gd name="T17" fmla="*/ 48 h 66"/>
                <a:gd name="T18" fmla="*/ 15 w 54"/>
                <a:gd name="T19" fmla="*/ 43 h 66"/>
                <a:gd name="T20" fmla="*/ 15 w 54"/>
                <a:gd name="T21" fmla="*/ 40 h 66"/>
                <a:gd name="T22" fmla="*/ 5 w 54"/>
                <a:gd name="T23" fmla="*/ 31 h 66"/>
                <a:gd name="T24" fmla="*/ 3 w 54"/>
                <a:gd name="T25" fmla="*/ 28 h 66"/>
                <a:gd name="T26" fmla="*/ 4 w 54"/>
                <a:gd name="T27" fmla="*/ 26 h 66"/>
                <a:gd name="T28" fmla="*/ 10 w 54"/>
                <a:gd name="T29" fmla="*/ 28 h 66"/>
                <a:gd name="T30" fmla="*/ 10 w 54"/>
                <a:gd name="T31" fmla="*/ 26 h 66"/>
                <a:gd name="T32" fmla="*/ 1 w 54"/>
                <a:gd name="T33" fmla="*/ 14 h 66"/>
                <a:gd name="T34" fmla="*/ 0 w 54"/>
                <a:gd name="T35" fmla="*/ 12 h 66"/>
                <a:gd name="T36" fmla="*/ 0 w 54"/>
                <a:gd name="T37" fmla="*/ 9 h 66"/>
                <a:gd name="T38" fmla="*/ 11 w 54"/>
                <a:gd name="T39" fmla="*/ 3 h 66"/>
                <a:gd name="T40" fmla="*/ 16 w 54"/>
                <a:gd name="T41" fmla="*/ 0 h 66"/>
                <a:gd name="T42" fmla="*/ 31 w 54"/>
                <a:gd name="T43" fmla="*/ 14 h 66"/>
                <a:gd name="T44" fmla="*/ 46 w 54"/>
                <a:gd name="T45" fmla="*/ 30 h 66"/>
                <a:gd name="T46" fmla="*/ 54 w 54"/>
                <a:gd name="T47" fmla="*/ 52 h 66"/>
                <a:gd name="T48" fmla="*/ 48 w 54"/>
                <a:gd name="T49" fmla="*/ 56 h 66"/>
                <a:gd name="T50" fmla="*/ 42 w 54"/>
                <a:gd name="T51" fmla="*/ 58 h 66"/>
                <a:gd name="T52" fmla="*/ 39 w 54"/>
                <a:gd name="T53" fmla="*/ 57 h 66"/>
                <a:gd name="T54" fmla="*/ 37 w 54"/>
                <a:gd name="T55" fmla="*/ 60 h 66"/>
                <a:gd name="T56" fmla="*/ 35 w 54"/>
                <a:gd name="T57" fmla="*/ 61 h 66"/>
                <a:gd name="T58" fmla="*/ 33 w 54"/>
                <a:gd name="T59" fmla="*/ 62 h 66"/>
                <a:gd name="T60" fmla="*/ 31 w 54"/>
                <a:gd name="T61" fmla="*/ 6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66">
                  <a:moveTo>
                    <a:pt x="31" y="64"/>
                  </a:moveTo>
                  <a:lnTo>
                    <a:pt x="30" y="62"/>
                  </a:lnTo>
                  <a:lnTo>
                    <a:pt x="25" y="64"/>
                  </a:lnTo>
                  <a:lnTo>
                    <a:pt x="23" y="66"/>
                  </a:lnTo>
                  <a:lnTo>
                    <a:pt x="21" y="63"/>
                  </a:lnTo>
                  <a:lnTo>
                    <a:pt x="21" y="62"/>
                  </a:lnTo>
                  <a:lnTo>
                    <a:pt x="21" y="60"/>
                  </a:lnTo>
                  <a:lnTo>
                    <a:pt x="17" y="56"/>
                  </a:lnTo>
                  <a:lnTo>
                    <a:pt x="15" y="48"/>
                  </a:lnTo>
                  <a:lnTo>
                    <a:pt x="15" y="43"/>
                  </a:lnTo>
                  <a:lnTo>
                    <a:pt x="15" y="40"/>
                  </a:lnTo>
                  <a:lnTo>
                    <a:pt x="5" y="31"/>
                  </a:lnTo>
                  <a:lnTo>
                    <a:pt x="3" y="28"/>
                  </a:lnTo>
                  <a:lnTo>
                    <a:pt x="4" y="26"/>
                  </a:lnTo>
                  <a:lnTo>
                    <a:pt x="10" y="28"/>
                  </a:lnTo>
                  <a:lnTo>
                    <a:pt x="10" y="26"/>
                  </a:lnTo>
                  <a:lnTo>
                    <a:pt x="1" y="14"/>
                  </a:lnTo>
                  <a:lnTo>
                    <a:pt x="0" y="12"/>
                  </a:lnTo>
                  <a:lnTo>
                    <a:pt x="0" y="9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31" y="14"/>
                  </a:lnTo>
                  <a:lnTo>
                    <a:pt x="46" y="30"/>
                  </a:lnTo>
                  <a:lnTo>
                    <a:pt x="54" y="52"/>
                  </a:lnTo>
                  <a:lnTo>
                    <a:pt x="48" y="56"/>
                  </a:lnTo>
                  <a:lnTo>
                    <a:pt x="42" y="58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31" y="64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73" name="Freeform 307">
              <a:extLst>
                <a:ext uri="{FF2B5EF4-FFF2-40B4-BE49-F238E27FC236}">
                  <a16:creationId xmlns:a16="http://schemas.microsoft.com/office/drawing/2014/main" id="{7F81B01E-865D-4963-BB28-90FDD8D69321}"/>
                </a:ext>
              </a:extLst>
            </p:cNvPr>
            <p:cNvSpPr>
              <a:spLocks/>
            </p:cNvSpPr>
            <p:nvPr/>
          </p:nvSpPr>
          <p:spPr bwMode="gray">
            <a:xfrm>
              <a:off x="8290404" y="3538505"/>
              <a:ext cx="43763" cy="115074"/>
            </a:xfrm>
            <a:custGeom>
              <a:avLst/>
              <a:gdLst>
                <a:gd name="T0" fmla="*/ 14 w 20"/>
                <a:gd name="T1" fmla="*/ 52 h 52"/>
                <a:gd name="T2" fmla="*/ 2 w 20"/>
                <a:gd name="T3" fmla="*/ 40 h 52"/>
                <a:gd name="T4" fmla="*/ 0 w 20"/>
                <a:gd name="T5" fmla="*/ 22 h 52"/>
                <a:gd name="T6" fmla="*/ 6 w 20"/>
                <a:gd name="T7" fmla="*/ 11 h 52"/>
                <a:gd name="T8" fmla="*/ 12 w 20"/>
                <a:gd name="T9" fmla="*/ 0 h 52"/>
                <a:gd name="T10" fmla="*/ 20 w 20"/>
                <a:gd name="T11" fmla="*/ 4 h 52"/>
                <a:gd name="T12" fmla="*/ 19 w 20"/>
                <a:gd name="T13" fmla="*/ 16 h 52"/>
                <a:gd name="T14" fmla="*/ 18 w 20"/>
                <a:gd name="T15" fmla="*/ 28 h 52"/>
                <a:gd name="T16" fmla="*/ 15 w 20"/>
                <a:gd name="T17" fmla="*/ 40 h 52"/>
                <a:gd name="T18" fmla="*/ 14 w 20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2">
                  <a:moveTo>
                    <a:pt x="14" y="52"/>
                  </a:moveTo>
                  <a:lnTo>
                    <a:pt x="2" y="40"/>
                  </a:lnTo>
                  <a:lnTo>
                    <a:pt x="0" y="22"/>
                  </a:lnTo>
                  <a:lnTo>
                    <a:pt x="6" y="11"/>
                  </a:lnTo>
                  <a:lnTo>
                    <a:pt x="12" y="0"/>
                  </a:lnTo>
                  <a:lnTo>
                    <a:pt x="20" y="4"/>
                  </a:lnTo>
                  <a:lnTo>
                    <a:pt x="19" y="16"/>
                  </a:lnTo>
                  <a:lnTo>
                    <a:pt x="18" y="28"/>
                  </a:lnTo>
                  <a:lnTo>
                    <a:pt x="15" y="40"/>
                  </a:lnTo>
                  <a:lnTo>
                    <a:pt x="14" y="52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74" name="Freeform 308">
              <a:extLst>
                <a:ext uri="{FF2B5EF4-FFF2-40B4-BE49-F238E27FC236}">
                  <a16:creationId xmlns:a16="http://schemas.microsoft.com/office/drawing/2014/main" id="{27CC61CB-A1C6-4C0A-80E3-668E3F7A971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70757" y="2598064"/>
              <a:ext cx="884768" cy="361098"/>
            </a:xfrm>
            <a:custGeom>
              <a:avLst/>
              <a:gdLst>
                <a:gd name="T0" fmla="*/ 246 w 418"/>
                <a:gd name="T1" fmla="*/ 157 h 166"/>
                <a:gd name="T2" fmla="*/ 225 w 418"/>
                <a:gd name="T3" fmla="*/ 150 h 166"/>
                <a:gd name="T4" fmla="*/ 189 w 418"/>
                <a:gd name="T5" fmla="*/ 149 h 166"/>
                <a:gd name="T6" fmla="*/ 153 w 418"/>
                <a:gd name="T7" fmla="*/ 147 h 166"/>
                <a:gd name="T8" fmla="*/ 129 w 418"/>
                <a:gd name="T9" fmla="*/ 121 h 166"/>
                <a:gd name="T10" fmla="*/ 93 w 418"/>
                <a:gd name="T11" fmla="*/ 111 h 166"/>
                <a:gd name="T12" fmla="*/ 62 w 418"/>
                <a:gd name="T13" fmla="*/ 106 h 166"/>
                <a:gd name="T14" fmla="*/ 54 w 418"/>
                <a:gd name="T15" fmla="*/ 79 h 166"/>
                <a:gd name="T16" fmla="*/ 25 w 418"/>
                <a:gd name="T17" fmla="*/ 64 h 166"/>
                <a:gd name="T18" fmla="*/ 1 w 418"/>
                <a:gd name="T19" fmla="*/ 47 h 166"/>
                <a:gd name="T20" fmla="*/ 6 w 418"/>
                <a:gd name="T21" fmla="*/ 40 h 166"/>
                <a:gd name="T22" fmla="*/ 30 w 418"/>
                <a:gd name="T23" fmla="*/ 28 h 166"/>
                <a:gd name="T24" fmla="*/ 68 w 418"/>
                <a:gd name="T25" fmla="*/ 23 h 166"/>
                <a:gd name="T26" fmla="*/ 91 w 418"/>
                <a:gd name="T27" fmla="*/ 31 h 166"/>
                <a:gd name="T28" fmla="*/ 120 w 418"/>
                <a:gd name="T29" fmla="*/ 28 h 166"/>
                <a:gd name="T30" fmla="*/ 110 w 418"/>
                <a:gd name="T31" fmla="*/ 0 h 166"/>
                <a:gd name="T32" fmla="*/ 153 w 418"/>
                <a:gd name="T33" fmla="*/ 10 h 166"/>
                <a:gd name="T34" fmla="*/ 182 w 418"/>
                <a:gd name="T35" fmla="*/ 29 h 166"/>
                <a:gd name="T36" fmla="*/ 222 w 418"/>
                <a:gd name="T37" fmla="*/ 28 h 166"/>
                <a:gd name="T38" fmla="*/ 246 w 418"/>
                <a:gd name="T39" fmla="*/ 37 h 166"/>
                <a:gd name="T40" fmla="*/ 286 w 418"/>
                <a:gd name="T41" fmla="*/ 42 h 166"/>
                <a:gd name="T42" fmla="*/ 315 w 418"/>
                <a:gd name="T43" fmla="*/ 28 h 166"/>
                <a:gd name="T44" fmla="*/ 351 w 418"/>
                <a:gd name="T45" fmla="*/ 35 h 166"/>
                <a:gd name="T46" fmla="*/ 355 w 418"/>
                <a:gd name="T47" fmla="*/ 59 h 166"/>
                <a:gd name="T48" fmla="*/ 362 w 418"/>
                <a:gd name="T49" fmla="*/ 66 h 166"/>
                <a:gd name="T50" fmla="*/ 380 w 418"/>
                <a:gd name="T51" fmla="*/ 69 h 166"/>
                <a:gd name="T52" fmla="*/ 415 w 418"/>
                <a:gd name="T53" fmla="*/ 77 h 166"/>
                <a:gd name="T54" fmla="*/ 396 w 418"/>
                <a:gd name="T55" fmla="*/ 85 h 166"/>
                <a:gd name="T56" fmla="*/ 379 w 418"/>
                <a:gd name="T57" fmla="*/ 103 h 166"/>
                <a:gd name="T58" fmla="*/ 354 w 418"/>
                <a:gd name="T59" fmla="*/ 114 h 166"/>
                <a:gd name="T60" fmla="*/ 337 w 418"/>
                <a:gd name="T61" fmla="*/ 124 h 166"/>
                <a:gd name="T62" fmla="*/ 334 w 418"/>
                <a:gd name="T63" fmla="*/ 142 h 166"/>
                <a:gd name="T64" fmla="*/ 307 w 418"/>
                <a:gd name="T65" fmla="*/ 153 h 166"/>
                <a:gd name="T66" fmla="*/ 282 w 418"/>
                <a:gd name="T67" fmla="*/ 160 h 166"/>
                <a:gd name="T68" fmla="*/ 262 w 418"/>
                <a:gd name="T69" fmla="*/ 16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8" h="166">
                  <a:moveTo>
                    <a:pt x="262" y="161"/>
                  </a:moveTo>
                  <a:lnTo>
                    <a:pt x="246" y="157"/>
                  </a:lnTo>
                  <a:lnTo>
                    <a:pt x="230" y="155"/>
                  </a:lnTo>
                  <a:lnTo>
                    <a:pt x="225" y="150"/>
                  </a:lnTo>
                  <a:lnTo>
                    <a:pt x="207" y="149"/>
                  </a:lnTo>
                  <a:lnTo>
                    <a:pt x="189" y="149"/>
                  </a:lnTo>
                  <a:lnTo>
                    <a:pt x="171" y="148"/>
                  </a:lnTo>
                  <a:lnTo>
                    <a:pt x="153" y="147"/>
                  </a:lnTo>
                  <a:lnTo>
                    <a:pt x="141" y="135"/>
                  </a:lnTo>
                  <a:lnTo>
                    <a:pt x="129" y="121"/>
                  </a:lnTo>
                  <a:lnTo>
                    <a:pt x="111" y="117"/>
                  </a:lnTo>
                  <a:lnTo>
                    <a:pt x="93" y="111"/>
                  </a:lnTo>
                  <a:lnTo>
                    <a:pt x="78" y="108"/>
                  </a:lnTo>
                  <a:lnTo>
                    <a:pt x="62" y="106"/>
                  </a:lnTo>
                  <a:lnTo>
                    <a:pt x="57" y="93"/>
                  </a:lnTo>
                  <a:lnTo>
                    <a:pt x="54" y="79"/>
                  </a:lnTo>
                  <a:lnTo>
                    <a:pt x="34" y="66"/>
                  </a:lnTo>
                  <a:lnTo>
                    <a:pt x="25" y="64"/>
                  </a:lnTo>
                  <a:lnTo>
                    <a:pt x="6" y="53"/>
                  </a:lnTo>
                  <a:lnTo>
                    <a:pt x="1" y="47"/>
                  </a:lnTo>
                  <a:lnTo>
                    <a:pt x="0" y="45"/>
                  </a:lnTo>
                  <a:lnTo>
                    <a:pt x="6" y="40"/>
                  </a:lnTo>
                  <a:lnTo>
                    <a:pt x="16" y="35"/>
                  </a:lnTo>
                  <a:lnTo>
                    <a:pt x="30" y="28"/>
                  </a:lnTo>
                  <a:lnTo>
                    <a:pt x="42" y="21"/>
                  </a:lnTo>
                  <a:lnTo>
                    <a:pt x="68" y="23"/>
                  </a:lnTo>
                  <a:lnTo>
                    <a:pt x="72" y="29"/>
                  </a:lnTo>
                  <a:lnTo>
                    <a:pt x="91" y="31"/>
                  </a:lnTo>
                  <a:lnTo>
                    <a:pt x="110" y="35"/>
                  </a:lnTo>
                  <a:lnTo>
                    <a:pt x="120" y="28"/>
                  </a:lnTo>
                  <a:lnTo>
                    <a:pt x="108" y="17"/>
                  </a:lnTo>
                  <a:lnTo>
                    <a:pt x="110" y="0"/>
                  </a:lnTo>
                  <a:lnTo>
                    <a:pt x="132" y="5"/>
                  </a:lnTo>
                  <a:lnTo>
                    <a:pt x="153" y="10"/>
                  </a:lnTo>
                  <a:lnTo>
                    <a:pt x="163" y="19"/>
                  </a:lnTo>
                  <a:lnTo>
                    <a:pt x="182" y="29"/>
                  </a:lnTo>
                  <a:lnTo>
                    <a:pt x="204" y="24"/>
                  </a:lnTo>
                  <a:lnTo>
                    <a:pt x="222" y="28"/>
                  </a:lnTo>
                  <a:lnTo>
                    <a:pt x="238" y="33"/>
                  </a:lnTo>
                  <a:lnTo>
                    <a:pt x="246" y="37"/>
                  </a:lnTo>
                  <a:lnTo>
                    <a:pt x="272" y="45"/>
                  </a:lnTo>
                  <a:lnTo>
                    <a:pt x="286" y="42"/>
                  </a:lnTo>
                  <a:lnTo>
                    <a:pt x="301" y="39"/>
                  </a:lnTo>
                  <a:lnTo>
                    <a:pt x="315" y="28"/>
                  </a:lnTo>
                  <a:lnTo>
                    <a:pt x="339" y="34"/>
                  </a:lnTo>
                  <a:lnTo>
                    <a:pt x="351" y="35"/>
                  </a:lnTo>
                  <a:lnTo>
                    <a:pt x="352" y="47"/>
                  </a:lnTo>
                  <a:lnTo>
                    <a:pt x="355" y="59"/>
                  </a:lnTo>
                  <a:lnTo>
                    <a:pt x="351" y="60"/>
                  </a:lnTo>
                  <a:lnTo>
                    <a:pt x="362" y="66"/>
                  </a:lnTo>
                  <a:lnTo>
                    <a:pt x="375" y="66"/>
                  </a:lnTo>
                  <a:lnTo>
                    <a:pt x="380" y="69"/>
                  </a:lnTo>
                  <a:lnTo>
                    <a:pt x="386" y="63"/>
                  </a:lnTo>
                  <a:lnTo>
                    <a:pt x="415" y="77"/>
                  </a:lnTo>
                  <a:lnTo>
                    <a:pt x="418" y="85"/>
                  </a:lnTo>
                  <a:lnTo>
                    <a:pt x="396" y="85"/>
                  </a:lnTo>
                  <a:lnTo>
                    <a:pt x="381" y="93"/>
                  </a:lnTo>
                  <a:lnTo>
                    <a:pt x="379" y="103"/>
                  </a:lnTo>
                  <a:lnTo>
                    <a:pt x="366" y="107"/>
                  </a:lnTo>
                  <a:lnTo>
                    <a:pt x="354" y="114"/>
                  </a:lnTo>
                  <a:lnTo>
                    <a:pt x="336" y="108"/>
                  </a:lnTo>
                  <a:lnTo>
                    <a:pt x="337" y="124"/>
                  </a:lnTo>
                  <a:lnTo>
                    <a:pt x="345" y="131"/>
                  </a:lnTo>
                  <a:lnTo>
                    <a:pt x="334" y="142"/>
                  </a:lnTo>
                  <a:lnTo>
                    <a:pt x="322" y="151"/>
                  </a:lnTo>
                  <a:lnTo>
                    <a:pt x="307" y="153"/>
                  </a:lnTo>
                  <a:lnTo>
                    <a:pt x="291" y="154"/>
                  </a:lnTo>
                  <a:lnTo>
                    <a:pt x="282" y="160"/>
                  </a:lnTo>
                  <a:lnTo>
                    <a:pt x="272" y="166"/>
                  </a:lnTo>
                  <a:lnTo>
                    <a:pt x="262" y="16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77" name="Freeform 311">
              <a:extLst>
                <a:ext uri="{FF2B5EF4-FFF2-40B4-BE49-F238E27FC236}">
                  <a16:creationId xmlns:a16="http://schemas.microsoft.com/office/drawing/2014/main" id="{4424D44D-AF65-4A11-8E24-33B8460A81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90211" y="2893687"/>
              <a:ext cx="270188" cy="144836"/>
            </a:xfrm>
            <a:custGeom>
              <a:avLst/>
              <a:gdLst>
                <a:gd name="T0" fmla="*/ 42 w 127"/>
                <a:gd name="T1" fmla="*/ 37 h 65"/>
                <a:gd name="T2" fmla="*/ 27 w 127"/>
                <a:gd name="T3" fmla="*/ 29 h 65"/>
                <a:gd name="T4" fmla="*/ 9 w 127"/>
                <a:gd name="T5" fmla="*/ 27 h 65"/>
                <a:gd name="T6" fmla="*/ 0 w 127"/>
                <a:gd name="T7" fmla="*/ 15 h 65"/>
                <a:gd name="T8" fmla="*/ 8 w 127"/>
                <a:gd name="T9" fmla="*/ 8 h 65"/>
                <a:gd name="T10" fmla="*/ 23 w 127"/>
                <a:gd name="T11" fmla="*/ 9 h 65"/>
                <a:gd name="T12" fmla="*/ 36 w 127"/>
                <a:gd name="T13" fmla="*/ 12 h 65"/>
                <a:gd name="T14" fmla="*/ 43 w 127"/>
                <a:gd name="T15" fmla="*/ 2 h 65"/>
                <a:gd name="T16" fmla="*/ 55 w 127"/>
                <a:gd name="T17" fmla="*/ 3 h 65"/>
                <a:gd name="T18" fmla="*/ 73 w 127"/>
                <a:gd name="T19" fmla="*/ 3 h 65"/>
                <a:gd name="T20" fmla="*/ 90 w 127"/>
                <a:gd name="T21" fmla="*/ 2 h 65"/>
                <a:gd name="T22" fmla="*/ 107 w 127"/>
                <a:gd name="T23" fmla="*/ 0 h 65"/>
                <a:gd name="T24" fmla="*/ 123 w 127"/>
                <a:gd name="T25" fmla="*/ 11 h 65"/>
                <a:gd name="T26" fmla="*/ 127 w 127"/>
                <a:gd name="T27" fmla="*/ 18 h 65"/>
                <a:gd name="T28" fmla="*/ 117 w 127"/>
                <a:gd name="T29" fmla="*/ 26 h 65"/>
                <a:gd name="T30" fmla="*/ 107 w 127"/>
                <a:gd name="T31" fmla="*/ 35 h 65"/>
                <a:gd name="T32" fmla="*/ 93 w 127"/>
                <a:gd name="T33" fmla="*/ 38 h 65"/>
                <a:gd name="T34" fmla="*/ 85 w 127"/>
                <a:gd name="T35" fmla="*/ 48 h 65"/>
                <a:gd name="T36" fmla="*/ 77 w 127"/>
                <a:gd name="T37" fmla="*/ 47 h 65"/>
                <a:gd name="T38" fmla="*/ 71 w 127"/>
                <a:gd name="T39" fmla="*/ 47 h 65"/>
                <a:gd name="T40" fmla="*/ 61 w 127"/>
                <a:gd name="T41" fmla="*/ 53 h 65"/>
                <a:gd name="T42" fmla="*/ 56 w 127"/>
                <a:gd name="T43" fmla="*/ 65 h 65"/>
                <a:gd name="T44" fmla="*/ 33 w 127"/>
                <a:gd name="T45" fmla="*/ 61 h 65"/>
                <a:gd name="T46" fmla="*/ 11 w 127"/>
                <a:gd name="T47" fmla="*/ 59 h 65"/>
                <a:gd name="T48" fmla="*/ 9 w 127"/>
                <a:gd name="T49" fmla="*/ 48 h 65"/>
                <a:gd name="T50" fmla="*/ 26 w 127"/>
                <a:gd name="T51" fmla="*/ 43 h 65"/>
                <a:gd name="T52" fmla="*/ 42 w 127"/>
                <a:gd name="T53" fmla="*/ 3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7" h="65">
                  <a:moveTo>
                    <a:pt x="42" y="37"/>
                  </a:moveTo>
                  <a:lnTo>
                    <a:pt x="27" y="29"/>
                  </a:lnTo>
                  <a:lnTo>
                    <a:pt x="9" y="27"/>
                  </a:lnTo>
                  <a:lnTo>
                    <a:pt x="0" y="15"/>
                  </a:lnTo>
                  <a:lnTo>
                    <a:pt x="8" y="8"/>
                  </a:lnTo>
                  <a:lnTo>
                    <a:pt x="23" y="9"/>
                  </a:lnTo>
                  <a:lnTo>
                    <a:pt x="36" y="12"/>
                  </a:lnTo>
                  <a:lnTo>
                    <a:pt x="43" y="2"/>
                  </a:lnTo>
                  <a:lnTo>
                    <a:pt x="55" y="3"/>
                  </a:lnTo>
                  <a:lnTo>
                    <a:pt x="73" y="3"/>
                  </a:lnTo>
                  <a:lnTo>
                    <a:pt x="90" y="2"/>
                  </a:lnTo>
                  <a:lnTo>
                    <a:pt x="107" y="0"/>
                  </a:lnTo>
                  <a:lnTo>
                    <a:pt x="123" y="11"/>
                  </a:lnTo>
                  <a:lnTo>
                    <a:pt x="127" y="18"/>
                  </a:lnTo>
                  <a:lnTo>
                    <a:pt x="117" y="26"/>
                  </a:lnTo>
                  <a:lnTo>
                    <a:pt x="107" y="35"/>
                  </a:lnTo>
                  <a:lnTo>
                    <a:pt x="93" y="38"/>
                  </a:lnTo>
                  <a:lnTo>
                    <a:pt x="85" y="48"/>
                  </a:lnTo>
                  <a:lnTo>
                    <a:pt x="77" y="47"/>
                  </a:lnTo>
                  <a:lnTo>
                    <a:pt x="71" y="47"/>
                  </a:lnTo>
                  <a:lnTo>
                    <a:pt x="61" y="53"/>
                  </a:lnTo>
                  <a:lnTo>
                    <a:pt x="56" y="65"/>
                  </a:lnTo>
                  <a:lnTo>
                    <a:pt x="33" y="61"/>
                  </a:lnTo>
                  <a:lnTo>
                    <a:pt x="11" y="59"/>
                  </a:lnTo>
                  <a:lnTo>
                    <a:pt x="9" y="48"/>
                  </a:lnTo>
                  <a:lnTo>
                    <a:pt x="26" y="43"/>
                  </a:lnTo>
                  <a:lnTo>
                    <a:pt x="42" y="37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81" name="Line 315">
              <a:extLst>
                <a:ext uri="{FF2B5EF4-FFF2-40B4-BE49-F238E27FC236}">
                  <a16:creationId xmlns:a16="http://schemas.microsoft.com/office/drawing/2014/main" id="{204C05A0-CA32-4A8A-8B87-B2CD2B6C7C6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6846234" y="3123838"/>
              <a:ext cx="9514" cy="3967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82" name="Line 316">
              <a:extLst>
                <a:ext uri="{FF2B5EF4-FFF2-40B4-BE49-F238E27FC236}">
                  <a16:creationId xmlns:a16="http://schemas.microsoft.com/office/drawing/2014/main" id="{4687384A-70AE-46D2-8A1F-8515C6AD0E3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6851942" y="3127805"/>
              <a:ext cx="3805" cy="7937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83" name="Line 317">
              <a:extLst>
                <a:ext uri="{FF2B5EF4-FFF2-40B4-BE49-F238E27FC236}">
                  <a16:creationId xmlns:a16="http://schemas.microsoft.com/office/drawing/2014/main" id="{45B172F9-D181-4785-8892-F52471FD4F2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6842428" y="3131774"/>
              <a:ext cx="9514" cy="3967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84" name="Line 318">
              <a:extLst>
                <a:ext uri="{FF2B5EF4-FFF2-40B4-BE49-F238E27FC236}">
                  <a16:creationId xmlns:a16="http://schemas.microsoft.com/office/drawing/2014/main" id="{6B1135A3-D07A-4563-90C0-5531A897D4DB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6834818" y="3135742"/>
              <a:ext cx="7611" cy="9919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85" name="Line 319">
              <a:extLst>
                <a:ext uri="{FF2B5EF4-FFF2-40B4-BE49-F238E27FC236}">
                  <a16:creationId xmlns:a16="http://schemas.microsoft.com/office/drawing/2014/main" id="{D6A4A6C9-B359-475B-99AE-1B49FFF2C4D1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6829111" y="3145663"/>
              <a:ext cx="9514" cy="3967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86" name="Line 320">
              <a:extLst>
                <a:ext uri="{FF2B5EF4-FFF2-40B4-BE49-F238E27FC236}">
                  <a16:creationId xmlns:a16="http://schemas.microsoft.com/office/drawing/2014/main" id="{BAC53E86-A4FB-4C91-B610-1D2C65F1917A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6825304" y="3145663"/>
              <a:ext cx="3805" cy="13889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87" name="Line 321">
              <a:extLst>
                <a:ext uri="{FF2B5EF4-FFF2-40B4-BE49-F238E27FC236}">
                  <a16:creationId xmlns:a16="http://schemas.microsoft.com/office/drawing/2014/main" id="{5B42A184-20BF-4223-A3CE-AF28C584093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6825304" y="3153598"/>
              <a:ext cx="3805" cy="13889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88" name="Line 322">
              <a:extLst>
                <a:ext uri="{FF2B5EF4-FFF2-40B4-BE49-F238E27FC236}">
                  <a16:creationId xmlns:a16="http://schemas.microsoft.com/office/drawing/2014/main" id="{425CA5E7-05DF-439F-B363-B8BD2337712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6825304" y="3163519"/>
              <a:ext cx="3805" cy="11904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89" name="Line 323">
              <a:extLst>
                <a:ext uri="{FF2B5EF4-FFF2-40B4-BE49-F238E27FC236}">
                  <a16:creationId xmlns:a16="http://schemas.microsoft.com/office/drawing/2014/main" id="{A6E723AA-805A-46B3-8019-CF359BE0AAF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6829111" y="3171455"/>
              <a:ext cx="5707" cy="13889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90" name="Line 324">
              <a:extLst>
                <a:ext uri="{FF2B5EF4-FFF2-40B4-BE49-F238E27FC236}">
                  <a16:creationId xmlns:a16="http://schemas.microsoft.com/office/drawing/2014/main" id="{6BFBBFFD-2D2E-4597-9602-318C83EABD7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6829111" y="3181375"/>
              <a:ext cx="9514" cy="11904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91" name="Line 325">
              <a:extLst>
                <a:ext uri="{FF2B5EF4-FFF2-40B4-BE49-F238E27FC236}">
                  <a16:creationId xmlns:a16="http://schemas.microsoft.com/office/drawing/2014/main" id="{A71D946F-9363-4341-96DF-1F3D623D4E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6863358" y="3232960"/>
              <a:ext cx="3805" cy="5952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92" name="Line 326">
              <a:extLst>
                <a:ext uri="{FF2B5EF4-FFF2-40B4-BE49-F238E27FC236}">
                  <a16:creationId xmlns:a16="http://schemas.microsoft.com/office/drawing/2014/main" id="{9D58FEEE-A443-460B-B26C-EEF86972EEE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6863358" y="3232960"/>
              <a:ext cx="3805" cy="17858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93" name="Line 327">
              <a:extLst>
                <a:ext uri="{FF2B5EF4-FFF2-40B4-BE49-F238E27FC236}">
                  <a16:creationId xmlns:a16="http://schemas.microsoft.com/office/drawing/2014/main" id="{A12AF76E-62AA-4D87-98B4-5202622AF80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6867165" y="3246850"/>
              <a:ext cx="5707" cy="13889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94" name="Line 328">
              <a:extLst>
                <a:ext uri="{FF2B5EF4-FFF2-40B4-BE49-F238E27FC236}">
                  <a16:creationId xmlns:a16="http://schemas.microsoft.com/office/drawing/2014/main" id="{B19DFA19-3D3A-4984-A171-F1C44EC06CA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6867165" y="3254785"/>
              <a:ext cx="13319" cy="9919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95" name="Line 329">
              <a:extLst>
                <a:ext uri="{FF2B5EF4-FFF2-40B4-BE49-F238E27FC236}">
                  <a16:creationId xmlns:a16="http://schemas.microsoft.com/office/drawing/2014/main" id="{1D19FABB-30F5-48DB-A632-E1F69AEC256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6876678" y="3260737"/>
              <a:ext cx="13319" cy="3967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96" name="Line 330">
              <a:extLst>
                <a:ext uri="{FF2B5EF4-FFF2-40B4-BE49-F238E27FC236}">
                  <a16:creationId xmlns:a16="http://schemas.microsoft.com/office/drawing/2014/main" id="{7A3FB8A1-4519-4BAA-8B13-2F136F00575B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7015576" y="3221058"/>
              <a:ext cx="13319" cy="3967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97" name="Line 331">
              <a:extLst>
                <a:ext uri="{FF2B5EF4-FFF2-40B4-BE49-F238E27FC236}">
                  <a16:creationId xmlns:a16="http://schemas.microsoft.com/office/drawing/2014/main" id="{3782D0D3-659B-4483-8CB6-A3333C32C277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7028897" y="3199233"/>
              <a:ext cx="3805" cy="21825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98" name="Line 332">
              <a:extLst>
                <a:ext uri="{FF2B5EF4-FFF2-40B4-BE49-F238E27FC236}">
                  <a16:creationId xmlns:a16="http://schemas.microsoft.com/office/drawing/2014/main" id="{67E0FA04-D4C0-4321-8DFD-074E4CCA1758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7032702" y="3171455"/>
              <a:ext cx="5707" cy="31745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99" name="Line 333">
              <a:extLst>
                <a:ext uri="{FF2B5EF4-FFF2-40B4-BE49-F238E27FC236}">
                  <a16:creationId xmlns:a16="http://schemas.microsoft.com/office/drawing/2014/main" id="{AAF07BE0-A1CB-4C76-9B3B-19B68ED1FBED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7011773" y="3167488"/>
              <a:ext cx="20930" cy="3967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00" name="Line 334">
              <a:extLst>
                <a:ext uri="{FF2B5EF4-FFF2-40B4-BE49-F238E27FC236}">
                  <a16:creationId xmlns:a16="http://schemas.microsoft.com/office/drawing/2014/main" id="{E298726D-A1C6-4B4E-9664-2C951F44956F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7004160" y="3163519"/>
              <a:ext cx="11418" cy="3967"/>
            </a:xfrm>
            <a:prstGeom prst="line">
              <a:avLst/>
            </a:pr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03" name="Freeform 337">
              <a:extLst>
                <a:ext uri="{FF2B5EF4-FFF2-40B4-BE49-F238E27FC236}">
                  <a16:creationId xmlns:a16="http://schemas.microsoft.com/office/drawing/2014/main" id="{A82D2E59-A705-4546-890C-03D58800181A}"/>
                </a:ext>
              </a:extLst>
            </p:cNvPr>
            <p:cNvSpPr>
              <a:spLocks/>
            </p:cNvSpPr>
            <p:nvPr/>
          </p:nvSpPr>
          <p:spPr bwMode="gray">
            <a:xfrm>
              <a:off x="6635032" y="2955192"/>
              <a:ext cx="232134" cy="172613"/>
            </a:xfrm>
            <a:custGeom>
              <a:avLst/>
              <a:gdLst>
                <a:gd name="T0" fmla="*/ 95 w 112"/>
                <a:gd name="T1" fmla="*/ 70 h 78"/>
                <a:gd name="T2" fmla="*/ 84 w 112"/>
                <a:gd name="T3" fmla="*/ 70 h 78"/>
                <a:gd name="T4" fmla="*/ 67 w 112"/>
                <a:gd name="T5" fmla="*/ 78 h 78"/>
                <a:gd name="T6" fmla="*/ 63 w 112"/>
                <a:gd name="T7" fmla="*/ 59 h 78"/>
                <a:gd name="T8" fmla="*/ 59 w 112"/>
                <a:gd name="T9" fmla="*/ 59 h 78"/>
                <a:gd name="T10" fmla="*/ 54 w 112"/>
                <a:gd name="T11" fmla="*/ 52 h 78"/>
                <a:gd name="T12" fmla="*/ 48 w 112"/>
                <a:gd name="T13" fmla="*/ 54 h 78"/>
                <a:gd name="T14" fmla="*/ 47 w 112"/>
                <a:gd name="T15" fmla="*/ 64 h 78"/>
                <a:gd name="T16" fmla="*/ 36 w 112"/>
                <a:gd name="T17" fmla="*/ 69 h 78"/>
                <a:gd name="T18" fmla="*/ 34 w 112"/>
                <a:gd name="T19" fmla="*/ 72 h 78"/>
                <a:gd name="T20" fmla="*/ 24 w 112"/>
                <a:gd name="T21" fmla="*/ 72 h 78"/>
                <a:gd name="T22" fmla="*/ 18 w 112"/>
                <a:gd name="T23" fmla="*/ 74 h 78"/>
                <a:gd name="T24" fmla="*/ 13 w 112"/>
                <a:gd name="T25" fmla="*/ 71 h 78"/>
                <a:gd name="T26" fmla="*/ 16 w 112"/>
                <a:gd name="T27" fmla="*/ 60 h 78"/>
                <a:gd name="T28" fmla="*/ 19 w 112"/>
                <a:gd name="T29" fmla="*/ 51 h 78"/>
                <a:gd name="T30" fmla="*/ 16 w 112"/>
                <a:gd name="T31" fmla="*/ 44 h 78"/>
                <a:gd name="T32" fmla="*/ 6 w 112"/>
                <a:gd name="T33" fmla="*/ 39 h 78"/>
                <a:gd name="T34" fmla="*/ 0 w 112"/>
                <a:gd name="T35" fmla="*/ 32 h 78"/>
                <a:gd name="T36" fmla="*/ 15 w 112"/>
                <a:gd name="T37" fmla="*/ 20 h 78"/>
                <a:gd name="T38" fmla="*/ 28 w 112"/>
                <a:gd name="T39" fmla="*/ 9 h 78"/>
                <a:gd name="T40" fmla="*/ 37 w 112"/>
                <a:gd name="T41" fmla="*/ 0 h 78"/>
                <a:gd name="T42" fmla="*/ 55 w 112"/>
                <a:gd name="T43" fmla="*/ 2 h 78"/>
                <a:gd name="T44" fmla="*/ 70 w 112"/>
                <a:gd name="T45" fmla="*/ 10 h 78"/>
                <a:gd name="T46" fmla="*/ 54 w 112"/>
                <a:gd name="T47" fmla="*/ 16 h 78"/>
                <a:gd name="T48" fmla="*/ 37 w 112"/>
                <a:gd name="T49" fmla="*/ 21 h 78"/>
                <a:gd name="T50" fmla="*/ 39 w 112"/>
                <a:gd name="T51" fmla="*/ 32 h 78"/>
                <a:gd name="T52" fmla="*/ 61 w 112"/>
                <a:gd name="T53" fmla="*/ 34 h 78"/>
                <a:gd name="T54" fmla="*/ 84 w 112"/>
                <a:gd name="T55" fmla="*/ 38 h 78"/>
                <a:gd name="T56" fmla="*/ 91 w 112"/>
                <a:gd name="T57" fmla="*/ 51 h 78"/>
                <a:gd name="T58" fmla="*/ 103 w 112"/>
                <a:gd name="T59" fmla="*/ 52 h 78"/>
                <a:gd name="T60" fmla="*/ 112 w 112"/>
                <a:gd name="T61" fmla="*/ 70 h 78"/>
                <a:gd name="T62" fmla="*/ 111 w 112"/>
                <a:gd name="T63" fmla="*/ 71 h 78"/>
                <a:gd name="T64" fmla="*/ 99 w 112"/>
                <a:gd name="T65" fmla="*/ 70 h 78"/>
                <a:gd name="T66" fmla="*/ 95 w 112"/>
                <a:gd name="T67" fmla="*/ 7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2" h="78">
                  <a:moveTo>
                    <a:pt x="95" y="70"/>
                  </a:moveTo>
                  <a:lnTo>
                    <a:pt x="84" y="70"/>
                  </a:lnTo>
                  <a:lnTo>
                    <a:pt x="67" y="78"/>
                  </a:lnTo>
                  <a:lnTo>
                    <a:pt x="63" y="59"/>
                  </a:lnTo>
                  <a:lnTo>
                    <a:pt x="59" y="59"/>
                  </a:lnTo>
                  <a:lnTo>
                    <a:pt x="54" y="52"/>
                  </a:lnTo>
                  <a:lnTo>
                    <a:pt x="48" y="54"/>
                  </a:lnTo>
                  <a:lnTo>
                    <a:pt x="47" y="64"/>
                  </a:lnTo>
                  <a:lnTo>
                    <a:pt x="36" y="69"/>
                  </a:lnTo>
                  <a:lnTo>
                    <a:pt x="34" y="72"/>
                  </a:lnTo>
                  <a:lnTo>
                    <a:pt x="24" y="72"/>
                  </a:lnTo>
                  <a:lnTo>
                    <a:pt x="18" y="74"/>
                  </a:lnTo>
                  <a:lnTo>
                    <a:pt x="13" y="71"/>
                  </a:lnTo>
                  <a:lnTo>
                    <a:pt x="16" y="60"/>
                  </a:lnTo>
                  <a:lnTo>
                    <a:pt x="19" y="51"/>
                  </a:lnTo>
                  <a:lnTo>
                    <a:pt x="16" y="44"/>
                  </a:lnTo>
                  <a:lnTo>
                    <a:pt x="6" y="39"/>
                  </a:lnTo>
                  <a:lnTo>
                    <a:pt x="0" y="32"/>
                  </a:lnTo>
                  <a:lnTo>
                    <a:pt x="15" y="20"/>
                  </a:lnTo>
                  <a:lnTo>
                    <a:pt x="28" y="9"/>
                  </a:lnTo>
                  <a:lnTo>
                    <a:pt x="37" y="0"/>
                  </a:lnTo>
                  <a:lnTo>
                    <a:pt x="55" y="2"/>
                  </a:lnTo>
                  <a:lnTo>
                    <a:pt x="70" y="10"/>
                  </a:lnTo>
                  <a:lnTo>
                    <a:pt x="54" y="16"/>
                  </a:lnTo>
                  <a:lnTo>
                    <a:pt x="37" y="21"/>
                  </a:lnTo>
                  <a:lnTo>
                    <a:pt x="39" y="32"/>
                  </a:lnTo>
                  <a:lnTo>
                    <a:pt x="61" y="34"/>
                  </a:lnTo>
                  <a:lnTo>
                    <a:pt x="84" y="38"/>
                  </a:lnTo>
                  <a:lnTo>
                    <a:pt x="91" y="51"/>
                  </a:lnTo>
                  <a:lnTo>
                    <a:pt x="103" y="52"/>
                  </a:lnTo>
                  <a:lnTo>
                    <a:pt x="112" y="70"/>
                  </a:lnTo>
                  <a:lnTo>
                    <a:pt x="111" y="71"/>
                  </a:lnTo>
                  <a:lnTo>
                    <a:pt x="99" y="70"/>
                  </a:lnTo>
                  <a:lnTo>
                    <a:pt x="95" y="7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57" name="Freeform 393">
              <a:extLst>
                <a:ext uri="{FF2B5EF4-FFF2-40B4-BE49-F238E27FC236}">
                  <a16:creationId xmlns:a16="http://schemas.microsoft.com/office/drawing/2014/main" id="{35D6B884-19C4-46D4-9FB7-9C2DEB6408CA}"/>
                </a:ext>
              </a:extLst>
            </p:cNvPr>
            <p:cNvSpPr>
              <a:spLocks/>
            </p:cNvSpPr>
            <p:nvPr/>
          </p:nvSpPr>
          <p:spPr bwMode="gray">
            <a:xfrm>
              <a:off x="8355097" y="2518701"/>
              <a:ext cx="249256" cy="281735"/>
            </a:xfrm>
            <a:custGeom>
              <a:avLst/>
              <a:gdLst>
                <a:gd name="T0" fmla="*/ 104 w 117"/>
                <a:gd name="T1" fmla="*/ 89 h 130"/>
                <a:gd name="T2" fmla="*/ 89 w 117"/>
                <a:gd name="T3" fmla="*/ 76 h 130"/>
                <a:gd name="T4" fmla="*/ 73 w 117"/>
                <a:gd name="T5" fmla="*/ 63 h 130"/>
                <a:gd name="T6" fmla="*/ 56 w 117"/>
                <a:gd name="T7" fmla="*/ 48 h 130"/>
                <a:gd name="T8" fmla="*/ 39 w 117"/>
                <a:gd name="T9" fmla="*/ 35 h 130"/>
                <a:gd name="T10" fmla="*/ 36 w 117"/>
                <a:gd name="T11" fmla="*/ 30 h 130"/>
                <a:gd name="T12" fmla="*/ 20 w 117"/>
                <a:gd name="T13" fmla="*/ 15 h 130"/>
                <a:gd name="T14" fmla="*/ 3 w 117"/>
                <a:gd name="T15" fmla="*/ 0 h 130"/>
                <a:gd name="T16" fmla="*/ 0 w 117"/>
                <a:gd name="T17" fmla="*/ 1 h 130"/>
                <a:gd name="T18" fmla="*/ 13 w 117"/>
                <a:gd name="T19" fmla="*/ 11 h 130"/>
                <a:gd name="T20" fmla="*/ 12 w 117"/>
                <a:gd name="T21" fmla="*/ 16 h 130"/>
                <a:gd name="T22" fmla="*/ 6 w 117"/>
                <a:gd name="T23" fmla="*/ 16 h 130"/>
                <a:gd name="T24" fmla="*/ 19 w 117"/>
                <a:gd name="T25" fmla="*/ 30 h 130"/>
                <a:gd name="T26" fmla="*/ 32 w 117"/>
                <a:gd name="T27" fmla="*/ 43 h 130"/>
                <a:gd name="T28" fmla="*/ 45 w 117"/>
                <a:gd name="T29" fmla="*/ 57 h 130"/>
                <a:gd name="T30" fmla="*/ 56 w 117"/>
                <a:gd name="T31" fmla="*/ 72 h 130"/>
                <a:gd name="T32" fmla="*/ 66 w 117"/>
                <a:gd name="T33" fmla="*/ 88 h 130"/>
                <a:gd name="T34" fmla="*/ 77 w 117"/>
                <a:gd name="T35" fmla="*/ 101 h 130"/>
                <a:gd name="T36" fmla="*/ 87 w 117"/>
                <a:gd name="T37" fmla="*/ 114 h 130"/>
                <a:gd name="T38" fmla="*/ 98 w 117"/>
                <a:gd name="T39" fmla="*/ 130 h 130"/>
                <a:gd name="T40" fmla="*/ 102 w 117"/>
                <a:gd name="T41" fmla="*/ 130 h 130"/>
                <a:gd name="T42" fmla="*/ 99 w 117"/>
                <a:gd name="T43" fmla="*/ 119 h 130"/>
                <a:gd name="T44" fmla="*/ 113 w 117"/>
                <a:gd name="T45" fmla="*/ 125 h 130"/>
                <a:gd name="T46" fmla="*/ 117 w 117"/>
                <a:gd name="T47" fmla="*/ 130 h 130"/>
                <a:gd name="T48" fmla="*/ 108 w 117"/>
                <a:gd name="T49" fmla="*/ 118 h 130"/>
                <a:gd name="T50" fmla="*/ 84 w 117"/>
                <a:gd name="T51" fmla="*/ 100 h 130"/>
                <a:gd name="T52" fmla="*/ 78 w 117"/>
                <a:gd name="T53" fmla="*/ 79 h 130"/>
                <a:gd name="T54" fmla="*/ 83 w 117"/>
                <a:gd name="T55" fmla="*/ 79 h 130"/>
                <a:gd name="T56" fmla="*/ 98 w 117"/>
                <a:gd name="T57" fmla="*/ 85 h 130"/>
                <a:gd name="T58" fmla="*/ 104 w 117"/>
                <a:gd name="T59" fmla="*/ 89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7" h="130">
                  <a:moveTo>
                    <a:pt x="104" y="89"/>
                  </a:moveTo>
                  <a:lnTo>
                    <a:pt x="89" y="76"/>
                  </a:lnTo>
                  <a:lnTo>
                    <a:pt x="73" y="63"/>
                  </a:lnTo>
                  <a:lnTo>
                    <a:pt x="56" y="48"/>
                  </a:lnTo>
                  <a:lnTo>
                    <a:pt x="39" y="35"/>
                  </a:lnTo>
                  <a:lnTo>
                    <a:pt x="36" y="30"/>
                  </a:lnTo>
                  <a:lnTo>
                    <a:pt x="20" y="15"/>
                  </a:lnTo>
                  <a:lnTo>
                    <a:pt x="3" y="0"/>
                  </a:lnTo>
                  <a:lnTo>
                    <a:pt x="0" y="1"/>
                  </a:lnTo>
                  <a:lnTo>
                    <a:pt x="13" y="11"/>
                  </a:lnTo>
                  <a:lnTo>
                    <a:pt x="12" y="16"/>
                  </a:lnTo>
                  <a:lnTo>
                    <a:pt x="6" y="16"/>
                  </a:lnTo>
                  <a:lnTo>
                    <a:pt x="19" y="30"/>
                  </a:lnTo>
                  <a:lnTo>
                    <a:pt x="32" y="43"/>
                  </a:lnTo>
                  <a:lnTo>
                    <a:pt x="45" y="57"/>
                  </a:lnTo>
                  <a:lnTo>
                    <a:pt x="56" y="72"/>
                  </a:lnTo>
                  <a:lnTo>
                    <a:pt x="66" y="88"/>
                  </a:lnTo>
                  <a:lnTo>
                    <a:pt x="77" y="101"/>
                  </a:lnTo>
                  <a:lnTo>
                    <a:pt x="87" y="114"/>
                  </a:lnTo>
                  <a:lnTo>
                    <a:pt x="98" y="130"/>
                  </a:lnTo>
                  <a:lnTo>
                    <a:pt x="102" y="130"/>
                  </a:lnTo>
                  <a:lnTo>
                    <a:pt x="99" y="119"/>
                  </a:lnTo>
                  <a:lnTo>
                    <a:pt x="113" y="125"/>
                  </a:lnTo>
                  <a:lnTo>
                    <a:pt x="117" y="130"/>
                  </a:lnTo>
                  <a:lnTo>
                    <a:pt x="108" y="118"/>
                  </a:lnTo>
                  <a:lnTo>
                    <a:pt x="84" y="100"/>
                  </a:lnTo>
                  <a:lnTo>
                    <a:pt x="78" y="79"/>
                  </a:lnTo>
                  <a:lnTo>
                    <a:pt x="83" y="79"/>
                  </a:lnTo>
                  <a:lnTo>
                    <a:pt x="98" y="85"/>
                  </a:lnTo>
                  <a:lnTo>
                    <a:pt x="104" y="89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60" name="Freeform 396">
              <a:extLst>
                <a:ext uri="{FF2B5EF4-FFF2-40B4-BE49-F238E27FC236}">
                  <a16:creationId xmlns:a16="http://schemas.microsoft.com/office/drawing/2014/main" id="{066E1649-E1AA-4FA9-A013-465CE1467386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8384" y="1842139"/>
              <a:ext cx="176955" cy="45633"/>
            </a:xfrm>
            <a:custGeom>
              <a:avLst/>
              <a:gdLst>
                <a:gd name="T0" fmla="*/ 84 w 84"/>
                <a:gd name="T1" fmla="*/ 9 h 20"/>
                <a:gd name="T2" fmla="*/ 31 w 84"/>
                <a:gd name="T3" fmla="*/ 0 h 20"/>
                <a:gd name="T4" fmla="*/ 37 w 84"/>
                <a:gd name="T5" fmla="*/ 3 h 20"/>
                <a:gd name="T6" fmla="*/ 31 w 84"/>
                <a:gd name="T7" fmla="*/ 3 h 20"/>
                <a:gd name="T8" fmla="*/ 36 w 84"/>
                <a:gd name="T9" fmla="*/ 6 h 20"/>
                <a:gd name="T10" fmla="*/ 11 w 84"/>
                <a:gd name="T11" fmla="*/ 2 h 20"/>
                <a:gd name="T12" fmla="*/ 0 w 84"/>
                <a:gd name="T13" fmla="*/ 4 h 20"/>
                <a:gd name="T14" fmla="*/ 0 w 84"/>
                <a:gd name="T15" fmla="*/ 5 h 20"/>
                <a:gd name="T16" fmla="*/ 5 w 84"/>
                <a:gd name="T17" fmla="*/ 9 h 20"/>
                <a:gd name="T18" fmla="*/ 8 w 84"/>
                <a:gd name="T19" fmla="*/ 11 h 20"/>
                <a:gd name="T20" fmla="*/ 41 w 84"/>
                <a:gd name="T21" fmla="*/ 20 h 20"/>
                <a:gd name="T22" fmla="*/ 42 w 84"/>
                <a:gd name="T23" fmla="*/ 16 h 20"/>
                <a:gd name="T24" fmla="*/ 67 w 84"/>
                <a:gd name="T25" fmla="*/ 16 h 20"/>
                <a:gd name="T26" fmla="*/ 79 w 84"/>
                <a:gd name="T27" fmla="*/ 16 h 20"/>
                <a:gd name="T28" fmla="*/ 73 w 84"/>
                <a:gd name="T29" fmla="*/ 14 h 20"/>
                <a:gd name="T30" fmla="*/ 83 w 84"/>
                <a:gd name="T31" fmla="*/ 12 h 20"/>
                <a:gd name="T32" fmla="*/ 84 w 84"/>
                <a:gd name="T33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20">
                  <a:moveTo>
                    <a:pt x="84" y="9"/>
                  </a:moveTo>
                  <a:lnTo>
                    <a:pt x="31" y="0"/>
                  </a:lnTo>
                  <a:lnTo>
                    <a:pt x="37" y="3"/>
                  </a:lnTo>
                  <a:lnTo>
                    <a:pt x="31" y="3"/>
                  </a:lnTo>
                  <a:lnTo>
                    <a:pt x="36" y="6"/>
                  </a:lnTo>
                  <a:lnTo>
                    <a:pt x="11" y="2"/>
                  </a:lnTo>
                  <a:lnTo>
                    <a:pt x="0" y="4"/>
                  </a:lnTo>
                  <a:lnTo>
                    <a:pt x="0" y="5"/>
                  </a:lnTo>
                  <a:lnTo>
                    <a:pt x="5" y="9"/>
                  </a:lnTo>
                  <a:lnTo>
                    <a:pt x="8" y="11"/>
                  </a:lnTo>
                  <a:lnTo>
                    <a:pt x="41" y="20"/>
                  </a:lnTo>
                  <a:lnTo>
                    <a:pt x="42" y="16"/>
                  </a:lnTo>
                  <a:lnTo>
                    <a:pt x="67" y="16"/>
                  </a:lnTo>
                  <a:lnTo>
                    <a:pt x="79" y="16"/>
                  </a:lnTo>
                  <a:lnTo>
                    <a:pt x="73" y="14"/>
                  </a:lnTo>
                  <a:lnTo>
                    <a:pt x="83" y="12"/>
                  </a:lnTo>
                  <a:lnTo>
                    <a:pt x="84" y="9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62" name="Freeform 398">
              <a:extLst>
                <a:ext uri="{FF2B5EF4-FFF2-40B4-BE49-F238E27FC236}">
                  <a16:creationId xmlns:a16="http://schemas.microsoft.com/office/drawing/2014/main" id="{A0906468-F51C-49D8-92B4-54E9EBBD48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91" y="1758808"/>
              <a:ext cx="102748" cy="39681"/>
            </a:xfrm>
            <a:custGeom>
              <a:avLst/>
              <a:gdLst>
                <a:gd name="T0" fmla="*/ 48 w 48"/>
                <a:gd name="T1" fmla="*/ 11 h 18"/>
                <a:gd name="T2" fmla="*/ 23 w 48"/>
                <a:gd name="T3" fmla="*/ 4 h 18"/>
                <a:gd name="T4" fmla="*/ 17 w 48"/>
                <a:gd name="T5" fmla="*/ 7 h 18"/>
                <a:gd name="T6" fmla="*/ 13 w 48"/>
                <a:gd name="T7" fmla="*/ 1 h 18"/>
                <a:gd name="T8" fmla="*/ 6 w 48"/>
                <a:gd name="T9" fmla="*/ 0 h 18"/>
                <a:gd name="T10" fmla="*/ 9 w 48"/>
                <a:gd name="T11" fmla="*/ 2 h 18"/>
                <a:gd name="T12" fmla="*/ 0 w 48"/>
                <a:gd name="T13" fmla="*/ 4 h 18"/>
                <a:gd name="T14" fmla="*/ 2 w 48"/>
                <a:gd name="T15" fmla="*/ 5 h 18"/>
                <a:gd name="T16" fmla="*/ 7 w 48"/>
                <a:gd name="T17" fmla="*/ 8 h 18"/>
                <a:gd name="T18" fmla="*/ 1 w 48"/>
                <a:gd name="T19" fmla="*/ 11 h 18"/>
                <a:gd name="T20" fmla="*/ 5 w 48"/>
                <a:gd name="T21" fmla="*/ 18 h 18"/>
                <a:gd name="T22" fmla="*/ 48 w 48"/>
                <a:gd name="T2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18">
                  <a:moveTo>
                    <a:pt x="48" y="11"/>
                  </a:moveTo>
                  <a:lnTo>
                    <a:pt x="23" y="4"/>
                  </a:lnTo>
                  <a:lnTo>
                    <a:pt x="17" y="7"/>
                  </a:lnTo>
                  <a:lnTo>
                    <a:pt x="13" y="1"/>
                  </a:lnTo>
                  <a:lnTo>
                    <a:pt x="6" y="0"/>
                  </a:lnTo>
                  <a:lnTo>
                    <a:pt x="9" y="2"/>
                  </a:lnTo>
                  <a:lnTo>
                    <a:pt x="0" y="4"/>
                  </a:lnTo>
                  <a:lnTo>
                    <a:pt x="2" y="5"/>
                  </a:lnTo>
                  <a:lnTo>
                    <a:pt x="7" y="8"/>
                  </a:lnTo>
                  <a:lnTo>
                    <a:pt x="1" y="11"/>
                  </a:lnTo>
                  <a:lnTo>
                    <a:pt x="5" y="18"/>
                  </a:lnTo>
                  <a:lnTo>
                    <a:pt x="48" y="1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64" name="Freeform 400">
              <a:extLst>
                <a:ext uri="{FF2B5EF4-FFF2-40B4-BE49-F238E27FC236}">
                  <a16:creationId xmlns:a16="http://schemas.microsoft.com/office/drawing/2014/main" id="{EBB5F646-D062-41CB-8FE6-0C3E612CA0F2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461" y="1859995"/>
              <a:ext cx="114163" cy="21825"/>
            </a:xfrm>
            <a:custGeom>
              <a:avLst/>
              <a:gdLst>
                <a:gd name="T0" fmla="*/ 54 w 54"/>
                <a:gd name="T1" fmla="*/ 6 h 10"/>
                <a:gd name="T2" fmla="*/ 13 w 54"/>
                <a:gd name="T3" fmla="*/ 2 h 10"/>
                <a:gd name="T4" fmla="*/ 0 w 54"/>
                <a:gd name="T5" fmla="*/ 0 h 10"/>
                <a:gd name="T6" fmla="*/ 5 w 54"/>
                <a:gd name="T7" fmla="*/ 4 h 10"/>
                <a:gd name="T8" fmla="*/ 49 w 54"/>
                <a:gd name="T9" fmla="*/ 10 h 10"/>
                <a:gd name="T10" fmla="*/ 54 w 54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10">
                  <a:moveTo>
                    <a:pt x="54" y="6"/>
                  </a:moveTo>
                  <a:lnTo>
                    <a:pt x="13" y="2"/>
                  </a:lnTo>
                  <a:lnTo>
                    <a:pt x="0" y="0"/>
                  </a:lnTo>
                  <a:lnTo>
                    <a:pt x="5" y="4"/>
                  </a:lnTo>
                  <a:lnTo>
                    <a:pt x="49" y="10"/>
                  </a:lnTo>
                  <a:lnTo>
                    <a:pt x="54" y="6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66" name="Freeform 402">
              <a:extLst>
                <a:ext uri="{FF2B5EF4-FFF2-40B4-BE49-F238E27FC236}">
                  <a16:creationId xmlns:a16="http://schemas.microsoft.com/office/drawing/2014/main" id="{58EBF712-8DCB-4A47-8660-A369610B9F7D}"/>
                </a:ext>
              </a:extLst>
            </p:cNvPr>
            <p:cNvSpPr>
              <a:spLocks/>
            </p:cNvSpPr>
            <p:nvPr/>
          </p:nvSpPr>
          <p:spPr bwMode="gray">
            <a:xfrm>
              <a:off x="7651087" y="1909596"/>
              <a:ext cx="89428" cy="17858"/>
            </a:xfrm>
            <a:custGeom>
              <a:avLst/>
              <a:gdLst>
                <a:gd name="T0" fmla="*/ 41 w 41"/>
                <a:gd name="T1" fmla="*/ 9 h 9"/>
                <a:gd name="T2" fmla="*/ 0 w 41"/>
                <a:gd name="T3" fmla="*/ 6 h 9"/>
                <a:gd name="T4" fmla="*/ 15 w 41"/>
                <a:gd name="T5" fmla="*/ 0 h 9"/>
                <a:gd name="T6" fmla="*/ 38 w 41"/>
                <a:gd name="T7" fmla="*/ 6 h 9"/>
                <a:gd name="T8" fmla="*/ 41 w 41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9">
                  <a:moveTo>
                    <a:pt x="41" y="9"/>
                  </a:moveTo>
                  <a:lnTo>
                    <a:pt x="0" y="6"/>
                  </a:lnTo>
                  <a:lnTo>
                    <a:pt x="15" y="0"/>
                  </a:lnTo>
                  <a:lnTo>
                    <a:pt x="38" y="6"/>
                  </a:lnTo>
                  <a:lnTo>
                    <a:pt x="41" y="9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70" name="Freeform 406">
              <a:extLst>
                <a:ext uri="{FF2B5EF4-FFF2-40B4-BE49-F238E27FC236}">
                  <a16:creationId xmlns:a16="http://schemas.microsoft.com/office/drawing/2014/main" id="{137BA299-2313-48E8-9726-FD0B3171678C}"/>
                </a:ext>
              </a:extLst>
            </p:cNvPr>
            <p:cNvSpPr>
              <a:spLocks/>
            </p:cNvSpPr>
            <p:nvPr/>
          </p:nvSpPr>
          <p:spPr bwMode="gray">
            <a:xfrm>
              <a:off x="8735643" y="2822262"/>
              <a:ext cx="30444" cy="39681"/>
            </a:xfrm>
            <a:custGeom>
              <a:avLst/>
              <a:gdLst>
                <a:gd name="T0" fmla="*/ 13 w 13"/>
                <a:gd name="T1" fmla="*/ 0 h 17"/>
                <a:gd name="T2" fmla="*/ 2 w 13"/>
                <a:gd name="T3" fmla="*/ 4 h 17"/>
                <a:gd name="T4" fmla="*/ 0 w 13"/>
                <a:gd name="T5" fmla="*/ 17 h 17"/>
                <a:gd name="T6" fmla="*/ 6 w 13"/>
                <a:gd name="T7" fmla="*/ 10 h 17"/>
                <a:gd name="T8" fmla="*/ 11 w 13"/>
                <a:gd name="T9" fmla="*/ 3 h 17"/>
                <a:gd name="T10" fmla="*/ 13 w 13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7">
                  <a:moveTo>
                    <a:pt x="13" y="0"/>
                  </a:moveTo>
                  <a:lnTo>
                    <a:pt x="2" y="4"/>
                  </a:lnTo>
                  <a:lnTo>
                    <a:pt x="0" y="17"/>
                  </a:lnTo>
                  <a:lnTo>
                    <a:pt x="6" y="10"/>
                  </a:lnTo>
                  <a:lnTo>
                    <a:pt x="11" y="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71" name="Freeform 407">
              <a:extLst>
                <a:ext uri="{FF2B5EF4-FFF2-40B4-BE49-F238E27FC236}">
                  <a16:creationId xmlns:a16="http://schemas.microsoft.com/office/drawing/2014/main" id="{2C2303C8-C37D-4425-9558-B327EA46D1A9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0106" y="1975071"/>
              <a:ext cx="34249" cy="21825"/>
            </a:xfrm>
            <a:custGeom>
              <a:avLst/>
              <a:gdLst>
                <a:gd name="T0" fmla="*/ 2 w 14"/>
                <a:gd name="T1" fmla="*/ 0 h 10"/>
                <a:gd name="T2" fmla="*/ 0 w 14"/>
                <a:gd name="T3" fmla="*/ 4 h 10"/>
                <a:gd name="T4" fmla="*/ 8 w 14"/>
                <a:gd name="T5" fmla="*/ 10 h 10"/>
                <a:gd name="T6" fmla="*/ 14 w 14"/>
                <a:gd name="T7" fmla="*/ 8 h 10"/>
                <a:gd name="T8" fmla="*/ 2 w 1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0">
                  <a:moveTo>
                    <a:pt x="2" y="0"/>
                  </a:moveTo>
                  <a:lnTo>
                    <a:pt x="0" y="4"/>
                  </a:lnTo>
                  <a:lnTo>
                    <a:pt x="8" y="10"/>
                  </a:lnTo>
                  <a:lnTo>
                    <a:pt x="14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74" name="Freeform 410">
              <a:extLst>
                <a:ext uri="{FF2B5EF4-FFF2-40B4-BE49-F238E27FC236}">
                  <a16:creationId xmlns:a16="http://schemas.microsoft.com/office/drawing/2014/main" id="{3738271D-E39A-4929-8149-733DCD32B7F6}"/>
                </a:ext>
              </a:extLst>
            </p:cNvPr>
            <p:cNvSpPr>
              <a:spLocks/>
            </p:cNvSpPr>
            <p:nvPr/>
          </p:nvSpPr>
          <p:spPr bwMode="gray">
            <a:xfrm>
              <a:off x="8735643" y="2354025"/>
              <a:ext cx="20930" cy="21825"/>
            </a:xfrm>
            <a:custGeom>
              <a:avLst/>
              <a:gdLst>
                <a:gd name="T0" fmla="*/ 8 w 8"/>
                <a:gd name="T1" fmla="*/ 4 h 11"/>
                <a:gd name="T2" fmla="*/ 3 w 8"/>
                <a:gd name="T3" fmla="*/ 11 h 11"/>
                <a:gd name="T4" fmla="*/ 0 w 8"/>
                <a:gd name="T5" fmla="*/ 5 h 11"/>
                <a:gd name="T6" fmla="*/ 3 w 8"/>
                <a:gd name="T7" fmla="*/ 0 h 11"/>
                <a:gd name="T8" fmla="*/ 8 w 8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8" y="4"/>
                  </a:moveTo>
                  <a:lnTo>
                    <a:pt x="3" y="11"/>
                  </a:lnTo>
                  <a:lnTo>
                    <a:pt x="0" y="5"/>
                  </a:lnTo>
                  <a:lnTo>
                    <a:pt x="3" y="0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75" name="Freeform 411">
              <a:extLst>
                <a:ext uri="{FF2B5EF4-FFF2-40B4-BE49-F238E27FC236}">
                  <a16:creationId xmlns:a16="http://schemas.microsoft.com/office/drawing/2014/main" id="{9521801F-3D05-4BB4-9907-2EF3237449F4}"/>
                </a:ext>
              </a:extLst>
            </p:cNvPr>
            <p:cNvSpPr>
              <a:spLocks/>
            </p:cNvSpPr>
            <p:nvPr/>
          </p:nvSpPr>
          <p:spPr bwMode="gray">
            <a:xfrm>
              <a:off x="8396957" y="2022687"/>
              <a:ext cx="38054" cy="9919"/>
            </a:xfrm>
            <a:custGeom>
              <a:avLst/>
              <a:gdLst>
                <a:gd name="T0" fmla="*/ 18 w 18"/>
                <a:gd name="T1" fmla="*/ 1 h 4"/>
                <a:gd name="T2" fmla="*/ 17 w 18"/>
                <a:gd name="T3" fmla="*/ 4 h 4"/>
                <a:gd name="T4" fmla="*/ 0 w 18"/>
                <a:gd name="T5" fmla="*/ 0 h 4"/>
                <a:gd name="T6" fmla="*/ 16 w 18"/>
                <a:gd name="T7" fmla="*/ 0 h 4"/>
                <a:gd name="T8" fmla="*/ 18 w 1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">
                  <a:moveTo>
                    <a:pt x="18" y="1"/>
                  </a:moveTo>
                  <a:lnTo>
                    <a:pt x="17" y="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8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79" name="Freeform 415">
              <a:extLst>
                <a:ext uri="{FF2B5EF4-FFF2-40B4-BE49-F238E27FC236}">
                  <a16:creationId xmlns:a16="http://schemas.microsoft.com/office/drawing/2014/main" id="{A52F5F28-B603-4AB6-9A00-760FCBD95C65}"/>
                </a:ext>
              </a:extLst>
            </p:cNvPr>
            <p:cNvSpPr>
              <a:spLocks/>
            </p:cNvSpPr>
            <p:nvPr/>
          </p:nvSpPr>
          <p:spPr bwMode="gray">
            <a:xfrm>
              <a:off x="7042217" y="1889757"/>
              <a:ext cx="38054" cy="9919"/>
            </a:xfrm>
            <a:custGeom>
              <a:avLst/>
              <a:gdLst>
                <a:gd name="T0" fmla="*/ 17 w 18"/>
                <a:gd name="T1" fmla="*/ 0 h 4"/>
                <a:gd name="T2" fmla="*/ 0 w 18"/>
                <a:gd name="T3" fmla="*/ 1 h 4"/>
                <a:gd name="T4" fmla="*/ 18 w 18"/>
                <a:gd name="T5" fmla="*/ 4 h 4"/>
                <a:gd name="T6" fmla="*/ 17 w 18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4">
                  <a:moveTo>
                    <a:pt x="17" y="0"/>
                  </a:moveTo>
                  <a:lnTo>
                    <a:pt x="0" y="1"/>
                  </a:lnTo>
                  <a:lnTo>
                    <a:pt x="18" y="4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80" name="Freeform 416">
              <a:extLst>
                <a:ext uri="{FF2B5EF4-FFF2-40B4-BE49-F238E27FC236}">
                  <a16:creationId xmlns:a16="http://schemas.microsoft.com/office/drawing/2014/main" id="{375CDAB3-F0C7-450A-9985-CE27C7E5EB61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1752" y="2641712"/>
              <a:ext cx="9514" cy="21825"/>
            </a:xfrm>
            <a:custGeom>
              <a:avLst/>
              <a:gdLst>
                <a:gd name="T0" fmla="*/ 4 w 4"/>
                <a:gd name="T1" fmla="*/ 1 h 9"/>
                <a:gd name="T2" fmla="*/ 1 w 4"/>
                <a:gd name="T3" fmla="*/ 9 h 9"/>
                <a:gd name="T4" fmla="*/ 0 w 4"/>
                <a:gd name="T5" fmla="*/ 0 h 9"/>
                <a:gd name="T6" fmla="*/ 4 w 4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4" y="1"/>
                  </a:moveTo>
                  <a:lnTo>
                    <a:pt x="1" y="9"/>
                  </a:ln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81" name="Freeform 417">
              <a:extLst>
                <a:ext uri="{FF2B5EF4-FFF2-40B4-BE49-F238E27FC236}">
                  <a16:creationId xmlns:a16="http://schemas.microsoft.com/office/drawing/2014/main" id="{D8645035-A778-4382-BC25-A30303AB3E2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4714" y="2857974"/>
              <a:ext cx="13319" cy="21825"/>
            </a:xfrm>
            <a:custGeom>
              <a:avLst/>
              <a:gdLst>
                <a:gd name="T0" fmla="*/ 6 w 6"/>
                <a:gd name="T1" fmla="*/ 0 h 10"/>
                <a:gd name="T2" fmla="*/ 0 w 6"/>
                <a:gd name="T3" fmla="*/ 10 h 10"/>
                <a:gd name="T4" fmla="*/ 0 w 6"/>
                <a:gd name="T5" fmla="*/ 2 h 10"/>
                <a:gd name="T6" fmla="*/ 6 w 6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0"/>
                  </a:moveTo>
                  <a:lnTo>
                    <a:pt x="0" y="10"/>
                  </a:lnTo>
                  <a:lnTo>
                    <a:pt x="0" y="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82" name="Freeform 418">
              <a:extLst>
                <a:ext uri="{FF2B5EF4-FFF2-40B4-BE49-F238E27FC236}">
                  <a16:creationId xmlns:a16="http://schemas.microsoft.com/office/drawing/2014/main" id="{C4A547B6-6928-4CBF-8B2E-F2781C958851}"/>
                </a:ext>
              </a:extLst>
            </p:cNvPr>
            <p:cNvSpPr>
              <a:spLocks/>
            </p:cNvSpPr>
            <p:nvPr/>
          </p:nvSpPr>
          <p:spPr bwMode="gray">
            <a:xfrm>
              <a:off x="7630158" y="1899676"/>
              <a:ext cx="20930" cy="7937"/>
            </a:xfrm>
            <a:custGeom>
              <a:avLst/>
              <a:gdLst>
                <a:gd name="T0" fmla="*/ 8 w 8"/>
                <a:gd name="T1" fmla="*/ 0 h 3"/>
                <a:gd name="T2" fmla="*/ 0 w 8"/>
                <a:gd name="T3" fmla="*/ 0 h 3"/>
                <a:gd name="T4" fmla="*/ 8 w 8"/>
                <a:gd name="T5" fmla="*/ 3 h 3"/>
                <a:gd name="T6" fmla="*/ 8 w 8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8" y="0"/>
                  </a:moveTo>
                  <a:lnTo>
                    <a:pt x="0" y="0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86" name="Freeform 422">
              <a:extLst>
                <a:ext uri="{FF2B5EF4-FFF2-40B4-BE49-F238E27FC236}">
                  <a16:creationId xmlns:a16="http://schemas.microsoft.com/office/drawing/2014/main" id="{68EF4680-93B0-4009-8B9C-6148C05179DB}"/>
                </a:ext>
              </a:extLst>
            </p:cNvPr>
            <p:cNvSpPr>
              <a:spLocks/>
            </p:cNvSpPr>
            <p:nvPr/>
          </p:nvSpPr>
          <p:spPr bwMode="gray">
            <a:xfrm>
              <a:off x="8918305" y="2482989"/>
              <a:ext cx="41860" cy="25793"/>
            </a:xfrm>
            <a:custGeom>
              <a:avLst/>
              <a:gdLst>
                <a:gd name="T0" fmla="*/ 20 w 20"/>
                <a:gd name="T1" fmla="*/ 11 h 11"/>
                <a:gd name="T2" fmla="*/ 0 w 20"/>
                <a:gd name="T3" fmla="*/ 0 h 11"/>
                <a:gd name="T4" fmla="*/ 17 w 20"/>
                <a:gd name="T5" fmla="*/ 7 h 11"/>
                <a:gd name="T6" fmla="*/ 20 w 20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1">
                  <a:moveTo>
                    <a:pt x="20" y="11"/>
                  </a:moveTo>
                  <a:lnTo>
                    <a:pt x="0" y="0"/>
                  </a:lnTo>
                  <a:lnTo>
                    <a:pt x="17" y="7"/>
                  </a:lnTo>
                  <a:lnTo>
                    <a:pt x="20" y="11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87" name="Freeform 423">
              <a:extLst>
                <a:ext uri="{FF2B5EF4-FFF2-40B4-BE49-F238E27FC236}">
                  <a16:creationId xmlns:a16="http://schemas.microsoft.com/office/drawing/2014/main" id="{98F8D123-ACBD-46AA-8CF4-5F01D151E7A5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4135" y="1850074"/>
              <a:ext cx="24735" cy="13889"/>
            </a:xfrm>
            <a:custGeom>
              <a:avLst/>
              <a:gdLst>
                <a:gd name="T0" fmla="*/ 10 w 11"/>
                <a:gd name="T1" fmla="*/ 4 h 6"/>
                <a:gd name="T2" fmla="*/ 0 w 11"/>
                <a:gd name="T3" fmla="*/ 0 h 6"/>
                <a:gd name="T4" fmla="*/ 11 w 11"/>
                <a:gd name="T5" fmla="*/ 6 h 6"/>
                <a:gd name="T6" fmla="*/ 10 w 11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6">
                  <a:moveTo>
                    <a:pt x="10" y="4"/>
                  </a:moveTo>
                  <a:lnTo>
                    <a:pt x="0" y="0"/>
                  </a:lnTo>
                  <a:lnTo>
                    <a:pt x="11" y="6"/>
                  </a:lnTo>
                  <a:lnTo>
                    <a:pt x="10" y="4"/>
                  </a:lnTo>
                  <a:close/>
                </a:path>
              </a:pathLst>
            </a:custGeom>
            <a:solidFill>
              <a:srgbClr val="D5DDE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419" name="Freeform 455">
            <a:extLst>
              <a:ext uri="{FF2B5EF4-FFF2-40B4-BE49-F238E27FC236}">
                <a16:creationId xmlns:a16="http://schemas.microsoft.com/office/drawing/2014/main" id="{1F10EFD7-026F-47D5-A2AF-C7A0A5255C53}"/>
              </a:ext>
            </a:extLst>
          </p:cNvPr>
          <p:cNvSpPr>
            <a:spLocks/>
          </p:cNvSpPr>
          <p:nvPr/>
        </p:nvSpPr>
        <p:spPr bwMode="gray">
          <a:xfrm>
            <a:off x="3362341" y="1669526"/>
            <a:ext cx="1181593" cy="662673"/>
          </a:xfrm>
          <a:custGeom>
            <a:avLst/>
            <a:gdLst>
              <a:gd name="T0" fmla="*/ 95 w 557"/>
              <a:gd name="T1" fmla="*/ 238 h 300"/>
              <a:gd name="T2" fmla="*/ 113 w 557"/>
              <a:gd name="T3" fmla="*/ 233 h 300"/>
              <a:gd name="T4" fmla="*/ 98 w 557"/>
              <a:gd name="T5" fmla="*/ 247 h 300"/>
              <a:gd name="T6" fmla="*/ 110 w 557"/>
              <a:gd name="T7" fmla="*/ 257 h 300"/>
              <a:gd name="T8" fmla="*/ 116 w 557"/>
              <a:gd name="T9" fmla="*/ 271 h 300"/>
              <a:gd name="T10" fmla="*/ 116 w 557"/>
              <a:gd name="T11" fmla="*/ 282 h 300"/>
              <a:gd name="T12" fmla="*/ 133 w 557"/>
              <a:gd name="T13" fmla="*/ 286 h 300"/>
              <a:gd name="T14" fmla="*/ 151 w 557"/>
              <a:gd name="T15" fmla="*/ 291 h 300"/>
              <a:gd name="T16" fmla="*/ 163 w 557"/>
              <a:gd name="T17" fmla="*/ 295 h 300"/>
              <a:gd name="T18" fmla="*/ 175 w 557"/>
              <a:gd name="T19" fmla="*/ 288 h 300"/>
              <a:gd name="T20" fmla="*/ 181 w 557"/>
              <a:gd name="T21" fmla="*/ 281 h 300"/>
              <a:gd name="T22" fmla="*/ 187 w 557"/>
              <a:gd name="T23" fmla="*/ 265 h 300"/>
              <a:gd name="T24" fmla="*/ 204 w 557"/>
              <a:gd name="T25" fmla="*/ 253 h 300"/>
              <a:gd name="T26" fmla="*/ 218 w 557"/>
              <a:gd name="T27" fmla="*/ 245 h 300"/>
              <a:gd name="T28" fmla="*/ 237 w 557"/>
              <a:gd name="T29" fmla="*/ 220 h 300"/>
              <a:gd name="T30" fmla="*/ 264 w 557"/>
              <a:gd name="T31" fmla="*/ 215 h 300"/>
              <a:gd name="T32" fmla="*/ 324 w 557"/>
              <a:gd name="T33" fmla="*/ 189 h 300"/>
              <a:gd name="T34" fmla="*/ 375 w 557"/>
              <a:gd name="T35" fmla="*/ 178 h 300"/>
              <a:gd name="T36" fmla="*/ 401 w 557"/>
              <a:gd name="T37" fmla="*/ 154 h 300"/>
              <a:gd name="T38" fmla="*/ 381 w 557"/>
              <a:gd name="T39" fmla="*/ 145 h 300"/>
              <a:gd name="T40" fmla="*/ 399 w 557"/>
              <a:gd name="T41" fmla="*/ 138 h 300"/>
              <a:gd name="T42" fmla="*/ 440 w 557"/>
              <a:gd name="T43" fmla="*/ 147 h 300"/>
              <a:gd name="T44" fmla="*/ 411 w 557"/>
              <a:gd name="T45" fmla="*/ 129 h 300"/>
              <a:gd name="T46" fmla="*/ 415 w 557"/>
              <a:gd name="T47" fmla="*/ 119 h 300"/>
              <a:gd name="T48" fmla="*/ 416 w 557"/>
              <a:gd name="T49" fmla="*/ 112 h 300"/>
              <a:gd name="T50" fmla="*/ 462 w 557"/>
              <a:gd name="T51" fmla="*/ 112 h 300"/>
              <a:gd name="T52" fmla="*/ 474 w 557"/>
              <a:gd name="T53" fmla="*/ 97 h 300"/>
              <a:gd name="T54" fmla="*/ 475 w 557"/>
              <a:gd name="T55" fmla="*/ 91 h 300"/>
              <a:gd name="T56" fmla="*/ 451 w 557"/>
              <a:gd name="T57" fmla="*/ 73 h 300"/>
              <a:gd name="T58" fmla="*/ 469 w 557"/>
              <a:gd name="T59" fmla="*/ 59 h 300"/>
              <a:gd name="T60" fmla="*/ 491 w 557"/>
              <a:gd name="T61" fmla="*/ 37 h 300"/>
              <a:gd name="T62" fmla="*/ 481 w 557"/>
              <a:gd name="T63" fmla="*/ 29 h 300"/>
              <a:gd name="T64" fmla="*/ 487 w 557"/>
              <a:gd name="T65" fmla="*/ 19 h 300"/>
              <a:gd name="T66" fmla="*/ 443 w 557"/>
              <a:gd name="T67" fmla="*/ 18 h 300"/>
              <a:gd name="T68" fmla="*/ 451 w 557"/>
              <a:gd name="T69" fmla="*/ 5 h 300"/>
              <a:gd name="T70" fmla="*/ 336 w 557"/>
              <a:gd name="T71" fmla="*/ 5 h 300"/>
              <a:gd name="T72" fmla="*/ 324 w 557"/>
              <a:gd name="T73" fmla="*/ 11 h 300"/>
              <a:gd name="T74" fmla="*/ 234 w 557"/>
              <a:gd name="T75" fmla="*/ 11 h 300"/>
              <a:gd name="T76" fmla="*/ 155 w 557"/>
              <a:gd name="T77" fmla="*/ 16 h 300"/>
              <a:gd name="T78" fmla="*/ 113 w 557"/>
              <a:gd name="T79" fmla="*/ 25 h 300"/>
              <a:gd name="T80" fmla="*/ 41 w 557"/>
              <a:gd name="T81" fmla="*/ 47 h 300"/>
              <a:gd name="T82" fmla="*/ 30 w 557"/>
              <a:gd name="T83" fmla="*/ 64 h 300"/>
              <a:gd name="T84" fmla="*/ 12 w 557"/>
              <a:gd name="T85" fmla="*/ 71 h 300"/>
              <a:gd name="T86" fmla="*/ 59 w 557"/>
              <a:gd name="T87" fmla="*/ 78 h 300"/>
              <a:gd name="T88" fmla="*/ 111 w 557"/>
              <a:gd name="T89" fmla="*/ 105 h 300"/>
              <a:gd name="T90" fmla="*/ 114 w 557"/>
              <a:gd name="T91" fmla="*/ 129 h 300"/>
              <a:gd name="T92" fmla="*/ 129 w 557"/>
              <a:gd name="T93" fmla="*/ 135 h 300"/>
              <a:gd name="T94" fmla="*/ 140 w 557"/>
              <a:gd name="T95" fmla="*/ 142 h 300"/>
              <a:gd name="T96" fmla="*/ 146 w 557"/>
              <a:gd name="T97" fmla="*/ 154 h 300"/>
              <a:gd name="T98" fmla="*/ 139 w 557"/>
              <a:gd name="T99" fmla="*/ 169 h 300"/>
              <a:gd name="T100" fmla="*/ 111 w 557"/>
              <a:gd name="T101" fmla="*/ 184 h 300"/>
              <a:gd name="T102" fmla="*/ 115 w 557"/>
              <a:gd name="T103" fmla="*/ 187 h 300"/>
              <a:gd name="T104" fmla="*/ 133 w 557"/>
              <a:gd name="T105" fmla="*/ 189 h 300"/>
              <a:gd name="T106" fmla="*/ 120 w 557"/>
              <a:gd name="T107" fmla="*/ 195 h 300"/>
              <a:gd name="T108" fmla="*/ 99 w 557"/>
              <a:gd name="T109" fmla="*/ 204 h 300"/>
              <a:gd name="T110" fmla="*/ 125 w 557"/>
              <a:gd name="T111" fmla="*/ 202 h 300"/>
              <a:gd name="T112" fmla="*/ 97 w 557"/>
              <a:gd name="T113" fmla="*/ 221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57" h="300">
                <a:moveTo>
                  <a:pt x="117" y="219"/>
                </a:moveTo>
                <a:lnTo>
                  <a:pt x="103" y="221"/>
                </a:lnTo>
                <a:lnTo>
                  <a:pt x="98" y="225"/>
                </a:lnTo>
                <a:lnTo>
                  <a:pt x="97" y="229"/>
                </a:lnTo>
                <a:lnTo>
                  <a:pt x="107" y="228"/>
                </a:lnTo>
                <a:lnTo>
                  <a:pt x="102" y="229"/>
                </a:lnTo>
                <a:lnTo>
                  <a:pt x="95" y="238"/>
                </a:lnTo>
                <a:lnTo>
                  <a:pt x="103" y="235"/>
                </a:lnTo>
                <a:lnTo>
                  <a:pt x="110" y="233"/>
                </a:lnTo>
                <a:lnTo>
                  <a:pt x="113" y="225"/>
                </a:lnTo>
                <a:lnTo>
                  <a:pt x="114" y="228"/>
                </a:lnTo>
                <a:lnTo>
                  <a:pt x="119" y="231"/>
                </a:lnTo>
                <a:lnTo>
                  <a:pt x="120" y="235"/>
                </a:lnTo>
                <a:lnTo>
                  <a:pt x="113" y="233"/>
                </a:lnTo>
                <a:lnTo>
                  <a:pt x="114" y="237"/>
                </a:lnTo>
                <a:lnTo>
                  <a:pt x="102" y="239"/>
                </a:lnTo>
                <a:lnTo>
                  <a:pt x="111" y="239"/>
                </a:lnTo>
                <a:lnTo>
                  <a:pt x="115" y="239"/>
                </a:lnTo>
                <a:lnTo>
                  <a:pt x="98" y="243"/>
                </a:lnTo>
                <a:lnTo>
                  <a:pt x="103" y="244"/>
                </a:lnTo>
                <a:lnTo>
                  <a:pt x="98" y="247"/>
                </a:lnTo>
                <a:lnTo>
                  <a:pt x="104" y="247"/>
                </a:lnTo>
                <a:lnTo>
                  <a:pt x="101" y="250"/>
                </a:lnTo>
                <a:lnTo>
                  <a:pt x="107" y="251"/>
                </a:lnTo>
                <a:lnTo>
                  <a:pt x="101" y="252"/>
                </a:lnTo>
                <a:lnTo>
                  <a:pt x="107" y="255"/>
                </a:lnTo>
                <a:lnTo>
                  <a:pt x="107" y="258"/>
                </a:lnTo>
                <a:lnTo>
                  <a:pt x="110" y="257"/>
                </a:lnTo>
                <a:lnTo>
                  <a:pt x="107" y="259"/>
                </a:lnTo>
                <a:lnTo>
                  <a:pt x="105" y="262"/>
                </a:lnTo>
                <a:lnTo>
                  <a:pt x="110" y="268"/>
                </a:lnTo>
                <a:lnTo>
                  <a:pt x="110" y="269"/>
                </a:lnTo>
                <a:lnTo>
                  <a:pt x="115" y="270"/>
                </a:lnTo>
                <a:lnTo>
                  <a:pt x="113" y="273"/>
                </a:lnTo>
                <a:lnTo>
                  <a:pt x="116" y="271"/>
                </a:lnTo>
                <a:lnTo>
                  <a:pt x="115" y="275"/>
                </a:lnTo>
                <a:lnTo>
                  <a:pt x="117" y="276"/>
                </a:lnTo>
                <a:lnTo>
                  <a:pt x="113" y="277"/>
                </a:lnTo>
                <a:lnTo>
                  <a:pt x="119" y="277"/>
                </a:lnTo>
                <a:lnTo>
                  <a:pt x="116" y="279"/>
                </a:lnTo>
                <a:lnTo>
                  <a:pt x="116" y="280"/>
                </a:lnTo>
                <a:lnTo>
                  <a:pt x="116" y="282"/>
                </a:lnTo>
                <a:lnTo>
                  <a:pt x="122" y="281"/>
                </a:lnTo>
                <a:lnTo>
                  <a:pt x="122" y="285"/>
                </a:lnTo>
                <a:lnTo>
                  <a:pt x="120" y="286"/>
                </a:lnTo>
                <a:lnTo>
                  <a:pt x="122" y="286"/>
                </a:lnTo>
                <a:lnTo>
                  <a:pt x="121" y="287"/>
                </a:lnTo>
                <a:lnTo>
                  <a:pt x="126" y="287"/>
                </a:lnTo>
                <a:lnTo>
                  <a:pt x="133" y="286"/>
                </a:lnTo>
                <a:lnTo>
                  <a:pt x="146" y="282"/>
                </a:lnTo>
                <a:lnTo>
                  <a:pt x="146" y="285"/>
                </a:lnTo>
                <a:lnTo>
                  <a:pt x="151" y="282"/>
                </a:lnTo>
                <a:lnTo>
                  <a:pt x="144" y="288"/>
                </a:lnTo>
                <a:lnTo>
                  <a:pt x="150" y="287"/>
                </a:lnTo>
                <a:lnTo>
                  <a:pt x="145" y="292"/>
                </a:lnTo>
                <a:lnTo>
                  <a:pt x="151" y="291"/>
                </a:lnTo>
                <a:lnTo>
                  <a:pt x="151" y="292"/>
                </a:lnTo>
                <a:lnTo>
                  <a:pt x="156" y="292"/>
                </a:lnTo>
                <a:lnTo>
                  <a:pt x="150" y="297"/>
                </a:lnTo>
                <a:lnTo>
                  <a:pt x="157" y="293"/>
                </a:lnTo>
                <a:lnTo>
                  <a:pt x="150" y="298"/>
                </a:lnTo>
                <a:lnTo>
                  <a:pt x="153" y="300"/>
                </a:lnTo>
                <a:lnTo>
                  <a:pt x="163" y="295"/>
                </a:lnTo>
                <a:lnTo>
                  <a:pt x="170" y="299"/>
                </a:lnTo>
                <a:lnTo>
                  <a:pt x="171" y="297"/>
                </a:lnTo>
                <a:lnTo>
                  <a:pt x="170" y="294"/>
                </a:lnTo>
                <a:lnTo>
                  <a:pt x="163" y="292"/>
                </a:lnTo>
                <a:lnTo>
                  <a:pt x="174" y="292"/>
                </a:lnTo>
                <a:lnTo>
                  <a:pt x="176" y="291"/>
                </a:lnTo>
                <a:lnTo>
                  <a:pt x="175" y="288"/>
                </a:lnTo>
                <a:lnTo>
                  <a:pt x="176" y="288"/>
                </a:lnTo>
                <a:lnTo>
                  <a:pt x="174" y="287"/>
                </a:lnTo>
                <a:lnTo>
                  <a:pt x="181" y="287"/>
                </a:lnTo>
                <a:lnTo>
                  <a:pt x="175" y="285"/>
                </a:lnTo>
                <a:lnTo>
                  <a:pt x="181" y="285"/>
                </a:lnTo>
                <a:lnTo>
                  <a:pt x="181" y="282"/>
                </a:lnTo>
                <a:lnTo>
                  <a:pt x="181" y="281"/>
                </a:lnTo>
                <a:lnTo>
                  <a:pt x="185" y="281"/>
                </a:lnTo>
                <a:lnTo>
                  <a:pt x="182" y="277"/>
                </a:lnTo>
                <a:lnTo>
                  <a:pt x="187" y="277"/>
                </a:lnTo>
                <a:lnTo>
                  <a:pt x="186" y="275"/>
                </a:lnTo>
                <a:lnTo>
                  <a:pt x="191" y="271"/>
                </a:lnTo>
                <a:lnTo>
                  <a:pt x="191" y="270"/>
                </a:lnTo>
                <a:lnTo>
                  <a:pt x="187" y="265"/>
                </a:lnTo>
                <a:lnTo>
                  <a:pt x="189" y="265"/>
                </a:lnTo>
                <a:lnTo>
                  <a:pt x="186" y="261"/>
                </a:lnTo>
                <a:lnTo>
                  <a:pt x="195" y="258"/>
                </a:lnTo>
                <a:lnTo>
                  <a:pt x="201" y="257"/>
                </a:lnTo>
                <a:lnTo>
                  <a:pt x="200" y="256"/>
                </a:lnTo>
                <a:lnTo>
                  <a:pt x="199" y="253"/>
                </a:lnTo>
                <a:lnTo>
                  <a:pt x="204" y="253"/>
                </a:lnTo>
                <a:lnTo>
                  <a:pt x="205" y="251"/>
                </a:lnTo>
                <a:lnTo>
                  <a:pt x="209" y="251"/>
                </a:lnTo>
                <a:lnTo>
                  <a:pt x="206" y="250"/>
                </a:lnTo>
                <a:lnTo>
                  <a:pt x="210" y="250"/>
                </a:lnTo>
                <a:lnTo>
                  <a:pt x="213" y="247"/>
                </a:lnTo>
                <a:lnTo>
                  <a:pt x="209" y="245"/>
                </a:lnTo>
                <a:lnTo>
                  <a:pt x="218" y="245"/>
                </a:lnTo>
                <a:lnTo>
                  <a:pt x="216" y="240"/>
                </a:lnTo>
                <a:lnTo>
                  <a:pt x="210" y="238"/>
                </a:lnTo>
                <a:lnTo>
                  <a:pt x="221" y="235"/>
                </a:lnTo>
                <a:lnTo>
                  <a:pt x="221" y="227"/>
                </a:lnTo>
                <a:lnTo>
                  <a:pt x="231" y="226"/>
                </a:lnTo>
                <a:lnTo>
                  <a:pt x="230" y="222"/>
                </a:lnTo>
                <a:lnTo>
                  <a:pt x="237" y="220"/>
                </a:lnTo>
                <a:lnTo>
                  <a:pt x="242" y="219"/>
                </a:lnTo>
                <a:lnTo>
                  <a:pt x="253" y="216"/>
                </a:lnTo>
                <a:lnTo>
                  <a:pt x="252" y="215"/>
                </a:lnTo>
                <a:lnTo>
                  <a:pt x="259" y="210"/>
                </a:lnTo>
                <a:lnTo>
                  <a:pt x="264" y="210"/>
                </a:lnTo>
                <a:lnTo>
                  <a:pt x="259" y="215"/>
                </a:lnTo>
                <a:lnTo>
                  <a:pt x="264" y="215"/>
                </a:lnTo>
                <a:lnTo>
                  <a:pt x="281" y="211"/>
                </a:lnTo>
                <a:lnTo>
                  <a:pt x="281" y="209"/>
                </a:lnTo>
                <a:lnTo>
                  <a:pt x="287" y="209"/>
                </a:lnTo>
                <a:lnTo>
                  <a:pt x="296" y="207"/>
                </a:lnTo>
                <a:lnTo>
                  <a:pt x="297" y="204"/>
                </a:lnTo>
                <a:lnTo>
                  <a:pt x="308" y="196"/>
                </a:lnTo>
                <a:lnTo>
                  <a:pt x="324" y="189"/>
                </a:lnTo>
                <a:lnTo>
                  <a:pt x="324" y="184"/>
                </a:lnTo>
                <a:lnTo>
                  <a:pt x="325" y="179"/>
                </a:lnTo>
                <a:lnTo>
                  <a:pt x="337" y="186"/>
                </a:lnTo>
                <a:lnTo>
                  <a:pt x="343" y="184"/>
                </a:lnTo>
                <a:lnTo>
                  <a:pt x="349" y="183"/>
                </a:lnTo>
                <a:lnTo>
                  <a:pt x="353" y="183"/>
                </a:lnTo>
                <a:lnTo>
                  <a:pt x="375" y="178"/>
                </a:lnTo>
                <a:lnTo>
                  <a:pt x="398" y="173"/>
                </a:lnTo>
                <a:lnTo>
                  <a:pt x="405" y="169"/>
                </a:lnTo>
                <a:lnTo>
                  <a:pt x="414" y="166"/>
                </a:lnTo>
                <a:lnTo>
                  <a:pt x="419" y="162"/>
                </a:lnTo>
                <a:lnTo>
                  <a:pt x="425" y="160"/>
                </a:lnTo>
                <a:lnTo>
                  <a:pt x="432" y="157"/>
                </a:lnTo>
                <a:lnTo>
                  <a:pt x="401" y="154"/>
                </a:lnTo>
                <a:lnTo>
                  <a:pt x="375" y="159"/>
                </a:lnTo>
                <a:lnTo>
                  <a:pt x="374" y="157"/>
                </a:lnTo>
                <a:lnTo>
                  <a:pt x="392" y="153"/>
                </a:lnTo>
                <a:lnTo>
                  <a:pt x="366" y="153"/>
                </a:lnTo>
                <a:lnTo>
                  <a:pt x="379" y="148"/>
                </a:lnTo>
                <a:lnTo>
                  <a:pt x="379" y="147"/>
                </a:lnTo>
                <a:lnTo>
                  <a:pt x="381" y="145"/>
                </a:lnTo>
                <a:lnTo>
                  <a:pt x="404" y="144"/>
                </a:lnTo>
                <a:lnTo>
                  <a:pt x="403" y="139"/>
                </a:lnTo>
                <a:lnTo>
                  <a:pt x="402" y="139"/>
                </a:lnTo>
                <a:lnTo>
                  <a:pt x="381" y="138"/>
                </a:lnTo>
                <a:lnTo>
                  <a:pt x="389" y="137"/>
                </a:lnTo>
                <a:lnTo>
                  <a:pt x="379" y="132"/>
                </a:lnTo>
                <a:lnTo>
                  <a:pt x="399" y="138"/>
                </a:lnTo>
                <a:lnTo>
                  <a:pt x="416" y="144"/>
                </a:lnTo>
                <a:lnTo>
                  <a:pt x="423" y="153"/>
                </a:lnTo>
                <a:lnTo>
                  <a:pt x="432" y="151"/>
                </a:lnTo>
                <a:lnTo>
                  <a:pt x="434" y="148"/>
                </a:lnTo>
                <a:lnTo>
                  <a:pt x="435" y="153"/>
                </a:lnTo>
                <a:lnTo>
                  <a:pt x="440" y="151"/>
                </a:lnTo>
                <a:lnTo>
                  <a:pt x="440" y="147"/>
                </a:lnTo>
                <a:lnTo>
                  <a:pt x="441" y="139"/>
                </a:lnTo>
                <a:lnTo>
                  <a:pt x="435" y="141"/>
                </a:lnTo>
                <a:lnTo>
                  <a:pt x="438" y="137"/>
                </a:lnTo>
                <a:lnTo>
                  <a:pt x="434" y="137"/>
                </a:lnTo>
                <a:lnTo>
                  <a:pt x="432" y="136"/>
                </a:lnTo>
                <a:lnTo>
                  <a:pt x="434" y="133"/>
                </a:lnTo>
                <a:lnTo>
                  <a:pt x="411" y="129"/>
                </a:lnTo>
                <a:lnTo>
                  <a:pt x="408" y="130"/>
                </a:lnTo>
                <a:lnTo>
                  <a:pt x="409" y="127"/>
                </a:lnTo>
                <a:lnTo>
                  <a:pt x="417" y="124"/>
                </a:lnTo>
                <a:lnTo>
                  <a:pt x="403" y="124"/>
                </a:lnTo>
                <a:lnTo>
                  <a:pt x="397" y="124"/>
                </a:lnTo>
                <a:lnTo>
                  <a:pt x="395" y="123"/>
                </a:lnTo>
                <a:lnTo>
                  <a:pt x="415" y="119"/>
                </a:lnTo>
                <a:lnTo>
                  <a:pt x="393" y="119"/>
                </a:lnTo>
                <a:lnTo>
                  <a:pt x="392" y="120"/>
                </a:lnTo>
                <a:lnTo>
                  <a:pt x="392" y="118"/>
                </a:lnTo>
                <a:lnTo>
                  <a:pt x="398" y="115"/>
                </a:lnTo>
                <a:lnTo>
                  <a:pt x="396" y="114"/>
                </a:lnTo>
                <a:lnTo>
                  <a:pt x="411" y="114"/>
                </a:lnTo>
                <a:lnTo>
                  <a:pt x="416" y="112"/>
                </a:lnTo>
                <a:lnTo>
                  <a:pt x="415" y="109"/>
                </a:lnTo>
                <a:lnTo>
                  <a:pt x="422" y="111"/>
                </a:lnTo>
                <a:lnTo>
                  <a:pt x="433" y="111"/>
                </a:lnTo>
                <a:lnTo>
                  <a:pt x="440" y="113"/>
                </a:lnTo>
                <a:lnTo>
                  <a:pt x="427" y="112"/>
                </a:lnTo>
                <a:lnTo>
                  <a:pt x="446" y="115"/>
                </a:lnTo>
                <a:lnTo>
                  <a:pt x="462" y="112"/>
                </a:lnTo>
                <a:lnTo>
                  <a:pt x="463" y="108"/>
                </a:lnTo>
                <a:lnTo>
                  <a:pt x="450" y="108"/>
                </a:lnTo>
                <a:lnTo>
                  <a:pt x="449" y="109"/>
                </a:lnTo>
                <a:lnTo>
                  <a:pt x="445" y="105"/>
                </a:lnTo>
                <a:lnTo>
                  <a:pt x="450" y="100"/>
                </a:lnTo>
                <a:lnTo>
                  <a:pt x="476" y="102"/>
                </a:lnTo>
                <a:lnTo>
                  <a:pt x="474" y="97"/>
                </a:lnTo>
                <a:lnTo>
                  <a:pt x="463" y="97"/>
                </a:lnTo>
                <a:lnTo>
                  <a:pt x="462" y="93"/>
                </a:lnTo>
                <a:lnTo>
                  <a:pt x="451" y="93"/>
                </a:lnTo>
                <a:lnTo>
                  <a:pt x="462" y="91"/>
                </a:lnTo>
                <a:lnTo>
                  <a:pt x="451" y="88"/>
                </a:lnTo>
                <a:lnTo>
                  <a:pt x="452" y="87"/>
                </a:lnTo>
                <a:lnTo>
                  <a:pt x="475" y="91"/>
                </a:lnTo>
                <a:lnTo>
                  <a:pt x="474" y="83"/>
                </a:lnTo>
                <a:lnTo>
                  <a:pt x="457" y="82"/>
                </a:lnTo>
                <a:lnTo>
                  <a:pt x="476" y="81"/>
                </a:lnTo>
                <a:lnTo>
                  <a:pt x="465" y="79"/>
                </a:lnTo>
                <a:lnTo>
                  <a:pt x="459" y="77"/>
                </a:lnTo>
                <a:lnTo>
                  <a:pt x="456" y="77"/>
                </a:lnTo>
                <a:lnTo>
                  <a:pt x="451" y="73"/>
                </a:lnTo>
                <a:lnTo>
                  <a:pt x="465" y="72"/>
                </a:lnTo>
                <a:lnTo>
                  <a:pt x="492" y="71"/>
                </a:lnTo>
                <a:lnTo>
                  <a:pt x="492" y="66"/>
                </a:lnTo>
                <a:lnTo>
                  <a:pt x="476" y="65"/>
                </a:lnTo>
                <a:lnTo>
                  <a:pt x="469" y="63"/>
                </a:lnTo>
                <a:lnTo>
                  <a:pt x="487" y="63"/>
                </a:lnTo>
                <a:lnTo>
                  <a:pt x="469" y="59"/>
                </a:lnTo>
                <a:lnTo>
                  <a:pt x="464" y="63"/>
                </a:lnTo>
                <a:lnTo>
                  <a:pt x="461" y="60"/>
                </a:lnTo>
                <a:lnTo>
                  <a:pt x="468" y="51"/>
                </a:lnTo>
                <a:lnTo>
                  <a:pt x="482" y="47"/>
                </a:lnTo>
                <a:lnTo>
                  <a:pt x="488" y="43"/>
                </a:lnTo>
                <a:lnTo>
                  <a:pt x="483" y="43"/>
                </a:lnTo>
                <a:lnTo>
                  <a:pt x="491" y="37"/>
                </a:lnTo>
                <a:lnTo>
                  <a:pt x="501" y="36"/>
                </a:lnTo>
                <a:lnTo>
                  <a:pt x="503" y="33"/>
                </a:lnTo>
                <a:lnTo>
                  <a:pt x="482" y="36"/>
                </a:lnTo>
                <a:lnTo>
                  <a:pt x="480" y="34"/>
                </a:lnTo>
                <a:lnTo>
                  <a:pt x="499" y="33"/>
                </a:lnTo>
                <a:lnTo>
                  <a:pt x="519" y="29"/>
                </a:lnTo>
                <a:lnTo>
                  <a:pt x="481" y="29"/>
                </a:lnTo>
                <a:lnTo>
                  <a:pt x="534" y="25"/>
                </a:lnTo>
                <a:lnTo>
                  <a:pt x="531" y="24"/>
                </a:lnTo>
                <a:lnTo>
                  <a:pt x="557" y="19"/>
                </a:lnTo>
                <a:lnTo>
                  <a:pt x="524" y="16"/>
                </a:lnTo>
                <a:lnTo>
                  <a:pt x="507" y="19"/>
                </a:lnTo>
                <a:lnTo>
                  <a:pt x="488" y="21"/>
                </a:lnTo>
                <a:lnTo>
                  <a:pt x="487" y="19"/>
                </a:lnTo>
                <a:lnTo>
                  <a:pt x="452" y="28"/>
                </a:lnTo>
                <a:lnTo>
                  <a:pt x="464" y="22"/>
                </a:lnTo>
                <a:lnTo>
                  <a:pt x="473" y="16"/>
                </a:lnTo>
                <a:lnTo>
                  <a:pt x="459" y="15"/>
                </a:lnTo>
                <a:lnTo>
                  <a:pt x="455" y="17"/>
                </a:lnTo>
                <a:lnTo>
                  <a:pt x="429" y="21"/>
                </a:lnTo>
                <a:lnTo>
                  <a:pt x="443" y="18"/>
                </a:lnTo>
                <a:lnTo>
                  <a:pt x="445" y="16"/>
                </a:lnTo>
                <a:lnTo>
                  <a:pt x="384" y="18"/>
                </a:lnTo>
                <a:lnTo>
                  <a:pt x="402" y="13"/>
                </a:lnTo>
                <a:lnTo>
                  <a:pt x="438" y="13"/>
                </a:lnTo>
                <a:lnTo>
                  <a:pt x="480" y="10"/>
                </a:lnTo>
                <a:lnTo>
                  <a:pt x="450" y="7"/>
                </a:lnTo>
                <a:lnTo>
                  <a:pt x="451" y="5"/>
                </a:lnTo>
                <a:lnTo>
                  <a:pt x="367" y="6"/>
                </a:lnTo>
                <a:lnTo>
                  <a:pt x="379" y="6"/>
                </a:lnTo>
                <a:lnTo>
                  <a:pt x="443" y="4"/>
                </a:lnTo>
                <a:lnTo>
                  <a:pt x="417" y="0"/>
                </a:lnTo>
                <a:lnTo>
                  <a:pt x="337" y="3"/>
                </a:lnTo>
                <a:lnTo>
                  <a:pt x="343" y="4"/>
                </a:lnTo>
                <a:lnTo>
                  <a:pt x="336" y="5"/>
                </a:lnTo>
                <a:lnTo>
                  <a:pt x="335" y="6"/>
                </a:lnTo>
                <a:lnTo>
                  <a:pt x="314" y="5"/>
                </a:lnTo>
                <a:lnTo>
                  <a:pt x="287" y="4"/>
                </a:lnTo>
                <a:lnTo>
                  <a:pt x="290" y="6"/>
                </a:lnTo>
                <a:lnTo>
                  <a:pt x="270" y="6"/>
                </a:lnTo>
                <a:lnTo>
                  <a:pt x="306" y="7"/>
                </a:lnTo>
                <a:lnTo>
                  <a:pt x="324" y="11"/>
                </a:lnTo>
                <a:lnTo>
                  <a:pt x="307" y="9"/>
                </a:lnTo>
                <a:lnTo>
                  <a:pt x="282" y="9"/>
                </a:lnTo>
                <a:lnTo>
                  <a:pt x="293" y="12"/>
                </a:lnTo>
                <a:lnTo>
                  <a:pt x="283" y="12"/>
                </a:lnTo>
                <a:lnTo>
                  <a:pt x="282" y="15"/>
                </a:lnTo>
                <a:lnTo>
                  <a:pt x="282" y="17"/>
                </a:lnTo>
                <a:lnTo>
                  <a:pt x="234" y="11"/>
                </a:lnTo>
                <a:lnTo>
                  <a:pt x="231" y="16"/>
                </a:lnTo>
                <a:lnTo>
                  <a:pt x="231" y="18"/>
                </a:lnTo>
                <a:lnTo>
                  <a:pt x="210" y="15"/>
                </a:lnTo>
                <a:lnTo>
                  <a:pt x="200" y="19"/>
                </a:lnTo>
                <a:lnTo>
                  <a:pt x="198" y="19"/>
                </a:lnTo>
                <a:lnTo>
                  <a:pt x="201" y="12"/>
                </a:lnTo>
                <a:lnTo>
                  <a:pt x="155" y="16"/>
                </a:lnTo>
                <a:lnTo>
                  <a:pt x="169" y="21"/>
                </a:lnTo>
                <a:lnTo>
                  <a:pt x="157" y="18"/>
                </a:lnTo>
                <a:lnTo>
                  <a:pt x="135" y="17"/>
                </a:lnTo>
                <a:lnTo>
                  <a:pt x="135" y="19"/>
                </a:lnTo>
                <a:lnTo>
                  <a:pt x="132" y="23"/>
                </a:lnTo>
                <a:lnTo>
                  <a:pt x="115" y="23"/>
                </a:lnTo>
                <a:lnTo>
                  <a:pt x="113" y="25"/>
                </a:lnTo>
                <a:lnTo>
                  <a:pt x="110" y="24"/>
                </a:lnTo>
                <a:lnTo>
                  <a:pt x="67" y="33"/>
                </a:lnTo>
                <a:lnTo>
                  <a:pt x="95" y="33"/>
                </a:lnTo>
                <a:lnTo>
                  <a:pt x="87" y="34"/>
                </a:lnTo>
                <a:lnTo>
                  <a:pt x="85" y="37"/>
                </a:lnTo>
                <a:lnTo>
                  <a:pt x="75" y="43"/>
                </a:lnTo>
                <a:lnTo>
                  <a:pt x="41" y="47"/>
                </a:lnTo>
                <a:lnTo>
                  <a:pt x="5" y="53"/>
                </a:lnTo>
                <a:lnTo>
                  <a:pt x="1" y="55"/>
                </a:lnTo>
                <a:lnTo>
                  <a:pt x="1" y="58"/>
                </a:lnTo>
                <a:lnTo>
                  <a:pt x="21" y="60"/>
                </a:lnTo>
                <a:lnTo>
                  <a:pt x="18" y="63"/>
                </a:lnTo>
                <a:lnTo>
                  <a:pt x="15" y="63"/>
                </a:lnTo>
                <a:lnTo>
                  <a:pt x="30" y="64"/>
                </a:lnTo>
                <a:lnTo>
                  <a:pt x="50" y="63"/>
                </a:lnTo>
                <a:lnTo>
                  <a:pt x="48" y="66"/>
                </a:lnTo>
                <a:lnTo>
                  <a:pt x="24" y="67"/>
                </a:lnTo>
                <a:lnTo>
                  <a:pt x="42" y="69"/>
                </a:lnTo>
                <a:lnTo>
                  <a:pt x="35" y="67"/>
                </a:lnTo>
                <a:lnTo>
                  <a:pt x="0" y="70"/>
                </a:lnTo>
                <a:lnTo>
                  <a:pt x="12" y="71"/>
                </a:lnTo>
                <a:lnTo>
                  <a:pt x="21" y="75"/>
                </a:lnTo>
                <a:lnTo>
                  <a:pt x="11" y="77"/>
                </a:lnTo>
                <a:lnTo>
                  <a:pt x="35" y="83"/>
                </a:lnTo>
                <a:lnTo>
                  <a:pt x="31" y="81"/>
                </a:lnTo>
                <a:lnTo>
                  <a:pt x="37" y="81"/>
                </a:lnTo>
                <a:lnTo>
                  <a:pt x="43" y="81"/>
                </a:lnTo>
                <a:lnTo>
                  <a:pt x="59" y="78"/>
                </a:lnTo>
                <a:lnTo>
                  <a:pt x="66" y="78"/>
                </a:lnTo>
                <a:lnTo>
                  <a:pt x="109" y="85"/>
                </a:lnTo>
                <a:lnTo>
                  <a:pt x="105" y="90"/>
                </a:lnTo>
                <a:lnTo>
                  <a:pt x="115" y="96"/>
                </a:lnTo>
                <a:lnTo>
                  <a:pt x="117" y="99"/>
                </a:lnTo>
                <a:lnTo>
                  <a:pt x="115" y="102"/>
                </a:lnTo>
                <a:lnTo>
                  <a:pt x="111" y="105"/>
                </a:lnTo>
                <a:lnTo>
                  <a:pt x="119" y="105"/>
                </a:lnTo>
                <a:lnTo>
                  <a:pt x="119" y="109"/>
                </a:lnTo>
                <a:lnTo>
                  <a:pt x="120" y="113"/>
                </a:lnTo>
                <a:lnTo>
                  <a:pt x="117" y="118"/>
                </a:lnTo>
                <a:lnTo>
                  <a:pt x="121" y="119"/>
                </a:lnTo>
                <a:lnTo>
                  <a:pt x="120" y="126"/>
                </a:lnTo>
                <a:lnTo>
                  <a:pt x="114" y="129"/>
                </a:lnTo>
                <a:lnTo>
                  <a:pt x="110" y="132"/>
                </a:lnTo>
                <a:lnTo>
                  <a:pt x="117" y="132"/>
                </a:lnTo>
                <a:lnTo>
                  <a:pt x="104" y="136"/>
                </a:lnTo>
                <a:lnTo>
                  <a:pt x="110" y="141"/>
                </a:lnTo>
                <a:lnTo>
                  <a:pt x="122" y="137"/>
                </a:lnTo>
                <a:lnTo>
                  <a:pt x="127" y="129"/>
                </a:lnTo>
                <a:lnTo>
                  <a:pt x="129" y="135"/>
                </a:lnTo>
                <a:lnTo>
                  <a:pt x="135" y="132"/>
                </a:lnTo>
                <a:lnTo>
                  <a:pt x="133" y="135"/>
                </a:lnTo>
                <a:lnTo>
                  <a:pt x="143" y="137"/>
                </a:lnTo>
                <a:lnTo>
                  <a:pt x="133" y="139"/>
                </a:lnTo>
                <a:lnTo>
                  <a:pt x="143" y="139"/>
                </a:lnTo>
                <a:lnTo>
                  <a:pt x="135" y="142"/>
                </a:lnTo>
                <a:lnTo>
                  <a:pt x="140" y="142"/>
                </a:lnTo>
                <a:lnTo>
                  <a:pt x="138" y="143"/>
                </a:lnTo>
                <a:lnTo>
                  <a:pt x="145" y="145"/>
                </a:lnTo>
                <a:lnTo>
                  <a:pt x="139" y="145"/>
                </a:lnTo>
                <a:lnTo>
                  <a:pt x="146" y="148"/>
                </a:lnTo>
                <a:lnTo>
                  <a:pt x="145" y="149"/>
                </a:lnTo>
                <a:lnTo>
                  <a:pt x="145" y="151"/>
                </a:lnTo>
                <a:lnTo>
                  <a:pt x="146" y="154"/>
                </a:lnTo>
                <a:lnTo>
                  <a:pt x="114" y="148"/>
                </a:lnTo>
                <a:lnTo>
                  <a:pt x="111" y="153"/>
                </a:lnTo>
                <a:lnTo>
                  <a:pt x="146" y="160"/>
                </a:lnTo>
                <a:lnTo>
                  <a:pt x="140" y="163"/>
                </a:lnTo>
                <a:lnTo>
                  <a:pt x="141" y="166"/>
                </a:lnTo>
                <a:lnTo>
                  <a:pt x="138" y="168"/>
                </a:lnTo>
                <a:lnTo>
                  <a:pt x="139" y="169"/>
                </a:lnTo>
                <a:lnTo>
                  <a:pt x="143" y="171"/>
                </a:lnTo>
                <a:lnTo>
                  <a:pt x="143" y="172"/>
                </a:lnTo>
                <a:lnTo>
                  <a:pt x="138" y="171"/>
                </a:lnTo>
                <a:lnTo>
                  <a:pt x="133" y="174"/>
                </a:lnTo>
                <a:lnTo>
                  <a:pt x="137" y="175"/>
                </a:lnTo>
                <a:lnTo>
                  <a:pt x="110" y="181"/>
                </a:lnTo>
                <a:lnTo>
                  <a:pt x="111" y="184"/>
                </a:lnTo>
                <a:lnTo>
                  <a:pt x="128" y="181"/>
                </a:lnTo>
                <a:lnTo>
                  <a:pt x="133" y="179"/>
                </a:lnTo>
                <a:lnTo>
                  <a:pt x="128" y="184"/>
                </a:lnTo>
                <a:lnTo>
                  <a:pt x="133" y="186"/>
                </a:lnTo>
                <a:lnTo>
                  <a:pt x="111" y="184"/>
                </a:lnTo>
                <a:lnTo>
                  <a:pt x="108" y="184"/>
                </a:lnTo>
                <a:lnTo>
                  <a:pt x="115" y="187"/>
                </a:lnTo>
                <a:lnTo>
                  <a:pt x="105" y="186"/>
                </a:lnTo>
                <a:lnTo>
                  <a:pt x="98" y="191"/>
                </a:lnTo>
                <a:lnTo>
                  <a:pt x="119" y="187"/>
                </a:lnTo>
                <a:lnTo>
                  <a:pt x="116" y="189"/>
                </a:lnTo>
                <a:lnTo>
                  <a:pt x="123" y="190"/>
                </a:lnTo>
                <a:lnTo>
                  <a:pt x="128" y="187"/>
                </a:lnTo>
                <a:lnTo>
                  <a:pt x="133" y="189"/>
                </a:lnTo>
                <a:lnTo>
                  <a:pt x="127" y="190"/>
                </a:lnTo>
                <a:lnTo>
                  <a:pt x="134" y="190"/>
                </a:lnTo>
                <a:lnTo>
                  <a:pt x="131" y="191"/>
                </a:lnTo>
                <a:lnTo>
                  <a:pt x="132" y="193"/>
                </a:lnTo>
                <a:lnTo>
                  <a:pt x="113" y="190"/>
                </a:lnTo>
                <a:lnTo>
                  <a:pt x="95" y="196"/>
                </a:lnTo>
                <a:lnTo>
                  <a:pt x="120" y="195"/>
                </a:lnTo>
                <a:lnTo>
                  <a:pt x="126" y="197"/>
                </a:lnTo>
                <a:lnTo>
                  <a:pt x="120" y="196"/>
                </a:lnTo>
                <a:lnTo>
                  <a:pt x="93" y="198"/>
                </a:lnTo>
                <a:lnTo>
                  <a:pt x="97" y="201"/>
                </a:lnTo>
                <a:lnTo>
                  <a:pt x="107" y="201"/>
                </a:lnTo>
                <a:lnTo>
                  <a:pt x="102" y="203"/>
                </a:lnTo>
                <a:lnTo>
                  <a:pt x="99" y="204"/>
                </a:lnTo>
                <a:lnTo>
                  <a:pt x="97" y="204"/>
                </a:lnTo>
                <a:lnTo>
                  <a:pt x="103" y="207"/>
                </a:lnTo>
                <a:lnTo>
                  <a:pt x="93" y="207"/>
                </a:lnTo>
                <a:lnTo>
                  <a:pt x="91" y="211"/>
                </a:lnTo>
                <a:lnTo>
                  <a:pt x="110" y="205"/>
                </a:lnTo>
                <a:lnTo>
                  <a:pt x="129" y="199"/>
                </a:lnTo>
                <a:lnTo>
                  <a:pt x="125" y="202"/>
                </a:lnTo>
                <a:lnTo>
                  <a:pt x="91" y="214"/>
                </a:lnTo>
                <a:lnTo>
                  <a:pt x="96" y="214"/>
                </a:lnTo>
                <a:lnTo>
                  <a:pt x="92" y="215"/>
                </a:lnTo>
                <a:lnTo>
                  <a:pt x="109" y="213"/>
                </a:lnTo>
                <a:lnTo>
                  <a:pt x="93" y="217"/>
                </a:lnTo>
                <a:lnTo>
                  <a:pt x="95" y="219"/>
                </a:lnTo>
                <a:lnTo>
                  <a:pt x="97" y="221"/>
                </a:lnTo>
                <a:lnTo>
                  <a:pt x="104" y="220"/>
                </a:lnTo>
                <a:lnTo>
                  <a:pt x="117" y="219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1" name="Freeform 457">
            <a:extLst>
              <a:ext uri="{FF2B5EF4-FFF2-40B4-BE49-F238E27FC236}">
                <a16:creationId xmlns:a16="http://schemas.microsoft.com/office/drawing/2014/main" id="{74D7E832-6F69-42D8-950C-56DC2F03A9B2}"/>
              </a:ext>
            </a:extLst>
          </p:cNvPr>
          <p:cNvSpPr>
            <a:spLocks/>
          </p:cNvSpPr>
          <p:nvPr/>
        </p:nvSpPr>
        <p:spPr bwMode="gray">
          <a:xfrm>
            <a:off x="4209055" y="2123874"/>
            <a:ext cx="245451" cy="93251"/>
          </a:xfrm>
          <a:custGeom>
            <a:avLst/>
            <a:gdLst>
              <a:gd name="T0" fmla="*/ 89 w 116"/>
              <a:gd name="T1" fmla="*/ 0 h 42"/>
              <a:gd name="T2" fmla="*/ 87 w 116"/>
              <a:gd name="T3" fmla="*/ 2 h 42"/>
              <a:gd name="T4" fmla="*/ 77 w 116"/>
              <a:gd name="T5" fmla="*/ 6 h 42"/>
              <a:gd name="T6" fmla="*/ 69 w 116"/>
              <a:gd name="T7" fmla="*/ 3 h 42"/>
              <a:gd name="T8" fmla="*/ 68 w 116"/>
              <a:gd name="T9" fmla="*/ 9 h 42"/>
              <a:gd name="T10" fmla="*/ 68 w 116"/>
              <a:gd name="T11" fmla="*/ 8 h 42"/>
              <a:gd name="T12" fmla="*/ 58 w 116"/>
              <a:gd name="T13" fmla="*/ 5 h 42"/>
              <a:gd name="T14" fmla="*/ 54 w 116"/>
              <a:gd name="T15" fmla="*/ 8 h 42"/>
              <a:gd name="T16" fmla="*/ 47 w 116"/>
              <a:gd name="T17" fmla="*/ 5 h 42"/>
              <a:gd name="T18" fmla="*/ 41 w 116"/>
              <a:gd name="T19" fmla="*/ 13 h 42"/>
              <a:gd name="T20" fmla="*/ 35 w 116"/>
              <a:gd name="T21" fmla="*/ 15 h 42"/>
              <a:gd name="T22" fmla="*/ 30 w 116"/>
              <a:gd name="T23" fmla="*/ 11 h 42"/>
              <a:gd name="T24" fmla="*/ 34 w 116"/>
              <a:gd name="T25" fmla="*/ 8 h 42"/>
              <a:gd name="T26" fmla="*/ 18 w 116"/>
              <a:gd name="T27" fmla="*/ 0 h 42"/>
              <a:gd name="T28" fmla="*/ 22 w 116"/>
              <a:gd name="T29" fmla="*/ 3 h 42"/>
              <a:gd name="T30" fmla="*/ 23 w 116"/>
              <a:gd name="T31" fmla="*/ 7 h 42"/>
              <a:gd name="T32" fmla="*/ 15 w 116"/>
              <a:gd name="T33" fmla="*/ 3 h 42"/>
              <a:gd name="T34" fmla="*/ 12 w 116"/>
              <a:gd name="T35" fmla="*/ 6 h 42"/>
              <a:gd name="T36" fmla="*/ 11 w 116"/>
              <a:gd name="T37" fmla="*/ 8 h 42"/>
              <a:gd name="T38" fmla="*/ 14 w 116"/>
              <a:gd name="T39" fmla="*/ 9 h 42"/>
              <a:gd name="T40" fmla="*/ 4 w 116"/>
              <a:gd name="T41" fmla="*/ 8 h 42"/>
              <a:gd name="T42" fmla="*/ 6 w 116"/>
              <a:gd name="T43" fmla="*/ 12 h 42"/>
              <a:gd name="T44" fmla="*/ 0 w 116"/>
              <a:gd name="T45" fmla="*/ 12 h 42"/>
              <a:gd name="T46" fmla="*/ 24 w 116"/>
              <a:gd name="T47" fmla="*/ 13 h 42"/>
              <a:gd name="T48" fmla="*/ 21 w 116"/>
              <a:gd name="T49" fmla="*/ 17 h 42"/>
              <a:gd name="T50" fmla="*/ 24 w 116"/>
              <a:gd name="T51" fmla="*/ 19 h 42"/>
              <a:gd name="T52" fmla="*/ 3 w 116"/>
              <a:gd name="T53" fmla="*/ 21 h 42"/>
              <a:gd name="T54" fmla="*/ 20 w 116"/>
              <a:gd name="T55" fmla="*/ 25 h 42"/>
              <a:gd name="T56" fmla="*/ 26 w 116"/>
              <a:gd name="T57" fmla="*/ 26 h 42"/>
              <a:gd name="T58" fmla="*/ 23 w 116"/>
              <a:gd name="T59" fmla="*/ 29 h 42"/>
              <a:gd name="T60" fmla="*/ 26 w 116"/>
              <a:gd name="T61" fmla="*/ 29 h 42"/>
              <a:gd name="T62" fmla="*/ 23 w 116"/>
              <a:gd name="T63" fmla="*/ 31 h 42"/>
              <a:gd name="T64" fmla="*/ 14 w 116"/>
              <a:gd name="T65" fmla="*/ 35 h 42"/>
              <a:gd name="T66" fmla="*/ 22 w 116"/>
              <a:gd name="T67" fmla="*/ 37 h 42"/>
              <a:gd name="T68" fmla="*/ 38 w 116"/>
              <a:gd name="T69" fmla="*/ 38 h 42"/>
              <a:gd name="T70" fmla="*/ 62 w 116"/>
              <a:gd name="T71" fmla="*/ 42 h 42"/>
              <a:gd name="T72" fmla="*/ 80 w 116"/>
              <a:gd name="T73" fmla="*/ 36 h 42"/>
              <a:gd name="T74" fmla="*/ 96 w 116"/>
              <a:gd name="T75" fmla="*/ 30 h 42"/>
              <a:gd name="T76" fmla="*/ 107 w 116"/>
              <a:gd name="T77" fmla="*/ 24 h 42"/>
              <a:gd name="T78" fmla="*/ 112 w 116"/>
              <a:gd name="T79" fmla="*/ 20 h 42"/>
              <a:gd name="T80" fmla="*/ 116 w 116"/>
              <a:gd name="T81" fmla="*/ 20 h 42"/>
              <a:gd name="T82" fmla="*/ 111 w 116"/>
              <a:gd name="T83" fmla="*/ 17 h 42"/>
              <a:gd name="T84" fmla="*/ 116 w 116"/>
              <a:gd name="T85" fmla="*/ 15 h 42"/>
              <a:gd name="T86" fmla="*/ 116 w 116"/>
              <a:gd name="T87" fmla="*/ 13 h 42"/>
              <a:gd name="T88" fmla="*/ 106 w 116"/>
              <a:gd name="T89" fmla="*/ 13 h 42"/>
              <a:gd name="T90" fmla="*/ 108 w 116"/>
              <a:gd name="T91" fmla="*/ 11 h 42"/>
              <a:gd name="T92" fmla="*/ 104 w 116"/>
              <a:gd name="T93" fmla="*/ 9 h 42"/>
              <a:gd name="T94" fmla="*/ 102 w 116"/>
              <a:gd name="T95" fmla="*/ 6 h 42"/>
              <a:gd name="T96" fmla="*/ 107 w 116"/>
              <a:gd name="T97" fmla="*/ 1 h 42"/>
              <a:gd name="T98" fmla="*/ 99 w 116"/>
              <a:gd name="T99" fmla="*/ 2 h 42"/>
              <a:gd name="T100" fmla="*/ 89 w 116"/>
              <a:gd name="T101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16" h="42">
                <a:moveTo>
                  <a:pt x="89" y="0"/>
                </a:moveTo>
                <a:lnTo>
                  <a:pt x="87" y="2"/>
                </a:lnTo>
                <a:lnTo>
                  <a:pt x="77" y="6"/>
                </a:lnTo>
                <a:lnTo>
                  <a:pt x="69" y="3"/>
                </a:lnTo>
                <a:lnTo>
                  <a:pt x="68" y="9"/>
                </a:lnTo>
                <a:lnTo>
                  <a:pt x="68" y="8"/>
                </a:lnTo>
                <a:lnTo>
                  <a:pt x="58" y="5"/>
                </a:lnTo>
                <a:lnTo>
                  <a:pt x="54" y="8"/>
                </a:lnTo>
                <a:lnTo>
                  <a:pt x="47" y="5"/>
                </a:lnTo>
                <a:lnTo>
                  <a:pt x="41" y="13"/>
                </a:lnTo>
                <a:lnTo>
                  <a:pt x="35" y="15"/>
                </a:lnTo>
                <a:lnTo>
                  <a:pt x="30" y="11"/>
                </a:lnTo>
                <a:lnTo>
                  <a:pt x="34" y="8"/>
                </a:lnTo>
                <a:lnTo>
                  <a:pt x="18" y="0"/>
                </a:lnTo>
                <a:lnTo>
                  <a:pt x="22" y="3"/>
                </a:lnTo>
                <a:lnTo>
                  <a:pt x="23" y="7"/>
                </a:lnTo>
                <a:lnTo>
                  <a:pt x="15" y="3"/>
                </a:lnTo>
                <a:lnTo>
                  <a:pt x="12" y="6"/>
                </a:lnTo>
                <a:lnTo>
                  <a:pt x="11" y="8"/>
                </a:lnTo>
                <a:lnTo>
                  <a:pt x="14" y="9"/>
                </a:lnTo>
                <a:lnTo>
                  <a:pt x="4" y="8"/>
                </a:lnTo>
                <a:lnTo>
                  <a:pt x="6" y="12"/>
                </a:lnTo>
                <a:lnTo>
                  <a:pt x="0" y="12"/>
                </a:lnTo>
                <a:lnTo>
                  <a:pt x="24" y="13"/>
                </a:lnTo>
                <a:lnTo>
                  <a:pt x="21" y="17"/>
                </a:lnTo>
                <a:lnTo>
                  <a:pt x="24" y="19"/>
                </a:lnTo>
                <a:lnTo>
                  <a:pt x="3" y="21"/>
                </a:lnTo>
                <a:lnTo>
                  <a:pt x="20" y="25"/>
                </a:lnTo>
                <a:lnTo>
                  <a:pt x="26" y="26"/>
                </a:lnTo>
                <a:lnTo>
                  <a:pt x="23" y="29"/>
                </a:lnTo>
                <a:lnTo>
                  <a:pt x="26" y="29"/>
                </a:lnTo>
                <a:lnTo>
                  <a:pt x="23" y="31"/>
                </a:lnTo>
                <a:lnTo>
                  <a:pt x="14" y="35"/>
                </a:lnTo>
                <a:lnTo>
                  <a:pt x="22" y="37"/>
                </a:lnTo>
                <a:lnTo>
                  <a:pt x="38" y="38"/>
                </a:lnTo>
                <a:lnTo>
                  <a:pt x="62" y="42"/>
                </a:lnTo>
                <a:lnTo>
                  <a:pt x="80" y="36"/>
                </a:lnTo>
                <a:lnTo>
                  <a:pt x="96" y="30"/>
                </a:lnTo>
                <a:lnTo>
                  <a:pt x="107" y="24"/>
                </a:lnTo>
                <a:lnTo>
                  <a:pt x="112" y="20"/>
                </a:lnTo>
                <a:lnTo>
                  <a:pt x="116" y="20"/>
                </a:lnTo>
                <a:lnTo>
                  <a:pt x="111" y="17"/>
                </a:lnTo>
                <a:lnTo>
                  <a:pt x="116" y="15"/>
                </a:lnTo>
                <a:lnTo>
                  <a:pt x="116" y="13"/>
                </a:lnTo>
                <a:lnTo>
                  <a:pt x="106" y="13"/>
                </a:lnTo>
                <a:lnTo>
                  <a:pt x="108" y="11"/>
                </a:lnTo>
                <a:lnTo>
                  <a:pt x="104" y="9"/>
                </a:lnTo>
                <a:lnTo>
                  <a:pt x="102" y="6"/>
                </a:lnTo>
                <a:lnTo>
                  <a:pt x="107" y="1"/>
                </a:lnTo>
                <a:lnTo>
                  <a:pt x="99" y="2"/>
                </a:lnTo>
                <a:lnTo>
                  <a:pt x="89" y="0"/>
                </a:lnTo>
                <a:close/>
              </a:path>
            </a:pathLst>
          </a:custGeom>
          <a:solidFill>
            <a:srgbClr val="95ABC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1" name="Freeform 467">
            <a:extLst>
              <a:ext uri="{FF2B5EF4-FFF2-40B4-BE49-F238E27FC236}">
                <a16:creationId xmlns:a16="http://schemas.microsoft.com/office/drawing/2014/main" id="{B6CFABD9-5348-4F63-8FB7-A8DF11009908}"/>
              </a:ext>
            </a:extLst>
          </p:cNvPr>
          <p:cNvSpPr>
            <a:spLocks/>
          </p:cNvSpPr>
          <p:nvPr/>
        </p:nvSpPr>
        <p:spPr bwMode="gray">
          <a:xfrm>
            <a:off x="4039712" y="3088124"/>
            <a:ext cx="20930" cy="3967"/>
          </a:xfrm>
          <a:custGeom>
            <a:avLst/>
            <a:gdLst>
              <a:gd name="T0" fmla="*/ 2 w 10"/>
              <a:gd name="T1" fmla="*/ 3 h 3"/>
              <a:gd name="T2" fmla="*/ 0 w 10"/>
              <a:gd name="T3" fmla="*/ 0 h 3"/>
              <a:gd name="T4" fmla="*/ 10 w 10"/>
              <a:gd name="T5" fmla="*/ 2 h 3"/>
              <a:gd name="T6" fmla="*/ 2 w 10"/>
              <a:gd name="T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" h="3">
                <a:moveTo>
                  <a:pt x="2" y="3"/>
                </a:moveTo>
                <a:lnTo>
                  <a:pt x="0" y="0"/>
                </a:lnTo>
                <a:lnTo>
                  <a:pt x="10" y="2"/>
                </a:lnTo>
                <a:lnTo>
                  <a:pt x="2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2" name="Freeform 468">
            <a:extLst>
              <a:ext uri="{FF2B5EF4-FFF2-40B4-BE49-F238E27FC236}">
                <a16:creationId xmlns:a16="http://schemas.microsoft.com/office/drawing/2014/main" id="{4EFF201F-0DB8-40A3-81C7-7B287BF03127}"/>
              </a:ext>
            </a:extLst>
          </p:cNvPr>
          <p:cNvSpPr>
            <a:spLocks/>
          </p:cNvSpPr>
          <p:nvPr/>
        </p:nvSpPr>
        <p:spPr bwMode="gray">
          <a:xfrm>
            <a:off x="3967409" y="3064316"/>
            <a:ext cx="13319" cy="5952"/>
          </a:xfrm>
          <a:custGeom>
            <a:avLst/>
            <a:gdLst>
              <a:gd name="T0" fmla="*/ 3 w 7"/>
              <a:gd name="T1" fmla="*/ 0 h 2"/>
              <a:gd name="T2" fmla="*/ 0 w 7"/>
              <a:gd name="T3" fmla="*/ 2 h 2"/>
              <a:gd name="T4" fmla="*/ 7 w 7"/>
              <a:gd name="T5" fmla="*/ 2 h 2"/>
              <a:gd name="T6" fmla="*/ 3 w 7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2">
                <a:moveTo>
                  <a:pt x="3" y="0"/>
                </a:moveTo>
                <a:lnTo>
                  <a:pt x="0" y="2"/>
                </a:lnTo>
                <a:lnTo>
                  <a:pt x="7" y="2"/>
                </a:lnTo>
                <a:lnTo>
                  <a:pt x="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3" name="Freeform 469">
            <a:extLst>
              <a:ext uri="{FF2B5EF4-FFF2-40B4-BE49-F238E27FC236}">
                <a16:creationId xmlns:a16="http://schemas.microsoft.com/office/drawing/2014/main" id="{6E2580FB-AA40-4E7F-AA7E-72E9AF47F359}"/>
              </a:ext>
            </a:extLst>
          </p:cNvPr>
          <p:cNvSpPr>
            <a:spLocks/>
          </p:cNvSpPr>
          <p:nvPr/>
        </p:nvSpPr>
        <p:spPr bwMode="gray">
          <a:xfrm>
            <a:off x="4001658" y="3056379"/>
            <a:ext cx="7611" cy="3967"/>
          </a:xfrm>
          <a:custGeom>
            <a:avLst/>
            <a:gdLst>
              <a:gd name="T0" fmla="*/ 4 w 4"/>
              <a:gd name="T1" fmla="*/ 1 h 2"/>
              <a:gd name="T2" fmla="*/ 0 w 4"/>
              <a:gd name="T3" fmla="*/ 2 h 2"/>
              <a:gd name="T4" fmla="*/ 1 w 4"/>
              <a:gd name="T5" fmla="*/ 0 h 2"/>
              <a:gd name="T6" fmla="*/ 4 w 4"/>
              <a:gd name="T7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2">
                <a:moveTo>
                  <a:pt x="4" y="1"/>
                </a:moveTo>
                <a:lnTo>
                  <a:pt x="0" y="2"/>
                </a:lnTo>
                <a:lnTo>
                  <a:pt x="1" y="0"/>
                </a:lnTo>
                <a:lnTo>
                  <a:pt x="4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458" name="Group 457">
            <a:extLst>
              <a:ext uri="{FF2B5EF4-FFF2-40B4-BE49-F238E27FC236}">
                <a16:creationId xmlns:a16="http://schemas.microsoft.com/office/drawing/2014/main" id="{32650587-4162-40B1-842E-9B569BDACF95}"/>
              </a:ext>
            </a:extLst>
          </p:cNvPr>
          <p:cNvGrpSpPr/>
          <p:nvPr/>
        </p:nvGrpSpPr>
        <p:grpSpPr>
          <a:xfrm>
            <a:off x="4502074" y="1727063"/>
            <a:ext cx="1362353" cy="1466217"/>
            <a:chOff x="4502074" y="1727063"/>
            <a:chExt cx="1362353" cy="1466217"/>
          </a:xfrm>
        </p:grpSpPr>
        <p:sp>
          <p:nvSpPr>
            <p:cNvPr id="139" name="Freeform 148">
              <a:extLst>
                <a:ext uri="{FF2B5EF4-FFF2-40B4-BE49-F238E27FC236}">
                  <a16:creationId xmlns:a16="http://schemas.microsoft.com/office/drawing/2014/main" id="{B68ACA08-C199-4036-BB10-E33788883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0531" y="3149630"/>
              <a:ext cx="5707" cy="396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42" name="Freeform 151">
              <a:extLst>
                <a:ext uri="{FF2B5EF4-FFF2-40B4-BE49-F238E27FC236}">
                  <a16:creationId xmlns:a16="http://schemas.microsoft.com/office/drawing/2014/main" id="{4BA18C7F-7936-4494-B464-76D4B63B890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6126" y="3157567"/>
              <a:ext cx="7611" cy="3967"/>
            </a:xfrm>
            <a:custGeom>
              <a:avLst/>
              <a:gdLst>
                <a:gd name="T0" fmla="*/ 3 w 3"/>
                <a:gd name="T1" fmla="*/ 1 h 2"/>
                <a:gd name="T2" fmla="*/ 2 w 3"/>
                <a:gd name="T3" fmla="*/ 2 h 2"/>
                <a:gd name="T4" fmla="*/ 0 w 3"/>
                <a:gd name="T5" fmla="*/ 0 h 2"/>
                <a:gd name="T6" fmla="*/ 3 w 3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05" name="Freeform 339">
              <a:extLst>
                <a:ext uri="{FF2B5EF4-FFF2-40B4-BE49-F238E27FC236}">
                  <a16:creationId xmlns:a16="http://schemas.microsoft.com/office/drawing/2014/main" id="{1BC5AB57-300E-470B-91B5-627395FDDF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5956" y="2933369"/>
              <a:ext cx="68498" cy="53570"/>
            </a:xfrm>
            <a:custGeom>
              <a:avLst/>
              <a:gdLst>
                <a:gd name="T0" fmla="*/ 9 w 33"/>
                <a:gd name="T1" fmla="*/ 24 h 24"/>
                <a:gd name="T2" fmla="*/ 0 w 33"/>
                <a:gd name="T3" fmla="*/ 7 h 24"/>
                <a:gd name="T4" fmla="*/ 3 w 33"/>
                <a:gd name="T5" fmla="*/ 6 h 24"/>
                <a:gd name="T6" fmla="*/ 3 w 33"/>
                <a:gd name="T7" fmla="*/ 4 h 24"/>
                <a:gd name="T8" fmla="*/ 7 w 33"/>
                <a:gd name="T9" fmla="*/ 2 h 24"/>
                <a:gd name="T10" fmla="*/ 10 w 33"/>
                <a:gd name="T11" fmla="*/ 3 h 24"/>
                <a:gd name="T12" fmla="*/ 12 w 33"/>
                <a:gd name="T13" fmla="*/ 1 h 24"/>
                <a:gd name="T14" fmla="*/ 13 w 33"/>
                <a:gd name="T15" fmla="*/ 1 h 24"/>
                <a:gd name="T16" fmla="*/ 17 w 33"/>
                <a:gd name="T17" fmla="*/ 2 h 24"/>
                <a:gd name="T18" fmla="*/ 18 w 33"/>
                <a:gd name="T19" fmla="*/ 1 h 24"/>
                <a:gd name="T20" fmla="*/ 23 w 33"/>
                <a:gd name="T21" fmla="*/ 0 h 24"/>
                <a:gd name="T22" fmla="*/ 27 w 33"/>
                <a:gd name="T23" fmla="*/ 3 h 24"/>
                <a:gd name="T24" fmla="*/ 28 w 33"/>
                <a:gd name="T25" fmla="*/ 2 h 24"/>
                <a:gd name="T26" fmla="*/ 30 w 33"/>
                <a:gd name="T27" fmla="*/ 4 h 24"/>
                <a:gd name="T28" fmla="*/ 33 w 33"/>
                <a:gd name="T29" fmla="*/ 16 h 24"/>
                <a:gd name="T30" fmla="*/ 9 w 33"/>
                <a:gd name="T3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24">
                  <a:moveTo>
                    <a:pt x="9" y="24"/>
                  </a:moveTo>
                  <a:lnTo>
                    <a:pt x="0" y="7"/>
                  </a:lnTo>
                  <a:lnTo>
                    <a:pt x="3" y="6"/>
                  </a:lnTo>
                  <a:lnTo>
                    <a:pt x="3" y="4"/>
                  </a:lnTo>
                  <a:lnTo>
                    <a:pt x="7" y="2"/>
                  </a:lnTo>
                  <a:lnTo>
                    <a:pt x="10" y="3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7" y="2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27" y="3"/>
                  </a:lnTo>
                  <a:lnTo>
                    <a:pt x="28" y="2"/>
                  </a:lnTo>
                  <a:lnTo>
                    <a:pt x="30" y="4"/>
                  </a:lnTo>
                  <a:lnTo>
                    <a:pt x="33" y="16"/>
                  </a:lnTo>
                  <a:lnTo>
                    <a:pt x="9" y="24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06" name="Freeform 340">
              <a:extLst>
                <a:ext uri="{FF2B5EF4-FFF2-40B4-BE49-F238E27FC236}">
                  <a16:creationId xmlns:a16="http://schemas.microsoft.com/office/drawing/2014/main" id="{52A6796A-2035-4A76-BC7D-B8045645970D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7330" y="2867895"/>
              <a:ext cx="161732" cy="101187"/>
            </a:xfrm>
            <a:custGeom>
              <a:avLst/>
              <a:gdLst>
                <a:gd name="T0" fmla="*/ 4 w 77"/>
                <a:gd name="T1" fmla="*/ 3 h 46"/>
                <a:gd name="T2" fmla="*/ 1 w 77"/>
                <a:gd name="T3" fmla="*/ 0 h 46"/>
                <a:gd name="T4" fmla="*/ 0 w 77"/>
                <a:gd name="T5" fmla="*/ 9 h 46"/>
                <a:gd name="T6" fmla="*/ 6 w 77"/>
                <a:gd name="T7" fmla="*/ 19 h 46"/>
                <a:gd name="T8" fmla="*/ 0 w 77"/>
                <a:gd name="T9" fmla="*/ 26 h 46"/>
                <a:gd name="T10" fmla="*/ 4 w 77"/>
                <a:gd name="T11" fmla="*/ 32 h 46"/>
                <a:gd name="T12" fmla="*/ 6 w 77"/>
                <a:gd name="T13" fmla="*/ 34 h 46"/>
                <a:gd name="T14" fmla="*/ 9 w 77"/>
                <a:gd name="T15" fmla="*/ 46 h 46"/>
                <a:gd name="T16" fmla="*/ 23 w 77"/>
                <a:gd name="T17" fmla="*/ 44 h 46"/>
                <a:gd name="T18" fmla="*/ 46 w 77"/>
                <a:gd name="T19" fmla="*/ 46 h 46"/>
                <a:gd name="T20" fmla="*/ 51 w 77"/>
                <a:gd name="T21" fmla="*/ 42 h 46"/>
                <a:gd name="T22" fmla="*/ 53 w 77"/>
                <a:gd name="T23" fmla="*/ 39 h 46"/>
                <a:gd name="T24" fmla="*/ 55 w 77"/>
                <a:gd name="T25" fmla="*/ 36 h 46"/>
                <a:gd name="T26" fmla="*/ 73 w 77"/>
                <a:gd name="T27" fmla="*/ 36 h 46"/>
                <a:gd name="T28" fmla="*/ 69 w 77"/>
                <a:gd name="T29" fmla="*/ 28 h 46"/>
                <a:gd name="T30" fmla="*/ 71 w 77"/>
                <a:gd name="T31" fmla="*/ 22 h 46"/>
                <a:gd name="T32" fmla="*/ 73 w 77"/>
                <a:gd name="T33" fmla="*/ 13 h 46"/>
                <a:gd name="T34" fmla="*/ 77 w 77"/>
                <a:gd name="T35" fmla="*/ 7 h 46"/>
                <a:gd name="T36" fmla="*/ 53 w 77"/>
                <a:gd name="T37" fmla="*/ 2 h 46"/>
                <a:gd name="T38" fmla="*/ 33 w 77"/>
                <a:gd name="T39" fmla="*/ 8 h 46"/>
                <a:gd name="T40" fmla="*/ 18 w 77"/>
                <a:gd name="T41" fmla="*/ 6 h 46"/>
                <a:gd name="T42" fmla="*/ 4 w 77"/>
                <a:gd name="T43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7" h="46">
                  <a:moveTo>
                    <a:pt x="4" y="3"/>
                  </a:moveTo>
                  <a:lnTo>
                    <a:pt x="1" y="0"/>
                  </a:lnTo>
                  <a:lnTo>
                    <a:pt x="0" y="9"/>
                  </a:lnTo>
                  <a:lnTo>
                    <a:pt x="6" y="19"/>
                  </a:lnTo>
                  <a:lnTo>
                    <a:pt x="0" y="26"/>
                  </a:lnTo>
                  <a:lnTo>
                    <a:pt x="4" y="32"/>
                  </a:lnTo>
                  <a:lnTo>
                    <a:pt x="6" y="34"/>
                  </a:lnTo>
                  <a:lnTo>
                    <a:pt x="9" y="46"/>
                  </a:lnTo>
                  <a:lnTo>
                    <a:pt x="23" y="44"/>
                  </a:lnTo>
                  <a:lnTo>
                    <a:pt x="46" y="46"/>
                  </a:lnTo>
                  <a:lnTo>
                    <a:pt x="51" y="42"/>
                  </a:lnTo>
                  <a:lnTo>
                    <a:pt x="53" y="39"/>
                  </a:lnTo>
                  <a:lnTo>
                    <a:pt x="55" y="36"/>
                  </a:lnTo>
                  <a:lnTo>
                    <a:pt x="73" y="36"/>
                  </a:lnTo>
                  <a:lnTo>
                    <a:pt x="69" y="28"/>
                  </a:lnTo>
                  <a:lnTo>
                    <a:pt x="71" y="22"/>
                  </a:lnTo>
                  <a:lnTo>
                    <a:pt x="73" y="13"/>
                  </a:lnTo>
                  <a:lnTo>
                    <a:pt x="77" y="7"/>
                  </a:lnTo>
                  <a:lnTo>
                    <a:pt x="53" y="2"/>
                  </a:lnTo>
                  <a:lnTo>
                    <a:pt x="33" y="8"/>
                  </a:lnTo>
                  <a:lnTo>
                    <a:pt x="18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07" name="Freeform 341">
              <a:extLst>
                <a:ext uri="{FF2B5EF4-FFF2-40B4-BE49-F238E27FC236}">
                  <a16:creationId xmlns:a16="http://schemas.microsoft.com/office/drawing/2014/main" id="{8E7E4EE4-412C-4331-BD59-5021C71FF31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09" y="2925432"/>
              <a:ext cx="49472" cy="101187"/>
            </a:xfrm>
            <a:custGeom>
              <a:avLst/>
              <a:gdLst>
                <a:gd name="T0" fmla="*/ 0 w 23"/>
                <a:gd name="T1" fmla="*/ 11 h 46"/>
                <a:gd name="T2" fmla="*/ 3 w 23"/>
                <a:gd name="T3" fmla="*/ 32 h 46"/>
                <a:gd name="T4" fmla="*/ 12 w 23"/>
                <a:gd name="T5" fmla="*/ 46 h 46"/>
                <a:gd name="T6" fmla="*/ 15 w 23"/>
                <a:gd name="T7" fmla="*/ 42 h 46"/>
                <a:gd name="T8" fmla="*/ 23 w 23"/>
                <a:gd name="T9" fmla="*/ 28 h 46"/>
                <a:gd name="T10" fmla="*/ 14 w 23"/>
                <a:gd name="T11" fmla="*/ 11 h 46"/>
                <a:gd name="T12" fmla="*/ 11 w 23"/>
                <a:gd name="T13" fmla="*/ 2 h 46"/>
                <a:gd name="T14" fmla="*/ 2 w 23"/>
                <a:gd name="T15" fmla="*/ 0 h 46"/>
                <a:gd name="T16" fmla="*/ 0 w 23"/>
                <a:gd name="T17" fmla="*/ 1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46">
                  <a:moveTo>
                    <a:pt x="0" y="11"/>
                  </a:moveTo>
                  <a:lnTo>
                    <a:pt x="3" y="32"/>
                  </a:lnTo>
                  <a:lnTo>
                    <a:pt x="12" y="46"/>
                  </a:lnTo>
                  <a:lnTo>
                    <a:pt x="15" y="42"/>
                  </a:lnTo>
                  <a:lnTo>
                    <a:pt x="23" y="28"/>
                  </a:lnTo>
                  <a:lnTo>
                    <a:pt x="14" y="11"/>
                  </a:lnTo>
                  <a:lnTo>
                    <a:pt x="11" y="2"/>
                  </a:lnTo>
                  <a:lnTo>
                    <a:pt x="2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11" name="Freeform 345">
              <a:extLst>
                <a:ext uri="{FF2B5EF4-FFF2-40B4-BE49-F238E27FC236}">
                  <a16:creationId xmlns:a16="http://schemas.microsoft.com/office/drawing/2014/main" id="{36145EA5-EE7D-4A6C-BEA5-7576ED79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8346" y="2955192"/>
              <a:ext cx="173148" cy="186502"/>
            </a:xfrm>
            <a:custGeom>
              <a:avLst/>
              <a:gdLst>
                <a:gd name="T0" fmla="*/ 15 w 81"/>
                <a:gd name="T1" fmla="*/ 45 h 84"/>
                <a:gd name="T2" fmla="*/ 6 w 81"/>
                <a:gd name="T3" fmla="*/ 41 h 84"/>
                <a:gd name="T4" fmla="*/ 0 w 81"/>
                <a:gd name="T5" fmla="*/ 33 h 84"/>
                <a:gd name="T6" fmla="*/ 3 w 81"/>
                <a:gd name="T7" fmla="*/ 29 h 84"/>
                <a:gd name="T8" fmla="*/ 11 w 81"/>
                <a:gd name="T9" fmla="*/ 15 h 84"/>
                <a:gd name="T10" fmla="*/ 35 w 81"/>
                <a:gd name="T11" fmla="*/ 7 h 84"/>
                <a:gd name="T12" fmla="*/ 49 w 81"/>
                <a:gd name="T13" fmla="*/ 5 h 84"/>
                <a:gd name="T14" fmla="*/ 72 w 81"/>
                <a:gd name="T15" fmla="*/ 7 h 84"/>
                <a:gd name="T16" fmla="*/ 77 w 81"/>
                <a:gd name="T17" fmla="*/ 3 h 84"/>
                <a:gd name="T18" fmla="*/ 79 w 81"/>
                <a:gd name="T19" fmla="*/ 0 h 84"/>
                <a:gd name="T20" fmla="*/ 81 w 81"/>
                <a:gd name="T21" fmla="*/ 6 h 84"/>
                <a:gd name="T22" fmla="*/ 77 w 81"/>
                <a:gd name="T23" fmla="*/ 16 h 84"/>
                <a:gd name="T24" fmla="*/ 61 w 81"/>
                <a:gd name="T25" fmla="*/ 13 h 84"/>
                <a:gd name="T26" fmla="*/ 47 w 81"/>
                <a:gd name="T27" fmla="*/ 18 h 84"/>
                <a:gd name="T28" fmla="*/ 54 w 81"/>
                <a:gd name="T29" fmla="*/ 24 h 84"/>
                <a:gd name="T30" fmla="*/ 48 w 81"/>
                <a:gd name="T31" fmla="*/ 24 h 84"/>
                <a:gd name="T32" fmla="*/ 49 w 81"/>
                <a:gd name="T33" fmla="*/ 28 h 84"/>
                <a:gd name="T34" fmla="*/ 43 w 81"/>
                <a:gd name="T35" fmla="*/ 25 h 84"/>
                <a:gd name="T36" fmla="*/ 47 w 81"/>
                <a:gd name="T37" fmla="*/ 29 h 84"/>
                <a:gd name="T38" fmla="*/ 37 w 81"/>
                <a:gd name="T39" fmla="*/ 19 h 84"/>
                <a:gd name="T40" fmla="*/ 33 w 81"/>
                <a:gd name="T41" fmla="*/ 22 h 84"/>
                <a:gd name="T42" fmla="*/ 39 w 81"/>
                <a:gd name="T43" fmla="*/ 35 h 84"/>
                <a:gd name="T44" fmla="*/ 42 w 81"/>
                <a:gd name="T45" fmla="*/ 42 h 84"/>
                <a:gd name="T46" fmla="*/ 37 w 81"/>
                <a:gd name="T47" fmla="*/ 40 h 84"/>
                <a:gd name="T48" fmla="*/ 38 w 81"/>
                <a:gd name="T49" fmla="*/ 46 h 84"/>
                <a:gd name="T50" fmla="*/ 36 w 81"/>
                <a:gd name="T51" fmla="*/ 46 h 84"/>
                <a:gd name="T52" fmla="*/ 54 w 81"/>
                <a:gd name="T53" fmla="*/ 58 h 84"/>
                <a:gd name="T54" fmla="*/ 53 w 81"/>
                <a:gd name="T55" fmla="*/ 64 h 84"/>
                <a:gd name="T56" fmla="*/ 47 w 81"/>
                <a:gd name="T57" fmla="*/ 60 h 84"/>
                <a:gd name="T58" fmla="*/ 43 w 81"/>
                <a:gd name="T59" fmla="*/ 63 h 84"/>
                <a:gd name="T60" fmla="*/ 47 w 81"/>
                <a:gd name="T61" fmla="*/ 70 h 84"/>
                <a:gd name="T62" fmla="*/ 38 w 81"/>
                <a:gd name="T63" fmla="*/ 70 h 84"/>
                <a:gd name="T64" fmla="*/ 44 w 81"/>
                <a:gd name="T65" fmla="*/ 84 h 84"/>
                <a:gd name="T66" fmla="*/ 37 w 81"/>
                <a:gd name="T67" fmla="*/ 81 h 84"/>
                <a:gd name="T68" fmla="*/ 35 w 81"/>
                <a:gd name="T69" fmla="*/ 84 h 84"/>
                <a:gd name="T70" fmla="*/ 29 w 81"/>
                <a:gd name="T71" fmla="*/ 76 h 84"/>
                <a:gd name="T72" fmla="*/ 26 w 81"/>
                <a:gd name="T73" fmla="*/ 79 h 84"/>
                <a:gd name="T74" fmla="*/ 19 w 81"/>
                <a:gd name="T75" fmla="*/ 65 h 84"/>
                <a:gd name="T76" fmla="*/ 18 w 81"/>
                <a:gd name="T77" fmla="*/ 60 h 84"/>
                <a:gd name="T78" fmla="*/ 29 w 81"/>
                <a:gd name="T79" fmla="*/ 55 h 84"/>
                <a:gd name="T80" fmla="*/ 42 w 81"/>
                <a:gd name="T81" fmla="*/ 59 h 84"/>
                <a:gd name="T82" fmla="*/ 41 w 81"/>
                <a:gd name="T83" fmla="*/ 57 h 84"/>
                <a:gd name="T84" fmla="*/ 33 w 81"/>
                <a:gd name="T85" fmla="*/ 53 h 84"/>
                <a:gd name="T86" fmla="*/ 19 w 81"/>
                <a:gd name="T87" fmla="*/ 53 h 84"/>
                <a:gd name="T88" fmla="*/ 15 w 81"/>
                <a:gd name="T89" fmla="*/ 53 h 84"/>
                <a:gd name="T90" fmla="*/ 12 w 81"/>
                <a:gd name="T91" fmla="*/ 46 h 84"/>
                <a:gd name="T92" fmla="*/ 15 w 81"/>
                <a:gd name="T93" fmla="*/ 4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1" h="84">
                  <a:moveTo>
                    <a:pt x="15" y="45"/>
                  </a:moveTo>
                  <a:lnTo>
                    <a:pt x="6" y="41"/>
                  </a:lnTo>
                  <a:lnTo>
                    <a:pt x="0" y="33"/>
                  </a:lnTo>
                  <a:lnTo>
                    <a:pt x="3" y="29"/>
                  </a:lnTo>
                  <a:lnTo>
                    <a:pt x="11" y="15"/>
                  </a:lnTo>
                  <a:lnTo>
                    <a:pt x="35" y="7"/>
                  </a:lnTo>
                  <a:lnTo>
                    <a:pt x="49" y="5"/>
                  </a:lnTo>
                  <a:lnTo>
                    <a:pt x="72" y="7"/>
                  </a:lnTo>
                  <a:lnTo>
                    <a:pt x="77" y="3"/>
                  </a:lnTo>
                  <a:lnTo>
                    <a:pt x="79" y="0"/>
                  </a:lnTo>
                  <a:lnTo>
                    <a:pt x="81" y="6"/>
                  </a:lnTo>
                  <a:lnTo>
                    <a:pt x="77" y="16"/>
                  </a:lnTo>
                  <a:lnTo>
                    <a:pt x="61" y="13"/>
                  </a:lnTo>
                  <a:lnTo>
                    <a:pt x="47" y="18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9" y="28"/>
                  </a:lnTo>
                  <a:lnTo>
                    <a:pt x="43" y="25"/>
                  </a:lnTo>
                  <a:lnTo>
                    <a:pt x="47" y="29"/>
                  </a:lnTo>
                  <a:lnTo>
                    <a:pt x="37" y="19"/>
                  </a:lnTo>
                  <a:lnTo>
                    <a:pt x="33" y="22"/>
                  </a:lnTo>
                  <a:lnTo>
                    <a:pt x="39" y="35"/>
                  </a:lnTo>
                  <a:lnTo>
                    <a:pt x="42" y="42"/>
                  </a:lnTo>
                  <a:lnTo>
                    <a:pt x="37" y="40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54" y="58"/>
                  </a:lnTo>
                  <a:lnTo>
                    <a:pt x="53" y="64"/>
                  </a:lnTo>
                  <a:lnTo>
                    <a:pt x="47" y="60"/>
                  </a:lnTo>
                  <a:lnTo>
                    <a:pt x="43" y="63"/>
                  </a:lnTo>
                  <a:lnTo>
                    <a:pt x="47" y="70"/>
                  </a:lnTo>
                  <a:lnTo>
                    <a:pt x="38" y="70"/>
                  </a:lnTo>
                  <a:lnTo>
                    <a:pt x="44" y="84"/>
                  </a:lnTo>
                  <a:lnTo>
                    <a:pt x="37" y="81"/>
                  </a:lnTo>
                  <a:lnTo>
                    <a:pt x="35" y="84"/>
                  </a:lnTo>
                  <a:lnTo>
                    <a:pt x="29" y="76"/>
                  </a:lnTo>
                  <a:lnTo>
                    <a:pt x="26" y="79"/>
                  </a:lnTo>
                  <a:lnTo>
                    <a:pt x="19" y="65"/>
                  </a:lnTo>
                  <a:lnTo>
                    <a:pt x="18" y="60"/>
                  </a:lnTo>
                  <a:lnTo>
                    <a:pt x="29" y="55"/>
                  </a:lnTo>
                  <a:lnTo>
                    <a:pt x="42" y="59"/>
                  </a:lnTo>
                  <a:lnTo>
                    <a:pt x="41" y="57"/>
                  </a:lnTo>
                  <a:lnTo>
                    <a:pt x="33" y="53"/>
                  </a:lnTo>
                  <a:lnTo>
                    <a:pt x="19" y="53"/>
                  </a:lnTo>
                  <a:lnTo>
                    <a:pt x="15" y="53"/>
                  </a:lnTo>
                  <a:lnTo>
                    <a:pt x="12" y="46"/>
                  </a:lnTo>
                  <a:lnTo>
                    <a:pt x="15" y="45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12" name="Freeform 346">
              <a:extLst>
                <a:ext uri="{FF2B5EF4-FFF2-40B4-BE49-F238E27FC236}">
                  <a16:creationId xmlns:a16="http://schemas.microsoft.com/office/drawing/2014/main" id="{DA80C1F8-6B42-4273-9A52-EB798C5C5A70}"/>
                </a:ext>
              </a:extLst>
            </p:cNvPr>
            <p:cNvSpPr>
              <a:spLocks/>
            </p:cNvSpPr>
            <p:nvPr/>
          </p:nvSpPr>
          <p:spPr bwMode="gray">
            <a:xfrm>
              <a:off x="5432509" y="3171455"/>
              <a:ext cx="76109" cy="21825"/>
            </a:xfrm>
            <a:custGeom>
              <a:avLst/>
              <a:gdLst>
                <a:gd name="T0" fmla="*/ 28 w 36"/>
                <a:gd name="T1" fmla="*/ 3 h 8"/>
                <a:gd name="T2" fmla="*/ 7 w 36"/>
                <a:gd name="T3" fmla="*/ 0 h 8"/>
                <a:gd name="T4" fmla="*/ 1 w 36"/>
                <a:gd name="T5" fmla="*/ 0 h 8"/>
                <a:gd name="T6" fmla="*/ 0 w 36"/>
                <a:gd name="T7" fmla="*/ 5 h 8"/>
                <a:gd name="T8" fmla="*/ 13 w 36"/>
                <a:gd name="T9" fmla="*/ 6 h 8"/>
                <a:gd name="T10" fmla="*/ 26 w 36"/>
                <a:gd name="T11" fmla="*/ 8 h 8"/>
                <a:gd name="T12" fmla="*/ 36 w 36"/>
                <a:gd name="T13" fmla="*/ 5 h 8"/>
                <a:gd name="T14" fmla="*/ 28 w 36"/>
                <a:gd name="T1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8">
                  <a:moveTo>
                    <a:pt x="28" y="3"/>
                  </a:moveTo>
                  <a:lnTo>
                    <a:pt x="7" y="0"/>
                  </a:lnTo>
                  <a:lnTo>
                    <a:pt x="1" y="0"/>
                  </a:lnTo>
                  <a:lnTo>
                    <a:pt x="0" y="5"/>
                  </a:lnTo>
                  <a:lnTo>
                    <a:pt x="13" y="6"/>
                  </a:lnTo>
                  <a:lnTo>
                    <a:pt x="26" y="8"/>
                  </a:lnTo>
                  <a:lnTo>
                    <a:pt x="36" y="5"/>
                  </a:lnTo>
                  <a:lnTo>
                    <a:pt x="28" y="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13" name="Freeform 347">
              <a:extLst>
                <a:ext uri="{FF2B5EF4-FFF2-40B4-BE49-F238E27FC236}">
                  <a16:creationId xmlns:a16="http://schemas.microsoft.com/office/drawing/2014/main" id="{D55A6312-B983-4AD4-A851-B957F1DE90F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07772" y="3052412"/>
              <a:ext cx="41860" cy="31745"/>
            </a:xfrm>
            <a:custGeom>
              <a:avLst/>
              <a:gdLst>
                <a:gd name="T0" fmla="*/ 20 w 20"/>
                <a:gd name="T1" fmla="*/ 13 h 14"/>
                <a:gd name="T2" fmla="*/ 9 w 20"/>
                <a:gd name="T3" fmla="*/ 3 h 14"/>
                <a:gd name="T4" fmla="*/ 0 w 20"/>
                <a:gd name="T5" fmla="*/ 0 h 14"/>
                <a:gd name="T6" fmla="*/ 9 w 20"/>
                <a:gd name="T7" fmla="*/ 7 h 14"/>
                <a:gd name="T8" fmla="*/ 20 w 20"/>
                <a:gd name="T9" fmla="*/ 14 h 14"/>
                <a:gd name="T10" fmla="*/ 20 w 20"/>
                <a:gd name="T11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4">
                  <a:moveTo>
                    <a:pt x="20" y="13"/>
                  </a:moveTo>
                  <a:lnTo>
                    <a:pt x="9" y="3"/>
                  </a:lnTo>
                  <a:lnTo>
                    <a:pt x="0" y="0"/>
                  </a:lnTo>
                  <a:lnTo>
                    <a:pt x="9" y="7"/>
                  </a:lnTo>
                  <a:lnTo>
                    <a:pt x="20" y="14"/>
                  </a:lnTo>
                  <a:lnTo>
                    <a:pt x="20" y="1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14" name="Freeform 348">
              <a:extLst>
                <a:ext uri="{FF2B5EF4-FFF2-40B4-BE49-F238E27FC236}">
                  <a16:creationId xmlns:a16="http://schemas.microsoft.com/office/drawing/2014/main" id="{68E9D1FE-D73B-4AF3-842A-C1F88FFBA5C9}"/>
                </a:ext>
              </a:extLst>
            </p:cNvPr>
            <p:cNvSpPr>
              <a:spLocks/>
            </p:cNvSpPr>
            <p:nvPr/>
          </p:nvSpPr>
          <p:spPr bwMode="gray">
            <a:xfrm>
              <a:off x="5483881" y="3038523"/>
              <a:ext cx="20930" cy="9919"/>
            </a:xfrm>
            <a:custGeom>
              <a:avLst/>
              <a:gdLst>
                <a:gd name="T0" fmla="*/ 8 w 8"/>
                <a:gd name="T1" fmla="*/ 3 h 3"/>
                <a:gd name="T2" fmla="*/ 3 w 8"/>
                <a:gd name="T3" fmla="*/ 2 h 3"/>
                <a:gd name="T4" fmla="*/ 0 w 8"/>
                <a:gd name="T5" fmla="*/ 0 h 3"/>
                <a:gd name="T6" fmla="*/ 7 w 8"/>
                <a:gd name="T7" fmla="*/ 2 h 3"/>
                <a:gd name="T8" fmla="*/ 8 w 8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8" y="3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7" y="2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15" name="Freeform 349">
              <a:extLst>
                <a:ext uri="{FF2B5EF4-FFF2-40B4-BE49-F238E27FC236}">
                  <a16:creationId xmlns:a16="http://schemas.microsoft.com/office/drawing/2014/main" id="{C4991267-509F-4B6F-8070-C36E0CCC486B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5470" y="3074237"/>
              <a:ext cx="7611" cy="3967"/>
            </a:xfrm>
            <a:custGeom>
              <a:avLst/>
              <a:gdLst>
                <a:gd name="T0" fmla="*/ 0 w 4"/>
                <a:gd name="T1" fmla="*/ 0 h 4"/>
                <a:gd name="T2" fmla="*/ 4 w 4"/>
                <a:gd name="T3" fmla="*/ 4 h 4"/>
                <a:gd name="T4" fmla="*/ 1 w 4"/>
                <a:gd name="T5" fmla="*/ 4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4" y="4"/>
                  </a:lnTo>
                  <a:lnTo>
                    <a:pt x="1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16" name="Freeform 350">
              <a:extLst>
                <a:ext uri="{FF2B5EF4-FFF2-40B4-BE49-F238E27FC236}">
                  <a16:creationId xmlns:a16="http://schemas.microsoft.com/office/drawing/2014/main" id="{EA0D71D1-6C0E-4CF0-85B4-5625A638C955}"/>
                </a:ext>
              </a:extLst>
            </p:cNvPr>
            <p:cNvSpPr>
              <a:spLocks/>
            </p:cNvSpPr>
            <p:nvPr/>
          </p:nvSpPr>
          <p:spPr bwMode="gray">
            <a:xfrm>
              <a:off x="5487688" y="3066299"/>
              <a:ext cx="3805" cy="7937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4 h 4"/>
                <a:gd name="T4" fmla="*/ 0 w 2"/>
                <a:gd name="T5" fmla="*/ 1 h 4"/>
                <a:gd name="T6" fmla="*/ 2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2" y="4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17" name="Freeform 351">
              <a:extLst>
                <a:ext uri="{FF2B5EF4-FFF2-40B4-BE49-F238E27FC236}">
                  <a16:creationId xmlns:a16="http://schemas.microsoft.com/office/drawing/2014/main" id="{6731ACE8-7AE7-4DC6-8249-E6AE53B2FE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9215" y="2770677"/>
              <a:ext cx="327269" cy="317449"/>
            </a:xfrm>
            <a:custGeom>
              <a:avLst/>
              <a:gdLst>
                <a:gd name="T0" fmla="*/ 66 w 153"/>
                <a:gd name="T1" fmla="*/ 0 h 144"/>
                <a:gd name="T2" fmla="*/ 44 w 153"/>
                <a:gd name="T3" fmla="*/ 2 h 144"/>
                <a:gd name="T4" fmla="*/ 42 w 153"/>
                <a:gd name="T5" fmla="*/ 6 h 144"/>
                <a:gd name="T6" fmla="*/ 30 w 153"/>
                <a:gd name="T7" fmla="*/ 10 h 144"/>
                <a:gd name="T8" fmla="*/ 16 w 153"/>
                <a:gd name="T9" fmla="*/ 10 h 144"/>
                <a:gd name="T10" fmla="*/ 1 w 153"/>
                <a:gd name="T11" fmla="*/ 17 h 144"/>
                <a:gd name="T12" fmla="*/ 0 w 153"/>
                <a:gd name="T13" fmla="*/ 29 h 144"/>
                <a:gd name="T14" fmla="*/ 0 w 153"/>
                <a:gd name="T15" fmla="*/ 40 h 144"/>
                <a:gd name="T16" fmla="*/ 8 w 153"/>
                <a:gd name="T17" fmla="*/ 51 h 144"/>
                <a:gd name="T18" fmla="*/ 38 w 153"/>
                <a:gd name="T19" fmla="*/ 46 h 144"/>
                <a:gd name="T20" fmla="*/ 60 w 153"/>
                <a:gd name="T21" fmla="*/ 72 h 144"/>
                <a:gd name="T22" fmla="*/ 74 w 153"/>
                <a:gd name="T23" fmla="*/ 86 h 144"/>
                <a:gd name="T24" fmla="*/ 85 w 153"/>
                <a:gd name="T25" fmla="*/ 90 h 144"/>
                <a:gd name="T26" fmla="*/ 108 w 153"/>
                <a:gd name="T27" fmla="*/ 105 h 144"/>
                <a:gd name="T28" fmla="*/ 123 w 153"/>
                <a:gd name="T29" fmla="*/ 126 h 144"/>
                <a:gd name="T30" fmla="*/ 124 w 153"/>
                <a:gd name="T31" fmla="*/ 144 h 144"/>
                <a:gd name="T32" fmla="*/ 135 w 153"/>
                <a:gd name="T33" fmla="*/ 128 h 144"/>
                <a:gd name="T34" fmla="*/ 130 w 153"/>
                <a:gd name="T35" fmla="*/ 117 h 144"/>
                <a:gd name="T36" fmla="*/ 141 w 153"/>
                <a:gd name="T37" fmla="*/ 106 h 144"/>
                <a:gd name="T38" fmla="*/ 153 w 153"/>
                <a:gd name="T39" fmla="*/ 106 h 144"/>
                <a:gd name="T40" fmla="*/ 120 w 153"/>
                <a:gd name="T41" fmla="*/ 88 h 144"/>
                <a:gd name="T42" fmla="*/ 117 w 153"/>
                <a:gd name="T43" fmla="*/ 81 h 144"/>
                <a:gd name="T44" fmla="*/ 93 w 153"/>
                <a:gd name="T45" fmla="*/ 65 h 144"/>
                <a:gd name="T46" fmla="*/ 74 w 153"/>
                <a:gd name="T47" fmla="*/ 47 h 144"/>
                <a:gd name="T48" fmla="*/ 67 w 153"/>
                <a:gd name="T49" fmla="*/ 27 h 144"/>
                <a:gd name="T50" fmla="*/ 86 w 153"/>
                <a:gd name="T51" fmla="*/ 22 h 144"/>
                <a:gd name="T52" fmla="*/ 85 w 153"/>
                <a:gd name="T53" fmla="*/ 8 h 144"/>
                <a:gd name="T54" fmla="*/ 73 w 153"/>
                <a:gd name="T55" fmla="*/ 47 h 144"/>
                <a:gd name="T56" fmla="*/ 72 w 153"/>
                <a:gd name="T57" fmla="*/ 48 h 144"/>
                <a:gd name="T58" fmla="*/ 72 w 153"/>
                <a:gd name="T59" fmla="*/ 48 h 144"/>
                <a:gd name="T60" fmla="*/ 85 w 153"/>
                <a:gd name="T61" fmla="*/ 8 h 144"/>
                <a:gd name="T62" fmla="*/ 85 w 153"/>
                <a:gd name="T63" fmla="*/ 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3" h="144">
                  <a:moveTo>
                    <a:pt x="85" y="8"/>
                  </a:moveTo>
                  <a:lnTo>
                    <a:pt x="66" y="0"/>
                  </a:lnTo>
                  <a:lnTo>
                    <a:pt x="51" y="3"/>
                  </a:lnTo>
                  <a:lnTo>
                    <a:pt x="44" y="2"/>
                  </a:lnTo>
                  <a:lnTo>
                    <a:pt x="44" y="3"/>
                  </a:lnTo>
                  <a:lnTo>
                    <a:pt x="42" y="6"/>
                  </a:lnTo>
                  <a:lnTo>
                    <a:pt x="38" y="10"/>
                  </a:lnTo>
                  <a:lnTo>
                    <a:pt x="30" y="10"/>
                  </a:lnTo>
                  <a:lnTo>
                    <a:pt x="25" y="16"/>
                  </a:lnTo>
                  <a:lnTo>
                    <a:pt x="16" y="10"/>
                  </a:lnTo>
                  <a:lnTo>
                    <a:pt x="9" y="16"/>
                  </a:lnTo>
                  <a:lnTo>
                    <a:pt x="1" y="17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0" y="40"/>
                  </a:lnTo>
                  <a:lnTo>
                    <a:pt x="8" y="45"/>
                  </a:lnTo>
                  <a:lnTo>
                    <a:pt x="8" y="51"/>
                  </a:lnTo>
                  <a:lnTo>
                    <a:pt x="21" y="42"/>
                  </a:lnTo>
                  <a:lnTo>
                    <a:pt x="38" y="46"/>
                  </a:lnTo>
                  <a:lnTo>
                    <a:pt x="48" y="62"/>
                  </a:lnTo>
                  <a:lnTo>
                    <a:pt x="60" y="72"/>
                  </a:lnTo>
                  <a:lnTo>
                    <a:pt x="70" y="83"/>
                  </a:lnTo>
                  <a:lnTo>
                    <a:pt x="74" y="86"/>
                  </a:lnTo>
                  <a:lnTo>
                    <a:pt x="75" y="86"/>
                  </a:lnTo>
                  <a:lnTo>
                    <a:pt x="85" y="90"/>
                  </a:lnTo>
                  <a:lnTo>
                    <a:pt x="100" y="101"/>
                  </a:lnTo>
                  <a:lnTo>
                    <a:pt x="108" y="105"/>
                  </a:lnTo>
                  <a:lnTo>
                    <a:pt x="115" y="110"/>
                  </a:lnTo>
                  <a:lnTo>
                    <a:pt x="123" y="126"/>
                  </a:lnTo>
                  <a:lnTo>
                    <a:pt x="118" y="141"/>
                  </a:lnTo>
                  <a:lnTo>
                    <a:pt x="124" y="144"/>
                  </a:lnTo>
                  <a:lnTo>
                    <a:pt x="130" y="134"/>
                  </a:lnTo>
                  <a:lnTo>
                    <a:pt x="135" y="128"/>
                  </a:lnTo>
                  <a:lnTo>
                    <a:pt x="138" y="124"/>
                  </a:lnTo>
                  <a:lnTo>
                    <a:pt x="130" y="117"/>
                  </a:lnTo>
                  <a:lnTo>
                    <a:pt x="133" y="104"/>
                  </a:lnTo>
                  <a:lnTo>
                    <a:pt x="141" y="106"/>
                  </a:lnTo>
                  <a:lnTo>
                    <a:pt x="151" y="113"/>
                  </a:lnTo>
                  <a:lnTo>
                    <a:pt x="153" y="106"/>
                  </a:lnTo>
                  <a:lnTo>
                    <a:pt x="136" y="98"/>
                  </a:lnTo>
                  <a:lnTo>
                    <a:pt x="120" y="88"/>
                  </a:lnTo>
                  <a:lnTo>
                    <a:pt x="122" y="82"/>
                  </a:lnTo>
                  <a:lnTo>
                    <a:pt x="117" y="81"/>
                  </a:lnTo>
                  <a:lnTo>
                    <a:pt x="100" y="76"/>
                  </a:lnTo>
                  <a:lnTo>
                    <a:pt x="93" y="65"/>
                  </a:lnTo>
                  <a:lnTo>
                    <a:pt x="87" y="56"/>
                  </a:lnTo>
                  <a:lnTo>
                    <a:pt x="74" y="47"/>
                  </a:lnTo>
                  <a:lnTo>
                    <a:pt x="69" y="34"/>
                  </a:lnTo>
                  <a:lnTo>
                    <a:pt x="67" y="27"/>
                  </a:lnTo>
                  <a:lnTo>
                    <a:pt x="79" y="21"/>
                  </a:lnTo>
                  <a:lnTo>
                    <a:pt x="86" y="22"/>
                  </a:lnTo>
                  <a:lnTo>
                    <a:pt x="82" y="12"/>
                  </a:lnTo>
                  <a:lnTo>
                    <a:pt x="85" y="8"/>
                  </a:lnTo>
                  <a:lnTo>
                    <a:pt x="73" y="48"/>
                  </a:lnTo>
                  <a:lnTo>
                    <a:pt x="73" y="47"/>
                  </a:lnTo>
                  <a:lnTo>
                    <a:pt x="72" y="47"/>
                  </a:lnTo>
                  <a:lnTo>
                    <a:pt x="72" y="48"/>
                  </a:lnTo>
                  <a:lnTo>
                    <a:pt x="70" y="48"/>
                  </a:lnTo>
                  <a:lnTo>
                    <a:pt x="72" y="48"/>
                  </a:lnTo>
                  <a:lnTo>
                    <a:pt x="73" y="48"/>
                  </a:lnTo>
                  <a:lnTo>
                    <a:pt x="85" y="8"/>
                  </a:lnTo>
                  <a:lnTo>
                    <a:pt x="75" y="84"/>
                  </a:lnTo>
                  <a:lnTo>
                    <a:pt x="85" y="8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18" name="Freeform 352">
              <a:extLst>
                <a:ext uri="{FF2B5EF4-FFF2-40B4-BE49-F238E27FC236}">
                  <a16:creationId xmlns:a16="http://schemas.microsoft.com/office/drawing/2014/main" id="{DDC6B8C2-9A63-43BE-A3AE-5F8E5132BEA1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9215" y="2770677"/>
              <a:ext cx="327269" cy="317449"/>
            </a:xfrm>
            <a:custGeom>
              <a:avLst/>
              <a:gdLst>
                <a:gd name="T0" fmla="*/ 85 w 153"/>
                <a:gd name="T1" fmla="*/ 8 h 144"/>
                <a:gd name="T2" fmla="*/ 66 w 153"/>
                <a:gd name="T3" fmla="*/ 0 h 144"/>
                <a:gd name="T4" fmla="*/ 51 w 153"/>
                <a:gd name="T5" fmla="*/ 3 h 144"/>
                <a:gd name="T6" fmla="*/ 44 w 153"/>
                <a:gd name="T7" fmla="*/ 2 h 144"/>
                <a:gd name="T8" fmla="*/ 44 w 153"/>
                <a:gd name="T9" fmla="*/ 3 h 144"/>
                <a:gd name="T10" fmla="*/ 42 w 153"/>
                <a:gd name="T11" fmla="*/ 6 h 144"/>
                <a:gd name="T12" fmla="*/ 38 w 153"/>
                <a:gd name="T13" fmla="*/ 10 h 144"/>
                <a:gd name="T14" fmla="*/ 30 w 153"/>
                <a:gd name="T15" fmla="*/ 10 h 144"/>
                <a:gd name="T16" fmla="*/ 25 w 153"/>
                <a:gd name="T17" fmla="*/ 16 h 144"/>
                <a:gd name="T18" fmla="*/ 16 w 153"/>
                <a:gd name="T19" fmla="*/ 10 h 144"/>
                <a:gd name="T20" fmla="*/ 9 w 153"/>
                <a:gd name="T21" fmla="*/ 16 h 144"/>
                <a:gd name="T22" fmla="*/ 1 w 153"/>
                <a:gd name="T23" fmla="*/ 17 h 144"/>
                <a:gd name="T24" fmla="*/ 1 w 153"/>
                <a:gd name="T25" fmla="*/ 23 h 144"/>
                <a:gd name="T26" fmla="*/ 0 w 153"/>
                <a:gd name="T27" fmla="*/ 29 h 144"/>
                <a:gd name="T28" fmla="*/ 0 w 153"/>
                <a:gd name="T29" fmla="*/ 34 h 144"/>
                <a:gd name="T30" fmla="*/ 0 w 153"/>
                <a:gd name="T31" fmla="*/ 40 h 144"/>
                <a:gd name="T32" fmla="*/ 8 w 153"/>
                <a:gd name="T33" fmla="*/ 45 h 144"/>
                <a:gd name="T34" fmla="*/ 8 w 153"/>
                <a:gd name="T35" fmla="*/ 51 h 144"/>
                <a:gd name="T36" fmla="*/ 21 w 153"/>
                <a:gd name="T37" fmla="*/ 42 h 144"/>
                <a:gd name="T38" fmla="*/ 38 w 153"/>
                <a:gd name="T39" fmla="*/ 46 h 144"/>
                <a:gd name="T40" fmla="*/ 48 w 153"/>
                <a:gd name="T41" fmla="*/ 62 h 144"/>
                <a:gd name="T42" fmla="*/ 60 w 153"/>
                <a:gd name="T43" fmla="*/ 72 h 144"/>
                <a:gd name="T44" fmla="*/ 70 w 153"/>
                <a:gd name="T45" fmla="*/ 83 h 144"/>
                <a:gd name="T46" fmla="*/ 74 w 153"/>
                <a:gd name="T47" fmla="*/ 86 h 144"/>
                <a:gd name="T48" fmla="*/ 75 w 153"/>
                <a:gd name="T49" fmla="*/ 86 h 144"/>
                <a:gd name="T50" fmla="*/ 85 w 153"/>
                <a:gd name="T51" fmla="*/ 90 h 144"/>
                <a:gd name="T52" fmla="*/ 100 w 153"/>
                <a:gd name="T53" fmla="*/ 101 h 144"/>
                <a:gd name="T54" fmla="*/ 108 w 153"/>
                <a:gd name="T55" fmla="*/ 105 h 144"/>
                <a:gd name="T56" fmla="*/ 115 w 153"/>
                <a:gd name="T57" fmla="*/ 110 h 144"/>
                <a:gd name="T58" fmla="*/ 123 w 153"/>
                <a:gd name="T59" fmla="*/ 126 h 144"/>
                <a:gd name="T60" fmla="*/ 118 w 153"/>
                <a:gd name="T61" fmla="*/ 141 h 144"/>
                <a:gd name="T62" fmla="*/ 124 w 153"/>
                <a:gd name="T63" fmla="*/ 144 h 144"/>
                <a:gd name="T64" fmla="*/ 130 w 153"/>
                <a:gd name="T65" fmla="*/ 134 h 144"/>
                <a:gd name="T66" fmla="*/ 135 w 153"/>
                <a:gd name="T67" fmla="*/ 128 h 144"/>
                <a:gd name="T68" fmla="*/ 138 w 153"/>
                <a:gd name="T69" fmla="*/ 124 h 144"/>
                <a:gd name="T70" fmla="*/ 130 w 153"/>
                <a:gd name="T71" fmla="*/ 117 h 144"/>
                <a:gd name="T72" fmla="*/ 133 w 153"/>
                <a:gd name="T73" fmla="*/ 104 h 144"/>
                <a:gd name="T74" fmla="*/ 141 w 153"/>
                <a:gd name="T75" fmla="*/ 106 h 144"/>
                <a:gd name="T76" fmla="*/ 151 w 153"/>
                <a:gd name="T77" fmla="*/ 113 h 144"/>
                <a:gd name="T78" fmla="*/ 153 w 153"/>
                <a:gd name="T79" fmla="*/ 106 h 144"/>
                <a:gd name="T80" fmla="*/ 136 w 153"/>
                <a:gd name="T81" fmla="*/ 98 h 144"/>
                <a:gd name="T82" fmla="*/ 120 w 153"/>
                <a:gd name="T83" fmla="*/ 88 h 144"/>
                <a:gd name="T84" fmla="*/ 122 w 153"/>
                <a:gd name="T85" fmla="*/ 82 h 144"/>
                <a:gd name="T86" fmla="*/ 117 w 153"/>
                <a:gd name="T87" fmla="*/ 81 h 144"/>
                <a:gd name="T88" fmla="*/ 100 w 153"/>
                <a:gd name="T89" fmla="*/ 76 h 144"/>
                <a:gd name="T90" fmla="*/ 93 w 153"/>
                <a:gd name="T91" fmla="*/ 65 h 144"/>
                <a:gd name="T92" fmla="*/ 87 w 153"/>
                <a:gd name="T93" fmla="*/ 56 h 144"/>
                <a:gd name="T94" fmla="*/ 74 w 153"/>
                <a:gd name="T95" fmla="*/ 47 h 144"/>
                <a:gd name="T96" fmla="*/ 69 w 153"/>
                <a:gd name="T97" fmla="*/ 34 h 144"/>
                <a:gd name="T98" fmla="*/ 67 w 153"/>
                <a:gd name="T99" fmla="*/ 27 h 144"/>
                <a:gd name="T100" fmla="*/ 79 w 153"/>
                <a:gd name="T101" fmla="*/ 21 h 144"/>
                <a:gd name="T102" fmla="*/ 86 w 153"/>
                <a:gd name="T103" fmla="*/ 22 h 144"/>
                <a:gd name="T104" fmla="*/ 82 w 153"/>
                <a:gd name="T105" fmla="*/ 12 h 144"/>
                <a:gd name="T106" fmla="*/ 85 w 153"/>
                <a:gd name="T107" fmla="*/ 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3" h="144">
                  <a:moveTo>
                    <a:pt x="85" y="8"/>
                  </a:moveTo>
                  <a:lnTo>
                    <a:pt x="66" y="0"/>
                  </a:lnTo>
                  <a:lnTo>
                    <a:pt x="51" y="3"/>
                  </a:lnTo>
                  <a:lnTo>
                    <a:pt x="44" y="2"/>
                  </a:lnTo>
                  <a:lnTo>
                    <a:pt x="44" y="3"/>
                  </a:lnTo>
                  <a:lnTo>
                    <a:pt x="42" y="6"/>
                  </a:lnTo>
                  <a:lnTo>
                    <a:pt x="38" y="10"/>
                  </a:lnTo>
                  <a:lnTo>
                    <a:pt x="30" y="10"/>
                  </a:lnTo>
                  <a:lnTo>
                    <a:pt x="25" y="16"/>
                  </a:lnTo>
                  <a:lnTo>
                    <a:pt x="16" y="10"/>
                  </a:lnTo>
                  <a:lnTo>
                    <a:pt x="9" y="16"/>
                  </a:lnTo>
                  <a:lnTo>
                    <a:pt x="1" y="17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0" y="40"/>
                  </a:lnTo>
                  <a:lnTo>
                    <a:pt x="8" y="45"/>
                  </a:lnTo>
                  <a:lnTo>
                    <a:pt x="8" y="51"/>
                  </a:lnTo>
                  <a:lnTo>
                    <a:pt x="21" y="42"/>
                  </a:lnTo>
                  <a:lnTo>
                    <a:pt x="38" y="46"/>
                  </a:lnTo>
                  <a:lnTo>
                    <a:pt x="48" y="62"/>
                  </a:lnTo>
                  <a:lnTo>
                    <a:pt x="60" y="72"/>
                  </a:lnTo>
                  <a:lnTo>
                    <a:pt x="70" y="83"/>
                  </a:lnTo>
                  <a:lnTo>
                    <a:pt x="74" y="86"/>
                  </a:lnTo>
                  <a:lnTo>
                    <a:pt x="75" y="86"/>
                  </a:lnTo>
                  <a:lnTo>
                    <a:pt x="85" y="90"/>
                  </a:lnTo>
                  <a:lnTo>
                    <a:pt x="100" y="101"/>
                  </a:lnTo>
                  <a:lnTo>
                    <a:pt x="108" y="105"/>
                  </a:lnTo>
                  <a:lnTo>
                    <a:pt x="115" y="110"/>
                  </a:lnTo>
                  <a:lnTo>
                    <a:pt x="123" y="126"/>
                  </a:lnTo>
                  <a:lnTo>
                    <a:pt x="118" y="141"/>
                  </a:lnTo>
                  <a:lnTo>
                    <a:pt x="124" y="144"/>
                  </a:lnTo>
                  <a:lnTo>
                    <a:pt x="130" y="134"/>
                  </a:lnTo>
                  <a:lnTo>
                    <a:pt x="135" y="128"/>
                  </a:lnTo>
                  <a:lnTo>
                    <a:pt x="138" y="124"/>
                  </a:lnTo>
                  <a:lnTo>
                    <a:pt x="130" y="117"/>
                  </a:lnTo>
                  <a:lnTo>
                    <a:pt x="133" y="104"/>
                  </a:lnTo>
                  <a:lnTo>
                    <a:pt x="141" y="106"/>
                  </a:lnTo>
                  <a:lnTo>
                    <a:pt x="151" y="113"/>
                  </a:lnTo>
                  <a:lnTo>
                    <a:pt x="153" y="106"/>
                  </a:lnTo>
                  <a:lnTo>
                    <a:pt x="136" y="98"/>
                  </a:lnTo>
                  <a:lnTo>
                    <a:pt x="120" y="88"/>
                  </a:lnTo>
                  <a:lnTo>
                    <a:pt x="122" y="82"/>
                  </a:lnTo>
                  <a:lnTo>
                    <a:pt x="117" y="81"/>
                  </a:lnTo>
                  <a:lnTo>
                    <a:pt x="100" y="76"/>
                  </a:lnTo>
                  <a:lnTo>
                    <a:pt x="93" y="65"/>
                  </a:lnTo>
                  <a:lnTo>
                    <a:pt x="87" y="56"/>
                  </a:lnTo>
                  <a:lnTo>
                    <a:pt x="74" y="47"/>
                  </a:lnTo>
                  <a:lnTo>
                    <a:pt x="69" y="34"/>
                  </a:lnTo>
                  <a:lnTo>
                    <a:pt x="67" y="27"/>
                  </a:lnTo>
                  <a:lnTo>
                    <a:pt x="79" y="21"/>
                  </a:lnTo>
                  <a:lnTo>
                    <a:pt x="86" y="22"/>
                  </a:lnTo>
                  <a:lnTo>
                    <a:pt x="82" y="12"/>
                  </a:lnTo>
                  <a:lnTo>
                    <a:pt x="85" y="8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19" name="Freeform 353">
              <a:extLst>
                <a:ext uri="{FF2B5EF4-FFF2-40B4-BE49-F238E27FC236}">
                  <a16:creationId xmlns:a16="http://schemas.microsoft.com/office/drawing/2014/main" id="{DAC28ED8-BD43-47A1-8318-BB64853060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97628" y="2875831"/>
              <a:ext cx="3805" cy="3967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2 w 3"/>
                <a:gd name="T5" fmla="*/ 0 h 1"/>
                <a:gd name="T6" fmla="*/ 2 w 3"/>
                <a:gd name="T7" fmla="*/ 1 h 1"/>
                <a:gd name="T8" fmla="*/ 0 w 3"/>
                <a:gd name="T9" fmla="*/ 1 h 1"/>
                <a:gd name="T10" fmla="*/ 2 w 3"/>
                <a:gd name="T11" fmla="*/ 1 h 1"/>
                <a:gd name="T12" fmla="*/ 3 w 3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1"/>
                  </a:lnTo>
                  <a:lnTo>
                    <a:pt x="2" y="1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20" name="Freeform 354">
              <a:extLst>
                <a:ext uri="{FF2B5EF4-FFF2-40B4-BE49-F238E27FC236}">
                  <a16:creationId xmlns:a16="http://schemas.microsoft.com/office/drawing/2014/main" id="{FC4C7B23-5704-4297-A733-3DBE892839B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4752" y="3074237"/>
              <a:ext cx="85623" cy="57537"/>
            </a:xfrm>
            <a:custGeom>
              <a:avLst/>
              <a:gdLst>
                <a:gd name="T0" fmla="*/ 36 w 40"/>
                <a:gd name="T1" fmla="*/ 16 h 27"/>
                <a:gd name="T2" fmla="*/ 36 w 40"/>
                <a:gd name="T3" fmla="*/ 27 h 27"/>
                <a:gd name="T4" fmla="*/ 19 w 40"/>
                <a:gd name="T5" fmla="*/ 20 h 27"/>
                <a:gd name="T6" fmla="*/ 3 w 40"/>
                <a:gd name="T7" fmla="*/ 12 h 27"/>
                <a:gd name="T8" fmla="*/ 0 w 40"/>
                <a:gd name="T9" fmla="*/ 5 h 27"/>
                <a:gd name="T10" fmla="*/ 10 w 40"/>
                <a:gd name="T11" fmla="*/ 3 h 27"/>
                <a:gd name="T12" fmla="*/ 26 w 40"/>
                <a:gd name="T13" fmla="*/ 2 h 27"/>
                <a:gd name="T14" fmla="*/ 40 w 40"/>
                <a:gd name="T15" fmla="*/ 0 h 27"/>
                <a:gd name="T16" fmla="*/ 36 w 40"/>
                <a:gd name="T17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27">
                  <a:moveTo>
                    <a:pt x="36" y="16"/>
                  </a:moveTo>
                  <a:lnTo>
                    <a:pt x="36" y="27"/>
                  </a:lnTo>
                  <a:lnTo>
                    <a:pt x="19" y="20"/>
                  </a:lnTo>
                  <a:lnTo>
                    <a:pt x="3" y="12"/>
                  </a:lnTo>
                  <a:lnTo>
                    <a:pt x="0" y="5"/>
                  </a:lnTo>
                  <a:lnTo>
                    <a:pt x="10" y="3"/>
                  </a:lnTo>
                  <a:lnTo>
                    <a:pt x="26" y="2"/>
                  </a:lnTo>
                  <a:lnTo>
                    <a:pt x="40" y="0"/>
                  </a:lnTo>
                  <a:lnTo>
                    <a:pt x="36" y="1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21" name="Freeform 355">
              <a:extLst>
                <a:ext uri="{FF2B5EF4-FFF2-40B4-BE49-F238E27FC236}">
                  <a16:creationId xmlns:a16="http://schemas.microsoft.com/office/drawing/2014/main" id="{6E283343-303C-48AC-89B9-2B53BC33B404}"/>
                </a:ext>
              </a:extLst>
            </p:cNvPr>
            <p:cNvSpPr>
              <a:spLocks/>
            </p:cNvSpPr>
            <p:nvPr/>
          </p:nvSpPr>
          <p:spPr bwMode="gray">
            <a:xfrm>
              <a:off x="4987270" y="2969082"/>
              <a:ext cx="47569" cy="83330"/>
            </a:xfrm>
            <a:custGeom>
              <a:avLst/>
              <a:gdLst>
                <a:gd name="T0" fmla="*/ 12 w 21"/>
                <a:gd name="T1" fmla="*/ 34 h 39"/>
                <a:gd name="T2" fmla="*/ 7 w 21"/>
                <a:gd name="T3" fmla="*/ 39 h 39"/>
                <a:gd name="T4" fmla="*/ 3 w 21"/>
                <a:gd name="T5" fmla="*/ 30 h 39"/>
                <a:gd name="T6" fmla="*/ 2 w 21"/>
                <a:gd name="T7" fmla="*/ 18 h 39"/>
                <a:gd name="T8" fmla="*/ 0 w 21"/>
                <a:gd name="T9" fmla="*/ 6 h 39"/>
                <a:gd name="T10" fmla="*/ 13 w 21"/>
                <a:gd name="T11" fmla="*/ 0 h 39"/>
                <a:gd name="T12" fmla="*/ 21 w 21"/>
                <a:gd name="T13" fmla="*/ 12 h 39"/>
                <a:gd name="T14" fmla="*/ 19 w 21"/>
                <a:gd name="T15" fmla="*/ 33 h 39"/>
                <a:gd name="T16" fmla="*/ 12 w 21"/>
                <a:gd name="T17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39">
                  <a:moveTo>
                    <a:pt x="12" y="34"/>
                  </a:moveTo>
                  <a:lnTo>
                    <a:pt x="7" y="39"/>
                  </a:lnTo>
                  <a:lnTo>
                    <a:pt x="3" y="30"/>
                  </a:lnTo>
                  <a:lnTo>
                    <a:pt x="2" y="18"/>
                  </a:lnTo>
                  <a:lnTo>
                    <a:pt x="0" y="6"/>
                  </a:lnTo>
                  <a:lnTo>
                    <a:pt x="13" y="0"/>
                  </a:lnTo>
                  <a:lnTo>
                    <a:pt x="21" y="12"/>
                  </a:lnTo>
                  <a:lnTo>
                    <a:pt x="19" y="33"/>
                  </a:lnTo>
                  <a:lnTo>
                    <a:pt x="12" y="34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22" name="Freeform 356">
              <a:extLst>
                <a:ext uri="{FF2B5EF4-FFF2-40B4-BE49-F238E27FC236}">
                  <a16:creationId xmlns:a16="http://schemas.microsoft.com/office/drawing/2014/main" id="{0A09D49F-9EBF-4981-88F0-F84B855BCCF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62535" y="2879799"/>
              <a:ext cx="3805" cy="5952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23" name="Freeform 358">
              <a:extLst>
                <a:ext uri="{FF2B5EF4-FFF2-40B4-BE49-F238E27FC236}">
                  <a16:creationId xmlns:a16="http://schemas.microsoft.com/office/drawing/2014/main" id="{27AD2DF3-7839-49FD-AEA1-392DD838E1C9}"/>
                </a:ext>
              </a:extLst>
            </p:cNvPr>
            <p:cNvSpPr>
              <a:spLocks/>
            </p:cNvSpPr>
            <p:nvPr/>
          </p:nvSpPr>
          <p:spPr bwMode="gray">
            <a:xfrm>
              <a:off x="5483881" y="2947257"/>
              <a:ext cx="79916" cy="61504"/>
            </a:xfrm>
            <a:custGeom>
              <a:avLst/>
              <a:gdLst>
                <a:gd name="T0" fmla="*/ 4 w 38"/>
                <a:gd name="T1" fmla="*/ 0 h 28"/>
                <a:gd name="T2" fmla="*/ 2 w 38"/>
                <a:gd name="T3" fmla="*/ 3 h 28"/>
                <a:gd name="T4" fmla="*/ 4 w 38"/>
                <a:gd name="T5" fmla="*/ 9 h 28"/>
                <a:gd name="T6" fmla="*/ 0 w 38"/>
                <a:gd name="T7" fmla="*/ 19 h 28"/>
                <a:gd name="T8" fmla="*/ 8 w 38"/>
                <a:gd name="T9" fmla="*/ 21 h 28"/>
                <a:gd name="T10" fmla="*/ 3 w 38"/>
                <a:gd name="T11" fmla="*/ 28 h 28"/>
                <a:gd name="T12" fmla="*/ 18 w 38"/>
                <a:gd name="T13" fmla="*/ 18 h 28"/>
                <a:gd name="T14" fmla="*/ 38 w 38"/>
                <a:gd name="T15" fmla="*/ 14 h 28"/>
                <a:gd name="T16" fmla="*/ 32 w 38"/>
                <a:gd name="T17" fmla="*/ 9 h 28"/>
                <a:gd name="T18" fmla="*/ 22 w 38"/>
                <a:gd name="T19" fmla="*/ 0 h 28"/>
                <a:gd name="T20" fmla="*/ 4 w 38"/>
                <a:gd name="T2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28">
                  <a:moveTo>
                    <a:pt x="4" y="0"/>
                  </a:moveTo>
                  <a:lnTo>
                    <a:pt x="2" y="3"/>
                  </a:lnTo>
                  <a:lnTo>
                    <a:pt x="4" y="9"/>
                  </a:lnTo>
                  <a:lnTo>
                    <a:pt x="0" y="19"/>
                  </a:lnTo>
                  <a:lnTo>
                    <a:pt x="8" y="21"/>
                  </a:lnTo>
                  <a:lnTo>
                    <a:pt x="3" y="28"/>
                  </a:lnTo>
                  <a:lnTo>
                    <a:pt x="18" y="18"/>
                  </a:lnTo>
                  <a:lnTo>
                    <a:pt x="38" y="14"/>
                  </a:lnTo>
                  <a:lnTo>
                    <a:pt x="32" y="9"/>
                  </a:lnTo>
                  <a:lnTo>
                    <a:pt x="2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24" name="Freeform 359">
              <a:extLst>
                <a:ext uri="{FF2B5EF4-FFF2-40B4-BE49-F238E27FC236}">
                  <a16:creationId xmlns:a16="http://schemas.microsoft.com/office/drawing/2014/main" id="{166B8F23-EE8F-4FA8-80DC-F535F13D1F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2593" y="2465132"/>
              <a:ext cx="232134" cy="150788"/>
            </a:xfrm>
            <a:custGeom>
              <a:avLst/>
              <a:gdLst>
                <a:gd name="T0" fmla="*/ 110 w 110"/>
                <a:gd name="T1" fmla="*/ 37 h 70"/>
                <a:gd name="T2" fmla="*/ 106 w 110"/>
                <a:gd name="T3" fmla="*/ 42 h 70"/>
                <a:gd name="T4" fmla="*/ 108 w 110"/>
                <a:gd name="T5" fmla="*/ 57 h 70"/>
                <a:gd name="T6" fmla="*/ 94 w 110"/>
                <a:gd name="T7" fmla="*/ 64 h 70"/>
                <a:gd name="T8" fmla="*/ 95 w 110"/>
                <a:gd name="T9" fmla="*/ 70 h 70"/>
                <a:gd name="T10" fmla="*/ 74 w 110"/>
                <a:gd name="T11" fmla="*/ 66 h 70"/>
                <a:gd name="T12" fmla="*/ 52 w 110"/>
                <a:gd name="T13" fmla="*/ 61 h 70"/>
                <a:gd name="T14" fmla="*/ 30 w 110"/>
                <a:gd name="T15" fmla="*/ 61 h 70"/>
                <a:gd name="T16" fmla="*/ 10 w 110"/>
                <a:gd name="T17" fmla="*/ 61 h 70"/>
                <a:gd name="T18" fmla="*/ 3 w 110"/>
                <a:gd name="T19" fmla="*/ 57 h 70"/>
                <a:gd name="T20" fmla="*/ 10 w 110"/>
                <a:gd name="T21" fmla="*/ 46 h 70"/>
                <a:gd name="T22" fmla="*/ 0 w 110"/>
                <a:gd name="T23" fmla="*/ 27 h 70"/>
                <a:gd name="T24" fmla="*/ 18 w 110"/>
                <a:gd name="T25" fmla="*/ 15 h 70"/>
                <a:gd name="T26" fmla="*/ 38 w 110"/>
                <a:gd name="T27" fmla="*/ 1 h 70"/>
                <a:gd name="T28" fmla="*/ 53 w 110"/>
                <a:gd name="T29" fmla="*/ 0 h 70"/>
                <a:gd name="T30" fmla="*/ 72 w 110"/>
                <a:gd name="T31" fmla="*/ 4 h 70"/>
                <a:gd name="T32" fmla="*/ 92 w 110"/>
                <a:gd name="T33" fmla="*/ 6 h 70"/>
                <a:gd name="T34" fmla="*/ 94 w 110"/>
                <a:gd name="T35" fmla="*/ 24 h 70"/>
                <a:gd name="T36" fmla="*/ 110 w 110"/>
                <a:gd name="T37" fmla="*/ 3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0" h="70">
                  <a:moveTo>
                    <a:pt x="110" y="37"/>
                  </a:moveTo>
                  <a:lnTo>
                    <a:pt x="106" y="42"/>
                  </a:lnTo>
                  <a:lnTo>
                    <a:pt x="108" y="57"/>
                  </a:lnTo>
                  <a:lnTo>
                    <a:pt x="94" y="64"/>
                  </a:lnTo>
                  <a:lnTo>
                    <a:pt x="95" y="70"/>
                  </a:lnTo>
                  <a:lnTo>
                    <a:pt x="74" y="66"/>
                  </a:lnTo>
                  <a:lnTo>
                    <a:pt x="52" y="61"/>
                  </a:lnTo>
                  <a:lnTo>
                    <a:pt x="30" y="61"/>
                  </a:lnTo>
                  <a:lnTo>
                    <a:pt x="10" y="61"/>
                  </a:lnTo>
                  <a:lnTo>
                    <a:pt x="3" y="57"/>
                  </a:lnTo>
                  <a:lnTo>
                    <a:pt x="10" y="46"/>
                  </a:lnTo>
                  <a:lnTo>
                    <a:pt x="0" y="27"/>
                  </a:lnTo>
                  <a:lnTo>
                    <a:pt x="18" y="15"/>
                  </a:lnTo>
                  <a:lnTo>
                    <a:pt x="38" y="1"/>
                  </a:lnTo>
                  <a:lnTo>
                    <a:pt x="53" y="0"/>
                  </a:lnTo>
                  <a:lnTo>
                    <a:pt x="72" y="4"/>
                  </a:lnTo>
                  <a:lnTo>
                    <a:pt x="92" y="6"/>
                  </a:lnTo>
                  <a:lnTo>
                    <a:pt x="94" y="24"/>
                  </a:lnTo>
                  <a:lnTo>
                    <a:pt x="110" y="37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25" name="Freeform 360">
              <a:extLst>
                <a:ext uri="{FF2B5EF4-FFF2-40B4-BE49-F238E27FC236}">
                  <a16:creationId xmlns:a16="http://schemas.microsoft.com/office/drawing/2014/main" id="{C702693B-E46E-417C-A459-603A3C2E25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970145" y="2429420"/>
              <a:ext cx="60888" cy="75395"/>
            </a:xfrm>
            <a:custGeom>
              <a:avLst/>
              <a:gdLst>
                <a:gd name="T0" fmla="*/ 17 w 29"/>
                <a:gd name="T1" fmla="*/ 29 h 32"/>
                <a:gd name="T2" fmla="*/ 16 w 29"/>
                <a:gd name="T3" fmla="*/ 32 h 32"/>
                <a:gd name="T4" fmla="*/ 6 w 29"/>
                <a:gd name="T5" fmla="*/ 30 h 32"/>
                <a:gd name="T6" fmla="*/ 4 w 29"/>
                <a:gd name="T7" fmla="*/ 27 h 32"/>
                <a:gd name="T8" fmla="*/ 1 w 29"/>
                <a:gd name="T9" fmla="*/ 20 h 32"/>
                <a:gd name="T10" fmla="*/ 0 w 29"/>
                <a:gd name="T11" fmla="*/ 6 h 32"/>
                <a:gd name="T12" fmla="*/ 7 w 29"/>
                <a:gd name="T13" fmla="*/ 3 h 32"/>
                <a:gd name="T14" fmla="*/ 10 w 29"/>
                <a:gd name="T15" fmla="*/ 6 h 32"/>
                <a:gd name="T16" fmla="*/ 10 w 29"/>
                <a:gd name="T17" fmla="*/ 2 h 32"/>
                <a:gd name="T18" fmla="*/ 19 w 29"/>
                <a:gd name="T19" fmla="*/ 0 h 32"/>
                <a:gd name="T20" fmla="*/ 23 w 29"/>
                <a:gd name="T21" fmla="*/ 6 h 32"/>
                <a:gd name="T22" fmla="*/ 29 w 29"/>
                <a:gd name="T23" fmla="*/ 6 h 32"/>
                <a:gd name="T24" fmla="*/ 25 w 29"/>
                <a:gd name="T25" fmla="*/ 12 h 32"/>
                <a:gd name="T26" fmla="*/ 18 w 29"/>
                <a:gd name="T27" fmla="*/ 19 h 32"/>
                <a:gd name="T28" fmla="*/ 18 w 29"/>
                <a:gd name="T29" fmla="*/ 20 h 32"/>
                <a:gd name="T30" fmla="*/ 17 w 29"/>
                <a:gd name="T31" fmla="*/ 2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32">
                  <a:moveTo>
                    <a:pt x="17" y="29"/>
                  </a:moveTo>
                  <a:lnTo>
                    <a:pt x="16" y="32"/>
                  </a:lnTo>
                  <a:lnTo>
                    <a:pt x="6" y="30"/>
                  </a:lnTo>
                  <a:lnTo>
                    <a:pt x="4" y="27"/>
                  </a:lnTo>
                  <a:lnTo>
                    <a:pt x="1" y="20"/>
                  </a:lnTo>
                  <a:lnTo>
                    <a:pt x="0" y="6"/>
                  </a:lnTo>
                  <a:lnTo>
                    <a:pt x="7" y="3"/>
                  </a:lnTo>
                  <a:lnTo>
                    <a:pt x="10" y="6"/>
                  </a:lnTo>
                  <a:lnTo>
                    <a:pt x="10" y="2"/>
                  </a:lnTo>
                  <a:lnTo>
                    <a:pt x="19" y="0"/>
                  </a:lnTo>
                  <a:lnTo>
                    <a:pt x="23" y="6"/>
                  </a:lnTo>
                  <a:lnTo>
                    <a:pt x="29" y="6"/>
                  </a:lnTo>
                  <a:lnTo>
                    <a:pt x="25" y="12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26" name="Freeform 361">
              <a:extLst>
                <a:ext uri="{FF2B5EF4-FFF2-40B4-BE49-F238E27FC236}">
                  <a16:creationId xmlns:a16="http://schemas.microsoft.com/office/drawing/2014/main" id="{911790A1-B547-43F5-A483-389268DB531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643" y="2461164"/>
              <a:ext cx="38054" cy="35712"/>
            </a:xfrm>
            <a:custGeom>
              <a:avLst/>
              <a:gdLst>
                <a:gd name="T0" fmla="*/ 18 w 18"/>
                <a:gd name="T1" fmla="*/ 5 h 16"/>
                <a:gd name="T2" fmla="*/ 17 w 18"/>
                <a:gd name="T3" fmla="*/ 2 h 16"/>
                <a:gd name="T4" fmla="*/ 12 w 18"/>
                <a:gd name="T5" fmla="*/ 0 h 16"/>
                <a:gd name="T6" fmla="*/ 11 w 18"/>
                <a:gd name="T7" fmla="*/ 5 h 16"/>
                <a:gd name="T8" fmla="*/ 7 w 18"/>
                <a:gd name="T9" fmla="*/ 4 h 16"/>
                <a:gd name="T10" fmla="*/ 2 w 18"/>
                <a:gd name="T11" fmla="*/ 1 h 16"/>
                <a:gd name="T12" fmla="*/ 0 w 18"/>
                <a:gd name="T13" fmla="*/ 5 h 16"/>
                <a:gd name="T14" fmla="*/ 0 w 18"/>
                <a:gd name="T15" fmla="*/ 8 h 16"/>
                <a:gd name="T16" fmla="*/ 9 w 18"/>
                <a:gd name="T17" fmla="*/ 16 h 16"/>
                <a:gd name="T18" fmla="*/ 13 w 18"/>
                <a:gd name="T19" fmla="*/ 13 h 16"/>
                <a:gd name="T20" fmla="*/ 13 w 18"/>
                <a:gd name="T21" fmla="*/ 10 h 16"/>
                <a:gd name="T22" fmla="*/ 18 w 18"/>
                <a:gd name="T23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8" y="5"/>
                  </a:moveTo>
                  <a:lnTo>
                    <a:pt x="17" y="2"/>
                  </a:lnTo>
                  <a:lnTo>
                    <a:pt x="12" y="0"/>
                  </a:lnTo>
                  <a:lnTo>
                    <a:pt x="11" y="5"/>
                  </a:lnTo>
                  <a:lnTo>
                    <a:pt x="7" y="4"/>
                  </a:lnTo>
                  <a:lnTo>
                    <a:pt x="2" y="1"/>
                  </a:lnTo>
                  <a:lnTo>
                    <a:pt x="0" y="5"/>
                  </a:lnTo>
                  <a:lnTo>
                    <a:pt x="0" y="8"/>
                  </a:lnTo>
                  <a:lnTo>
                    <a:pt x="9" y="16"/>
                  </a:lnTo>
                  <a:lnTo>
                    <a:pt x="13" y="13"/>
                  </a:lnTo>
                  <a:lnTo>
                    <a:pt x="13" y="10"/>
                  </a:lnTo>
                  <a:lnTo>
                    <a:pt x="18" y="5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27" name="Freeform 362">
              <a:extLst>
                <a:ext uri="{FF2B5EF4-FFF2-40B4-BE49-F238E27FC236}">
                  <a16:creationId xmlns:a16="http://schemas.microsoft.com/office/drawing/2014/main" id="{A7A384DE-46DD-45BB-AD60-A5EDD1B7170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75854" y="2403627"/>
              <a:ext cx="49472" cy="39681"/>
            </a:xfrm>
            <a:custGeom>
              <a:avLst/>
              <a:gdLst>
                <a:gd name="T0" fmla="*/ 19 w 24"/>
                <a:gd name="T1" fmla="*/ 12 h 17"/>
                <a:gd name="T2" fmla="*/ 1 w 24"/>
                <a:gd name="T3" fmla="*/ 12 h 17"/>
                <a:gd name="T4" fmla="*/ 0 w 24"/>
                <a:gd name="T5" fmla="*/ 17 h 17"/>
                <a:gd name="T6" fmla="*/ 0 w 24"/>
                <a:gd name="T7" fmla="*/ 9 h 17"/>
                <a:gd name="T8" fmla="*/ 12 w 24"/>
                <a:gd name="T9" fmla="*/ 7 h 17"/>
                <a:gd name="T10" fmla="*/ 24 w 24"/>
                <a:gd name="T11" fmla="*/ 0 h 17"/>
                <a:gd name="T12" fmla="*/ 19 w 24"/>
                <a:gd name="T13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7">
                  <a:moveTo>
                    <a:pt x="19" y="12"/>
                  </a:moveTo>
                  <a:lnTo>
                    <a:pt x="1" y="12"/>
                  </a:lnTo>
                  <a:lnTo>
                    <a:pt x="0" y="17"/>
                  </a:lnTo>
                  <a:lnTo>
                    <a:pt x="0" y="9"/>
                  </a:lnTo>
                  <a:lnTo>
                    <a:pt x="12" y="7"/>
                  </a:lnTo>
                  <a:lnTo>
                    <a:pt x="24" y="0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28" name="Freeform 363">
              <a:extLst>
                <a:ext uri="{FF2B5EF4-FFF2-40B4-BE49-F238E27FC236}">
                  <a16:creationId xmlns:a16="http://schemas.microsoft.com/office/drawing/2014/main" id="{D2332152-2691-4492-A656-D7041AED88A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0103" y="2479020"/>
              <a:ext cx="24735" cy="17858"/>
            </a:xfrm>
            <a:custGeom>
              <a:avLst/>
              <a:gdLst>
                <a:gd name="T0" fmla="*/ 13 w 13"/>
                <a:gd name="T1" fmla="*/ 4 h 8"/>
                <a:gd name="T2" fmla="*/ 9 w 13"/>
                <a:gd name="T3" fmla="*/ 0 h 8"/>
                <a:gd name="T4" fmla="*/ 0 w 13"/>
                <a:gd name="T5" fmla="*/ 2 h 8"/>
                <a:gd name="T6" fmla="*/ 10 w 13"/>
                <a:gd name="T7" fmla="*/ 8 h 8"/>
                <a:gd name="T8" fmla="*/ 13 w 13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3" y="4"/>
                  </a:moveTo>
                  <a:lnTo>
                    <a:pt x="9" y="0"/>
                  </a:lnTo>
                  <a:lnTo>
                    <a:pt x="0" y="2"/>
                  </a:lnTo>
                  <a:lnTo>
                    <a:pt x="10" y="8"/>
                  </a:lnTo>
                  <a:lnTo>
                    <a:pt x="13" y="4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29" name="Freeform 364">
              <a:extLst>
                <a:ext uri="{FF2B5EF4-FFF2-40B4-BE49-F238E27FC236}">
                  <a16:creationId xmlns:a16="http://schemas.microsoft.com/office/drawing/2014/main" id="{99EF20A6-A898-49B0-BC8F-683C9D73B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3379" y="2496876"/>
              <a:ext cx="5707" cy="7937"/>
            </a:xfrm>
            <a:custGeom>
              <a:avLst/>
              <a:gdLst>
                <a:gd name="T0" fmla="*/ 2 w 2"/>
                <a:gd name="T1" fmla="*/ 1 h 3"/>
                <a:gd name="T2" fmla="*/ 0 w 2"/>
                <a:gd name="T3" fmla="*/ 0 h 3"/>
                <a:gd name="T4" fmla="*/ 0 w 2"/>
                <a:gd name="T5" fmla="*/ 3 h 3"/>
                <a:gd name="T6" fmla="*/ 2 w 2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1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0" name="Freeform 365">
              <a:extLst>
                <a:ext uri="{FF2B5EF4-FFF2-40B4-BE49-F238E27FC236}">
                  <a16:creationId xmlns:a16="http://schemas.microsoft.com/office/drawing/2014/main" id="{C5396D44-D3CC-4BD7-A116-569487436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1663" y="2346088"/>
              <a:ext cx="114163" cy="53570"/>
            </a:xfrm>
            <a:custGeom>
              <a:avLst/>
              <a:gdLst>
                <a:gd name="T0" fmla="*/ 53 w 53"/>
                <a:gd name="T1" fmla="*/ 16 h 24"/>
                <a:gd name="T2" fmla="*/ 49 w 53"/>
                <a:gd name="T3" fmla="*/ 2 h 24"/>
                <a:gd name="T4" fmla="*/ 20 w 53"/>
                <a:gd name="T5" fmla="*/ 0 h 24"/>
                <a:gd name="T6" fmla="*/ 0 w 53"/>
                <a:gd name="T7" fmla="*/ 6 h 24"/>
                <a:gd name="T8" fmla="*/ 2 w 53"/>
                <a:gd name="T9" fmla="*/ 11 h 24"/>
                <a:gd name="T10" fmla="*/ 9 w 53"/>
                <a:gd name="T11" fmla="*/ 20 h 24"/>
                <a:gd name="T12" fmla="*/ 13 w 53"/>
                <a:gd name="T13" fmla="*/ 20 h 24"/>
                <a:gd name="T14" fmla="*/ 30 w 53"/>
                <a:gd name="T15" fmla="*/ 22 h 24"/>
                <a:gd name="T16" fmla="*/ 47 w 53"/>
                <a:gd name="T17" fmla="*/ 24 h 24"/>
                <a:gd name="T18" fmla="*/ 53 w 53"/>
                <a:gd name="T19" fmla="*/ 1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24">
                  <a:moveTo>
                    <a:pt x="53" y="16"/>
                  </a:moveTo>
                  <a:lnTo>
                    <a:pt x="49" y="2"/>
                  </a:lnTo>
                  <a:lnTo>
                    <a:pt x="20" y="0"/>
                  </a:lnTo>
                  <a:lnTo>
                    <a:pt x="0" y="6"/>
                  </a:lnTo>
                  <a:lnTo>
                    <a:pt x="2" y="11"/>
                  </a:lnTo>
                  <a:lnTo>
                    <a:pt x="9" y="20"/>
                  </a:lnTo>
                  <a:lnTo>
                    <a:pt x="13" y="20"/>
                  </a:lnTo>
                  <a:lnTo>
                    <a:pt x="30" y="22"/>
                  </a:lnTo>
                  <a:lnTo>
                    <a:pt x="47" y="24"/>
                  </a:lnTo>
                  <a:lnTo>
                    <a:pt x="53" y="1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1" name="Freeform 366">
              <a:extLst>
                <a:ext uri="{FF2B5EF4-FFF2-40B4-BE49-F238E27FC236}">
                  <a16:creationId xmlns:a16="http://schemas.microsoft.com/office/drawing/2014/main" id="{3ED6CF88-5D9D-4878-AEA3-6540C3B86A8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84095" y="2389737"/>
              <a:ext cx="182662" cy="75395"/>
            </a:xfrm>
            <a:custGeom>
              <a:avLst/>
              <a:gdLst>
                <a:gd name="T0" fmla="*/ 44 w 85"/>
                <a:gd name="T1" fmla="*/ 24 h 34"/>
                <a:gd name="T2" fmla="*/ 24 w 85"/>
                <a:gd name="T3" fmla="*/ 26 h 34"/>
                <a:gd name="T4" fmla="*/ 4 w 85"/>
                <a:gd name="T5" fmla="*/ 28 h 34"/>
                <a:gd name="T6" fmla="*/ 0 w 85"/>
                <a:gd name="T7" fmla="*/ 30 h 34"/>
                <a:gd name="T8" fmla="*/ 6 w 85"/>
                <a:gd name="T9" fmla="*/ 9 h 34"/>
                <a:gd name="T10" fmla="*/ 17 w 85"/>
                <a:gd name="T11" fmla="*/ 9 h 34"/>
                <a:gd name="T12" fmla="*/ 31 w 85"/>
                <a:gd name="T13" fmla="*/ 19 h 34"/>
                <a:gd name="T14" fmla="*/ 37 w 85"/>
                <a:gd name="T15" fmla="*/ 13 h 34"/>
                <a:gd name="T16" fmla="*/ 36 w 85"/>
                <a:gd name="T17" fmla="*/ 0 h 34"/>
                <a:gd name="T18" fmla="*/ 53 w 85"/>
                <a:gd name="T19" fmla="*/ 2 h 34"/>
                <a:gd name="T20" fmla="*/ 70 w 85"/>
                <a:gd name="T21" fmla="*/ 4 h 34"/>
                <a:gd name="T22" fmla="*/ 78 w 85"/>
                <a:gd name="T23" fmla="*/ 15 h 34"/>
                <a:gd name="T24" fmla="*/ 85 w 85"/>
                <a:gd name="T25" fmla="*/ 33 h 34"/>
                <a:gd name="T26" fmla="*/ 70 w 85"/>
                <a:gd name="T27" fmla="*/ 34 h 34"/>
                <a:gd name="T28" fmla="*/ 44 w 85"/>
                <a:gd name="T29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34">
                  <a:moveTo>
                    <a:pt x="44" y="24"/>
                  </a:moveTo>
                  <a:lnTo>
                    <a:pt x="24" y="26"/>
                  </a:lnTo>
                  <a:lnTo>
                    <a:pt x="4" y="28"/>
                  </a:lnTo>
                  <a:lnTo>
                    <a:pt x="0" y="30"/>
                  </a:lnTo>
                  <a:lnTo>
                    <a:pt x="6" y="9"/>
                  </a:lnTo>
                  <a:lnTo>
                    <a:pt x="17" y="9"/>
                  </a:lnTo>
                  <a:lnTo>
                    <a:pt x="31" y="19"/>
                  </a:lnTo>
                  <a:lnTo>
                    <a:pt x="37" y="13"/>
                  </a:lnTo>
                  <a:lnTo>
                    <a:pt x="36" y="0"/>
                  </a:lnTo>
                  <a:lnTo>
                    <a:pt x="53" y="2"/>
                  </a:lnTo>
                  <a:lnTo>
                    <a:pt x="70" y="4"/>
                  </a:lnTo>
                  <a:lnTo>
                    <a:pt x="78" y="15"/>
                  </a:lnTo>
                  <a:lnTo>
                    <a:pt x="85" y="33"/>
                  </a:lnTo>
                  <a:lnTo>
                    <a:pt x="70" y="34"/>
                  </a:lnTo>
                  <a:lnTo>
                    <a:pt x="44" y="24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2" name="Freeform 367">
              <a:extLst>
                <a:ext uri="{FF2B5EF4-FFF2-40B4-BE49-F238E27FC236}">
                  <a16:creationId xmlns:a16="http://schemas.microsoft.com/office/drawing/2014/main" id="{BD1267F5-0237-4F7A-8068-A711C759C1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84095" y="2443306"/>
              <a:ext cx="148412" cy="79362"/>
            </a:xfrm>
            <a:custGeom>
              <a:avLst/>
              <a:gdLst>
                <a:gd name="T0" fmla="*/ 4 w 70"/>
                <a:gd name="T1" fmla="*/ 26 h 36"/>
                <a:gd name="T2" fmla="*/ 0 w 70"/>
                <a:gd name="T3" fmla="*/ 6 h 36"/>
                <a:gd name="T4" fmla="*/ 4 w 70"/>
                <a:gd name="T5" fmla="*/ 4 h 36"/>
                <a:gd name="T6" fmla="*/ 24 w 70"/>
                <a:gd name="T7" fmla="*/ 2 h 36"/>
                <a:gd name="T8" fmla="*/ 44 w 70"/>
                <a:gd name="T9" fmla="*/ 0 h 36"/>
                <a:gd name="T10" fmla="*/ 70 w 70"/>
                <a:gd name="T11" fmla="*/ 10 h 36"/>
                <a:gd name="T12" fmla="*/ 50 w 70"/>
                <a:gd name="T13" fmla="*/ 24 h 36"/>
                <a:gd name="T14" fmla="*/ 32 w 70"/>
                <a:gd name="T15" fmla="*/ 36 h 36"/>
                <a:gd name="T16" fmla="*/ 22 w 70"/>
                <a:gd name="T17" fmla="*/ 34 h 36"/>
                <a:gd name="T18" fmla="*/ 22 w 70"/>
                <a:gd name="T19" fmla="*/ 28 h 36"/>
                <a:gd name="T20" fmla="*/ 11 w 70"/>
                <a:gd name="T21" fmla="*/ 27 h 36"/>
                <a:gd name="T22" fmla="*/ 4 w 70"/>
                <a:gd name="T23" fmla="*/ 2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" h="36">
                  <a:moveTo>
                    <a:pt x="4" y="26"/>
                  </a:moveTo>
                  <a:lnTo>
                    <a:pt x="0" y="6"/>
                  </a:lnTo>
                  <a:lnTo>
                    <a:pt x="4" y="4"/>
                  </a:lnTo>
                  <a:lnTo>
                    <a:pt x="24" y="2"/>
                  </a:lnTo>
                  <a:lnTo>
                    <a:pt x="44" y="0"/>
                  </a:lnTo>
                  <a:lnTo>
                    <a:pt x="70" y="10"/>
                  </a:lnTo>
                  <a:lnTo>
                    <a:pt x="50" y="24"/>
                  </a:lnTo>
                  <a:lnTo>
                    <a:pt x="32" y="36"/>
                  </a:lnTo>
                  <a:lnTo>
                    <a:pt x="22" y="34"/>
                  </a:lnTo>
                  <a:lnTo>
                    <a:pt x="22" y="28"/>
                  </a:lnTo>
                  <a:lnTo>
                    <a:pt x="11" y="27"/>
                  </a:lnTo>
                  <a:lnTo>
                    <a:pt x="4" y="2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3" name="Freeform 368">
              <a:extLst>
                <a:ext uri="{FF2B5EF4-FFF2-40B4-BE49-F238E27FC236}">
                  <a16:creationId xmlns:a16="http://schemas.microsoft.com/office/drawing/2014/main" id="{7853404B-F897-48A7-9066-CD7207497A15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8371" y="2548461"/>
              <a:ext cx="97039" cy="93251"/>
            </a:xfrm>
            <a:custGeom>
              <a:avLst/>
              <a:gdLst>
                <a:gd name="T0" fmla="*/ 35 w 45"/>
                <a:gd name="T1" fmla="*/ 23 h 41"/>
                <a:gd name="T2" fmla="*/ 44 w 45"/>
                <a:gd name="T3" fmla="*/ 18 h 41"/>
                <a:gd name="T4" fmla="*/ 41 w 45"/>
                <a:gd name="T5" fmla="*/ 11 h 41"/>
                <a:gd name="T6" fmla="*/ 45 w 45"/>
                <a:gd name="T7" fmla="*/ 2 h 41"/>
                <a:gd name="T8" fmla="*/ 31 w 45"/>
                <a:gd name="T9" fmla="*/ 0 h 41"/>
                <a:gd name="T10" fmla="*/ 15 w 45"/>
                <a:gd name="T11" fmla="*/ 9 h 41"/>
                <a:gd name="T12" fmla="*/ 5 w 45"/>
                <a:gd name="T13" fmla="*/ 25 h 41"/>
                <a:gd name="T14" fmla="*/ 0 w 45"/>
                <a:gd name="T15" fmla="*/ 31 h 41"/>
                <a:gd name="T16" fmla="*/ 11 w 45"/>
                <a:gd name="T17" fmla="*/ 31 h 41"/>
                <a:gd name="T18" fmla="*/ 26 w 45"/>
                <a:gd name="T19" fmla="*/ 32 h 41"/>
                <a:gd name="T20" fmla="*/ 29 w 45"/>
                <a:gd name="T21" fmla="*/ 37 h 41"/>
                <a:gd name="T22" fmla="*/ 32 w 45"/>
                <a:gd name="T23" fmla="*/ 41 h 41"/>
                <a:gd name="T24" fmla="*/ 35 w 45"/>
                <a:gd name="T25" fmla="*/ 2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41">
                  <a:moveTo>
                    <a:pt x="35" y="23"/>
                  </a:moveTo>
                  <a:lnTo>
                    <a:pt x="44" y="18"/>
                  </a:lnTo>
                  <a:lnTo>
                    <a:pt x="41" y="11"/>
                  </a:lnTo>
                  <a:lnTo>
                    <a:pt x="45" y="2"/>
                  </a:lnTo>
                  <a:lnTo>
                    <a:pt x="31" y="0"/>
                  </a:lnTo>
                  <a:lnTo>
                    <a:pt x="15" y="9"/>
                  </a:lnTo>
                  <a:lnTo>
                    <a:pt x="5" y="25"/>
                  </a:lnTo>
                  <a:lnTo>
                    <a:pt x="0" y="31"/>
                  </a:lnTo>
                  <a:lnTo>
                    <a:pt x="11" y="31"/>
                  </a:lnTo>
                  <a:lnTo>
                    <a:pt x="26" y="32"/>
                  </a:lnTo>
                  <a:lnTo>
                    <a:pt x="29" y="37"/>
                  </a:lnTo>
                  <a:lnTo>
                    <a:pt x="32" y="41"/>
                  </a:lnTo>
                  <a:lnTo>
                    <a:pt x="35" y="2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4" name="Freeform 369">
              <a:extLst>
                <a:ext uri="{FF2B5EF4-FFF2-40B4-BE49-F238E27FC236}">
                  <a16:creationId xmlns:a16="http://schemas.microsoft.com/office/drawing/2014/main" id="{9DCAC992-E41D-4239-BE59-5153FA032F3D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266" y="2504813"/>
              <a:ext cx="262578" cy="190469"/>
            </a:xfrm>
            <a:custGeom>
              <a:avLst/>
              <a:gdLst>
                <a:gd name="T0" fmla="*/ 51 w 124"/>
                <a:gd name="T1" fmla="*/ 4 h 87"/>
                <a:gd name="T2" fmla="*/ 50 w 124"/>
                <a:gd name="T3" fmla="*/ 0 h 87"/>
                <a:gd name="T4" fmla="*/ 33 w 124"/>
                <a:gd name="T5" fmla="*/ 2 h 87"/>
                <a:gd name="T6" fmla="*/ 17 w 124"/>
                <a:gd name="T7" fmla="*/ 6 h 87"/>
                <a:gd name="T8" fmla="*/ 0 w 124"/>
                <a:gd name="T9" fmla="*/ 10 h 87"/>
                <a:gd name="T10" fmla="*/ 5 w 124"/>
                <a:gd name="T11" fmla="*/ 15 h 87"/>
                <a:gd name="T12" fmla="*/ 2 w 124"/>
                <a:gd name="T13" fmla="*/ 16 h 87"/>
                <a:gd name="T14" fmla="*/ 3 w 124"/>
                <a:gd name="T15" fmla="*/ 30 h 87"/>
                <a:gd name="T16" fmla="*/ 10 w 124"/>
                <a:gd name="T17" fmla="*/ 47 h 87"/>
                <a:gd name="T18" fmla="*/ 11 w 124"/>
                <a:gd name="T19" fmla="*/ 59 h 87"/>
                <a:gd name="T20" fmla="*/ 14 w 124"/>
                <a:gd name="T21" fmla="*/ 59 h 87"/>
                <a:gd name="T22" fmla="*/ 30 w 124"/>
                <a:gd name="T23" fmla="*/ 65 h 87"/>
                <a:gd name="T24" fmla="*/ 33 w 124"/>
                <a:gd name="T25" fmla="*/ 69 h 87"/>
                <a:gd name="T26" fmla="*/ 39 w 124"/>
                <a:gd name="T27" fmla="*/ 69 h 87"/>
                <a:gd name="T28" fmla="*/ 48 w 124"/>
                <a:gd name="T29" fmla="*/ 69 h 87"/>
                <a:gd name="T30" fmla="*/ 63 w 124"/>
                <a:gd name="T31" fmla="*/ 80 h 87"/>
                <a:gd name="T32" fmla="*/ 77 w 124"/>
                <a:gd name="T33" fmla="*/ 81 h 87"/>
                <a:gd name="T34" fmla="*/ 80 w 124"/>
                <a:gd name="T35" fmla="*/ 83 h 87"/>
                <a:gd name="T36" fmla="*/ 90 w 124"/>
                <a:gd name="T37" fmla="*/ 83 h 87"/>
                <a:gd name="T38" fmla="*/ 110 w 124"/>
                <a:gd name="T39" fmla="*/ 87 h 87"/>
                <a:gd name="T40" fmla="*/ 112 w 124"/>
                <a:gd name="T41" fmla="*/ 82 h 87"/>
                <a:gd name="T42" fmla="*/ 123 w 124"/>
                <a:gd name="T43" fmla="*/ 66 h 87"/>
                <a:gd name="T44" fmla="*/ 124 w 124"/>
                <a:gd name="T45" fmla="*/ 59 h 87"/>
                <a:gd name="T46" fmla="*/ 118 w 124"/>
                <a:gd name="T47" fmla="*/ 42 h 87"/>
                <a:gd name="T48" fmla="*/ 111 w 124"/>
                <a:gd name="T49" fmla="*/ 38 h 87"/>
                <a:gd name="T50" fmla="*/ 118 w 124"/>
                <a:gd name="T51" fmla="*/ 27 h 87"/>
                <a:gd name="T52" fmla="*/ 108 w 124"/>
                <a:gd name="T53" fmla="*/ 8 h 87"/>
                <a:gd name="T54" fmla="*/ 86 w 124"/>
                <a:gd name="T55" fmla="*/ 5 h 87"/>
                <a:gd name="T56" fmla="*/ 64 w 124"/>
                <a:gd name="T57" fmla="*/ 4 h 87"/>
                <a:gd name="T58" fmla="*/ 51 w 124"/>
                <a:gd name="T59" fmla="*/ 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4" h="87">
                  <a:moveTo>
                    <a:pt x="51" y="4"/>
                  </a:moveTo>
                  <a:lnTo>
                    <a:pt x="50" y="0"/>
                  </a:lnTo>
                  <a:lnTo>
                    <a:pt x="33" y="2"/>
                  </a:lnTo>
                  <a:lnTo>
                    <a:pt x="17" y="6"/>
                  </a:lnTo>
                  <a:lnTo>
                    <a:pt x="0" y="10"/>
                  </a:lnTo>
                  <a:lnTo>
                    <a:pt x="5" y="15"/>
                  </a:lnTo>
                  <a:lnTo>
                    <a:pt x="2" y="16"/>
                  </a:lnTo>
                  <a:lnTo>
                    <a:pt x="3" y="30"/>
                  </a:lnTo>
                  <a:lnTo>
                    <a:pt x="10" y="47"/>
                  </a:lnTo>
                  <a:lnTo>
                    <a:pt x="11" y="59"/>
                  </a:lnTo>
                  <a:lnTo>
                    <a:pt x="14" y="59"/>
                  </a:lnTo>
                  <a:lnTo>
                    <a:pt x="30" y="65"/>
                  </a:lnTo>
                  <a:lnTo>
                    <a:pt x="33" y="69"/>
                  </a:lnTo>
                  <a:lnTo>
                    <a:pt x="39" y="69"/>
                  </a:lnTo>
                  <a:lnTo>
                    <a:pt x="48" y="69"/>
                  </a:lnTo>
                  <a:lnTo>
                    <a:pt x="63" y="80"/>
                  </a:lnTo>
                  <a:lnTo>
                    <a:pt x="77" y="81"/>
                  </a:lnTo>
                  <a:lnTo>
                    <a:pt x="80" y="83"/>
                  </a:lnTo>
                  <a:lnTo>
                    <a:pt x="90" y="83"/>
                  </a:lnTo>
                  <a:lnTo>
                    <a:pt x="110" y="87"/>
                  </a:lnTo>
                  <a:lnTo>
                    <a:pt x="112" y="82"/>
                  </a:lnTo>
                  <a:lnTo>
                    <a:pt x="123" y="66"/>
                  </a:lnTo>
                  <a:lnTo>
                    <a:pt x="124" y="59"/>
                  </a:lnTo>
                  <a:lnTo>
                    <a:pt x="118" y="42"/>
                  </a:lnTo>
                  <a:lnTo>
                    <a:pt x="111" y="38"/>
                  </a:lnTo>
                  <a:lnTo>
                    <a:pt x="118" y="27"/>
                  </a:lnTo>
                  <a:lnTo>
                    <a:pt x="108" y="8"/>
                  </a:lnTo>
                  <a:lnTo>
                    <a:pt x="86" y="5"/>
                  </a:lnTo>
                  <a:lnTo>
                    <a:pt x="64" y="4"/>
                  </a:lnTo>
                  <a:lnTo>
                    <a:pt x="51" y="4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5" name="Freeform 370">
              <a:extLst>
                <a:ext uri="{FF2B5EF4-FFF2-40B4-BE49-F238E27FC236}">
                  <a16:creationId xmlns:a16="http://schemas.microsoft.com/office/drawing/2014/main" id="{8D9F9905-5F9D-4577-BE18-20BBD3F1698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05026" y="2725042"/>
              <a:ext cx="258771" cy="160709"/>
            </a:xfrm>
            <a:custGeom>
              <a:avLst/>
              <a:gdLst>
                <a:gd name="T0" fmla="*/ 111 w 122"/>
                <a:gd name="T1" fmla="*/ 59 h 72"/>
                <a:gd name="T2" fmla="*/ 110 w 122"/>
                <a:gd name="T3" fmla="*/ 71 h 72"/>
                <a:gd name="T4" fmla="*/ 86 w 122"/>
                <a:gd name="T5" fmla="*/ 66 h 72"/>
                <a:gd name="T6" fmla="*/ 66 w 122"/>
                <a:gd name="T7" fmla="*/ 72 h 72"/>
                <a:gd name="T8" fmla="*/ 51 w 122"/>
                <a:gd name="T9" fmla="*/ 70 h 72"/>
                <a:gd name="T10" fmla="*/ 37 w 122"/>
                <a:gd name="T11" fmla="*/ 67 h 72"/>
                <a:gd name="T12" fmla="*/ 34 w 122"/>
                <a:gd name="T13" fmla="*/ 64 h 72"/>
                <a:gd name="T14" fmla="*/ 33 w 122"/>
                <a:gd name="T15" fmla="*/ 59 h 72"/>
                <a:gd name="T16" fmla="*/ 28 w 122"/>
                <a:gd name="T17" fmla="*/ 56 h 72"/>
                <a:gd name="T18" fmla="*/ 25 w 122"/>
                <a:gd name="T19" fmla="*/ 56 h 72"/>
                <a:gd name="T20" fmla="*/ 19 w 122"/>
                <a:gd name="T21" fmla="*/ 53 h 72"/>
                <a:gd name="T22" fmla="*/ 0 w 122"/>
                <a:gd name="T23" fmla="*/ 34 h 72"/>
                <a:gd name="T24" fmla="*/ 8 w 122"/>
                <a:gd name="T25" fmla="*/ 31 h 72"/>
                <a:gd name="T26" fmla="*/ 18 w 122"/>
                <a:gd name="T27" fmla="*/ 17 h 72"/>
                <a:gd name="T28" fmla="*/ 30 w 122"/>
                <a:gd name="T29" fmla="*/ 5 h 72"/>
                <a:gd name="T30" fmla="*/ 31 w 122"/>
                <a:gd name="T31" fmla="*/ 5 h 72"/>
                <a:gd name="T32" fmla="*/ 55 w 122"/>
                <a:gd name="T33" fmla="*/ 7 h 72"/>
                <a:gd name="T34" fmla="*/ 75 w 122"/>
                <a:gd name="T35" fmla="*/ 0 h 72"/>
                <a:gd name="T36" fmla="*/ 76 w 122"/>
                <a:gd name="T37" fmla="*/ 0 h 72"/>
                <a:gd name="T38" fmla="*/ 86 w 122"/>
                <a:gd name="T39" fmla="*/ 10 h 72"/>
                <a:gd name="T40" fmla="*/ 96 w 122"/>
                <a:gd name="T41" fmla="*/ 19 h 72"/>
                <a:gd name="T42" fmla="*/ 99 w 122"/>
                <a:gd name="T43" fmla="*/ 32 h 72"/>
                <a:gd name="T44" fmla="*/ 103 w 122"/>
                <a:gd name="T45" fmla="*/ 46 h 72"/>
                <a:gd name="T46" fmla="*/ 114 w 122"/>
                <a:gd name="T47" fmla="*/ 46 h 72"/>
                <a:gd name="T48" fmla="*/ 121 w 122"/>
                <a:gd name="T49" fmla="*/ 48 h 72"/>
                <a:gd name="T50" fmla="*/ 122 w 122"/>
                <a:gd name="T51" fmla="*/ 52 h 72"/>
                <a:gd name="T52" fmla="*/ 116 w 122"/>
                <a:gd name="T53" fmla="*/ 55 h 72"/>
                <a:gd name="T54" fmla="*/ 114 w 122"/>
                <a:gd name="T55" fmla="*/ 54 h 72"/>
                <a:gd name="T56" fmla="*/ 111 w 122"/>
                <a:gd name="T57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72">
                  <a:moveTo>
                    <a:pt x="111" y="59"/>
                  </a:moveTo>
                  <a:lnTo>
                    <a:pt x="110" y="71"/>
                  </a:lnTo>
                  <a:lnTo>
                    <a:pt x="86" y="66"/>
                  </a:lnTo>
                  <a:lnTo>
                    <a:pt x="66" y="72"/>
                  </a:lnTo>
                  <a:lnTo>
                    <a:pt x="51" y="70"/>
                  </a:lnTo>
                  <a:lnTo>
                    <a:pt x="37" y="67"/>
                  </a:lnTo>
                  <a:lnTo>
                    <a:pt x="34" y="64"/>
                  </a:lnTo>
                  <a:lnTo>
                    <a:pt x="33" y="59"/>
                  </a:lnTo>
                  <a:lnTo>
                    <a:pt x="28" y="56"/>
                  </a:lnTo>
                  <a:lnTo>
                    <a:pt x="25" y="56"/>
                  </a:lnTo>
                  <a:lnTo>
                    <a:pt x="19" y="53"/>
                  </a:lnTo>
                  <a:lnTo>
                    <a:pt x="0" y="34"/>
                  </a:lnTo>
                  <a:lnTo>
                    <a:pt x="8" y="31"/>
                  </a:lnTo>
                  <a:lnTo>
                    <a:pt x="18" y="17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55" y="7"/>
                  </a:lnTo>
                  <a:lnTo>
                    <a:pt x="75" y="0"/>
                  </a:lnTo>
                  <a:lnTo>
                    <a:pt x="76" y="0"/>
                  </a:lnTo>
                  <a:lnTo>
                    <a:pt x="86" y="10"/>
                  </a:lnTo>
                  <a:lnTo>
                    <a:pt x="96" y="19"/>
                  </a:lnTo>
                  <a:lnTo>
                    <a:pt x="99" y="32"/>
                  </a:lnTo>
                  <a:lnTo>
                    <a:pt x="103" y="46"/>
                  </a:lnTo>
                  <a:lnTo>
                    <a:pt x="114" y="46"/>
                  </a:lnTo>
                  <a:lnTo>
                    <a:pt x="121" y="48"/>
                  </a:lnTo>
                  <a:lnTo>
                    <a:pt x="122" y="52"/>
                  </a:lnTo>
                  <a:lnTo>
                    <a:pt x="116" y="55"/>
                  </a:lnTo>
                  <a:lnTo>
                    <a:pt x="114" y="54"/>
                  </a:lnTo>
                  <a:lnTo>
                    <a:pt x="111" y="59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6" name="Freeform 371">
              <a:extLst>
                <a:ext uri="{FF2B5EF4-FFF2-40B4-BE49-F238E27FC236}">
                  <a16:creationId xmlns:a16="http://schemas.microsoft.com/office/drawing/2014/main" id="{4C1169CE-CB04-4169-88B5-F276BD76411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6212" y="2633775"/>
              <a:ext cx="169342" cy="83330"/>
            </a:xfrm>
            <a:custGeom>
              <a:avLst/>
              <a:gdLst>
                <a:gd name="T0" fmla="*/ 67 w 82"/>
                <a:gd name="T1" fmla="*/ 11 h 37"/>
                <a:gd name="T2" fmla="*/ 82 w 82"/>
                <a:gd name="T3" fmla="*/ 22 h 37"/>
                <a:gd name="T4" fmla="*/ 82 w 82"/>
                <a:gd name="T5" fmla="*/ 23 h 37"/>
                <a:gd name="T6" fmla="*/ 78 w 82"/>
                <a:gd name="T7" fmla="*/ 26 h 37"/>
                <a:gd name="T8" fmla="*/ 75 w 82"/>
                <a:gd name="T9" fmla="*/ 28 h 37"/>
                <a:gd name="T10" fmla="*/ 75 w 82"/>
                <a:gd name="T11" fmla="*/ 29 h 37"/>
                <a:gd name="T12" fmla="*/ 70 w 82"/>
                <a:gd name="T13" fmla="*/ 34 h 37"/>
                <a:gd name="T14" fmla="*/ 64 w 82"/>
                <a:gd name="T15" fmla="*/ 35 h 37"/>
                <a:gd name="T16" fmla="*/ 59 w 82"/>
                <a:gd name="T17" fmla="*/ 35 h 37"/>
                <a:gd name="T18" fmla="*/ 55 w 82"/>
                <a:gd name="T19" fmla="*/ 34 h 37"/>
                <a:gd name="T20" fmla="*/ 35 w 82"/>
                <a:gd name="T21" fmla="*/ 32 h 37"/>
                <a:gd name="T22" fmla="*/ 28 w 82"/>
                <a:gd name="T23" fmla="*/ 37 h 37"/>
                <a:gd name="T24" fmla="*/ 21 w 82"/>
                <a:gd name="T25" fmla="*/ 35 h 37"/>
                <a:gd name="T26" fmla="*/ 3 w 82"/>
                <a:gd name="T27" fmla="*/ 18 h 37"/>
                <a:gd name="T28" fmla="*/ 0 w 82"/>
                <a:gd name="T29" fmla="*/ 12 h 37"/>
                <a:gd name="T30" fmla="*/ 28 w 82"/>
                <a:gd name="T31" fmla="*/ 0 h 37"/>
                <a:gd name="T32" fmla="*/ 30 w 82"/>
                <a:gd name="T33" fmla="*/ 1 h 37"/>
                <a:gd name="T34" fmla="*/ 33 w 82"/>
                <a:gd name="T35" fmla="*/ 1 h 37"/>
                <a:gd name="T36" fmla="*/ 49 w 82"/>
                <a:gd name="T37" fmla="*/ 7 h 37"/>
                <a:gd name="T38" fmla="*/ 52 w 82"/>
                <a:gd name="T39" fmla="*/ 11 h 37"/>
                <a:gd name="T40" fmla="*/ 58 w 82"/>
                <a:gd name="T41" fmla="*/ 11 h 37"/>
                <a:gd name="T42" fmla="*/ 67 w 82"/>
                <a:gd name="T43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2" h="37">
                  <a:moveTo>
                    <a:pt x="67" y="11"/>
                  </a:moveTo>
                  <a:lnTo>
                    <a:pt x="82" y="22"/>
                  </a:lnTo>
                  <a:lnTo>
                    <a:pt x="82" y="23"/>
                  </a:lnTo>
                  <a:lnTo>
                    <a:pt x="78" y="26"/>
                  </a:lnTo>
                  <a:lnTo>
                    <a:pt x="75" y="28"/>
                  </a:lnTo>
                  <a:lnTo>
                    <a:pt x="75" y="29"/>
                  </a:lnTo>
                  <a:lnTo>
                    <a:pt x="70" y="34"/>
                  </a:lnTo>
                  <a:lnTo>
                    <a:pt x="64" y="35"/>
                  </a:lnTo>
                  <a:lnTo>
                    <a:pt x="59" y="35"/>
                  </a:lnTo>
                  <a:lnTo>
                    <a:pt x="55" y="34"/>
                  </a:lnTo>
                  <a:lnTo>
                    <a:pt x="35" y="32"/>
                  </a:lnTo>
                  <a:lnTo>
                    <a:pt x="28" y="37"/>
                  </a:lnTo>
                  <a:lnTo>
                    <a:pt x="21" y="35"/>
                  </a:lnTo>
                  <a:lnTo>
                    <a:pt x="3" y="18"/>
                  </a:lnTo>
                  <a:lnTo>
                    <a:pt x="0" y="12"/>
                  </a:lnTo>
                  <a:lnTo>
                    <a:pt x="28" y="0"/>
                  </a:lnTo>
                  <a:lnTo>
                    <a:pt x="30" y="1"/>
                  </a:lnTo>
                  <a:lnTo>
                    <a:pt x="33" y="1"/>
                  </a:lnTo>
                  <a:lnTo>
                    <a:pt x="49" y="7"/>
                  </a:lnTo>
                  <a:lnTo>
                    <a:pt x="52" y="11"/>
                  </a:lnTo>
                  <a:lnTo>
                    <a:pt x="58" y="11"/>
                  </a:lnTo>
                  <a:lnTo>
                    <a:pt x="67" y="1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7" name="Freeform 372">
              <a:extLst>
                <a:ext uri="{FF2B5EF4-FFF2-40B4-BE49-F238E27FC236}">
                  <a16:creationId xmlns:a16="http://schemas.microsoft.com/office/drawing/2014/main" id="{41FBF24B-B528-4EB9-AC15-053A01F7CF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31247" y="2619889"/>
              <a:ext cx="93233" cy="61504"/>
            </a:xfrm>
            <a:custGeom>
              <a:avLst/>
              <a:gdLst>
                <a:gd name="T0" fmla="*/ 10 w 45"/>
                <a:gd name="T1" fmla="*/ 0 h 28"/>
                <a:gd name="T2" fmla="*/ 0 w 45"/>
                <a:gd name="T3" fmla="*/ 4 h 28"/>
                <a:gd name="T4" fmla="*/ 5 w 45"/>
                <a:gd name="T5" fmla="*/ 10 h 28"/>
                <a:gd name="T6" fmla="*/ 21 w 45"/>
                <a:gd name="T7" fmla="*/ 20 h 28"/>
                <a:gd name="T8" fmla="*/ 27 w 45"/>
                <a:gd name="T9" fmla="*/ 19 h 28"/>
                <a:gd name="T10" fmla="*/ 28 w 45"/>
                <a:gd name="T11" fmla="*/ 22 h 28"/>
                <a:gd name="T12" fmla="*/ 41 w 45"/>
                <a:gd name="T13" fmla="*/ 28 h 28"/>
                <a:gd name="T14" fmla="*/ 41 w 45"/>
                <a:gd name="T15" fmla="*/ 26 h 28"/>
                <a:gd name="T16" fmla="*/ 45 w 45"/>
                <a:gd name="T17" fmla="*/ 19 h 28"/>
                <a:gd name="T18" fmla="*/ 45 w 45"/>
                <a:gd name="T19" fmla="*/ 11 h 28"/>
                <a:gd name="T20" fmla="*/ 42 w 45"/>
                <a:gd name="T21" fmla="*/ 10 h 28"/>
                <a:gd name="T22" fmla="*/ 39 w 45"/>
                <a:gd name="T23" fmla="*/ 6 h 28"/>
                <a:gd name="T24" fmla="*/ 36 w 45"/>
                <a:gd name="T25" fmla="*/ 1 h 28"/>
                <a:gd name="T26" fmla="*/ 21 w 45"/>
                <a:gd name="T27" fmla="*/ 0 h 28"/>
                <a:gd name="T28" fmla="*/ 10 w 45"/>
                <a:gd name="T2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28">
                  <a:moveTo>
                    <a:pt x="10" y="0"/>
                  </a:moveTo>
                  <a:lnTo>
                    <a:pt x="0" y="4"/>
                  </a:lnTo>
                  <a:lnTo>
                    <a:pt x="5" y="10"/>
                  </a:lnTo>
                  <a:lnTo>
                    <a:pt x="21" y="20"/>
                  </a:lnTo>
                  <a:lnTo>
                    <a:pt x="27" y="19"/>
                  </a:lnTo>
                  <a:lnTo>
                    <a:pt x="28" y="22"/>
                  </a:lnTo>
                  <a:lnTo>
                    <a:pt x="41" y="28"/>
                  </a:lnTo>
                  <a:lnTo>
                    <a:pt x="41" y="26"/>
                  </a:lnTo>
                  <a:lnTo>
                    <a:pt x="45" y="19"/>
                  </a:lnTo>
                  <a:lnTo>
                    <a:pt x="45" y="11"/>
                  </a:lnTo>
                  <a:lnTo>
                    <a:pt x="42" y="10"/>
                  </a:lnTo>
                  <a:lnTo>
                    <a:pt x="39" y="6"/>
                  </a:lnTo>
                  <a:lnTo>
                    <a:pt x="36" y="1"/>
                  </a:lnTo>
                  <a:lnTo>
                    <a:pt x="21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8" name="Freeform 373">
              <a:extLst>
                <a:ext uri="{FF2B5EF4-FFF2-40B4-BE49-F238E27FC236}">
                  <a16:creationId xmlns:a16="http://schemas.microsoft.com/office/drawing/2014/main" id="{C2A4AF52-AB20-4CB8-99DE-3B45F5C23B0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0675" y="2496876"/>
              <a:ext cx="228327" cy="259910"/>
            </a:xfrm>
            <a:custGeom>
              <a:avLst/>
              <a:gdLst>
                <a:gd name="T0" fmla="*/ 27 w 108"/>
                <a:gd name="T1" fmla="*/ 21 h 117"/>
                <a:gd name="T2" fmla="*/ 29 w 108"/>
                <a:gd name="T3" fmla="*/ 23 h 117"/>
                <a:gd name="T4" fmla="*/ 29 w 108"/>
                <a:gd name="T5" fmla="*/ 20 h 117"/>
                <a:gd name="T6" fmla="*/ 34 w 108"/>
                <a:gd name="T7" fmla="*/ 17 h 117"/>
                <a:gd name="T8" fmla="*/ 42 w 108"/>
                <a:gd name="T9" fmla="*/ 20 h 117"/>
                <a:gd name="T10" fmla="*/ 37 w 108"/>
                <a:gd name="T11" fmla="*/ 17 h 117"/>
                <a:gd name="T12" fmla="*/ 33 w 108"/>
                <a:gd name="T13" fmla="*/ 9 h 117"/>
                <a:gd name="T14" fmla="*/ 33 w 108"/>
                <a:gd name="T15" fmla="*/ 8 h 117"/>
                <a:gd name="T16" fmla="*/ 30 w 108"/>
                <a:gd name="T17" fmla="*/ 0 h 117"/>
                <a:gd name="T18" fmla="*/ 40 w 108"/>
                <a:gd name="T19" fmla="*/ 2 h 117"/>
                <a:gd name="T20" fmla="*/ 42 w 108"/>
                <a:gd name="T21" fmla="*/ 2 h 117"/>
                <a:gd name="T22" fmla="*/ 45 w 108"/>
                <a:gd name="T23" fmla="*/ 7 h 117"/>
                <a:gd name="T24" fmla="*/ 58 w 108"/>
                <a:gd name="T25" fmla="*/ 8 h 117"/>
                <a:gd name="T26" fmla="*/ 57 w 108"/>
                <a:gd name="T27" fmla="*/ 13 h 117"/>
                <a:gd name="T28" fmla="*/ 61 w 108"/>
                <a:gd name="T29" fmla="*/ 14 h 117"/>
                <a:gd name="T30" fmla="*/ 78 w 108"/>
                <a:gd name="T31" fmla="*/ 7 h 117"/>
                <a:gd name="T32" fmla="*/ 77 w 108"/>
                <a:gd name="T33" fmla="*/ 8 h 117"/>
                <a:gd name="T34" fmla="*/ 91 w 108"/>
                <a:gd name="T35" fmla="*/ 13 h 117"/>
                <a:gd name="T36" fmla="*/ 97 w 108"/>
                <a:gd name="T37" fmla="*/ 13 h 117"/>
                <a:gd name="T38" fmla="*/ 102 w 108"/>
                <a:gd name="T39" fmla="*/ 18 h 117"/>
                <a:gd name="T40" fmla="*/ 99 w 108"/>
                <a:gd name="T41" fmla="*/ 19 h 117"/>
                <a:gd name="T42" fmla="*/ 100 w 108"/>
                <a:gd name="T43" fmla="*/ 33 h 117"/>
                <a:gd name="T44" fmla="*/ 107 w 108"/>
                <a:gd name="T45" fmla="*/ 50 h 117"/>
                <a:gd name="T46" fmla="*/ 108 w 108"/>
                <a:gd name="T47" fmla="*/ 62 h 117"/>
                <a:gd name="T48" fmla="*/ 106 w 108"/>
                <a:gd name="T49" fmla="*/ 61 h 117"/>
                <a:gd name="T50" fmla="*/ 78 w 108"/>
                <a:gd name="T51" fmla="*/ 73 h 117"/>
                <a:gd name="T52" fmla="*/ 81 w 108"/>
                <a:gd name="T53" fmla="*/ 79 h 117"/>
                <a:gd name="T54" fmla="*/ 99 w 108"/>
                <a:gd name="T55" fmla="*/ 96 h 117"/>
                <a:gd name="T56" fmla="*/ 89 w 108"/>
                <a:gd name="T57" fmla="*/ 104 h 117"/>
                <a:gd name="T58" fmla="*/ 90 w 108"/>
                <a:gd name="T59" fmla="*/ 113 h 117"/>
                <a:gd name="T60" fmla="*/ 87 w 108"/>
                <a:gd name="T61" fmla="*/ 114 h 117"/>
                <a:gd name="T62" fmla="*/ 72 w 108"/>
                <a:gd name="T63" fmla="*/ 114 h 117"/>
                <a:gd name="T64" fmla="*/ 61 w 108"/>
                <a:gd name="T65" fmla="*/ 114 h 117"/>
                <a:gd name="T66" fmla="*/ 58 w 108"/>
                <a:gd name="T67" fmla="*/ 117 h 117"/>
                <a:gd name="T68" fmla="*/ 47 w 108"/>
                <a:gd name="T69" fmla="*/ 115 h 117"/>
                <a:gd name="T70" fmla="*/ 35 w 108"/>
                <a:gd name="T71" fmla="*/ 113 h 117"/>
                <a:gd name="T72" fmla="*/ 22 w 108"/>
                <a:gd name="T73" fmla="*/ 114 h 117"/>
                <a:gd name="T74" fmla="*/ 28 w 108"/>
                <a:gd name="T75" fmla="*/ 92 h 117"/>
                <a:gd name="T76" fmla="*/ 7 w 108"/>
                <a:gd name="T77" fmla="*/ 85 h 117"/>
                <a:gd name="T78" fmla="*/ 6 w 108"/>
                <a:gd name="T79" fmla="*/ 84 h 117"/>
                <a:gd name="T80" fmla="*/ 6 w 108"/>
                <a:gd name="T81" fmla="*/ 83 h 117"/>
                <a:gd name="T82" fmla="*/ 3 w 108"/>
                <a:gd name="T83" fmla="*/ 74 h 117"/>
                <a:gd name="T84" fmla="*/ 3 w 108"/>
                <a:gd name="T85" fmla="*/ 66 h 117"/>
                <a:gd name="T86" fmla="*/ 0 w 108"/>
                <a:gd name="T87" fmla="*/ 65 h 117"/>
                <a:gd name="T88" fmla="*/ 3 w 108"/>
                <a:gd name="T89" fmla="*/ 47 h 117"/>
                <a:gd name="T90" fmla="*/ 12 w 108"/>
                <a:gd name="T91" fmla="*/ 42 h 117"/>
                <a:gd name="T92" fmla="*/ 9 w 108"/>
                <a:gd name="T93" fmla="*/ 35 h 117"/>
                <a:gd name="T94" fmla="*/ 13 w 108"/>
                <a:gd name="T95" fmla="*/ 26 h 117"/>
                <a:gd name="T96" fmla="*/ 12 w 108"/>
                <a:gd name="T97" fmla="*/ 25 h 117"/>
                <a:gd name="T98" fmla="*/ 13 w 108"/>
                <a:gd name="T99" fmla="*/ 19 h 117"/>
                <a:gd name="T100" fmla="*/ 27 w 108"/>
                <a:gd name="T101" fmla="*/ 21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8" h="117">
                  <a:moveTo>
                    <a:pt x="27" y="21"/>
                  </a:moveTo>
                  <a:lnTo>
                    <a:pt x="29" y="23"/>
                  </a:lnTo>
                  <a:lnTo>
                    <a:pt x="29" y="20"/>
                  </a:lnTo>
                  <a:lnTo>
                    <a:pt x="34" y="17"/>
                  </a:lnTo>
                  <a:lnTo>
                    <a:pt x="42" y="20"/>
                  </a:lnTo>
                  <a:lnTo>
                    <a:pt x="37" y="17"/>
                  </a:lnTo>
                  <a:lnTo>
                    <a:pt x="33" y="9"/>
                  </a:lnTo>
                  <a:lnTo>
                    <a:pt x="33" y="8"/>
                  </a:lnTo>
                  <a:lnTo>
                    <a:pt x="30" y="0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5" y="7"/>
                  </a:lnTo>
                  <a:lnTo>
                    <a:pt x="58" y="8"/>
                  </a:lnTo>
                  <a:lnTo>
                    <a:pt x="57" y="13"/>
                  </a:lnTo>
                  <a:lnTo>
                    <a:pt x="61" y="14"/>
                  </a:lnTo>
                  <a:lnTo>
                    <a:pt x="78" y="7"/>
                  </a:lnTo>
                  <a:lnTo>
                    <a:pt x="77" y="8"/>
                  </a:lnTo>
                  <a:lnTo>
                    <a:pt x="91" y="13"/>
                  </a:lnTo>
                  <a:lnTo>
                    <a:pt x="97" y="13"/>
                  </a:lnTo>
                  <a:lnTo>
                    <a:pt x="102" y="18"/>
                  </a:lnTo>
                  <a:lnTo>
                    <a:pt x="99" y="19"/>
                  </a:lnTo>
                  <a:lnTo>
                    <a:pt x="100" y="33"/>
                  </a:lnTo>
                  <a:lnTo>
                    <a:pt x="107" y="50"/>
                  </a:lnTo>
                  <a:lnTo>
                    <a:pt x="108" y="62"/>
                  </a:lnTo>
                  <a:lnTo>
                    <a:pt x="106" y="61"/>
                  </a:lnTo>
                  <a:lnTo>
                    <a:pt x="78" y="73"/>
                  </a:lnTo>
                  <a:lnTo>
                    <a:pt x="81" y="79"/>
                  </a:lnTo>
                  <a:lnTo>
                    <a:pt x="99" y="96"/>
                  </a:lnTo>
                  <a:lnTo>
                    <a:pt x="89" y="104"/>
                  </a:lnTo>
                  <a:lnTo>
                    <a:pt x="90" y="113"/>
                  </a:lnTo>
                  <a:lnTo>
                    <a:pt x="87" y="114"/>
                  </a:lnTo>
                  <a:lnTo>
                    <a:pt x="72" y="114"/>
                  </a:lnTo>
                  <a:lnTo>
                    <a:pt x="61" y="114"/>
                  </a:lnTo>
                  <a:lnTo>
                    <a:pt x="58" y="117"/>
                  </a:lnTo>
                  <a:lnTo>
                    <a:pt x="47" y="115"/>
                  </a:lnTo>
                  <a:lnTo>
                    <a:pt x="35" y="113"/>
                  </a:lnTo>
                  <a:lnTo>
                    <a:pt x="22" y="114"/>
                  </a:lnTo>
                  <a:lnTo>
                    <a:pt x="28" y="92"/>
                  </a:lnTo>
                  <a:lnTo>
                    <a:pt x="7" y="85"/>
                  </a:lnTo>
                  <a:lnTo>
                    <a:pt x="6" y="84"/>
                  </a:lnTo>
                  <a:lnTo>
                    <a:pt x="6" y="83"/>
                  </a:lnTo>
                  <a:lnTo>
                    <a:pt x="3" y="74"/>
                  </a:lnTo>
                  <a:lnTo>
                    <a:pt x="3" y="66"/>
                  </a:lnTo>
                  <a:lnTo>
                    <a:pt x="0" y="65"/>
                  </a:lnTo>
                  <a:lnTo>
                    <a:pt x="3" y="47"/>
                  </a:lnTo>
                  <a:lnTo>
                    <a:pt x="12" y="42"/>
                  </a:lnTo>
                  <a:lnTo>
                    <a:pt x="9" y="35"/>
                  </a:lnTo>
                  <a:lnTo>
                    <a:pt x="13" y="26"/>
                  </a:lnTo>
                  <a:lnTo>
                    <a:pt x="12" y="25"/>
                  </a:lnTo>
                  <a:lnTo>
                    <a:pt x="13" y="19"/>
                  </a:lnTo>
                  <a:lnTo>
                    <a:pt x="27" y="2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39" name="Freeform 374">
              <a:extLst>
                <a:ext uri="{FF2B5EF4-FFF2-40B4-BE49-F238E27FC236}">
                  <a16:creationId xmlns:a16="http://schemas.microsoft.com/office/drawing/2014/main" id="{AA3C42CD-7262-4B5C-AA67-7A4874E4F569}"/>
                </a:ext>
              </a:extLst>
            </p:cNvPr>
            <p:cNvSpPr>
              <a:spLocks/>
            </p:cNvSpPr>
            <p:nvPr/>
          </p:nvSpPr>
          <p:spPr bwMode="gray">
            <a:xfrm>
              <a:off x="5093822" y="2508782"/>
              <a:ext cx="17125" cy="9919"/>
            </a:xfrm>
            <a:custGeom>
              <a:avLst/>
              <a:gdLst>
                <a:gd name="T0" fmla="*/ 0 w 8"/>
                <a:gd name="T1" fmla="*/ 3 h 3"/>
                <a:gd name="T2" fmla="*/ 8 w 8"/>
                <a:gd name="T3" fmla="*/ 3 h 3"/>
                <a:gd name="T4" fmla="*/ 5 w 8"/>
                <a:gd name="T5" fmla="*/ 0 h 3"/>
                <a:gd name="T6" fmla="*/ 0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0" y="3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40" name="Freeform 375">
              <a:extLst>
                <a:ext uri="{FF2B5EF4-FFF2-40B4-BE49-F238E27FC236}">
                  <a16:creationId xmlns:a16="http://schemas.microsoft.com/office/drawing/2014/main" id="{D93FA5F4-05CD-47C5-BE91-70AE83BFDC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6870" y="2663537"/>
              <a:ext cx="15221" cy="17858"/>
            </a:xfrm>
            <a:custGeom>
              <a:avLst/>
              <a:gdLst>
                <a:gd name="T0" fmla="*/ 4 w 7"/>
                <a:gd name="T1" fmla="*/ 0 h 10"/>
                <a:gd name="T2" fmla="*/ 0 w 7"/>
                <a:gd name="T3" fmla="*/ 7 h 10"/>
                <a:gd name="T4" fmla="*/ 0 w 7"/>
                <a:gd name="T5" fmla="*/ 9 h 10"/>
                <a:gd name="T6" fmla="*/ 7 w 7"/>
                <a:gd name="T7" fmla="*/ 10 h 10"/>
                <a:gd name="T8" fmla="*/ 7 w 7"/>
                <a:gd name="T9" fmla="*/ 9 h 10"/>
                <a:gd name="T10" fmla="*/ 4 w 7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0">
                  <a:moveTo>
                    <a:pt x="4" y="0"/>
                  </a:moveTo>
                  <a:lnTo>
                    <a:pt x="0" y="7"/>
                  </a:lnTo>
                  <a:lnTo>
                    <a:pt x="0" y="9"/>
                  </a:lnTo>
                  <a:lnTo>
                    <a:pt x="7" y="10"/>
                  </a:lnTo>
                  <a:lnTo>
                    <a:pt x="7" y="9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41" name="Freeform 376">
              <a:extLst>
                <a:ext uri="{FF2B5EF4-FFF2-40B4-BE49-F238E27FC236}">
                  <a16:creationId xmlns:a16="http://schemas.microsoft.com/office/drawing/2014/main" id="{CE115BEA-FFB1-43D3-ACE8-03AF799D475B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6756" y="2709170"/>
              <a:ext cx="114163" cy="123011"/>
            </a:xfrm>
            <a:custGeom>
              <a:avLst/>
              <a:gdLst>
                <a:gd name="T0" fmla="*/ 11 w 55"/>
                <a:gd name="T1" fmla="*/ 0 h 56"/>
                <a:gd name="T2" fmla="*/ 0 w 55"/>
                <a:gd name="T3" fmla="*/ 8 h 56"/>
                <a:gd name="T4" fmla="*/ 1 w 55"/>
                <a:gd name="T5" fmla="*/ 8 h 56"/>
                <a:gd name="T6" fmla="*/ 11 w 55"/>
                <a:gd name="T7" fmla="*/ 18 h 56"/>
                <a:gd name="T8" fmla="*/ 21 w 55"/>
                <a:gd name="T9" fmla="*/ 27 h 56"/>
                <a:gd name="T10" fmla="*/ 24 w 55"/>
                <a:gd name="T11" fmla="*/ 40 h 56"/>
                <a:gd name="T12" fmla="*/ 28 w 55"/>
                <a:gd name="T13" fmla="*/ 54 h 56"/>
                <a:gd name="T14" fmla="*/ 39 w 55"/>
                <a:gd name="T15" fmla="*/ 54 h 56"/>
                <a:gd name="T16" fmla="*/ 46 w 55"/>
                <a:gd name="T17" fmla="*/ 56 h 56"/>
                <a:gd name="T18" fmla="*/ 46 w 55"/>
                <a:gd name="T19" fmla="*/ 49 h 56"/>
                <a:gd name="T20" fmla="*/ 55 w 55"/>
                <a:gd name="T21" fmla="*/ 38 h 56"/>
                <a:gd name="T22" fmla="*/ 46 w 55"/>
                <a:gd name="T23" fmla="*/ 28 h 56"/>
                <a:gd name="T24" fmla="*/ 36 w 55"/>
                <a:gd name="T25" fmla="*/ 20 h 56"/>
                <a:gd name="T26" fmla="*/ 25 w 55"/>
                <a:gd name="T27" fmla="*/ 10 h 56"/>
                <a:gd name="T28" fmla="*/ 16 w 55"/>
                <a:gd name="T29" fmla="*/ 1 h 56"/>
                <a:gd name="T30" fmla="*/ 11 w 55"/>
                <a:gd name="T3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56">
                  <a:moveTo>
                    <a:pt x="11" y="0"/>
                  </a:moveTo>
                  <a:lnTo>
                    <a:pt x="0" y="8"/>
                  </a:lnTo>
                  <a:lnTo>
                    <a:pt x="1" y="8"/>
                  </a:lnTo>
                  <a:lnTo>
                    <a:pt x="11" y="18"/>
                  </a:lnTo>
                  <a:lnTo>
                    <a:pt x="21" y="27"/>
                  </a:lnTo>
                  <a:lnTo>
                    <a:pt x="24" y="40"/>
                  </a:lnTo>
                  <a:lnTo>
                    <a:pt x="28" y="54"/>
                  </a:lnTo>
                  <a:lnTo>
                    <a:pt x="39" y="54"/>
                  </a:lnTo>
                  <a:lnTo>
                    <a:pt x="46" y="56"/>
                  </a:lnTo>
                  <a:lnTo>
                    <a:pt x="46" y="49"/>
                  </a:lnTo>
                  <a:lnTo>
                    <a:pt x="55" y="38"/>
                  </a:lnTo>
                  <a:lnTo>
                    <a:pt x="46" y="28"/>
                  </a:lnTo>
                  <a:lnTo>
                    <a:pt x="36" y="20"/>
                  </a:lnTo>
                  <a:lnTo>
                    <a:pt x="25" y="10"/>
                  </a:lnTo>
                  <a:lnTo>
                    <a:pt x="16" y="1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42" name="Freeform 377">
              <a:extLst>
                <a:ext uri="{FF2B5EF4-FFF2-40B4-BE49-F238E27FC236}">
                  <a16:creationId xmlns:a16="http://schemas.microsoft.com/office/drawing/2014/main" id="{ABDFB020-83EA-48D6-AB0E-FA2E773B486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6426" y="1988958"/>
              <a:ext cx="546081" cy="400779"/>
            </a:xfrm>
            <a:custGeom>
              <a:avLst/>
              <a:gdLst>
                <a:gd name="T0" fmla="*/ 147 w 258"/>
                <a:gd name="T1" fmla="*/ 23 h 183"/>
                <a:gd name="T2" fmla="*/ 144 w 258"/>
                <a:gd name="T3" fmla="*/ 21 h 183"/>
                <a:gd name="T4" fmla="*/ 140 w 258"/>
                <a:gd name="T5" fmla="*/ 23 h 183"/>
                <a:gd name="T6" fmla="*/ 129 w 258"/>
                <a:gd name="T7" fmla="*/ 22 h 183"/>
                <a:gd name="T8" fmla="*/ 124 w 258"/>
                <a:gd name="T9" fmla="*/ 32 h 183"/>
                <a:gd name="T10" fmla="*/ 123 w 258"/>
                <a:gd name="T11" fmla="*/ 38 h 183"/>
                <a:gd name="T12" fmla="*/ 112 w 258"/>
                <a:gd name="T13" fmla="*/ 41 h 183"/>
                <a:gd name="T14" fmla="*/ 105 w 258"/>
                <a:gd name="T15" fmla="*/ 41 h 183"/>
                <a:gd name="T16" fmla="*/ 104 w 258"/>
                <a:gd name="T17" fmla="*/ 47 h 183"/>
                <a:gd name="T18" fmla="*/ 98 w 258"/>
                <a:gd name="T19" fmla="*/ 52 h 183"/>
                <a:gd name="T20" fmla="*/ 88 w 258"/>
                <a:gd name="T21" fmla="*/ 58 h 183"/>
                <a:gd name="T22" fmla="*/ 80 w 258"/>
                <a:gd name="T23" fmla="*/ 65 h 183"/>
                <a:gd name="T24" fmla="*/ 80 w 258"/>
                <a:gd name="T25" fmla="*/ 69 h 183"/>
                <a:gd name="T26" fmla="*/ 78 w 258"/>
                <a:gd name="T27" fmla="*/ 80 h 183"/>
                <a:gd name="T28" fmla="*/ 67 w 258"/>
                <a:gd name="T29" fmla="*/ 86 h 183"/>
                <a:gd name="T30" fmla="*/ 63 w 258"/>
                <a:gd name="T31" fmla="*/ 90 h 183"/>
                <a:gd name="T32" fmla="*/ 50 w 258"/>
                <a:gd name="T33" fmla="*/ 101 h 183"/>
                <a:gd name="T34" fmla="*/ 64 w 258"/>
                <a:gd name="T35" fmla="*/ 98 h 183"/>
                <a:gd name="T36" fmla="*/ 51 w 258"/>
                <a:gd name="T37" fmla="*/ 106 h 183"/>
                <a:gd name="T38" fmla="*/ 37 w 258"/>
                <a:gd name="T39" fmla="*/ 108 h 183"/>
                <a:gd name="T40" fmla="*/ 32 w 258"/>
                <a:gd name="T41" fmla="*/ 112 h 183"/>
                <a:gd name="T42" fmla="*/ 19 w 258"/>
                <a:gd name="T43" fmla="*/ 116 h 183"/>
                <a:gd name="T44" fmla="*/ 24 w 258"/>
                <a:gd name="T45" fmla="*/ 118 h 183"/>
                <a:gd name="T46" fmla="*/ 20 w 258"/>
                <a:gd name="T47" fmla="*/ 124 h 183"/>
                <a:gd name="T48" fmla="*/ 8 w 258"/>
                <a:gd name="T49" fmla="*/ 123 h 183"/>
                <a:gd name="T50" fmla="*/ 0 w 258"/>
                <a:gd name="T51" fmla="*/ 125 h 183"/>
                <a:gd name="T52" fmla="*/ 0 w 258"/>
                <a:gd name="T53" fmla="*/ 130 h 183"/>
                <a:gd name="T54" fmla="*/ 2 w 258"/>
                <a:gd name="T55" fmla="*/ 135 h 183"/>
                <a:gd name="T56" fmla="*/ 24 w 258"/>
                <a:gd name="T57" fmla="*/ 136 h 183"/>
                <a:gd name="T58" fmla="*/ 22 w 258"/>
                <a:gd name="T59" fmla="*/ 141 h 183"/>
                <a:gd name="T60" fmla="*/ 2 w 258"/>
                <a:gd name="T61" fmla="*/ 143 h 183"/>
                <a:gd name="T62" fmla="*/ 7 w 258"/>
                <a:gd name="T63" fmla="*/ 146 h 183"/>
                <a:gd name="T64" fmla="*/ 7 w 258"/>
                <a:gd name="T65" fmla="*/ 152 h 183"/>
                <a:gd name="T66" fmla="*/ 19 w 258"/>
                <a:gd name="T67" fmla="*/ 148 h 183"/>
                <a:gd name="T68" fmla="*/ 9 w 258"/>
                <a:gd name="T69" fmla="*/ 159 h 183"/>
                <a:gd name="T70" fmla="*/ 4 w 258"/>
                <a:gd name="T71" fmla="*/ 166 h 183"/>
                <a:gd name="T72" fmla="*/ 13 w 258"/>
                <a:gd name="T73" fmla="*/ 166 h 183"/>
                <a:gd name="T74" fmla="*/ 8 w 258"/>
                <a:gd name="T75" fmla="*/ 178 h 183"/>
                <a:gd name="T76" fmla="*/ 52 w 258"/>
                <a:gd name="T77" fmla="*/ 168 h 183"/>
                <a:gd name="T78" fmla="*/ 64 w 258"/>
                <a:gd name="T79" fmla="*/ 158 h 183"/>
                <a:gd name="T80" fmla="*/ 80 w 258"/>
                <a:gd name="T81" fmla="*/ 156 h 183"/>
                <a:gd name="T82" fmla="*/ 86 w 258"/>
                <a:gd name="T83" fmla="*/ 135 h 183"/>
                <a:gd name="T84" fmla="*/ 76 w 258"/>
                <a:gd name="T85" fmla="*/ 102 h 183"/>
                <a:gd name="T86" fmla="*/ 90 w 258"/>
                <a:gd name="T87" fmla="*/ 89 h 183"/>
                <a:gd name="T88" fmla="*/ 106 w 258"/>
                <a:gd name="T89" fmla="*/ 65 h 183"/>
                <a:gd name="T90" fmla="*/ 132 w 258"/>
                <a:gd name="T91" fmla="*/ 39 h 183"/>
                <a:gd name="T92" fmla="*/ 150 w 258"/>
                <a:gd name="T93" fmla="*/ 27 h 183"/>
                <a:gd name="T94" fmla="*/ 174 w 258"/>
                <a:gd name="T95" fmla="*/ 29 h 183"/>
                <a:gd name="T96" fmla="*/ 205 w 258"/>
                <a:gd name="T97" fmla="*/ 29 h 183"/>
                <a:gd name="T98" fmla="*/ 240 w 258"/>
                <a:gd name="T99" fmla="*/ 18 h 183"/>
                <a:gd name="T100" fmla="*/ 258 w 258"/>
                <a:gd name="T101" fmla="*/ 21 h 183"/>
                <a:gd name="T102" fmla="*/ 246 w 258"/>
                <a:gd name="T103" fmla="*/ 17 h 183"/>
                <a:gd name="T104" fmla="*/ 248 w 258"/>
                <a:gd name="T105" fmla="*/ 5 h 183"/>
                <a:gd name="T106" fmla="*/ 229 w 258"/>
                <a:gd name="T107" fmla="*/ 12 h 183"/>
                <a:gd name="T108" fmla="*/ 224 w 258"/>
                <a:gd name="T109" fmla="*/ 0 h 183"/>
                <a:gd name="T110" fmla="*/ 208 w 258"/>
                <a:gd name="T111" fmla="*/ 3 h 183"/>
                <a:gd name="T112" fmla="*/ 198 w 258"/>
                <a:gd name="T113" fmla="*/ 3 h 183"/>
                <a:gd name="T114" fmla="*/ 178 w 258"/>
                <a:gd name="T115" fmla="*/ 12 h 183"/>
                <a:gd name="T116" fmla="*/ 160 w 258"/>
                <a:gd name="T117" fmla="*/ 12 h 183"/>
                <a:gd name="T118" fmla="*/ 159 w 258"/>
                <a:gd name="T119" fmla="*/ 16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" h="183">
                  <a:moveTo>
                    <a:pt x="152" y="18"/>
                  </a:moveTo>
                  <a:lnTo>
                    <a:pt x="152" y="20"/>
                  </a:lnTo>
                  <a:lnTo>
                    <a:pt x="147" y="23"/>
                  </a:lnTo>
                  <a:lnTo>
                    <a:pt x="148" y="15"/>
                  </a:lnTo>
                  <a:lnTo>
                    <a:pt x="147" y="20"/>
                  </a:lnTo>
                  <a:lnTo>
                    <a:pt x="144" y="21"/>
                  </a:lnTo>
                  <a:lnTo>
                    <a:pt x="142" y="16"/>
                  </a:lnTo>
                  <a:lnTo>
                    <a:pt x="139" y="20"/>
                  </a:lnTo>
                  <a:lnTo>
                    <a:pt x="140" y="23"/>
                  </a:lnTo>
                  <a:lnTo>
                    <a:pt x="133" y="22"/>
                  </a:lnTo>
                  <a:lnTo>
                    <a:pt x="134" y="23"/>
                  </a:lnTo>
                  <a:lnTo>
                    <a:pt x="129" y="22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4" y="32"/>
                  </a:lnTo>
                  <a:lnTo>
                    <a:pt x="112" y="34"/>
                  </a:lnTo>
                  <a:lnTo>
                    <a:pt x="124" y="35"/>
                  </a:lnTo>
                  <a:lnTo>
                    <a:pt x="123" y="38"/>
                  </a:lnTo>
                  <a:lnTo>
                    <a:pt x="115" y="38"/>
                  </a:lnTo>
                  <a:lnTo>
                    <a:pt x="114" y="39"/>
                  </a:lnTo>
                  <a:lnTo>
                    <a:pt x="112" y="41"/>
                  </a:lnTo>
                  <a:lnTo>
                    <a:pt x="111" y="44"/>
                  </a:lnTo>
                  <a:lnTo>
                    <a:pt x="108" y="40"/>
                  </a:lnTo>
                  <a:lnTo>
                    <a:pt x="105" y="41"/>
                  </a:lnTo>
                  <a:lnTo>
                    <a:pt x="97" y="46"/>
                  </a:lnTo>
                  <a:lnTo>
                    <a:pt x="108" y="45"/>
                  </a:lnTo>
                  <a:lnTo>
                    <a:pt x="104" y="47"/>
                  </a:lnTo>
                  <a:lnTo>
                    <a:pt x="105" y="50"/>
                  </a:lnTo>
                  <a:lnTo>
                    <a:pt x="98" y="50"/>
                  </a:lnTo>
                  <a:lnTo>
                    <a:pt x="98" y="52"/>
                  </a:lnTo>
                  <a:lnTo>
                    <a:pt x="105" y="54"/>
                  </a:lnTo>
                  <a:lnTo>
                    <a:pt x="96" y="54"/>
                  </a:lnTo>
                  <a:lnTo>
                    <a:pt x="88" y="58"/>
                  </a:lnTo>
                  <a:lnTo>
                    <a:pt x="82" y="62"/>
                  </a:lnTo>
                  <a:lnTo>
                    <a:pt x="84" y="62"/>
                  </a:lnTo>
                  <a:lnTo>
                    <a:pt x="80" y="65"/>
                  </a:lnTo>
                  <a:lnTo>
                    <a:pt x="82" y="65"/>
                  </a:lnTo>
                  <a:lnTo>
                    <a:pt x="90" y="66"/>
                  </a:lnTo>
                  <a:lnTo>
                    <a:pt x="80" y="69"/>
                  </a:lnTo>
                  <a:lnTo>
                    <a:pt x="76" y="72"/>
                  </a:lnTo>
                  <a:lnTo>
                    <a:pt x="78" y="76"/>
                  </a:lnTo>
                  <a:lnTo>
                    <a:pt x="78" y="80"/>
                  </a:lnTo>
                  <a:lnTo>
                    <a:pt x="80" y="80"/>
                  </a:lnTo>
                  <a:lnTo>
                    <a:pt x="67" y="84"/>
                  </a:lnTo>
                  <a:lnTo>
                    <a:pt x="67" y="86"/>
                  </a:lnTo>
                  <a:lnTo>
                    <a:pt x="72" y="83"/>
                  </a:lnTo>
                  <a:lnTo>
                    <a:pt x="69" y="89"/>
                  </a:lnTo>
                  <a:lnTo>
                    <a:pt x="63" y="90"/>
                  </a:lnTo>
                  <a:lnTo>
                    <a:pt x="60" y="92"/>
                  </a:lnTo>
                  <a:lnTo>
                    <a:pt x="52" y="98"/>
                  </a:lnTo>
                  <a:lnTo>
                    <a:pt x="50" y="101"/>
                  </a:lnTo>
                  <a:lnTo>
                    <a:pt x="54" y="104"/>
                  </a:lnTo>
                  <a:lnTo>
                    <a:pt x="60" y="100"/>
                  </a:lnTo>
                  <a:lnTo>
                    <a:pt x="64" y="98"/>
                  </a:lnTo>
                  <a:lnTo>
                    <a:pt x="64" y="101"/>
                  </a:lnTo>
                  <a:lnTo>
                    <a:pt x="56" y="106"/>
                  </a:lnTo>
                  <a:lnTo>
                    <a:pt x="51" y="106"/>
                  </a:lnTo>
                  <a:lnTo>
                    <a:pt x="43" y="105"/>
                  </a:lnTo>
                  <a:lnTo>
                    <a:pt x="42" y="106"/>
                  </a:lnTo>
                  <a:lnTo>
                    <a:pt x="37" y="108"/>
                  </a:lnTo>
                  <a:lnTo>
                    <a:pt x="33" y="112"/>
                  </a:lnTo>
                  <a:lnTo>
                    <a:pt x="34" y="113"/>
                  </a:lnTo>
                  <a:lnTo>
                    <a:pt x="32" y="112"/>
                  </a:lnTo>
                  <a:lnTo>
                    <a:pt x="34" y="116"/>
                  </a:lnTo>
                  <a:lnTo>
                    <a:pt x="20" y="112"/>
                  </a:lnTo>
                  <a:lnTo>
                    <a:pt x="19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4" y="118"/>
                  </a:lnTo>
                  <a:lnTo>
                    <a:pt x="14" y="119"/>
                  </a:lnTo>
                  <a:lnTo>
                    <a:pt x="21" y="123"/>
                  </a:lnTo>
                  <a:lnTo>
                    <a:pt x="20" y="12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8" y="123"/>
                  </a:lnTo>
                  <a:lnTo>
                    <a:pt x="9" y="125"/>
                  </a:lnTo>
                  <a:lnTo>
                    <a:pt x="3" y="125"/>
                  </a:lnTo>
                  <a:lnTo>
                    <a:pt x="0" y="125"/>
                  </a:lnTo>
                  <a:lnTo>
                    <a:pt x="0" y="128"/>
                  </a:lnTo>
                  <a:lnTo>
                    <a:pt x="15" y="129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" y="135"/>
                  </a:lnTo>
                  <a:lnTo>
                    <a:pt x="2" y="135"/>
                  </a:lnTo>
                  <a:lnTo>
                    <a:pt x="0" y="138"/>
                  </a:lnTo>
                  <a:lnTo>
                    <a:pt x="15" y="137"/>
                  </a:lnTo>
                  <a:lnTo>
                    <a:pt x="24" y="136"/>
                  </a:lnTo>
                  <a:lnTo>
                    <a:pt x="25" y="135"/>
                  </a:lnTo>
                  <a:lnTo>
                    <a:pt x="26" y="140"/>
                  </a:lnTo>
                  <a:lnTo>
                    <a:pt x="22" y="141"/>
                  </a:lnTo>
                  <a:lnTo>
                    <a:pt x="14" y="140"/>
                  </a:lnTo>
                  <a:lnTo>
                    <a:pt x="0" y="141"/>
                  </a:lnTo>
                  <a:lnTo>
                    <a:pt x="2" y="143"/>
                  </a:lnTo>
                  <a:lnTo>
                    <a:pt x="2" y="144"/>
                  </a:lnTo>
                  <a:lnTo>
                    <a:pt x="0" y="144"/>
                  </a:lnTo>
                  <a:lnTo>
                    <a:pt x="7" y="146"/>
                  </a:lnTo>
                  <a:lnTo>
                    <a:pt x="4" y="149"/>
                  </a:lnTo>
                  <a:lnTo>
                    <a:pt x="1" y="152"/>
                  </a:lnTo>
                  <a:lnTo>
                    <a:pt x="7" y="152"/>
                  </a:lnTo>
                  <a:lnTo>
                    <a:pt x="9" y="154"/>
                  </a:lnTo>
                  <a:lnTo>
                    <a:pt x="14" y="149"/>
                  </a:lnTo>
                  <a:lnTo>
                    <a:pt x="19" y="148"/>
                  </a:lnTo>
                  <a:lnTo>
                    <a:pt x="15" y="153"/>
                  </a:lnTo>
                  <a:lnTo>
                    <a:pt x="15" y="149"/>
                  </a:lnTo>
                  <a:lnTo>
                    <a:pt x="9" y="159"/>
                  </a:lnTo>
                  <a:lnTo>
                    <a:pt x="10" y="159"/>
                  </a:lnTo>
                  <a:lnTo>
                    <a:pt x="4" y="161"/>
                  </a:lnTo>
                  <a:lnTo>
                    <a:pt x="4" y="166"/>
                  </a:lnTo>
                  <a:lnTo>
                    <a:pt x="9" y="164"/>
                  </a:lnTo>
                  <a:lnTo>
                    <a:pt x="13" y="162"/>
                  </a:lnTo>
                  <a:lnTo>
                    <a:pt x="13" y="166"/>
                  </a:lnTo>
                  <a:lnTo>
                    <a:pt x="13" y="170"/>
                  </a:lnTo>
                  <a:lnTo>
                    <a:pt x="8" y="171"/>
                  </a:lnTo>
                  <a:lnTo>
                    <a:pt x="8" y="178"/>
                  </a:lnTo>
                  <a:lnTo>
                    <a:pt x="18" y="183"/>
                  </a:lnTo>
                  <a:lnTo>
                    <a:pt x="33" y="183"/>
                  </a:lnTo>
                  <a:lnTo>
                    <a:pt x="52" y="168"/>
                  </a:lnTo>
                  <a:lnTo>
                    <a:pt x="60" y="168"/>
                  </a:lnTo>
                  <a:lnTo>
                    <a:pt x="61" y="160"/>
                  </a:lnTo>
                  <a:lnTo>
                    <a:pt x="64" y="158"/>
                  </a:lnTo>
                  <a:lnTo>
                    <a:pt x="67" y="167"/>
                  </a:lnTo>
                  <a:lnTo>
                    <a:pt x="73" y="171"/>
                  </a:lnTo>
                  <a:lnTo>
                    <a:pt x="80" y="156"/>
                  </a:lnTo>
                  <a:lnTo>
                    <a:pt x="81" y="143"/>
                  </a:lnTo>
                  <a:lnTo>
                    <a:pt x="81" y="140"/>
                  </a:lnTo>
                  <a:lnTo>
                    <a:pt x="86" y="135"/>
                  </a:lnTo>
                  <a:lnTo>
                    <a:pt x="78" y="130"/>
                  </a:lnTo>
                  <a:lnTo>
                    <a:pt x="76" y="116"/>
                  </a:lnTo>
                  <a:lnTo>
                    <a:pt x="76" y="102"/>
                  </a:lnTo>
                  <a:lnTo>
                    <a:pt x="86" y="96"/>
                  </a:lnTo>
                  <a:lnTo>
                    <a:pt x="96" y="95"/>
                  </a:lnTo>
                  <a:lnTo>
                    <a:pt x="90" y="89"/>
                  </a:lnTo>
                  <a:lnTo>
                    <a:pt x="98" y="71"/>
                  </a:lnTo>
                  <a:lnTo>
                    <a:pt x="97" y="68"/>
                  </a:lnTo>
                  <a:lnTo>
                    <a:pt x="106" y="65"/>
                  </a:lnTo>
                  <a:lnTo>
                    <a:pt x="111" y="57"/>
                  </a:lnTo>
                  <a:lnTo>
                    <a:pt x="117" y="42"/>
                  </a:lnTo>
                  <a:lnTo>
                    <a:pt x="132" y="39"/>
                  </a:lnTo>
                  <a:lnTo>
                    <a:pt x="133" y="34"/>
                  </a:lnTo>
                  <a:lnTo>
                    <a:pt x="151" y="34"/>
                  </a:lnTo>
                  <a:lnTo>
                    <a:pt x="150" y="27"/>
                  </a:lnTo>
                  <a:lnTo>
                    <a:pt x="154" y="27"/>
                  </a:lnTo>
                  <a:lnTo>
                    <a:pt x="162" y="23"/>
                  </a:lnTo>
                  <a:lnTo>
                    <a:pt x="174" y="29"/>
                  </a:lnTo>
                  <a:lnTo>
                    <a:pt x="186" y="32"/>
                  </a:lnTo>
                  <a:lnTo>
                    <a:pt x="199" y="33"/>
                  </a:lnTo>
                  <a:lnTo>
                    <a:pt x="205" y="29"/>
                  </a:lnTo>
                  <a:lnTo>
                    <a:pt x="208" y="18"/>
                  </a:lnTo>
                  <a:lnTo>
                    <a:pt x="223" y="14"/>
                  </a:lnTo>
                  <a:lnTo>
                    <a:pt x="240" y="18"/>
                  </a:lnTo>
                  <a:lnTo>
                    <a:pt x="241" y="27"/>
                  </a:lnTo>
                  <a:lnTo>
                    <a:pt x="252" y="21"/>
                  </a:lnTo>
                  <a:lnTo>
                    <a:pt x="258" y="21"/>
                  </a:lnTo>
                  <a:lnTo>
                    <a:pt x="258" y="16"/>
                  </a:lnTo>
                  <a:lnTo>
                    <a:pt x="252" y="16"/>
                  </a:lnTo>
                  <a:lnTo>
                    <a:pt x="246" y="17"/>
                  </a:lnTo>
                  <a:lnTo>
                    <a:pt x="237" y="12"/>
                  </a:lnTo>
                  <a:lnTo>
                    <a:pt x="258" y="10"/>
                  </a:lnTo>
                  <a:lnTo>
                    <a:pt x="248" y="5"/>
                  </a:lnTo>
                  <a:lnTo>
                    <a:pt x="238" y="4"/>
                  </a:lnTo>
                  <a:lnTo>
                    <a:pt x="230" y="5"/>
                  </a:lnTo>
                  <a:lnTo>
                    <a:pt x="229" y="12"/>
                  </a:lnTo>
                  <a:lnTo>
                    <a:pt x="228" y="8"/>
                  </a:lnTo>
                  <a:lnTo>
                    <a:pt x="226" y="5"/>
                  </a:lnTo>
                  <a:lnTo>
                    <a:pt x="224" y="0"/>
                  </a:lnTo>
                  <a:lnTo>
                    <a:pt x="218" y="3"/>
                  </a:lnTo>
                  <a:lnTo>
                    <a:pt x="212" y="9"/>
                  </a:lnTo>
                  <a:lnTo>
                    <a:pt x="208" y="3"/>
                  </a:lnTo>
                  <a:lnTo>
                    <a:pt x="196" y="12"/>
                  </a:lnTo>
                  <a:lnTo>
                    <a:pt x="201" y="4"/>
                  </a:lnTo>
                  <a:lnTo>
                    <a:pt x="198" y="3"/>
                  </a:lnTo>
                  <a:lnTo>
                    <a:pt x="190" y="3"/>
                  </a:lnTo>
                  <a:lnTo>
                    <a:pt x="190" y="5"/>
                  </a:lnTo>
                  <a:lnTo>
                    <a:pt x="178" y="12"/>
                  </a:lnTo>
                  <a:lnTo>
                    <a:pt x="171" y="12"/>
                  </a:lnTo>
                  <a:lnTo>
                    <a:pt x="172" y="11"/>
                  </a:lnTo>
                  <a:lnTo>
                    <a:pt x="160" y="12"/>
                  </a:lnTo>
                  <a:lnTo>
                    <a:pt x="168" y="14"/>
                  </a:lnTo>
                  <a:lnTo>
                    <a:pt x="166" y="16"/>
                  </a:lnTo>
                  <a:lnTo>
                    <a:pt x="159" y="16"/>
                  </a:lnTo>
                  <a:lnTo>
                    <a:pt x="152" y="18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43" name="Freeform 378">
              <a:extLst>
                <a:ext uri="{FF2B5EF4-FFF2-40B4-BE49-F238E27FC236}">
                  <a16:creationId xmlns:a16="http://schemas.microsoft.com/office/drawing/2014/main" id="{38C97531-4279-4842-87C3-6C84106FD9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70145" y="1740952"/>
              <a:ext cx="203591" cy="93251"/>
            </a:xfrm>
            <a:custGeom>
              <a:avLst/>
              <a:gdLst>
                <a:gd name="T0" fmla="*/ 23 w 96"/>
                <a:gd name="T1" fmla="*/ 3 h 42"/>
                <a:gd name="T2" fmla="*/ 10 w 96"/>
                <a:gd name="T3" fmla="*/ 3 h 42"/>
                <a:gd name="T4" fmla="*/ 0 w 96"/>
                <a:gd name="T5" fmla="*/ 5 h 42"/>
                <a:gd name="T6" fmla="*/ 2 w 96"/>
                <a:gd name="T7" fmla="*/ 9 h 42"/>
                <a:gd name="T8" fmla="*/ 10 w 96"/>
                <a:gd name="T9" fmla="*/ 9 h 42"/>
                <a:gd name="T10" fmla="*/ 10 w 96"/>
                <a:gd name="T11" fmla="*/ 12 h 42"/>
                <a:gd name="T12" fmla="*/ 4 w 96"/>
                <a:gd name="T13" fmla="*/ 13 h 42"/>
                <a:gd name="T14" fmla="*/ 15 w 96"/>
                <a:gd name="T15" fmla="*/ 18 h 42"/>
                <a:gd name="T16" fmla="*/ 26 w 96"/>
                <a:gd name="T17" fmla="*/ 21 h 42"/>
                <a:gd name="T18" fmla="*/ 33 w 96"/>
                <a:gd name="T19" fmla="*/ 19 h 42"/>
                <a:gd name="T20" fmla="*/ 39 w 96"/>
                <a:gd name="T21" fmla="*/ 15 h 42"/>
                <a:gd name="T22" fmla="*/ 40 w 96"/>
                <a:gd name="T23" fmla="*/ 18 h 42"/>
                <a:gd name="T24" fmla="*/ 51 w 96"/>
                <a:gd name="T25" fmla="*/ 15 h 42"/>
                <a:gd name="T26" fmla="*/ 52 w 96"/>
                <a:gd name="T27" fmla="*/ 19 h 42"/>
                <a:gd name="T28" fmla="*/ 29 w 96"/>
                <a:gd name="T29" fmla="*/ 23 h 42"/>
                <a:gd name="T30" fmla="*/ 27 w 96"/>
                <a:gd name="T31" fmla="*/ 26 h 42"/>
                <a:gd name="T32" fmla="*/ 54 w 96"/>
                <a:gd name="T33" fmla="*/ 26 h 42"/>
                <a:gd name="T34" fmla="*/ 44 w 96"/>
                <a:gd name="T35" fmla="*/ 27 h 42"/>
                <a:gd name="T36" fmla="*/ 48 w 96"/>
                <a:gd name="T37" fmla="*/ 30 h 42"/>
                <a:gd name="T38" fmla="*/ 32 w 96"/>
                <a:gd name="T39" fmla="*/ 31 h 42"/>
                <a:gd name="T40" fmla="*/ 50 w 96"/>
                <a:gd name="T41" fmla="*/ 37 h 42"/>
                <a:gd name="T42" fmla="*/ 57 w 96"/>
                <a:gd name="T43" fmla="*/ 42 h 42"/>
                <a:gd name="T44" fmla="*/ 59 w 96"/>
                <a:gd name="T45" fmla="*/ 38 h 42"/>
                <a:gd name="T46" fmla="*/ 68 w 96"/>
                <a:gd name="T47" fmla="*/ 30 h 42"/>
                <a:gd name="T48" fmla="*/ 72 w 96"/>
                <a:gd name="T49" fmla="*/ 24 h 42"/>
                <a:gd name="T50" fmla="*/ 75 w 96"/>
                <a:gd name="T51" fmla="*/ 20 h 42"/>
                <a:gd name="T52" fmla="*/ 96 w 96"/>
                <a:gd name="T53" fmla="*/ 15 h 42"/>
                <a:gd name="T54" fmla="*/ 71 w 96"/>
                <a:gd name="T55" fmla="*/ 11 h 42"/>
                <a:gd name="T56" fmla="*/ 69 w 96"/>
                <a:gd name="T57" fmla="*/ 6 h 42"/>
                <a:gd name="T58" fmla="*/ 62 w 96"/>
                <a:gd name="T59" fmla="*/ 7 h 42"/>
                <a:gd name="T60" fmla="*/ 60 w 96"/>
                <a:gd name="T61" fmla="*/ 5 h 42"/>
                <a:gd name="T62" fmla="*/ 48 w 96"/>
                <a:gd name="T63" fmla="*/ 0 h 42"/>
                <a:gd name="T64" fmla="*/ 50 w 96"/>
                <a:gd name="T65" fmla="*/ 13 h 42"/>
                <a:gd name="T66" fmla="*/ 34 w 96"/>
                <a:gd name="T67" fmla="*/ 3 h 42"/>
                <a:gd name="T68" fmla="*/ 27 w 96"/>
                <a:gd name="T69" fmla="*/ 7 h 42"/>
                <a:gd name="T70" fmla="*/ 20 w 96"/>
                <a:gd name="T71" fmla="*/ 5 h 42"/>
                <a:gd name="T72" fmla="*/ 23 w 96"/>
                <a:gd name="T73" fmla="*/ 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6" h="42">
                  <a:moveTo>
                    <a:pt x="23" y="3"/>
                  </a:moveTo>
                  <a:lnTo>
                    <a:pt x="10" y="3"/>
                  </a:lnTo>
                  <a:lnTo>
                    <a:pt x="0" y="5"/>
                  </a:lnTo>
                  <a:lnTo>
                    <a:pt x="2" y="9"/>
                  </a:lnTo>
                  <a:lnTo>
                    <a:pt x="10" y="9"/>
                  </a:lnTo>
                  <a:lnTo>
                    <a:pt x="10" y="12"/>
                  </a:lnTo>
                  <a:lnTo>
                    <a:pt x="4" y="13"/>
                  </a:lnTo>
                  <a:lnTo>
                    <a:pt x="15" y="18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9" y="15"/>
                  </a:lnTo>
                  <a:lnTo>
                    <a:pt x="40" y="18"/>
                  </a:lnTo>
                  <a:lnTo>
                    <a:pt x="51" y="15"/>
                  </a:lnTo>
                  <a:lnTo>
                    <a:pt x="52" y="19"/>
                  </a:lnTo>
                  <a:lnTo>
                    <a:pt x="29" y="23"/>
                  </a:lnTo>
                  <a:lnTo>
                    <a:pt x="27" y="26"/>
                  </a:lnTo>
                  <a:lnTo>
                    <a:pt x="54" y="26"/>
                  </a:lnTo>
                  <a:lnTo>
                    <a:pt x="44" y="27"/>
                  </a:lnTo>
                  <a:lnTo>
                    <a:pt x="48" y="30"/>
                  </a:lnTo>
                  <a:lnTo>
                    <a:pt x="32" y="31"/>
                  </a:lnTo>
                  <a:lnTo>
                    <a:pt x="50" y="37"/>
                  </a:lnTo>
                  <a:lnTo>
                    <a:pt x="57" y="42"/>
                  </a:lnTo>
                  <a:lnTo>
                    <a:pt x="59" y="38"/>
                  </a:lnTo>
                  <a:lnTo>
                    <a:pt x="68" y="30"/>
                  </a:lnTo>
                  <a:lnTo>
                    <a:pt x="72" y="24"/>
                  </a:lnTo>
                  <a:lnTo>
                    <a:pt x="75" y="20"/>
                  </a:lnTo>
                  <a:lnTo>
                    <a:pt x="96" y="15"/>
                  </a:lnTo>
                  <a:lnTo>
                    <a:pt x="71" y="11"/>
                  </a:lnTo>
                  <a:lnTo>
                    <a:pt x="69" y="6"/>
                  </a:lnTo>
                  <a:lnTo>
                    <a:pt x="62" y="7"/>
                  </a:lnTo>
                  <a:lnTo>
                    <a:pt x="60" y="5"/>
                  </a:lnTo>
                  <a:lnTo>
                    <a:pt x="48" y="0"/>
                  </a:lnTo>
                  <a:lnTo>
                    <a:pt x="50" y="13"/>
                  </a:lnTo>
                  <a:lnTo>
                    <a:pt x="34" y="3"/>
                  </a:lnTo>
                  <a:lnTo>
                    <a:pt x="27" y="7"/>
                  </a:lnTo>
                  <a:lnTo>
                    <a:pt x="20" y="5"/>
                  </a:lnTo>
                  <a:lnTo>
                    <a:pt x="23" y="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44" name="Freeform 379">
              <a:extLst>
                <a:ext uri="{FF2B5EF4-FFF2-40B4-BE49-F238E27FC236}">
                  <a16:creationId xmlns:a16="http://schemas.microsoft.com/office/drawing/2014/main" id="{0726FE7B-8AD2-4937-91A8-D6799E1BF81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01433" y="1736984"/>
              <a:ext cx="175051" cy="25793"/>
            </a:xfrm>
            <a:custGeom>
              <a:avLst/>
              <a:gdLst>
                <a:gd name="T0" fmla="*/ 35 w 80"/>
                <a:gd name="T1" fmla="*/ 4 h 13"/>
                <a:gd name="T2" fmla="*/ 13 w 80"/>
                <a:gd name="T3" fmla="*/ 1 h 13"/>
                <a:gd name="T4" fmla="*/ 8 w 80"/>
                <a:gd name="T5" fmla="*/ 3 h 13"/>
                <a:gd name="T6" fmla="*/ 0 w 80"/>
                <a:gd name="T7" fmla="*/ 4 h 13"/>
                <a:gd name="T8" fmla="*/ 0 w 80"/>
                <a:gd name="T9" fmla="*/ 6 h 13"/>
                <a:gd name="T10" fmla="*/ 32 w 80"/>
                <a:gd name="T11" fmla="*/ 7 h 13"/>
                <a:gd name="T12" fmla="*/ 17 w 80"/>
                <a:gd name="T13" fmla="*/ 10 h 13"/>
                <a:gd name="T14" fmla="*/ 42 w 80"/>
                <a:gd name="T15" fmla="*/ 13 h 13"/>
                <a:gd name="T16" fmla="*/ 68 w 80"/>
                <a:gd name="T17" fmla="*/ 11 h 13"/>
                <a:gd name="T18" fmla="*/ 80 w 80"/>
                <a:gd name="T19" fmla="*/ 6 h 13"/>
                <a:gd name="T20" fmla="*/ 73 w 80"/>
                <a:gd name="T21" fmla="*/ 3 h 13"/>
                <a:gd name="T22" fmla="*/ 48 w 80"/>
                <a:gd name="T23" fmla="*/ 3 h 13"/>
                <a:gd name="T24" fmla="*/ 44 w 80"/>
                <a:gd name="T25" fmla="*/ 1 h 13"/>
                <a:gd name="T26" fmla="*/ 39 w 80"/>
                <a:gd name="T27" fmla="*/ 0 h 13"/>
                <a:gd name="T28" fmla="*/ 36 w 80"/>
                <a:gd name="T29" fmla="*/ 1 h 13"/>
                <a:gd name="T30" fmla="*/ 35 w 80"/>
                <a:gd name="T3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" h="13">
                  <a:moveTo>
                    <a:pt x="35" y="4"/>
                  </a:moveTo>
                  <a:lnTo>
                    <a:pt x="13" y="1"/>
                  </a:lnTo>
                  <a:lnTo>
                    <a:pt x="8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32" y="7"/>
                  </a:lnTo>
                  <a:lnTo>
                    <a:pt x="17" y="10"/>
                  </a:lnTo>
                  <a:lnTo>
                    <a:pt x="42" y="13"/>
                  </a:lnTo>
                  <a:lnTo>
                    <a:pt x="68" y="11"/>
                  </a:lnTo>
                  <a:lnTo>
                    <a:pt x="80" y="6"/>
                  </a:lnTo>
                  <a:lnTo>
                    <a:pt x="73" y="3"/>
                  </a:lnTo>
                  <a:lnTo>
                    <a:pt x="48" y="3"/>
                  </a:lnTo>
                  <a:lnTo>
                    <a:pt x="44" y="1"/>
                  </a:lnTo>
                  <a:lnTo>
                    <a:pt x="39" y="0"/>
                  </a:lnTo>
                  <a:lnTo>
                    <a:pt x="36" y="1"/>
                  </a:lnTo>
                  <a:lnTo>
                    <a:pt x="35" y="4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45" name="Freeform 380">
              <a:extLst>
                <a:ext uri="{FF2B5EF4-FFF2-40B4-BE49-F238E27FC236}">
                  <a16:creationId xmlns:a16="http://schemas.microsoft.com/office/drawing/2014/main" id="{E8248F11-4F5B-46EC-BEFC-C5C13478D1E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6126" y="1794521"/>
              <a:ext cx="79916" cy="17858"/>
            </a:xfrm>
            <a:custGeom>
              <a:avLst/>
              <a:gdLst>
                <a:gd name="T0" fmla="*/ 28 w 38"/>
                <a:gd name="T1" fmla="*/ 8 h 8"/>
                <a:gd name="T2" fmla="*/ 16 w 38"/>
                <a:gd name="T3" fmla="*/ 8 h 8"/>
                <a:gd name="T4" fmla="*/ 4 w 38"/>
                <a:gd name="T5" fmla="*/ 8 h 8"/>
                <a:gd name="T6" fmla="*/ 7 w 38"/>
                <a:gd name="T7" fmla="*/ 3 h 8"/>
                <a:gd name="T8" fmla="*/ 0 w 38"/>
                <a:gd name="T9" fmla="*/ 0 h 8"/>
                <a:gd name="T10" fmla="*/ 22 w 38"/>
                <a:gd name="T11" fmla="*/ 0 h 8"/>
                <a:gd name="T12" fmla="*/ 38 w 38"/>
                <a:gd name="T13" fmla="*/ 4 h 8"/>
                <a:gd name="T14" fmla="*/ 28 w 38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8">
                  <a:moveTo>
                    <a:pt x="28" y="8"/>
                  </a:moveTo>
                  <a:lnTo>
                    <a:pt x="16" y="8"/>
                  </a:lnTo>
                  <a:lnTo>
                    <a:pt x="4" y="8"/>
                  </a:lnTo>
                  <a:lnTo>
                    <a:pt x="7" y="3"/>
                  </a:lnTo>
                  <a:lnTo>
                    <a:pt x="0" y="0"/>
                  </a:lnTo>
                  <a:lnTo>
                    <a:pt x="22" y="0"/>
                  </a:lnTo>
                  <a:lnTo>
                    <a:pt x="38" y="4"/>
                  </a:lnTo>
                  <a:lnTo>
                    <a:pt x="28" y="8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46" name="Freeform 381">
              <a:extLst>
                <a:ext uri="{FF2B5EF4-FFF2-40B4-BE49-F238E27FC236}">
                  <a16:creationId xmlns:a16="http://schemas.microsoft.com/office/drawing/2014/main" id="{2E8776C2-F168-4CD0-9C7A-A79ED59F9FE9}"/>
                </a:ext>
              </a:extLst>
            </p:cNvPr>
            <p:cNvSpPr>
              <a:spLocks/>
            </p:cNvSpPr>
            <p:nvPr/>
          </p:nvSpPr>
          <p:spPr bwMode="gray">
            <a:xfrm>
              <a:off x="5097628" y="2054433"/>
              <a:ext cx="26639" cy="13889"/>
            </a:xfrm>
            <a:custGeom>
              <a:avLst/>
              <a:gdLst>
                <a:gd name="T0" fmla="*/ 7 w 13"/>
                <a:gd name="T1" fmla="*/ 0 h 7"/>
                <a:gd name="T2" fmla="*/ 3 w 13"/>
                <a:gd name="T3" fmla="*/ 6 h 7"/>
                <a:gd name="T4" fmla="*/ 0 w 13"/>
                <a:gd name="T5" fmla="*/ 7 h 7"/>
                <a:gd name="T6" fmla="*/ 5 w 13"/>
                <a:gd name="T7" fmla="*/ 6 h 7"/>
                <a:gd name="T8" fmla="*/ 7 w 13"/>
                <a:gd name="T9" fmla="*/ 7 h 7"/>
                <a:gd name="T10" fmla="*/ 13 w 13"/>
                <a:gd name="T11" fmla="*/ 1 h 7"/>
                <a:gd name="T12" fmla="*/ 9 w 13"/>
                <a:gd name="T13" fmla="*/ 4 h 7"/>
                <a:gd name="T14" fmla="*/ 7 w 13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7" y="0"/>
                  </a:moveTo>
                  <a:lnTo>
                    <a:pt x="3" y="6"/>
                  </a:lnTo>
                  <a:lnTo>
                    <a:pt x="0" y="7"/>
                  </a:lnTo>
                  <a:lnTo>
                    <a:pt x="5" y="6"/>
                  </a:lnTo>
                  <a:lnTo>
                    <a:pt x="7" y="7"/>
                  </a:lnTo>
                  <a:lnTo>
                    <a:pt x="13" y="1"/>
                  </a:lnTo>
                  <a:lnTo>
                    <a:pt x="9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47" name="Freeform 382">
              <a:extLst>
                <a:ext uri="{FF2B5EF4-FFF2-40B4-BE49-F238E27FC236}">
                  <a16:creationId xmlns:a16="http://schemas.microsoft.com/office/drawing/2014/main" id="{047A862B-7C64-4395-A70E-2710B5EFE51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1793" y="2018720"/>
              <a:ext cx="289214" cy="313480"/>
            </a:xfrm>
            <a:custGeom>
              <a:avLst/>
              <a:gdLst>
                <a:gd name="T0" fmla="*/ 114 w 136"/>
                <a:gd name="T1" fmla="*/ 76 h 142"/>
                <a:gd name="T2" fmla="*/ 111 w 136"/>
                <a:gd name="T3" fmla="*/ 72 h 142"/>
                <a:gd name="T4" fmla="*/ 110 w 136"/>
                <a:gd name="T5" fmla="*/ 60 h 142"/>
                <a:gd name="T6" fmla="*/ 96 w 136"/>
                <a:gd name="T7" fmla="*/ 44 h 142"/>
                <a:gd name="T8" fmla="*/ 102 w 136"/>
                <a:gd name="T9" fmla="*/ 33 h 142"/>
                <a:gd name="T10" fmla="*/ 87 w 136"/>
                <a:gd name="T11" fmla="*/ 25 h 142"/>
                <a:gd name="T12" fmla="*/ 86 w 136"/>
                <a:gd name="T13" fmla="*/ 15 h 142"/>
                <a:gd name="T14" fmla="*/ 87 w 136"/>
                <a:gd name="T15" fmla="*/ 13 h 142"/>
                <a:gd name="T16" fmla="*/ 86 w 136"/>
                <a:gd name="T17" fmla="*/ 4 h 142"/>
                <a:gd name="T18" fmla="*/ 69 w 136"/>
                <a:gd name="T19" fmla="*/ 0 h 142"/>
                <a:gd name="T20" fmla="*/ 54 w 136"/>
                <a:gd name="T21" fmla="*/ 4 h 142"/>
                <a:gd name="T22" fmla="*/ 51 w 136"/>
                <a:gd name="T23" fmla="*/ 15 h 142"/>
                <a:gd name="T24" fmla="*/ 45 w 136"/>
                <a:gd name="T25" fmla="*/ 19 h 142"/>
                <a:gd name="T26" fmla="*/ 32 w 136"/>
                <a:gd name="T27" fmla="*/ 18 h 142"/>
                <a:gd name="T28" fmla="*/ 20 w 136"/>
                <a:gd name="T29" fmla="*/ 15 h 142"/>
                <a:gd name="T30" fmla="*/ 8 w 136"/>
                <a:gd name="T31" fmla="*/ 9 h 142"/>
                <a:gd name="T32" fmla="*/ 0 w 136"/>
                <a:gd name="T33" fmla="*/ 13 h 142"/>
                <a:gd name="T34" fmla="*/ 30 w 136"/>
                <a:gd name="T35" fmla="*/ 25 h 142"/>
                <a:gd name="T36" fmla="*/ 41 w 136"/>
                <a:gd name="T37" fmla="*/ 44 h 142"/>
                <a:gd name="T38" fmla="*/ 46 w 136"/>
                <a:gd name="T39" fmla="*/ 57 h 142"/>
                <a:gd name="T40" fmla="*/ 51 w 136"/>
                <a:gd name="T41" fmla="*/ 57 h 142"/>
                <a:gd name="T42" fmla="*/ 57 w 136"/>
                <a:gd name="T43" fmla="*/ 61 h 142"/>
                <a:gd name="T44" fmla="*/ 59 w 136"/>
                <a:gd name="T45" fmla="*/ 70 h 142"/>
                <a:gd name="T46" fmla="*/ 41 w 136"/>
                <a:gd name="T47" fmla="*/ 85 h 142"/>
                <a:gd name="T48" fmla="*/ 33 w 136"/>
                <a:gd name="T49" fmla="*/ 93 h 142"/>
                <a:gd name="T50" fmla="*/ 24 w 136"/>
                <a:gd name="T51" fmla="*/ 97 h 142"/>
                <a:gd name="T52" fmla="*/ 26 w 136"/>
                <a:gd name="T53" fmla="*/ 114 h 142"/>
                <a:gd name="T54" fmla="*/ 29 w 136"/>
                <a:gd name="T55" fmla="*/ 132 h 142"/>
                <a:gd name="T56" fmla="*/ 42 w 136"/>
                <a:gd name="T57" fmla="*/ 135 h 142"/>
                <a:gd name="T58" fmla="*/ 42 w 136"/>
                <a:gd name="T59" fmla="*/ 138 h 142"/>
                <a:gd name="T60" fmla="*/ 47 w 136"/>
                <a:gd name="T61" fmla="*/ 136 h 142"/>
                <a:gd name="T62" fmla="*/ 51 w 136"/>
                <a:gd name="T63" fmla="*/ 142 h 142"/>
                <a:gd name="T64" fmla="*/ 54 w 136"/>
                <a:gd name="T65" fmla="*/ 141 h 142"/>
                <a:gd name="T66" fmla="*/ 82 w 136"/>
                <a:gd name="T67" fmla="*/ 135 h 142"/>
                <a:gd name="T68" fmla="*/ 88 w 136"/>
                <a:gd name="T69" fmla="*/ 133 h 142"/>
                <a:gd name="T70" fmla="*/ 102 w 136"/>
                <a:gd name="T71" fmla="*/ 133 h 142"/>
                <a:gd name="T72" fmla="*/ 111 w 136"/>
                <a:gd name="T73" fmla="*/ 124 h 142"/>
                <a:gd name="T74" fmla="*/ 119 w 136"/>
                <a:gd name="T75" fmla="*/ 116 h 142"/>
                <a:gd name="T76" fmla="*/ 128 w 136"/>
                <a:gd name="T77" fmla="*/ 108 h 142"/>
                <a:gd name="T78" fmla="*/ 136 w 136"/>
                <a:gd name="T79" fmla="*/ 99 h 142"/>
                <a:gd name="T80" fmla="*/ 116 w 136"/>
                <a:gd name="T81" fmla="*/ 87 h 142"/>
                <a:gd name="T82" fmla="*/ 122 w 136"/>
                <a:gd name="T83" fmla="*/ 84 h 142"/>
                <a:gd name="T84" fmla="*/ 114 w 136"/>
                <a:gd name="T85" fmla="*/ 7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" h="142">
                  <a:moveTo>
                    <a:pt x="114" y="76"/>
                  </a:moveTo>
                  <a:lnTo>
                    <a:pt x="111" y="72"/>
                  </a:lnTo>
                  <a:lnTo>
                    <a:pt x="110" y="60"/>
                  </a:lnTo>
                  <a:lnTo>
                    <a:pt x="96" y="44"/>
                  </a:lnTo>
                  <a:lnTo>
                    <a:pt x="102" y="33"/>
                  </a:lnTo>
                  <a:lnTo>
                    <a:pt x="87" y="25"/>
                  </a:lnTo>
                  <a:lnTo>
                    <a:pt x="86" y="15"/>
                  </a:lnTo>
                  <a:lnTo>
                    <a:pt x="87" y="13"/>
                  </a:lnTo>
                  <a:lnTo>
                    <a:pt x="86" y="4"/>
                  </a:lnTo>
                  <a:lnTo>
                    <a:pt x="69" y="0"/>
                  </a:lnTo>
                  <a:lnTo>
                    <a:pt x="54" y="4"/>
                  </a:lnTo>
                  <a:lnTo>
                    <a:pt x="51" y="15"/>
                  </a:lnTo>
                  <a:lnTo>
                    <a:pt x="45" y="19"/>
                  </a:lnTo>
                  <a:lnTo>
                    <a:pt x="32" y="18"/>
                  </a:lnTo>
                  <a:lnTo>
                    <a:pt x="20" y="15"/>
                  </a:lnTo>
                  <a:lnTo>
                    <a:pt x="8" y="9"/>
                  </a:lnTo>
                  <a:lnTo>
                    <a:pt x="0" y="13"/>
                  </a:lnTo>
                  <a:lnTo>
                    <a:pt x="30" y="25"/>
                  </a:lnTo>
                  <a:lnTo>
                    <a:pt x="41" y="44"/>
                  </a:lnTo>
                  <a:lnTo>
                    <a:pt x="46" y="57"/>
                  </a:lnTo>
                  <a:lnTo>
                    <a:pt x="51" y="57"/>
                  </a:lnTo>
                  <a:lnTo>
                    <a:pt x="57" y="61"/>
                  </a:lnTo>
                  <a:lnTo>
                    <a:pt x="59" y="70"/>
                  </a:lnTo>
                  <a:lnTo>
                    <a:pt x="41" y="85"/>
                  </a:lnTo>
                  <a:lnTo>
                    <a:pt x="33" y="93"/>
                  </a:lnTo>
                  <a:lnTo>
                    <a:pt x="24" y="97"/>
                  </a:lnTo>
                  <a:lnTo>
                    <a:pt x="26" y="114"/>
                  </a:lnTo>
                  <a:lnTo>
                    <a:pt x="29" y="132"/>
                  </a:lnTo>
                  <a:lnTo>
                    <a:pt x="42" y="135"/>
                  </a:lnTo>
                  <a:lnTo>
                    <a:pt x="42" y="138"/>
                  </a:lnTo>
                  <a:lnTo>
                    <a:pt x="47" y="136"/>
                  </a:lnTo>
                  <a:lnTo>
                    <a:pt x="51" y="142"/>
                  </a:lnTo>
                  <a:lnTo>
                    <a:pt x="54" y="141"/>
                  </a:lnTo>
                  <a:lnTo>
                    <a:pt x="82" y="135"/>
                  </a:lnTo>
                  <a:lnTo>
                    <a:pt x="88" y="133"/>
                  </a:lnTo>
                  <a:lnTo>
                    <a:pt x="102" y="133"/>
                  </a:lnTo>
                  <a:lnTo>
                    <a:pt x="111" y="124"/>
                  </a:lnTo>
                  <a:lnTo>
                    <a:pt x="119" y="116"/>
                  </a:lnTo>
                  <a:lnTo>
                    <a:pt x="128" y="108"/>
                  </a:lnTo>
                  <a:lnTo>
                    <a:pt x="136" y="99"/>
                  </a:lnTo>
                  <a:lnTo>
                    <a:pt x="116" y="87"/>
                  </a:lnTo>
                  <a:lnTo>
                    <a:pt x="122" y="84"/>
                  </a:lnTo>
                  <a:lnTo>
                    <a:pt x="114" y="7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48" name="Freeform 383">
              <a:extLst>
                <a:ext uri="{FF2B5EF4-FFF2-40B4-BE49-F238E27FC236}">
                  <a16:creationId xmlns:a16="http://schemas.microsoft.com/office/drawing/2014/main" id="{1DCC878B-16D1-43D9-9F0B-49CC550915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3908" y="2760755"/>
              <a:ext cx="7611" cy="9919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3 h 3"/>
                <a:gd name="T4" fmla="*/ 2 w 2"/>
                <a:gd name="T5" fmla="*/ 3 h 3"/>
                <a:gd name="T6" fmla="*/ 1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49" name="Freeform 384">
              <a:extLst>
                <a:ext uri="{FF2B5EF4-FFF2-40B4-BE49-F238E27FC236}">
                  <a16:creationId xmlns:a16="http://schemas.microsoft.com/office/drawing/2014/main" id="{8B23106A-87F6-4CD4-BFDE-8057C9DB3619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7714" y="2703218"/>
              <a:ext cx="199786" cy="85314"/>
            </a:xfrm>
            <a:custGeom>
              <a:avLst/>
              <a:gdLst>
                <a:gd name="T0" fmla="*/ 34 w 95"/>
                <a:gd name="T1" fmla="*/ 30 h 38"/>
                <a:gd name="T2" fmla="*/ 19 w 95"/>
                <a:gd name="T3" fmla="*/ 33 h 38"/>
                <a:gd name="T4" fmla="*/ 12 w 95"/>
                <a:gd name="T5" fmla="*/ 32 h 38"/>
                <a:gd name="T6" fmla="*/ 1 w 95"/>
                <a:gd name="T7" fmla="*/ 29 h 38"/>
                <a:gd name="T8" fmla="*/ 0 w 95"/>
                <a:gd name="T9" fmla="*/ 28 h 38"/>
                <a:gd name="T10" fmla="*/ 0 w 95"/>
                <a:gd name="T11" fmla="*/ 26 h 38"/>
                <a:gd name="T12" fmla="*/ 0 w 95"/>
                <a:gd name="T13" fmla="*/ 22 h 38"/>
                <a:gd name="T14" fmla="*/ 8 w 95"/>
                <a:gd name="T15" fmla="*/ 23 h 38"/>
                <a:gd name="T16" fmla="*/ 11 w 95"/>
                <a:gd name="T17" fmla="*/ 24 h 38"/>
                <a:gd name="T18" fmla="*/ 14 w 95"/>
                <a:gd name="T19" fmla="*/ 21 h 38"/>
                <a:gd name="T20" fmla="*/ 25 w 95"/>
                <a:gd name="T21" fmla="*/ 21 h 38"/>
                <a:gd name="T22" fmla="*/ 40 w 95"/>
                <a:gd name="T23" fmla="*/ 21 h 38"/>
                <a:gd name="T24" fmla="*/ 43 w 95"/>
                <a:gd name="T25" fmla="*/ 20 h 38"/>
                <a:gd name="T26" fmla="*/ 42 w 95"/>
                <a:gd name="T27" fmla="*/ 11 h 38"/>
                <a:gd name="T28" fmla="*/ 52 w 95"/>
                <a:gd name="T29" fmla="*/ 3 h 38"/>
                <a:gd name="T30" fmla="*/ 59 w 95"/>
                <a:gd name="T31" fmla="*/ 5 h 38"/>
                <a:gd name="T32" fmla="*/ 66 w 95"/>
                <a:gd name="T33" fmla="*/ 0 h 38"/>
                <a:gd name="T34" fmla="*/ 86 w 95"/>
                <a:gd name="T35" fmla="*/ 2 h 38"/>
                <a:gd name="T36" fmla="*/ 95 w 95"/>
                <a:gd name="T37" fmla="*/ 14 h 38"/>
                <a:gd name="T38" fmla="*/ 90 w 95"/>
                <a:gd name="T39" fmla="*/ 20 h 38"/>
                <a:gd name="T40" fmla="*/ 89 w 95"/>
                <a:gd name="T41" fmla="*/ 21 h 38"/>
                <a:gd name="T42" fmla="*/ 84 w 95"/>
                <a:gd name="T43" fmla="*/ 30 h 38"/>
                <a:gd name="T44" fmla="*/ 83 w 95"/>
                <a:gd name="T45" fmla="*/ 32 h 38"/>
                <a:gd name="T46" fmla="*/ 58 w 95"/>
                <a:gd name="T47" fmla="*/ 38 h 38"/>
                <a:gd name="T48" fmla="*/ 53 w 95"/>
                <a:gd name="T49" fmla="*/ 38 h 38"/>
                <a:gd name="T50" fmla="*/ 34 w 95"/>
                <a:gd name="T51" fmla="*/ 3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5" h="38">
                  <a:moveTo>
                    <a:pt x="34" y="30"/>
                  </a:moveTo>
                  <a:lnTo>
                    <a:pt x="19" y="33"/>
                  </a:lnTo>
                  <a:lnTo>
                    <a:pt x="12" y="32"/>
                  </a:lnTo>
                  <a:lnTo>
                    <a:pt x="1" y="29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8" y="23"/>
                  </a:lnTo>
                  <a:lnTo>
                    <a:pt x="11" y="24"/>
                  </a:lnTo>
                  <a:lnTo>
                    <a:pt x="14" y="21"/>
                  </a:lnTo>
                  <a:lnTo>
                    <a:pt x="25" y="21"/>
                  </a:lnTo>
                  <a:lnTo>
                    <a:pt x="40" y="21"/>
                  </a:lnTo>
                  <a:lnTo>
                    <a:pt x="43" y="20"/>
                  </a:lnTo>
                  <a:lnTo>
                    <a:pt x="42" y="11"/>
                  </a:lnTo>
                  <a:lnTo>
                    <a:pt x="52" y="3"/>
                  </a:lnTo>
                  <a:lnTo>
                    <a:pt x="59" y="5"/>
                  </a:lnTo>
                  <a:lnTo>
                    <a:pt x="66" y="0"/>
                  </a:lnTo>
                  <a:lnTo>
                    <a:pt x="86" y="2"/>
                  </a:lnTo>
                  <a:lnTo>
                    <a:pt x="95" y="14"/>
                  </a:lnTo>
                  <a:lnTo>
                    <a:pt x="90" y="20"/>
                  </a:lnTo>
                  <a:lnTo>
                    <a:pt x="89" y="21"/>
                  </a:lnTo>
                  <a:lnTo>
                    <a:pt x="84" y="30"/>
                  </a:lnTo>
                  <a:lnTo>
                    <a:pt x="83" y="32"/>
                  </a:lnTo>
                  <a:lnTo>
                    <a:pt x="58" y="38"/>
                  </a:lnTo>
                  <a:lnTo>
                    <a:pt x="53" y="38"/>
                  </a:lnTo>
                  <a:lnTo>
                    <a:pt x="34" y="3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50" name="Freeform 385">
              <a:extLst>
                <a:ext uri="{FF2B5EF4-FFF2-40B4-BE49-F238E27FC236}">
                  <a16:creationId xmlns:a16="http://schemas.microsoft.com/office/drawing/2014/main" id="{0C3949DE-6F67-4DF0-9694-AF3E970BFF3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7056" y="2828214"/>
              <a:ext cx="110358" cy="97218"/>
            </a:xfrm>
            <a:custGeom>
              <a:avLst/>
              <a:gdLst>
                <a:gd name="T0" fmla="*/ 46 w 52"/>
                <a:gd name="T1" fmla="*/ 6 h 43"/>
                <a:gd name="T2" fmla="*/ 47 w 52"/>
                <a:gd name="T3" fmla="*/ 8 h 43"/>
                <a:gd name="T4" fmla="*/ 46 w 52"/>
                <a:gd name="T5" fmla="*/ 11 h 43"/>
                <a:gd name="T6" fmla="*/ 44 w 52"/>
                <a:gd name="T7" fmla="*/ 13 h 43"/>
                <a:gd name="T8" fmla="*/ 44 w 52"/>
                <a:gd name="T9" fmla="*/ 14 h 43"/>
                <a:gd name="T10" fmla="*/ 46 w 52"/>
                <a:gd name="T11" fmla="*/ 17 h 43"/>
                <a:gd name="T12" fmla="*/ 52 w 52"/>
                <a:gd name="T13" fmla="*/ 20 h 43"/>
                <a:gd name="T14" fmla="*/ 47 w 52"/>
                <a:gd name="T15" fmla="*/ 21 h 43"/>
                <a:gd name="T16" fmla="*/ 51 w 52"/>
                <a:gd name="T17" fmla="*/ 24 h 43"/>
                <a:gd name="T18" fmla="*/ 51 w 52"/>
                <a:gd name="T19" fmla="*/ 27 h 43"/>
                <a:gd name="T20" fmla="*/ 44 w 52"/>
                <a:gd name="T21" fmla="*/ 29 h 43"/>
                <a:gd name="T22" fmla="*/ 46 w 52"/>
                <a:gd name="T23" fmla="*/ 31 h 43"/>
                <a:gd name="T24" fmla="*/ 45 w 52"/>
                <a:gd name="T25" fmla="*/ 33 h 43"/>
                <a:gd name="T26" fmla="*/ 42 w 52"/>
                <a:gd name="T27" fmla="*/ 31 h 43"/>
                <a:gd name="T28" fmla="*/ 39 w 52"/>
                <a:gd name="T29" fmla="*/ 36 h 43"/>
                <a:gd name="T30" fmla="*/ 38 w 52"/>
                <a:gd name="T31" fmla="*/ 37 h 43"/>
                <a:gd name="T32" fmla="*/ 41 w 52"/>
                <a:gd name="T33" fmla="*/ 42 h 43"/>
                <a:gd name="T34" fmla="*/ 38 w 52"/>
                <a:gd name="T35" fmla="*/ 43 h 43"/>
                <a:gd name="T36" fmla="*/ 35 w 52"/>
                <a:gd name="T37" fmla="*/ 42 h 43"/>
                <a:gd name="T38" fmla="*/ 32 w 52"/>
                <a:gd name="T39" fmla="*/ 38 h 43"/>
                <a:gd name="T40" fmla="*/ 28 w 52"/>
                <a:gd name="T41" fmla="*/ 37 h 43"/>
                <a:gd name="T42" fmla="*/ 28 w 52"/>
                <a:gd name="T43" fmla="*/ 36 h 43"/>
                <a:gd name="T44" fmla="*/ 22 w 52"/>
                <a:gd name="T45" fmla="*/ 31 h 43"/>
                <a:gd name="T46" fmla="*/ 22 w 52"/>
                <a:gd name="T47" fmla="*/ 29 h 43"/>
                <a:gd name="T48" fmla="*/ 18 w 52"/>
                <a:gd name="T49" fmla="*/ 27 h 43"/>
                <a:gd name="T50" fmla="*/ 8 w 52"/>
                <a:gd name="T51" fmla="*/ 18 h 43"/>
                <a:gd name="T52" fmla="*/ 9 w 52"/>
                <a:gd name="T53" fmla="*/ 18 h 43"/>
                <a:gd name="T54" fmla="*/ 6 w 52"/>
                <a:gd name="T55" fmla="*/ 17 h 43"/>
                <a:gd name="T56" fmla="*/ 4 w 52"/>
                <a:gd name="T57" fmla="*/ 9 h 43"/>
                <a:gd name="T58" fmla="*/ 0 w 52"/>
                <a:gd name="T59" fmla="*/ 8 h 43"/>
                <a:gd name="T60" fmla="*/ 0 w 52"/>
                <a:gd name="T61" fmla="*/ 1 h 43"/>
                <a:gd name="T62" fmla="*/ 4 w 52"/>
                <a:gd name="T63" fmla="*/ 1 h 43"/>
                <a:gd name="T64" fmla="*/ 8 w 52"/>
                <a:gd name="T65" fmla="*/ 5 h 43"/>
                <a:gd name="T66" fmla="*/ 10 w 52"/>
                <a:gd name="T67" fmla="*/ 0 h 43"/>
                <a:gd name="T68" fmla="*/ 15 w 52"/>
                <a:gd name="T69" fmla="*/ 0 h 43"/>
                <a:gd name="T70" fmla="*/ 18 w 52"/>
                <a:gd name="T71" fmla="*/ 2 h 43"/>
                <a:gd name="T72" fmla="*/ 27 w 52"/>
                <a:gd name="T73" fmla="*/ 3 h 43"/>
                <a:gd name="T74" fmla="*/ 28 w 52"/>
                <a:gd name="T75" fmla="*/ 2 h 43"/>
                <a:gd name="T76" fmla="*/ 30 w 52"/>
                <a:gd name="T77" fmla="*/ 3 h 43"/>
                <a:gd name="T78" fmla="*/ 32 w 52"/>
                <a:gd name="T79" fmla="*/ 2 h 43"/>
                <a:gd name="T80" fmla="*/ 35 w 52"/>
                <a:gd name="T81" fmla="*/ 3 h 43"/>
                <a:gd name="T82" fmla="*/ 38 w 52"/>
                <a:gd name="T83" fmla="*/ 2 h 43"/>
                <a:gd name="T84" fmla="*/ 40 w 52"/>
                <a:gd name="T85" fmla="*/ 6 h 43"/>
                <a:gd name="T86" fmla="*/ 42 w 52"/>
                <a:gd name="T87" fmla="*/ 6 h 43"/>
                <a:gd name="T88" fmla="*/ 46 w 52"/>
                <a:gd name="T89" fmla="*/ 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" h="43">
                  <a:moveTo>
                    <a:pt x="46" y="6"/>
                  </a:moveTo>
                  <a:lnTo>
                    <a:pt x="47" y="8"/>
                  </a:lnTo>
                  <a:lnTo>
                    <a:pt x="46" y="11"/>
                  </a:lnTo>
                  <a:lnTo>
                    <a:pt x="44" y="13"/>
                  </a:lnTo>
                  <a:lnTo>
                    <a:pt x="44" y="14"/>
                  </a:lnTo>
                  <a:lnTo>
                    <a:pt x="46" y="17"/>
                  </a:lnTo>
                  <a:lnTo>
                    <a:pt x="52" y="20"/>
                  </a:lnTo>
                  <a:lnTo>
                    <a:pt x="47" y="21"/>
                  </a:lnTo>
                  <a:lnTo>
                    <a:pt x="51" y="24"/>
                  </a:lnTo>
                  <a:lnTo>
                    <a:pt x="51" y="27"/>
                  </a:lnTo>
                  <a:lnTo>
                    <a:pt x="44" y="29"/>
                  </a:lnTo>
                  <a:lnTo>
                    <a:pt x="46" y="31"/>
                  </a:lnTo>
                  <a:lnTo>
                    <a:pt x="45" y="33"/>
                  </a:lnTo>
                  <a:lnTo>
                    <a:pt x="42" y="31"/>
                  </a:lnTo>
                  <a:lnTo>
                    <a:pt x="39" y="36"/>
                  </a:lnTo>
                  <a:lnTo>
                    <a:pt x="38" y="37"/>
                  </a:lnTo>
                  <a:lnTo>
                    <a:pt x="41" y="42"/>
                  </a:lnTo>
                  <a:lnTo>
                    <a:pt x="38" y="43"/>
                  </a:lnTo>
                  <a:lnTo>
                    <a:pt x="35" y="42"/>
                  </a:lnTo>
                  <a:lnTo>
                    <a:pt x="32" y="38"/>
                  </a:lnTo>
                  <a:lnTo>
                    <a:pt x="28" y="37"/>
                  </a:lnTo>
                  <a:lnTo>
                    <a:pt x="28" y="36"/>
                  </a:lnTo>
                  <a:lnTo>
                    <a:pt x="22" y="31"/>
                  </a:lnTo>
                  <a:lnTo>
                    <a:pt x="22" y="29"/>
                  </a:lnTo>
                  <a:lnTo>
                    <a:pt x="18" y="27"/>
                  </a:lnTo>
                  <a:lnTo>
                    <a:pt x="8" y="18"/>
                  </a:lnTo>
                  <a:lnTo>
                    <a:pt x="9" y="18"/>
                  </a:lnTo>
                  <a:lnTo>
                    <a:pt x="6" y="17"/>
                  </a:lnTo>
                  <a:lnTo>
                    <a:pt x="4" y="9"/>
                  </a:lnTo>
                  <a:lnTo>
                    <a:pt x="0" y="8"/>
                  </a:lnTo>
                  <a:lnTo>
                    <a:pt x="0" y="1"/>
                  </a:lnTo>
                  <a:lnTo>
                    <a:pt x="4" y="1"/>
                  </a:lnTo>
                  <a:lnTo>
                    <a:pt x="8" y="5"/>
                  </a:lnTo>
                  <a:lnTo>
                    <a:pt x="10" y="0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27" y="3"/>
                  </a:lnTo>
                  <a:lnTo>
                    <a:pt x="28" y="2"/>
                  </a:lnTo>
                  <a:lnTo>
                    <a:pt x="30" y="3"/>
                  </a:lnTo>
                  <a:lnTo>
                    <a:pt x="32" y="2"/>
                  </a:lnTo>
                  <a:lnTo>
                    <a:pt x="35" y="3"/>
                  </a:lnTo>
                  <a:lnTo>
                    <a:pt x="38" y="2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6" y="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51" name="Freeform 386">
              <a:extLst>
                <a:ext uri="{FF2B5EF4-FFF2-40B4-BE49-F238E27FC236}">
                  <a16:creationId xmlns:a16="http://schemas.microsoft.com/office/drawing/2014/main" id="{17391B20-DB6D-431F-BD0C-AFBA40E10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1877" y="2782581"/>
              <a:ext cx="156025" cy="128963"/>
            </a:xfrm>
            <a:custGeom>
              <a:avLst/>
              <a:gdLst>
                <a:gd name="T0" fmla="*/ 66 w 73"/>
                <a:gd name="T1" fmla="*/ 27 h 58"/>
                <a:gd name="T2" fmla="*/ 68 w 73"/>
                <a:gd name="T3" fmla="*/ 27 h 58"/>
                <a:gd name="T4" fmla="*/ 70 w 73"/>
                <a:gd name="T5" fmla="*/ 23 h 58"/>
                <a:gd name="T6" fmla="*/ 73 w 73"/>
                <a:gd name="T7" fmla="*/ 22 h 58"/>
                <a:gd name="T8" fmla="*/ 73 w 73"/>
                <a:gd name="T9" fmla="*/ 21 h 58"/>
                <a:gd name="T10" fmla="*/ 68 w 73"/>
                <a:gd name="T11" fmla="*/ 20 h 58"/>
                <a:gd name="T12" fmla="*/ 67 w 73"/>
                <a:gd name="T13" fmla="*/ 20 h 58"/>
                <a:gd name="T14" fmla="*/ 68 w 73"/>
                <a:gd name="T15" fmla="*/ 17 h 58"/>
                <a:gd name="T16" fmla="*/ 67 w 73"/>
                <a:gd name="T17" fmla="*/ 17 h 58"/>
                <a:gd name="T18" fmla="*/ 64 w 73"/>
                <a:gd name="T19" fmla="*/ 11 h 58"/>
                <a:gd name="T20" fmla="*/ 46 w 73"/>
                <a:gd name="T21" fmla="*/ 10 h 58"/>
                <a:gd name="T22" fmla="*/ 34 w 73"/>
                <a:gd name="T23" fmla="*/ 0 h 58"/>
                <a:gd name="T24" fmla="*/ 34 w 73"/>
                <a:gd name="T25" fmla="*/ 2 h 58"/>
                <a:gd name="T26" fmla="*/ 32 w 73"/>
                <a:gd name="T27" fmla="*/ 2 h 58"/>
                <a:gd name="T28" fmla="*/ 32 w 73"/>
                <a:gd name="T29" fmla="*/ 3 h 58"/>
                <a:gd name="T30" fmla="*/ 28 w 73"/>
                <a:gd name="T31" fmla="*/ 3 h 58"/>
                <a:gd name="T32" fmla="*/ 26 w 73"/>
                <a:gd name="T33" fmla="*/ 4 h 58"/>
                <a:gd name="T34" fmla="*/ 23 w 73"/>
                <a:gd name="T35" fmla="*/ 5 h 58"/>
                <a:gd name="T36" fmla="*/ 24 w 73"/>
                <a:gd name="T37" fmla="*/ 9 h 58"/>
                <a:gd name="T38" fmla="*/ 24 w 73"/>
                <a:gd name="T39" fmla="*/ 10 h 58"/>
                <a:gd name="T40" fmla="*/ 25 w 73"/>
                <a:gd name="T41" fmla="*/ 12 h 58"/>
                <a:gd name="T42" fmla="*/ 23 w 73"/>
                <a:gd name="T43" fmla="*/ 12 h 58"/>
                <a:gd name="T44" fmla="*/ 19 w 73"/>
                <a:gd name="T45" fmla="*/ 14 h 58"/>
                <a:gd name="T46" fmla="*/ 19 w 73"/>
                <a:gd name="T47" fmla="*/ 16 h 58"/>
                <a:gd name="T48" fmla="*/ 20 w 73"/>
                <a:gd name="T49" fmla="*/ 17 h 58"/>
                <a:gd name="T50" fmla="*/ 17 w 73"/>
                <a:gd name="T51" fmla="*/ 18 h 58"/>
                <a:gd name="T52" fmla="*/ 14 w 73"/>
                <a:gd name="T53" fmla="*/ 16 h 58"/>
                <a:gd name="T54" fmla="*/ 13 w 73"/>
                <a:gd name="T55" fmla="*/ 17 h 58"/>
                <a:gd name="T56" fmla="*/ 11 w 73"/>
                <a:gd name="T57" fmla="*/ 15 h 58"/>
                <a:gd name="T58" fmla="*/ 8 w 73"/>
                <a:gd name="T59" fmla="*/ 18 h 58"/>
                <a:gd name="T60" fmla="*/ 2 w 73"/>
                <a:gd name="T61" fmla="*/ 17 h 58"/>
                <a:gd name="T62" fmla="*/ 0 w 73"/>
                <a:gd name="T63" fmla="*/ 16 h 58"/>
                <a:gd name="T64" fmla="*/ 2 w 73"/>
                <a:gd name="T65" fmla="*/ 21 h 58"/>
                <a:gd name="T66" fmla="*/ 6 w 73"/>
                <a:gd name="T67" fmla="*/ 27 h 58"/>
                <a:gd name="T68" fmla="*/ 8 w 73"/>
                <a:gd name="T69" fmla="*/ 23 h 58"/>
                <a:gd name="T70" fmla="*/ 18 w 73"/>
                <a:gd name="T71" fmla="*/ 38 h 58"/>
                <a:gd name="T72" fmla="*/ 22 w 73"/>
                <a:gd name="T73" fmla="*/ 41 h 58"/>
                <a:gd name="T74" fmla="*/ 35 w 73"/>
                <a:gd name="T75" fmla="*/ 50 h 58"/>
                <a:gd name="T76" fmla="*/ 50 w 73"/>
                <a:gd name="T77" fmla="*/ 58 h 58"/>
                <a:gd name="T78" fmla="*/ 53 w 73"/>
                <a:gd name="T79" fmla="*/ 58 h 58"/>
                <a:gd name="T80" fmla="*/ 54 w 73"/>
                <a:gd name="T81" fmla="*/ 58 h 58"/>
                <a:gd name="T82" fmla="*/ 54 w 73"/>
                <a:gd name="T83" fmla="*/ 57 h 58"/>
                <a:gd name="T84" fmla="*/ 48 w 73"/>
                <a:gd name="T85" fmla="*/ 52 h 58"/>
                <a:gd name="T86" fmla="*/ 48 w 73"/>
                <a:gd name="T87" fmla="*/ 50 h 58"/>
                <a:gd name="T88" fmla="*/ 44 w 73"/>
                <a:gd name="T89" fmla="*/ 48 h 58"/>
                <a:gd name="T90" fmla="*/ 34 w 73"/>
                <a:gd name="T91" fmla="*/ 39 h 58"/>
                <a:gd name="T92" fmla="*/ 35 w 73"/>
                <a:gd name="T93" fmla="*/ 39 h 58"/>
                <a:gd name="T94" fmla="*/ 32 w 73"/>
                <a:gd name="T95" fmla="*/ 38 h 58"/>
                <a:gd name="T96" fmla="*/ 30 w 73"/>
                <a:gd name="T97" fmla="*/ 30 h 58"/>
                <a:gd name="T98" fmla="*/ 26 w 73"/>
                <a:gd name="T99" fmla="*/ 29 h 58"/>
                <a:gd name="T100" fmla="*/ 26 w 73"/>
                <a:gd name="T101" fmla="*/ 22 h 58"/>
                <a:gd name="T102" fmla="*/ 30 w 73"/>
                <a:gd name="T103" fmla="*/ 22 h 58"/>
                <a:gd name="T104" fmla="*/ 34 w 73"/>
                <a:gd name="T105" fmla="*/ 26 h 58"/>
                <a:gd name="T106" fmla="*/ 36 w 73"/>
                <a:gd name="T107" fmla="*/ 21 h 58"/>
                <a:gd name="T108" fmla="*/ 41 w 73"/>
                <a:gd name="T109" fmla="*/ 21 h 58"/>
                <a:gd name="T110" fmla="*/ 44 w 73"/>
                <a:gd name="T111" fmla="*/ 23 h 58"/>
                <a:gd name="T112" fmla="*/ 53 w 73"/>
                <a:gd name="T113" fmla="*/ 24 h 58"/>
                <a:gd name="T114" fmla="*/ 54 w 73"/>
                <a:gd name="T115" fmla="*/ 23 h 58"/>
                <a:gd name="T116" fmla="*/ 56 w 73"/>
                <a:gd name="T117" fmla="*/ 24 h 58"/>
                <a:gd name="T118" fmla="*/ 58 w 73"/>
                <a:gd name="T119" fmla="*/ 23 h 58"/>
                <a:gd name="T120" fmla="*/ 61 w 73"/>
                <a:gd name="T121" fmla="*/ 24 h 58"/>
                <a:gd name="T122" fmla="*/ 64 w 73"/>
                <a:gd name="T123" fmla="*/ 23 h 58"/>
                <a:gd name="T124" fmla="*/ 66 w 73"/>
                <a:gd name="T125" fmla="*/ 2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" h="58">
                  <a:moveTo>
                    <a:pt x="66" y="27"/>
                  </a:moveTo>
                  <a:lnTo>
                    <a:pt x="68" y="27"/>
                  </a:lnTo>
                  <a:lnTo>
                    <a:pt x="70" y="23"/>
                  </a:lnTo>
                  <a:lnTo>
                    <a:pt x="73" y="22"/>
                  </a:lnTo>
                  <a:lnTo>
                    <a:pt x="73" y="21"/>
                  </a:lnTo>
                  <a:lnTo>
                    <a:pt x="68" y="20"/>
                  </a:lnTo>
                  <a:lnTo>
                    <a:pt x="67" y="20"/>
                  </a:lnTo>
                  <a:lnTo>
                    <a:pt x="68" y="17"/>
                  </a:lnTo>
                  <a:lnTo>
                    <a:pt x="67" y="17"/>
                  </a:lnTo>
                  <a:lnTo>
                    <a:pt x="64" y="11"/>
                  </a:lnTo>
                  <a:lnTo>
                    <a:pt x="46" y="10"/>
                  </a:lnTo>
                  <a:lnTo>
                    <a:pt x="34" y="0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28" y="3"/>
                  </a:lnTo>
                  <a:lnTo>
                    <a:pt x="26" y="4"/>
                  </a:lnTo>
                  <a:lnTo>
                    <a:pt x="23" y="5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5" y="12"/>
                  </a:lnTo>
                  <a:lnTo>
                    <a:pt x="23" y="12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0" y="17"/>
                  </a:lnTo>
                  <a:lnTo>
                    <a:pt x="17" y="18"/>
                  </a:lnTo>
                  <a:lnTo>
                    <a:pt x="14" y="16"/>
                  </a:lnTo>
                  <a:lnTo>
                    <a:pt x="13" y="17"/>
                  </a:lnTo>
                  <a:lnTo>
                    <a:pt x="11" y="15"/>
                  </a:lnTo>
                  <a:lnTo>
                    <a:pt x="8" y="18"/>
                  </a:lnTo>
                  <a:lnTo>
                    <a:pt x="2" y="17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6" y="27"/>
                  </a:lnTo>
                  <a:lnTo>
                    <a:pt x="8" y="23"/>
                  </a:lnTo>
                  <a:lnTo>
                    <a:pt x="18" y="38"/>
                  </a:lnTo>
                  <a:lnTo>
                    <a:pt x="22" y="41"/>
                  </a:lnTo>
                  <a:lnTo>
                    <a:pt x="35" y="50"/>
                  </a:lnTo>
                  <a:lnTo>
                    <a:pt x="50" y="58"/>
                  </a:lnTo>
                  <a:lnTo>
                    <a:pt x="53" y="58"/>
                  </a:lnTo>
                  <a:lnTo>
                    <a:pt x="54" y="58"/>
                  </a:lnTo>
                  <a:lnTo>
                    <a:pt x="54" y="57"/>
                  </a:lnTo>
                  <a:lnTo>
                    <a:pt x="48" y="52"/>
                  </a:lnTo>
                  <a:lnTo>
                    <a:pt x="48" y="50"/>
                  </a:lnTo>
                  <a:lnTo>
                    <a:pt x="44" y="48"/>
                  </a:lnTo>
                  <a:lnTo>
                    <a:pt x="34" y="39"/>
                  </a:lnTo>
                  <a:lnTo>
                    <a:pt x="35" y="39"/>
                  </a:lnTo>
                  <a:lnTo>
                    <a:pt x="32" y="38"/>
                  </a:lnTo>
                  <a:lnTo>
                    <a:pt x="30" y="30"/>
                  </a:lnTo>
                  <a:lnTo>
                    <a:pt x="26" y="29"/>
                  </a:lnTo>
                  <a:lnTo>
                    <a:pt x="26" y="22"/>
                  </a:lnTo>
                  <a:lnTo>
                    <a:pt x="30" y="22"/>
                  </a:lnTo>
                  <a:lnTo>
                    <a:pt x="34" y="26"/>
                  </a:lnTo>
                  <a:lnTo>
                    <a:pt x="36" y="21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53" y="24"/>
                  </a:lnTo>
                  <a:lnTo>
                    <a:pt x="54" y="23"/>
                  </a:lnTo>
                  <a:lnTo>
                    <a:pt x="56" y="24"/>
                  </a:lnTo>
                  <a:lnTo>
                    <a:pt x="58" y="23"/>
                  </a:lnTo>
                  <a:lnTo>
                    <a:pt x="61" y="24"/>
                  </a:lnTo>
                  <a:lnTo>
                    <a:pt x="64" y="23"/>
                  </a:lnTo>
                  <a:lnTo>
                    <a:pt x="66" y="27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52" name="Freeform 387">
              <a:extLst>
                <a:ext uri="{FF2B5EF4-FFF2-40B4-BE49-F238E27FC236}">
                  <a16:creationId xmlns:a16="http://schemas.microsoft.com/office/drawing/2014/main" id="{75517AA2-3C5C-4E18-8BC3-EA156C9971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225110" y="2911543"/>
              <a:ext cx="41860" cy="17858"/>
            </a:xfrm>
            <a:custGeom>
              <a:avLst/>
              <a:gdLst>
                <a:gd name="T0" fmla="*/ 20 w 20"/>
                <a:gd name="T1" fmla="*/ 8 h 8"/>
                <a:gd name="T2" fmla="*/ 20 w 20"/>
                <a:gd name="T3" fmla="*/ 6 h 8"/>
                <a:gd name="T4" fmla="*/ 17 w 20"/>
                <a:gd name="T5" fmla="*/ 5 h 8"/>
                <a:gd name="T6" fmla="*/ 14 w 20"/>
                <a:gd name="T7" fmla="*/ 1 h 8"/>
                <a:gd name="T8" fmla="*/ 10 w 20"/>
                <a:gd name="T9" fmla="*/ 0 h 8"/>
                <a:gd name="T10" fmla="*/ 9 w 20"/>
                <a:gd name="T11" fmla="*/ 0 h 8"/>
                <a:gd name="T12" fmla="*/ 0 w 20"/>
                <a:gd name="T13" fmla="*/ 0 h 8"/>
                <a:gd name="T14" fmla="*/ 20 w 20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8">
                  <a:moveTo>
                    <a:pt x="20" y="8"/>
                  </a:moveTo>
                  <a:lnTo>
                    <a:pt x="20" y="6"/>
                  </a:lnTo>
                  <a:lnTo>
                    <a:pt x="17" y="5"/>
                  </a:lnTo>
                  <a:lnTo>
                    <a:pt x="14" y="1"/>
                  </a:lnTo>
                  <a:lnTo>
                    <a:pt x="10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20" y="8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53" name="Freeform 388">
              <a:extLst>
                <a:ext uri="{FF2B5EF4-FFF2-40B4-BE49-F238E27FC236}">
                  <a16:creationId xmlns:a16="http://schemas.microsoft.com/office/drawing/2014/main" id="{3BAE78C3-D2BC-4459-B5A4-EB47012416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7167" y="2627825"/>
              <a:ext cx="338687" cy="301576"/>
            </a:xfrm>
            <a:custGeom>
              <a:avLst/>
              <a:gdLst>
                <a:gd name="T0" fmla="*/ 156 w 161"/>
                <a:gd name="T1" fmla="*/ 109 h 136"/>
                <a:gd name="T2" fmla="*/ 156 w 161"/>
                <a:gd name="T3" fmla="*/ 115 h 136"/>
                <a:gd name="T4" fmla="*/ 155 w 161"/>
                <a:gd name="T5" fmla="*/ 115 h 136"/>
                <a:gd name="T6" fmla="*/ 155 w 161"/>
                <a:gd name="T7" fmla="*/ 116 h 136"/>
                <a:gd name="T8" fmla="*/ 142 w 161"/>
                <a:gd name="T9" fmla="*/ 126 h 136"/>
                <a:gd name="T10" fmla="*/ 125 w 161"/>
                <a:gd name="T11" fmla="*/ 121 h 136"/>
                <a:gd name="T12" fmla="*/ 121 w 161"/>
                <a:gd name="T13" fmla="*/ 118 h 136"/>
                <a:gd name="T14" fmla="*/ 119 w 161"/>
                <a:gd name="T15" fmla="*/ 121 h 136"/>
                <a:gd name="T16" fmla="*/ 108 w 161"/>
                <a:gd name="T17" fmla="*/ 120 h 136"/>
                <a:gd name="T18" fmla="*/ 101 w 161"/>
                <a:gd name="T19" fmla="*/ 126 h 136"/>
                <a:gd name="T20" fmla="*/ 102 w 161"/>
                <a:gd name="T21" fmla="*/ 136 h 136"/>
                <a:gd name="T22" fmla="*/ 83 w 161"/>
                <a:gd name="T23" fmla="*/ 135 h 136"/>
                <a:gd name="T24" fmla="*/ 83 w 161"/>
                <a:gd name="T25" fmla="*/ 133 h 136"/>
                <a:gd name="T26" fmla="*/ 79 w 161"/>
                <a:gd name="T27" fmla="*/ 134 h 136"/>
                <a:gd name="T28" fmla="*/ 43 w 161"/>
                <a:gd name="T29" fmla="*/ 126 h 136"/>
                <a:gd name="T30" fmla="*/ 37 w 161"/>
                <a:gd name="T31" fmla="*/ 121 h 136"/>
                <a:gd name="T32" fmla="*/ 42 w 161"/>
                <a:gd name="T33" fmla="*/ 112 h 136"/>
                <a:gd name="T34" fmla="*/ 44 w 161"/>
                <a:gd name="T35" fmla="*/ 100 h 136"/>
                <a:gd name="T36" fmla="*/ 46 w 161"/>
                <a:gd name="T37" fmla="*/ 87 h 136"/>
                <a:gd name="T38" fmla="*/ 52 w 161"/>
                <a:gd name="T39" fmla="*/ 94 h 136"/>
                <a:gd name="T40" fmla="*/ 46 w 161"/>
                <a:gd name="T41" fmla="*/ 82 h 136"/>
                <a:gd name="T42" fmla="*/ 46 w 161"/>
                <a:gd name="T43" fmla="*/ 78 h 136"/>
                <a:gd name="T44" fmla="*/ 40 w 161"/>
                <a:gd name="T45" fmla="*/ 73 h 136"/>
                <a:gd name="T46" fmla="*/ 35 w 161"/>
                <a:gd name="T47" fmla="*/ 62 h 136"/>
                <a:gd name="T48" fmla="*/ 36 w 161"/>
                <a:gd name="T49" fmla="*/ 60 h 136"/>
                <a:gd name="T50" fmla="*/ 29 w 161"/>
                <a:gd name="T51" fmla="*/ 57 h 136"/>
                <a:gd name="T52" fmla="*/ 20 w 161"/>
                <a:gd name="T53" fmla="*/ 55 h 136"/>
                <a:gd name="T54" fmla="*/ 10 w 161"/>
                <a:gd name="T55" fmla="*/ 50 h 136"/>
                <a:gd name="T56" fmla="*/ 4 w 161"/>
                <a:gd name="T57" fmla="*/ 48 h 136"/>
                <a:gd name="T58" fmla="*/ 5 w 161"/>
                <a:gd name="T59" fmla="*/ 44 h 136"/>
                <a:gd name="T60" fmla="*/ 6 w 161"/>
                <a:gd name="T61" fmla="*/ 44 h 136"/>
                <a:gd name="T62" fmla="*/ 0 w 161"/>
                <a:gd name="T63" fmla="*/ 43 h 136"/>
                <a:gd name="T64" fmla="*/ 16 w 161"/>
                <a:gd name="T65" fmla="*/ 37 h 136"/>
                <a:gd name="T66" fmla="*/ 25 w 161"/>
                <a:gd name="T67" fmla="*/ 38 h 136"/>
                <a:gd name="T68" fmla="*/ 41 w 161"/>
                <a:gd name="T69" fmla="*/ 38 h 136"/>
                <a:gd name="T70" fmla="*/ 37 w 161"/>
                <a:gd name="T71" fmla="*/ 24 h 136"/>
                <a:gd name="T72" fmla="*/ 41 w 161"/>
                <a:gd name="T73" fmla="*/ 22 h 136"/>
                <a:gd name="T74" fmla="*/ 46 w 161"/>
                <a:gd name="T75" fmla="*/ 26 h 136"/>
                <a:gd name="T76" fmla="*/ 65 w 161"/>
                <a:gd name="T77" fmla="*/ 26 h 136"/>
                <a:gd name="T78" fmla="*/ 61 w 161"/>
                <a:gd name="T79" fmla="*/ 25 h 136"/>
                <a:gd name="T80" fmla="*/ 78 w 161"/>
                <a:gd name="T81" fmla="*/ 15 h 136"/>
                <a:gd name="T82" fmla="*/ 79 w 161"/>
                <a:gd name="T83" fmla="*/ 4 h 136"/>
                <a:gd name="T84" fmla="*/ 91 w 161"/>
                <a:gd name="T85" fmla="*/ 0 h 136"/>
                <a:gd name="T86" fmla="*/ 96 w 161"/>
                <a:gd name="T87" fmla="*/ 6 h 136"/>
                <a:gd name="T88" fmla="*/ 112 w 161"/>
                <a:gd name="T89" fmla="*/ 16 h 136"/>
                <a:gd name="T90" fmla="*/ 118 w 161"/>
                <a:gd name="T91" fmla="*/ 15 h 136"/>
                <a:gd name="T92" fmla="*/ 119 w 161"/>
                <a:gd name="T93" fmla="*/ 18 h 136"/>
                <a:gd name="T94" fmla="*/ 132 w 161"/>
                <a:gd name="T95" fmla="*/ 24 h 136"/>
                <a:gd name="T96" fmla="*/ 139 w 161"/>
                <a:gd name="T97" fmla="*/ 25 h 136"/>
                <a:gd name="T98" fmla="*/ 140 w 161"/>
                <a:gd name="T99" fmla="*/ 26 h 136"/>
                <a:gd name="T100" fmla="*/ 161 w 161"/>
                <a:gd name="T101" fmla="*/ 33 h 136"/>
                <a:gd name="T102" fmla="*/ 155 w 161"/>
                <a:gd name="T103" fmla="*/ 55 h 136"/>
                <a:gd name="T104" fmla="*/ 151 w 161"/>
                <a:gd name="T105" fmla="*/ 57 h 136"/>
                <a:gd name="T106" fmla="*/ 148 w 161"/>
                <a:gd name="T107" fmla="*/ 58 h 136"/>
                <a:gd name="T108" fmla="*/ 137 w 161"/>
                <a:gd name="T109" fmla="*/ 75 h 136"/>
                <a:gd name="T110" fmla="*/ 142 w 161"/>
                <a:gd name="T111" fmla="*/ 73 h 136"/>
                <a:gd name="T112" fmla="*/ 149 w 161"/>
                <a:gd name="T113" fmla="*/ 81 h 136"/>
                <a:gd name="T114" fmla="*/ 149 w 161"/>
                <a:gd name="T115" fmla="*/ 87 h 136"/>
                <a:gd name="T116" fmla="*/ 148 w 161"/>
                <a:gd name="T117" fmla="*/ 93 h 136"/>
                <a:gd name="T118" fmla="*/ 148 w 161"/>
                <a:gd name="T119" fmla="*/ 98 h 136"/>
                <a:gd name="T120" fmla="*/ 148 w 161"/>
                <a:gd name="T121" fmla="*/ 104 h 136"/>
                <a:gd name="T122" fmla="*/ 156 w 161"/>
                <a:gd name="T123" fmla="*/ 10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136">
                  <a:moveTo>
                    <a:pt x="156" y="109"/>
                  </a:moveTo>
                  <a:lnTo>
                    <a:pt x="156" y="115"/>
                  </a:lnTo>
                  <a:lnTo>
                    <a:pt x="155" y="115"/>
                  </a:lnTo>
                  <a:lnTo>
                    <a:pt x="155" y="116"/>
                  </a:lnTo>
                  <a:lnTo>
                    <a:pt x="142" y="126"/>
                  </a:lnTo>
                  <a:lnTo>
                    <a:pt x="125" y="121"/>
                  </a:lnTo>
                  <a:lnTo>
                    <a:pt x="121" y="118"/>
                  </a:lnTo>
                  <a:lnTo>
                    <a:pt x="119" y="121"/>
                  </a:lnTo>
                  <a:lnTo>
                    <a:pt x="108" y="120"/>
                  </a:lnTo>
                  <a:lnTo>
                    <a:pt x="101" y="126"/>
                  </a:lnTo>
                  <a:lnTo>
                    <a:pt x="102" y="136"/>
                  </a:lnTo>
                  <a:lnTo>
                    <a:pt x="83" y="135"/>
                  </a:lnTo>
                  <a:lnTo>
                    <a:pt x="83" y="133"/>
                  </a:lnTo>
                  <a:lnTo>
                    <a:pt x="79" y="134"/>
                  </a:lnTo>
                  <a:lnTo>
                    <a:pt x="43" y="126"/>
                  </a:lnTo>
                  <a:lnTo>
                    <a:pt x="37" y="121"/>
                  </a:lnTo>
                  <a:lnTo>
                    <a:pt x="42" y="112"/>
                  </a:lnTo>
                  <a:lnTo>
                    <a:pt x="44" y="100"/>
                  </a:lnTo>
                  <a:lnTo>
                    <a:pt x="46" y="87"/>
                  </a:lnTo>
                  <a:lnTo>
                    <a:pt x="52" y="94"/>
                  </a:lnTo>
                  <a:lnTo>
                    <a:pt x="46" y="82"/>
                  </a:lnTo>
                  <a:lnTo>
                    <a:pt x="46" y="78"/>
                  </a:lnTo>
                  <a:lnTo>
                    <a:pt x="40" y="73"/>
                  </a:lnTo>
                  <a:lnTo>
                    <a:pt x="35" y="62"/>
                  </a:lnTo>
                  <a:lnTo>
                    <a:pt x="36" y="60"/>
                  </a:lnTo>
                  <a:lnTo>
                    <a:pt x="29" y="57"/>
                  </a:lnTo>
                  <a:lnTo>
                    <a:pt x="20" y="55"/>
                  </a:lnTo>
                  <a:lnTo>
                    <a:pt x="10" y="50"/>
                  </a:lnTo>
                  <a:lnTo>
                    <a:pt x="4" y="48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0" y="43"/>
                  </a:lnTo>
                  <a:lnTo>
                    <a:pt x="16" y="37"/>
                  </a:lnTo>
                  <a:lnTo>
                    <a:pt x="25" y="38"/>
                  </a:lnTo>
                  <a:lnTo>
                    <a:pt x="41" y="38"/>
                  </a:lnTo>
                  <a:lnTo>
                    <a:pt x="37" y="24"/>
                  </a:lnTo>
                  <a:lnTo>
                    <a:pt x="41" y="22"/>
                  </a:lnTo>
                  <a:lnTo>
                    <a:pt x="46" y="26"/>
                  </a:lnTo>
                  <a:lnTo>
                    <a:pt x="65" y="26"/>
                  </a:lnTo>
                  <a:lnTo>
                    <a:pt x="61" y="25"/>
                  </a:lnTo>
                  <a:lnTo>
                    <a:pt x="78" y="15"/>
                  </a:lnTo>
                  <a:lnTo>
                    <a:pt x="79" y="4"/>
                  </a:lnTo>
                  <a:lnTo>
                    <a:pt x="91" y="0"/>
                  </a:lnTo>
                  <a:lnTo>
                    <a:pt x="96" y="6"/>
                  </a:lnTo>
                  <a:lnTo>
                    <a:pt x="112" y="16"/>
                  </a:lnTo>
                  <a:lnTo>
                    <a:pt x="118" y="15"/>
                  </a:lnTo>
                  <a:lnTo>
                    <a:pt x="119" y="18"/>
                  </a:lnTo>
                  <a:lnTo>
                    <a:pt x="132" y="24"/>
                  </a:lnTo>
                  <a:lnTo>
                    <a:pt x="139" y="25"/>
                  </a:lnTo>
                  <a:lnTo>
                    <a:pt x="140" y="26"/>
                  </a:lnTo>
                  <a:lnTo>
                    <a:pt x="161" y="33"/>
                  </a:lnTo>
                  <a:lnTo>
                    <a:pt x="155" y="55"/>
                  </a:lnTo>
                  <a:lnTo>
                    <a:pt x="151" y="57"/>
                  </a:lnTo>
                  <a:lnTo>
                    <a:pt x="148" y="58"/>
                  </a:lnTo>
                  <a:lnTo>
                    <a:pt x="137" y="75"/>
                  </a:lnTo>
                  <a:lnTo>
                    <a:pt x="142" y="73"/>
                  </a:lnTo>
                  <a:lnTo>
                    <a:pt x="149" y="81"/>
                  </a:lnTo>
                  <a:lnTo>
                    <a:pt x="149" y="87"/>
                  </a:lnTo>
                  <a:lnTo>
                    <a:pt x="148" y="93"/>
                  </a:lnTo>
                  <a:lnTo>
                    <a:pt x="148" y="98"/>
                  </a:lnTo>
                  <a:lnTo>
                    <a:pt x="148" y="104"/>
                  </a:lnTo>
                  <a:lnTo>
                    <a:pt x="156" y="109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54" name="Freeform 389">
              <a:extLst>
                <a:ext uri="{FF2B5EF4-FFF2-40B4-BE49-F238E27FC236}">
                  <a16:creationId xmlns:a16="http://schemas.microsoft.com/office/drawing/2014/main" id="{DC8CDA0A-DB25-4A8F-BDA0-7A5F2EAB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0589" y="2915513"/>
              <a:ext cx="24735" cy="43648"/>
            </a:xfrm>
            <a:custGeom>
              <a:avLst/>
              <a:gdLst>
                <a:gd name="T0" fmla="*/ 8 w 12"/>
                <a:gd name="T1" fmla="*/ 22 h 22"/>
                <a:gd name="T2" fmla="*/ 2 w 12"/>
                <a:gd name="T3" fmla="*/ 18 h 22"/>
                <a:gd name="T4" fmla="*/ 0 w 12"/>
                <a:gd name="T5" fmla="*/ 10 h 22"/>
                <a:gd name="T6" fmla="*/ 8 w 12"/>
                <a:gd name="T7" fmla="*/ 0 h 22"/>
                <a:gd name="T8" fmla="*/ 12 w 12"/>
                <a:gd name="T9" fmla="*/ 10 h 22"/>
                <a:gd name="T10" fmla="*/ 8 w 12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2">
                  <a:moveTo>
                    <a:pt x="8" y="22"/>
                  </a:moveTo>
                  <a:lnTo>
                    <a:pt x="2" y="18"/>
                  </a:lnTo>
                  <a:lnTo>
                    <a:pt x="0" y="10"/>
                  </a:lnTo>
                  <a:lnTo>
                    <a:pt x="8" y="0"/>
                  </a:lnTo>
                  <a:lnTo>
                    <a:pt x="12" y="10"/>
                  </a:lnTo>
                  <a:lnTo>
                    <a:pt x="8" y="22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55" name="Freeform 390">
              <a:extLst>
                <a:ext uri="{FF2B5EF4-FFF2-40B4-BE49-F238E27FC236}">
                  <a16:creationId xmlns:a16="http://schemas.microsoft.com/office/drawing/2014/main" id="{B1309AD8-CF08-47AE-AA81-813478728C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190861" y="2721074"/>
              <a:ext cx="178856" cy="89282"/>
            </a:xfrm>
            <a:custGeom>
              <a:avLst/>
              <a:gdLst>
                <a:gd name="T0" fmla="*/ 35 w 83"/>
                <a:gd name="T1" fmla="*/ 39 h 39"/>
                <a:gd name="T2" fmla="*/ 17 w 83"/>
                <a:gd name="T3" fmla="*/ 38 h 39"/>
                <a:gd name="T4" fmla="*/ 5 w 83"/>
                <a:gd name="T5" fmla="*/ 28 h 39"/>
                <a:gd name="T6" fmla="*/ 1 w 83"/>
                <a:gd name="T7" fmla="*/ 26 h 39"/>
                <a:gd name="T8" fmla="*/ 0 w 83"/>
                <a:gd name="T9" fmla="*/ 24 h 39"/>
                <a:gd name="T10" fmla="*/ 1 w 83"/>
                <a:gd name="T11" fmla="*/ 22 h 39"/>
                <a:gd name="T12" fmla="*/ 6 w 83"/>
                <a:gd name="T13" fmla="*/ 13 h 39"/>
                <a:gd name="T14" fmla="*/ 7 w 83"/>
                <a:gd name="T15" fmla="*/ 12 h 39"/>
                <a:gd name="T16" fmla="*/ 12 w 83"/>
                <a:gd name="T17" fmla="*/ 6 h 39"/>
                <a:gd name="T18" fmla="*/ 15 w 83"/>
                <a:gd name="T19" fmla="*/ 8 h 39"/>
                <a:gd name="T20" fmla="*/ 31 w 83"/>
                <a:gd name="T21" fmla="*/ 8 h 39"/>
                <a:gd name="T22" fmla="*/ 51 w 83"/>
                <a:gd name="T23" fmla="*/ 0 h 39"/>
                <a:gd name="T24" fmla="*/ 73 w 83"/>
                <a:gd name="T25" fmla="*/ 0 h 39"/>
                <a:gd name="T26" fmla="*/ 83 w 83"/>
                <a:gd name="T27" fmla="*/ 7 h 39"/>
                <a:gd name="T28" fmla="*/ 71 w 83"/>
                <a:gd name="T29" fmla="*/ 19 h 39"/>
                <a:gd name="T30" fmla="*/ 61 w 83"/>
                <a:gd name="T31" fmla="*/ 33 h 39"/>
                <a:gd name="T32" fmla="*/ 53 w 83"/>
                <a:gd name="T33" fmla="*/ 36 h 39"/>
                <a:gd name="T34" fmla="*/ 35 w 83"/>
                <a:gd name="T3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3" h="39">
                  <a:moveTo>
                    <a:pt x="35" y="39"/>
                  </a:moveTo>
                  <a:lnTo>
                    <a:pt x="17" y="38"/>
                  </a:lnTo>
                  <a:lnTo>
                    <a:pt x="5" y="28"/>
                  </a:lnTo>
                  <a:lnTo>
                    <a:pt x="1" y="26"/>
                  </a:lnTo>
                  <a:lnTo>
                    <a:pt x="0" y="24"/>
                  </a:lnTo>
                  <a:lnTo>
                    <a:pt x="1" y="22"/>
                  </a:lnTo>
                  <a:lnTo>
                    <a:pt x="6" y="13"/>
                  </a:lnTo>
                  <a:lnTo>
                    <a:pt x="7" y="12"/>
                  </a:lnTo>
                  <a:lnTo>
                    <a:pt x="12" y="6"/>
                  </a:lnTo>
                  <a:lnTo>
                    <a:pt x="15" y="8"/>
                  </a:lnTo>
                  <a:lnTo>
                    <a:pt x="31" y="8"/>
                  </a:lnTo>
                  <a:lnTo>
                    <a:pt x="51" y="0"/>
                  </a:lnTo>
                  <a:lnTo>
                    <a:pt x="73" y="0"/>
                  </a:lnTo>
                  <a:lnTo>
                    <a:pt x="83" y="7"/>
                  </a:lnTo>
                  <a:lnTo>
                    <a:pt x="71" y="19"/>
                  </a:lnTo>
                  <a:lnTo>
                    <a:pt x="61" y="33"/>
                  </a:lnTo>
                  <a:lnTo>
                    <a:pt x="53" y="36"/>
                  </a:lnTo>
                  <a:lnTo>
                    <a:pt x="35" y="39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65" name="Freeform 401">
              <a:extLst>
                <a:ext uri="{FF2B5EF4-FFF2-40B4-BE49-F238E27FC236}">
                  <a16:creationId xmlns:a16="http://schemas.microsoft.com/office/drawing/2014/main" id="{636708B4-563E-47A3-A0E5-993086D0AD19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6484" y="2500843"/>
              <a:ext cx="55179" cy="17858"/>
            </a:xfrm>
            <a:custGeom>
              <a:avLst/>
              <a:gdLst>
                <a:gd name="T0" fmla="*/ 9 w 27"/>
                <a:gd name="T1" fmla="*/ 0 h 8"/>
                <a:gd name="T2" fmla="*/ 7 w 27"/>
                <a:gd name="T3" fmla="*/ 2 h 8"/>
                <a:gd name="T4" fmla="*/ 0 w 27"/>
                <a:gd name="T5" fmla="*/ 1 h 8"/>
                <a:gd name="T6" fmla="*/ 0 w 27"/>
                <a:gd name="T7" fmla="*/ 2 h 8"/>
                <a:gd name="T8" fmla="*/ 3 w 27"/>
                <a:gd name="T9" fmla="*/ 4 h 8"/>
                <a:gd name="T10" fmla="*/ 0 w 27"/>
                <a:gd name="T11" fmla="*/ 4 h 8"/>
                <a:gd name="T12" fmla="*/ 0 w 27"/>
                <a:gd name="T13" fmla="*/ 7 h 8"/>
                <a:gd name="T14" fmla="*/ 6 w 27"/>
                <a:gd name="T15" fmla="*/ 7 h 8"/>
                <a:gd name="T16" fmla="*/ 27 w 27"/>
                <a:gd name="T17" fmla="*/ 8 h 8"/>
                <a:gd name="T18" fmla="*/ 27 w 27"/>
                <a:gd name="T19" fmla="*/ 2 h 8"/>
                <a:gd name="T20" fmla="*/ 16 w 27"/>
                <a:gd name="T21" fmla="*/ 1 h 8"/>
                <a:gd name="T22" fmla="*/ 9 w 27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8">
                  <a:moveTo>
                    <a:pt x="9" y="0"/>
                  </a:moveTo>
                  <a:lnTo>
                    <a:pt x="7" y="2"/>
                  </a:lnTo>
                  <a:lnTo>
                    <a:pt x="0" y="1"/>
                  </a:lnTo>
                  <a:lnTo>
                    <a:pt x="0" y="2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7"/>
                  </a:lnTo>
                  <a:lnTo>
                    <a:pt x="6" y="7"/>
                  </a:lnTo>
                  <a:lnTo>
                    <a:pt x="27" y="8"/>
                  </a:lnTo>
                  <a:lnTo>
                    <a:pt x="27" y="2"/>
                  </a:lnTo>
                  <a:lnTo>
                    <a:pt x="16" y="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67" name="Freeform 403">
              <a:extLst>
                <a:ext uri="{FF2B5EF4-FFF2-40B4-BE49-F238E27FC236}">
                  <a16:creationId xmlns:a16="http://schemas.microsoft.com/office/drawing/2014/main" id="{C074DF67-26D1-49F6-A119-C6F74EC214D9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3053" y="2032608"/>
              <a:ext cx="51374" cy="25793"/>
            </a:xfrm>
            <a:custGeom>
              <a:avLst/>
              <a:gdLst>
                <a:gd name="T0" fmla="*/ 23 w 23"/>
                <a:gd name="T1" fmla="*/ 5 h 11"/>
                <a:gd name="T2" fmla="*/ 6 w 23"/>
                <a:gd name="T3" fmla="*/ 11 h 11"/>
                <a:gd name="T4" fmla="*/ 0 w 23"/>
                <a:gd name="T5" fmla="*/ 3 h 11"/>
                <a:gd name="T6" fmla="*/ 6 w 23"/>
                <a:gd name="T7" fmla="*/ 0 h 11"/>
                <a:gd name="T8" fmla="*/ 23 w 23"/>
                <a:gd name="T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1">
                  <a:moveTo>
                    <a:pt x="23" y="5"/>
                  </a:moveTo>
                  <a:lnTo>
                    <a:pt x="6" y="11"/>
                  </a:lnTo>
                  <a:lnTo>
                    <a:pt x="0" y="3"/>
                  </a:lnTo>
                  <a:lnTo>
                    <a:pt x="6" y="0"/>
                  </a:lnTo>
                  <a:lnTo>
                    <a:pt x="23" y="5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69" name="Freeform 405">
              <a:extLst>
                <a:ext uri="{FF2B5EF4-FFF2-40B4-BE49-F238E27FC236}">
                  <a16:creationId xmlns:a16="http://schemas.microsoft.com/office/drawing/2014/main" id="{713C4E86-8912-4967-BA46-224FA54D20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100" y="1727063"/>
              <a:ext cx="83719" cy="13889"/>
            </a:xfrm>
            <a:custGeom>
              <a:avLst/>
              <a:gdLst>
                <a:gd name="T0" fmla="*/ 38 w 38"/>
                <a:gd name="T1" fmla="*/ 1 h 7"/>
                <a:gd name="T2" fmla="*/ 14 w 38"/>
                <a:gd name="T3" fmla="*/ 4 h 7"/>
                <a:gd name="T4" fmla="*/ 7 w 38"/>
                <a:gd name="T5" fmla="*/ 7 h 7"/>
                <a:gd name="T6" fmla="*/ 0 w 38"/>
                <a:gd name="T7" fmla="*/ 6 h 7"/>
                <a:gd name="T8" fmla="*/ 7 w 38"/>
                <a:gd name="T9" fmla="*/ 4 h 7"/>
                <a:gd name="T10" fmla="*/ 20 w 38"/>
                <a:gd name="T11" fmla="*/ 1 h 7"/>
                <a:gd name="T12" fmla="*/ 31 w 38"/>
                <a:gd name="T13" fmla="*/ 0 h 7"/>
                <a:gd name="T14" fmla="*/ 38 w 38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7">
                  <a:moveTo>
                    <a:pt x="38" y="1"/>
                  </a:moveTo>
                  <a:lnTo>
                    <a:pt x="14" y="4"/>
                  </a:lnTo>
                  <a:lnTo>
                    <a:pt x="7" y="7"/>
                  </a:lnTo>
                  <a:lnTo>
                    <a:pt x="0" y="6"/>
                  </a:lnTo>
                  <a:lnTo>
                    <a:pt x="7" y="4"/>
                  </a:lnTo>
                  <a:lnTo>
                    <a:pt x="20" y="1"/>
                  </a:lnTo>
                  <a:lnTo>
                    <a:pt x="31" y="0"/>
                  </a:lnTo>
                  <a:lnTo>
                    <a:pt x="38" y="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73" name="Freeform 409">
              <a:extLst>
                <a:ext uri="{FF2B5EF4-FFF2-40B4-BE49-F238E27FC236}">
                  <a16:creationId xmlns:a16="http://schemas.microsoft.com/office/drawing/2014/main" id="{123F404A-1C41-475E-BD93-2A9FE2FBECF1}"/>
                </a:ext>
              </a:extLst>
            </p:cNvPr>
            <p:cNvSpPr>
              <a:spLocks/>
            </p:cNvSpPr>
            <p:nvPr/>
          </p:nvSpPr>
          <p:spPr bwMode="gray">
            <a:xfrm>
              <a:off x="5301219" y="2375850"/>
              <a:ext cx="30444" cy="17858"/>
            </a:xfrm>
            <a:custGeom>
              <a:avLst/>
              <a:gdLst>
                <a:gd name="T0" fmla="*/ 15 w 15"/>
                <a:gd name="T1" fmla="*/ 1 h 7"/>
                <a:gd name="T2" fmla="*/ 2 w 15"/>
                <a:gd name="T3" fmla="*/ 7 h 7"/>
                <a:gd name="T4" fmla="*/ 0 w 15"/>
                <a:gd name="T5" fmla="*/ 2 h 7"/>
                <a:gd name="T6" fmla="*/ 12 w 15"/>
                <a:gd name="T7" fmla="*/ 0 h 7"/>
                <a:gd name="T8" fmla="*/ 15 w 15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7">
                  <a:moveTo>
                    <a:pt x="15" y="1"/>
                  </a:moveTo>
                  <a:lnTo>
                    <a:pt x="2" y="7"/>
                  </a:lnTo>
                  <a:lnTo>
                    <a:pt x="0" y="2"/>
                  </a:lnTo>
                  <a:lnTo>
                    <a:pt x="12" y="0"/>
                  </a:lnTo>
                  <a:lnTo>
                    <a:pt x="15" y="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83" name="Freeform 419">
              <a:extLst>
                <a:ext uri="{FF2B5EF4-FFF2-40B4-BE49-F238E27FC236}">
                  <a16:creationId xmlns:a16="http://schemas.microsoft.com/office/drawing/2014/main" id="{E7DAD82E-8C60-4EEA-AE45-A657AF0197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1364" y="1727063"/>
              <a:ext cx="55179" cy="3967"/>
            </a:xfrm>
            <a:custGeom>
              <a:avLst/>
              <a:gdLst>
                <a:gd name="T0" fmla="*/ 25 w 25"/>
                <a:gd name="T1" fmla="*/ 0 h 1"/>
                <a:gd name="T2" fmla="*/ 0 w 25"/>
                <a:gd name="T3" fmla="*/ 1 h 1"/>
                <a:gd name="T4" fmla="*/ 5 w 25"/>
                <a:gd name="T5" fmla="*/ 0 h 1"/>
                <a:gd name="T6" fmla="*/ 25 w 25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">
                  <a:moveTo>
                    <a:pt x="25" y="0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85" name="Freeform 421">
              <a:extLst>
                <a:ext uri="{FF2B5EF4-FFF2-40B4-BE49-F238E27FC236}">
                  <a16:creationId xmlns:a16="http://schemas.microsoft.com/office/drawing/2014/main" id="{51B12F54-59A3-46CE-8EFA-F5FF45808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6373" y="1736984"/>
              <a:ext cx="38054" cy="3967"/>
            </a:xfrm>
            <a:custGeom>
              <a:avLst/>
              <a:gdLst>
                <a:gd name="T0" fmla="*/ 18 w 18"/>
                <a:gd name="T1" fmla="*/ 0 h 2"/>
                <a:gd name="T2" fmla="*/ 0 w 18"/>
                <a:gd name="T3" fmla="*/ 0 h 2"/>
                <a:gd name="T4" fmla="*/ 8 w 18"/>
                <a:gd name="T5" fmla="*/ 2 h 2"/>
                <a:gd name="T6" fmla="*/ 18 w 1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">
                  <a:moveTo>
                    <a:pt x="18" y="0"/>
                  </a:moveTo>
                  <a:lnTo>
                    <a:pt x="0" y="0"/>
                  </a:lnTo>
                  <a:lnTo>
                    <a:pt x="8" y="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88" name="Freeform 424">
              <a:extLst>
                <a:ext uri="{FF2B5EF4-FFF2-40B4-BE49-F238E27FC236}">
                  <a16:creationId xmlns:a16="http://schemas.microsoft.com/office/drawing/2014/main" id="{7B118F31-EDD7-4BBB-8477-55DF05BFDA3B}"/>
                </a:ext>
              </a:extLst>
            </p:cNvPr>
            <p:cNvSpPr>
              <a:spLocks/>
            </p:cNvSpPr>
            <p:nvPr/>
          </p:nvSpPr>
          <p:spPr bwMode="gray">
            <a:xfrm>
              <a:off x="5301219" y="2363946"/>
              <a:ext cx="20930" cy="3967"/>
            </a:xfrm>
            <a:custGeom>
              <a:avLst/>
              <a:gdLst>
                <a:gd name="T0" fmla="*/ 10 w 10"/>
                <a:gd name="T1" fmla="*/ 1 h 1"/>
                <a:gd name="T2" fmla="*/ 0 w 10"/>
                <a:gd name="T3" fmla="*/ 1 h 1"/>
                <a:gd name="T4" fmla="*/ 3 w 10"/>
                <a:gd name="T5" fmla="*/ 0 h 1"/>
                <a:gd name="T6" fmla="*/ 10 w 10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">
                  <a:moveTo>
                    <a:pt x="10" y="1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89" name="Freeform 425">
              <a:extLst>
                <a:ext uri="{FF2B5EF4-FFF2-40B4-BE49-F238E27FC236}">
                  <a16:creationId xmlns:a16="http://schemas.microsoft.com/office/drawing/2014/main" id="{8DC2315F-60CF-4B63-A3F3-4E7E2847B9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97628" y="2875831"/>
              <a:ext cx="5707" cy="3967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2 w 3"/>
                <a:gd name="T5" fmla="*/ 0 h 1"/>
                <a:gd name="T6" fmla="*/ 2 w 3"/>
                <a:gd name="T7" fmla="*/ 1 h 1"/>
                <a:gd name="T8" fmla="*/ 0 w 3"/>
                <a:gd name="T9" fmla="*/ 1 h 1"/>
                <a:gd name="T10" fmla="*/ 2 w 3"/>
                <a:gd name="T11" fmla="*/ 1 h 1"/>
                <a:gd name="T12" fmla="*/ 3 w 3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1"/>
                  </a:lnTo>
                  <a:lnTo>
                    <a:pt x="2" y="1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90" name="Freeform 426">
              <a:extLst>
                <a:ext uri="{FF2B5EF4-FFF2-40B4-BE49-F238E27FC236}">
                  <a16:creationId xmlns:a16="http://schemas.microsoft.com/office/drawing/2014/main" id="{2FA6B9F3-F323-431E-80DD-D577AE51E5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0375" y="2681395"/>
              <a:ext cx="156025" cy="57537"/>
            </a:xfrm>
            <a:custGeom>
              <a:avLst/>
              <a:gdLst>
                <a:gd name="T0" fmla="*/ 27 w 74"/>
                <a:gd name="T1" fmla="*/ 0 h 26"/>
                <a:gd name="T2" fmla="*/ 27 w 74"/>
                <a:gd name="T3" fmla="*/ 1 h 26"/>
                <a:gd name="T4" fmla="*/ 23 w 74"/>
                <a:gd name="T5" fmla="*/ 4 h 26"/>
                <a:gd name="T6" fmla="*/ 20 w 74"/>
                <a:gd name="T7" fmla="*/ 6 h 26"/>
                <a:gd name="T8" fmla="*/ 20 w 74"/>
                <a:gd name="T9" fmla="*/ 7 h 26"/>
                <a:gd name="T10" fmla="*/ 15 w 74"/>
                <a:gd name="T11" fmla="*/ 12 h 26"/>
                <a:gd name="T12" fmla="*/ 9 w 74"/>
                <a:gd name="T13" fmla="*/ 13 h 26"/>
                <a:gd name="T14" fmla="*/ 4 w 74"/>
                <a:gd name="T15" fmla="*/ 13 h 26"/>
                <a:gd name="T16" fmla="*/ 0 w 74"/>
                <a:gd name="T17" fmla="*/ 12 h 26"/>
                <a:gd name="T18" fmla="*/ 9 w 74"/>
                <a:gd name="T19" fmla="*/ 24 h 26"/>
                <a:gd name="T20" fmla="*/ 12 w 74"/>
                <a:gd name="T21" fmla="*/ 26 h 26"/>
                <a:gd name="T22" fmla="*/ 28 w 74"/>
                <a:gd name="T23" fmla="*/ 26 h 26"/>
                <a:gd name="T24" fmla="*/ 48 w 74"/>
                <a:gd name="T25" fmla="*/ 18 h 26"/>
                <a:gd name="T26" fmla="*/ 70 w 74"/>
                <a:gd name="T27" fmla="*/ 18 h 26"/>
                <a:gd name="T28" fmla="*/ 74 w 74"/>
                <a:gd name="T29" fmla="*/ 7 h 26"/>
                <a:gd name="T30" fmla="*/ 54 w 74"/>
                <a:gd name="T31" fmla="*/ 3 h 26"/>
                <a:gd name="T32" fmla="*/ 44 w 74"/>
                <a:gd name="T33" fmla="*/ 3 h 26"/>
                <a:gd name="T34" fmla="*/ 41 w 74"/>
                <a:gd name="T35" fmla="*/ 1 h 26"/>
                <a:gd name="T36" fmla="*/ 27 w 74"/>
                <a:gd name="T3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26">
                  <a:moveTo>
                    <a:pt x="27" y="0"/>
                  </a:moveTo>
                  <a:lnTo>
                    <a:pt x="27" y="1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20" y="7"/>
                  </a:lnTo>
                  <a:lnTo>
                    <a:pt x="15" y="12"/>
                  </a:lnTo>
                  <a:lnTo>
                    <a:pt x="9" y="13"/>
                  </a:lnTo>
                  <a:lnTo>
                    <a:pt x="4" y="13"/>
                  </a:lnTo>
                  <a:lnTo>
                    <a:pt x="0" y="12"/>
                  </a:lnTo>
                  <a:lnTo>
                    <a:pt x="9" y="24"/>
                  </a:lnTo>
                  <a:lnTo>
                    <a:pt x="12" y="26"/>
                  </a:lnTo>
                  <a:lnTo>
                    <a:pt x="28" y="26"/>
                  </a:lnTo>
                  <a:lnTo>
                    <a:pt x="48" y="18"/>
                  </a:lnTo>
                  <a:lnTo>
                    <a:pt x="70" y="18"/>
                  </a:lnTo>
                  <a:lnTo>
                    <a:pt x="74" y="7"/>
                  </a:lnTo>
                  <a:lnTo>
                    <a:pt x="54" y="3"/>
                  </a:lnTo>
                  <a:lnTo>
                    <a:pt x="44" y="3"/>
                  </a:lnTo>
                  <a:lnTo>
                    <a:pt x="41" y="1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91" name="Freeform 427">
              <a:extLst>
                <a:ext uri="{FF2B5EF4-FFF2-40B4-BE49-F238E27FC236}">
                  <a16:creationId xmlns:a16="http://schemas.microsoft.com/office/drawing/2014/main" id="{22F04C3C-C0C6-4FF1-B523-B095907995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266" y="2774644"/>
              <a:ext cx="79916" cy="47618"/>
            </a:xfrm>
            <a:custGeom>
              <a:avLst/>
              <a:gdLst>
                <a:gd name="T0" fmla="*/ 6 w 38"/>
                <a:gd name="T1" fmla="*/ 21 h 22"/>
                <a:gd name="T2" fmla="*/ 12 w 38"/>
                <a:gd name="T3" fmla="*/ 22 h 22"/>
                <a:gd name="T4" fmla="*/ 15 w 38"/>
                <a:gd name="T5" fmla="*/ 19 h 22"/>
                <a:gd name="T6" fmla="*/ 17 w 38"/>
                <a:gd name="T7" fmla="*/ 21 h 22"/>
                <a:gd name="T8" fmla="*/ 18 w 38"/>
                <a:gd name="T9" fmla="*/ 20 h 22"/>
                <a:gd name="T10" fmla="*/ 21 w 38"/>
                <a:gd name="T11" fmla="*/ 22 h 22"/>
                <a:gd name="T12" fmla="*/ 24 w 38"/>
                <a:gd name="T13" fmla="*/ 21 h 22"/>
                <a:gd name="T14" fmla="*/ 23 w 38"/>
                <a:gd name="T15" fmla="*/ 20 h 22"/>
                <a:gd name="T16" fmla="*/ 23 w 38"/>
                <a:gd name="T17" fmla="*/ 18 h 22"/>
                <a:gd name="T18" fmla="*/ 27 w 38"/>
                <a:gd name="T19" fmla="*/ 16 h 22"/>
                <a:gd name="T20" fmla="*/ 29 w 38"/>
                <a:gd name="T21" fmla="*/ 16 h 22"/>
                <a:gd name="T22" fmla="*/ 28 w 38"/>
                <a:gd name="T23" fmla="*/ 14 h 22"/>
                <a:gd name="T24" fmla="*/ 28 w 38"/>
                <a:gd name="T25" fmla="*/ 13 h 22"/>
                <a:gd name="T26" fmla="*/ 27 w 38"/>
                <a:gd name="T27" fmla="*/ 9 h 22"/>
                <a:gd name="T28" fmla="*/ 30 w 38"/>
                <a:gd name="T29" fmla="*/ 8 h 22"/>
                <a:gd name="T30" fmla="*/ 32 w 38"/>
                <a:gd name="T31" fmla="*/ 7 h 22"/>
                <a:gd name="T32" fmla="*/ 36 w 38"/>
                <a:gd name="T33" fmla="*/ 7 h 22"/>
                <a:gd name="T34" fmla="*/ 36 w 38"/>
                <a:gd name="T35" fmla="*/ 6 h 22"/>
                <a:gd name="T36" fmla="*/ 38 w 38"/>
                <a:gd name="T37" fmla="*/ 6 h 22"/>
                <a:gd name="T38" fmla="*/ 38 w 38"/>
                <a:gd name="T39" fmla="*/ 4 h 22"/>
                <a:gd name="T40" fmla="*/ 34 w 38"/>
                <a:gd name="T41" fmla="*/ 2 h 22"/>
                <a:gd name="T42" fmla="*/ 33 w 38"/>
                <a:gd name="T43" fmla="*/ 0 h 22"/>
                <a:gd name="T44" fmla="*/ 8 w 38"/>
                <a:gd name="T45" fmla="*/ 6 h 22"/>
                <a:gd name="T46" fmla="*/ 3 w 38"/>
                <a:gd name="T47" fmla="*/ 6 h 22"/>
                <a:gd name="T48" fmla="*/ 0 w 38"/>
                <a:gd name="T49" fmla="*/ 10 h 22"/>
                <a:gd name="T50" fmla="*/ 4 w 38"/>
                <a:gd name="T51" fmla="*/ 20 h 22"/>
                <a:gd name="T52" fmla="*/ 6 w 38"/>
                <a:gd name="T53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" h="22">
                  <a:moveTo>
                    <a:pt x="6" y="21"/>
                  </a:moveTo>
                  <a:lnTo>
                    <a:pt x="12" y="22"/>
                  </a:lnTo>
                  <a:lnTo>
                    <a:pt x="15" y="19"/>
                  </a:lnTo>
                  <a:lnTo>
                    <a:pt x="17" y="21"/>
                  </a:lnTo>
                  <a:lnTo>
                    <a:pt x="18" y="20"/>
                  </a:lnTo>
                  <a:lnTo>
                    <a:pt x="21" y="22"/>
                  </a:lnTo>
                  <a:lnTo>
                    <a:pt x="24" y="21"/>
                  </a:lnTo>
                  <a:lnTo>
                    <a:pt x="23" y="20"/>
                  </a:lnTo>
                  <a:lnTo>
                    <a:pt x="23" y="18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8" y="14"/>
                  </a:lnTo>
                  <a:lnTo>
                    <a:pt x="28" y="13"/>
                  </a:lnTo>
                  <a:lnTo>
                    <a:pt x="27" y="9"/>
                  </a:lnTo>
                  <a:lnTo>
                    <a:pt x="30" y="8"/>
                  </a:lnTo>
                  <a:lnTo>
                    <a:pt x="32" y="7"/>
                  </a:lnTo>
                  <a:lnTo>
                    <a:pt x="36" y="7"/>
                  </a:lnTo>
                  <a:lnTo>
                    <a:pt x="36" y="6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34" y="2"/>
                  </a:lnTo>
                  <a:lnTo>
                    <a:pt x="33" y="0"/>
                  </a:lnTo>
                  <a:lnTo>
                    <a:pt x="8" y="6"/>
                  </a:lnTo>
                  <a:lnTo>
                    <a:pt x="3" y="6"/>
                  </a:lnTo>
                  <a:lnTo>
                    <a:pt x="0" y="10"/>
                  </a:lnTo>
                  <a:lnTo>
                    <a:pt x="4" y="20"/>
                  </a:lnTo>
                  <a:lnTo>
                    <a:pt x="6" y="2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92" name="Freeform 428">
              <a:extLst>
                <a:ext uri="{FF2B5EF4-FFF2-40B4-BE49-F238E27FC236}">
                  <a16:creationId xmlns:a16="http://schemas.microsoft.com/office/drawing/2014/main" id="{DDD1F8DF-6990-4751-B9A4-2E3671B2E4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4838" y="2044512"/>
              <a:ext cx="275895" cy="438475"/>
            </a:xfrm>
            <a:custGeom>
              <a:avLst/>
              <a:gdLst>
                <a:gd name="T0" fmla="*/ 90 w 130"/>
                <a:gd name="T1" fmla="*/ 77 h 197"/>
                <a:gd name="T2" fmla="*/ 76 w 130"/>
                <a:gd name="T3" fmla="*/ 85 h 197"/>
                <a:gd name="T4" fmla="*/ 68 w 130"/>
                <a:gd name="T5" fmla="*/ 92 h 197"/>
                <a:gd name="T6" fmla="*/ 65 w 130"/>
                <a:gd name="T7" fmla="*/ 103 h 197"/>
                <a:gd name="T8" fmla="*/ 81 w 130"/>
                <a:gd name="T9" fmla="*/ 125 h 197"/>
                <a:gd name="T10" fmla="*/ 75 w 130"/>
                <a:gd name="T11" fmla="*/ 138 h 197"/>
                <a:gd name="T12" fmla="*/ 71 w 130"/>
                <a:gd name="T13" fmla="*/ 135 h 197"/>
                <a:gd name="T14" fmla="*/ 83 w 130"/>
                <a:gd name="T15" fmla="*/ 138 h 197"/>
                <a:gd name="T16" fmla="*/ 74 w 130"/>
                <a:gd name="T17" fmla="*/ 141 h 197"/>
                <a:gd name="T18" fmla="*/ 60 w 130"/>
                <a:gd name="T19" fmla="*/ 149 h 197"/>
                <a:gd name="T20" fmla="*/ 64 w 130"/>
                <a:gd name="T21" fmla="*/ 152 h 197"/>
                <a:gd name="T22" fmla="*/ 65 w 130"/>
                <a:gd name="T23" fmla="*/ 162 h 197"/>
                <a:gd name="T24" fmla="*/ 62 w 130"/>
                <a:gd name="T25" fmla="*/ 173 h 197"/>
                <a:gd name="T26" fmla="*/ 41 w 130"/>
                <a:gd name="T27" fmla="*/ 189 h 197"/>
                <a:gd name="T28" fmla="*/ 26 w 130"/>
                <a:gd name="T29" fmla="*/ 197 h 197"/>
                <a:gd name="T30" fmla="*/ 18 w 130"/>
                <a:gd name="T31" fmla="*/ 175 h 197"/>
                <a:gd name="T32" fmla="*/ 9 w 130"/>
                <a:gd name="T33" fmla="*/ 155 h 197"/>
                <a:gd name="T34" fmla="*/ 4 w 130"/>
                <a:gd name="T35" fmla="*/ 153 h 197"/>
                <a:gd name="T36" fmla="*/ 3 w 130"/>
                <a:gd name="T37" fmla="*/ 144 h 197"/>
                <a:gd name="T38" fmla="*/ 11 w 130"/>
                <a:gd name="T39" fmla="*/ 116 h 197"/>
                <a:gd name="T40" fmla="*/ 16 w 130"/>
                <a:gd name="T41" fmla="*/ 108 h 197"/>
                <a:gd name="T42" fmla="*/ 6 w 130"/>
                <a:gd name="T43" fmla="*/ 89 h 197"/>
                <a:gd name="T44" fmla="*/ 16 w 130"/>
                <a:gd name="T45" fmla="*/ 69 h 197"/>
                <a:gd name="T46" fmla="*/ 20 w 130"/>
                <a:gd name="T47" fmla="*/ 62 h 197"/>
                <a:gd name="T48" fmla="*/ 27 w 130"/>
                <a:gd name="T49" fmla="*/ 41 h 197"/>
                <a:gd name="T50" fmla="*/ 41 w 130"/>
                <a:gd name="T51" fmla="*/ 30 h 197"/>
                <a:gd name="T52" fmla="*/ 62 w 130"/>
                <a:gd name="T53" fmla="*/ 12 h 197"/>
                <a:gd name="T54" fmla="*/ 81 w 130"/>
                <a:gd name="T55" fmla="*/ 7 h 197"/>
                <a:gd name="T56" fmla="*/ 84 w 130"/>
                <a:gd name="T57" fmla="*/ 0 h 197"/>
                <a:gd name="T58" fmla="*/ 125 w 130"/>
                <a:gd name="T59" fmla="*/ 31 h 197"/>
                <a:gd name="T60" fmla="*/ 116 w 130"/>
                <a:gd name="T61" fmla="*/ 44 h 197"/>
                <a:gd name="T62" fmla="*/ 111 w 130"/>
                <a:gd name="T63" fmla="*/ 48 h 197"/>
                <a:gd name="T64" fmla="*/ 102 w 130"/>
                <a:gd name="T65" fmla="*/ 51 h 197"/>
                <a:gd name="T66" fmla="*/ 104 w 130"/>
                <a:gd name="T67" fmla="*/ 6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0" h="197">
                  <a:moveTo>
                    <a:pt x="104" y="66"/>
                  </a:moveTo>
                  <a:lnTo>
                    <a:pt x="90" y="77"/>
                  </a:lnTo>
                  <a:lnTo>
                    <a:pt x="81" y="81"/>
                  </a:lnTo>
                  <a:lnTo>
                    <a:pt x="76" y="85"/>
                  </a:lnTo>
                  <a:lnTo>
                    <a:pt x="69" y="86"/>
                  </a:lnTo>
                  <a:lnTo>
                    <a:pt x="68" y="92"/>
                  </a:lnTo>
                  <a:lnTo>
                    <a:pt x="65" y="95"/>
                  </a:lnTo>
                  <a:lnTo>
                    <a:pt x="65" y="103"/>
                  </a:lnTo>
                  <a:lnTo>
                    <a:pt x="68" y="119"/>
                  </a:lnTo>
                  <a:lnTo>
                    <a:pt x="81" y="125"/>
                  </a:lnTo>
                  <a:lnTo>
                    <a:pt x="87" y="131"/>
                  </a:lnTo>
                  <a:lnTo>
                    <a:pt x="75" y="138"/>
                  </a:lnTo>
                  <a:lnTo>
                    <a:pt x="71" y="133"/>
                  </a:lnTo>
                  <a:lnTo>
                    <a:pt x="71" y="135"/>
                  </a:lnTo>
                  <a:lnTo>
                    <a:pt x="57" y="137"/>
                  </a:lnTo>
                  <a:lnTo>
                    <a:pt x="83" y="138"/>
                  </a:lnTo>
                  <a:lnTo>
                    <a:pt x="75" y="144"/>
                  </a:lnTo>
                  <a:lnTo>
                    <a:pt x="74" y="141"/>
                  </a:lnTo>
                  <a:lnTo>
                    <a:pt x="66" y="149"/>
                  </a:lnTo>
                  <a:lnTo>
                    <a:pt x="60" y="149"/>
                  </a:lnTo>
                  <a:lnTo>
                    <a:pt x="65" y="152"/>
                  </a:lnTo>
                  <a:lnTo>
                    <a:pt x="64" y="152"/>
                  </a:lnTo>
                  <a:lnTo>
                    <a:pt x="63" y="158"/>
                  </a:lnTo>
                  <a:lnTo>
                    <a:pt x="65" y="162"/>
                  </a:lnTo>
                  <a:lnTo>
                    <a:pt x="64" y="162"/>
                  </a:lnTo>
                  <a:lnTo>
                    <a:pt x="62" y="173"/>
                  </a:lnTo>
                  <a:lnTo>
                    <a:pt x="60" y="185"/>
                  </a:lnTo>
                  <a:lnTo>
                    <a:pt x="41" y="189"/>
                  </a:lnTo>
                  <a:lnTo>
                    <a:pt x="39" y="197"/>
                  </a:lnTo>
                  <a:lnTo>
                    <a:pt x="26" y="197"/>
                  </a:lnTo>
                  <a:lnTo>
                    <a:pt x="21" y="185"/>
                  </a:lnTo>
                  <a:lnTo>
                    <a:pt x="18" y="175"/>
                  </a:lnTo>
                  <a:lnTo>
                    <a:pt x="8" y="159"/>
                  </a:lnTo>
                  <a:lnTo>
                    <a:pt x="9" y="155"/>
                  </a:lnTo>
                  <a:lnTo>
                    <a:pt x="5" y="153"/>
                  </a:lnTo>
                  <a:lnTo>
                    <a:pt x="4" y="153"/>
                  </a:lnTo>
                  <a:lnTo>
                    <a:pt x="0" y="145"/>
                  </a:lnTo>
                  <a:lnTo>
                    <a:pt x="3" y="144"/>
                  </a:lnTo>
                  <a:lnTo>
                    <a:pt x="10" y="129"/>
                  </a:lnTo>
                  <a:lnTo>
                    <a:pt x="11" y="116"/>
                  </a:lnTo>
                  <a:lnTo>
                    <a:pt x="11" y="113"/>
                  </a:lnTo>
                  <a:lnTo>
                    <a:pt x="16" y="108"/>
                  </a:lnTo>
                  <a:lnTo>
                    <a:pt x="8" y="103"/>
                  </a:lnTo>
                  <a:lnTo>
                    <a:pt x="6" y="89"/>
                  </a:lnTo>
                  <a:lnTo>
                    <a:pt x="6" y="75"/>
                  </a:lnTo>
                  <a:lnTo>
                    <a:pt x="16" y="69"/>
                  </a:lnTo>
                  <a:lnTo>
                    <a:pt x="26" y="68"/>
                  </a:lnTo>
                  <a:lnTo>
                    <a:pt x="20" y="62"/>
                  </a:lnTo>
                  <a:lnTo>
                    <a:pt x="28" y="44"/>
                  </a:lnTo>
                  <a:lnTo>
                    <a:pt x="27" y="41"/>
                  </a:lnTo>
                  <a:lnTo>
                    <a:pt x="36" y="38"/>
                  </a:lnTo>
                  <a:lnTo>
                    <a:pt x="41" y="30"/>
                  </a:lnTo>
                  <a:lnTo>
                    <a:pt x="47" y="15"/>
                  </a:lnTo>
                  <a:lnTo>
                    <a:pt x="62" y="12"/>
                  </a:lnTo>
                  <a:lnTo>
                    <a:pt x="63" y="7"/>
                  </a:lnTo>
                  <a:lnTo>
                    <a:pt x="81" y="7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114" y="12"/>
                  </a:lnTo>
                  <a:lnTo>
                    <a:pt x="125" y="31"/>
                  </a:lnTo>
                  <a:lnTo>
                    <a:pt x="130" y="44"/>
                  </a:lnTo>
                  <a:lnTo>
                    <a:pt x="116" y="44"/>
                  </a:lnTo>
                  <a:lnTo>
                    <a:pt x="112" y="45"/>
                  </a:lnTo>
                  <a:lnTo>
                    <a:pt x="111" y="48"/>
                  </a:lnTo>
                  <a:lnTo>
                    <a:pt x="108" y="48"/>
                  </a:lnTo>
                  <a:lnTo>
                    <a:pt x="102" y="51"/>
                  </a:lnTo>
                  <a:lnTo>
                    <a:pt x="100" y="59"/>
                  </a:lnTo>
                  <a:lnTo>
                    <a:pt x="104" y="6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93" name="Freeform 429">
              <a:extLst>
                <a:ext uri="{FF2B5EF4-FFF2-40B4-BE49-F238E27FC236}">
                  <a16:creationId xmlns:a16="http://schemas.microsoft.com/office/drawing/2014/main" id="{4A664B06-1530-4AB5-81D4-33501C98CDA9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1793" y="2403627"/>
              <a:ext cx="13319" cy="25793"/>
            </a:xfrm>
            <a:custGeom>
              <a:avLst/>
              <a:gdLst>
                <a:gd name="T0" fmla="*/ 6 w 6"/>
                <a:gd name="T1" fmla="*/ 0 h 12"/>
                <a:gd name="T2" fmla="*/ 6 w 6"/>
                <a:gd name="T3" fmla="*/ 3 h 12"/>
                <a:gd name="T4" fmla="*/ 4 w 6"/>
                <a:gd name="T5" fmla="*/ 10 h 12"/>
                <a:gd name="T6" fmla="*/ 3 w 6"/>
                <a:gd name="T7" fmla="*/ 12 h 12"/>
                <a:gd name="T8" fmla="*/ 0 w 6"/>
                <a:gd name="T9" fmla="*/ 7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6" y="3"/>
                  </a:lnTo>
                  <a:lnTo>
                    <a:pt x="4" y="10"/>
                  </a:lnTo>
                  <a:lnTo>
                    <a:pt x="3" y="12"/>
                  </a:lnTo>
                  <a:lnTo>
                    <a:pt x="0" y="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94" name="Freeform 430">
              <a:extLst>
                <a:ext uri="{FF2B5EF4-FFF2-40B4-BE49-F238E27FC236}">
                  <a16:creationId xmlns:a16="http://schemas.microsoft.com/office/drawing/2014/main" id="{B40DC031-E0DF-47EE-B862-C07B4EF0B7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4480" y="2746867"/>
              <a:ext cx="117970" cy="61504"/>
            </a:xfrm>
            <a:custGeom>
              <a:avLst/>
              <a:gdLst>
                <a:gd name="T0" fmla="*/ 53 w 55"/>
                <a:gd name="T1" fmla="*/ 16 h 27"/>
                <a:gd name="T2" fmla="*/ 49 w 55"/>
                <a:gd name="T3" fmla="*/ 20 h 27"/>
                <a:gd name="T4" fmla="*/ 41 w 55"/>
                <a:gd name="T5" fmla="*/ 20 h 27"/>
                <a:gd name="T6" fmla="*/ 36 w 55"/>
                <a:gd name="T7" fmla="*/ 26 h 27"/>
                <a:gd name="T8" fmla="*/ 27 w 55"/>
                <a:gd name="T9" fmla="*/ 20 h 27"/>
                <a:gd name="T10" fmla="*/ 20 w 55"/>
                <a:gd name="T11" fmla="*/ 26 h 27"/>
                <a:gd name="T12" fmla="*/ 12 w 55"/>
                <a:gd name="T13" fmla="*/ 27 h 27"/>
                <a:gd name="T14" fmla="*/ 5 w 55"/>
                <a:gd name="T15" fmla="*/ 19 h 27"/>
                <a:gd name="T16" fmla="*/ 0 w 55"/>
                <a:gd name="T17" fmla="*/ 21 h 27"/>
                <a:gd name="T18" fmla="*/ 11 w 55"/>
                <a:gd name="T19" fmla="*/ 4 h 27"/>
                <a:gd name="T20" fmla="*/ 14 w 55"/>
                <a:gd name="T21" fmla="*/ 3 h 27"/>
                <a:gd name="T22" fmla="*/ 18 w 55"/>
                <a:gd name="T23" fmla="*/ 1 h 27"/>
                <a:gd name="T24" fmla="*/ 31 w 55"/>
                <a:gd name="T25" fmla="*/ 0 h 27"/>
                <a:gd name="T26" fmla="*/ 43 w 55"/>
                <a:gd name="T27" fmla="*/ 2 h 27"/>
                <a:gd name="T28" fmla="*/ 43 w 55"/>
                <a:gd name="T29" fmla="*/ 6 h 27"/>
                <a:gd name="T30" fmla="*/ 42 w 55"/>
                <a:gd name="T31" fmla="*/ 8 h 27"/>
                <a:gd name="T32" fmla="*/ 42 w 55"/>
                <a:gd name="T33" fmla="*/ 9 h 27"/>
                <a:gd name="T34" fmla="*/ 44 w 55"/>
                <a:gd name="T35" fmla="*/ 9 h 27"/>
                <a:gd name="T36" fmla="*/ 55 w 55"/>
                <a:gd name="T37" fmla="*/ 12 h 27"/>
                <a:gd name="T38" fmla="*/ 55 w 55"/>
                <a:gd name="T39" fmla="*/ 13 h 27"/>
                <a:gd name="T40" fmla="*/ 53 w 55"/>
                <a:gd name="T41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27">
                  <a:moveTo>
                    <a:pt x="53" y="16"/>
                  </a:moveTo>
                  <a:lnTo>
                    <a:pt x="49" y="20"/>
                  </a:lnTo>
                  <a:lnTo>
                    <a:pt x="41" y="20"/>
                  </a:lnTo>
                  <a:lnTo>
                    <a:pt x="36" y="26"/>
                  </a:lnTo>
                  <a:lnTo>
                    <a:pt x="27" y="20"/>
                  </a:lnTo>
                  <a:lnTo>
                    <a:pt x="20" y="26"/>
                  </a:lnTo>
                  <a:lnTo>
                    <a:pt x="12" y="27"/>
                  </a:lnTo>
                  <a:lnTo>
                    <a:pt x="5" y="19"/>
                  </a:lnTo>
                  <a:lnTo>
                    <a:pt x="0" y="21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8" y="1"/>
                  </a:lnTo>
                  <a:lnTo>
                    <a:pt x="31" y="0"/>
                  </a:lnTo>
                  <a:lnTo>
                    <a:pt x="43" y="2"/>
                  </a:lnTo>
                  <a:lnTo>
                    <a:pt x="43" y="6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3" y="16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95" name="Freeform 431">
              <a:extLst>
                <a:ext uri="{FF2B5EF4-FFF2-40B4-BE49-F238E27FC236}">
                  <a16:creationId xmlns:a16="http://schemas.microsoft.com/office/drawing/2014/main" id="{C8FCCFD5-E0E2-46BC-A709-A428643B523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8788" y="2580206"/>
              <a:ext cx="487097" cy="277768"/>
            </a:xfrm>
            <a:custGeom>
              <a:avLst/>
              <a:gdLst>
                <a:gd name="T0" fmla="*/ 121 w 229"/>
                <a:gd name="T1" fmla="*/ 0 h 126"/>
                <a:gd name="T2" fmla="*/ 110 w 229"/>
                <a:gd name="T3" fmla="*/ 4 h 126"/>
                <a:gd name="T4" fmla="*/ 96 w 229"/>
                <a:gd name="T5" fmla="*/ 11 h 126"/>
                <a:gd name="T6" fmla="*/ 97 w 229"/>
                <a:gd name="T7" fmla="*/ 17 h 126"/>
                <a:gd name="T8" fmla="*/ 76 w 229"/>
                <a:gd name="T9" fmla="*/ 13 h 126"/>
                <a:gd name="T10" fmla="*/ 54 w 229"/>
                <a:gd name="T11" fmla="*/ 8 h 126"/>
                <a:gd name="T12" fmla="*/ 32 w 229"/>
                <a:gd name="T13" fmla="*/ 8 h 126"/>
                <a:gd name="T14" fmla="*/ 12 w 229"/>
                <a:gd name="T15" fmla="*/ 8 h 126"/>
                <a:gd name="T16" fmla="*/ 18 w 229"/>
                <a:gd name="T17" fmla="*/ 25 h 126"/>
                <a:gd name="T18" fmla="*/ 17 w 229"/>
                <a:gd name="T19" fmla="*/ 32 h 126"/>
                <a:gd name="T20" fmla="*/ 6 w 229"/>
                <a:gd name="T21" fmla="*/ 48 h 126"/>
                <a:gd name="T22" fmla="*/ 4 w 229"/>
                <a:gd name="T23" fmla="*/ 53 h 126"/>
                <a:gd name="T24" fmla="*/ 0 w 229"/>
                <a:gd name="T25" fmla="*/ 64 h 126"/>
                <a:gd name="T26" fmla="*/ 10 w 229"/>
                <a:gd name="T27" fmla="*/ 71 h 126"/>
                <a:gd name="T28" fmla="*/ 11 w 229"/>
                <a:gd name="T29" fmla="*/ 71 h 126"/>
                <a:gd name="T30" fmla="*/ 35 w 229"/>
                <a:gd name="T31" fmla="*/ 73 h 126"/>
                <a:gd name="T32" fmla="*/ 55 w 229"/>
                <a:gd name="T33" fmla="*/ 66 h 126"/>
                <a:gd name="T34" fmla="*/ 66 w 229"/>
                <a:gd name="T35" fmla="*/ 58 h 126"/>
                <a:gd name="T36" fmla="*/ 71 w 229"/>
                <a:gd name="T37" fmla="*/ 59 h 126"/>
                <a:gd name="T38" fmla="*/ 80 w 229"/>
                <a:gd name="T39" fmla="*/ 68 h 126"/>
                <a:gd name="T40" fmla="*/ 91 w 229"/>
                <a:gd name="T41" fmla="*/ 78 h 126"/>
                <a:gd name="T42" fmla="*/ 101 w 229"/>
                <a:gd name="T43" fmla="*/ 86 h 126"/>
                <a:gd name="T44" fmla="*/ 110 w 229"/>
                <a:gd name="T45" fmla="*/ 96 h 126"/>
                <a:gd name="T46" fmla="*/ 121 w 229"/>
                <a:gd name="T47" fmla="*/ 90 h 126"/>
                <a:gd name="T48" fmla="*/ 125 w 229"/>
                <a:gd name="T49" fmla="*/ 92 h 126"/>
                <a:gd name="T50" fmla="*/ 124 w 229"/>
                <a:gd name="T51" fmla="*/ 84 h 126"/>
                <a:gd name="T52" fmla="*/ 126 w 229"/>
                <a:gd name="T53" fmla="*/ 90 h 126"/>
                <a:gd name="T54" fmla="*/ 136 w 229"/>
                <a:gd name="T55" fmla="*/ 91 h 126"/>
                <a:gd name="T56" fmla="*/ 122 w 229"/>
                <a:gd name="T57" fmla="*/ 94 h 126"/>
                <a:gd name="T58" fmla="*/ 127 w 229"/>
                <a:gd name="T59" fmla="*/ 96 h 126"/>
                <a:gd name="T60" fmla="*/ 138 w 229"/>
                <a:gd name="T61" fmla="*/ 100 h 126"/>
                <a:gd name="T62" fmla="*/ 150 w 229"/>
                <a:gd name="T63" fmla="*/ 101 h 126"/>
                <a:gd name="T64" fmla="*/ 137 w 229"/>
                <a:gd name="T65" fmla="*/ 110 h 126"/>
                <a:gd name="T66" fmla="*/ 145 w 229"/>
                <a:gd name="T67" fmla="*/ 114 h 126"/>
                <a:gd name="T68" fmla="*/ 151 w 229"/>
                <a:gd name="T69" fmla="*/ 120 h 126"/>
                <a:gd name="T70" fmla="*/ 154 w 229"/>
                <a:gd name="T71" fmla="*/ 126 h 126"/>
                <a:gd name="T72" fmla="*/ 172 w 229"/>
                <a:gd name="T73" fmla="*/ 119 h 126"/>
                <a:gd name="T74" fmla="*/ 180 w 229"/>
                <a:gd name="T75" fmla="*/ 118 h 126"/>
                <a:gd name="T76" fmla="*/ 188 w 229"/>
                <a:gd name="T77" fmla="*/ 113 h 126"/>
                <a:gd name="T78" fmla="*/ 178 w 229"/>
                <a:gd name="T79" fmla="*/ 112 h 126"/>
                <a:gd name="T80" fmla="*/ 166 w 229"/>
                <a:gd name="T81" fmla="*/ 103 h 126"/>
                <a:gd name="T82" fmla="*/ 168 w 229"/>
                <a:gd name="T83" fmla="*/ 95 h 126"/>
                <a:gd name="T84" fmla="*/ 167 w 229"/>
                <a:gd name="T85" fmla="*/ 100 h 126"/>
                <a:gd name="T86" fmla="*/ 170 w 229"/>
                <a:gd name="T87" fmla="*/ 96 h 126"/>
                <a:gd name="T88" fmla="*/ 188 w 229"/>
                <a:gd name="T89" fmla="*/ 90 h 126"/>
                <a:gd name="T90" fmla="*/ 208 w 229"/>
                <a:gd name="T91" fmla="*/ 83 h 126"/>
                <a:gd name="T92" fmla="*/ 215 w 229"/>
                <a:gd name="T93" fmla="*/ 82 h 126"/>
                <a:gd name="T94" fmla="*/ 218 w 229"/>
                <a:gd name="T95" fmla="*/ 72 h 126"/>
                <a:gd name="T96" fmla="*/ 229 w 229"/>
                <a:gd name="T97" fmla="*/ 67 h 126"/>
                <a:gd name="T98" fmla="*/ 221 w 229"/>
                <a:gd name="T99" fmla="*/ 46 h 126"/>
                <a:gd name="T100" fmla="*/ 202 w 229"/>
                <a:gd name="T101" fmla="*/ 40 h 126"/>
                <a:gd name="T102" fmla="*/ 184 w 229"/>
                <a:gd name="T103" fmla="*/ 34 h 126"/>
                <a:gd name="T104" fmla="*/ 175 w 229"/>
                <a:gd name="T105" fmla="*/ 35 h 126"/>
                <a:gd name="T106" fmla="*/ 158 w 229"/>
                <a:gd name="T107" fmla="*/ 22 h 126"/>
                <a:gd name="T108" fmla="*/ 143 w 229"/>
                <a:gd name="T109" fmla="*/ 7 h 126"/>
                <a:gd name="T110" fmla="*/ 140 w 229"/>
                <a:gd name="T111" fmla="*/ 2 h 126"/>
                <a:gd name="T112" fmla="*/ 121 w 229"/>
                <a:gd name="T113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9" h="126">
                  <a:moveTo>
                    <a:pt x="121" y="0"/>
                  </a:moveTo>
                  <a:lnTo>
                    <a:pt x="110" y="4"/>
                  </a:lnTo>
                  <a:lnTo>
                    <a:pt x="96" y="11"/>
                  </a:lnTo>
                  <a:lnTo>
                    <a:pt x="97" y="17"/>
                  </a:lnTo>
                  <a:lnTo>
                    <a:pt x="76" y="13"/>
                  </a:lnTo>
                  <a:lnTo>
                    <a:pt x="54" y="8"/>
                  </a:lnTo>
                  <a:lnTo>
                    <a:pt x="32" y="8"/>
                  </a:lnTo>
                  <a:lnTo>
                    <a:pt x="12" y="8"/>
                  </a:lnTo>
                  <a:lnTo>
                    <a:pt x="18" y="25"/>
                  </a:lnTo>
                  <a:lnTo>
                    <a:pt x="17" y="32"/>
                  </a:lnTo>
                  <a:lnTo>
                    <a:pt x="6" y="48"/>
                  </a:lnTo>
                  <a:lnTo>
                    <a:pt x="4" y="53"/>
                  </a:lnTo>
                  <a:lnTo>
                    <a:pt x="0" y="64"/>
                  </a:lnTo>
                  <a:lnTo>
                    <a:pt x="10" y="71"/>
                  </a:lnTo>
                  <a:lnTo>
                    <a:pt x="11" y="71"/>
                  </a:lnTo>
                  <a:lnTo>
                    <a:pt x="35" y="73"/>
                  </a:lnTo>
                  <a:lnTo>
                    <a:pt x="55" y="66"/>
                  </a:lnTo>
                  <a:lnTo>
                    <a:pt x="66" y="58"/>
                  </a:lnTo>
                  <a:lnTo>
                    <a:pt x="71" y="59"/>
                  </a:lnTo>
                  <a:lnTo>
                    <a:pt x="80" y="68"/>
                  </a:lnTo>
                  <a:lnTo>
                    <a:pt x="91" y="78"/>
                  </a:lnTo>
                  <a:lnTo>
                    <a:pt x="101" y="86"/>
                  </a:lnTo>
                  <a:lnTo>
                    <a:pt x="110" y="96"/>
                  </a:lnTo>
                  <a:lnTo>
                    <a:pt x="121" y="90"/>
                  </a:lnTo>
                  <a:lnTo>
                    <a:pt x="125" y="92"/>
                  </a:lnTo>
                  <a:lnTo>
                    <a:pt x="124" y="84"/>
                  </a:lnTo>
                  <a:lnTo>
                    <a:pt x="126" y="90"/>
                  </a:lnTo>
                  <a:lnTo>
                    <a:pt x="136" y="91"/>
                  </a:lnTo>
                  <a:lnTo>
                    <a:pt x="122" y="94"/>
                  </a:lnTo>
                  <a:lnTo>
                    <a:pt x="127" y="96"/>
                  </a:lnTo>
                  <a:lnTo>
                    <a:pt x="138" y="100"/>
                  </a:lnTo>
                  <a:lnTo>
                    <a:pt x="150" y="101"/>
                  </a:lnTo>
                  <a:lnTo>
                    <a:pt x="137" y="110"/>
                  </a:lnTo>
                  <a:lnTo>
                    <a:pt x="145" y="114"/>
                  </a:lnTo>
                  <a:lnTo>
                    <a:pt x="151" y="120"/>
                  </a:lnTo>
                  <a:lnTo>
                    <a:pt x="154" y="126"/>
                  </a:lnTo>
                  <a:lnTo>
                    <a:pt x="172" y="119"/>
                  </a:lnTo>
                  <a:lnTo>
                    <a:pt x="180" y="118"/>
                  </a:lnTo>
                  <a:lnTo>
                    <a:pt x="188" y="113"/>
                  </a:lnTo>
                  <a:lnTo>
                    <a:pt x="178" y="112"/>
                  </a:lnTo>
                  <a:lnTo>
                    <a:pt x="166" y="103"/>
                  </a:lnTo>
                  <a:lnTo>
                    <a:pt x="168" y="95"/>
                  </a:lnTo>
                  <a:lnTo>
                    <a:pt x="167" y="100"/>
                  </a:lnTo>
                  <a:lnTo>
                    <a:pt x="170" y="96"/>
                  </a:lnTo>
                  <a:lnTo>
                    <a:pt x="188" y="90"/>
                  </a:lnTo>
                  <a:lnTo>
                    <a:pt x="208" y="83"/>
                  </a:lnTo>
                  <a:lnTo>
                    <a:pt x="215" y="82"/>
                  </a:lnTo>
                  <a:lnTo>
                    <a:pt x="218" y="72"/>
                  </a:lnTo>
                  <a:lnTo>
                    <a:pt x="229" y="67"/>
                  </a:lnTo>
                  <a:lnTo>
                    <a:pt x="221" y="46"/>
                  </a:lnTo>
                  <a:lnTo>
                    <a:pt x="202" y="40"/>
                  </a:lnTo>
                  <a:lnTo>
                    <a:pt x="184" y="34"/>
                  </a:lnTo>
                  <a:lnTo>
                    <a:pt x="175" y="35"/>
                  </a:lnTo>
                  <a:lnTo>
                    <a:pt x="158" y="22"/>
                  </a:lnTo>
                  <a:lnTo>
                    <a:pt x="143" y="7"/>
                  </a:lnTo>
                  <a:lnTo>
                    <a:pt x="140" y="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96" name="Freeform 432">
              <a:extLst>
                <a:ext uri="{FF2B5EF4-FFF2-40B4-BE49-F238E27FC236}">
                  <a16:creationId xmlns:a16="http://schemas.microsoft.com/office/drawing/2014/main" id="{51F92436-D4E6-49CB-84E9-7607F5997ACB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6972" y="2800437"/>
              <a:ext cx="123677" cy="144836"/>
            </a:xfrm>
            <a:custGeom>
              <a:avLst/>
              <a:gdLst>
                <a:gd name="T0" fmla="*/ 9 w 57"/>
                <a:gd name="T1" fmla="*/ 13 h 67"/>
                <a:gd name="T2" fmla="*/ 9 w 57"/>
                <a:gd name="T3" fmla="*/ 14 h 67"/>
                <a:gd name="T4" fmla="*/ 6 w 57"/>
                <a:gd name="T5" fmla="*/ 15 h 67"/>
                <a:gd name="T6" fmla="*/ 4 w 57"/>
                <a:gd name="T7" fmla="*/ 19 h 67"/>
                <a:gd name="T8" fmla="*/ 8 w 57"/>
                <a:gd name="T9" fmla="*/ 19 h 67"/>
                <a:gd name="T10" fmla="*/ 9 w 57"/>
                <a:gd name="T11" fmla="*/ 21 h 67"/>
                <a:gd name="T12" fmla="*/ 8 w 57"/>
                <a:gd name="T13" fmla="*/ 24 h 67"/>
                <a:gd name="T14" fmla="*/ 6 w 57"/>
                <a:gd name="T15" fmla="*/ 26 h 67"/>
                <a:gd name="T16" fmla="*/ 6 w 57"/>
                <a:gd name="T17" fmla="*/ 27 h 67"/>
                <a:gd name="T18" fmla="*/ 8 w 57"/>
                <a:gd name="T19" fmla="*/ 30 h 67"/>
                <a:gd name="T20" fmla="*/ 14 w 57"/>
                <a:gd name="T21" fmla="*/ 33 h 67"/>
                <a:gd name="T22" fmla="*/ 9 w 57"/>
                <a:gd name="T23" fmla="*/ 34 h 67"/>
                <a:gd name="T24" fmla="*/ 13 w 57"/>
                <a:gd name="T25" fmla="*/ 37 h 67"/>
                <a:gd name="T26" fmla="*/ 13 w 57"/>
                <a:gd name="T27" fmla="*/ 40 h 67"/>
                <a:gd name="T28" fmla="*/ 6 w 57"/>
                <a:gd name="T29" fmla="*/ 42 h 67"/>
                <a:gd name="T30" fmla="*/ 8 w 57"/>
                <a:gd name="T31" fmla="*/ 44 h 67"/>
                <a:gd name="T32" fmla="*/ 7 w 57"/>
                <a:gd name="T33" fmla="*/ 46 h 67"/>
                <a:gd name="T34" fmla="*/ 4 w 57"/>
                <a:gd name="T35" fmla="*/ 44 h 67"/>
                <a:gd name="T36" fmla="*/ 1 w 57"/>
                <a:gd name="T37" fmla="*/ 49 h 67"/>
                <a:gd name="T38" fmla="*/ 0 w 57"/>
                <a:gd name="T39" fmla="*/ 50 h 67"/>
                <a:gd name="T40" fmla="*/ 3 w 57"/>
                <a:gd name="T41" fmla="*/ 55 h 67"/>
                <a:gd name="T42" fmla="*/ 0 w 57"/>
                <a:gd name="T43" fmla="*/ 56 h 67"/>
                <a:gd name="T44" fmla="*/ 0 w 57"/>
                <a:gd name="T45" fmla="*/ 58 h 67"/>
                <a:gd name="T46" fmla="*/ 8 w 57"/>
                <a:gd name="T47" fmla="*/ 63 h 67"/>
                <a:gd name="T48" fmla="*/ 13 w 57"/>
                <a:gd name="T49" fmla="*/ 67 h 67"/>
                <a:gd name="T50" fmla="*/ 15 w 57"/>
                <a:gd name="T51" fmla="*/ 56 h 67"/>
                <a:gd name="T52" fmla="*/ 24 w 57"/>
                <a:gd name="T53" fmla="*/ 58 h 67"/>
                <a:gd name="T54" fmla="*/ 27 w 57"/>
                <a:gd name="T55" fmla="*/ 67 h 67"/>
                <a:gd name="T56" fmla="*/ 30 w 57"/>
                <a:gd name="T57" fmla="*/ 66 h 67"/>
                <a:gd name="T58" fmla="*/ 30 w 57"/>
                <a:gd name="T59" fmla="*/ 64 h 67"/>
                <a:gd name="T60" fmla="*/ 34 w 57"/>
                <a:gd name="T61" fmla="*/ 62 h 67"/>
                <a:gd name="T62" fmla="*/ 37 w 57"/>
                <a:gd name="T63" fmla="*/ 63 h 67"/>
                <a:gd name="T64" fmla="*/ 39 w 57"/>
                <a:gd name="T65" fmla="*/ 61 h 67"/>
                <a:gd name="T66" fmla="*/ 40 w 57"/>
                <a:gd name="T67" fmla="*/ 61 h 67"/>
                <a:gd name="T68" fmla="*/ 44 w 57"/>
                <a:gd name="T69" fmla="*/ 62 h 67"/>
                <a:gd name="T70" fmla="*/ 45 w 57"/>
                <a:gd name="T71" fmla="*/ 61 h 67"/>
                <a:gd name="T72" fmla="*/ 50 w 57"/>
                <a:gd name="T73" fmla="*/ 60 h 67"/>
                <a:gd name="T74" fmla="*/ 54 w 57"/>
                <a:gd name="T75" fmla="*/ 63 h 67"/>
                <a:gd name="T76" fmla="*/ 55 w 57"/>
                <a:gd name="T77" fmla="*/ 62 h 67"/>
                <a:gd name="T78" fmla="*/ 51 w 57"/>
                <a:gd name="T79" fmla="*/ 56 h 67"/>
                <a:gd name="T80" fmla="*/ 57 w 57"/>
                <a:gd name="T81" fmla="*/ 49 h 67"/>
                <a:gd name="T82" fmla="*/ 51 w 57"/>
                <a:gd name="T83" fmla="*/ 39 h 67"/>
                <a:gd name="T84" fmla="*/ 52 w 57"/>
                <a:gd name="T85" fmla="*/ 30 h 67"/>
                <a:gd name="T86" fmla="*/ 51 w 57"/>
                <a:gd name="T87" fmla="*/ 25 h 67"/>
                <a:gd name="T88" fmla="*/ 46 w 57"/>
                <a:gd name="T89" fmla="*/ 22 h 67"/>
                <a:gd name="T90" fmla="*/ 43 w 57"/>
                <a:gd name="T91" fmla="*/ 22 h 67"/>
                <a:gd name="T92" fmla="*/ 37 w 57"/>
                <a:gd name="T93" fmla="*/ 19 h 67"/>
                <a:gd name="T94" fmla="*/ 18 w 57"/>
                <a:gd name="T95" fmla="*/ 0 h 67"/>
                <a:gd name="T96" fmla="*/ 0 w 57"/>
                <a:gd name="T97" fmla="*/ 3 h 67"/>
                <a:gd name="T98" fmla="*/ 3 w 57"/>
                <a:gd name="T99" fmla="*/ 9 h 67"/>
                <a:gd name="T100" fmla="*/ 4 w 57"/>
                <a:gd name="T101" fmla="*/ 9 h 67"/>
                <a:gd name="T102" fmla="*/ 3 w 57"/>
                <a:gd name="T103" fmla="*/ 12 h 67"/>
                <a:gd name="T104" fmla="*/ 4 w 57"/>
                <a:gd name="T105" fmla="*/ 12 h 67"/>
                <a:gd name="T106" fmla="*/ 9 w 57"/>
                <a:gd name="T107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" h="67">
                  <a:moveTo>
                    <a:pt x="9" y="13"/>
                  </a:moveTo>
                  <a:lnTo>
                    <a:pt x="9" y="14"/>
                  </a:lnTo>
                  <a:lnTo>
                    <a:pt x="6" y="15"/>
                  </a:lnTo>
                  <a:lnTo>
                    <a:pt x="4" y="19"/>
                  </a:lnTo>
                  <a:lnTo>
                    <a:pt x="8" y="19"/>
                  </a:lnTo>
                  <a:lnTo>
                    <a:pt x="9" y="21"/>
                  </a:lnTo>
                  <a:lnTo>
                    <a:pt x="8" y="24"/>
                  </a:lnTo>
                  <a:lnTo>
                    <a:pt x="6" y="26"/>
                  </a:lnTo>
                  <a:lnTo>
                    <a:pt x="6" y="27"/>
                  </a:lnTo>
                  <a:lnTo>
                    <a:pt x="8" y="30"/>
                  </a:lnTo>
                  <a:lnTo>
                    <a:pt x="14" y="33"/>
                  </a:lnTo>
                  <a:lnTo>
                    <a:pt x="9" y="34"/>
                  </a:lnTo>
                  <a:lnTo>
                    <a:pt x="13" y="37"/>
                  </a:lnTo>
                  <a:lnTo>
                    <a:pt x="13" y="40"/>
                  </a:lnTo>
                  <a:lnTo>
                    <a:pt x="6" y="42"/>
                  </a:lnTo>
                  <a:lnTo>
                    <a:pt x="8" y="44"/>
                  </a:lnTo>
                  <a:lnTo>
                    <a:pt x="7" y="46"/>
                  </a:lnTo>
                  <a:lnTo>
                    <a:pt x="4" y="44"/>
                  </a:lnTo>
                  <a:lnTo>
                    <a:pt x="1" y="49"/>
                  </a:lnTo>
                  <a:lnTo>
                    <a:pt x="0" y="50"/>
                  </a:lnTo>
                  <a:lnTo>
                    <a:pt x="3" y="55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13" y="67"/>
                  </a:lnTo>
                  <a:lnTo>
                    <a:pt x="15" y="56"/>
                  </a:lnTo>
                  <a:lnTo>
                    <a:pt x="24" y="58"/>
                  </a:lnTo>
                  <a:lnTo>
                    <a:pt x="27" y="67"/>
                  </a:lnTo>
                  <a:lnTo>
                    <a:pt x="30" y="66"/>
                  </a:lnTo>
                  <a:lnTo>
                    <a:pt x="30" y="64"/>
                  </a:lnTo>
                  <a:lnTo>
                    <a:pt x="34" y="62"/>
                  </a:lnTo>
                  <a:lnTo>
                    <a:pt x="37" y="63"/>
                  </a:lnTo>
                  <a:lnTo>
                    <a:pt x="39" y="61"/>
                  </a:lnTo>
                  <a:lnTo>
                    <a:pt x="40" y="61"/>
                  </a:lnTo>
                  <a:lnTo>
                    <a:pt x="44" y="62"/>
                  </a:lnTo>
                  <a:lnTo>
                    <a:pt x="45" y="61"/>
                  </a:lnTo>
                  <a:lnTo>
                    <a:pt x="50" y="60"/>
                  </a:lnTo>
                  <a:lnTo>
                    <a:pt x="54" y="63"/>
                  </a:lnTo>
                  <a:lnTo>
                    <a:pt x="55" y="62"/>
                  </a:lnTo>
                  <a:lnTo>
                    <a:pt x="51" y="56"/>
                  </a:lnTo>
                  <a:lnTo>
                    <a:pt x="57" y="49"/>
                  </a:lnTo>
                  <a:lnTo>
                    <a:pt x="51" y="39"/>
                  </a:lnTo>
                  <a:lnTo>
                    <a:pt x="52" y="30"/>
                  </a:lnTo>
                  <a:lnTo>
                    <a:pt x="51" y="25"/>
                  </a:lnTo>
                  <a:lnTo>
                    <a:pt x="46" y="22"/>
                  </a:lnTo>
                  <a:lnTo>
                    <a:pt x="43" y="22"/>
                  </a:lnTo>
                  <a:lnTo>
                    <a:pt x="37" y="19"/>
                  </a:lnTo>
                  <a:lnTo>
                    <a:pt x="18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4" y="9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9" y="1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22" name="Freeform 458">
              <a:extLst>
                <a:ext uri="{FF2B5EF4-FFF2-40B4-BE49-F238E27FC236}">
                  <a16:creationId xmlns:a16="http://schemas.microsoft.com/office/drawing/2014/main" id="{2772112D-5EC8-4819-AE1C-3CC021947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2074" y="2486957"/>
              <a:ext cx="104649" cy="126980"/>
            </a:xfrm>
            <a:custGeom>
              <a:avLst/>
              <a:gdLst>
                <a:gd name="T0" fmla="*/ 51 w 51"/>
                <a:gd name="T1" fmla="*/ 42 h 58"/>
                <a:gd name="T2" fmla="*/ 51 w 51"/>
                <a:gd name="T3" fmla="*/ 30 h 58"/>
                <a:gd name="T4" fmla="*/ 51 w 51"/>
                <a:gd name="T5" fmla="*/ 18 h 58"/>
                <a:gd name="T6" fmla="*/ 43 w 51"/>
                <a:gd name="T7" fmla="*/ 14 h 58"/>
                <a:gd name="T8" fmla="*/ 40 w 51"/>
                <a:gd name="T9" fmla="*/ 16 h 58"/>
                <a:gd name="T10" fmla="*/ 30 w 51"/>
                <a:gd name="T11" fmla="*/ 14 h 58"/>
                <a:gd name="T12" fmla="*/ 39 w 51"/>
                <a:gd name="T13" fmla="*/ 4 h 58"/>
                <a:gd name="T14" fmla="*/ 41 w 51"/>
                <a:gd name="T15" fmla="*/ 0 h 58"/>
                <a:gd name="T16" fmla="*/ 36 w 51"/>
                <a:gd name="T17" fmla="*/ 2 h 58"/>
                <a:gd name="T18" fmla="*/ 31 w 51"/>
                <a:gd name="T19" fmla="*/ 2 h 58"/>
                <a:gd name="T20" fmla="*/ 22 w 51"/>
                <a:gd name="T21" fmla="*/ 7 h 58"/>
                <a:gd name="T22" fmla="*/ 25 w 51"/>
                <a:gd name="T23" fmla="*/ 10 h 58"/>
                <a:gd name="T24" fmla="*/ 22 w 51"/>
                <a:gd name="T25" fmla="*/ 14 h 58"/>
                <a:gd name="T26" fmla="*/ 7 w 51"/>
                <a:gd name="T27" fmla="*/ 17 h 58"/>
                <a:gd name="T28" fmla="*/ 9 w 51"/>
                <a:gd name="T29" fmla="*/ 20 h 58"/>
                <a:gd name="T30" fmla="*/ 3 w 51"/>
                <a:gd name="T31" fmla="*/ 26 h 58"/>
                <a:gd name="T32" fmla="*/ 16 w 51"/>
                <a:gd name="T33" fmla="*/ 30 h 58"/>
                <a:gd name="T34" fmla="*/ 6 w 51"/>
                <a:gd name="T35" fmla="*/ 41 h 58"/>
                <a:gd name="T36" fmla="*/ 17 w 51"/>
                <a:gd name="T37" fmla="*/ 38 h 58"/>
                <a:gd name="T38" fmla="*/ 6 w 51"/>
                <a:gd name="T39" fmla="*/ 44 h 58"/>
                <a:gd name="T40" fmla="*/ 0 w 51"/>
                <a:gd name="T41" fmla="*/ 47 h 58"/>
                <a:gd name="T42" fmla="*/ 4 w 51"/>
                <a:gd name="T43" fmla="*/ 48 h 58"/>
                <a:gd name="T44" fmla="*/ 0 w 51"/>
                <a:gd name="T45" fmla="*/ 50 h 58"/>
                <a:gd name="T46" fmla="*/ 5 w 51"/>
                <a:gd name="T47" fmla="*/ 53 h 58"/>
                <a:gd name="T48" fmla="*/ 4 w 51"/>
                <a:gd name="T49" fmla="*/ 55 h 58"/>
                <a:gd name="T50" fmla="*/ 9 w 51"/>
                <a:gd name="T51" fmla="*/ 55 h 58"/>
                <a:gd name="T52" fmla="*/ 7 w 51"/>
                <a:gd name="T53" fmla="*/ 58 h 58"/>
                <a:gd name="T54" fmla="*/ 21 w 51"/>
                <a:gd name="T55" fmla="*/ 55 h 58"/>
                <a:gd name="T56" fmla="*/ 33 w 51"/>
                <a:gd name="T57" fmla="*/ 49 h 58"/>
                <a:gd name="T58" fmla="*/ 45 w 51"/>
                <a:gd name="T59" fmla="*/ 48 h 58"/>
                <a:gd name="T60" fmla="*/ 51 w 51"/>
                <a:gd name="T61" fmla="*/ 4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58">
                  <a:moveTo>
                    <a:pt x="51" y="42"/>
                  </a:moveTo>
                  <a:lnTo>
                    <a:pt x="51" y="30"/>
                  </a:lnTo>
                  <a:lnTo>
                    <a:pt x="51" y="18"/>
                  </a:lnTo>
                  <a:lnTo>
                    <a:pt x="43" y="14"/>
                  </a:lnTo>
                  <a:lnTo>
                    <a:pt x="40" y="16"/>
                  </a:lnTo>
                  <a:lnTo>
                    <a:pt x="30" y="14"/>
                  </a:lnTo>
                  <a:lnTo>
                    <a:pt x="39" y="4"/>
                  </a:lnTo>
                  <a:lnTo>
                    <a:pt x="41" y="0"/>
                  </a:lnTo>
                  <a:lnTo>
                    <a:pt x="36" y="2"/>
                  </a:lnTo>
                  <a:lnTo>
                    <a:pt x="31" y="2"/>
                  </a:lnTo>
                  <a:lnTo>
                    <a:pt x="22" y="7"/>
                  </a:lnTo>
                  <a:lnTo>
                    <a:pt x="25" y="10"/>
                  </a:lnTo>
                  <a:lnTo>
                    <a:pt x="22" y="14"/>
                  </a:lnTo>
                  <a:lnTo>
                    <a:pt x="7" y="17"/>
                  </a:lnTo>
                  <a:lnTo>
                    <a:pt x="9" y="20"/>
                  </a:lnTo>
                  <a:lnTo>
                    <a:pt x="3" y="26"/>
                  </a:lnTo>
                  <a:lnTo>
                    <a:pt x="16" y="30"/>
                  </a:lnTo>
                  <a:lnTo>
                    <a:pt x="6" y="41"/>
                  </a:lnTo>
                  <a:lnTo>
                    <a:pt x="17" y="38"/>
                  </a:lnTo>
                  <a:lnTo>
                    <a:pt x="6" y="44"/>
                  </a:lnTo>
                  <a:lnTo>
                    <a:pt x="0" y="47"/>
                  </a:lnTo>
                  <a:lnTo>
                    <a:pt x="4" y="48"/>
                  </a:lnTo>
                  <a:lnTo>
                    <a:pt x="0" y="50"/>
                  </a:lnTo>
                  <a:lnTo>
                    <a:pt x="5" y="53"/>
                  </a:lnTo>
                  <a:lnTo>
                    <a:pt x="4" y="55"/>
                  </a:lnTo>
                  <a:lnTo>
                    <a:pt x="9" y="55"/>
                  </a:lnTo>
                  <a:lnTo>
                    <a:pt x="7" y="58"/>
                  </a:lnTo>
                  <a:lnTo>
                    <a:pt x="21" y="55"/>
                  </a:lnTo>
                  <a:lnTo>
                    <a:pt x="33" y="49"/>
                  </a:lnTo>
                  <a:lnTo>
                    <a:pt x="45" y="48"/>
                  </a:lnTo>
                  <a:lnTo>
                    <a:pt x="51" y="42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23" name="Freeform 459">
              <a:extLst>
                <a:ext uri="{FF2B5EF4-FFF2-40B4-BE49-F238E27FC236}">
                  <a16:creationId xmlns:a16="http://schemas.microsoft.com/office/drawing/2014/main" id="{7BF09753-3DE6-47B6-944A-7E44DA9B1E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6239" y="2375850"/>
              <a:ext cx="194079" cy="287687"/>
            </a:xfrm>
            <a:custGeom>
              <a:avLst/>
              <a:gdLst>
                <a:gd name="T0" fmla="*/ 8 w 92"/>
                <a:gd name="T1" fmla="*/ 39 h 129"/>
                <a:gd name="T2" fmla="*/ 15 w 92"/>
                <a:gd name="T3" fmla="*/ 40 h 129"/>
                <a:gd name="T4" fmla="*/ 10 w 92"/>
                <a:gd name="T5" fmla="*/ 52 h 129"/>
                <a:gd name="T6" fmla="*/ 18 w 92"/>
                <a:gd name="T7" fmla="*/ 57 h 129"/>
                <a:gd name="T8" fmla="*/ 28 w 92"/>
                <a:gd name="T9" fmla="*/ 60 h 129"/>
                <a:gd name="T10" fmla="*/ 34 w 92"/>
                <a:gd name="T11" fmla="*/ 79 h 129"/>
                <a:gd name="T12" fmla="*/ 15 w 92"/>
                <a:gd name="T13" fmla="*/ 86 h 129"/>
                <a:gd name="T14" fmla="*/ 21 w 92"/>
                <a:gd name="T15" fmla="*/ 92 h 129"/>
                <a:gd name="T16" fmla="*/ 8 w 92"/>
                <a:gd name="T17" fmla="*/ 104 h 129"/>
                <a:gd name="T18" fmla="*/ 26 w 92"/>
                <a:gd name="T19" fmla="*/ 109 h 129"/>
                <a:gd name="T20" fmla="*/ 34 w 92"/>
                <a:gd name="T21" fmla="*/ 109 h 129"/>
                <a:gd name="T22" fmla="*/ 12 w 92"/>
                <a:gd name="T23" fmla="*/ 121 h 129"/>
                <a:gd name="T24" fmla="*/ 4 w 92"/>
                <a:gd name="T25" fmla="*/ 129 h 129"/>
                <a:gd name="T26" fmla="*/ 22 w 92"/>
                <a:gd name="T27" fmla="*/ 127 h 129"/>
                <a:gd name="T28" fmla="*/ 38 w 92"/>
                <a:gd name="T29" fmla="*/ 121 h 129"/>
                <a:gd name="T30" fmla="*/ 72 w 92"/>
                <a:gd name="T31" fmla="*/ 120 h 129"/>
                <a:gd name="T32" fmla="*/ 77 w 92"/>
                <a:gd name="T33" fmla="*/ 108 h 129"/>
                <a:gd name="T34" fmla="*/ 92 w 92"/>
                <a:gd name="T35" fmla="*/ 93 h 129"/>
                <a:gd name="T36" fmla="*/ 72 w 92"/>
                <a:gd name="T37" fmla="*/ 87 h 129"/>
                <a:gd name="T38" fmla="*/ 64 w 92"/>
                <a:gd name="T39" fmla="*/ 74 h 129"/>
                <a:gd name="T40" fmla="*/ 68 w 92"/>
                <a:gd name="T41" fmla="*/ 69 h 129"/>
                <a:gd name="T42" fmla="*/ 46 w 92"/>
                <a:gd name="T43" fmla="*/ 40 h 129"/>
                <a:gd name="T44" fmla="*/ 39 w 92"/>
                <a:gd name="T45" fmla="*/ 36 h 129"/>
                <a:gd name="T46" fmla="*/ 36 w 92"/>
                <a:gd name="T47" fmla="*/ 32 h 129"/>
                <a:gd name="T48" fmla="*/ 26 w 92"/>
                <a:gd name="T49" fmla="*/ 15 h 129"/>
                <a:gd name="T50" fmla="*/ 24 w 92"/>
                <a:gd name="T51" fmla="*/ 12 h 129"/>
                <a:gd name="T52" fmla="*/ 15 w 92"/>
                <a:gd name="T53" fmla="*/ 0 h 129"/>
                <a:gd name="T54" fmla="*/ 10 w 92"/>
                <a:gd name="T55" fmla="*/ 9 h 129"/>
                <a:gd name="T56" fmla="*/ 5 w 92"/>
                <a:gd name="T57" fmla="*/ 16 h 129"/>
                <a:gd name="T58" fmla="*/ 4 w 92"/>
                <a:gd name="T59" fmla="*/ 21 h 129"/>
                <a:gd name="T60" fmla="*/ 2 w 92"/>
                <a:gd name="T61" fmla="*/ 28 h 129"/>
                <a:gd name="T62" fmla="*/ 9 w 92"/>
                <a:gd name="T63" fmla="*/ 28 h 129"/>
                <a:gd name="T64" fmla="*/ 2 w 92"/>
                <a:gd name="T65" fmla="*/ 5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29">
                  <a:moveTo>
                    <a:pt x="2" y="50"/>
                  </a:moveTo>
                  <a:lnTo>
                    <a:pt x="8" y="39"/>
                  </a:lnTo>
                  <a:lnTo>
                    <a:pt x="11" y="39"/>
                  </a:lnTo>
                  <a:lnTo>
                    <a:pt x="15" y="40"/>
                  </a:lnTo>
                  <a:lnTo>
                    <a:pt x="14" y="44"/>
                  </a:lnTo>
                  <a:lnTo>
                    <a:pt x="10" y="52"/>
                  </a:lnTo>
                  <a:lnTo>
                    <a:pt x="12" y="58"/>
                  </a:lnTo>
                  <a:lnTo>
                    <a:pt x="18" y="57"/>
                  </a:lnTo>
                  <a:lnTo>
                    <a:pt x="32" y="55"/>
                  </a:lnTo>
                  <a:lnTo>
                    <a:pt x="28" y="60"/>
                  </a:lnTo>
                  <a:lnTo>
                    <a:pt x="34" y="67"/>
                  </a:lnTo>
                  <a:lnTo>
                    <a:pt x="34" y="79"/>
                  </a:lnTo>
                  <a:lnTo>
                    <a:pt x="30" y="80"/>
                  </a:lnTo>
                  <a:lnTo>
                    <a:pt x="15" y="86"/>
                  </a:lnTo>
                  <a:lnTo>
                    <a:pt x="17" y="86"/>
                  </a:lnTo>
                  <a:lnTo>
                    <a:pt x="21" y="92"/>
                  </a:lnTo>
                  <a:lnTo>
                    <a:pt x="10" y="100"/>
                  </a:lnTo>
                  <a:lnTo>
                    <a:pt x="8" y="104"/>
                  </a:lnTo>
                  <a:lnTo>
                    <a:pt x="21" y="105"/>
                  </a:lnTo>
                  <a:lnTo>
                    <a:pt x="26" y="109"/>
                  </a:lnTo>
                  <a:lnTo>
                    <a:pt x="40" y="104"/>
                  </a:lnTo>
                  <a:lnTo>
                    <a:pt x="34" y="109"/>
                  </a:lnTo>
                  <a:lnTo>
                    <a:pt x="23" y="112"/>
                  </a:lnTo>
                  <a:lnTo>
                    <a:pt x="12" y="121"/>
                  </a:lnTo>
                  <a:lnTo>
                    <a:pt x="0" y="128"/>
                  </a:lnTo>
                  <a:lnTo>
                    <a:pt x="4" y="129"/>
                  </a:lnTo>
                  <a:lnTo>
                    <a:pt x="8" y="129"/>
                  </a:lnTo>
                  <a:lnTo>
                    <a:pt x="22" y="127"/>
                  </a:lnTo>
                  <a:lnTo>
                    <a:pt x="27" y="123"/>
                  </a:lnTo>
                  <a:lnTo>
                    <a:pt x="38" y="121"/>
                  </a:lnTo>
                  <a:lnTo>
                    <a:pt x="52" y="120"/>
                  </a:lnTo>
                  <a:lnTo>
                    <a:pt x="72" y="120"/>
                  </a:lnTo>
                  <a:lnTo>
                    <a:pt x="87" y="110"/>
                  </a:lnTo>
                  <a:lnTo>
                    <a:pt x="77" y="108"/>
                  </a:lnTo>
                  <a:lnTo>
                    <a:pt x="81" y="104"/>
                  </a:lnTo>
                  <a:lnTo>
                    <a:pt x="92" y="93"/>
                  </a:lnTo>
                  <a:lnTo>
                    <a:pt x="87" y="87"/>
                  </a:lnTo>
                  <a:lnTo>
                    <a:pt x="72" y="87"/>
                  </a:lnTo>
                  <a:lnTo>
                    <a:pt x="74" y="84"/>
                  </a:lnTo>
                  <a:lnTo>
                    <a:pt x="64" y="74"/>
                  </a:lnTo>
                  <a:lnTo>
                    <a:pt x="69" y="75"/>
                  </a:lnTo>
                  <a:lnTo>
                    <a:pt x="68" y="69"/>
                  </a:lnTo>
                  <a:lnTo>
                    <a:pt x="58" y="61"/>
                  </a:lnTo>
                  <a:lnTo>
                    <a:pt x="46" y="40"/>
                  </a:lnTo>
                  <a:lnTo>
                    <a:pt x="29" y="39"/>
                  </a:lnTo>
                  <a:lnTo>
                    <a:pt x="39" y="36"/>
                  </a:lnTo>
                  <a:lnTo>
                    <a:pt x="33" y="33"/>
                  </a:lnTo>
                  <a:lnTo>
                    <a:pt x="36" y="32"/>
                  </a:lnTo>
                  <a:lnTo>
                    <a:pt x="48" y="15"/>
                  </a:lnTo>
                  <a:lnTo>
                    <a:pt x="26" y="15"/>
                  </a:lnTo>
                  <a:lnTo>
                    <a:pt x="21" y="14"/>
                  </a:lnTo>
                  <a:lnTo>
                    <a:pt x="24" y="12"/>
                  </a:lnTo>
                  <a:lnTo>
                    <a:pt x="34" y="2"/>
                  </a:lnTo>
                  <a:lnTo>
                    <a:pt x="15" y="0"/>
                  </a:lnTo>
                  <a:lnTo>
                    <a:pt x="11" y="6"/>
                  </a:lnTo>
                  <a:lnTo>
                    <a:pt x="10" y="9"/>
                  </a:lnTo>
                  <a:lnTo>
                    <a:pt x="6" y="12"/>
                  </a:lnTo>
                  <a:lnTo>
                    <a:pt x="5" y="16"/>
                  </a:lnTo>
                  <a:lnTo>
                    <a:pt x="5" y="18"/>
                  </a:lnTo>
                  <a:lnTo>
                    <a:pt x="4" y="21"/>
                  </a:lnTo>
                  <a:lnTo>
                    <a:pt x="0" y="27"/>
                  </a:lnTo>
                  <a:lnTo>
                    <a:pt x="2" y="28"/>
                  </a:lnTo>
                  <a:lnTo>
                    <a:pt x="0" y="31"/>
                  </a:lnTo>
                  <a:lnTo>
                    <a:pt x="9" y="28"/>
                  </a:lnTo>
                  <a:lnTo>
                    <a:pt x="8" y="30"/>
                  </a:lnTo>
                  <a:lnTo>
                    <a:pt x="2" y="5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24" name="Freeform 460">
              <a:extLst>
                <a:ext uri="{FF2B5EF4-FFF2-40B4-BE49-F238E27FC236}">
                  <a16:creationId xmlns:a16="http://schemas.microsoft.com/office/drawing/2014/main" id="{273752B5-094F-4BD5-9CE4-08D8DC7CA0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4866" y="2486957"/>
              <a:ext cx="55179" cy="39681"/>
            </a:xfrm>
            <a:custGeom>
              <a:avLst/>
              <a:gdLst>
                <a:gd name="T0" fmla="*/ 28 w 28"/>
                <a:gd name="T1" fmla="*/ 13 h 18"/>
                <a:gd name="T2" fmla="*/ 27 w 28"/>
                <a:gd name="T3" fmla="*/ 8 h 18"/>
                <a:gd name="T4" fmla="*/ 19 w 28"/>
                <a:gd name="T5" fmla="*/ 0 h 18"/>
                <a:gd name="T6" fmla="*/ 9 w 28"/>
                <a:gd name="T7" fmla="*/ 4 h 18"/>
                <a:gd name="T8" fmla="*/ 0 w 28"/>
                <a:gd name="T9" fmla="*/ 14 h 18"/>
                <a:gd name="T10" fmla="*/ 10 w 28"/>
                <a:gd name="T11" fmla="*/ 16 h 18"/>
                <a:gd name="T12" fmla="*/ 13 w 28"/>
                <a:gd name="T13" fmla="*/ 14 h 18"/>
                <a:gd name="T14" fmla="*/ 21 w 28"/>
                <a:gd name="T15" fmla="*/ 18 h 18"/>
                <a:gd name="T16" fmla="*/ 28 w 28"/>
                <a:gd name="T17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8">
                  <a:moveTo>
                    <a:pt x="28" y="13"/>
                  </a:moveTo>
                  <a:lnTo>
                    <a:pt x="27" y="8"/>
                  </a:lnTo>
                  <a:lnTo>
                    <a:pt x="19" y="0"/>
                  </a:lnTo>
                  <a:lnTo>
                    <a:pt x="9" y="4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13" y="14"/>
                  </a:lnTo>
                  <a:lnTo>
                    <a:pt x="21" y="18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25" name="Freeform 461">
              <a:extLst>
                <a:ext uri="{FF2B5EF4-FFF2-40B4-BE49-F238E27FC236}">
                  <a16:creationId xmlns:a16="http://schemas.microsoft.com/office/drawing/2014/main" id="{7B052A16-0618-4B28-BAE8-CFFC1FD9DD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9113" y="2411562"/>
              <a:ext cx="24735" cy="13889"/>
            </a:xfrm>
            <a:custGeom>
              <a:avLst/>
              <a:gdLst>
                <a:gd name="T0" fmla="*/ 7 w 12"/>
                <a:gd name="T1" fmla="*/ 1 h 7"/>
                <a:gd name="T2" fmla="*/ 4 w 12"/>
                <a:gd name="T3" fmla="*/ 0 h 7"/>
                <a:gd name="T4" fmla="*/ 0 w 12"/>
                <a:gd name="T5" fmla="*/ 4 h 7"/>
                <a:gd name="T6" fmla="*/ 11 w 12"/>
                <a:gd name="T7" fmla="*/ 7 h 7"/>
                <a:gd name="T8" fmla="*/ 12 w 12"/>
                <a:gd name="T9" fmla="*/ 5 h 7"/>
                <a:gd name="T10" fmla="*/ 7 w 12"/>
                <a:gd name="T1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7">
                  <a:moveTo>
                    <a:pt x="7" y="1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11" y="7"/>
                  </a:lnTo>
                  <a:lnTo>
                    <a:pt x="12" y="5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26" name="Freeform 462">
              <a:extLst>
                <a:ext uri="{FF2B5EF4-FFF2-40B4-BE49-F238E27FC236}">
                  <a16:creationId xmlns:a16="http://schemas.microsoft.com/office/drawing/2014/main" id="{1B804FC2-AC29-4366-8441-929C921A75F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3406" y="2385769"/>
              <a:ext cx="22833" cy="11904"/>
            </a:xfrm>
            <a:custGeom>
              <a:avLst/>
              <a:gdLst>
                <a:gd name="T0" fmla="*/ 9 w 9"/>
                <a:gd name="T1" fmla="*/ 3 h 7"/>
                <a:gd name="T2" fmla="*/ 8 w 9"/>
                <a:gd name="T3" fmla="*/ 0 h 7"/>
                <a:gd name="T4" fmla="*/ 1 w 9"/>
                <a:gd name="T5" fmla="*/ 4 h 7"/>
                <a:gd name="T6" fmla="*/ 0 w 9"/>
                <a:gd name="T7" fmla="*/ 7 h 7"/>
                <a:gd name="T8" fmla="*/ 9 w 9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9" y="3"/>
                  </a:moveTo>
                  <a:lnTo>
                    <a:pt x="8" y="0"/>
                  </a:lnTo>
                  <a:lnTo>
                    <a:pt x="1" y="4"/>
                  </a:lnTo>
                  <a:lnTo>
                    <a:pt x="0" y="7"/>
                  </a:lnTo>
                  <a:lnTo>
                    <a:pt x="9" y="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27" name="Freeform 463">
              <a:extLst>
                <a:ext uri="{FF2B5EF4-FFF2-40B4-BE49-F238E27FC236}">
                  <a16:creationId xmlns:a16="http://schemas.microsoft.com/office/drawing/2014/main" id="{8A375753-8B4F-4F6E-8348-FEB7B9C4A248}"/>
                </a:ext>
              </a:extLst>
            </p:cNvPr>
            <p:cNvSpPr>
              <a:spLocks/>
            </p:cNvSpPr>
            <p:nvPr/>
          </p:nvSpPr>
          <p:spPr bwMode="gray">
            <a:xfrm>
              <a:off x="4730403" y="2314344"/>
              <a:ext cx="7611" cy="17858"/>
            </a:xfrm>
            <a:custGeom>
              <a:avLst/>
              <a:gdLst>
                <a:gd name="T0" fmla="*/ 3 w 5"/>
                <a:gd name="T1" fmla="*/ 0 h 7"/>
                <a:gd name="T2" fmla="*/ 1 w 5"/>
                <a:gd name="T3" fmla="*/ 2 h 7"/>
                <a:gd name="T4" fmla="*/ 0 w 5"/>
                <a:gd name="T5" fmla="*/ 5 h 7"/>
                <a:gd name="T6" fmla="*/ 1 w 5"/>
                <a:gd name="T7" fmla="*/ 7 h 7"/>
                <a:gd name="T8" fmla="*/ 5 w 5"/>
                <a:gd name="T9" fmla="*/ 0 h 7"/>
                <a:gd name="T10" fmla="*/ 3 w 5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7">
                  <a:moveTo>
                    <a:pt x="3" y="0"/>
                  </a:moveTo>
                  <a:lnTo>
                    <a:pt x="1" y="2"/>
                  </a:lnTo>
                  <a:lnTo>
                    <a:pt x="0" y="5"/>
                  </a:lnTo>
                  <a:lnTo>
                    <a:pt x="1" y="7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28" name="Freeform 464">
              <a:extLst>
                <a:ext uri="{FF2B5EF4-FFF2-40B4-BE49-F238E27FC236}">
                  <a16:creationId xmlns:a16="http://schemas.microsoft.com/office/drawing/2014/main" id="{25CFAB36-F6B6-49A8-9A04-EFE7EF27BCC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0531" y="2447276"/>
              <a:ext cx="13319" cy="3967"/>
            </a:xfrm>
            <a:custGeom>
              <a:avLst/>
              <a:gdLst>
                <a:gd name="T0" fmla="*/ 0 w 6"/>
                <a:gd name="T1" fmla="*/ 2 h 2"/>
                <a:gd name="T2" fmla="*/ 6 w 6"/>
                <a:gd name="T3" fmla="*/ 0 h 2"/>
                <a:gd name="T4" fmla="*/ 0 w 6"/>
                <a:gd name="T5" fmla="*/ 0 h 2"/>
                <a:gd name="T6" fmla="*/ 0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29" name="Freeform 465">
              <a:extLst>
                <a:ext uri="{FF2B5EF4-FFF2-40B4-BE49-F238E27FC236}">
                  <a16:creationId xmlns:a16="http://schemas.microsoft.com/office/drawing/2014/main" id="{3DD54889-598E-4B22-88B4-3AFE96E0C6C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48585" y="2548461"/>
              <a:ext cx="9514" cy="9919"/>
            </a:xfrm>
            <a:custGeom>
              <a:avLst/>
              <a:gdLst>
                <a:gd name="T0" fmla="*/ 5 w 5"/>
                <a:gd name="T1" fmla="*/ 3 h 4"/>
                <a:gd name="T2" fmla="*/ 1 w 5"/>
                <a:gd name="T3" fmla="*/ 0 h 4"/>
                <a:gd name="T4" fmla="*/ 0 w 5"/>
                <a:gd name="T5" fmla="*/ 4 h 4"/>
                <a:gd name="T6" fmla="*/ 5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5" y="3"/>
                  </a:moveTo>
                  <a:lnTo>
                    <a:pt x="1" y="0"/>
                  </a:lnTo>
                  <a:lnTo>
                    <a:pt x="0" y="4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30" name="Freeform 466">
              <a:extLst>
                <a:ext uri="{FF2B5EF4-FFF2-40B4-BE49-F238E27FC236}">
                  <a16:creationId xmlns:a16="http://schemas.microsoft.com/office/drawing/2014/main" id="{6F5FFE61-0C1B-4F70-BDBA-E19203A5BCF6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6512" y="2919480"/>
              <a:ext cx="3805" cy="7937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1 h 2"/>
                <a:gd name="T4" fmla="*/ 0 w 4"/>
                <a:gd name="T5" fmla="*/ 2 h 2"/>
                <a:gd name="T6" fmla="*/ 4 w 4"/>
                <a:gd name="T7" fmla="*/ 2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35" name="Freeform 471">
              <a:extLst>
                <a:ext uri="{FF2B5EF4-FFF2-40B4-BE49-F238E27FC236}">
                  <a16:creationId xmlns:a16="http://schemas.microsoft.com/office/drawing/2014/main" id="{B38C15DA-69D6-49A8-A13F-B9E43C91606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2074" y="2941305"/>
              <a:ext cx="87527" cy="176580"/>
            </a:xfrm>
            <a:custGeom>
              <a:avLst/>
              <a:gdLst>
                <a:gd name="T0" fmla="*/ 19 w 43"/>
                <a:gd name="T1" fmla="*/ 0 h 80"/>
                <a:gd name="T2" fmla="*/ 12 w 43"/>
                <a:gd name="T3" fmla="*/ 2 h 80"/>
                <a:gd name="T4" fmla="*/ 12 w 43"/>
                <a:gd name="T5" fmla="*/ 20 h 80"/>
                <a:gd name="T6" fmla="*/ 7 w 43"/>
                <a:gd name="T7" fmla="*/ 32 h 80"/>
                <a:gd name="T8" fmla="*/ 3 w 43"/>
                <a:gd name="T9" fmla="*/ 42 h 80"/>
                <a:gd name="T10" fmla="*/ 0 w 43"/>
                <a:gd name="T11" fmla="*/ 53 h 80"/>
                <a:gd name="T12" fmla="*/ 6 w 43"/>
                <a:gd name="T13" fmla="*/ 58 h 80"/>
                <a:gd name="T14" fmla="*/ 9 w 43"/>
                <a:gd name="T15" fmla="*/ 58 h 80"/>
                <a:gd name="T16" fmla="*/ 7 w 43"/>
                <a:gd name="T17" fmla="*/ 80 h 80"/>
                <a:gd name="T18" fmla="*/ 27 w 43"/>
                <a:gd name="T19" fmla="*/ 78 h 80"/>
                <a:gd name="T20" fmla="*/ 27 w 43"/>
                <a:gd name="T21" fmla="*/ 74 h 80"/>
                <a:gd name="T22" fmla="*/ 31 w 43"/>
                <a:gd name="T23" fmla="*/ 64 h 80"/>
                <a:gd name="T24" fmla="*/ 30 w 43"/>
                <a:gd name="T25" fmla="*/ 60 h 80"/>
                <a:gd name="T26" fmla="*/ 31 w 43"/>
                <a:gd name="T27" fmla="*/ 52 h 80"/>
                <a:gd name="T28" fmla="*/ 27 w 43"/>
                <a:gd name="T29" fmla="*/ 39 h 80"/>
                <a:gd name="T30" fmla="*/ 31 w 43"/>
                <a:gd name="T31" fmla="*/ 38 h 80"/>
                <a:gd name="T32" fmla="*/ 36 w 43"/>
                <a:gd name="T33" fmla="*/ 18 h 80"/>
                <a:gd name="T34" fmla="*/ 43 w 43"/>
                <a:gd name="T35" fmla="*/ 10 h 80"/>
                <a:gd name="T36" fmla="*/ 41 w 43"/>
                <a:gd name="T37" fmla="*/ 3 h 80"/>
                <a:gd name="T38" fmla="*/ 23 w 43"/>
                <a:gd name="T39" fmla="*/ 3 h 80"/>
                <a:gd name="T40" fmla="*/ 19 w 43"/>
                <a:gd name="T4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3" h="80">
                  <a:moveTo>
                    <a:pt x="19" y="0"/>
                  </a:moveTo>
                  <a:lnTo>
                    <a:pt x="12" y="2"/>
                  </a:lnTo>
                  <a:lnTo>
                    <a:pt x="12" y="20"/>
                  </a:lnTo>
                  <a:lnTo>
                    <a:pt x="7" y="32"/>
                  </a:lnTo>
                  <a:lnTo>
                    <a:pt x="3" y="42"/>
                  </a:lnTo>
                  <a:lnTo>
                    <a:pt x="0" y="53"/>
                  </a:lnTo>
                  <a:lnTo>
                    <a:pt x="6" y="58"/>
                  </a:lnTo>
                  <a:lnTo>
                    <a:pt x="9" y="58"/>
                  </a:lnTo>
                  <a:lnTo>
                    <a:pt x="7" y="80"/>
                  </a:lnTo>
                  <a:lnTo>
                    <a:pt x="27" y="78"/>
                  </a:lnTo>
                  <a:lnTo>
                    <a:pt x="27" y="74"/>
                  </a:lnTo>
                  <a:lnTo>
                    <a:pt x="31" y="64"/>
                  </a:lnTo>
                  <a:lnTo>
                    <a:pt x="30" y="60"/>
                  </a:lnTo>
                  <a:lnTo>
                    <a:pt x="31" y="52"/>
                  </a:lnTo>
                  <a:lnTo>
                    <a:pt x="27" y="39"/>
                  </a:lnTo>
                  <a:lnTo>
                    <a:pt x="31" y="38"/>
                  </a:lnTo>
                  <a:lnTo>
                    <a:pt x="36" y="18"/>
                  </a:lnTo>
                  <a:lnTo>
                    <a:pt x="43" y="10"/>
                  </a:lnTo>
                  <a:lnTo>
                    <a:pt x="41" y="3"/>
                  </a:lnTo>
                  <a:lnTo>
                    <a:pt x="23" y="3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36" name="Freeform 472">
              <a:extLst>
                <a:ext uri="{FF2B5EF4-FFF2-40B4-BE49-F238E27FC236}">
                  <a16:creationId xmlns:a16="http://schemas.microsoft.com/office/drawing/2014/main" id="{34DE50DA-FFF3-4AA3-95F8-AC08849AE61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7297" y="2879799"/>
              <a:ext cx="334879" cy="269831"/>
            </a:xfrm>
            <a:custGeom>
              <a:avLst/>
              <a:gdLst>
                <a:gd name="T0" fmla="*/ 32 w 158"/>
                <a:gd name="T1" fmla="*/ 30 h 121"/>
                <a:gd name="T2" fmla="*/ 14 w 158"/>
                <a:gd name="T3" fmla="*/ 30 h 121"/>
                <a:gd name="T4" fmla="*/ 10 w 158"/>
                <a:gd name="T5" fmla="*/ 27 h 121"/>
                <a:gd name="T6" fmla="*/ 3 w 158"/>
                <a:gd name="T7" fmla="*/ 29 h 121"/>
                <a:gd name="T8" fmla="*/ 2 w 158"/>
                <a:gd name="T9" fmla="*/ 24 h 121"/>
                <a:gd name="T10" fmla="*/ 1 w 158"/>
                <a:gd name="T11" fmla="*/ 20 h 121"/>
                <a:gd name="T12" fmla="*/ 1 w 158"/>
                <a:gd name="T13" fmla="*/ 19 h 121"/>
                <a:gd name="T14" fmla="*/ 0 w 158"/>
                <a:gd name="T15" fmla="*/ 15 h 121"/>
                <a:gd name="T16" fmla="*/ 0 w 158"/>
                <a:gd name="T17" fmla="*/ 9 h 121"/>
                <a:gd name="T18" fmla="*/ 19 w 158"/>
                <a:gd name="T19" fmla="*/ 0 h 121"/>
                <a:gd name="T20" fmla="*/ 34 w 158"/>
                <a:gd name="T21" fmla="*/ 2 h 121"/>
                <a:gd name="T22" fmla="*/ 50 w 158"/>
                <a:gd name="T23" fmla="*/ 3 h 121"/>
                <a:gd name="T24" fmla="*/ 64 w 158"/>
                <a:gd name="T25" fmla="*/ 5 h 121"/>
                <a:gd name="T26" fmla="*/ 79 w 158"/>
                <a:gd name="T27" fmla="*/ 5 h 121"/>
                <a:gd name="T28" fmla="*/ 93 w 158"/>
                <a:gd name="T29" fmla="*/ 6 h 121"/>
                <a:gd name="T30" fmla="*/ 99 w 158"/>
                <a:gd name="T31" fmla="*/ 11 h 121"/>
                <a:gd name="T32" fmla="*/ 135 w 158"/>
                <a:gd name="T33" fmla="*/ 19 h 121"/>
                <a:gd name="T34" fmla="*/ 135 w 158"/>
                <a:gd name="T35" fmla="*/ 20 h 121"/>
                <a:gd name="T36" fmla="*/ 139 w 158"/>
                <a:gd name="T37" fmla="*/ 20 h 121"/>
                <a:gd name="T38" fmla="*/ 158 w 158"/>
                <a:gd name="T39" fmla="*/ 21 h 121"/>
                <a:gd name="T40" fmla="*/ 154 w 158"/>
                <a:gd name="T41" fmla="*/ 32 h 121"/>
                <a:gd name="T42" fmla="*/ 140 w 158"/>
                <a:gd name="T43" fmla="*/ 39 h 121"/>
                <a:gd name="T44" fmla="*/ 127 w 158"/>
                <a:gd name="T45" fmla="*/ 47 h 121"/>
                <a:gd name="T46" fmla="*/ 120 w 158"/>
                <a:gd name="T47" fmla="*/ 59 h 121"/>
                <a:gd name="T48" fmla="*/ 111 w 158"/>
                <a:gd name="T49" fmla="*/ 69 h 121"/>
                <a:gd name="T50" fmla="*/ 117 w 158"/>
                <a:gd name="T51" fmla="*/ 81 h 121"/>
                <a:gd name="T52" fmla="*/ 106 w 158"/>
                <a:gd name="T53" fmla="*/ 95 h 121"/>
                <a:gd name="T54" fmla="*/ 103 w 158"/>
                <a:gd name="T55" fmla="*/ 98 h 121"/>
                <a:gd name="T56" fmla="*/ 92 w 158"/>
                <a:gd name="T57" fmla="*/ 104 h 121"/>
                <a:gd name="T58" fmla="*/ 86 w 158"/>
                <a:gd name="T59" fmla="*/ 111 h 121"/>
                <a:gd name="T60" fmla="*/ 70 w 158"/>
                <a:gd name="T61" fmla="*/ 113 h 121"/>
                <a:gd name="T62" fmla="*/ 55 w 158"/>
                <a:gd name="T63" fmla="*/ 115 h 121"/>
                <a:gd name="T64" fmla="*/ 44 w 158"/>
                <a:gd name="T65" fmla="*/ 121 h 121"/>
                <a:gd name="T66" fmla="*/ 36 w 158"/>
                <a:gd name="T67" fmla="*/ 121 h 121"/>
                <a:gd name="T68" fmla="*/ 32 w 158"/>
                <a:gd name="T69" fmla="*/ 109 h 121"/>
                <a:gd name="T70" fmla="*/ 22 w 158"/>
                <a:gd name="T71" fmla="*/ 104 h 121"/>
                <a:gd name="T72" fmla="*/ 18 w 158"/>
                <a:gd name="T73" fmla="*/ 105 h 121"/>
                <a:gd name="T74" fmla="*/ 18 w 158"/>
                <a:gd name="T75" fmla="*/ 101 h 121"/>
                <a:gd name="T76" fmla="*/ 22 w 158"/>
                <a:gd name="T77" fmla="*/ 91 h 121"/>
                <a:gd name="T78" fmla="*/ 21 w 158"/>
                <a:gd name="T79" fmla="*/ 87 h 121"/>
                <a:gd name="T80" fmla="*/ 22 w 158"/>
                <a:gd name="T81" fmla="*/ 79 h 121"/>
                <a:gd name="T82" fmla="*/ 18 w 158"/>
                <a:gd name="T83" fmla="*/ 66 h 121"/>
                <a:gd name="T84" fmla="*/ 22 w 158"/>
                <a:gd name="T85" fmla="*/ 65 h 121"/>
                <a:gd name="T86" fmla="*/ 27 w 158"/>
                <a:gd name="T87" fmla="*/ 45 h 121"/>
                <a:gd name="T88" fmla="*/ 34 w 158"/>
                <a:gd name="T89" fmla="*/ 37 h 121"/>
                <a:gd name="T90" fmla="*/ 32 w 158"/>
                <a:gd name="T91" fmla="*/ 3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8" h="121">
                  <a:moveTo>
                    <a:pt x="32" y="30"/>
                  </a:moveTo>
                  <a:lnTo>
                    <a:pt x="14" y="30"/>
                  </a:lnTo>
                  <a:lnTo>
                    <a:pt x="10" y="27"/>
                  </a:lnTo>
                  <a:lnTo>
                    <a:pt x="3" y="29"/>
                  </a:lnTo>
                  <a:lnTo>
                    <a:pt x="2" y="24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0" y="15"/>
                  </a:lnTo>
                  <a:lnTo>
                    <a:pt x="0" y="9"/>
                  </a:lnTo>
                  <a:lnTo>
                    <a:pt x="19" y="0"/>
                  </a:lnTo>
                  <a:lnTo>
                    <a:pt x="34" y="2"/>
                  </a:lnTo>
                  <a:lnTo>
                    <a:pt x="50" y="3"/>
                  </a:lnTo>
                  <a:lnTo>
                    <a:pt x="64" y="5"/>
                  </a:lnTo>
                  <a:lnTo>
                    <a:pt x="79" y="5"/>
                  </a:lnTo>
                  <a:lnTo>
                    <a:pt x="93" y="6"/>
                  </a:lnTo>
                  <a:lnTo>
                    <a:pt x="99" y="11"/>
                  </a:lnTo>
                  <a:lnTo>
                    <a:pt x="135" y="19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58" y="21"/>
                  </a:lnTo>
                  <a:lnTo>
                    <a:pt x="154" y="32"/>
                  </a:lnTo>
                  <a:lnTo>
                    <a:pt x="140" y="39"/>
                  </a:lnTo>
                  <a:lnTo>
                    <a:pt x="127" y="47"/>
                  </a:lnTo>
                  <a:lnTo>
                    <a:pt x="120" y="59"/>
                  </a:lnTo>
                  <a:lnTo>
                    <a:pt x="111" y="69"/>
                  </a:lnTo>
                  <a:lnTo>
                    <a:pt x="117" y="81"/>
                  </a:lnTo>
                  <a:lnTo>
                    <a:pt x="106" y="95"/>
                  </a:lnTo>
                  <a:lnTo>
                    <a:pt x="103" y="98"/>
                  </a:lnTo>
                  <a:lnTo>
                    <a:pt x="92" y="104"/>
                  </a:lnTo>
                  <a:lnTo>
                    <a:pt x="86" y="111"/>
                  </a:lnTo>
                  <a:lnTo>
                    <a:pt x="70" y="113"/>
                  </a:lnTo>
                  <a:lnTo>
                    <a:pt x="55" y="115"/>
                  </a:lnTo>
                  <a:lnTo>
                    <a:pt x="44" y="121"/>
                  </a:lnTo>
                  <a:lnTo>
                    <a:pt x="36" y="121"/>
                  </a:lnTo>
                  <a:lnTo>
                    <a:pt x="32" y="109"/>
                  </a:lnTo>
                  <a:lnTo>
                    <a:pt x="22" y="104"/>
                  </a:lnTo>
                  <a:lnTo>
                    <a:pt x="18" y="105"/>
                  </a:lnTo>
                  <a:lnTo>
                    <a:pt x="18" y="101"/>
                  </a:lnTo>
                  <a:lnTo>
                    <a:pt x="22" y="91"/>
                  </a:lnTo>
                  <a:lnTo>
                    <a:pt x="21" y="87"/>
                  </a:lnTo>
                  <a:lnTo>
                    <a:pt x="22" y="79"/>
                  </a:lnTo>
                  <a:lnTo>
                    <a:pt x="18" y="66"/>
                  </a:lnTo>
                  <a:lnTo>
                    <a:pt x="22" y="65"/>
                  </a:lnTo>
                  <a:lnTo>
                    <a:pt x="27" y="45"/>
                  </a:lnTo>
                  <a:lnTo>
                    <a:pt x="34" y="37"/>
                  </a:lnTo>
                  <a:lnTo>
                    <a:pt x="32" y="30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37" name="Freeform 473">
              <a:extLst>
                <a:ext uri="{FF2B5EF4-FFF2-40B4-BE49-F238E27FC236}">
                  <a16:creationId xmlns:a16="http://schemas.microsoft.com/office/drawing/2014/main" id="{FD0BA25E-6D3A-466E-A1DA-704B0A26037C}"/>
                </a:ext>
              </a:extLst>
            </p:cNvPr>
            <p:cNvSpPr>
              <a:spLocks/>
            </p:cNvSpPr>
            <p:nvPr/>
          </p:nvSpPr>
          <p:spPr bwMode="gray">
            <a:xfrm>
              <a:off x="4831247" y="3020667"/>
              <a:ext cx="30444" cy="13889"/>
            </a:xfrm>
            <a:custGeom>
              <a:avLst/>
              <a:gdLst>
                <a:gd name="T0" fmla="*/ 14 w 14"/>
                <a:gd name="T1" fmla="*/ 3 h 7"/>
                <a:gd name="T2" fmla="*/ 6 w 14"/>
                <a:gd name="T3" fmla="*/ 7 h 7"/>
                <a:gd name="T4" fmla="*/ 0 w 14"/>
                <a:gd name="T5" fmla="*/ 3 h 7"/>
                <a:gd name="T6" fmla="*/ 9 w 14"/>
                <a:gd name="T7" fmla="*/ 0 h 7"/>
                <a:gd name="T8" fmla="*/ 14 w 14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4" y="3"/>
                  </a:moveTo>
                  <a:lnTo>
                    <a:pt x="6" y="7"/>
                  </a:lnTo>
                  <a:lnTo>
                    <a:pt x="0" y="3"/>
                  </a:lnTo>
                  <a:lnTo>
                    <a:pt x="9" y="0"/>
                  </a:lnTo>
                  <a:lnTo>
                    <a:pt x="14" y="3"/>
                  </a:lnTo>
                  <a:close/>
                </a:path>
              </a:pathLst>
            </a:custGeom>
            <a:solidFill>
              <a:srgbClr val="95ABCB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grpSp>
        <p:nvGrpSpPr>
          <p:cNvPr id="456" name="Group 455">
            <a:extLst>
              <a:ext uri="{FF2B5EF4-FFF2-40B4-BE49-F238E27FC236}">
                <a16:creationId xmlns:a16="http://schemas.microsoft.com/office/drawing/2014/main" id="{9703666A-D81B-476A-AA22-FD3D00907C96}"/>
              </a:ext>
            </a:extLst>
          </p:cNvPr>
          <p:cNvGrpSpPr/>
          <p:nvPr/>
        </p:nvGrpSpPr>
        <p:grpSpPr>
          <a:xfrm>
            <a:off x="605290" y="1683415"/>
            <a:ext cx="3112860" cy="4684351"/>
            <a:chOff x="605290" y="1683415"/>
            <a:chExt cx="3112860" cy="4684351"/>
          </a:xfrm>
          <a:solidFill>
            <a:srgbClr val="0C4371"/>
          </a:solidFill>
        </p:grpSpPr>
        <p:sp>
          <p:nvSpPr>
            <p:cNvPr id="149" name="Freeform 158">
              <a:extLst>
                <a:ext uri="{FF2B5EF4-FFF2-40B4-BE49-F238E27FC236}">
                  <a16:creationId xmlns:a16="http://schemas.microsoft.com/office/drawing/2014/main" id="{FD81F741-7BA4-4F13-AE4D-80B7990DDDF0}"/>
                </a:ext>
              </a:extLst>
            </p:cNvPr>
            <p:cNvSpPr>
              <a:spLocks/>
            </p:cNvSpPr>
            <p:nvPr/>
          </p:nvSpPr>
          <p:spPr bwMode="gray">
            <a:xfrm>
              <a:off x="2277787" y="4094041"/>
              <a:ext cx="93233" cy="83330"/>
            </a:xfrm>
            <a:custGeom>
              <a:avLst/>
              <a:gdLst>
                <a:gd name="T0" fmla="*/ 0 w 45"/>
                <a:gd name="T1" fmla="*/ 24 h 38"/>
                <a:gd name="T2" fmla="*/ 2 w 45"/>
                <a:gd name="T3" fmla="*/ 12 h 38"/>
                <a:gd name="T4" fmla="*/ 0 w 45"/>
                <a:gd name="T5" fmla="*/ 2 h 38"/>
                <a:gd name="T6" fmla="*/ 6 w 45"/>
                <a:gd name="T7" fmla="*/ 0 h 38"/>
                <a:gd name="T8" fmla="*/ 10 w 45"/>
                <a:gd name="T9" fmla="*/ 6 h 38"/>
                <a:gd name="T10" fmla="*/ 16 w 45"/>
                <a:gd name="T11" fmla="*/ 9 h 38"/>
                <a:gd name="T12" fmla="*/ 21 w 45"/>
                <a:gd name="T13" fmla="*/ 12 h 38"/>
                <a:gd name="T14" fmla="*/ 40 w 45"/>
                <a:gd name="T15" fmla="*/ 6 h 38"/>
                <a:gd name="T16" fmla="*/ 42 w 45"/>
                <a:gd name="T17" fmla="*/ 8 h 38"/>
                <a:gd name="T18" fmla="*/ 45 w 45"/>
                <a:gd name="T19" fmla="*/ 12 h 38"/>
                <a:gd name="T20" fmla="*/ 35 w 45"/>
                <a:gd name="T21" fmla="*/ 22 h 38"/>
                <a:gd name="T22" fmla="*/ 41 w 45"/>
                <a:gd name="T23" fmla="*/ 33 h 38"/>
                <a:gd name="T24" fmla="*/ 28 w 45"/>
                <a:gd name="T25" fmla="*/ 38 h 38"/>
                <a:gd name="T26" fmla="*/ 27 w 45"/>
                <a:gd name="T27" fmla="*/ 28 h 38"/>
                <a:gd name="T28" fmla="*/ 24 w 45"/>
                <a:gd name="T29" fmla="*/ 32 h 38"/>
                <a:gd name="T30" fmla="*/ 17 w 45"/>
                <a:gd name="T31" fmla="*/ 24 h 38"/>
                <a:gd name="T32" fmla="*/ 4 w 45"/>
                <a:gd name="T33" fmla="*/ 21 h 38"/>
                <a:gd name="T34" fmla="*/ 0 w 45"/>
                <a:gd name="T35" fmla="*/ 2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" h="38">
                  <a:moveTo>
                    <a:pt x="0" y="24"/>
                  </a:moveTo>
                  <a:lnTo>
                    <a:pt x="2" y="12"/>
                  </a:lnTo>
                  <a:lnTo>
                    <a:pt x="0" y="2"/>
                  </a:lnTo>
                  <a:lnTo>
                    <a:pt x="6" y="0"/>
                  </a:lnTo>
                  <a:lnTo>
                    <a:pt x="10" y="6"/>
                  </a:lnTo>
                  <a:lnTo>
                    <a:pt x="16" y="9"/>
                  </a:lnTo>
                  <a:lnTo>
                    <a:pt x="21" y="12"/>
                  </a:lnTo>
                  <a:lnTo>
                    <a:pt x="40" y="6"/>
                  </a:lnTo>
                  <a:lnTo>
                    <a:pt x="42" y="8"/>
                  </a:lnTo>
                  <a:lnTo>
                    <a:pt x="45" y="12"/>
                  </a:lnTo>
                  <a:lnTo>
                    <a:pt x="35" y="22"/>
                  </a:lnTo>
                  <a:lnTo>
                    <a:pt x="41" y="33"/>
                  </a:lnTo>
                  <a:lnTo>
                    <a:pt x="28" y="38"/>
                  </a:lnTo>
                  <a:lnTo>
                    <a:pt x="27" y="28"/>
                  </a:lnTo>
                  <a:lnTo>
                    <a:pt x="24" y="32"/>
                  </a:lnTo>
                  <a:lnTo>
                    <a:pt x="17" y="24"/>
                  </a:lnTo>
                  <a:lnTo>
                    <a:pt x="4" y="21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0" name="Freeform 159">
              <a:extLst>
                <a:ext uri="{FF2B5EF4-FFF2-40B4-BE49-F238E27FC236}">
                  <a16:creationId xmlns:a16="http://schemas.microsoft.com/office/drawing/2014/main" id="{CD5E3BA6-5102-4A61-BB9C-1DBECE2723F0}"/>
                </a:ext>
              </a:extLst>
            </p:cNvPr>
            <p:cNvSpPr>
              <a:spLocks/>
            </p:cNvSpPr>
            <p:nvPr/>
          </p:nvSpPr>
          <p:spPr bwMode="gray">
            <a:xfrm>
              <a:off x="2374826" y="4098008"/>
              <a:ext cx="72304" cy="79362"/>
            </a:xfrm>
            <a:custGeom>
              <a:avLst/>
              <a:gdLst>
                <a:gd name="T0" fmla="*/ 19 w 34"/>
                <a:gd name="T1" fmla="*/ 19 h 36"/>
                <a:gd name="T2" fmla="*/ 25 w 34"/>
                <a:gd name="T3" fmla="*/ 20 h 36"/>
                <a:gd name="T4" fmla="*/ 23 w 34"/>
                <a:gd name="T5" fmla="*/ 16 h 36"/>
                <a:gd name="T6" fmla="*/ 18 w 34"/>
                <a:gd name="T7" fmla="*/ 16 h 36"/>
                <a:gd name="T8" fmla="*/ 14 w 34"/>
                <a:gd name="T9" fmla="*/ 12 h 36"/>
                <a:gd name="T10" fmla="*/ 5 w 34"/>
                <a:gd name="T11" fmla="*/ 7 h 36"/>
                <a:gd name="T12" fmla="*/ 1 w 34"/>
                <a:gd name="T13" fmla="*/ 3 h 36"/>
                <a:gd name="T14" fmla="*/ 0 w 34"/>
                <a:gd name="T15" fmla="*/ 0 h 36"/>
                <a:gd name="T16" fmla="*/ 14 w 34"/>
                <a:gd name="T17" fmla="*/ 1 h 36"/>
                <a:gd name="T18" fmla="*/ 24 w 34"/>
                <a:gd name="T19" fmla="*/ 7 h 36"/>
                <a:gd name="T20" fmla="*/ 34 w 34"/>
                <a:gd name="T21" fmla="*/ 13 h 36"/>
                <a:gd name="T22" fmla="*/ 34 w 34"/>
                <a:gd name="T23" fmla="*/ 25 h 36"/>
                <a:gd name="T24" fmla="*/ 28 w 34"/>
                <a:gd name="T25" fmla="*/ 28 h 36"/>
                <a:gd name="T26" fmla="*/ 25 w 34"/>
                <a:gd name="T27" fmla="*/ 36 h 36"/>
                <a:gd name="T28" fmla="*/ 22 w 34"/>
                <a:gd name="T29" fmla="*/ 31 h 36"/>
                <a:gd name="T30" fmla="*/ 19 w 34"/>
                <a:gd name="T31" fmla="*/ 1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6">
                  <a:moveTo>
                    <a:pt x="19" y="19"/>
                  </a:moveTo>
                  <a:lnTo>
                    <a:pt x="25" y="20"/>
                  </a:lnTo>
                  <a:lnTo>
                    <a:pt x="23" y="16"/>
                  </a:lnTo>
                  <a:lnTo>
                    <a:pt x="18" y="16"/>
                  </a:lnTo>
                  <a:lnTo>
                    <a:pt x="14" y="12"/>
                  </a:lnTo>
                  <a:lnTo>
                    <a:pt x="5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4" y="1"/>
                  </a:lnTo>
                  <a:lnTo>
                    <a:pt x="24" y="7"/>
                  </a:lnTo>
                  <a:lnTo>
                    <a:pt x="34" y="13"/>
                  </a:lnTo>
                  <a:lnTo>
                    <a:pt x="34" y="25"/>
                  </a:lnTo>
                  <a:lnTo>
                    <a:pt x="28" y="28"/>
                  </a:lnTo>
                  <a:lnTo>
                    <a:pt x="25" y="36"/>
                  </a:lnTo>
                  <a:lnTo>
                    <a:pt x="22" y="31"/>
                  </a:lnTo>
                  <a:lnTo>
                    <a:pt x="19" y="1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1" name="Freeform 160">
              <a:extLst>
                <a:ext uri="{FF2B5EF4-FFF2-40B4-BE49-F238E27FC236}">
                  <a16:creationId xmlns:a16="http://schemas.microsoft.com/office/drawing/2014/main" id="{40AE0C74-4F32-4F85-89A9-64F279176F3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0695" y="4230940"/>
              <a:ext cx="89428" cy="128963"/>
            </a:xfrm>
            <a:custGeom>
              <a:avLst/>
              <a:gdLst>
                <a:gd name="T0" fmla="*/ 32 w 42"/>
                <a:gd name="T1" fmla="*/ 15 h 57"/>
                <a:gd name="T2" fmla="*/ 19 w 42"/>
                <a:gd name="T3" fmla="*/ 3 h 57"/>
                <a:gd name="T4" fmla="*/ 9 w 42"/>
                <a:gd name="T5" fmla="*/ 0 h 57"/>
                <a:gd name="T6" fmla="*/ 7 w 42"/>
                <a:gd name="T7" fmla="*/ 6 h 57"/>
                <a:gd name="T8" fmla="*/ 2 w 42"/>
                <a:gd name="T9" fmla="*/ 19 h 57"/>
                <a:gd name="T10" fmla="*/ 8 w 42"/>
                <a:gd name="T11" fmla="*/ 39 h 57"/>
                <a:gd name="T12" fmla="*/ 0 w 42"/>
                <a:gd name="T13" fmla="*/ 55 h 57"/>
                <a:gd name="T14" fmla="*/ 9 w 42"/>
                <a:gd name="T15" fmla="*/ 56 h 57"/>
                <a:gd name="T16" fmla="*/ 23 w 42"/>
                <a:gd name="T17" fmla="*/ 57 h 57"/>
                <a:gd name="T18" fmla="*/ 32 w 42"/>
                <a:gd name="T19" fmla="*/ 42 h 57"/>
                <a:gd name="T20" fmla="*/ 42 w 42"/>
                <a:gd name="T21" fmla="*/ 27 h 57"/>
                <a:gd name="T22" fmla="*/ 38 w 42"/>
                <a:gd name="T23" fmla="*/ 18 h 57"/>
                <a:gd name="T24" fmla="*/ 38 w 42"/>
                <a:gd name="T25" fmla="*/ 21 h 57"/>
                <a:gd name="T26" fmla="*/ 32 w 42"/>
                <a:gd name="T27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57">
                  <a:moveTo>
                    <a:pt x="32" y="15"/>
                  </a:moveTo>
                  <a:lnTo>
                    <a:pt x="19" y="3"/>
                  </a:lnTo>
                  <a:lnTo>
                    <a:pt x="9" y="0"/>
                  </a:lnTo>
                  <a:lnTo>
                    <a:pt x="7" y="6"/>
                  </a:lnTo>
                  <a:lnTo>
                    <a:pt x="2" y="19"/>
                  </a:lnTo>
                  <a:lnTo>
                    <a:pt x="8" y="39"/>
                  </a:lnTo>
                  <a:lnTo>
                    <a:pt x="0" y="55"/>
                  </a:lnTo>
                  <a:lnTo>
                    <a:pt x="9" y="56"/>
                  </a:lnTo>
                  <a:lnTo>
                    <a:pt x="23" y="57"/>
                  </a:lnTo>
                  <a:lnTo>
                    <a:pt x="32" y="42"/>
                  </a:lnTo>
                  <a:lnTo>
                    <a:pt x="42" y="27"/>
                  </a:lnTo>
                  <a:lnTo>
                    <a:pt x="38" y="18"/>
                  </a:lnTo>
                  <a:lnTo>
                    <a:pt x="38" y="21"/>
                  </a:lnTo>
                  <a:lnTo>
                    <a:pt x="32" y="1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2" name="Freeform 161">
              <a:extLst>
                <a:ext uri="{FF2B5EF4-FFF2-40B4-BE49-F238E27FC236}">
                  <a16:creationId xmlns:a16="http://schemas.microsoft.com/office/drawing/2014/main" id="{668AA74A-0876-47A1-B23B-5057AC3250A7}"/>
                </a:ext>
              </a:extLst>
            </p:cNvPr>
            <p:cNvSpPr>
              <a:spLocks/>
            </p:cNvSpPr>
            <p:nvPr/>
          </p:nvSpPr>
          <p:spPr bwMode="gray">
            <a:xfrm>
              <a:off x="2391950" y="3996821"/>
              <a:ext cx="359616" cy="587280"/>
            </a:xfrm>
            <a:custGeom>
              <a:avLst/>
              <a:gdLst>
                <a:gd name="T0" fmla="*/ 67 w 172"/>
                <a:gd name="T1" fmla="*/ 24 h 266"/>
                <a:gd name="T2" fmla="*/ 61 w 172"/>
                <a:gd name="T3" fmla="*/ 22 h 266"/>
                <a:gd name="T4" fmla="*/ 49 w 172"/>
                <a:gd name="T5" fmla="*/ 47 h 266"/>
                <a:gd name="T6" fmla="*/ 31 w 172"/>
                <a:gd name="T7" fmla="*/ 71 h 266"/>
                <a:gd name="T8" fmla="*/ 27 w 172"/>
                <a:gd name="T9" fmla="*/ 59 h 266"/>
                <a:gd name="T10" fmla="*/ 21 w 172"/>
                <a:gd name="T11" fmla="*/ 74 h 266"/>
                <a:gd name="T12" fmla="*/ 22 w 172"/>
                <a:gd name="T13" fmla="*/ 89 h 266"/>
                <a:gd name="T14" fmla="*/ 22 w 172"/>
                <a:gd name="T15" fmla="*/ 110 h 266"/>
                <a:gd name="T16" fmla="*/ 24 w 172"/>
                <a:gd name="T17" fmla="*/ 134 h 266"/>
                <a:gd name="T18" fmla="*/ 17 w 172"/>
                <a:gd name="T19" fmla="*/ 154 h 266"/>
                <a:gd name="T20" fmla="*/ 5 w 172"/>
                <a:gd name="T21" fmla="*/ 167 h 266"/>
                <a:gd name="T22" fmla="*/ 1 w 172"/>
                <a:gd name="T23" fmla="*/ 175 h 266"/>
                <a:gd name="T24" fmla="*/ 22 w 172"/>
                <a:gd name="T25" fmla="*/ 192 h 266"/>
                <a:gd name="T26" fmla="*/ 52 w 172"/>
                <a:gd name="T27" fmla="*/ 199 h 266"/>
                <a:gd name="T28" fmla="*/ 60 w 172"/>
                <a:gd name="T29" fmla="*/ 206 h 266"/>
                <a:gd name="T30" fmla="*/ 79 w 172"/>
                <a:gd name="T31" fmla="*/ 227 h 266"/>
                <a:gd name="T32" fmla="*/ 100 w 172"/>
                <a:gd name="T33" fmla="*/ 235 h 266"/>
                <a:gd name="T34" fmla="*/ 125 w 172"/>
                <a:gd name="T35" fmla="*/ 240 h 266"/>
                <a:gd name="T36" fmla="*/ 129 w 172"/>
                <a:gd name="T37" fmla="*/ 266 h 266"/>
                <a:gd name="T38" fmla="*/ 135 w 172"/>
                <a:gd name="T39" fmla="*/ 221 h 266"/>
                <a:gd name="T40" fmla="*/ 126 w 172"/>
                <a:gd name="T41" fmla="*/ 188 h 266"/>
                <a:gd name="T42" fmla="*/ 138 w 172"/>
                <a:gd name="T43" fmla="*/ 185 h 266"/>
                <a:gd name="T44" fmla="*/ 129 w 172"/>
                <a:gd name="T45" fmla="*/ 170 h 266"/>
                <a:gd name="T46" fmla="*/ 154 w 172"/>
                <a:gd name="T47" fmla="*/ 170 h 266"/>
                <a:gd name="T48" fmla="*/ 155 w 172"/>
                <a:gd name="T49" fmla="*/ 169 h 266"/>
                <a:gd name="T50" fmla="*/ 168 w 172"/>
                <a:gd name="T51" fmla="*/ 178 h 266"/>
                <a:gd name="T52" fmla="*/ 168 w 172"/>
                <a:gd name="T53" fmla="*/ 166 h 266"/>
                <a:gd name="T54" fmla="*/ 165 w 172"/>
                <a:gd name="T55" fmla="*/ 145 h 266"/>
                <a:gd name="T56" fmla="*/ 161 w 172"/>
                <a:gd name="T57" fmla="*/ 112 h 266"/>
                <a:gd name="T58" fmla="*/ 153 w 172"/>
                <a:gd name="T59" fmla="*/ 100 h 266"/>
                <a:gd name="T60" fmla="*/ 127 w 172"/>
                <a:gd name="T61" fmla="*/ 85 h 266"/>
                <a:gd name="T62" fmla="*/ 106 w 172"/>
                <a:gd name="T63" fmla="*/ 85 h 266"/>
                <a:gd name="T64" fmla="*/ 96 w 172"/>
                <a:gd name="T65" fmla="*/ 68 h 266"/>
                <a:gd name="T66" fmla="*/ 83 w 172"/>
                <a:gd name="T67" fmla="*/ 50 h 266"/>
                <a:gd name="T68" fmla="*/ 97 w 172"/>
                <a:gd name="T69" fmla="*/ 24 h 266"/>
                <a:gd name="T70" fmla="*/ 114 w 172"/>
                <a:gd name="T71" fmla="*/ 7 h 266"/>
                <a:gd name="T72" fmla="*/ 107 w 172"/>
                <a:gd name="T73" fmla="*/ 0 h 266"/>
                <a:gd name="T74" fmla="*/ 81 w 172"/>
                <a:gd name="T75" fmla="*/ 17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2" h="266">
                  <a:moveTo>
                    <a:pt x="72" y="17"/>
                  </a:moveTo>
                  <a:lnTo>
                    <a:pt x="67" y="24"/>
                  </a:lnTo>
                  <a:lnTo>
                    <a:pt x="70" y="22"/>
                  </a:lnTo>
                  <a:lnTo>
                    <a:pt x="61" y="22"/>
                  </a:lnTo>
                  <a:lnTo>
                    <a:pt x="51" y="35"/>
                  </a:lnTo>
                  <a:lnTo>
                    <a:pt x="49" y="47"/>
                  </a:lnTo>
                  <a:lnTo>
                    <a:pt x="34" y="61"/>
                  </a:lnTo>
                  <a:lnTo>
                    <a:pt x="31" y="71"/>
                  </a:lnTo>
                  <a:lnTo>
                    <a:pt x="29" y="62"/>
                  </a:lnTo>
                  <a:lnTo>
                    <a:pt x="27" y="59"/>
                  </a:lnTo>
                  <a:lnTo>
                    <a:pt x="27" y="71"/>
                  </a:lnTo>
                  <a:lnTo>
                    <a:pt x="21" y="74"/>
                  </a:lnTo>
                  <a:lnTo>
                    <a:pt x="18" y="82"/>
                  </a:lnTo>
                  <a:lnTo>
                    <a:pt x="22" y="89"/>
                  </a:lnTo>
                  <a:lnTo>
                    <a:pt x="25" y="103"/>
                  </a:lnTo>
                  <a:lnTo>
                    <a:pt x="22" y="110"/>
                  </a:lnTo>
                  <a:lnTo>
                    <a:pt x="23" y="122"/>
                  </a:lnTo>
                  <a:lnTo>
                    <a:pt x="24" y="134"/>
                  </a:lnTo>
                  <a:lnTo>
                    <a:pt x="25" y="136"/>
                  </a:lnTo>
                  <a:lnTo>
                    <a:pt x="17" y="154"/>
                  </a:lnTo>
                  <a:lnTo>
                    <a:pt x="7" y="157"/>
                  </a:lnTo>
                  <a:lnTo>
                    <a:pt x="5" y="167"/>
                  </a:lnTo>
                  <a:lnTo>
                    <a:pt x="0" y="169"/>
                  </a:lnTo>
                  <a:lnTo>
                    <a:pt x="1" y="175"/>
                  </a:lnTo>
                  <a:lnTo>
                    <a:pt x="13" y="184"/>
                  </a:lnTo>
                  <a:lnTo>
                    <a:pt x="22" y="192"/>
                  </a:lnTo>
                  <a:lnTo>
                    <a:pt x="36" y="192"/>
                  </a:lnTo>
                  <a:lnTo>
                    <a:pt x="52" y="199"/>
                  </a:lnTo>
                  <a:lnTo>
                    <a:pt x="53" y="198"/>
                  </a:lnTo>
                  <a:lnTo>
                    <a:pt x="60" y="206"/>
                  </a:lnTo>
                  <a:lnTo>
                    <a:pt x="69" y="215"/>
                  </a:lnTo>
                  <a:lnTo>
                    <a:pt x="79" y="227"/>
                  </a:lnTo>
                  <a:lnTo>
                    <a:pt x="82" y="234"/>
                  </a:lnTo>
                  <a:lnTo>
                    <a:pt x="100" y="235"/>
                  </a:lnTo>
                  <a:lnTo>
                    <a:pt x="111" y="235"/>
                  </a:lnTo>
                  <a:lnTo>
                    <a:pt x="125" y="240"/>
                  </a:lnTo>
                  <a:lnTo>
                    <a:pt x="119" y="259"/>
                  </a:lnTo>
                  <a:lnTo>
                    <a:pt x="129" y="266"/>
                  </a:lnTo>
                  <a:lnTo>
                    <a:pt x="132" y="244"/>
                  </a:lnTo>
                  <a:lnTo>
                    <a:pt x="135" y="221"/>
                  </a:lnTo>
                  <a:lnTo>
                    <a:pt x="129" y="204"/>
                  </a:lnTo>
                  <a:lnTo>
                    <a:pt x="126" y="188"/>
                  </a:lnTo>
                  <a:lnTo>
                    <a:pt x="136" y="188"/>
                  </a:lnTo>
                  <a:lnTo>
                    <a:pt x="138" y="185"/>
                  </a:lnTo>
                  <a:lnTo>
                    <a:pt x="131" y="181"/>
                  </a:lnTo>
                  <a:lnTo>
                    <a:pt x="129" y="170"/>
                  </a:lnTo>
                  <a:lnTo>
                    <a:pt x="142" y="170"/>
                  </a:lnTo>
                  <a:lnTo>
                    <a:pt x="154" y="170"/>
                  </a:lnTo>
                  <a:lnTo>
                    <a:pt x="151" y="168"/>
                  </a:lnTo>
                  <a:lnTo>
                    <a:pt x="155" y="169"/>
                  </a:lnTo>
                  <a:lnTo>
                    <a:pt x="163" y="164"/>
                  </a:lnTo>
                  <a:lnTo>
                    <a:pt x="168" y="178"/>
                  </a:lnTo>
                  <a:lnTo>
                    <a:pt x="172" y="179"/>
                  </a:lnTo>
                  <a:lnTo>
                    <a:pt x="168" y="166"/>
                  </a:lnTo>
                  <a:lnTo>
                    <a:pt x="160" y="152"/>
                  </a:lnTo>
                  <a:lnTo>
                    <a:pt x="165" y="145"/>
                  </a:lnTo>
                  <a:lnTo>
                    <a:pt x="159" y="125"/>
                  </a:lnTo>
                  <a:lnTo>
                    <a:pt x="161" y="112"/>
                  </a:lnTo>
                  <a:lnTo>
                    <a:pt x="165" y="98"/>
                  </a:lnTo>
                  <a:lnTo>
                    <a:pt x="153" y="100"/>
                  </a:lnTo>
                  <a:lnTo>
                    <a:pt x="141" y="100"/>
                  </a:lnTo>
                  <a:lnTo>
                    <a:pt x="127" y="85"/>
                  </a:lnTo>
                  <a:lnTo>
                    <a:pt x="117" y="85"/>
                  </a:lnTo>
                  <a:lnTo>
                    <a:pt x="106" y="85"/>
                  </a:lnTo>
                  <a:lnTo>
                    <a:pt x="95" y="79"/>
                  </a:lnTo>
                  <a:lnTo>
                    <a:pt x="96" y="68"/>
                  </a:lnTo>
                  <a:lnTo>
                    <a:pt x="89" y="50"/>
                  </a:lnTo>
                  <a:lnTo>
                    <a:pt x="83" y="50"/>
                  </a:lnTo>
                  <a:lnTo>
                    <a:pt x="89" y="37"/>
                  </a:lnTo>
                  <a:lnTo>
                    <a:pt x="97" y="24"/>
                  </a:lnTo>
                  <a:lnTo>
                    <a:pt x="105" y="11"/>
                  </a:lnTo>
                  <a:lnTo>
                    <a:pt x="114" y="7"/>
                  </a:lnTo>
                  <a:lnTo>
                    <a:pt x="115" y="0"/>
                  </a:lnTo>
                  <a:lnTo>
                    <a:pt x="107" y="0"/>
                  </a:lnTo>
                  <a:lnTo>
                    <a:pt x="94" y="8"/>
                  </a:lnTo>
                  <a:lnTo>
                    <a:pt x="81" y="17"/>
                  </a:lnTo>
                  <a:lnTo>
                    <a:pt x="72" y="1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3" name="Freeform 162">
              <a:extLst>
                <a:ext uri="{FF2B5EF4-FFF2-40B4-BE49-F238E27FC236}">
                  <a16:creationId xmlns:a16="http://schemas.microsoft.com/office/drawing/2014/main" id="{065D04CC-F276-46C2-8DB8-1A87D57B0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0909" y="4133722"/>
              <a:ext cx="144607" cy="251975"/>
            </a:xfrm>
            <a:custGeom>
              <a:avLst/>
              <a:gdLst>
                <a:gd name="T0" fmla="*/ 55 w 68"/>
                <a:gd name="T1" fmla="*/ 83 h 115"/>
                <a:gd name="T2" fmla="*/ 48 w 68"/>
                <a:gd name="T3" fmla="*/ 75 h 115"/>
                <a:gd name="T4" fmla="*/ 49 w 68"/>
                <a:gd name="T5" fmla="*/ 60 h 115"/>
                <a:gd name="T6" fmla="*/ 55 w 68"/>
                <a:gd name="T7" fmla="*/ 57 h 115"/>
                <a:gd name="T8" fmla="*/ 58 w 68"/>
                <a:gd name="T9" fmla="*/ 49 h 115"/>
                <a:gd name="T10" fmla="*/ 58 w 68"/>
                <a:gd name="T11" fmla="*/ 36 h 115"/>
                <a:gd name="T12" fmla="*/ 42 w 68"/>
                <a:gd name="T13" fmla="*/ 27 h 115"/>
                <a:gd name="T14" fmla="*/ 40 w 68"/>
                <a:gd name="T15" fmla="*/ 33 h 115"/>
                <a:gd name="T16" fmla="*/ 41 w 68"/>
                <a:gd name="T17" fmla="*/ 17 h 115"/>
                <a:gd name="T18" fmla="*/ 32 w 68"/>
                <a:gd name="T19" fmla="*/ 10 h 115"/>
                <a:gd name="T20" fmla="*/ 24 w 68"/>
                <a:gd name="T21" fmla="*/ 3 h 115"/>
                <a:gd name="T22" fmla="*/ 28 w 68"/>
                <a:gd name="T23" fmla="*/ 5 h 115"/>
                <a:gd name="T24" fmla="*/ 20 w 68"/>
                <a:gd name="T25" fmla="*/ 0 h 115"/>
                <a:gd name="T26" fmla="*/ 23 w 68"/>
                <a:gd name="T27" fmla="*/ 4 h 115"/>
                <a:gd name="T28" fmla="*/ 10 w 68"/>
                <a:gd name="T29" fmla="*/ 16 h 115"/>
                <a:gd name="T30" fmla="*/ 16 w 68"/>
                <a:gd name="T31" fmla="*/ 23 h 115"/>
                <a:gd name="T32" fmla="*/ 6 w 68"/>
                <a:gd name="T33" fmla="*/ 29 h 115"/>
                <a:gd name="T34" fmla="*/ 0 w 68"/>
                <a:gd name="T35" fmla="*/ 41 h 115"/>
                <a:gd name="T36" fmla="*/ 8 w 68"/>
                <a:gd name="T37" fmla="*/ 53 h 115"/>
                <a:gd name="T38" fmla="*/ 17 w 68"/>
                <a:gd name="T39" fmla="*/ 53 h 115"/>
                <a:gd name="T40" fmla="*/ 18 w 68"/>
                <a:gd name="T41" fmla="*/ 61 h 115"/>
                <a:gd name="T42" fmla="*/ 24 w 68"/>
                <a:gd name="T43" fmla="*/ 70 h 115"/>
                <a:gd name="T44" fmla="*/ 20 w 68"/>
                <a:gd name="T45" fmla="*/ 84 h 115"/>
                <a:gd name="T46" fmla="*/ 22 w 68"/>
                <a:gd name="T47" fmla="*/ 103 h 115"/>
                <a:gd name="T48" fmla="*/ 31 w 68"/>
                <a:gd name="T49" fmla="*/ 115 h 115"/>
                <a:gd name="T50" fmla="*/ 40 w 68"/>
                <a:gd name="T51" fmla="*/ 115 h 115"/>
                <a:gd name="T52" fmla="*/ 54 w 68"/>
                <a:gd name="T53" fmla="*/ 108 h 115"/>
                <a:gd name="T54" fmla="*/ 68 w 68"/>
                <a:gd name="T55" fmla="*/ 106 h 115"/>
                <a:gd name="T56" fmla="*/ 61 w 68"/>
                <a:gd name="T57" fmla="*/ 94 h 115"/>
                <a:gd name="T58" fmla="*/ 55 w 68"/>
                <a:gd name="T59" fmla="*/ 8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" h="115">
                  <a:moveTo>
                    <a:pt x="55" y="83"/>
                  </a:moveTo>
                  <a:lnTo>
                    <a:pt x="48" y="75"/>
                  </a:lnTo>
                  <a:lnTo>
                    <a:pt x="49" y="60"/>
                  </a:lnTo>
                  <a:lnTo>
                    <a:pt x="55" y="57"/>
                  </a:lnTo>
                  <a:lnTo>
                    <a:pt x="58" y="49"/>
                  </a:lnTo>
                  <a:lnTo>
                    <a:pt x="58" y="36"/>
                  </a:lnTo>
                  <a:lnTo>
                    <a:pt x="42" y="27"/>
                  </a:lnTo>
                  <a:lnTo>
                    <a:pt x="40" y="33"/>
                  </a:lnTo>
                  <a:lnTo>
                    <a:pt x="41" y="17"/>
                  </a:lnTo>
                  <a:lnTo>
                    <a:pt x="32" y="10"/>
                  </a:lnTo>
                  <a:lnTo>
                    <a:pt x="24" y="3"/>
                  </a:lnTo>
                  <a:lnTo>
                    <a:pt x="28" y="5"/>
                  </a:lnTo>
                  <a:lnTo>
                    <a:pt x="20" y="0"/>
                  </a:lnTo>
                  <a:lnTo>
                    <a:pt x="23" y="4"/>
                  </a:lnTo>
                  <a:lnTo>
                    <a:pt x="10" y="16"/>
                  </a:lnTo>
                  <a:lnTo>
                    <a:pt x="16" y="23"/>
                  </a:lnTo>
                  <a:lnTo>
                    <a:pt x="6" y="29"/>
                  </a:lnTo>
                  <a:lnTo>
                    <a:pt x="0" y="41"/>
                  </a:lnTo>
                  <a:lnTo>
                    <a:pt x="8" y="53"/>
                  </a:lnTo>
                  <a:lnTo>
                    <a:pt x="17" y="53"/>
                  </a:lnTo>
                  <a:lnTo>
                    <a:pt x="18" y="61"/>
                  </a:lnTo>
                  <a:lnTo>
                    <a:pt x="24" y="70"/>
                  </a:lnTo>
                  <a:lnTo>
                    <a:pt x="20" y="84"/>
                  </a:lnTo>
                  <a:lnTo>
                    <a:pt x="22" y="103"/>
                  </a:lnTo>
                  <a:lnTo>
                    <a:pt x="31" y="115"/>
                  </a:lnTo>
                  <a:lnTo>
                    <a:pt x="40" y="115"/>
                  </a:lnTo>
                  <a:lnTo>
                    <a:pt x="54" y="108"/>
                  </a:lnTo>
                  <a:lnTo>
                    <a:pt x="68" y="106"/>
                  </a:lnTo>
                  <a:lnTo>
                    <a:pt x="61" y="94"/>
                  </a:lnTo>
                  <a:lnTo>
                    <a:pt x="55" y="8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4" name="Freeform 163">
              <a:extLst>
                <a:ext uri="{FF2B5EF4-FFF2-40B4-BE49-F238E27FC236}">
                  <a16:creationId xmlns:a16="http://schemas.microsoft.com/office/drawing/2014/main" id="{BDD2EC5E-9ED5-405B-BA2F-0A2088C55FA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3657" y="4226971"/>
              <a:ext cx="117970" cy="140869"/>
            </a:xfrm>
            <a:custGeom>
              <a:avLst/>
              <a:gdLst>
                <a:gd name="T0" fmla="*/ 7 w 55"/>
                <a:gd name="T1" fmla="*/ 41 h 65"/>
                <a:gd name="T2" fmla="*/ 0 w 55"/>
                <a:gd name="T3" fmla="*/ 33 h 65"/>
                <a:gd name="T4" fmla="*/ 1 w 55"/>
                <a:gd name="T5" fmla="*/ 18 h 65"/>
                <a:gd name="T6" fmla="*/ 7 w 55"/>
                <a:gd name="T7" fmla="*/ 15 h 65"/>
                <a:gd name="T8" fmla="*/ 10 w 55"/>
                <a:gd name="T9" fmla="*/ 7 h 65"/>
                <a:gd name="T10" fmla="*/ 13 w 55"/>
                <a:gd name="T11" fmla="*/ 0 h 65"/>
                <a:gd name="T12" fmla="*/ 29 w 55"/>
                <a:gd name="T13" fmla="*/ 1 h 65"/>
                <a:gd name="T14" fmla="*/ 42 w 55"/>
                <a:gd name="T15" fmla="*/ 1 h 65"/>
                <a:gd name="T16" fmla="*/ 42 w 55"/>
                <a:gd name="T17" fmla="*/ 0 h 65"/>
                <a:gd name="T18" fmla="*/ 55 w 55"/>
                <a:gd name="T19" fmla="*/ 1 h 65"/>
                <a:gd name="T20" fmla="*/ 54 w 55"/>
                <a:gd name="T21" fmla="*/ 9 h 65"/>
                <a:gd name="T22" fmla="*/ 49 w 55"/>
                <a:gd name="T23" fmla="*/ 22 h 65"/>
                <a:gd name="T24" fmla="*/ 55 w 55"/>
                <a:gd name="T25" fmla="*/ 42 h 65"/>
                <a:gd name="T26" fmla="*/ 47 w 55"/>
                <a:gd name="T27" fmla="*/ 58 h 65"/>
                <a:gd name="T28" fmla="*/ 38 w 55"/>
                <a:gd name="T29" fmla="*/ 54 h 65"/>
                <a:gd name="T30" fmla="*/ 25 w 55"/>
                <a:gd name="T31" fmla="*/ 58 h 65"/>
                <a:gd name="T32" fmla="*/ 26 w 55"/>
                <a:gd name="T33" fmla="*/ 65 h 65"/>
                <a:gd name="T34" fmla="*/ 20 w 55"/>
                <a:gd name="T35" fmla="*/ 64 h 65"/>
                <a:gd name="T36" fmla="*/ 13 w 55"/>
                <a:gd name="T37" fmla="*/ 52 h 65"/>
                <a:gd name="T38" fmla="*/ 7 w 55"/>
                <a:gd name="T39" fmla="*/ 4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5" h="65">
                  <a:moveTo>
                    <a:pt x="7" y="41"/>
                  </a:moveTo>
                  <a:lnTo>
                    <a:pt x="0" y="33"/>
                  </a:lnTo>
                  <a:lnTo>
                    <a:pt x="1" y="18"/>
                  </a:lnTo>
                  <a:lnTo>
                    <a:pt x="7" y="15"/>
                  </a:lnTo>
                  <a:lnTo>
                    <a:pt x="10" y="7"/>
                  </a:lnTo>
                  <a:lnTo>
                    <a:pt x="13" y="0"/>
                  </a:lnTo>
                  <a:lnTo>
                    <a:pt x="29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55" y="1"/>
                  </a:lnTo>
                  <a:lnTo>
                    <a:pt x="54" y="9"/>
                  </a:lnTo>
                  <a:lnTo>
                    <a:pt x="49" y="22"/>
                  </a:lnTo>
                  <a:lnTo>
                    <a:pt x="55" y="42"/>
                  </a:lnTo>
                  <a:lnTo>
                    <a:pt x="47" y="58"/>
                  </a:lnTo>
                  <a:lnTo>
                    <a:pt x="38" y="54"/>
                  </a:lnTo>
                  <a:lnTo>
                    <a:pt x="25" y="58"/>
                  </a:lnTo>
                  <a:lnTo>
                    <a:pt x="26" y="65"/>
                  </a:lnTo>
                  <a:lnTo>
                    <a:pt x="20" y="64"/>
                  </a:lnTo>
                  <a:lnTo>
                    <a:pt x="13" y="52"/>
                  </a:lnTo>
                  <a:lnTo>
                    <a:pt x="7" y="4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5" name="Freeform 164">
              <a:extLst>
                <a:ext uri="{FF2B5EF4-FFF2-40B4-BE49-F238E27FC236}">
                  <a16:creationId xmlns:a16="http://schemas.microsoft.com/office/drawing/2014/main" id="{05CFF2F5-B1FC-4E96-A0CE-7B1B7258C9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297" y="4054358"/>
              <a:ext cx="24735" cy="21825"/>
            </a:xfrm>
            <a:custGeom>
              <a:avLst/>
              <a:gdLst>
                <a:gd name="T0" fmla="*/ 4 w 12"/>
                <a:gd name="T1" fmla="*/ 0 h 11"/>
                <a:gd name="T2" fmla="*/ 12 w 12"/>
                <a:gd name="T3" fmla="*/ 0 h 11"/>
                <a:gd name="T4" fmla="*/ 9 w 12"/>
                <a:gd name="T5" fmla="*/ 11 h 11"/>
                <a:gd name="T6" fmla="*/ 0 w 12"/>
                <a:gd name="T7" fmla="*/ 10 h 11"/>
                <a:gd name="T8" fmla="*/ 5 w 12"/>
                <a:gd name="T9" fmla="*/ 4 h 11"/>
                <a:gd name="T10" fmla="*/ 4 w 12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1">
                  <a:moveTo>
                    <a:pt x="4" y="0"/>
                  </a:moveTo>
                  <a:lnTo>
                    <a:pt x="12" y="0"/>
                  </a:lnTo>
                  <a:lnTo>
                    <a:pt x="9" y="11"/>
                  </a:lnTo>
                  <a:lnTo>
                    <a:pt x="0" y="10"/>
                  </a:lnTo>
                  <a:lnTo>
                    <a:pt x="5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6" name="Freeform 165">
              <a:extLst>
                <a:ext uri="{FF2B5EF4-FFF2-40B4-BE49-F238E27FC236}">
                  <a16:creationId xmlns:a16="http://schemas.microsoft.com/office/drawing/2014/main" id="{EE6590A8-D9C1-4B95-9270-0D2D715D5A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565098" y="4000790"/>
              <a:ext cx="403378" cy="406731"/>
            </a:xfrm>
            <a:custGeom>
              <a:avLst/>
              <a:gdLst>
                <a:gd name="T0" fmla="*/ 158 w 191"/>
                <a:gd name="T1" fmla="*/ 38 h 184"/>
                <a:gd name="T2" fmla="*/ 149 w 191"/>
                <a:gd name="T3" fmla="*/ 34 h 184"/>
                <a:gd name="T4" fmla="*/ 148 w 191"/>
                <a:gd name="T5" fmla="*/ 29 h 184"/>
                <a:gd name="T6" fmla="*/ 148 w 191"/>
                <a:gd name="T7" fmla="*/ 24 h 184"/>
                <a:gd name="T8" fmla="*/ 137 w 191"/>
                <a:gd name="T9" fmla="*/ 27 h 184"/>
                <a:gd name="T10" fmla="*/ 103 w 191"/>
                <a:gd name="T11" fmla="*/ 27 h 184"/>
                <a:gd name="T12" fmla="*/ 77 w 191"/>
                <a:gd name="T13" fmla="*/ 27 h 184"/>
                <a:gd name="T14" fmla="*/ 56 w 191"/>
                <a:gd name="T15" fmla="*/ 11 h 184"/>
                <a:gd name="T16" fmla="*/ 47 w 191"/>
                <a:gd name="T17" fmla="*/ 6 h 184"/>
                <a:gd name="T18" fmla="*/ 50 w 191"/>
                <a:gd name="T19" fmla="*/ 11 h 184"/>
                <a:gd name="T20" fmla="*/ 29 w 191"/>
                <a:gd name="T21" fmla="*/ 22 h 184"/>
                <a:gd name="T22" fmla="*/ 26 w 191"/>
                <a:gd name="T23" fmla="*/ 51 h 184"/>
                <a:gd name="T24" fmla="*/ 26 w 191"/>
                <a:gd name="T25" fmla="*/ 26 h 184"/>
                <a:gd name="T26" fmla="*/ 31 w 191"/>
                <a:gd name="T27" fmla="*/ 5 h 184"/>
                <a:gd name="T28" fmla="*/ 14 w 191"/>
                <a:gd name="T29" fmla="*/ 22 h 184"/>
                <a:gd name="T30" fmla="*/ 0 w 191"/>
                <a:gd name="T31" fmla="*/ 48 h 184"/>
                <a:gd name="T32" fmla="*/ 13 w 191"/>
                <a:gd name="T33" fmla="*/ 66 h 184"/>
                <a:gd name="T34" fmla="*/ 23 w 191"/>
                <a:gd name="T35" fmla="*/ 83 h 184"/>
                <a:gd name="T36" fmla="*/ 44 w 191"/>
                <a:gd name="T37" fmla="*/ 83 h 184"/>
                <a:gd name="T38" fmla="*/ 70 w 191"/>
                <a:gd name="T39" fmla="*/ 98 h 184"/>
                <a:gd name="T40" fmla="*/ 78 w 191"/>
                <a:gd name="T41" fmla="*/ 110 h 184"/>
                <a:gd name="T42" fmla="*/ 82 w 191"/>
                <a:gd name="T43" fmla="*/ 143 h 184"/>
                <a:gd name="T44" fmla="*/ 85 w 191"/>
                <a:gd name="T45" fmla="*/ 164 h 184"/>
                <a:gd name="T46" fmla="*/ 100 w 191"/>
                <a:gd name="T47" fmla="*/ 183 h 184"/>
                <a:gd name="T48" fmla="*/ 109 w 191"/>
                <a:gd name="T49" fmla="*/ 184 h 184"/>
                <a:gd name="T50" fmla="*/ 136 w 191"/>
                <a:gd name="T51" fmla="*/ 161 h 184"/>
                <a:gd name="T52" fmla="*/ 130 w 191"/>
                <a:gd name="T53" fmla="*/ 154 h 184"/>
                <a:gd name="T54" fmla="*/ 121 w 191"/>
                <a:gd name="T55" fmla="*/ 128 h 184"/>
                <a:gd name="T56" fmla="*/ 148 w 191"/>
                <a:gd name="T57" fmla="*/ 137 h 184"/>
                <a:gd name="T58" fmla="*/ 162 w 191"/>
                <a:gd name="T59" fmla="*/ 126 h 184"/>
                <a:gd name="T60" fmla="*/ 178 w 191"/>
                <a:gd name="T61" fmla="*/ 113 h 184"/>
                <a:gd name="T62" fmla="*/ 168 w 191"/>
                <a:gd name="T63" fmla="*/ 100 h 184"/>
                <a:gd name="T64" fmla="*/ 184 w 191"/>
                <a:gd name="T65" fmla="*/ 82 h 184"/>
                <a:gd name="T66" fmla="*/ 191 w 191"/>
                <a:gd name="T67" fmla="*/ 63 h 184"/>
                <a:gd name="T68" fmla="*/ 175 w 191"/>
                <a:gd name="T69" fmla="*/ 58 h 184"/>
                <a:gd name="T70" fmla="*/ 169 w 191"/>
                <a:gd name="T71" fmla="*/ 57 h 184"/>
                <a:gd name="T72" fmla="*/ 178 w 191"/>
                <a:gd name="T73" fmla="*/ 47 h 184"/>
                <a:gd name="T74" fmla="*/ 163 w 191"/>
                <a:gd name="T75" fmla="*/ 40 h 184"/>
                <a:gd name="T76" fmla="*/ 158 w 191"/>
                <a:gd name="T77" fmla="*/ 4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1" h="184">
                  <a:moveTo>
                    <a:pt x="158" y="40"/>
                  </a:moveTo>
                  <a:lnTo>
                    <a:pt x="158" y="38"/>
                  </a:lnTo>
                  <a:lnTo>
                    <a:pt x="155" y="34"/>
                  </a:lnTo>
                  <a:lnTo>
                    <a:pt x="149" y="34"/>
                  </a:lnTo>
                  <a:lnTo>
                    <a:pt x="152" y="34"/>
                  </a:lnTo>
                  <a:lnTo>
                    <a:pt x="148" y="29"/>
                  </a:lnTo>
                  <a:lnTo>
                    <a:pt x="162" y="24"/>
                  </a:lnTo>
                  <a:lnTo>
                    <a:pt x="148" y="24"/>
                  </a:lnTo>
                  <a:lnTo>
                    <a:pt x="132" y="26"/>
                  </a:lnTo>
                  <a:lnTo>
                    <a:pt x="137" y="27"/>
                  </a:lnTo>
                  <a:lnTo>
                    <a:pt x="122" y="34"/>
                  </a:lnTo>
                  <a:lnTo>
                    <a:pt x="103" y="27"/>
                  </a:lnTo>
                  <a:lnTo>
                    <a:pt x="90" y="27"/>
                  </a:lnTo>
                  <a:lnTo>
                    <a:pt x="77" y="27"/>
                  </a:lnTo>
                  <a:lnTo>
                    <a:pt x="72" y="17"/>
                  </a:lnTo>
                  <a:lnTo>
                    <a:pt x="56" y="11"/>
                  </a:lnTo>
                  <a:lnTo>
                    <a:pt x="50" y="0"/>
                  </a:lnTo>
                  <a:lnTo>
                    <a:pt x="47" y="6"/>
                  </a:lnTo>
                  <a:lnTo>
                    <a:pt x="54" y="11"/>
                  </a:lnTo>
                  <a:lnTo>
                    <a:pt x="50" y="11"/>
                  </a:lnTo>
                  <a:lnTo>
                    <a:pt x="31" y="20"/>
                  </a:lnTo>
                  <a:lnTo>
                    <a:pt x="29" y="22"/>
                  </a:lnTo>
                  <a:lnTo>
                    <a:pt x="32" y="42"/>
                  </a:lnTo>
                  <a:lnTo>
                    <a:pt x="26" y="51"/>
                  </a:lnTo>
                  <a:lnTo>
                    <a:pt x="18" y="40"/>
                  </a:lnTo>
                  <a:lnTo>
                    <a:pt x="26" y="26"/>
                  </a:lnTo>
                  <a:lnTo>
                    <a:pt x="22" y="12"/>
                  </a:lnTo>
                  <a:lnTo>
                    <a:pt x="31" y="5"/>
                  </a:lnTo>
                  <a:lnTo>
                    <a:pt x="22" y="9"/>
                  </a:lnTo>
                  <a:lnTo>
                    <a:pt x="14" y="22"/>
                  </a:lnTo>
                  <a:lnTo>
                    <a:pt x="6" y="35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3" y="66"/>
                  </a:lnTo>
                  <a:lnTo>
                    <a:pt x="12" y="77"/>
                  </a:lnTo>
                  <a:lnTo>
                    <a:pt x="23" y="83"/>
                  </a:lnTo>
                  <a:lnTo>
                    <a:pt x="34" y="83"/>
                  </a:lnTo>
                  <a:lnTo>
                    <a:pt x="44" y="83"/>
                  </a:lnTo>
                  <a:lnTo>
                    <a:pt x="58" y="98"/>
                  </a:lnTo>
                  <a:lnTo>
                    <a:pt x="70" y="98"/>
                  </a:lnTo>
                  <a:lnTo>
                    <a:pt x="82" y="96"/>
                  </a:lnTo>
                  <a:lnTo>
                    <a:pt x="78" y="110"/>
                  </a:lnTo>
                  <a:lnTo>
                    <a:pt x="76" y="123"/>
                  </a:lnTo>
                  <a:lnTo>
                    <a:pt x="82" y="143"/>
                  </a:lnTo>
                  <a:lnTo>
                    <a:pt x="77" y="150"/>
                  </a:lnTo>
                  <a:lnTo>
                    <a:pt x="85" y="164"/>
                  </a:lnTo>
                  <a:lnTo>
                    <a:pt x="89" y="177"/>
                  </a:lnTo>
                  <a:lnTo>
                    <a:pt x="100" y="183"/>
                  </a:lnTo>
                  <a:lnTo>
                    <a:pt x="108" y="183"/>
                  </a:lnTo>
                  <a:lnTo>
                    <a:pt x="109" y="184"/>
                  </a:lnTo>
                  <a:lnTo>
                    <a:pt x="124" y="173"/>
                  </a:lnTo>
                  <a:lnTo>
                    <a:pt x="136" y="161"/>
                  </a:lnTo>
                  <a:lnTo>
                    <a:pt x="138" y="158"/>
                  </a:lnTo>
                  <a:lnTo>
                    <a:pt x="130" y="154"/>
                  </a:lnTo>
                  <a:lnTo>
                    <a:pt x="125" y="136"/>
                  </a:lnTo>
                  <a:lnTo>
                    <a:pt x="121" y="128"/>
                  </a:lnTo>
                  <a:lnTo>
                    <a:pt x="134" y="132"/>
                  </a:lnTo>
                  <a:lnTo>
                    <a:pt x="148" y="137"/>
                  </a:lnTo>
                  <a:lnTo>
                    <a:pt x="150" y="131"/>
                  </a:lnTo>
                  <a:lnTo>
                    <a:pt x="162" y="126"/>
                  </a:lnTo>
                  <a:lnTo>
                    <a:pt x="174" y="122"/>
                  </a:lnTo>
                  <a:lnTo>
                    <a:pt x="178" y="113"/>
                  </a:lnTo>
                  <a:lnTo>
                    <a:pt x="176" y="112"/>
                  </a:lnTo>
                  <a:lnTo>
                    <a:pt x="168" y="100"/>
                  </a:lnTo>
                  <a:lnTo>
                    <a:pt x="174" y="88"/>
                  </a:lnTo>
                  <a:lnTo>
                    <a:pt x="184" y="82"/>
                  </a:lnTo>
                  <a:lnTo>
                    <a:pt x="178" y="75"/>
                  </a:lnTo>
                  <a:lnTo>
                    <a:pt x="191" y="63"/>
                  </a:lnTo>
                  <a:lnTo>
                    <a:pt x="188" y="59"/>
                  </a:lnTo>
                  <a:lnTo>
                    <a:pt x="175" y="58"/>
                  </a:lnTo>
                  <a:lnTo>
                    <a:pt x="166" y="58"/>
                  </a:lnTo>
                  <a:lnTo>
                    <a:pt x="169" y="57"/>
                  </a:lnTo>
                  <a:lnTo>
                    <a:pt x="174" y="50"/>
                  </a:lnTo>
                  <a:lnTo>
                    <a:pt x="178" y="47"/>
                  </a:lnTo>
                  <a:lnTo>
                    <a:pt x="169" y="39"/>
                  </a:lnTo>
                  <a:lnTo>
                    <a:pt x="163" y="40"/>
                  </a:lnTo>
                  <a:lnTo>
                    <a:pt x="158" y="36"/>
                  </a:lnTo>
                  <a:lnTo>
                    <a:pt x="158" y="4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7" name="Freeform 166">
              <a:extLst>
                <a:ext uri="{FF2B5EF4-FFF2-40B4-BE49-F238E27FC236}">
                  <a16:creationId xmlns:a16="http://schemas.microsoft.com/office/drawing/2014/main" id="{E9103360-025B-48F2-AF13-789E3D7FA7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0995" y="4040471"/>
              <a:ext cx="13319" cy="5952"/>
            </a:xfrm>
            <a:custGeom>
              <a:avLst/>
              <a:gdLst>
                <a:gd name="T0" fmla="*/ 7 w 7"/>
                <a:gd name="T1" fmla="*/ 2 h 2"/>
                <a:gd name="T2" fmla="*/ 0 w 7"/>
                <a:gd name="T3" fmla="*/ 0 h 2"/>
                <a:gd name="T4" fmla="*/ 7 w 7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">
                  <a:moveTo>
                    <a:pt x="7" y="2"/>
                  </a:moveTo>
                  <a:lnTo>
                    <a:pt x="0" y="0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8" name="Freeform 167">
              <a:extLst>
                <a:ext uri="{FF2B5EF4-FFF2-40B4-BE49-F238E27FC236}">
                  <a16:creationId xmlns:a16="http://schemas.microsoft.com/office/drawing/2014/main" id="{F03FC200-749F-45E2-A513-BDE8354FC16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4468" y="3613900"/>
              <a:ext cx="310144" cy="113091"/>
            </a:xfrm>
            <a:custGeom>
              <a:avLst/>
              <a:gdLst>
                <a:gd name="T0" fmla="*/ 102 w 146"/>
                <a:gd name="T1" fmla="*/ 20 h 52"/>
                <a:gd name="T2" fmla="*/ 104 w 146"/>
                <a:gd name="T3" fmla="*/ 22 h 52"/>
                <a:gd name="T4" fmla="*/ 89 w 146"/>
                <a:gd name="T5" fmla="*/ 14 h 52"/>
                <a:gd name="T6" fmla="*/ 75 w 146"/>
                <a:gd name="T7" fmla="*/ 7 h 52"/>
                <a:gd name="T8" fmla="*/ 64 w 146"/>
                <a:gd name="T9" fmla="*/ 2 h 52"/>
                <a:gd name="T10" fmla="*/ 53 w 146"/>
                <a:gd name="T11" fmla="*/ 0 h 52"/>
                <a:gd name="T12" fmla="*/ 48 w 146"/>
                <a:gd name="T13" fmla="*/ 0 h 52"/>
                <a:gd name="T14" fmla="*/ 32 w 146"/>
                <a:gd name="T15" fmla="*/ 2 h 52"/>
                <a:gd name="T16" fmla="*/ 15 w 146"/>
                <a:gd name="T17" fmla="*/ 6 h 52"/>
                <a:gd name="T18" fmla="*/ 8 w 146"/>
                <a:gd name="T19" fmla="*/ 17 h 52"/>
                <a:gd name="T20" fmla="*/ 0 w 146"/>
                <a:gd name="T21" fmla="*/ 22 h 52"/>
                <a:gd name="T22" fmla="*/ 5 w 146"/>
                <a:gd name="T23" fmla="*/ 19 h 52"/>
                <a:gd name="T24" fmla="*/ 17 w 146"/>
                <a:gd name="T25" fmla="*/ 14 h 52"/>
                <a:gd name="T26" fmla="*/ 28 w 146"/>
                <a:gd name="T27" fmla="*/ 10 h 52"/>
                <a:gd name="T28" fmla="*/ 46 w 146"/>
                <a:gd name="T29" fmla="*/ 8 h 52"/>
                <a:gd name="T30" fmla="*/ 39 w 146"/>
                <a:gd name="T31" fmla="*/ 11 h 52"/>
                <a:gd name="T32" fmla="*/ 52 w 146"/>
                <a:gd name="T33" fmla="*/ 14 h 52"/>
                <a:gd name="T34" fmla="*/ 59 w 146"/>
                <a:gd name="T35" fmla="*/ 17 h 52"/>
                <a:gd name="T36" fmla="*/ 64 w 146"/>
                <a:gd name="T37" fmla="*/ 19 h 52"/>
                <a:gd name="T38" fmla="*/ 83 w 146"/>
                <a:gd name="T39" fmla="*/ 24 h 52"/>
                <a:gd name="T40" fmla="*/ 87 w 146"/>
                <a:gd name="T41" fmla="*/ 34 h 52"/>
                <a:gd name="T42" fmla="*/ 104 w 146"/>
                <a:gd name="T43" fmla="*/ 42 h 52"/>
                <a:gd name="T44" fmla="*/ 96 w 146"/>
                <a:gd name="T45" fmla="*/ 52 h 52"/>
                <a:gd name="T46" fmla="*/ 110 w 146"/>
                <a:gd name="T47" fmla="*/ 52 h 52"/>
                <a:gd name="T48" fmla="*/ 123 w 146"/>
                <a:gd name="T49" fmla="*/ 52 h 52"/>
                <a:gd name="T50" fmla="*/ 135 w 146"/>
                <a:gd name="T51" fmla="*/ 49 h 52"/>
                <a:gd name="T52" fmla="*/ 146 w 146"/>
                <a:gd name="T53" fmla="*/ 47 h 52"/>
                <a:gd name="T54" fmla="*/ 136 w 146"/>
                <a:gd name="T55" fmla="*/ 42 h 52"/>
                <a:gd name="T56" fmla="*/ 125 w 146"/>
                <a:gd name="T57" fmla="*/ 37 h 52"/>
                <a:gd name="T58" fmla="*/ 125 w 146"/>
                <a:gd name="T59" fmla="*/ 32 h 52"/>
                <a:gd name="T60" fmla="*/ 114 w 146"/>
                <a:gd name="T61" fmla="*/ 29 h 52"/>
                <a:gd name="T62" fmla="*/ 105 w 146"/>
                <a:gd name="T63" fmla="*/ 24 h 52"/>
                <a:gd name="T64" fmla="*/ 102 w 146"/>
                <a:gd name="T65" fmla="*/ 2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52">
                  <a:moveTo>
                    <a:pt x="102" y="20"/>
                  </a:moveTo>
                  <a:lnTo>
                    <a:pt x="104" y="22"/>
                  </a:lnTo>
                  <a:lnTo>
                    <a:pt x="89" y="14"/>
                  </a:lnTo>
                  <a:lnTo>
                    <a:pt x="75" y="7"/>
                  </a:lnTo>
                  <a:lnTo>
                    <a:pt x="64" y="2"/>
                  </a:lnTo>
                  <a:lnTo>
                    <a:pt x="53" y="0"/>
                  </a:lnTo>
                  <a:lnTo>
                    <a:pt x="48" y="0"/>
                  </a:lnTo>
                  <a:lnTo>
                    <a:pt x="32" y="2"/>
                  </a:lnTo>
                  <a:lnTo>
                    <a:pt x="15" y="6"/>
                  </a:lnTo>
                  <a:lnTo>
                    <a:pt x="8" y="17"/>
                  </a:lnTo>
                  <a:lnTo>
                    <a:pt x="0" y="22"/>
                  </a:lnTo>
                  <a:lnTo>
                    <a:pt x="5" y="19"/>
                  </a:lnTo>
                  <a:lnTo>
                    <a:pt x="17" y="14"/>
                  </a:lnTo>
                  <a:lnTo>
                    <a:pt x="28" y="10"/>
                  </a:lnTo>
                  <a:lnTo>
                    <a:pt x="46" y="8"/>
                  </a:lnTo>
                  <a:lnTo>
                    <a:pt x="39" y="11"/>
                  </a:lnTo>
                  <a:lnTo>
                    <a:pt x="52" y="14"/>
                  </a:lnTo>
                  <a:lnTo>
                    <a:pt x="59" y="17"/>
                  </a:lnTo>
                  <a:lnTo>
                    <a:pt x="64" y="19"/>
                  </a:lnTo>
                  <a:lnTo>
                    <a:pt x="83" y="24"/>
                  </a:lnTo>
                  <a:lnTo>
                    <a:pt x="87" y="34"/>
                  </a:lnTo>
                  <a:lnTo>
                    <a:pt x="104" y="42"/>
                  </a:lnTo>
                  <a:lnTo>
                    <a:pt x="96" y="52"/>
                  </a:lnTo>
                  <a:lnTo>
                    <a:pt x="110" y="52"/>
                  </a:lnTo>
                  <a:lnTo>
                    <a:pt x="123" y="52"/>
                  </a:lnTo>
                  <a:lnTo>
                    <a:pt x="135" y="49"/>
                  </a:lnTo>
                  <a:lnTo>
                    <a:pt x="146" y="47"/>
                  </a:lnTo>
                  <a:lnTo>
                    <a:pt x="136" y="42"/>
                  </a:lnTo>
                  <a:lnTo>
                    <a:pt x="125" y="37"/>
                  </a:lnTo>
                  <a:lnTo>
                    <a:pt x="125" y="32"/>
                  </a:lnTo>
                  <a:lnTo>
                    <a:pt x="114" y="29"/>
                  </a:lnTo>
                  <a:lnTo>
                    <a:pt x="105" y="24"/>
                  </a:lnTo>
                  <a:lnTo>
                    <a:pt x="102" y="2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59" name="Freeform 168">
              <a:extLst>
                <a:ext uri="{FF2B5EF4-FFF2-40B4-BE49-F238E27FC236}">
                  <a16:creationId xmlns:a16="http://schemas.microsoft.com/office/drawing/2014/main" id="{A819F5CB-D2A3-40A5-ACD6-D4A5C7909B15}"/>
                </a:ext>
              </a:extLst>
            </p:cNvPr>
            <p:cNvSpPr>
              <a:spLocks/>
            </p:cNvSpPr>
            <p:nvPr/>
          </p:nvSpPr>
          <p:spPr bwMode="gray">
            <a:xfrm>
              <a:off x="2315841" y="3657548"/>
              <a:ext cx="17125" cy="11904"/>
            </a:xfrm>
            <a:custGeom>
              <a:avLst/>
              <a:gdLst>
                <a:gd name="T0" fmla="*/ 0 w 8"/>
                <a:gd name="T1" fmla="*/ 6 h 6"/>
                <a:gd name="T2" fmla="*/ 8 w 8"/>
                <a:gd name="T3" fmla="*/ 6 h 6"/>
                <a:gd name="T4" fmla="*/ 3 w 8"/>
                <a:gd name="T5" fmla="*/ 0 h 6"/>
                <a:gd name="T6" fmla="*/ 0 w 8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6"/>
                  </a:moveTo>
                  <a:lnTo>
                    <a:pt x="8" y="6"/>
                  </a:lnTo>
                  <a:lnTo>
                    <a:pt x="3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60" name="Freeform 169">
              <a:extLst>
                <a:ext uri="{FF2B5EF4-FFF2-40B4-BE49-F238E27FC236}">
                  <a16:creationId xmlns:a16="http://schemas.microsoft.com/office/drawing/2014/main" id="{F678227C-F6EB-4EC7-9236-29035BBE14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353896" y="3744845"/>
              <a:ext cx="13319" cy="5952"/>
            </a:xfrm>
            <a:custGeom>
              <a:avLst/>
              <a:gdLst>
                <a:gd name="T0" fmla="*/ 5 w 5"/>
                <a:gd name="T1" fmla="*/ 1 h 2"/>
                <a:gd name="T2" fmla="*/ 4 w 5"/>
                <a:gd name="T3" fmla="*/ 1 h 2"/>
                <a:gd name="T4" fmla="*/ 3 w 5"/>
                <a:gd name="T5" fmla="*/ 1 h 2"/>
                <a:gd name="T6" fmla="*/ 3 w 5"/>
                <a:gd name="T7" fmla="*/ 0 h 2"/>
                <a:gd name="T8" fmla="*/ 3 w 5"/>
                <a:gd name="T9" fmla="*/ 1 h 2"/>
                <a:gd name="T10" fmla="*/ 2 w 5"/>
                <a:gd name="T11" fmla="*/ 1 h 2"/>
                <a:gd name="T12" fmla="*/ 2 w 5"/>
                <a:gd name="T13" fmla="*/ 0 h 2"/>
                <a:gd name="T14" fmla="*/ 0 w 5"/>
                <a:gd name="T15" fmla="*/ 0 h 2"/>
                <a:gd name="T16" fmla="*/ 2 w 5"/>
                <a:gd name="T17" fmla="*/ 0 h 2"/>
                <a:gd name="T18" fmla="*/ 2 w 5"/>
                <a:gd name="T19" fmla="*/ 1 h 2"/>
                <a:gd name="T20" fmla="*/ 0 w 5"/>
                <a:gd name="T21" fmla="*/ 1 h 2"/>
                <a:gd name="T22" fmla="*/ 0 w 5"/>
                <a:gd name="T23" fmla="*/ 2 h 2"/>
                <a:gd name="T24" fmla="*/ 2 w 5"/>
                <a:gd name="T25" fmla="*/ 2 h 2"/>
                <a:gd name="T26" fmla="*/ 3 w 5"/>
                <a:gd name="T27" fmla="*/ 2 h 2"/>
                <a:gd name="T28" fmla="*/ 3 w 5"/>
                <a:gd name="T29" fmla="*/ 1 h 2"/>
                <a:gd name="T30" fmla="*/ 4 w 5"/>
                <a:gd name="T31" fmla="*/ 1 h 2"/>
                <a:gd name="T32" fmla="*/ 5 w 5"/>
                <a:gd name="T3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lnTo>
                    <a:pt x="4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61" name="Freeform 170">
              <a:extLst>
                <a:ext uri="{FF2B5EF4-FFF2-40B4-BE49-F238E27FC236}">
                  <a16:creationId xmlns:a16="http://schemas.microsoft.com/office/drawing/2014/main" id="{9F06C978-5887-4ADB-8225-11E6799B26A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05270" y="3732943"/>
              <a:ext cx="3805" cy="3967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62" name="Freeform 171">
              <a:extLst>
                <a:ext uri="{FF2B5EF4-FFF2-40B4-BE49-F238E27FC236}">
                  <a16:creationId xmlns:a16="http://schemas.microsoft.com/office/drawing/2014/main" id="{4DA875B7-7A64-47D0-B053-C0B3A24B097E}"/>
                </a:ext>
              </a:extLst>
            </p:cNvPr>
            <p:cNvSpPr>
              <a:spLocks/>
            </p:cNvSpPr>
            <p:nvPr/>
          </p:nvSpPr>
          <p:spPr bwMode="gray">
            <a:xfrm>
              <a:off x="2395756" y="3736911"/>
              <a:ext cx="5707" cy="396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0 h 1"/>
                <a:gd name="T6" fmla="*/ 0 w 2"/>
                <a:gd name="T7" fmla="*/ 1 h 1"/>
                <a:gd name="T8" fmla="*/ 0 w 2"/>
                <a:gd name="T9" fmla="*/ 0 h 1"/>
                <a:gd name="T10" fmla="*/ 1 w 2"/>
                <a:gd name="T11" fmla="*/ 0 h 1"/>
                <a:gd name="T12" fmla="*/ 2 w 2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63" name="Freeform 172">
              <a:extLst>
                <a:ext uri="{FF2B5EF4-FFF2-40B4-BE49-F238E27FC236}">
                  <a16:creationId xmlns:a16="http://schemas.microsoft.com/office/drawing/2014/main" id="{BDBD1C6F-8EB8-444D-92B7-EBF2707659D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507" y="3780559"/>
              <a:ext cx="3805" cy="3967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0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64" name="Freeform 173">
              <a:extLst>
                <a:ext uri="{FF2B5EF4-FFF2-40B4-BE49-F238E27FC236}">
                  <a16:creationId xmlns:a16="http://schemas.microsoft.com/office/drawing/2014/main" id="{87033DA9-32CC-4459-BF7B-E341460E3C5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8118" y="3766671"/>
              <a:ext cx="3805" cy="5952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65" name="Freeform 174">
              <a:extLst>
                <a:ext uri="{FF2B5EF4-FFF2-40B4-BE49-F238E27FC236}">
                  <a16:creationId xmlns:a16="http://schemas.microsoft.com/office/drawing/2014/main" id="{B2516859-90E4-4FE2-ABBA-731FBC6DDC3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4312" y="3776592"/>
              <a:ext cx="3805" cy="3967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0 h 2"/>
                <a:gd name="T4" fmla="*/ 0 w 1"/>
                <a:gd name="T5" fmla="*/ 2 h 2"/>
                <a:gd name="T6" fmla="*/ 0 w 1"/>
                <a:gd name="T7" fmla="*/ 0 h 2"/>
                <a:gd name="T8" fmla="*/ 1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66" name="Freeform 175">
              <a:extLst>
                <a:ext uri="{FF2B5EF4-FFF2-40B4-BE49-F238E27FC236}">
                  <a16:creationId xmlns:a16="http://schemas.microsoft.com/office/drawing/2014/main" id="{05952FDD-B24B-4E7D-AD73-99CF55891D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507" y="3780559"/>
              <a:ext cx="3805" cy="3967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67" name="Freeform 176">
              <a:extLst>
                <a:ext uri="{FF2B5EF4-FFF2-40B4-BE49-F238E27FC236}">
                  <a16:creationId xmlns:a16="http://schemas.microsoft.com/office/drawing/2014/main" id="{91036834-F847-48DA-81BB-8C98D4E4AD88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3596" y="3726991"/>
              <a:ext cx="106553" cy="79362"/>
            </a:xfrm>
            <a:custGeom>
              <a:avLst/>
              <a:gdLst>
                <a:gd name="T0" fmla="*/ 4 w 51"/>
                <a:gd name="T1" fmla="*/ 2 h 36"/>
                <a:gd name="T2" fmla="*/ 2 w 51"/>
                <a:gd name="T3" fmla="*/ 14 h 36"/>
                <a:gd name="T4" fmla="*/ 0 w 51"/>
                <a:gd name="T5" fmla="*/ 19 h 36"/>
                <a:gd name="T6" fmla="*/ 2 w 51"/>
                <a:gd name="T7" fmla="*/ 29 h 36"/>
                <a:gd name="T8" fmla="*/ 5 w 51"/>
                <a:gd name="T9" fmla="*/ 36 h 36"/>
                <a:gd name="T10" fmla="*/ 11 w 51"/>
                <a:gd name="T11" fmla="*/ 27 h 36"/>
                <a:gd name="T12" fmla="*/ 18 w 51"/>
                <a:gd name="T13" fmla="*/ 24 h 36"/>
                <a:gd name="T14" fmla="*/ 26 w 51"/>
                <a:gd name="T15" fmla="*/ 24 h 36"/>
                <a:gd name="T16" fmla="*/ 44 w 51"/>
                <a:gd name="T17" fmla="*/ 25 h 36"/>
                <a:gd name="T18" fmla="*/ 51 w 51"/>
                <a:gd name="T19" fmla="*/ 19 h 36"/>
                <a:gd name="T20" fmla="*/ 34 w 51"/>
                <a:gd name="T21" fmla="*/ 12 h 36"/>
                <a:gd name="T22" fmla="*/ 38 w 51"/>
                <a:gd name="T23" fmla="*/ 8 h 36"/>
                <a:gd name="T24" fmla="*/ 30 w 51"/>
                <a:gd name="T25" fmla="*/ 5 h 36"/>
                <a:gd name="T26" fmla="*/ 11 w 51"/>
                <a:gd name="T27" fmla="*/ 0 h 36"/>
                <a:gd name="T28" fmla="*/ 4 w 51"/>
                <a:gd name="T29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" h="36">
                  <a:moveTo>
                    <a:pt x="4" y="2"/>
                  </a:moveTo>
                  <a:lnTo>
                    <a:pt x="2" y="14"/>
                  </a:lnTo>
                  <a:lnTo>
                    <a:pt x="0" y="19"/>
                  </a:lnTo>
                  <a:lnTo>
                    <a:pt x="2" y="29"/>
                  </a:lnTo>
                  <a:lnTo>
                    <a:pt x="5" y="36"/>
                  </a:lnTo>
                  <a:lnTo>
                    <a:pt x="11" y="27"/>
                  </a:lnTo>
                  <a:lnTo>
                    <a:pt x="18" y="24"/>
                  </a:lnTo>
                  <a:lnTo>
                    <a:pt x="26" y="24"/>
                  </a:lnTo>
                  <a:lnTo>
                    <a:pt x="44" y="25"/>
                  </a:lnTo>
                  <a:lnTo>
                    <a:pt x="51" y="19"/>
                  </a:lnTo>
                  <a:lnTo>
                    <a:pt x="34" y="12"/>
                  </a:lnTo>
                  <a:lnTo>
                    <a:pt x="38" y="8"/>
                  </a:lnTo>
                  <a:lnTo>
                    <a:pt x="30" y="5"/>
                  </a:lnTo>
                  <a:lnTo>
                    <a:pt x="11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68" name="Freeform 177">
              <a:extLst>
                <a:ext uri="{FF2B5EF4-FFF2-40B4-BE49-F238E27FC236}">
                  <a16:creationId xmlns:a16="http://schemas.microsoft.com/office/drawing/2014/main" id="{84450DA9-3EDA-49DE-A831-D06F0C4BC9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557487" y="3726991"/>
              <a:ext cx="83719" cy="67458"/>
            </a:xfrm>
            <a:custGeom>
              <a:avLst/>
              <a:gdLst>
                <a:gd name="T0" fmla="*/ 40 w 40"/>
                <a:gd name="T1" fmla="*/ 2 h 29"/>
                <a:gd name="T2" fmla="*/ 38 w 40"/>
                <a:gd name="T3" fmla="*/ 14 h 29"/>
                <a:gd name="T4" fmla="*/ 36 w 40"/>
                <a:gd name="T5" fmla="*/ 19 h 29"/>
                <a:gd name="T6" fmla="*/ 38 w 40"/>
                <a:gd name="T7" fmla="*/ 29 h 29"/>
                <a:gd name="T8" fmla="*/ 23 w 40"/>
                <a:gd name="T9" fmla="*/ 27 h 29"/>
                <a:gd name="T10" fmla="*/ 9 w 40"/>
                <a:gd name="T11" fmla="*/ 27 h 29"/>
                <a:gd name="T12" fmla="*/ 0 w 40"/>
                <a:gd name="T13" fmla="*/ 23 h 29"/>
                <a:gd name="T14" fmla="*/ 8 w 40"/>
                <a:gd name="T15" fmla="*/ 20 h 29"/>
                <a:gd name="T16" fmla="*/ 18 w 40"/>
                <a:gd name="T17" fmla="*/ 20 h 29"/>
                <a:gd name="T18" fmla="*/ 30 w 40"/>
                <a:gd name="T19" fmla="*/ 21 h 29"/>
                <a:gd name="T20" fmla="*/ 26 w 40"/>
                <a:gd name="T21" fmla="*/ 9 h 29"/>
                <a:gd name="T22" fmla="*/ 20 w 40"/>
                <a:gd name="T23" fmla="*/ 3 h 29"/>
                <a:gd name="T24" fmla="*/ 18 w 40"/>
                <a:gd name="T25" fmla="*/ 0 h 29"/>
                <a:gd name="T26" fmla="*/ 32 w 40"/>
                <a:gd name="T27" fmla="*/ 1 h 29"/>
                <a:gd name="T28" fmla="*/ 40 w 40"/>
                <a:gd name="T2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29">
                  <a:moveTo>
                    <a:pt x="40" y="2"/>
                  </a:moveTo>
                  <a:lnTo>
                    <a:pt x="38" y="14"/>
                  </a:lnTo>
                  <a:lnTo>
                    <a:pt x="36" y="19"/>
                  </a:lnTo>
                  <a:lnTo>
                    <a:pt x="38" y="29"/>
                  </a:lnTo>
                  <a:lnTo>
                    <a:pt x="23" y="27"/>
                  </a:lnTo>
                  <a:lnTo>
                    <a:pt x="9" y="27"/>
                  </a:lnTo>
                  <a:lnTo>
                    <a:pt x="0" y="23"/>
                  </a:lnTo>
                  <a:lnTo>
                    <a:pt x="8" y="20"/>
                  </a:lnTo>
                  <a:lnTo>
                    <a:pt x="18" y="20"/>
                  </a:lnTo>
                  <a:lnTo>
                    <a:pt x="30" y="21"/>
                  </a:lnTo>
                  <a:lnTo>
                    <a:pt x="26" y="9"/>
                  </a:lnTo>
                  <a:lnTo>
                    <a:pt x="20" y="3"/>
                  </a:lnTo>
                  <a:lnTo>
                    <a:pt x="18" y="0"/>
                  </a:lnTo>
                  <a:lnTo>
                    <a:pt x="32" y="1"/>
                  </a:lnTo>
                  <a:lnTo>
                    <a:pt x="4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69" name="Freeform 178">
              <a:extLst>
                <a:ext uri="{FF2B5EF4-FFF2-40B4-BE49-F238E27FC236}">
                  <a16:creationId xmlns:a16="http://schemas.microsoft.com/office/drawing/2014/main" id="{2984AE01-75DB-4D0D-9A6D-82A1A65AFC5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3596" y="3657548"/>
              <a:ext cx="3805" cy="3967"/>
            </a:xfrm>
            <a:custGeom>
              <a:avLst/>
              <a:gdLst>
                <a:gd name="T0" fmla="*/ 2 w 3"/>
                <a:gd name="T1" fmla="*/ 2 h 2"/>
                <a:gd name="T2" fmla="*/ 0 w 3"/>
                <a:gd name="T3" fmla="*/ 2 h 2"/>
                <a:gd name="T4" fmla="*/ 0 w 3"/>
                <a:gd name="T5" fmla="*/ 0 h 2"/>
                <a:gd name="T6" fmla="*/ 3 w 3"/>
                <a:gd name="T7" fmla="*/ 2 h 2"/>
                <a:gd name="T8" fmla="*/ 2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3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70" name="Freeform 179">
              <a:extLst>
                <a:ext uri="{FF2B5EF4-FFF2-40B4-BE49-F238E27FC236}">
                  <a16:creationId xmlns:a16="http://schemas.microsoft.com/office/drawing/2014/main" id="{28D7FEB9-C277-4F80-8AB2-34C3D50B1A4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6916" y="3661516"/>
              <a:ext cx="7611" cy="3967"/>
            </a:xfrm>
            <a:custGeom>
              <a:avLst/>
              <a:gdLst>
                <a:gd name="T0" fmla="*/ 4 w 4"/>
                <a:gd name="T1" fmla="*/ 0 w 4"/>
                <a:gd name="T2" fmla="*/ 3 w 4"/>
                <a:gd name="T3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71" name="Freeform 180">
              <a:extLst>
                <a:ext uri="{FF2B5EF4-FFF2-40B4-BE49-F238E27FC236}">
                  <a16:creationId xmlns:a16="http://schemas.microsoft.com/office/drawing/2014/main" id="{F99A47F3-69D9-45E0-889A-EB7356F6F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741" y="3935316"/>
              <a:ext cx="7611" cy="13889"/>
            </a:xfrm>
            <a:custGeom>
              <a:avLst/>
              <a:gdLst>
                <a:gd name="T0" fmla="*/ 2 w 3"/>
                <a:gd name="T1" fmla="*/ 5 h 5"/>
                <a:gd name="T2" fmla="*/ 0 w 3"/>
                <a:gd name="T3" fmla="*/ 3 h 5"/>
                <a:gd name="T4" fmla="*/ 3 w 3"/>
                <a:gd name="T5" fmla="*/ 0 h 5"/>
                <a:gd name="T6" fmla="*/ 2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2" y="5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72" name="Freeform 181">
              <a:extLst>
                <a:ext uri="{FF2B5EF4-FFF2-40B4-BE49-F238E27FC236}">
                  <a16:creationId xmlns:a16="http://schemas.microsoft.com/office/drawing/2014/main" id="{3A6CC903-A35A-4308-8C08-9B0AB88758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4066" y="4040471"/>
              <a:ext cx="97039" cy="107139"/>
            </a:xfrm>
            <a:custGeom>
              <a:avLst/>
              <a:gdLst>
                <a:gd name="T0" fmla="*/ 10 w 46"/>
                <a:gd name="T1" fmla="*/ 24 h 48"/>
                <a:gd name="T2" fmla="*/ 0 w 46"/>
                <a:gd name="T3" fmla="*/ 11 h 48"/>
                <a:gd name="T4" fmla="*/ 2 w 46"/>
                <a:gd name="T5" fmla="*/ 4 h 48"/>
                <a:gd name="T6" fmla="*/ 2 w 46"/>
                <a:gd name="T7" fmla="*/ 2 h 48"/>
                <a:gd name="T8" fmla="*/ 3 w 46"/>
                <a:gd name="T9" fmla="*/ 0 h 48"/>
                <a:gd name="T10" fmla="*/ 24 w 46"/>
                <a:gd name="T11" fmla="*/ 4 h 48"/>
                <a:gd name="T12" fmla="*/ 32 w 46"/>
                <a:gd name="T13" fmla="*/ 3 h 48"/>
                <a:gd name="T14" fmla="*/ 39 w 46"/>
                <a:gd name="T15" fmla="*/ 14 h 48"/>
                <a:gd name="T16" fmla="*/ 46 w 46"/>
                <a:gd name="T17" fmla="*/ 24 h 48"/>
                <a:gd name="T18" fmla="*/ 40 w 46"/>
                <a:gd name="T19" fmla="*/ 26 h 48"/>
                <a:gd name="T20" fmla="*/ 42 w 46"/>
                <a:gd name="T21" fmla="*/ 36 h 48"/>
                <a:gd name="T22" fmla="*/ 40 w 46"/>
                <a:gd name="T23" fmla="*/ 48 h 48"/>
                <a:gd name="T24" fmla="*/ 33 w 46"/>
                <a:gd name="T25" fmla="*/ 38 h 48"/>
                <a:gd name="T26" fmla="*/ 33 w 46"/>
                <a:gd name="T27" fmla="*/ 42 h 48"/>
                <a:gd name="T28" fmla="*/ 31 w 46"/>
                <a:gd name="T29" fmla="*/ 38 h 48"/>
                <a:gd name="T30" fmla="*/ 26 w 46"/>
                <a:gd name="T31" fmla="*/ 28 h 48"/>
                <a:gd name="T32" fmla="*/ 16 w 46"/>
                <a:gd name="T33" fmla="*/ 21 h 48"/>
                <a:gd name="T34" fmla="*/ 9 w 46"/>
                <a:gd name="T35" fmla="*/ 14 h 48"/>
                <a:gd name="T36" fmla="*/ 12 w 46"/>
                <a:gd name="T37" fmla="*/ 22 h 48"/>
                <a:gd name="T38" fmla="*/ 10 w 46"/>
                <a:gd name="T3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48">
                  <a:moveTo>
                    <a:pt x="10" y="24"/>
                  </a:moveTo>
                  <a:lnTo>
                    <a:pt x="0" y="11"/>
                  </a:lnTo>
                  <a:lnTo>
                    <a:pt x="2" y="4"/>
                  </a:lnTo>
                  <a:lnTo>
                    <a:pt x="2" y="2"/>
                  </a:lnTo>
                  <a:lnTo>
                    <a:pt x="3" y="0"/>
                  </a:lnTo>
                  <a:lnTo>
                    <a:pt x="24" y="4"/>
                  </a:lnTo>
                  <a:lnTo>
                    <a:pt x="32" y="3"/>
                  </a:lnTo>
                  <a:lnTo>
                    <a:pt x="39" y="14"/>
                  </a:lnTo>
                  <a:lnTo>
                    <a:pt x="46" y="24"/>
                  </a:lnTo>
                  <a:lnTo>
                    <a:pt x="40" y="26"/>
                  </a:lnTo>
                  <a:lnTo>
                    <a:pt x="42" y="36"/>
                  </a:lnTo>
                  <a:lnTo>
                    <a:pt x="40" y="48"/>
                  </a:lnTo>
                  <a:lnTo>
                    <a:pt x="33" y="38"/>
                  </a:lnTo>
                  <a:lnTo>
                    <a:pt x="33" y="42"/>
                  </a:lnTo>
                  <a:lnTo>
                    <a:pt x="31" y="38"/>
                  </a:lnTo>
                  <a:lnTo>
                    <a:pt x="26" y="28"/>
                  </a:lnTo>
                  <a:lnTo>
                    <a:pt x="16" y="21"/>
                  </a:lnTo>
                  <a:lnTo>
                    <a:pt x="9" y="14"/>
                  </a:lnTo>
                  <a:lnTo>
                    <a:pt x="12" y="22"/>
                  </a:lnTo>
                  <a:lnTo>
                    <a:pt x="10" y="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73" name="Freeform 182">
              <a:extLst>
                <a:ext uri="{FF2B5EF4-FFF2-40B4-BE49-F238E27FC236}">
                  <a16:creationId xmlns:a16="http://schemas.microsoft.com/office/drawing/2014/main" id="{19F91A76-06F8-4840-A61F-A7A473DA0C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1651" y="3988886"/>
              <a:ext cx="3805" cy="3967"/>
            </a:xfrm>
            <a:custGeom>
              <a:avLst/>
              <a:gdLst>
                <a:gd name="T0" fmla="*/ 0 w 3"/>
                <a:gd name="T1" fmla="*/ 0 h 4"/>
                <a:gd name="T2" fmla="*/ 3 w 3"/>
                <a:gd name="T3" fmla="*/ 4 h 4"/>
                <a:gd name="T4" fmla="*/ 0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3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74" name="Freeform 183">
              <a:extLst>
                <a:ext uri="{FF2B5EF4-FFF2-40B4-BE49-F238E27FC236}">
                  <a16:creationId xmlns:a16="http://schemas.microsoft.com/office/drawing/2014/main" id="{D5823FDD-6003-49DE-8446-775A79997A4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602" y="3961109"/>
              <a:ext cx="3805" cy="9919"/>
            </a:xfrm>
            <a:custGeom>
              <a:avLst/>
              <a:gdLst>
                <a:gd name="T0" fmla="*/ 2 w 2"/>
                <a:gd name="T1" fmla="*/ 4 h 5"/>
                <a:gd name="T2" fmla="*/ 0 w 2"/>
                <a:gd name="T3" fmla="*/ 5 h 5"/>
                <a:gd name="T4" fmla="*/ 0 w 2"/>
                <a:gd name="T5" fmla="*/ 0 h 5"/>
                <a:gd name="T6" fmla="*/ 2 w 2"/>
                <a:gd name="T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2" y="4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75" name="Freeform 184">
              <a:extLst>
                <a:ext uri="{FF2B5EF4-FFF2-40B4-BE49-F238E27FC236}">
                  <a16:creationId xmlns:a16="http://schemas.microsoft.com/office/drawing/2014/main" id="{DE8A9B15-12D7-45BF-B6AA-0B516C27445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4226" y="3881747"/>
              <a:ext cx="3805" cy="13889"/>
            </a:xfrm>
            <a:custGeom>
              <a:avLst/>
              <a:gdLst>
                <a:gd name="T0" fmla="*/ 2 w 2"/>
                <a:gd name="T1" fmla="*/ 5 h 6"/>
                <a:gd name="T2" fmla="*/ 1 w 2"/>
                <a:gd name="T3" fmla="*/ 6 h 6"/>
                <a:gd name="T4" fmla="*/ 0 w 2"/>
                <a:gd name="T5" fmla="*/ 0 h 6"/>
                <a:gd name="T6" fmla="*/ 2 w 2"/>
                <a:gd name="T7" fmla="*/ 0 h 6"/>
                <a:gd name="T8" fmla="*/ 2 w 2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5"/>
                  </a:moveTo>
                  <a:lnTo>
                    <a:pt x="1" y="6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76" name="Freeform 185">
              <a:extLst>
                <a:ext uri="{FF2B5EF4-FFF2-40B4-BE49-F238E27FC236}">
                  <a16:creationId xmlns:a16="http://schemas.microsoft.com/office/drawing/2014/main" id="{C6862530-F832-43F1-8985-289D9B61E79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8001" y="3921428"/>
              <a:ext cx="64693" cy="45633"/>
            </a:xfrm>
            <a:custGeom>
              <a:avLst/>
              <a:gdLst>
                <a:gd name="T0" fmla="*/ 31 w 31"/>
                <a:gd name="T1" fmla="*/ 16 h 21"/>
                <a:gd name="T2" fmla="*/ 27 w 31"/>
                <a:gd name="T3" fmla="*/ 21 h 21"/>
                <a:gd name="T4" fmla="*/ 20 w 31"/>
                <a:gd name="T5" fmla="*/ 18 h 21"/>
                <a:gd name="T6" fmla="*/ 9 w 31"/>
                <a:gd name="T7" fmla="*/ 15 h 21"/>
                <a:gd name="T8" fmla="*/ 0 w 31"/>
                <a:gd name="T9" fmla="*/ 11 h 21"/>
                <a:gd name="T10" fmla="*/ 10 w 31"/>
                <a:gd name="T11" fmla="*/ 0 h 21"/>
                <a:gd name="T12" fmla="*/ 19 w 31"/>
                <a:gd name="T13" fmla="*/ 6 h 21"/>
                <a:gd name="T14" fmla="*/ 31 w 31"/>
                <a:gd name="T15" fmla="*/ 9 h 21"/>
                <a:gd name="T16" fmla="*/ 31 w 31"/>
                <a:gd name="T17" fmla="*/ 1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1">
                  <a:moveTo>
                    <a:pt x="31" y="16"/>
                  </a:moveTo>
                  <a:lnTo>
                    <a:pt x="27" y="21"/>
                  </a:lnTo>
                  <a:lnTo>
                    <a:pt x="20" y="18"/>
                  </a:lnTo>
                  <a:lnTo>
                    <a:pt x="9" y="15"/>
                  </a:lnTo>
                  <a:lnTo>
                    <a:pt x="0" y="11"/>
                  </a:lnTo>
                  <a:lnTo>
                    <a:pt x="10" y="0"/>
                  </a:lnTo>
                  <a:lnTo>
                    <a:pt x="19" y="6"/>
                  </a:lnTo>
                  <a:lnTo>
                    <a:pt x="31" y="9"/>
                  </a:lnTo>
                  <a:lnTo>
                    <a:pt x="31" y="1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77" name="Freeform 186">
              <a:extLst>
                <a:ext uri="{FF2B5EF4-FFF2-40B4-BE49-F238E27FC236}">
                  <a16:creationId xmlns:a16="http://schemas.microsoft.com/office/drawing/2014/main" id="{09D3615D-FD57-495F-843E-BBACA89EC13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7104" y="4000790"/>
              <a:ext cx="9514" cy="5952"/>
            </a:xfrm>
            <a:custGeom>
              <a:avLst/>
              <a:gdLst>
                <a:gd name="T0" fmla="*/ 3 w 3"/>
                <a:gd name="T1" fmla="*/ 1 h 4"/>
                <a:gd name="T2" fmla="*/ 3 w 3"/>
                <a:gd name="T3" fmla="*/ 0 h 4"/>
                <a:gd name="T4" fmla="*/ 2 w 3"/>
                <a:gd name="T5" fmla="*/ 0 h 4"/>
                <a:gd name="T6" fmla="*/ 2 w 3"/>
                <a:gd name="T7" fmla="*/ 1 h 4"/>
                <a:gd name="T8" fmla="*/ 1 w 3"/>
                <a:gd name="T9" fmla="*/ 1 h 4"/>
                <a:gd name="T10" fmla="*/ 1 w 3"/>
                <a:gd name="T11" fmla="*/ 3 h 4"/>
                <a:gd name="T12" fmla="*/ 1 w 3"/>
                <a:gd name="T13" fmla="*/ 4 h 4"/>
                <a:gd name="T14" fmla="*/ 0 w 3"/>
                <a:gd name="T15" fmla="*/ 4 h 4"/>
                <a:gd name="T16" fmla="*/ 1 w 3"/>
                <a:gd name="T17" fmla="*/ 4 h 4"/>
                <a:gd name="T18" fmla="*/ 2 w 3"/>
                <a:gd name="T19" fmla="*/ 4 h 4"/>
                <a:gd name="T20" fmla="*/ 2 w 3"/>
                <a:gd name="T21" fmla="*/ 3 h 4"/>
                <a:gd name="T22" fmla="*/ 3 w 3"/>
                <a:gd name="T23" fmla="*/ 3 h 4"/>
                <a:gd name="T24" fmla="*/ 2 w 3"/>
                <a:gd name="T25" fmla="*/ 3 h 4"/>
                <a:gd name="T26" fmla="*/ 3 w 3"/>
                <a:gd name="T27" fmla="*/ 3 h 4"/>
                <a:gd name="T28" fmla="*/ 3 w 3"/>
                <a:gd name="T2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" h="4">
                  <a:moveTo>
                    <a:pt x="3" y="1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78" name="Freeform 187">
              <a:extLst>
                <a:ext uri="{FF2B5EF4-FFF2-40B4-BE49-F238E27FC236}">
                  <a16:creationId xmlns:a16="http://schemas.microsoft.com/office/drawing/2014/main" id="{1D333184-E084-4837-8310-5CBAD0746FD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834" y="3869843"/>
              <a:ext cx="190272" cy="105155"/>
            </a:xfrm>
            <a:custGeom>
              <a:avLst/>
              <a:gdLst>
                <a:gd name="T0" fmla="*/ 48 w 89"/>
                <a:gd name="T1" fmla="*/ 32 h 47"/>
                <a:gd name="T2" fmla="*/ 42 w 89"/>
                <a:gd name="T3" fmla="*/ 34 h 47"/>
                <a:gd name="T4" fmla="*/ 36 w 89"/>
                <a:gd name="T5" fmla="*/ 38 h 47"/>
                <a:gd name="T6" fmla="*/ 30 w 89"/>
                <a:gd name="T7" fmla="*/ 47 h 47"/>
                <a:gd name="T8" fmla="*/ 28 w 89"/>
                <a:gd name="T9" fmla="*/ 47 h 47"/>
                <a:gd name="T10" fmla="*/ 26 w 89"/>
                <a:gd name="T11" fmla="*/ 41 h 47"/>
                <a:gd name="T12" fmla="*/ 21 w 89"/>
                <a:gd name="T13" fmla="*/ 40 h 47"/>
                <a:gd name="T14" fmla="*/ 21 w 89"/>
                <a:gd name="T15" fmla="*/ 33 h 47"/>
                <a:gd name="T16" fmla="*/ 9 w 89"/>
                <a:gd name="T17" fmla="*/ 30 h 47"/>
                <a:gd name="T18" fmla="*/ 0 w 89"/>
                <a:gd name="T19" fmla="*/ 24 h 47"/>
                <a:gd name="T20" fmla="*/ 9 w 89"/>
                <a:gd name="T21" fmla="*/ 11 h 47"/>
                <a:gd name="T22" fmla="*/ 18 w 89"/>
                <a:gd name="T23" fmla="*/ 3 h 47"/>
                <a:gd name="T24" fmla="*/ 21 w 89"/>
                <a:gd name="T25" fmla="*/ 3 h 47"/>
                <a:gd name="T26" fmla="*/ 34 w 89"/>
                <a:gd name="T27" fmla="*/ 2 h 47"/>
                <a:gd name="T28" fmla="*/ 47 w 89"/>
                <a:gd name="T29" fmla="*/ 0 h 47"/>
                <a:gd name="T30" fmla="*/ 59 w 89"/>
                <a:gd name="T31" fmla="*/ 0 h 47"/>
                <a:gd name="T32" fmla="*/ 70 w 89"/>
                <a:gd name="T33" fmla="*/ 2 h 47"/>
                <a:gd name="T34" fmla="*/ 80 w 89"/>
                <a:gd name="T35" fmla="*/ 8 h 47"/>
                <a:gd name="T36" fmla="*/ 77 w 89"/>
                <a:gd name="T37" fmla="*/ 6 h 47"/>
                <a:gd name="T38" fmla="*/ 78 w 89"/>
                <a:gd name="T39" fmla="*/ 10 h 47"/>
                <a:gd name="T40" fmla="*/ 83 w 89"/>
                <a:gd name="T41" fmla="*/ 10 h 47"/>
                <a:gd name="T42" fmla="*/ 89 w 89"/>
                <a:gd name="T43" fmla="*/ 15 h 47"/>
                <a:gd name="T44" fmla="*/ 77 w 89"/>
                <a:gd name="T45" fmla="*/ 17 h 47"/>
                <a:gd name="T46" fmla="*/ 65 w 89"/>
                <a:gd name="T47" fmla="*/ 18 h 47"/>
                <a:gd name="T48" fmla="*/ 48 w 89"/>
                <a:gd name="T49" fmla="*/ 3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9" h="47">
                  <a:moveTo>
                    <a:pt x="48" y="32"/>
                  </a:moveTo>
                  <a:lnTo>
                    <a:pt x="42" y="34"/>
                  </a:lnTo>
                  <a:lnTo>
                    <a:pt x="36" y="38"/>
                  </a:lnTo>
                  <a:lnTo>
                    <a:pt x="30" y="47"/>
                  </a:lnTo>
                  <a:lnTo>
                    <a:pt x="28" y="47"/>
                  </a:lnTo>
                  <a:lnTo>
                    <a:pt x="26" y="41"/>
                  </a:lnTo>
                  <a:lnTo>
                    <a:pt x="21" y="40"/>
                  </a:lnTo>
                  <a:lnTo>
                    <a:pt x="21" y="33"/>
                  </a:lnTo>
                  <a:lnTo>
                    <a:pt x="9" y="30"/>
                  </a:lnTo>
                  <a:lnTo>
                    <a:pt x="0" y="24"/>
                  </a:lnTo>
                  <a:lnTo>
                    <a:pt x="9" y="11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34" y="2"/>
                  </a:lnTo>
                  <a:lnTo>
                    <a:pt x="47" y="0"/>
                  </a:lnTo>
                  <a:lnTo>
                    <a:pt x="59" y="0"/>
                  </a:lnTo>
                  <a:lnTo>
                    <a:pt x="70" y="2"/>
                  </a:lnTo>
                  <a:lnTo>
                    <a:pt x="80" y="8"/>
                  </a:lnTo>
                  <a:lnTo>
                    <a:pt x="77" y="6"/>
                  </a:lnTo>
                  <a:lnTo>
                    <a:pt x="78" y="10"/>
                  </a:lnTo>
                  <a:lnTo>
                    <a:pt x="83" y="10"/>
                  </a:lnTo>
                  <a:lnTo>
                    <a:pt x="89" y="15"/>
                  </a:lnTo>
                  <a:lnTo>
                    <a:pt x="77" y="17"/>
                  </a:lnTo>
                  <a:lnTo>
                    <a:pt x="65" y="18"/>
                  </a:lnTo>
                  <a:lnTo>
                    <a:pt x="48" y="3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79" name="Freeform 188">
              <a:extLst>
                <a:ext uri="{FF2B5EF4-FFF2-40B4-BE49-F238E27FC236}">
                  <a16:creationId xmlns:a16="http://schemas.microsoft.com/office/drawing/2014/main" id="{AF366A62-1842-461E-AAEC-C6FD583A74F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8034" y="3909524"/>
              <a:ext cx="13319" cy="11904"/>
            </a:xfrm>
            <a:custGeom>
              <a:avLst/>
              <a:gdLst>
                <a:gd name="T0" fmla="*/ 6 w 6"/>
                <a:gd name="T1" fmla="*/ 5 h 6"/>
                <a:gd name="T2" fmla="*/ 0 w 6"/>
                <a:gd name="T3" fmla="*/ 0 h 6"/>
                <a:gd name="T4" fmla="*/ 6 w 6"/>
                <a:gd name="T5" fmla="*/ 6 h 6"/>
                <a:gd name="T6" fmla="*/ 6 w 6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5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6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80" name="Freeform 189">
              <a:extLst>
                <a:ext uri="{FF2B5EF4-FFF2-40B4-BE49-F238E27FC236}">
                  <a16:creationId xmlns:a16="http://schemas.microsoft.com/office/drawing/2014/main" id="{7FC198FF-6BA4-4514-AC40-FC96BC200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499" y="3899603"/>
              <a:ext cx="144607" cy="150788"/>
            </a:xfrm>
            <a:custGeom>
              <a:avLst/>
              <a:gdLst>
                <a:gd name="T0" fmla="*/ 26 w 67"/>
                <a:gd name="T1" fmla="*/ 17 h 67"/>
                <a:gd name="T2" fmla="*/ 20 w 67"/>
                <a:gd name="T3" fmla="*/ 19 h 67"/>
                <a:gd name="T4" fmla="*/ 14 w 67"/>
                <a:gd name="T5" fmla="*/ 23 h 67"/>
                <a:gd name="T6" fmla="*/ 8 w 67"/>
                <a:gd name="T7" fmla="*/ 32 h 67"/>
                <a:gd name="T8" fmla="*/ 6 w 67"/>
                <a:gd name="T9" fmla="*/ 32 h 67"/>
                <a:gd name="T10" fmla="*/ 0 w 67"/>
                <a:gd name="T11" fmla="*/ 33 h 67"/>
                <a:gd name="T12" fmla="*/ 13 w 67"/>
                <a:gd name="T13" fmla="*/ 48 h 67"/>
                <a:gd name="T14" fmla="*/ 25 w 67"/>
                <a:gd name="T15" fmla="*/ 63 h 67"/>
                <a:gd name="T16" fmla="*/ 46 w 67"/>
                <a:gd name="T17" fmla="*/ 67 h 67"/>
                <a:gd name="T18" fmla="*/ 54 w 67"/>
                <a:gd name="T19" fmla="*/ 66 h 67"/>
                <a:gd name="T20" fmla="*/ 54 w 67"/>
                <a:gd name="T21" fmla="*/ 55 h 67"/>
                <a:gd name="T22" fmla="*/ 55 w 67"/>
                <a:gd name="T23" fmla="*/ 47 h 67"/>
                <a:gd name="T24" fmla="*/ 58 w 67"/>
                <a:gd name="T25" fmla="*/ 37 h 67"/>
                <a:gd name="T26" fmla="*/ 59 w 67"/>
                <a:gd name="T27" fmla="*/ 41 h 67"/>
                <a:gd name="T28" fmla="*/ 61 w 67"/>
                <a:gd name="T29" fmla="*/ 27 h 67"/>
                <a:gd name="T30" fmla="*/ 62 w 67"/>
                <a:gd name="T31" fmla="*/ 15 h 67"/>
                <a:gd name="T32" fmla="*/ 62 w 67"/>
                <a:gd name="T33" fmla="*/ 3 h 67"/>
                <a:gd name="T34" fmla="*/ 67 w 67"/>
                <a:gd name="T35" fmla="*/ 0 h 67"/>
                <a:gd name="T36" fmla="*/ 55 w 67"/>
                <a:gd name="T37" fmla="*/ 2 h 67"/>
                <a:gd name="T38" fmla="*/ 43 w 67"/>
                <a:gd name="T39" fmla="*/ 3 h 67"/>
                <a:gd name="T40" fmla="*/ 26 w 67"/>
                <a:gd name="T41" fmla="*/ 1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7" h="67">
                  <a:moveTo>
                    <a:pt x="26" y="17"/>
                  </a:moveTo>
                  <a:lnTo>
                    <a:pt x="20" y="19"/>
                  </a:lnTo>
                  <a:lnTo>
                    <a:pt x="14" y="23"/>
                  </a:lnTo>
                  <a:lnTo>
                    <a:pt x="8" y="32"/>
                  </a:lnTo>
                  <a:lnTo>
                    <a:pt x="6" y="32"/>
                  </a:lnTo>
                  <a:lnTo>
                    <a:pt x="0" y="33"/>
                  </a:lnTo>
                  <a:lnTo>
                    <a:pt x="13" y="48"/>
                  </a:lnTo>
                  <a:lnTo>
                    <a:pt x="25" y="63"/>
                  </a:lnTo>
                  <a:lnTo>
                    <a:pt x="46" y="67"/>
                  </a:lnTo>
                  <a:lnTo>
                    <a:pt x="54" y="66"/>
                  </a:lnTo>
                  <a:lnTo>
                    <a:pt x="54" y="55"/>
                  </a:lnTo>
                  <a:lnTo>
                    <a:pt x="55" y="47"/>
                  </a:lnTo>
                  <a:lnTo>
                    <a:pt x="58" y="37"/>
                  </a:lnTo>
                  <a:lnTo>
                    <a:pt x="59" y="41"/>
                  </a:lnTo>
                  <a:lnTo>
                    <a:pt x="61" y="27"/>
                  </a:lnTo>
                  <a:lnTo>
                    <a:pt x="62" y="15"/>
                  </a:lnTo>
                  <a:lnTo>
                    <a:pt x="62" y="3"/>
                  </a:lnTo>
                  <a:lnTo>
                    <a:pt x="67" y="0"/>
                  </a:lnTo>
                  <a:lnTo>
                    <a:pt x="55" y="2"/>
                  </a:lnTo>
                  <a:lnTo>
                    <a:pt x="43" y="3"/>
                  </a:lnTo>
                  <a:lnTo>
                    <a:pt x="26" y="1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81" name="Freeform 190">
              <a:extLst>
                <a:ext uri="{FF2B5EF4-FFF2-40B4-BE49-F238E27FC236}">
                  <a16:creationId xmlns:a16="http://schemas.microsoft.com/office/drawing/2014/main" id="{0F22D44E-79BB-4625-93C2-0A9C64B26E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8034" y="3961109"/>
              <a:ext cx="5707" cy="5952"/>
            </a:xfrm>
            <a:custGeom>
              <a:avLst/>
              <a:gdLst>
                <a:gd name="T0" fmla="*/ 1 w 1"/>
                <a:gd name="T1" fmla="*/ 4 h 4"/>
                <a:gd name="T2" fmla="*/ 1 w 1"/>
                <a:gd name="T3" fmla="*/ 0 h 4"/>
                <a:gd name="T4" fmla="*/ 0 w 1"/>
                <a:gd name="T5" fmla="*/ 1 h 4"/>
                <a:gd name="T6" fmla="*/ 1 w 1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82" name="Freeform 191">
              <a:extLst>
                <a:ext uri="{FF2B5EF4-FFF2-40B4-BE49-F238E27FC236}">
                  <a16:creationId xmlns:a16="http://schemas.microsoft.com/office/drawing/2014/main" id="{B3C6504B-A4F3-420D-8495-815C6EC0374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3784" y="3824210"/>
              <a:ext cx="5707" cy="5952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0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83" name="Freeform 192">
              <a:extLst>
                <a:ext uri="{FF2B5EF4-FFF2-40B4-BE49-F238E27FC236}">
                  <a16:creationId xmlns:a16="http://schemas.microsoft.com/office/drawing/2014/main" id="{231329FB-5638-4CE3-B417-67E3D23790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9979" y="3816273"/>
              <a:ext cx="3805" cy="3967"/>
            </a:xfrm>
            <a:custGeom>
              <a:avLst/>
              <a:gdLst>
                <a:gd name="T0" fmla="*/ 4 w 4"/>
                <a:gd name="T1" fmla="*/ 3 h 3"/>
                <a:gd name="T2" fmla="*/ 0 w 4"/>
                <a:gd name="T3" fmla="*/ 0 h 3"/>
                <a:gd name="T4" fmla="*/ 3 w 4"/>
                <a:gd name="T5" fmla="*/ 3 h 3"/>
                <a:gd name="T6" fmla="*/ 4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84" name="Freeform 193">
              <a:extLst>
                <a:ext uri="{FF2B5EF4-FFF2-40B4-BE49-F238E27FC236}">
                  <a16:creationId xmlns:a16="http://schemas.microsoft.com/office/drawing/2014/main" id="{498156D2-0913-4E84-B822-F0606E97FA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6616" y="3855954"/>
              <a:ext cx="7611" cy="7937"/>
            </a:xfrm>
            <a:custGeom>
              <a:avLst/>
              <a:gdLst>
                <a:gd name="T0" fmla="*/ 3 w 4"/>
                <a:gd name="T1" fmla="*/ 0 h 4"/>
                <a:gd name="T2" fmla="*/ 4 w 4"/>
                <a:gd name="T3" fmla="*/ 0 h 4"/>
                <a:gd name="T4" fmla="*/ 0 w 4"/>
                <a:gd name="T5" fmla="*/ 4 h 4"/>
                <a:gd name="T6" fmla="*/ 3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85" name="Freeform 194">
              <a:extLst>
                <a:ext uri="{FF2B5EF4-FFF2-40B4-BE49-F238E27FC236}">
                  <a16:creationId xmlns:a16="http://schemas.microsoft.com/office/drawing/2014/main" id="{23A3379C-7312-42D0-B1A2-BCE11B3C3C75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2369" y="3784528"/>
              <a:ext cx="7611" cy="5952"/>
            </a:xfrm>
            <a:custGeom>
              <a:avLst/>
              <a:gdLst>
                <a:gd name="T0" fmla="*/ 3 w 3"/>
                <a:gd name="T1" fmla="*/ 0 h 2"/>
                <a:gd name="T2" fmla="*/ 2 w 3"/>
                <a:gd name="T3" fmla="*/ 0 h 2"/>
                <a:gd name="T4" fmla="*/ 2 w 3"/>
                <a:gd name="T5" fmla="*/ 1 h 2"/>
                <a:gd name="T6" fmla="*/ 1 w 3"/>
                <a:gd name="T7" fmla="*/ 1 h 2"/>
                <a:gd name="T8" fmla="*/ 0 w 3"/>
                <a:gd name="T9" fmla="*/ 1 h 2"/>
                <a:gd name="T10" fmla="*/ 0 w 3"/>
                <a:gd name="T11" fmla="*/ 2 h 2"/>
                <a:gd name="T12" fmla="*/ 0 w 3"/>
                <a:gd name="T13" fmla="*/ 1 h 2"/>
                <a:gd name="T14" fmla="*/ 0 w 3"/>
                <a:gd name="T15" fmla="*/ 2 h 2"/>
                <a:gd name="T16" fmla="*/ 1 w 3"/>
                <a:gd name="T17" fmla="*/ 2 h 2"/>
                <a:gd name="T18" fmla="*/ 1 w 3"/>
                <a:gd name="T19" fmla="*/ 1 h 2"/>
                <a:gd name="T20" fmla="*/ 2 w 3"/>
                <a:gd name="T21" fmla="*/ 1 h 2"/>
                <a:gd name="T22" fmla="*/ 3 w 3"/>
                <a:gd name="T23" fmla="*/ 1 h 2"/>
                <a:gd name="T24" fmla="*/ 3 w 3"/>
                <a:gd name="T2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86" name="Freeform 195">
              <a:extLst>
                <a:ext uri="{FF2B5EF4-FFF2-40B4-BE49-F238E27FC236}">
                  <a16:creationId xmlns:a16="http://schemas.microsoft.com/office/drawing/2014/main" id="{8199458A-1C3E-4F32-9AAA-C684094006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6616" y="3824210"/>
              <a:ext cx="7611" cy="5952"/>
            </a:xfrm>
            <a:custGeom>
              <a:avLst/>
              <a:gdLst>
                <a:gd name="T0" fmla="*/ 2 w 4"/>
                <a:gd name="T1" fmla="*/ 0 h 2"/>
                <a:gd name="T2" fmla="*/ 2 w 4"/>
                <a:gd name="T3" fmla="*/ 1 h 2"/>
                <a:gd name="T4" fmla="*/ 0 w 4"/>
                <a:gd name="T5" fmla="*/ 2 h 2"/>
                <a:gd name="T6" fmla="*/ 4 w 4"/>
                <a:gd name="T7" fmla="*/ 2 h 2"/>
                <a:gd name="T8" fmla="*/ 2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2" y="1"/>
                  </a:lnTo>
                  <a:lnTo>
                    <a:pt x="0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87" name="Freeform 196">
              <a:extLst>
                <a:ext uri="{FF2B5EF4-FFF2-40B4-BE49-F238E27FC236}">
                  <a16:creationId xmlns:a16="http://schemas.microsoft.com/office/drawing/2014/main" id="{F832FF8B-B832-4E1F-B122-CE5EF70854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0423" y="3806352"/>
              <a:ext cx="3805" cy="5952"/>
            </a:xfrm>
            <a:custGeom>
              <a:avLst/>
              <a:gdLst>
                <a:gd name="T0" fmla="*/ 1 w 1"/>
                <a:gd name="T1" fmla="*/ 1 h 2"/>
                <a:gd name="T2" fmla="*/ 1 w 1"/>
                <a:gd name="T3" fmla="*/ 2 h 2"/>
                <a:gd name="T4" fmla="*/ 0 w 1"/>
                <a:gd name="T5" fmla="*/ 0 h 2"/>
                <a:gd name="T6" fmla="*/ 1 w 1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88" name="Freeform 197">
              <a:extLst>
                <a:ext uri="{FF2B5EF4-FFF2-40B4-BE49-F238E27FC236}">
                  <a16:creationId xmlns:a16="http://schemas.microsoft.com/office/drawing/2014/main" id="{629A1920-B859-44B1-9FEB-16EF170B2773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2250" y="3776592"/>
              <a:ext cx="38054" cy="93251"/>
            </a:xfrm>
            <a:custGeom>
              <a:avLst/>
              <a:gdLst>
                <a:gd name="T0" fmla="*/ 11 w 19"/>
                <a:gd name="T1" fmla="*/ 34 h 42"/>
                <a:gd name="T2" fmla="*/ 4 w 19"/>
                <a:gd name="T3" fmla="*/ 42 h 42"/>
                <a:gd name="T4" fmla="*/ 0 w 19"/>
                <a:gd name="T5" fmla="*/ 42 h 42"/>
                <a:gd name="T6" fmla="*/ 3 w 19"/>
                <a:gd name="T7" fmla="*/ 27 h 42"/>
                <a:gd name="T8" fmla="*/ 5 w 19"/>
                <a:gd name="T9" fmla="*/ 11 h 42"/>
                <a:gd name="T10" fmla="*/ 18 w 19"/>
                <a:gd name="T11" fmla="*/ 0 h 42"/>
                <a:gd name="T12" fmla="*/ 19 w 19"/>
                <a:gd name="T13" fmla="*/ 3 h 42"/>
                <a:gd name="T14" fmla="*/ 16 w 19"/>
                <a:gd name="T15" fmla="*/ 18 h 42"/>
                <a:gd name="T16" fmla="*/ 11 w 19"/>
                <a:gd name="T1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42">
                  <a:moveTo>
                    <a:pt x="11" y="34"/>
                  </a:moveTo>
                  <a:lnTo>
                    <a:pt x="4" y="42"/>
                  </a:lnTo>
                  <a:lnTo>
                    <a:pt x="0" y="42"/>
                  </a:lnTo>
                  <a:lnTo>
                    <a:pt x="3" y="27"/>
                  </a:lnTo>
                  <a:lnTo>
                    <a:pt x="5" y="11"/>
                  </a:lnTo>
                  <a:lnTo>
                    <a:pt x="18" y="0"/>
                  </a:lnTo>
                  <a:lnTo>
                    <a:pt x="19" y="3"/>
                  </a:lnTo>
                  <a:lnTo>
                    <a:pt x="16" y="18"/>
                  </a:lnTo>
                  <a:lnTo>
                    <a:pt x="11" y="3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89" name="Freeform 198">
              <a:extLst>
                <a:ext uri="{FF2B5EF4-FFF2-40B4-BE49-F238E27FC236}">
                  <a16:creationId xmlns:a16="http://schemas.microsoft.com/office/drawing/2014/main" id="{28B250DA-1AC6-4CC5-9855-55D62DB7BB6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15211" y="3802384"/>
              <a:ext cx="123677" cy="146821"/>
            </a:xfrm>
            <a:custGeom>
              <a:avLst/>
              <a:gdLst>
                <a:gd name="T0" fmla="*/ 6 w 58"/>
                <a:gd name="T1" fmla="*/ 58 h 66"/>
                <a:gd name="T2" fmla="*/ 0 w 58"/>
                <a:gd name="T3" fmla="*/ 53 h 66"/>
                <a:gd name="T4" fmla="*/ 2 w 58"/>
                <a:gd name="T5" fmla="*/ 41 h 66"/>
                <a:gd name="T6" fmla="*/ 10 w 58"/>
                <a:gd name="T7" fmla="*/ 29 h 66"/>
                <a:gd name="T8" fmla="*/ 28 w 58"/>
                <a:gd name="T9" fmla="*/ 25 h 66"/>
                <a:gd name="T10" fmla="*/ 19 w 58"/>
                <a:gd name="T11" fmla="*/ 11 h 66"/>
                <a:gd name="T12" fmla="*/ 22 w 58"/>
                <a:gd name="T13" fmla="*/ 10 h 66"/>
                <a:gd name="T14" fmla="*/ 24 w 58"/>
                <a:gd name="T15" fmla="*/ 0 h 66"/>
                <a:gd name="T16" fmla="*/ 37 w 58"/>
                <a:gd name="T17" fmla="*/ 0 h 66"/>
                <a:gd name="T18" fmla="*/ 50 w 58"/>
                <a:gd name="T19" fmla="*/ 0 h 66"/>
                <a:gd name="T20" fmla="*/ 48 w 58"/>
                <a:gd name="T21" fmla="*/ 16 h 66"/>
                <a:gd name="T22" fmla="*/ 45 w 58"/>
                <a:gd name="T23" fmla="*/ 31 h 66"/>
                <a:gd name="T24" fmla="*/ 49 w 58"/>
                <a:gd name="T25" fmla="*/ 31 h 66"/>
                <a:gd name="T26" fmla="*/ 55 w 58"/>
                <a:gd name="T27" fmla="*/ 33 h 66"/>
                <a:gd name="T28" fmla="*/ 58 w 58"/>
                <a:gd name="T29" fmla="*/ 34 h 66"/>
                <a:gd name="T30" fmla="*/ 49 w 58"/>
                <a:gd name="T31" fmla="*/ 42 h 66"/>
                <a:gd name="T32" fmla="*/ 40 w 58"/>
                <a:gd name="T33" fmla="*/ 55 h 66"/>
                <a:gd name="T34" fmla="*/ 30 w 58"/>
                <a:gd name="T35" fmla="*/ 66 h 66"/>
                <a:gd name="T36" fmla="*/ 18 w 58"/>
                <a:gd name="T37" fmla="*/ 63 h 66"/>
                <a:gd name="T38" fmla="*/ 6 w 58"/>
                <a:gd name="T39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" h="66">
                  <a:moveTo>
                    <a:pt x="6" y="58"/>
                  </a:moveTo>
                  <a:lnTo>
                    <a:pt x="0" y="53"/>
                  </a:lnTo>
                  <a:lnTo>
                    <a:pt x="2" y="41"/>
                  </a:lnTo>
                  <a:lnTo>
                    <a:pt x="10" y="29"/>
                  </a:lnTo>
                  <a:lnTo>
                    <a:pt x="28" y="25"/>
                  </a:lnTo>
                  <a:lnTo>
                    <a:pt x="19" y="11"/>
                  </a:lnTo>
                  <a:lnTo>
                    <a:pt x="22" y="10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0" y="0"/>
                  </a:lnTo>
                  <a:lnTo>
                    <a:pt x="48" y="16"/>
                  </a:lnTo>
                  <a:lnTo>
                    <a:pt x="45" y="31"/>
                  </a:lnTo>
                  <a:lnTo>
                    <a:pt x="49" y="31"/>
                  </a:lnTo>
                  <a:lnTo>
                    <a:pt x="55" y="33"/>
                  </a:lnTo>
                  <a:lnTo>
                    <a:pt x="58" y="34"/>
                  </a:lnTo>
                  <a:lnTo>
                    <a:pt x="49" y="42"/>
                  </a:lnTo>
                  <a:lnTo>
                    <a:pt x="40" y="55"/>
                  </a:lnTo>
                  <a:lnTo>
                    <a:pt x="30" y="66"/>
                  </a:lnTo>
                  <a:lnTo>
                    <a:pt x="18" y="63"/>
                  </a:lnTo>
                  <a:lnTo>
                    <a:pt x="6" y="5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90" name="Freeform 199">
              <a:extLst>
                <a:ext uri="{FF2B5EF4-FFF2-40B4-BE49-F238E27FC236}">
                  <a16:creationId xmlns:a16="http://schemas.microsoft.com/office/drawing/2014/main" id="{97544FA8-6075-4903-A610-4BCD1ED1D3B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3324" y="3776592"/>
              <a:ext cx="62790" cy="25793"/>
            </a:xfrm>
            <a:custGeom>
              <a:avLst/>
              <a:gdLst>
                <a:gd name="T0" fmla="*/ 12 w 30"/>
                <a:gd name="T1" fmla="*/ 0 h 11"/>
                <a:gd name="T2" fmla="*/ 0 w 30"/>
                <a:gd name="T3" fmla="*/ 5 h 11"/>
                <a:gd name="T4" fmla="*/ 17 w 30"/>
                <a:gd name="T5" fmla="*/ 11 h 11"/>
                <a:gd name="T6" fmla="*/ 30 w 30"/>
                <a:gd name="T7" fmla="*/ 10 h 11"/>
                <a:gd name="T8" fmla="*/ 12 w 30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1">
                  <a:moveTo>
                    <a:pt x="12" y="0"/>
                  </a:moveTo>
                  <a:lnTo>
                    <a:pt x="0" y="5"/>
                  </a:lnTo>
                  <a:lnTo>
                    <a:pt x="17" y="11"/>
                  </a:lnTo>
                  <a:lnTo>
                    <a:pt x="30" y="1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91" name="Freeform 200">
              <a:extLst>
                <a:ext uri="{FF2B5EF4-FFF2-40B4-BE49-F238E27FC236}">
                  <a16:creationId xmlns:a16="http://schemas.microsoft.com/office/drawing/2014/main" id="{77924B20-F3FD-45DF-8288-4172F47C67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2495" y="3776592"/>
              <a:ext cx="47569" cy="17858"/>
            </a:xfrm>
            <a:custGeom>
              <a:avLst/>
              <a:gdLst>
                <a:gd name="T0" fmla="*/ 22 w 22"/>
                <a:gd name="T1" fmla="*/ 5 h 9"/>
                <a:gd name="T2" fmla="*/ 21 w 22"/>
                <a:gd name="T3" fmla="*/ 5 h 9"/>
                <a:gd name="T4" fmla="*/ 5 w 22"/>
                <a:gd name="T5" fmla="*/ 9 h 9"/>
                <a:gd name="T6" fmla="*/ 0 w 22"/>
                <a:gd name="T7" fmla="*/ 6 h 9"/>
                <a:gd name="T8" fmla="*/ 2 w 22"/>
                <a:gd name="T9" fmla="*/ 0 h 9"/>
                <a:gd name="T10" fmla="*/ 22 w 22"/>
                <a:gd name="T11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9">
                  <a:moveTo>
                    <a:pt x="22" y="5"/>
                  </a:moveTo>
                  <a:lnTo>
                    <a:pt x="21" y="5"/>
                  </a:lnTo>
                  <a:lnTo>
                    <a:pt x="5" y="9"/>
                  </a:lnTo>
                  <a:lnTo>
                    <a:pt x="0" y="6"/>
                  </a:lnTo>
                  <a:lnTo>
                    <a:pt x="2" y="0"/>
                  </a:lnTo>
                  <a:lnTo>
                    <a:pt x="22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92" name="Freeform 201">
              <a:extLst>
                <a:ext uri="{FF2B5EF4-FFF2-40B4-BE49-F238E27FC236}">
                  <a16:creationId xmlns:a16="http://schemas.microsoft.com/office/drawing/2014/main" id="{6142F3AB-9280-4B33-959C-0FB19B3396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0995" y="3802384"/>
              <a:ext cx="9514" cy="3967"/>
            </a:xfrm>
            <a:custGeom>
              <a:avLst/>
              <a:gdLst>
                <a:gd name="T0" fmla="*/ 4 w 4"/>
                <a:gd name="T1" fmla="*/ 1 h 3"/>
                <a:gd name="T2" fmla="*/ 1 w 4"/>
                <a:gd name="T3" fmla="*/ 0 h 3"/>
                <a:gd name="T4" fmla="*/ 0 w 4"/>
                <a:gd name="T5" fmla="*/ 3 h 3"/>
                <a:gd name="T6" fmla="*/ 4 w 4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4" y="1"/>
                  </a:moveTo>
                  <a:lnTo>
                    <a:pt x="1" y="0"/>
                  </a:lnTo>
                  <a:lnTo>
                    <a:pt x="0" y="3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93" name="Freeform 202">
              <a:extLst>
                <a:ext uri="{FF2B5EF4-FFF2-40B4-BE49-F238E27FC236}">
                  <a16:creationId xmlns:a16="http://schemas.microsoft.com/office/drawing/2014/main" id="{5EA98D58-85FC-4A0A-8559-3B63274E64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3949" y="3272643"/>
              <a:ext cx="791534" cy="644818"/>
            </a:xfrm>
            <a:custGeom>
              <a:avLst/>
              <a:gdLst>
                <a:gd name="T0" fmla="*/ 48 w 376"/>
                <a:gd name="T1" fmla="*/ 141 h 292"/>
                <a:gd name="T2" fmla="*/ 31 w 376"/>
                <a:gd name="T3" fmla="*/ 102 h 292"/>
                <a:gd name="T4" fmla="*/ 12 w 376"/>
                <a:gd name="T5" fmla="*/ 86 h 292"/>
                <a:gd name="T6" fmla="*/ 19 w 376"/>
                <a:gd name="T7" fmla="*/ 64 h 292"/>
                <a:gd name="T8" fmla="*/ 3 w 376"/>
                <a:gd name="T9" fmla="*/ 23 h 292"/>
                <a:gd name="T10" fmla="*/ 33 w 376"/>
                <a:gd name="T11" fmla="*/ 0 h 292"/>
                <a:gd name="T12" fmla="*/ 65 w 376"/>
                <a:gd name="T13" fmla="*/ 17 h 292"/>
                <a:gd name="T14" fmla="*/ 114 w 376"/>
                <a:gd name="T15" fmla="*/ 22 h 292"/>
                <a:gd name="T16" fmla="*/ 151 w 376"/>
                <a:gd name="T17" fmla="*/ 30 h 292"/>
                <a:gd name="T18" fmla="*/ 172 w 376"/>
                <a:gd name="T19" fmla="*/ 59 h 292"/>
                <a:gd name="T20" fmla="*/ 207 w 376"/>
                <a:gd name="T21" fmla="*/ 64 h 292"/>
                <a:gd name="T22" fmla="*/ 227 w 376"/>
                <a:gd name="T23" fmla="*/ 105 h 292"/>
                <a:gd name="T24" fmla="*/ 227 w 376"/>
                <a:gd name="T25" fmla="*/ 152 h 292"/>
                <a:gd name="T26" fmla="*/ 234 w 376"/>
                <a:gd name="T27" fmla="*/ 203 h 292"/>
                <a:gd name="T28" fmla="*/ 245 w 376"/>
                <a:gd name="T29" fmla="*/ 225 h 292"/>
                <a:gd name="T30" fmla="*/ 287 w 376"/>
                <a:gd name="T31" fmla="*/ 227 h 292"/>
                <a:gd name="T32" fmla="*/ 307 w 376"/>
                <a:gd name="T33" fmla="*/ 225 h 292"/>
                <a:gd name="T34" fmla="*/ 324 w 376"/>
                <a:gd name="T35" fmla="*/ 191 h 292"/>
                <a:gd name="T36" fmla="*/ 365 w 376"/>
                <a:gd name="T37" fmla="*/ 180 h 292"/>
                <a:gd name="T38" fmla="*/ 376 w 376"/>
                <a:gd name="T39" fmla="*/ 186 h 292"/>
                <a:gd name="T40" fmla="*/ 360 w 376"/>
                <a:gd name="T41" fmla="*/ 214 h 292"/>
                <a:gd name="T42" fmla="*/ 351 w 376"/>
                <a:gd name="T43" fmla="*/ 225 h 292"/>
                <a:gd name="T44" fmla="*/ 322 w 376"/>
                <a:gd name="T45" fmla="*/ 239 h 292"/>
                <a:gd name="T46" fmla="*/ 304 w 376"/>
                <a:gd name="T47" fmla="*/ 250 h 292"/>
                <a:gd name="T48" fmla="*/ 287 w 376"/>
                <a:gd name="T49" fmla="*/ 280 h 292"/>
                <a:gd name="T50" fmla="*/ 258 w 376"/>
                <a:gd name="T51" fmla="*/ 264 h 292"/>
                <a:gd name="T52" fmla="*/ 249 w 376"/>
                <a:gd name="T53" fmla="*/ 264 h 292"/>
                <a:gd name="T54" fmla="*/ 225 w 376"/>
                <a:gd name="T55" fmla="*/ 273 h 292"/>
                <a:gd name="T56" fmla="*/ 178 w 376"/>
                <a:gd name="T57" fmla="*/ 251 h 292"/>
                <a:gd name="T58" fmla="*/ 143 w 376"/>
                <a:gd name="T59" fmla="*/ 232 h 292"/>
                <a:gd name="T60" fmla="*/ 113 w 376"/>
                <a:gd name="T61" fmla="*/ 208 h 292"/>
                <a:gd name="T62" fmla="*/ 114 w 376"/>
                <a:gd name="T63" fmla="*/ 190 h 292"/>
                <a:gd name="T64" fmla="*/ 108 w 376"/>
                <a:gd name="T65" fmla="*/ 155 h 292"/>
                <a:gd name="T66" fmla="*/ 95 w 376"/>
                <a:gd name="T67" fmla="*/ 134 h 292"/>
                <a:gd name="T68" fmla="*/ 89 w 376"/>
                <a:gd name="T69" fmla="*/ 123 h 292"/>
                <a:gd name="T70" fmla="*/ 75 w 376"/>
                <a:gd name="T71" fmla="*/ 112 h 292"/>
                <a:gd name="T72" fmla="*/ 65 w 376"/>
                <a:gd name="T73" fmla="*/ 81 h 292"/>
                <a:gd name="T74" fmla="*/ 51 w 376"/>
                <a:gd name="T75" fmla="*/ 57 h 292"/>
                <a:gd name="T76" fmla="*/ 36 w 376"/>
                <a:gd name="T77" fmla="*/ 20 h 292"/>
                <a:gd name="T78" fmla="*/ 22 w 376"/>
                <a:gd name="T79" fmla="*/ 47 h 292"/>
                <a:gd name="T80" fmla="*/ 41 w 376"/>
                <a:gd name="T81" fmla="*/ 84 h 292"/>
                <a:gd name="T82" fmla="*/ 48 w 376"/>
                <a:gd name="T83" fmla="*/ 113 h 292"/>
                <a:gd name="T84" fmla="*/ 63 w 376"/>
                <a:gd name="T85" fmla="*/ 144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76" h="292">
                  <a:moveTo>
                    <a:pt x="65" y="153"/>
                  </a:moveTo>
                  <a:lnTo>
                    <a:pt x="55" y="156"/>
                  </a:lnTo>
                  <a:lnTo>
                    <a:pt x="48" y="141"/>
                  </a:lnTo>
                  <a:lnTo>
                    <a:pt x="34" y="128"/>
                  </a:lnTo>
                  <a:lnTo>
                    <a:pt x="36" y="114"/>
                  </a:lnTo>
                  <a:lnTo>
                    <a:pt x="31" y="102"/>
                  </a:lnTo>
                  <a:lnTo>
                    <a:pt x="27" y="94"/>
                  </a:lnTo>
                  <a:lnTo>
                    <a:pt x="18" y="93"/>
                  </a:lnTo>
                  <a:lnTo>
                    <a:pt x="12" y="86"/>
                  </a:lnTo>
                  <a:lnTo>
                    <a:pt x="5" y="78"/>
                  </a:lnTo>
                  <a:lnTo>
                    <a:pt x="17" y="80"/>
                  </a:lnTo>
                  <a:lnTo>
                    <a:pt x="19" y="64"/>
                  </a:lnTo>
                  <a:lnTo>
                    <a:pt x="12" y="53"/>
                  </a:lnTo>
                  <a:lnTo>
                    <a:pt x="4" y="42"/>
                  </a:lnTo>
                  <a:lnTo>
                    <a:pt x="3" y="23"/>
                  </a:lnTo>
                  <a:lnTo>
                    <a:pt x="0" y="3"/>
                  </a:lnTo>
                  <a:lnTo>
                    <a:pt x="17" y="2"/>
                  </a:lnTo>
                  <a:lnTo>
                    <a:pt x="33" y="0"/>
                  </a:lnTo>
                  <a:lnTo>
                    <a:pt x="43" y="6"/>
                  </a:lnTo>
                  <a:lnTo>
                    <a:pt x="54" y="11"/>
                  </a:lnTo>
                  <a:lnTo>
                    <a:pt x="65" y="17"/>
                  </a:lnTo>
                  <a:lnTo>
                    <a:pt x="76" y="22"/>
                  </a:lnTo>
                  <a:lnTo>
                    <a:pt x="95" y="22"/>
                  </a:lnTo>
                  <a:lnTo>
                    <a:pt x="114" y="22"/>
                  </a:lnTo>
                  <a:lnTo>
                    <a:pt x="117" y="15"/>
                  </a:lnTo>
                  <a:lnTo>
                    <a:pt x="139" y="15"/>
                  </a:lnTo>
                  <a:lnTo>
                    <a:pt x="151" y="30"/>
                  </a:lnTo>
                  <a:lnTo>
                    <a:pt x="155" y="46"/>
                  </a:lnTo>
                  <a:lnTo>
                    <a:pt x="163" y="53"/>
                  </a:lnTo>
                  <a:lnTo>
                    <a:pt x="172" y="59"/>
                  </a:lnTo>
                  <a:lnTo>
                    <a:pt x="181" y="47"/>
                  </a:lnTo>
                  <a:lnTo>
                    <a:pt x="201" y="50"/>
                  </a:lnTo>
                  <a:lnTo>
                    <a:pt x="207" y="64"/>
                  </a:lnTo>
                  <a:lnTo>
                    <a:pt x="214" y="80"/>
                  </a:lnTo>
                  <a:lnTo>
                    <a:pt x="219" y="98"/>
                  </a:lnTo>
                  <a:lnTo>
                    <a:pt x="227" y="105"/>
                  </a:lnTo>
                  <a:lnTo>
                    <a:pt x="244" y="108"/>
                  </a:lnTo>
                  <a:lnTo>
                    <a:pt x="235" y="130"/>
                  </a:lnTo>
                  <a:lnTo>
                    <a:pt x="227" y="152"/>
                  </a:lnTo>
                  <a:lnTo>
                    <a:pt x="225" y="173"/>
                  </a:lnTo>
                  <a:lnTo>
                    <a:pt x="229" y="188"/>
                  </a:lnTo>
                  <a:lnTo>
                    <a:pt x="234" y="203"/>
                  </a:lnTo>
                  <a:lnTo>
                    <a:pt x="239" y="213"/>
                  </a:lnTo>
                  <a:lnTo>
                    <a:pt x="243" y="224"/>
                  </a:lnTo>
                  <a:lnTo>
                    <a:pt x="245" y="225"/>
                  </a:lnTo>
                  <a:lnTo>
                    <a:pt x="259" y="232"/>
                  </a:lnTo>
                  <a:lnTo>
                    <a:pt x="271" y="231"/>
                  </a:lnTo>
                  <a:lnTo>
                    <a:pt x="287" y="227"/>
                  </a:lnTo>
                  <a:lnTo>
                    <a:pt x="297" y="227"/>
                  </a:lnTo>
                  <a:lnTo>
                    <a:pt x="303" y="228"/>
                  </a:lnTo>
                  <a:lnTo>
                    <a:pt x="307" y="225"/>
                  </a:lnTo>
                  <a:lnTo>
                    <a:pt x="306" y="222"/>
                  </a:lnTo>
                  <a:lnTo>
                    <a:pt x="317" y="210"/>
                  </a:lnTo>
                  <a:lnTo>
                    <a:pt x="324" y="191"/>
                  </a:lnTo>
                  <a:lnTo>
                    <a:pt x="339" y="183"/>
                  </a:lnTo>
                  <a:lnTo>
                    <a:pt x="352" y="182"/>
                  </a:lnTo>
                  <a:lnTo>
                    <a:pt x="365" y="180"/>
                  </a:lnTo>
                  <a:lnTo>
                    <a:pt x="369" y="179"/>
                  </a:lnTo>
                  <a:lnTo>
                    <a:pt x="375" y="183"/>
                  </a:lnTo>
                  <a:lnTo>
                    <a:pt x="376" y="186"/>
                  </a:lnTo>
                  <a:lnTo>
                    <a:pt x="363" y="206"/>
                  </a:lnTo>
                  <a:lnTo>
                    <a:pt x="360" y="212"/>
                  </a:lnTo>
                  <a:lnTo>
                    <a:pt x="360" y="214"/>
                  </a:lnTo>
                  <a:lnTo>
                    <a:pt x="360" y="215"/>
                  </a:lnTo>
                  <a:lnTo>
                    <a:pt x="353" y="231"/>
                  </a:lnTo>
                  <a:lnTo>
                    <a:pt x="351" y="225"/>
                  </a:lnTo>
                  <a:lnTo>
                    <a:pt x="348" y="228"/>
                  </a:lnTo>
                  <a:lnTo>
                    <a:pt x="335" y="239"/>
                  </a:lnTo>
                  <a:lnTo>
                    <a:pt x="322" y="239"/>
                  </a:lnTo>
                  <a:lnTo>
                    <a:pt x="309" y="239"/>
                  </a:lnTo>
                  <a:lnTo>
                    <a:pt x="307" y="249"/>
                  </a:lnTo>
                  <a:lnTo>
                    <a:pt x="304" y="250"/>
                  </a:lnTo>
                  <a:lnTo>
                    <a:pt x="313" y="264"/>
                  </a:lnTo>
                  <a:lnTo>
                    <a:pt x="295" y="268"/>
                  </a:lnTo>
                  <a:lnTo>
                    <a:pt x="287" y="280"/>
                  </a:lnTo>
                  <a:lnTo>
                    <a:pt x="285" y="292"/>
                  </a:lnTo>
                  <a:lnTo>
                    <a:pt x="271" y="278"/>
                  </a:lnTo>
                  <a:lnTo>
                    <a:pt x="258" y="264"/>
                  </a:lnTo>
                  <a:lnTo>
                    <a:pt x="263" y="269"/>
                  </a:lnTo>
                  <a:lnTo>
                    <a:pt x="256" y="264"/>
                  </a:lnTo>
                  <a:lnTo>
                    <a:pt x="249" y="264"/>
                  </a:lnTo>
                  <a:lnTo>
                    <a:pt x="251" y="266"/>
                  </a:lnTo>
                  <a:lnTo>
                    <a:pt x="238" y="269"/>
                  </a:lnTo>
                  <a:lnTo>
                    <a:pt x="225" y="273"/>
                  </a:lnTo>
                  <a:lnTo>
                    <a:pt x="209" y="266"/>
                  </a:lnTo>
                  <a:lnTo>
                    <a:pt x="193" y="258"/>
                  </a:lnTo>
                  <a:lnTo>
                    <a:pt x="178" y="251"/>
                  </a:lnTo>
                  <a:lnTo>
                    <a:pt x="162" y="244"/>
                  </a:lnTo>
                  <a:lnTo>
                    <a:pt x="153" y="238"/>
                  </a:lnTo>
                  <a:lnTo>
                    <a:pt x="143" y="232"/>
                  </a:lnTo>
                  <a:lnTo>
                    <a:pt x="132" y="227"/>
                  </a:lnTo>
                  <a:lnTo>
                    <a:pt x="123" y="218"/>
                  </a:lnTo>
                  <a:lnTo>
                    <a:pt x="113" y="208"/>
                  </a:lnTo>
                  <a:lnTo>
                    <a:pt x="111" y="196"/>
                  </a:lnTo>
                  <a:lnTo>
                    <a:pt x="117" y="194"/>
                  </a:lnTo>
                  <a:lnTo>
                    <a:pt x="114" y="190"/>
                  </a:lnTo>
                  <a:lnTo>
                    <a:pt x="118" y="180"/>
                  </a:lnTo>
                  <a:lnTo>
                    <a:pt x="113" y="167"/>
                  </a:lnTo>
                  <a:lnTo>
                    <a:pt x="108" y="155"/>
                  </a:lnTo>
                  <a:lnTo>
                    <a:pt x="100" y="143"/>
                  </a:lnTo>
                  <a:lnTo>
                    <a:pt x="91" y="132"/>
                  </a:lnTo>
                  <a:lnTo>
                    <a:pt x="95" y="134"/>
                  </a:lnTo>
                  <a:lnTo>
                    <a:pt x="90" y="125"/>
                  </a:lnTo>
                  <a:lnTo>
                    <a:pt x="87" y="123"/>
                  </a:lnTo>
                  <a:lnTo>
                    <a:pt x="89" y="123"/>
                  </a:lnTo>
                  <a:lnTo>
                    <a:pt x="78" y="117"/>
                  </a:lnTo>
                  <a:lnTo>
                    <a:pt x="81" y="113"/>
                  </a:lnTo>
                  <a:lnTo>
                    <a:pt x="75" y="112"/>
                  </a:lnTo>
                  <a:lnTo>
                    <a:pt x="79" y="102"/>
                  </a:lnTo>
                  <a:lnTo>
                    <a:pt x="73" y="98"/>
                  </a:lnTo>
                  <a:lnTo>
                    <a:pt x="65" y="81"/>
                  </a:lnTo>
                  <a:lnTo>
                    <a:pt x="65" y="77"/>
                  </a:lnTo>
                  <a:lnTo>
                    <a:pt x="55" y="70"/>
                  </a:lnTo>
                  <a:lnTo>
                    <a:pt x="51" y="57"/>
                  </a:lnTo>
                  <a:lnTo>
                    <a:pt x="46" y="42"/>
                  </a:lnTo>
                  <a:lnTo>
                    <a:pt x="46" y="23"/>
                  </a:lnTo>
                  <a:lnTo>
                    <a:pt x="36" y="20"/>
                  </a:lnTo>
                  <a:lnTo>
                    <a:pt x="27" y="12"/>
                  </a:lnTo>
                  <a:lnTo>
                    <a:pt x="24" y="29"/>
                  </a:lnTo>
                  <a:lnTo>
                    <a:pt x="22" y="47"/>
                  </a:lnTo>
                  <a:lnTo>
                    <a:pt x="29" y="60"/>
                  </a:lnTo>
                  <a:lnTo>
                    <a:pt x="37" y="74"/>
                  </a:lnTo>
                  <a:lnTo>
                    <a:pt x="41" y="84"/>
                  </a:lnTo>
                  <a:lnTo>
                    <a:pt x="45" y="96"/>
                  </a:lnTo>
                  <a:lnTo>
                    <a:pt x="46" y="95"/>
                  </a:lnTo>
                  <a:lnTo>
                    <a:pt x="48" y="113"/>
                  </a:lnTo>
                  <a:lnTo>
                    <a:pt x="52" y="132"/>
                  </a:lnTo>
                  <a:lnTo>
                    <a:pt x="57" y="136"/>
                  </a:lnTo>
                  <a:lnTo>
                    <a:pt x="63" y="144"/>
                  </a:lnTo>
                  <a:lnTo>
                    <a:pt x="65" y="15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94" name="Freeform 203">
              <a:extLst>
                <a:ext uri="{FF2B5EF4-FFF2-40B4-BE49-F238E27FC236}">
                  <a16:creationId xmlns:a16="http://schemas.microsoft.com/office/drawing/2014/main" id="{5A2E0AD4-7F32-49B5-81DB-5982493A3A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1864" y="3538505"/>
              <a:ext cx="13319" cy="29760"/>
            </a:xfrm>
            <a:custGeom>
              <a:avLst/>
              <a:gdLst>
                <a:gd name="T0" fmla="*/ 7 w 7"/>
                <a:gd name="T1" fmla="*/ 12 h 14"/>
                <a:gd name="T2" fmla="*/ 3 w 7"/>
                <a:gd name="T3" fmla="*/ 0 h 14"/>
                <a:gd name="T4" fmla="*/ 0 w 7"/>
                <a:gd name="T5" fmla="*/ 11 h 14"/>
                <a:gd name="T6" fmla="*/ 1 w 7"/>
                <a:gd name="T7" fmla="*/ 14 h 14"/>
                <a:gd name="T8" fmla="*/ 7 w 7"/>
                <a:gd name="T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7" y="12"/>
                  </a:moveTo>
                  <a:lnTo>
                    <a:pt x="3" y="0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7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95" name="Freeform 204">
              <a:extLst>
                <a:ext uri="{FF2B5EF4-FFF2-40B4-BE49-F238E27FC236}">
                  <a16:creationId xmlns:a16="http://schemas.microsoft.com/office/drawing/2014/main" id="{6C1F39AB-44A2-491F-A7E6-74E03D1B92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498503" y="3477001"/>
              <a:ext cx="20930" cy="35712"/>
            </a:xfrm>
            <a:custGeom>
              <a:avLst/>
              <a:gdLst>
                <a:gd name="T0" fmla="*/ 4 w 9"/>
                <a:gd name="T1" fmla="*/ 15 h 15"/>
                <a:gd name="T2" fmla="*/ 7 w 9"/>
                <a:gd name="T3" fmla="*/ 8 h 15"/>
                <a:gd name="T4" fmla="*/ 0 w 9"/>
                <a:gd name="T5" fmla="*/ 0 h 15"/>
                <a:gd name="T6" fmla="*/ 9 w 9"/>
                <a:gd name="T7" fmla="*/ 9 h 15"/>
                <a:gd name="T8" fmla="*/ 4 w 9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4" y="15"/>
                  </a:moveTo>
                  <a:lnTo>
                    <a:pt x="7" y="8"/>
                  </a:lnTo>
                  <a:lnTo>
                    <a:pt x="0" y="0"/>
                  </a:lnTo>
                  <a:lnTo>
                    <a:pt x="9" y="9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96" name="Freeform 205">
              <a:extLst>
                <a:ext uri="{FF2B5EF4-FFF2-40B4-BE49-F238E27FC236}">
                  <a16:creationId xmlns:a16="http://schemas.microsoft.com/office/drawing/2014/main" id="{E5AFEA64-5411-4E63-9232-2F26096F741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23238" y="3528586"/>
              <a:ext cx="13319" cy="27777"/>
            </a:xfrm>
            <a:custGeom>
              <a:avLst/>
              <a:gdLst>
                <a:gd name="T0" fmla="*/ 3 w 6"/>
                <a:gd name="T1" fmla="*/ 11 h 11"/>
                <a:gd name="T2" fmla="*/ 6 w 6"/>
                <a:gd name="T3" fmla="*/ 6 h 11"/>
                <a:gd name="T4" fmla="*/ 0 w 6"/>
                <a:gd name="T5" fmla="*/ 0 h 11"/>
                <a:gd name="T6" fmla="*/ 3 w 6"/>
                <a:gd name="T7" fmla="*/ 3 h 11"/>
                <a:gd name="T8" fmla="*/ 6 w 6"/>
                <a:gd name="T9" fmla="*/ 6 h 11"/>
                <a:gd name="T10" fmla="*/ 3 w 6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1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6"/>
                  </a:lnTo>
                  <a:lnTo>
                    <a:pt x="3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97" name="Freeform 206">
              <a:extLst>
                <a:ext uri="{FF2B5EF4-FFF2-40B4-BE49-F238E27FC236}">
                  <a16:creationId xmlns:a16="http://schemas.microsoft.com/office/drawing/2014/main" id="{6EBF94D2-51DC-42F4-955E-3B2CED7562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595542" y="3675404"/>
              <a:ext cx="17125" cy="13889"/>
            </a:xfrm>
            <a:custGeom>
              <a:avLst/>
              <a:gdLst>
                <a:gd name="T0" fmla="*/ 9 w 9"/>
                <a:gd name="T1" fmla="*/ 0 h 6"/>
                <a:gd name="T2" fmla="*/ 9 w 9"/>
                <a:gd name="T3" fmla="*/ 2 h 6"/>
                <a:gd name="T4" fmla="*/ 0 w 9"/>
                <a:gd name="T5" fmla="*/ 6 h 6"/>
                <a:gd name="T6" fmla="*/ 9 w 9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9" y="0"/>
                  </a:moveTo>
                  <a:lnTo>
                    <a:pt x="9" y="2"/>
                  </a:lnTo>
                  <a:lnTo>
                    <a:pt x="0" y="6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98" name="Freeform 207">
              <a:extLst>
                <a:ext uri="{FF2B5EF4-FFF2-40B4-BE49-F238E27FC236}">
                  <a16:creationId xmlns:a16="http://schemas.microsoft.com/office/drawing/2014/main" id="{9F97405B-9AC3-4604-9FE2-2239FB3D2D83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2223" y="3631756"/>
              <a:ext cx="13319" cy="11904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0 h 5"/>
                <a:gd name="T4" fmla="*/ 0 w 6"/>
                <a:gd name="T5" fmla="*/ 5 h 5"/>
                <a:gd name="T6" fmla="*/ 6 w 6"/>
                <a:gd name="T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lnTo>
                    <a:pt x="3" y="0"/>
                  </a:lnTo>
                  <a:lnTo>
                    <a:pt x="0" y="5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99" name="Freeform 208">
              <a:extLst>
                <a:ext uri="{FF2B5EF4-FFF2-40B4-BE49-F238E27FC236}">
                  <a16:creationId xmlns:a16="http://schemas.microsoft.com/office/drawing/2014/main" id="{04E1992A-FF5F-4E1B-988D-54481109C2E8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0449" y="3484935"/>
              <a:ext cx="34249" cy="3967"/>
            </a:xfrm>
            <a:custGeom>
              <a:avLst/>
              <a:gdLst>
                <a:gd name="T0" fmla="*/ 6 w 15"/>
                <a:gd name="T1" fmla="*/ 0 h 2"/>
                <a:gd name="T2" fmla="*/ 15 w 15"/>
                <a:gd name="T3" fmla="*/ 2 h 2"/>
                <a:gd name="T4" fmla="*/ 9 w 15"/>
                <a:gd name="T5" fmla="*/ 2 h 2"/>
                <a:gd name="T6" fmla="*/ 0 w 15"/>
                <a:gd name="T7" fmla="*/ 0 h 2"/>
                <a:gd name="T8" fmla="*/ 6 w 1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">
                  <a:moveTo>
                    <a:pt x="6" y="0"/>
                  </a:moveTo>
                  <a:lnTo>
                    <a:pt x="15" y="2"/>
                  </a:lnTo>
                  <a:lnTo>
                    <a:pt x="9" y="2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00" name="Freeform 209">
              <a:extLst>
                <a:ext uri="{FF2B5EF4-FFF2-40B4-BE49-F238E27FC236}">
                  <a16:creationId xmlns:a16="http://schemas.microsoft.com/office/drawing/2014/main" id="{DAE832D2-887B-4EF4-AFE5-029D359E6E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81379" y="3578186"/>
              <a:ext cx="7611" cy="13889"/>
            </a:xfrm>
            <a:custGeom>
              <a:avLst/>
              <a:gdLst>
                <a:gd name="T0" fmla="*/ 4 w 4"/>
                <a:gd name="T1" fmla="*/ 4 h 6"/>
                <a:gd name="T2" fmla="*/ 3 w 4"/>
                <a:gd name="T3" fmla="*/ 1 h 6"/>
                <a:gd name="T4" fmla="*/ 0 w 4"/>
                <a:gd name="T5" fmla="*/ 0 h 6"/>
                <a:gd name="T6" fmla="*/ 3 w 4"/>
                <a:gd name="T7" fmla="*/ 6 h 6"/>
                <a:gd name="T8" fmla="*/ 4 w 4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4" y="4"/>
                  </a:moveTo>
                  <a:lnTo>
                    <a:pt x="3" y="1"/>
                  </a:lnTo>
                  <a:lnTo>
                    <a:pt x="0" y="0"/>
                  </a:lnTo>
                  <a:lnTo>
                    <a:pt x="3" y="6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19" name="Freeform 233">
              <a:extLst>
                <a:ext uri="{FF2B5EF4-FFF2-40B4-BE49-F238E27FC236}">
                  <a16:creationId xmlns:a16="http://schemas.microsoft.com/office/drawing/2014/main" id="{8836B19C-53BF-4A04-9807-558918AB2C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1053" y="6244755"/>
              <a:ext cx="41860" cy="35712"/>
            </a:xfrm>
            <a:custGeom>
              <a:avLst/>
              <a:gdLst>
                <a:gd name="T0" fmla="*/ 21 w 21"/>
                <a:gd name="T1" fmla="*/ 6 h 15"/>
                <a:gd name="T2" fmla="*/ 17 w 21"/>
                <a:gd name="T3" fmla="*/ 3 h 15"/>
                <a:gd name="T4" fmla="*/ 12 w 21"/>
                <a:gd name="T5" fmla="*/ 3 h 15"/>
                <a:gd name="T6" fmla="*/ 11 w 21"/>
                <a:gd name="T7" fmla="*/ 2 h 15"/>
                <a:gd name="T8" fmla="*/ 5 w 21"/>
                <a:gd name="T9" fmla="*/ 0 h 15"/>
                <a:gd name="T10" fmla="*/ 4 w 21"/>
                <a:gd name="T11" fmla="*/ 6 h 15"/>
                <a:gd name="T12" fmla="*/ 0 w 21"/>
                <a:gd name="T13" fmla="*/ 11 h 15"/>
                <a:gd name="T14" fmla="*/ 5 w 21"/>
                <a:gd name="T15" fmla="*/ 15 h 15"/>
                <a:gd name="T16" fmla="*/ 8 w 21"/>
                <a:gd name="T17" fmla="*/ 13 h 15"/>
                <a:gd name="T18" fmla="*/ 10 w 21"/>
                <a:gd name="T19" fmla="*/ 12 h 15"/>
                <a:gd name="T20" fmla="*/ 10 w 21"/>
                <a:gd name="T21" fmla="*/ 11 h 15"/>
                <a:gd name="T22" fmla="*/ 21 w 21"/>
                <a:gd name="T23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5">
                  <a:moveTo>
                    <a:pt x="21" y="6"/>
                  </a:moveTo>
                  <a:lnTo>
                    <a:pt x="17" y="3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5" y="0"/>
                  </a:lnTo>
                  <a:lnTo>
                    <a:pt x="4" y="6"/>
                  </a:lnTo>
                  <a:lnTo>
                    <a:pt x="0" y="11"/>
                  </a:lnTo>
                  <a:lnTo>
                    <a:pt x="5" y="15"/>
                  </a:lnTo>
                  <a:lnTo>
                    <a:pt x="8" y="13"/>
                  </a:lnTo>
                  <a:lnTo>
                    <a:pt x="10" y="12"/>
                  </a:lnTo>
                  <a:lnTo>
                    <a:pt x="10" y="11"/>
                  </a:lnTo>
                  <a:lnTo>
                    <a:pt x="21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20" name="Freeform 234">
              <a:extLst>
                <a:ext uri="{FF2B5EF4-FFF2-40B4-BE49-F238E27FC236}">
                  <a16:creationId xmlns:a16="http://schemas.microsoft.com/office/drawing/2014/main" id="{1BF7CC75-B724-4BAD-A6AE-065B7336FB8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609" y="6254676"/>
              <a:ext cx="34249" cy="21825"/>
            </a:xfrm>
            <a:custGeom>
              <a:avLst/>
              <a:gdLst>
                <a:gd name="T0" fmla="*/ 4 w 16"/>
                <a:gd name="T1" fmla="*/ 4 h 11"/>
                <a:gd name="T2" fmla="*/ 1 w 16"/>
                <a:gd name="T3" fmla="*/ 0 h 11"/>
                <a:gd name="T4" fmla="*/ 16 w 16"/>
                <a:gd name="T5" fmla="*/ 0 h 11"/>
                <a:gd name="T6" fmla="*/ 8 w 16"/>
                <a:gd name="T7" fmla="*/ 9 h 11"/>
                <a:gd name="T8" fmla="*/ 0 w 16"/>
                <a:gd name="T9" fmla="*/ 11 h 11"/>
                <a:gd name="T10" fmla="*/ 5 w 16"/>
                <a:gd name="T11" fmla="*/ 6 h 11"/>
                <a:gd name="T12" fmla="*/ 2 w 16"/>
                <a:gd name="T13" fmla="*/ 5 h 11"/>
                <a:gd name="T14" fmla="*/ 4 w 16"/>
                <a:gd name="T15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1">
                  <a:moveTo>
                    <a:pt x="4" y="4"/>
                  </a:moveTo>
                  <a:lnTo>
                    <a:pt x="1" y="0"/>
                  </a:lnTo>
                  <a:lnTo>
                    <a:pt x="16" y="0"/>
                  </a:lnTo>
                  <a:lnTo>
                    <a:pt x="8" y="9"/>
                  </a:lnTo>
                  <a:lnTo>
                    <a:pt x="0" y="11"/>
                  </a:lnTo>
                  <a:lnTo>
                    <a:pt x="5" y="6"/>
                  </a:lnTo>
                  <a:lnTo>
                    <a:pt x="2" y="5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22" name="Freeform 236">
              <a:extLst>
                <a:ext uri="{FF2B5EF4-FFF2-40B4-BE49-F238E27FC236}">
                  <a16:creationId xmlns:a16="http://schemas.microsoft.com/office/drawing/2014/main" id="{8C1B9193-52C6-40A0-B19B-C291F756B3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4970" y="4782507"/>
              <a:ext cx="372934" cy="464268"/>
            </a:xfrm>
            <a:custGeom>
              <a:avLst/>
              <a:gdLst>
                <a:gd name="T0" fmla="*/ 119 w 178"/>
                <a:gd name="T1" fmla="*/ 166 h 210"/>
                <a:gd name="T2" fmla="*/ 115 w 178"/>
                <a:gd name="T3" fmla="*/ 184 h 210"/>
                <a:gd name="T4" fmla="*/ 113 w 178"/>
                <a:gd name="T5" fmla="*/ 201 h 210"/>
                <a:gd name="T6" fmla="*/ 109 w 178"/>
                <a:gd name="T7" fmla="*/ 197 h 210"/>
                <a:gd name="T8" fmla="*/ 94 w 178"/>
                <a:gd name="T9" fmla="*/ 199 h 210"/>
                <a:gd name="T10" fmla="*/ 89 w 178"/>
                <a:gd name="T11" fmla="*/ 209 h 210"/>
                <a:gd name="T12" fmla="*/ 82 w 178"/>
                <a:gd name="T13" fmla="*/ 199 h 210"/>
                <a:gd name="T14" fmla="*/ 65 w 178"/>
                <a:gd name="T15" fmla="*/ 196 h 210"/>
                <a:gd name="T16" fmla="*/ 61 w 178"/>
                <a:gd name="T17" fmla="*/ 193 h 210"/>
                <a:gd name="T18" fmla="*/ 51 w 178"/>
                <a:gd name="T19" fmla="*/ 210 h 210"/>
                <a:gd name="T20" fmla="*/ 41 w 178"/>
                <a:gd name="T21" fmla="*/ 209 h 210"/>
                <a:gd name="T22" fmla="*/ 35 w 178"/>
                <a:gd name="T23" fmla="*/ 195 h 210"/>
                <a:gd name="T24" fmla="*/ 29 w 178"/>
                <a:gd name="T25" fmla="*/ 180 h 210"/>
                <a:gd name="T26" fmla="*/ 25 w 178"/>
                <a:gd name="T27" fmla="*/ 166 h 210"/>
                <a:gd name="T28" fmla="*/ 25 w 178"/>
                <a:gd name="T29" fmla="*/ 154 h 210"/>
                <a:gd name="T30" fmla="*/ 18 w 178"/>
                <a:gd name="T31" fmla="*/ 143 h 210"/>
                <a:gd name="T32" fmla="*/ 13 w 178"/>
                <a:gd name="T33" fmla="*/ 132 h 210"/>
                <a:gd name="T34" fmla="*/ 10 w 178"/>
                <a:gd name="T35" fmla="*/ 125 h 210"/>
                <a:gd name="T36" fmla="*/ 10 w 178"/>
                <a:gd name="T37" fmla="*/ 118 h 210"/>
                <a:gd name="T38" fmla="*/ 16 w 178"/>
                <a:gd name="T39" fmla="*/ 105 h 210"/>
                <a:gd name="T40" fmla="*/ 11 w 178"/>
                <a:gd name="T41" fmla="*/ 103 h 210"/>
                <a:gd name="T42" fmla="*/ 10 w 178"/>
                <a:gd name="T43" fmla="*/ 90 h 210"/>
                <a:gd name="T44" fmla="*/ 10 w 178"/>
                <a:gd name="T45" fmla="*/ 76 h 210"/>
                <a:gd name="T46" fmla="*/ 12 w 178"/>
                <a:gd name="T47" fmla="*/ 67 h 210"/>
                <a:gd name="T48" fmla="*/ 12 w 178"/>
                <a:gd name="T49" fmla="*/ 48 h 210"/>
                <a:gd name="T50" fmla="*/ 15 w 178"/>
                <a:gd name="T51" fmla="*/ 45 h 210"/>
                <a:gd name="T52" fmla="*/ 7 w 178"/>
                <a:gd name="T53" fmla="*/ 31 h 210"/>
                <a:gd name="T54" fmla="*/ 0 w 178"/>
                <a:gd name="T55" fmla="*/ 19 h 210"/>
                <a:gd name="T56" fmla="*/ 18 w 178"/>
                <a:gd name="T57" fmla="*/ 19 h 210"/>
                <a:gd name="T58" fmla="*/ 25 w 178"/>
                <a:gd name="T59" fmla="*/ 15 h 210"/>
                <a:gd name="T60" fmla="*/ 36 w 178"/>
                <a:gd name="T61" fmla="*/ 7 h 210"/>
                <a:gd name="T62" fmla="*/ 48 w 178"/>
                <a:gd name="T63" fmla="*/ 0 h 210"/>
                <a:gd name="T64" fmla="*/ 59 w 178"/>
                <a:gd name="T65" fmla="*/ 1 h 210"/>
                <a:gd name="T66" fmla="*/ 60 w 178"/>
                <a:gd name="T67" fmla="*/ 15 h 210"/>
                <a:gd name="T68" fmla="*/ 63 w 178"/>
                <a:gd name="T69" fmla="*/ 28 h 210"/>
                <a:gd name="T70" fmla="*/ 73 w 178"/>
                <a:gd name="T71" fmla="*/ 40 h 210"/>
                <a:gd name="T72" fmla="*/ 83 w 178"/>
                <a:gd name="T73" fmla="*/ 43 h 210"/>
                <a:gd name="T74" fmla="*/ 96 w 178"/>
                <a:gd name="T75" fmla="*/ 49 h 210"/>
                <a:gd name="T76" fmla="*/ 112 w 178"/>
                <a:gd name="T77" fmla="*/ 60 h 210"/>
                <a:gd name="T78" fmla="*/ 127 w 178"/>
                <a:gd name="T79" fmla="*/ 63 h 210"/>
                <a:gd name="T80" fmla="*/ 132 w 178"/>
                <a:gd name="T81" fmla="*/ 70 h 210"/>
                <a:gd name="T82" fmla="*/ 133 w 178"/>
                <a:gd name="T83" fmla="*/ 85 h 210"/>
                <a:gd name="T84" fmla="*/ 131 w 178"/>
                <a:gd name="T85" fmla="*/ 85 h 210"/>
                <a:gd name="T86" fmla="*/ 137 w 178"/>
                <a:gd name="T87" fmla="*/ 93 h 210"/>
                <a:gd name="T88" fmla="*/ 138 w 178"/>
                <a:gd name="T89" fmla="*/ 105 h 210"/>
                <a:gd name="T90" fmla="*/ 151 w 178"/>
                <a:gd name="T91" fmla="*/ 106 h 210"/>
                <a:gd name="T92" fmla="*/ 165 w 178"/>
                <a:gd name="T93" fmla="*/ 107 h 210"/>
                <a:gd name="T94" fmla="*/ 166 w 178"/>
                <a:gd name="T95" fmla="*/ 121 h 210"/>
                <a:gd name="T96" fmla="*/ 175 w 178"/>
                <a:gd name="T97" fmla="*/ 130 h 210"/>
                <a:gd name="T98" fmla="*/ 178 w 178"/>
                <a:gd name="T99" fmla="*/ 136 h 210"/>
                <a:gd name="T100" fmla="*/ 174 w 178"/>
                <a:gd name="T101" fmla="*/ 148 h 210"/>
                <a:gd name="T102" fmla="*/ 172 w 178"/>
                <a:gd name="T103" fmla="*/ 161 h 210"/>
                <a:gd name="T104" fmla="*/ 174 w 178"/>
                <a:gd name="T105" fmla="*/ 166 h 210"/>
                <a:gd name="T106" fmla="*/ 172 w 178"/>
                <a:gd name="T107" fmla="*/ 167 h 210"/>
                <a:gd name="T108" fmla="*/ 172 w 178"/>
                <a:gd name="T109" fmla="*/ 165 h 210"/>
                <a:gd name="T110" fmla="*/ 157 w 178"/>
                <a:gd name="T111" fmla="*/ 154 h 210"/>
                <a:gd name="T112" fmla="*/ 139 w 178"/>
                <a:gd name="T113" fmla="*/ 156 h 210"/>
                <a:gd name="T114" fmla="*/ 121 w 178"/>
                <a:gd name="T115" fmla="*/ 159 h 210"/>
                <a:gd name="T116" fmla="*/ 119 w 178"/>
                <a:gd name="T117" fmla="*/ 16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8" h="210">
                  <a:moveTo>
                    <a:pt x="119" y="166"/>
                  </a:moveTo>
                  <a:lnTo>
                    <a:pt x="115" y="184"/>
                  </a:lnTo>
                  <a:lnTo>
                    <a:pt x="113" y="201"/>
                  </a:lnTo>
                  <a:lnTo>
                    <a:pt x="109" y="197"/>
                  </a:lnTo>
                  <a:lnTo>
                    <a:pt x="94" y="199"/>
                  </a:lnTo>
                  <a:lnTo>
                    <a:pt x="89" y="209"/>
                  </a:lnTo>
                  <a:lnTo>
                    <a:pt x="82" y="199"/>
                  </a:lnTo>
                  <a:lnTo>
                    <a:pt x="65" y="196"/>
                  </a:lnTo>
                  <a:lnTo>
                    <a:pt x="61" y="193"/>
                  </a:lnTo>
                  <a:lnTo>
                    <a:pt x="51" y="210"/>
                  </a:lnTo>
                  <a:lnTo>
                    <a:pt x="41" y="209"/>
                  </a:lnTo>
                  <a:lnTo>
                    <a:pt x="35" y="195"/>
                  </a:lnTo>
                  <a:lnTo>
                    <a:pt x="29" y="180"/>
                  </a:lnTo>
                  <a:lnTo>
                    <a:pt x="25" y="166"/>
                  </a:lnTo>
                  <a:lnTo>
                    <a:pt x="25" y="154"/>
                  </a:lnTo>
                  <a:lnTo>
                    <a:pt x="18" y="143"/>
                  </a:lnTo>
                  <a:lnTo>
                    <a:pt x="13" y="132"/>
                  </a:lnTo>
                  <a:lnTo>
                    <a:pt x="10" y="125"/>
                  </a:lnTo>
                  <a:lnTo>
                    <a:pt x="10" y="118"/>
                  </a:lnTo>
                  <a:lnTo>
                    <a:pt x="16" y="105"/>
                  </a:lnTo>
                  <a:lnTo>
                    <a:pt x="11" y="103"/>
                  </a:lnTo>
                  <a:lnTo>
                    <a:pt x="10" y="90"/>
                  </a:lnTo>
                  <a:lnTo>
                    <a:pt x="10" y="76"/>
                  </a:lnTo>
                  <a:lnTo>
                    <a:pt x="12" y="67"/>
                  </a:lnTo>
                  <a:lnTo>
                    <a:pt x="12" y="48"/>
                  </a:lnTo>
                  <a:lnTo>
                    <a:pt x="15" y="45"/>
                  </a:lnTo>
                  <a:lnTo>
                    <a:pt x="7" y="31"/>
                  </a:lnTo>
                  <a:lnTo>
                    <a:pt x="0" y="19"/>
                  </a:lnTo>
                  <a:lnTo>
                    <a:pt x="18" y="19"/>
                  </a:lnTo>
                  <a:lnTo>
                    <a:pt x="25" y="15"/>
                  </a:lnTo>
                  <a:lnTo>
                    <a:pt x="36" y="7"/>
                  </a:lnTo>
                  <a:lnTo>
                    <a:pt x="48" y="0"/>
                  </a:lnTo>
                  <a:lnTo>
                    <a:pt x="59" y="1"/>
                  </a:lnTo>
                  <a:lnTo>
                    <a:pt x="60" y="15"/>
                  </a:lnTo>
                  <a:lnTo>
                    <a:pt x="63" y="28"/>
                  </a:lnTo>
                  <a:lnTo>
                    <a:pt x="73" y="40"/>
                  </a:lnTo>
                  <a:lnTo>
                    <a:pt x="83" y="43"/>
                  </a:lnTo>
                  <a:lnTo>
                    <a:pt x="96" y="49"/>
                  </a:lnTo>
                  <a:lnTo>
                    <a:pt x="112" y="60"/>
                  </a:lnTo>
                  <a:lnTo>
                    <a:pt x="127" y="63"/>
                  </a:lnTo>
                  <a:lnTo>
                    <a:pt x="132" y="70"/>
                  </a:lnTo>
                  <a:lnTo>
                    <a:pt x="133" y="85"/>
                  </a:lnTo>
                  <a:lnTo>
                    <a:pt x="131" y="85"/>
                  </a:lnTo>
                  <a:lnTo>
                    <a:pt x="137" y="93"/>
                  </a:lnTo>
                  <a:lnTo>
                    <a:pt x="138" y="105"/>
                  </a:lnTo>
                  <a:lnTo>
                    <a:pt x="151" y="106"/>
                  </a:lnTo>
                  <a:lnTo>
                    <a:pt x="165" y="107"/>
                  </a:lnTo>
                  <a:lnTo>
                    <a:pt x="166" y="121"/>
                  </a:lnTo>
                  <a:lnTo>
                    <a:pt x="175" y="130"/>
                  </a:lnTo>
                  <a:lnTo>
                    <a:pt x="178" y="136"/>
                  </a:lnTo>
                  <a:lnTo>
                    <a:pt x="174" y="148"/>
                  </a:lnTo>
                  <a:lnTo>
                    <a:pt x="172" y="161"/>
                  </a:lnTo>
                  <a:lnTo>
                    <a:pt x="174" y="166"/>
                  </a:lnTo>
                  <a:lnTo>
                    <a:pt x="172" y="167"/>
                  </a:lnTo>
                  <a:lnTo>
                    <a:pt x="172" y="165"/>
                  </a:lnTo>
                  <a:lnTo>
                    <a:pt x="157" y="154"/>
                  </a:lnTo>
                  <a:lnTo>
                    <a:pt x="139" y="156"/>
                  </a:lnTo>
                  <a:lnTo>
                    <a:pt x="121" y="159"/>
                  </a:lnTo>
                  <a:lnTo>
                    <a:pt x="119" y="16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36" name="Freeform 250">
              <a:extLst>
                <a:ext uri="{FF2B5EF4-FFF2-40B4-BE49-F238E27FC236}">
                  <a16:creationId xmlns:a16="http://schemas.microsoft.com/office/drawing/2014/main" id="{8E0654F5-ABAE-437D-9717-15555563B7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7973" y="4248796"/>
              <a:ext cx="1170177" cy="1382886"/>
            </a:xfrm>
            <a:custGeom>
              <a:avLst/>
              <a:gdLst>
                <a:gd name="T0" fmla="*/ 415 w 553"/>
                <a:gd name="T1" fmla="*/ 122 h 626"/>
                <a:gd name="T2" fmla="*/ 408 w 553"/>
                <a:gd name="T3" fmla="*/ 109 h 626"/>
                <a:gd name="T4" fmla="*/ 390 w 553"/>
                <a:gd name="T5" fmla="*/ 101 h 626"/>
                <a:gd name="T6" fmla="*/ 372 w 553"/>
                <a:gd name="T7" fmla="*/ 96 h 626"/>
                <a:gd name="T8" fmla="*/ 351 w 553"/>
                <a:gd name="T9" fmla="*/ 112 h 626"/>
                <a:gd name="T10" fmla="*/ 333 w 553"/>
                <a:gd name="T11" fmla="*/ 115 h 626"/>
                <a:gd name="T12" fmla="*/ 304 w 553"/>
                <a:gd name="T13" fmla="*/ 110 h 626"/>
                <a:gd name="T14" fmla="*/ 328 w 553"/>
                <a:gd name="T15" fmla="*/ 74 h 626"/>
                <a:gd name="T16" fmla="*/ 324 w 553"/>
                <a:gd name="T17" fmla="*/ 36 h 626"/>
                <a:gd name="T18" fmla="*/ 315 w 553"/>
                <a:gd name="T19" fmla="*/ 18 h 626"/>
                <a:gd name="T20" fmla="*/ 294 w 553"/>
                <a:gd name="T21" fmla="*/ 49 h 626"/>
                <a:gd name="T22" fmla="*/ 249 w 553"/>
                <a:gd name="T23" fmla="*/ 47 h 626"/>
                <a:gd name="T24" fmla="*/ 216 w 553"/>
                <a:gd name="T25" fmla="*/ 62 h 626"/>
                <a:gd name="T26" fmla="*/ 200 w 553"/>
                <a:gd name="T27" fmla="*/ 17 h 626"/>
                <a:gd name="T28" fmla="*/ 186 w 553"/>
                <a:gd name="T29" fmla="*/ 1 h 626"/>
                <a:gd name="T30" fmla="*/ 156 w 553"/>
                <a:gd name="T31" fmla="*/ 25 h 626"/>
                <a:gd name="T32" fmla="*/ 138 w 553"/>
                <a:gd name="T33" fmla="*/ 42 h 626"/>
                <a:gd name="T34" fmla="*/ 117 w 553"/>
                <a:gd name="T35" fmla="*/ 72 h 626"/>
                <a:gd name="T36" fmla="*/ 93 w 553"/>
                <a:gd name="T37" fmla="*/ 64 h 626"/>
                <a:gd name="T38" fmla="*/ 79 w 553"/>
                <a:gd name="T39" fmla="*/ 56 h 626"/>
                <a:gd name="T40" fmla="*/ 63 w 553"/>
                <a:gd name="T41" fmla="*/ 71 h 626"/>
                <a:gd name="T42" fmla="*/ 60 w 553"/>
                <a:gd name="T43" fmla="*/ 107 h 626"/>
                <a:gd name="T44" fmla="*/ 37 w 553"/>
                <a:gd name="T45" fmla="*/ 155 h 626"/>
                <a:gd name="T46" fmla="*/ 7 w 553"/>
                <a:gd name="T47" fmla="*/ 190 h 626"/>
                <a:gd name="T48" fmla="*/ 12 w 553"/>
                <a:gd name="T49" fmla="*/ 234 h 626"/>
                <a:gd name="T50" fmla="*/ 46 w 553"/>
                <a:gd name="T51" fmla="*/ 238 h 626"/>
                <a:gd name="T52" fmla="*/ 81 w 553"/>
                <a:gd name="T53" fmla="*/ 260 h 626"/>
                <a:gd name="T54" fmla="*/ 122 w 553"/>
                <a:gd name="T55" fmla="*/ 242 h 626"/>
                <a:gd name="T56" fmla="*/ 146 w 553"/>
                <a:gd name="T57" fmla="*/ 284 h 626"/>
                <a:gd name="T58" fmla="*/ 195 w 553"/>
                <a:gd name="T59" fmla="*/ 311 h 626"/>
                <a:gd name="T60" fmla="*/ 201 w 553"/>
                <a:gd name="T61" fmla="*/ 346 h 626"/>
                <a:gd name="T62" fmla="*/ 238 w 553"/>
                <a:gd name="T63" fmla="*/ 371 h 626"/>
                <a:gd name="T64" fmla="*/ 237 w 553"/>
                <a:gd name="T65" fmla="*/ 407 h 626"/>
                <a:gd name="T66" fmla="*/ 260 w 553"/>
                <a:gd name="T67" fmla="*/ 442 h 626"/>
                <a:gd name="T68" fmla="*/ 285 w 553"/>
                <a:gd name="T69" fmla="*/ 469 h 626"/>
                <a:gd name="T70" fmla="*/ 301 w 553"/>
                <a:gd name="T71" fmla="*/ 496 h 626"/>
                <a:gd name="T72" fmla="*/ 283 w 553"/>
                <a:gd name="T73" fmla="*/ 541 h 626"/>
                <a:gd name="T74" fmla="*/ 261 w 553"/>
                <a:gd name="T75" fmla="*/ 570 h 626"/>
                <a:gd name="T76" fmla="*/ 297 w 553"/>
                <a:gd name="T77" fmla="*/ 587 h 626"/>
                <a:gd name="T78" fmla="*/ 328 w 553"/>
                <a:gd name="T79" fmla="*/ 626 h 626"/>
                <a:gd name="T80" fmla="*/ 343 w 553"/>
                <a:gd name="T81" fmla="*/ 587 h 626"/>
                <a:gd name="T82" fmla="*/ 357 w 553"/>
                <a:gd name="T83" fmla="*/ 572 h 626"/>
                <a:gd name="T84" fmla="*/ 343 w 553"/>
                <a:gd name="T85" fmla="*/ 600 h 626"/>
                <a:gd name="T86" fmla="*/ 373 w 553"/>
                <a:gd name="T87" fmla="*/ 547 h 626"/>
                <a:gd name="T88" fmla="*/ 378 w 553"/>
                <a:gd name="T89" fmla="*/ 515 h 626"/>
                <a:gd name="T90" fmla="*/ 374 w 553"/>
                <a:gd name="T91" fmla="*/ 493 h 626"/>
                <a:gd name="T92" fmla="*/ 416 w 553"/>
                <a:gd name="T93" fmla="*/ 466 h 626"/>
                <a:gd name="T94" fmla="*/ 436 w 553"/>
                <a:gd name="T95" fmla="*/ 455 h 626"/>
                <a:gd name="T96" fmla="*/ 468 w 553"/>
                <a:gd name="T97" fmla="*/ 442 h 626"/>
                <a:gd name="T98" fmla="*/ 492 w 553"/>
                <a:gd name="T99" fmla="*/ 395 h 626"/>
                <a:gd name="T100" fmla="*/ 499 w 553"/>
                <a:gd name="T101" fmla="*/ 334 h 626"/>
                <a:gd name="T102" fmla="*/ 498 w 553"/>
                <a:gd name="T103" fmla="*/ 290 h 626"/>
                <a:gd name="T104" fmla="*/ 518 w 553"/>
                <a:gd name="T105" fmla="*/ 268 h 626"/>
                <a:gd name="T106" fmla="*/ 538 w 553"/>
                <a:gd name="T107" fmla="*/ 240 h 626"/>
                <a:gd name="T108" fmla="*/ 541 w 553"/>
                <a:gd name="T109" fmla="*/ 167 h 626"/>
                <a:gd name="T110" fmla="*/ 488 w 553"/>
                <a:gd name="T111" fmla="*/ 136 h 626"/>
                <a:gd name="T112" fmla="*/ 429 w 553"/>
                <a:gd name="T113" fmla="*/ 125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53" h="626">
                  <a:moveTo>
                    <a:pt x="420" y="122"/>
                  </a:moveTo>
                  <a:lnTo>
                    <a:pt x="417" y="125"/>
                  </a:lnTo>
                  <a:lnTo>
                    <a:pt x="411" y="136"/>
                  </a:lnTo>
                  <a:lnTo>
                    <a:pt x="415" y="122"/>
                  </a:lnTo>
                  <a:lnTo>
                    <a:pt x="414" y="120"/>
                  </a:lnTo>
                  <a:lnTo>
                    <a:pt x="411" y="121"/>
                  </a:lnTo>
                  <a:lnTo>
                    <a:pt x="412" y="114"/>
                  </a:lnTo>
                  <a:lnTo>
                    <a:pt x="408" y="109"/>
                  </a:lnTo>
                  <a:lnTo>
                    <a:pt x="403" y="109"/>
                  </a:lnTo>
                  <a:lnTo>
                    <a:pt x="400" y="107"/>
                  </a:lnTo>
                  <a:lnTo>
                    <a:pt x="396" y="104"/>
                  </a:lnTo>
                  <a:lnTo>
                    <a:pt x="390" y="101"/>
                  </a:lnTo>
                  <a:lnTo>
                    <a:pt x="384" y="100"/>
                  </a:lnTo>
                  <a:lnTo>
                    <a:pt x="379" y="98"/>
                  </a:lnTo>
                  <a:lnTo>
                    <a:pt x="372" y="94"/>
                  </a:lnTo>
                  <a:lnTo>
                    <a:pt x="372" y="96"/>
                  </a:lnTo>
                  <a:lnTo>
                    <a:pt x="362" y="97"/>
                  </a:lnTo>
                  <a:lnTo>
                    <a:pt x="357" y="108"/>
                  </a:lnTo>
                  <a:lnTo>
                    <a:pt x="357" y="109"/>
                  </a:lnTo>
                  <a:lnTo>
                    <a:pt x="351" y="112"/>
                  </a:lnTo>
                  <a:lnTo>
                    <a:pt x="342" y="126"/>
                  </a:lnTo>
                  <a:lnTo>
                    <a:pt x="343" y="114"/>
                  </a:lnTo>
                  <a:lnTo>
                    <a:pt x="338" y="118"/>
                  </a:lnTo>
                  <a:lnTo>
                    <a:pt x="333" y="115"/>
                  </a:lnTo>
                  <a:lnTo>
                    <a:pt x="328" y="115"/>
                  </a:lnTo>
                  <a:lnTo>
                    <a:pt x="324" y="100"/>
                  </a:lnTo>
                  <a:lnTo>
                    <a:pt x="314" y="104"/>
                  </a:lnTo>
                  <a:lnTo>
                    <a:pt x="304" y="110"/>
                  </a:lnTo>
                  <a:lnTo>
                    <a:pt x="300" y="109"/>
                  </a:lnTo>
                  <a:lnTo>
                    <a:pt x="310" y="102"/>
                  </a:lnTo>
                  <a:lnTo>
                    <a:pt x="319" y="85"/>
                  </a:lnTo>
                  <a:lnTo>
                    <a:pt x="328" y="74"/>
                  </a:lnTo>
                  <a:lnTo>
                    <a:pt x="337" y="64"/>
                  </a:lnTo>
                  <a:lnTo>
                    <a:pt x="333" y="55"/>
                  </a:lnTo>
                  <a:lnTo>
                    <a:pt x="326" y="49"/>
                  </a:lnTo>
                  <a:lnTo>
                    <a:pt x="324" y="36"/>
                  </a:lnTo>
                  <a:lnTo>
                    <a:pt x="320" y="22"/>
                  </a:lnTo>
                  <a:lnTo>
                    <a:pt x="320" y="23"/>
                  </a:lnTo>
                  <a:lnTo>
                    <a:pt x="314" y="16"/>
                  </a:lnTo>
                  <a:lnTo>
                    <a:pt x="315" y="18"/>
                  </a:lnTo>
                  <a:lnTo>
                    <a:pt x="313" y="18"/>
                  </a:lnTo>
                  <a:lnTo>
                    <a:pt x="313" y="19"/>
                  </a:lnTo>
                  <a:lnTo>
                    <a:pt x="303" y="34"/>
                  </a:lnTo>
                  <a:lnTo>
                    <a:pt x="294" y="49"/>
                  </a:lnTo>
                  <a:lnTo>
                    <a:pt x="280" y="48"/>
                  </a:lnTo>
                  <a:lnTo>
                    <a:pt x="271" y="47"/>
                  </a:lnTo>
                  <a:lnTo>
                    <a:pt x="262" y="43"/>
                  </a:lnTo>
                  <a:lnTo>
                    <a:pt x="249" y="47"/>
                  </a:lnTo>
                  <a:lnTo>
                    <a:pt x="250" y="54"/>
                  </a:lnTo>
                  <a:lnTo>
                    <a:pt x="244" y="53"/>
                  </a:lnTo>
                  <a:lnTo>
                    <a:pt x="230" y="55"/>
                  </a:lnTo>
                  <a:lnTo>
                    <a:pt x="216" y="62"/>
                  </a:lnTo>
                  <a:lnTo>
                    <a:pt x="207" y="62"/>
                  </a:lnTo>
                  <a:lnTo>
                    <a:pt x="198" y="50"/>
                  </a:lnTo>
                  <a:lnTo>
                    <a:pt x="196" y="31"/>
                  </a:lnTo>
                  <a:lnTo>
                    <a:pt x="200" y="17"/>
                  </a:lnTo>
                  <a:lnTo>
                    <a:pt x="194" y="8"/>
                  </a:lnTo>
                  <a:lnTo>
                    <a:pt x="193" y="0"/>
                  </a:lnTo>
                  <a:lnTo>
                    <a:pt x="184" y="0"/>
                  </a:lnTo>
                  <a:lnTo>
                    <a:pt x="186" y="1"/>
                  </a:lnTo>
                  <a:lnTo>
                    <a:pt x="182" y="10"/>
                  </a:lnTo>
                  <a:lnTo>
                    <a:pt x="170" y="14"/>
                  </a:lnTo>
                  <a:lnTo>
                    <a:pt x="158" y="19"/>
                  </a:lnTo>
                  <a:lnTo>
                    <a:pt x="156" y="25"/>
                  </a:lnTo>
                  <a:lnTo>
                    <a:pt x="142" y="20"/>
                  </a:lnTo>
                  <a:lnTo>
                    <a:pt x="129" y="16"/>
                  </a:lnTo>
                  <a:lnTo>
                    <a:pt x="133" y="24"/>
                  </a:lnTo>
                  <a:lnTo>
                    <a:pt x="138" y="42"/>
                  </a:lnTo>
                  <a:lnTo>
                    <a:pt x="146" y="46"/>
                  </a:lnTo>
                  <a:lnTo>
                    <a:pt x="144" y="49"/>
                  </a:lnTo>
                  <a:lnTo>
                    <a:pt x="132" y="61"/>
                  </a:lnTo>
                  <a:lnTo>
                    <a:pt x="117" y="72"/>
                  </a:lnTo>
                  <a:lnTo>
                    <a:pt x="116" y="71"/>
                  </a:lnTo>
                  <a:lnTo>
                    <a:pt x="108" y="71"/>
                  </a:lnTo>
                  <a:lnTo>
                    <a:pt x="97" y="65"/>
                  </a:lnTo>
                  <a:lnTo>
                    <a:pt x="93" y="64"/>
                  </a:lnTo>
                  <a:lnTo>
                    <a:pt x="88" y="50"/>
                  </a:lnTo>
                  <a:lnTo>
                    <a:pt x="80" y="55"/>
                  </a:lnTo>
                  <a:lnTo>
                    <a:pt x="76" y="54"/>
                  </a:lnTo>
                  <a:lnTo>
                    <a:pt x="79" y="56"/>
                  </a:lnTo>
                  <a:lnTo>
                    <a:pt x="67" y="56"/>
                  </a:lnTo>
                  <a:lnTo>
                    <a:pt x="54" y="56"/>
                  </a:lnTo>
                  <a:lnTo>
                    <a:pt x="56" y="67"/>
                  </a:lnTo>
                  <a:lnTo>
                    <a:pt x="63" y="71"/>
                  </a:lnTo>
                  <a:lnTo>
                    <a:pt x="61" y="74"/>
                  </a:lnTo>
                  <a:lnTo>
                    <a:pt x="51" y="74"/>
                  </a:lnTo>
                  <a:lnTo>
                    <a:pt x="54" y="90"/>
                  </a:lnTo>
                  <a:lnTo>
                    <a:pt x="60" y="107"/>
                  </a:lnTo>
                  <a:lnTo>
                    <a:pt x="57" y="130"/>
                  </a:lnTo>
                  <a:lnTo>
                    <a:pt x="54" y="152"/>
                  </a:lnTo>
                  <a:lnTo>
                    <a:pt x="49" y="151"/>
                  </a:lnTo>
                  <a:lnTo>
                    <a:pt x="37" y="155"/>
                  </a:lnTo>
                  <a:lnTo>
                    <a:pt x="25" y="160"/>
                  </a:lnTo>
                  <a:lnTo>
                    <a:pt x="14" y="166"/>
                  </a:lnTo>
                  <a:lnTo>
                    <a:pt x="10" y="178"/>
                  </a:lnTo>
                  <a:lnTo>
                    <a:pt x="7" y="190"/>
                  </a:lnTo>
                  <a:lnTo>
                    <a:pt x="0" y="203"/>
                  </a:lnTo>
                  <a:lnTo>
                    <a:pt x="6" y="215"/>
                  </a:lnTo>
                  <a:lnTo>
                    <a:pt x="12" y="227"/>
                  </a:lnTo>
                  <a:lnTo>
                    <a:pt x="12" y="234"/>
                  </a:lnTo>
                  <a:lnTo>
                    <a:pt x="18" y="235"/>
                  </a:lnTo>
                  <a:lnTo>
                    <a:pt x="25" y="242"/>
                  </a:lnTo>
                  <a:lnTo>
                    <a:pt x="37" y="245"/>
                  </a:lnTo>
                  <a:lnTo>
                    <a:pt x="46" y="238"/>
                  </a:lnTo>
                  <a:lnTo>
                    <a:pt x="48" y="250"/>
                  </a:lnTo>
                  <a:lnTo>
                    <a:pt x="49" y="262"/>
                  </a:lnTo>
                  <a:lnTo>
                    <a:pt x="63" y="260"/>
                  </a:lnTo>
                  <a:lnTo>
                    <a:pt x="81" y="260"/>
                  </a:lnTo>
                  <a:lnTo>
                    <a:pt x="88" y="256"/>
                  </a:lnTo>
                  <a:lnTo>
                    <a:pt x="99" y="248"/>
                  </a:lnTo>
                  <a:lnTo>
                    <a:pt x="111" y="241"/>
                  </a:lnTo>
                  <a:lnTo>
                    <a:pt x="122" y="242"/>
                  </a:lnTo>
                  <a:lnTo>
                    <a:pt x="123" y="256"/>
                  </a:lnTo>
                  <a:lnTo>
                    <a:pt x="126" y="269"/>
                  </a:lnTo>
                  <a:lnTo>
                    <a:pt x="136" y="281"/>
                  </a:lnTo>
                  <a:lnTo>
                    <a:pt x="146" y="284"/>
                  </a:lnTo>
                  <a:lnTo>
                    <a:pt x="159" y="290"/>
                  </a:lnTo>
                  <a:lnTo>
                    <a:pt x="175" y="301"/>
                  </a:lnTo>
                  <a:lnTo>
                    <a:pt x="190" y="304"/>
                  </a:lnTo>
                  <a:lnTo>
                    <a:pt x="195" y="311"/>
                  </a:lnTo>
                  <a:lnTo>
                    <a:pt x="196" y="326"/>
                  </a:lnTo>
                  <a:lnTo>
                    <a:pt x="194" y="326"/>
                  </a:lnTo>
                  <a:lnTo>
                    <a:pt x="200" y="334"/>
                  </a:lnTo>
                  <a:lnTo>
                    <a:pt x="201" y="346"/>
                  </a:lnTo>
                  <a:lnTo>
                    <a:pt x="214" y="347"/>
                  </a:lnTo>
                  <a:lnTo>
                    <a:pt x="228" y="348"/>
                  </a:lnTo>
                  <a:lnTo>
                    <a:pt x="229" y="362"/>
                  </a:lnTo>
                  <a:lnTo>
                    <a:pt x="238" y="371"/>
                  </a:lnTo>
                  <a:lnTo>
                    <a:pt x="241" y="377"/>
                  </a:lnTo>
                  <a:lnTo>
                    <a:pt x="237" y="389"/>
                  </a:lnTo>
                  <a:lnTo>
                    <a:pt x="235" y="402"/>
                  </a:lnTo>
                  <a:lnTo>
                    <a:pt x="237" y="407"/>
                  </a:lnTo>
                  <a:lnTo>
                    <a:pt x="235" y="408"/>
                  </a:lnTo>
                  <a:lnTo>
                    <a:pt x="237" y="415"/>
                  </a:lnTo>
                  <a:lnTo>
                    <a:pt x="240" y="438"/>
                  </a:lnTo>
                  <a:lnTo>
                    <a:pt x="260" y="442"/>
                  </a:lnTo>
                  <a:lnTo>
                    <a:pt x="270" y="443"/>
                  </a:lnTo>
                  <a:lnTo>
                    <a:pt x="274" y="456"/>
                  </a:lnTo>
                  <a:lnTo>
                    <a:pt x="278" y="469"/>
                  </a:lnTo>
                  <a:lnTo>
                    <a:pt x="285" y="469"/>
                  </a:lnTo>
                  <a:lnTo>
                    <a:pt x="294" y="469"/>
                  </a:lnTo>
                  <a:lnTo>
                    <a:pt x="292" y="482"/>
                  </a:lnTo>
                  <a:lnTo>
                    <a:pt x="292" y="496"/>
                  </a:lnTo>
                  <a:lnTo>
                    <a:pt x="301" y="496"/>
                  </a:lnTo>
                  <a:lnTo>
                    <a:pt x="308" y="516"/>
                  </a:lnTo>
                  <a:lnTo>
                    <a:pt x="298" y="524"/>
                  </a:lnTo>
                  <a:lnTo>
                    <a:pt x="290" y="532"/>
                  </a:lnTo>
                  <a:lnTo>
                    <a:pt x="283" y="541"/>
                  </a:lnTo>
                  <a:lnTo>
                    <a:pt x="276" y="551"/>
                  </a:lnTo>
                  <a:lnTo>
                    <a:pt x="267" y="560"/>
                  </a:lnTo>
                  <a:lnTo>
                    <a:pt x="260" y="570"/>
                  </a:lnTo>
                  <a:lnTo>
                    <a:pt x="261" y="570"/>
                  </a:lnTo>
                  <a:lnTo>
                    <a:pt x="268" y="569"/>
                  </a:lnTo>
                  <a:lnTo>
                    <a:pt x="285" y="582"/>
                  </a:lnTo>
                  <a:lnTo>
                    <a:pt x="289" y="582"/>
                  </a:lnTo>
                  <a:lnTo>
                    <a:pt x="297" y="587"/>
                  </a:lnTo>
                  <a:lnTo>
                    <a:pt x="312" y="598"/>
                  </a:lnTo>
                  <a:lnTo>
                    <a:pt x="326" y="608"/>
                  </a:lnTo>
                  <a:lnTo>
                    <a:pt x="325" y="616"/>
                  </a:lnTo>
                  <a:lnTo>
                    <a:pt x="328" y="626"/>
                  </a:lnTo>
                  <a:lnTo>
                    <a:pt x="333" y="617"/>
                  </a:lnTo>
                  <a:lnTo>
                    <a:pt x="338" y="607"/>
                  </a:lnTo>
                  <a:lnTo>
                    <a:pt x="339" y="596"/>
                  </a:lnTo>
                  <a:lnTo>
                    <a:pt x="343" y="587"/>
                  </a:lnTo>
                  <a:lnTo>
                    <a:pt x="349" y="580"/>
                  </a:lnTo>
                  <a:lnTo>
                    <a:pt x="348" y="570"/>
                  </a:lnTo>
                  <a:lnTo>
                    <a:pt x="354" y="571"/>
                  </a:lnTo>
                  <a:lnTo>
                    <a:pt x="357" y="572"/>
                  </a:lnTo>
                  <a:lnTo>
                    <a:pt x="351" y="584"/>
                  </a:lnTo>
                  <a:lnTo>
                    <a:pt x="345" y="595"/>
                  </a:lnTo>
                  <a:lnTo>
                    <a:pt x="342" y="599"/>
                  </a:lnTo>
                  <a:lnTo>
                    <a:pt x="343" y="600"/>
                  </a:lnTo>
                  <a:lnTo>
                    <a:pt x="351" y="587"/>
                  </a:lnTo>
                  <a:lnTo>
                    <a:pt x="361" y="574"/>
                  </a:lnTo>
                  <a:lnTo>
                    <a:pt x="367" y="560"/>
                  </a:lnTo>
                  <a:lnTo>
                    <a:pt x="373" y="547"/>
                  </a:lnTo>
                  <a:lnTo>
                    <a:pt x="376" y="541"/>
                  </a:lnTo>
                  <a:lnTo>
                    <a:pt x="378" y="540"/>
                  </a:lnTo>
                  <a:lnTo>
                    <a:pt x="378" y="528"/>
                  </a:lnTo>
                  <a:lnTo>
                    <a:pt x="378" y="515"/>
                  </a:lnTo>
                  <a:lnTo>
                    <a:pt x="374" y="505"/>
                  </a:lnTo>
                  <a:lnTo>
                    <a:pt x="374" y="500"/>
                  </a:lnTo>
                  <a:lnTo>
                    <a:pt x="376" y="494"/>
                  </a:lnTo>
                  <a:lnTo>
                    <a:pt x="374" y="493"/>
                  </a:lnTo>
                  <a:lnTo>
                    <a:pt x="380" y="492"/>
                  </a:lnTo>
                  <a:lnTo>
                    <a:pt x="392" y="480"/>
                  </a:lnTo>
                  <a:lnTo>
                    <a:pt x="405" y="469"/>
                  </a:lnTo>
                  <a:lnTo>
                    <a:pt x="416" y="466"/>
                  </a:lnTo>
                  <a:lnTo>
                    <a:pt x="427" y="457"/>
                  </a:lnTo>
                  <a:lnTo>
                    <a:pt x="432" y="454"/>
                  </a:lnTo>
                  <a:lnTo>
                    <a:pt x="441" y="455"/>
                  </a:lnTo>
                  <a:lnTo>
                    <a:pt x="436" y="455"/>
                  </a:lnTo>
                  <a:lnTo>
                    <a:pt x="446" y="451"/>
                  </a:lnTo>
                  <a:lnTo>
                    <a:pt x="448" y="451"/>
                  </a:lnTo>
                  <a:lnTo>
                    <a:pt x="464" y="451"/>
                  </a:lnTo>
                  <a:lnTo>
                    <a:pt x="468" y="442"/>
                  </a:lnTo>
                  <a:lnTo>
                    <a:pt x="476" y="437"/>
                  </a:lnTo>
                  <a:lnTo>
                    <a:pt x="478" y="419"/>
                  </a:lnTo>
                  <a:lnTo>
                    <a:pt x="484" y="407"/>
                  </a:lnTo>
                  <a:lnTo>
                    <a:pt x="492" y="395"/>
                  </a:lnTo>
                  <a:lnTo>
                    <a:pt x="494" y="373"/>
                  </a:lnTo>
                  <a:lnTo>
                    <a:pt x="498" y="365"/>
                  </a:lnTo>
                  <a:lnTo>
                    <a:pt x="498" y="349"/>
                  </a:lnTo>
                  <a:lnTo>
                    <a:pt x="499" y="334"/>
                  </a:lnTo>
                  <a:lnTo>
                    <a:pt x="498" y="322"/>
                  </a:lnTo>
                  <a:lnTo>
                    <a:pt x="498" y="310"/>
                  </a:lnTo>
                  <a:lnTo>
                    <a:pt x="496" y="305"/>
                  </a:lnTo>
                  <a:lnTo>
                    <a:pt x="498" y="290"/>
                  </a:lnTo>
                  <a:lnTo>
                    <a:pt x="502" y="288"/>
                  </a:lnTo>
                  <a:lnTo>
                    <a:pt x="504" y="293"/>
                  </a:lnTo>
                  <a:lnTo>
                    <a:pt x="511" y="281"/>
                  </a:lnTo>
                  <a:lnTo>
                    <a:pt x="518" y="268"/>
                  </a:lnTo>
                  <a:lnTo>
                    <a:pt x="518" y="266"/>
                  </a:lnTo>
                  <a:lnTo>
                    <a:pt x="522" y="263"/>
                  </a:lnTo>
                  <a:lnTo>
                    <a:pt x="530" y="251"/>
                  </a:lnTo>
                  <a:lnTo>
                    <a:pt x="538" y="240"/>
                  </a:lnTo>
                  <a:lnTo>
                    <a:pt x="550" y="222"/>
                  </a:lnTo>
                  <a:lnTo>
                    <a:pt x="553" y="199"/>
                  </a:lnTo>
                  <a:lnTo>
                    <a:pt x="547" y="182"/>
                  </a:lnTo>
                  <a:lnTo>
                    <a:pt x="541" y="167"/>
                  </a:lnTo>
                  <a:lnTo>
                    <a:pt x="530" y="164"/>
                  </a:lnTo>
                  <a:lnTo>
                    <a:pt x="518" y="162"/>
                  </a:lnTo>
                  <a:lnTo>
                    <a:pt x="502" y="149"/>
                  </a:lnTo>
                  <a:lnTo>
                    <a:pt x="488" y="136"/>
                  </a:lnTo>
                  <a:lnTo>
                    <a:pt x="468" y="130"/>
                  </a:lnTo>
                  <a:lnTo>
                    <a:pt x="454" y="130"/>
                  </a:lnTo>
                  <a:lnTo>
                    <a:pt x="441" y="127"/>
                  </a:lnTo>
                  <a:lnTo>
                    <a:pt x="429" y="125"/>
                  </a:lnTo>
                  <a:lnTo>
                    <a:pt x="418" y="127"/>
                  </a:lnTo>
                  <a:lnTo>
                    <a:pt x="420" y="12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37" name="Freeform 251">
              <a:extLst>
                <a:ext uri="{FF2B5EF4-FFF2-40B4-BE49-F238E27FC236}">
                  <a16:creationId xmlns:a16="http://schemas.microsoft.com/office/drawing/2014/main" id="{CE73B15A-D1C0-412F-9863-E472968BBC1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4859" y="4439265"/>
              <a:ext cx="72304" cy="61504"/>
            </a:xfrm>
            <a:custGeom>
              <a:avLst/>
              <a:gdLst>
                <a:gd name="T0" fmla="*/ 18 w 33"/>
                <a:gd name="T1" fmla="*/ 27 h 29"/>
                <a:gd name="T2" fmla="*/ 15 w 33"/>
                <a:gd name="T3" fmla="*/ 28 h 29"/>
                <a:gd name="T4" fmla="*/ 7 w 33"/>
                <a:gd name="T5" fmla="*/ 24 h 29"/>
                <a:gd name="T6" fmla="*/ 5 w 33"/>
                <a:gd name="T7" fmla="*/ 29 h 29"/>
                <a:gd name="T8" fmla="*/ 0 w 33"/>
                <a:gd name="T9" fmla="*/ 17 h 29"/>
                <a:gd name="T10" fmla="*/ 2 w 33"/>
                <a:gd name="T11" fmla="*/ 16 h 29"/>
                <a:gd name="T12" fmla="*/ 1 w 33"/>
                <a:gd name="T13" fmla="*/ 10 h 29"/>
                <a:gd name="T14" fmla="*/ 6 w 33"/>
                <a:gd name="T15" fmla="*/ 0 h 29"/>
                <a:gd name="T16" fmla="*/ 20 w 33"/>
                <a:gd name="T17" fmla="*/ 3 h 29"/>
                <a:gd name="T18" fmla="*/ 33 w 33"/>
                <a:gd name="T19" fmla="*/ 5 h 29"/>
                <a:gd name="T20" fmla="*/ 27 w 33"/>
                <a:gd name="T21" fmla="*/ 18 h 29"/>
                <a:gd name="T22" fmla="*/ 26 w 33"/>
                <a:gd name="T23" fmla="*/ 19 h 29"/>
                <a:gd name="T24" fmla="*/ 25 w 33"/>
                <a:gd name="T25" fmla="*/ 24 h 29"/>
                <a:gd name="T26" fmla="*/ 23 w 33"/>
                <a:gd name="T27" fmla="*/ 24 h 29"/>
                <a:gd name="T28" fmla="*/ 18 w 33"/>
                <a:gd name="T2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29">
                  <a:moveTo>
                    <a:pt x="18" y="27"/>
                  </a:moveTo>
                  <a:lnTo>
                    <a:pt x="15" y="28"/>
                  </a:lnTo>
                  <a:lnTo>
                    <a:pt x="7" y="24"/>
                  </a:lnTo>
                  <a:lnTo>
                    <a:pt x="5" y="29"/>
                  </a:lnTo>
                  <a:lnTo>
                    <a:pt x="0" y="17"/>
                  </a:lnTo>
                  <a:lnTo>
                    <a:pt x="2" y="16"/>
                  </a:lnTo>
                  <a:lnTo>
                    <a:pt x="1" y="10"/>
                  </a:lnTo>
                  <a:lnTo>
                    <a:pt x="6" y="0"/>
                  </a:lnTo>
                  <a:lnTo>
                    <a:pt x="20" y="3"/>
                  </a:lnTo>
                  <a:lnTo>
                    <a:pt x="33" y="5"/>
                  </a:lnTo>
                  <a:lnTo>
                    <a:pt x="27" y="18"/>
                  </a:lnTo>
                  <a:lnTo>
                    <a:pt x="26" y="19"/>
                  </a:lnTo>
                  <a:lnTo>
                    <a:pt x="25" y="24"/>
                  </a:lnTo>
                  <a:lnTo>
                    <a:pt x="23" y="24"/>
                  </a:lnTo>
                  <a:lnTo>
                    <a:pt x="18" y="2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41" name="Freeform 255">
              <a:extLst>
                <a:ext uri="{FF2B5EF4-FFF2-40B4-BE49-F238E27FC236}">
                  <a16:creationId xmlns:a16="http://schemas.microsoft.com/office/drawing/2014/main" id="{EB96E8C5-526F-4C12-9669-394FB3E7C27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0909" y="5119797"/>
              <a:ext cx="251160" cy="289672"/>
            </a:xfrm>
            <a:custGeom>
              <a:avLst/>
              <a:gdLst>
                <a:gd name="T0" fmla="*/ 6 w 118"/>
                <a:gd name="T1" fmla="*/ 12 h 131"/>
                <a:gd name="T2" fmla="*/ 2 w 118"/>
                <a:gd name="T3" fmla="*/ 30 h 131"/>
                <a:gd name="T4" fmla="*/ 0 w 118"/>
                <a:gd name="T5" fmla="*/ 47 h 131"/>
                <a:gd name="T6" fmla="*/ 13 w 118"/>
                <a:gd name="T7" fmla="*/ 60 h 131"/>
                <a:gd name="T8" fmla="*/ 28 w 118"/>
                <a:gd name="T9" fmla="*/ 73 h 131"/>
                <a:gd name="T10" fmla="*/ 38 w 118"/>
                <a:gd name="T11" fmla="*/ 78 h 131"/>
                <a:gd name="T12" fmla="*/ 50 w 118"/>
                <a:gd name="T13" fmla="*/ 84 h 131"/>
                <a:gd name="T14" fmla="*/ 62 w 118"/>
                <a:gd name="T15" fmla="*/ 91 h 131"/>
                <a:gd name="T16" fmla="*/ 76 w 118"/>
                <a:gd name="T17" fmla="*/ 98 h 131"/>
                <a:gd name="T18" fmla="*/ 70 w 118"/>
                <a:gd name="T19" fmla="*/ 114 h 131"/>
                <a:gd name="T20" fmla="*/ 65 w 118"/>
                <a:gd name="T21" fmla="*/ 128 h 131"/>
                <a:gd name="T22" fmla="*/ 82 w 118"/>
                <a:gd name="T23" fmla="*/ 129 h 131"/>
                <a:gd name="T24" fmla="*/ 97 w 118"/>
                <a:gd name="T25" fmla="*/ 131 h 131"/>
                <a:gd name="T26" fmla="*/ 107 w 118"/>
                <a:gd name="T27" fmla="*/ 127 h 131"/>
                <a:gd name="T28" fmla="*/ 118 w 118"/>
                <a:gd name="T29" fmla="*/ 110 h 131"/>
                <a:gd name="T30" fmla="*/ 116 w 118"/>
                <a:gd name="T31" fmla="*/ 101 h 131"/>
                <a:gd name="T32" fmla="*/ 116 w 118"/>
                <a:gd name="T33" fmla="*/ 87 h 131"/>
                <a:gd name="T34" fmla="*/ 118 w 118"/>
                <a:gd name="T35" fmla="*/ 74 h 131"/>
                <a:gd name="T36" fmla="*/ 109 w 118"/>
                <a:gd name="T37" fmla="*/ 74 h 131"/>
                <a:gd name="T38" fmla="*/ 102 w 118"/>
                <a:gd name="T39" fmla="*/ 74 h 131"/>
                <a:gd name="T40" fmla="*/ 98 w 118"/>
                <a:gd name="T41" fmla="*/ 61 h 131"/>
                <a:gd name="T42" fmla="*/ 94 w 118"/>
                <a:gd name="T43" fmla="*/ 48 h 131"/>
                <a:gd name="T44" fmla="*/ 84 w 118"/>
                <a:gd name="T45" fmla="*/ 47 h 131"/>
                <a:gd name="T46" fmla="*/ 64 w 118"/>
                <a:gd name="T47" fmla="*/ 43 h 131"/>
                <a:gd name="T48" fmla="*/ 61 w 118"/>
                <a:gd name="T49" fmla="*/ 20 h 131"/>
                <a:gd name="T50" fmla="*/ 59 w 118"/>
                <a:gd name="T51" fmla="*/ 13 h 131"/>
                <a:gd name="T52" fmla="*/ 59 w 118"/>
                <a:gd name="T53" fmla="*/ 11 h 131"/>
                <a:gd name="T54" fmla="*/ 44 w 118"/>
                <a:gd name="T55" fmla="*/ 0 h 131"/>
                <a:gd name="T56" fmla="*/ 26 w 118"/>
                <a:gd name="T57" fmla="*/ 2 h 131"/>
                <a:gd name="T58" fmla="*/ 8 w 118"/>
                <a:gd name="T59" fmla="*/ 5 h 131"/>
                <a:gd name="T60" fmla="*/ 6 w 118"/>
                <a:gd name="T61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8" h="131">
                  <a:moveTo>
                    <a:pt x="6" y="12"/>
                  </a:moveTo>
                  <a:lnTo>
                    <a:pt x="2" y="30"/>
                  </a:lnTo>
                  <a:lnTo>
                    <a:pt x="0" y="47"/>
                  </a:lnTo>
                  <a:lnTo>
                    <a:pt x="13" y="60"/>
                  </a:lnTo>
                  <a:lnTo>
                    <a:pt x="28" y="73"/>
                  </a:lnTo>
                  <a:lnTo>
                    <a:pt x="38" y="78"/>
                  </a:lnTo>
                  <a:lnTo>
                    <a:pt x="50" y="84"/>
                  </a:lnTo>
                  <a:lnTo>
                    <a:pt x="62" y="91"/>
                  </a:lnTo>
                  <a:lnTo>
                    <a:pt x="76" y="98"/>
                  </a:lnTo>
                  <a:lnTo>
                    <a:pt x="70" y="114"/>
                  </a:lnTo>
                  <a:lnTo>
                    <a:pt x="65" y="128"/>
                  </a:lnTo>
                  <a:lnTo>
                    <a:pt x="82" y="129"/>
                  </a:lnTo>
                  <a:lnTo>
                    <a:pt x="97" y="131"/>
                  </a:lnTo>
                  <a:lnTo>
                    <a:pt x="107" y="127"/>
                  </a:lnTo>
                  <a:lnTo>
                    <a:pt x="118" y="110"/>
                  </a:lnTo>
                  <a:lnTo>
                    <a:pt x="116" y="101"/>
                  </a:lnTo>
                  <a:lnTo>
                    <a:pt x="116" y="87"/>
                  </a:lnTo>
                  <a:lnTo>
                    <a:pt x="118" y="74"/>
                  </a:lnTo>
                  <a:lnTo>
                    <a:pt x="109" y="74"/>
                  </a:lnTo>
                  <a:lnTo>
                    <a:pt x="102" y="74"/>
                  </a:lnTo>
                  <a:lnTo>
                    <a:pt x="98" y="61"/>
                  </a:lnTo>
                  <a:lnTo>
                    <a:pt x="94" y="48"/>
                  </a:lnTo>
                  <a:lnTo>
                    <a:pt x="84" y="47"/>
                  </a:lnTo>
                  <a:lnTo>
                    <a:pt x="64" y="43"/>
                  </a:lnTo>
                  <a:lnTo>
                    <a:pt x="61" y="20"/>
                  </a:lnTo>
                  <a:lnTo>
                    <a:pt x="59" y="13"/>
                  </a:lnTo>
                  <a:lnTo>
                    <a:pt x="59" y="11"/>
                  </a:lnTo>
                  <a:lnTo>
                    <a:pt x="44" y="0"/>
                  </a:lnTo>
                  <a:lnTo>
                    <a:pt x="26" y="2"/>
                  </a:lnTo>
                  <a:lnTo>
                    <a:pt x="8" y="5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50" name="Freeform 264">
              <a:extLst>
                <a:ext uri="{FF2B5EF4-FFF2-40B4-BE49-F238E27FC236}">
                  <a16:creationId xmlns:a16="http://schemas.microsoft.com/office/drawing/2014/main" id="{BF384C9C-C06F-474B-80EE-E78F15C07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5960" y="5502718"/>
              <a:ext cx="146511" cy="172613"/>
            </a:xfrm>
            <a:custGeom>
              <a:avLst/>
              <a:gdLst>
                <a:gd name="T0" fmla="*/ 67 w 69"/>
                <a:gd name="T1" fmla="*/ 39 h 77"/>
                <a:gd name="T2" fmla="*/ 53 w 69"/>
                <a:gd name="T3" fmla="*/ 29 h 77"/>
                <a:gd name="T4" fmla="*/ 38 w 69"/>
                <a:gd name="T5" fmla="*/ 18 h 77"/>
                <a:gd name="T6" fmla="*/ 30 w 69"/>
                <a:gd name="T7" fmla="*/ 13 h 77"/>
                <a:gd name="T8" fmla="*/ 26 w 69"/>
                <a:gd name="T9" fmla="*/ 13 h 77"/>
                <a:gd name="T10" fmla="*/ 9 w 69"/>
                <a:gd name="T11" fmla="*/ 0 h 77"/>
                <a:gd name="T12" fmla="*/ 2 w 69"/>
                <a:gd name="T13" fmla="*/ 1 h 77"/>
                <a:gd name="T14" fmla="*/ 2 w 69"/>
                <a:gd name="T15" fmla="*/ 2 h 77"/>
                <a:gd name="T16" fmla="*/ 1 w 69"/>
                <a:gd name="T17" fmla="*/ 19 h 77"/>
                <a:gd name="T18" fmla="*/ 0 w 69"/>
                <a:gd name="T19" fmla="*/ 37 h 77"/>
                <a:gd name="T20" fmla="*/ 1 w 69"/>
                <a:gd name="T21" fmla="*/ 39 h 77"/>
                <a:gd name="T22" fmla="*/ 0 w 69"/>
                <a:gd name="T23" fmla="*/ 53 h 77"/>
                <a:gd name="T24" fmla="*/ 7 w 69"/>
                <a:gd name="T25" fmla="*/ 66 h 77"/>
                <a:gd name="T26" fmla="*/ 24 w 69"/>
                <a:gd name="T27" fmla="*/ 73 h 77"/>
                <a:gd name="T28" fmla="*/ 47 w 69"/>
                <a:gd name="T29" fmla="*/ 77 h 77"/>
                <a:gd name="T30" fmla="*/ 60 w 69"/>
                <a:gd name="T31" fmla="*/ 72 h 77"/>
                <a:gd name="T32" fmla="*/ 69 w 69"/>
                <a:gd name="T33" fmla="*/ 57 h 77"/>
                <a:gd name="T34" fmla="*/ 66 w 69"/>
                <a:gd name="T35" fmla="*/ 47 h 77"/>
                <a:gd name="T36" fmla="*/ 67 w 69"/>
                <a:gd name="T37" fmla="*/ 3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9" h="77">
                  <a:moveTo>
                    <a:pt x="67" y="39"/>
                  </a:moveTo>
                  <a:lnTo>
                    <a:pt x="53" y="29"/>
                  </a:lnTo>
                  <a:lnTo>
                    <a:pt x="38" y="18"/>
                  </a:lnTo>
                  <a:lnTo>
                    <a:pt x="30" y="13"/>
                  </a:lnTo>
                  <a:lnTo>
                    <a:pt x="26" y="13"/>
                  </a:lnTo>
                  <a:lnTo>
                    <a:pt x="9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1" y="19"/>
                  </a:lnTo>
                  <a:lnTo>
                    <a:pt x="0" y="37"/>
                  </a:lnTo>
                  <a:lnTo>
                    <a:pt x="1" y="39"/>
                  </a:lnTo>
                  <a:lnTo>
                    <a:pt x="0" y="53"/>
                  </a:lnTo>
                  <a:lnTo>
                    <a:pt x="7" y="66"/>
                  </a:lnTo>
                  <a:lnTo>
                    <a:pt x="24" y="73"/>
                  </a:lnTo>
                  <a:lnTo>
                    <a:pt x="47" y="77"/>
                  </a:lnTo>
                  <a:lnTo>
                    <a:pt x="60" y="72"/>
                  </a:lnTo>
                  <a:lnTo>
                    <a:pt x="69" y="57"/>
                  </a:lnTo>
                  <a:lnTo>
                    <a:pt x="66" y="47"/>
                  </a:lnTo>
                  <a:lnTo>
                    <a:pt x="67" y="3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51" name="Freeform 265">
              <a:extLst>
                <a:ext uri="{FF2B5EF4-FFF2-40B4-BE49-F238E27FC236}">
                  <a16:creationId xmlns:a16="http://schemas.microsoft.com/office/drawing/2014/main" id="{B724640A-9BF5-4545-8075-70A64E0401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0149" y="5207096"/>
              <a:ext cx="460460" cy="1077341"/>
            </a:xfrm>
            <a:custGeom>
              <a:avLst/>
              <a:gdLst>
                <a:gd name="T0" fmla="*/ 121 w 218"/>
                <a:gd name="T1" fmla="*/ 309 h 488"/>
                <a:gd name="T2" fmla="*/ 118 w 218"/>
                <a:gd name="T3" fmla="*/ 328 h 488"/>
                <a:gd name="T4" fmla="*/ 127 w 218"/>
                <a:gd name="T5" fmla="*/ 329 h 488"/>
                <a:gd name="T6" fmla="*/ 135 w 218"/>
                <a:gd name="T7" fmla="*/ 338 h 488"/>
                <a:gd name="T8" fmla="*/ 118 w 218"/>
                <a:gd name="T9" fmla="*/ 335 h 488"/>
                <a:gd name="T10" fmla="*/ 118 w 218"/>
                <a:gd name="T11" fmla="*/ 353 h 488"/>
                <a:gd name="T12" fmla="*/ 118 w 218"/>
                <a:gd name="T13" fmla="*/ 372 h 488"/>
                <a:gd name="T14" fmla="*/ 104 w 218"/>
                <a:gd name="T15" fmla="*/ 395 h 488"/>
                <a:gd name="T16" fmla="*/ 132 w 218"/>
                <a:gd name="T17" fmla="*/ 410 h 488"/>
                <a:gd name="T18" fmla="*/ 132 w 218"/>
                <a:gd name="T19" fmla="*/ 419 h 488"/>
                <a:gd name="T20" fmla="*/ 118 w 218"/>
                <a:gd name="T21" fmla="*/ 440 h 488"/>
                <a:gd name="T22" fmla="*/ 110 w 218"/>
                <a:gd name="T23" fmla="*/ 449 h 488"/>
                <a:gd name="T24" fmla="*/ 114 w 218"/>
                <a:gd name="T25" fmla="*/ 454 h 488"/>
                <a:gd name="T26" fmla="*/ 108 w 218"/>
                <a:gd name="T27" fmla="*/ 466 h 488"/>
                <a:gd name="T28" fmla="*/ 111 w 218"/>
                <a:gd name="T29" fmla="*/ 476 h 488"/>
                <a:gd name="T30" fmla="*/ 128 w 218"/>
                <a:gd name="T31" fmla="*/ 488 h 488"/>
                <a:gd name="T32" fmla="*/ 81 w 218"/>
                <a:gd name="T33" fmla="*/ 479 h 488"/>
                <a:gd name="T34" fmla="*/ 66 w 218"/>
                <a:gd name="T35" fmla="*/ 461 h 488"/>
                <a:gd name="T36" fmla="*/ 46 w 218"/>
                <a:gd name="T37" fmla="*/ 441 h 488"/>
                <a:gd name="T38" fmla="*/ 52 w 218"/>
                <a:gd name="T39" fmla="*/ 410 h 488"/>
                <a:gd name="T40" fmla="*/ 48 w 218"/>
                <a:gd name="T41" fmla="*/ 380 h 488"/>
                <a:gd name="T42" fmla="*/ 39 w 218"/>
                <a:gd name="T43" fmla="*/ 369 h 488"/>
                <a:gd name="T44" fmla="*/ 38 w 218"/>
                <a:gd name="T45" fmla="*/ 360 h 488"/>
                <a:gd name="T46" fmla="*/ 25 w 218"/>
                <a:gd name="T47" fmla="*/ 334 h 488"/>
                <a:gd name="T48" fmla="*/ 19 w 218"/>
                <a:gd name="T49" fmla="*/ 300 h 488"/>
                <a:gd name="T50" fmla="*/ 20 w 218"/>
                <a:gd name="T51" fmla="*/ 273 h 488"/>
                <a:gd name="T52" fmla="*/ 15 w 218"/>
                <a:gd name="T53" fmla="*/ 250 h 488"/>
                <a:gd name="T54" fmla="*/ 18 w 218"/>
                <a:gd name="T55" fmla="*/ 226 h 488"/>
                <a:gd name="T56" fmla="*/ 16 w 218"/>
                <a:gd name="T57" fmla="*/ 195 h 488"/>
                <a:gd name="T58" fmla="*/ 7 w 218"/>
                <a:gd name="T59" fmla="*/ 172 h 488"/>
                <a:gd name="T60" fmla="*/ 1 w 218"/>
                <a:gd name="T61" fmla="*/ 149 h 488"/>
                <a:gd name="T62" fmla="*/ 2 w 218"/>
                <a:gd name="T63" fmla="*/ 128 h 488"/>
                <a:gd name="T64" fmla="*/ 7 w 218"/>
                <a:gd name="T65" fmla="*/ 101 h 488"/>
                <a:gd name="T66" fmla="*/ 16 w 218"/>
                <a:gd name="T67" fmla="*/ 82 h 488"/>
                <a:gd name="T68" fmla="*/ 9 w 218"/>
                <a:gd name="T69" fmla="*/ 51 h 488"/>
                <a:gd name="T70" fmla="*/ 24 w 218"/>
                <a:gd name="T71" fmla="*/ 36 h 488"/>
                <a:gd name="T72" fmla="*/ 24 w 218"/>
                <a:gd name="T73" fmla="*/ 17 h 488"/>
                <a:gd name="T74" fmla="*/ 38 w 218"/>
                <a:gd name="T75" fmla="*/ 3 h 488"/>
                <a:gd name="T76" fmla="*/ 62 w 218"/>
                <a:gd name="T77" fmla="*/ 16 h 488"/>
                <a:gd name="T78" fmla="*/ 82 w 218"/>
                <a:gd name="T79" fmla="*/ 4 h 488"/>
                <a:gd name="T80" fmla="*/ 99 w 218"/>
                <a:gd name="T81" fmla="*/ 21 h 488"/>
                <a:gd name="T82" fmla="*/ 124 w 218"/>
                <a:gd name="T83" fmla="*/ 39 h 488"/>
                <a:gd name="T84" fmla="*/ 148 w 218"/>
                <a:gd name="T85" fmla="*/ 52 h 488"/>
                <a:gd name="T86" fmla="*/ 156 w 218"/>
                <a:gd name="T87" fmla="*/ 75 h 488"/>
                <a:gd name="T88" fmla="*/ 168 w 218"/>
                <a:gd name="T89" fmla="*/ 90 h 488"/>
                <a:gd name="T90" fmla="*/ 193 w 218"/>
                <a:gd name="T91" fmla="*/ 88 h 488"/>
                <a:gd name="T92" fmla="*/ 202 w 218"/>
                <a:gd name="T93" fmla="*/ 62 h 488"/>
                <a:gd name="T94" fmla="*/ 218 w 218"/>
                <a:gd name="T95" fmla="*/ 82 h 488"/>
                <a:gd name="T96" fmla="*/ 200 w 218"/>
                <a:gd name="T97" fmla="*/ 98 h 488"/>
                <a:gd name="T98" fmla="*/ 186 w 218"/>
                <a:gd name="T99" fmla="*/ 117 h 488"/>
                <a:gd name="T100" fmla="*/ 170 w 218"/>
                <a:gd name="T101" fmla="*/ 136 h 488"/>
                <a:gd name="T102" fmla="*/ 170 w 218"/>
                <a:gd name="T103" fmla="*/ 154 h 488"/>
                <a:gd name="T104" fmla="*/ 171 w 218"/>
                <a:gd name="T105" fmla="*/ 183 h 488"/>
                <a:gd name="T106" fmla="*/ 174 w 218"/>
                <a:gd name="T107" fmla="*/ 208 h 488"/>
                <a:gd name="T108" fmla="*/ 194 w 218"/>
                <a:gd name="T109" fmla="*/ 232 h 488"/>
                <a:gd name="T110" fmla="*/ 198 w 218"/>
                <a:gd name="T111" fmla="*/ 252 h 488"/>
                <a:gd name="T112" fmla="*/ 181 w 218"/>
                <a:gd name="T113" fmla="*/ 269 h 488"/>
                <a:gd name="T114" fmla="*/ 158 w 218"/>
                <a:gd name="T115" fmla="*/ 274 h 488"/>
                <a:gd name="T116" fmla="*/ 136 w 218"/>
                <a:gd name="T117" fmla="*/ 276 h 488"/>
                <a:gd name="T118" fmla="*/ 142 w 218"/>
                <a:gd name="T119" fmla="*/ 302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8" h="488">
                  <a:moveTo>
                    <a:pt x="140" y="310"/>
                  </a:moveTo>
                  <a:lnTo>
                    <a:pt x="121" y="309"/>
                  </a:lnTo>
                  <a:lnTo>
                    <a:pt x="108" y="306"/>
                  </a:lnTo>
                  <a:lnTo>
                    <a:pt x="118" y="328"/>
                  </a:lnTo>
                  <a:lnTo>
                    <a:pt x="122" y="330"/>
                  </a:lnTo>
                  <a:lnTo>
                    <a:pt x="127" y="329"/>
                  </a:lnTo>
                  <a:lnTo>
                    <a:pt x="130" y="327"/>
                  </a:lnTo>
                  <a:lnTo>
                    <a:pt x="135" y="338"/>
                  </a:lnTo>
                  <a:lnTo>
                    <a:pt x="128" y="335"/>
                  </a:lnTo>
                  <a:lnTo>
                    <a:pt x="118" y="335"/>
                  </a:lnTo>
                  <a:lnTo>
                    <a:pt x="128" y="341"/>
                  </a:lnTo>
                  <a:lnTo>
                    <a:pt x="118" y="353"/>
                  </a:lnTo>
                  <a:lnTo>
                    <a:pt x="120" y="366"/>
                  </a:lnTo>
                  <a:lnTo>
                    <a:pt x="118" y="372"/>
                  </a:lnTo>
                  <a:lnTo>
                    <a:pt x="104" y="381"/>
                  </a:lnTo>
                  <a:lnTo>
                    <a:pt x="104" y="395"/>
                  </a:lnTo>
                  <a:lnTo>
                    <a:pt x="124" y="406"/>
                  </a:lnTo>
                  <a:lnTo>
                    <a:pt x="132" y="410"/>
                  </a:lnTo>
                  <a:lnTo>
                    <a:pt x="127" y="418"/>
                  </a:lnTo>
                  <a:lnTo>
                    <a:pt x="132" y="419"/>
                  </a:lnTo>
                  <a:lnTo>
                    <a:pt x="124" y="430"/>
                  </a:lnTo>
                  <a:lnTo>
                    <a:pt x="118" y="440"/>
                  </a:lnTo>
                  <a:lnTo>
                    <a:pt x="117" y="452"/>
                  </a:lnTo>
                  <a:lnTo>
                    <a:pt x="110" y="449"/>
                  </a:lnTo>
                  <a:lnTo>
                    <a:pt x="106" y="450"/>
                  </a:lnTo>
                  <a:lnTo>
                    <a:pt x="114" y="454"/>
                  </a:lnTo>
                  <a:lnTo>
                    <a:pt x="109" y="462"/>
                  </a:lnTo>
                  <a:lnTo>
                    <a:pt x="108" y="466"/>
                  </a:lnTo>
                  <a:lnTo>
                    <a:pt x="114" y="476"/>
                  </a:lnTo>
                  <a:lnTo>
                    <a:pt x="111" y="476"/>
                  </a:lnTo>
                  <a:lnTo>
                    <a:pt x="120" y="480"/>
                  </a:lnTo>
                  <a:lnTo>
                    <a:pt x="128" y="488"/>
                  </a:lnTo>
                  <a:lnTo>
                    <a:pt x="106" y="482"/>
                  </a:lnTo>
                  <a:lnTo>
                    <a:pt x="81" y="479"/>
                  </a:lnTo>
                  <a:lnTo>
                    <a:pt x="74" y="473"/>
                  </a:lnTo>
                  <a:lnTo>
                    <a:pt x="66" y="461"/>
                  </a:lnTo>
                  <a:lnTo>
                    <a:pt x="58" y="461"/>
                  </a:lnTo>
                  <a:lnTo>
                    <a:pt x="46" y="441"/>
                  </a:lnTo>
                  <a:lnTo>
                    <a:pt x="54" y="431"/>
                  </a:lnTo>
                  <a:lnTo>
                    <a:pt x="52" y="410"/>
                  </a:lnTo>
                  <a:lnTo>
                    <a:pt x="49" y="392"/>
                  </a:lnTo>
                  <a:lnTo>
                    <a:pt x="48" y="380"/>
                  </a:lnTo>
                  <a:lnTo>
                    <a:pt x="45" y="372"/>
                  </a:lnTo>
                  <a:lnTo>
                    <a:pt x="39" y="369"/>
                  </a:lnTo>
                  <a:lnTo>
                    <a:pt x="48" y="366"/>
                  </a:lnTo>
                  <a:lnTo>
                    <a:pt x="38" y="360"/>
                  </a:lnTo>
                  <a:lnTo>
                    <a:pt x="32" y="342"/>
                  </a:lnTo>
                  <a:lnTo>
                    <a:pt x="25" y="334"/>
                  </a:lnTo>
                  <a:lnTo>
                    <a:pt x="25" y="322"/>
                  </a:lnTo>
                  <a:lnTo>
                    <a:pt x="19" y="300"/>
                  </a:lnTo>
                  <a:lnTo>
                    <a:pt x="18" y="284"/>
                  </a:lnTo>
                  <a:lnTo>
                    <a:pt x="20" y="273"/>
                  </a:lnTo>
                  <a:lnTo>
                    <a:pt x="19" y="263"/>
                  </a:lnTo>
                  <a:lnTo>
                    <a:pt x="15" y="250"/>
                  </a:lnTo>
                  <a:lnTo>
                    <a:pt x="10" y="237"/>
                  </a:lnTo>
                  <a:lnTo>
                    <a:pt x="18" y="226"/>
                  </a:lnTo>
                  <a:lnTo>
                    <a:pt x="14" y="215"/>
                  </a:lnTo>
                  <a:lnTo>
                    <a:pt x="16" y="195"/>
                  </a:lnTo>
                  <a:lnTo>
                    <a:pt x="13" y="185"/>
                  </a:lnTo>
                  <a:lnTo>
                    <a:pt x="7" y="172"/>
                  </a:lnTo>
                  <a:lnTo>
                    <a:pt x="0" y="159"/>
                  </a:lnTo>
                  <a:lnTo>
                    <a:pt x="1" y="149"/>
                  </a:lnTo>
                  <a:lnTo>
                    <a:pt x="2" y="138"/>
                  </a:lnTo>
                  <a:lnTo>
                    <a:pt x="2" y="128"/>
                  </a:lnTo>
                  <a:lnTo>
                    <a:pt x="1" y="116"/>
                  </a:lnTo>
                  <a:lnTo>
                    <a:pt x="7" y="101"/>
                  </a:lnTo>
                  <a:lnTo>
                    <a:pt x="13" y="87"/>
                  </a:lnTo>
                  <a:lnTo>
                    <a:pt x="16" y="82"/>
                  </a:lnTo>
                  <a:lnTo>
                    <a:pt x="12" y="74"/>
                  </a:lnTo>
                  <a:lnTo>
                    <a:pt x="9" y="51"/>
                  </a:lnTo>
                  <a:lnTo>
                    <a:pt x="12" y="42"/>
                  </a:lnTo>
                  <a:lnTo>
                    <a:pt x="24" y="36"/>
                  </a:lnTo>
                  <a:lnTo>
                    <a:pt x="26" y="20"/>
                  </a:lnTo>
                  <a:lnTo>
                    <a:pt x="24" y="17"/>
                  </a:lnTo>
                  <a:lnTo>
                    <a:pt x="34" y="0"/>
                  </a:lnTo>
                  <a:lnTo>
                    <a:pt x="38" y="3"/>
                  </a:lnTo>
                  <a:lnTo>
                    <a:pt x="55" y="6"/>
                  </a:lnTo>
                  <a:lnTo>
                    <a:pt x="62" y="16"/>
                  </a:lnTo>
                  <a:lnTo>
                    <a:pt x="67" y="6"/>
                  </a:lnTo>
                  <a:lnTo>
                    <a:pt x="82" y="4"/>
                  </a:lnTo>
                  <a:lnTo>
                    <a:pt x="86" y="8"/>
                  </a:lnTo>
                  <a:lnTo>
                    <a:pt x="99" y="21"/>
                  </a:lnTo>
                  <a:lnTo>
                    <a:pt x="114" y="34"/>
                  </a:lnTo>
                  <a:lnTo>
                    <a:pt x="124" y="39"/>
                  </a:lnTo>
                  <a:lnTo>
                    <a:pt x="136" y="45"/>
                  </a:lnTo>
                  <a:lnTo>
                    <a:pt x="148" y="52"/>
                  </a:lnTo>
                  <a:lnTo>
                    <a:pt x="162" y="59"/>
                  </a:lnTo>
                  <a:lnTo>
                    <a:pt x="156" y="75"/>
                  </a:lnTo>
                  <a:lnTo>
                    <a:pt x="151" y="89"/>
                  </a:lnTo>
                  <a:lnTo>
                    <a:pt x="168" y="90"/>
                  </a:lnTo>
                  <a:lnTo>
                    <a:pt x="183" y="92"/>
                  </a:lnTo>
                  <a:lnTo>
                    <a:pt x="193" y="88"/>
                  </a:lnTo>
                  <a:lnTo>
                    <a:pt x="204" y="71"/>
                  </a:lnTo>
                  <a:lnTo>
                    <a:pt x="202" y="62"/>
                  </a:lnTo>
                  <a:lnTo>
                    <a:pt x="211" y="62"/>
                  </a:lnTo>
                  <a:lnTo>
                    <a:pt x="218" y="82"/>
                  </a:lnTo>
                  <a:lnTo>
                    <a:pt x="208" y="90"/>
                  </a:lnTo>
                  <a:lnTo>
                    <a:pt x="200" y="98"/>
                  </a:lnTo>
                  <a:lnTo>
                    <a:pt x="193" y="107"/>
                  </a:lnTo>
                  <a:lnTo>
                    <a:pt x="186" y="117"/>
                  </a:lnTo>
                  <a:lnTo>
                    <a:pt x="177" y="126"/>
                  </a:lnTo>
                  <a:lnTo>
                    <a:pt x="170" y="136"/>
                  </a:lnTo>
                  <a:lnTo>
                    <a:pt x="171" y="137"/>
                  </a:lnTo>
                  <a:lnTo>
                    <a:pt x="170" y="154"/>
                  </a:lnTo>
                  <a:lnTo>
                    <a:pt x="169" y="172"/>
                  </a:lnTo>
                  <a:lnTo>
                    <a:pt x="171" y="183"/>
                  </a:lnTo>
                  <a:lnTo>
                    <a:pt x="168" y="189"/>
                  </a:lnTo>
                  <a:lnTo>
                    <a:pt x="174" y="208"/>
                  </a:lnTo>
                  <a:lnTo>
                    <a:pt x="193" y="220"/>
                  </a:lnTo>
                  <a:lnTo>
                    <a:pt x="194" y="232"/>
                  </a:lnTo>
                  <a:lnTo>
                    <a:pt x="202" y="238"/>
                  </a:lnTo>
                  <a:lnTo>
                    <a:pt x="198" y="252"/>
                  </a:lnTo>
                  <a:lnTo>
                    <a:pt x="192" y="266"/>
                  </a:lnTo>
                  <a:lnTo>
                    <a:pt x="181" y="269"/>
                  </a:lnTo>
                  <a:lnTo>
                    <a:pt x="169" y="272"/>
                  </a:lnTo>
                  <a:lnTo>
                    <a:pt x="158" y="274"/>
                  </a:lnTo>
                  <a:lnTo>
                    <a:pt x="146" y="278"/>
                  </a:lnTo>
                  <a:lnTo>
                    <a:pt x="136" y="276"/>
                  </a:lnTo>
                  <a:lnTo>
                    <a:pt x="139" y="282"/>
                  </a:lnTo>
                  <a:lnTo>
                    <a:pt x="142" y="302"/>
                  </a:lnTo>
                  <a:lnTo>
                    <a:pt x="140" y="31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52" name="Freeform 266">
              <a:extLst>
                <a:ext uri="{FF2B5EF4-FFF2-40B4-BE49-F238E27FC236}">
                  <a16:creationId xmlns:a16="http://schemas.microsoft.com/office/drawing/2014/main" id="{E0E01C60-6B11-4E7E-881B-894483444DE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6532" y="6294356"/>
              <a:ext cx="114163" cy="73410"/>
            </a:xfrm>
            <a:custGeom>
              <a:avLst/>
              <a:gdLst>
                <a:gd name="T0" fmla="*/ 5 w 54"/>
                <a:gd name="T1" fmla="*/ 6 h 34"/>
                <a:gd name="T2" fmla="*/ 0 w 54"/>
                <a:gd name="T3" fmla="*/ 0 h 34"/>
                <a:gd name="T4" fmla="*/ 7 w 54"/>
                <a:gd name="T5" fmla="*/ 17 h 34"/>
                <a:gd name="T6" fmla="*/ 14 w 54"/>
                <a:gd name="T7" fmla="*/ 34 h 34"/>
                <a:gd name="T8" fmla="*/ 33 w 54"/>
                <a:gd name="T9" fmla="*/ 34 h 34"/>
                <a:gd name="T10" fmla="*/ 54 w 54"/>
                <a:gd name="T11" fmla="*/ 34 h 34"/>
                <a:gd name="T12" fmla="*/ 51 w 54"/>
                <a:gd name="T13" fmla="*/ 30 h 34"/>
                <a:gd name="T14" fmla="*/ 24 w 54"/>
                <a:gd name="T15" fmla="*/ 21 h 34"/>
                <a:gd name="T16" fmla="*/ 5 w 54"/>
                <a:gd name="T17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34">
                  <a:moveTo>
                    <a:pt x="5" y="6"/>
                  </a:moveTo>
                  <a:lnTo>
                    <a:pt x="0" y="0"/>
                  </a:lnTo>
                  <a:lnTo>
                    <a:pt x="7" y="17"/>
                  </a:lnTo>
                  <a:lnTo>
                    <a:pt x="14" y="34"/>
                  </a:lnTo>
                  <a:lnTo>
                    <a:pt x="33" y="34"/>
                  </a:lnTo>
                  <a:lnTo>
                    <a:pt x="54" y="34"/>
                  </a:lnTo>
                  <a:lnTo>
                    <a:pt x="51" y="30"/>
                  </a:lnTo>
                  <a:lnTo>
                    <a:pt x="24" y="21"/>
                  </a:lnTo>
                  <a:lnTo>
                    <a:pt x="5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53" name="Freeform 267">
              <a:extLst>
                <a:ext uri="{FF2B5EF4-FFF2-40B4-BE49-F238E27FC236}">
                  <a16:creationId xmlns:a16="http://schemas.microsoft.com/office/drawing/2014/main" id="{DAF5166A-D557-41EF-9DD1-A34C6622316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5456" y="5056308"/>
              <a:ext cx="334879" cy="1277731"/>
            </a:xfrm>
            <a:custGeom>
              <a:avLst/>
              <a:gdLst>
                <a:gd name="T0" fmla="*/ 15 w 157"/>
                <a:gd name="T1" fmla="*/ 229 h 578"/>
                <a:gd name="T2" fmla="*/ 18 w 157"/>
                <a:gd name="T3" fmla="*/ 268 h 578"/>
                <a:gd name="T4" fmla="*/ 13 w 157"/>
                <a:gd name="T5" fmla="*/ 311 h 578"/>
                <a:gd name="T6" fmla="*/ 19 w 157"/>
                <a:gd name="T7" fmla="*/ 343 h 578"/>
                <a:gd name="T8" fmla="*/ 30 w 157"/>
                <a:gd name="T9" fmla="*/ 386 h 578"/>
                <a:gd name="T10" fmla="*/ 42 w 157"/>
                <a:gd name="T11" fmla="*/ 386 h 578"/>
                <a:gd name="T12" fmla="*/ 48 w 157"/>
                <a:gd name="T13" fmla="*/ 397 h 578"/>
                <a:gd name="T14" fmla="*/ 48 w 157"/>
                <a:gd name="T15" fmla="*/ 410 h 578"/>
                <a:gd name="T16" fmla="*/ 56 w 157"/>
                <a:gd name="T17" fmla="*/ 433 h 578"/>
                <a:gd name="T18" fmla="*/ 54 w 157"/>
                <a:gd name="T19" fmla="*/ 446 h 578"/>
                <a:gd name="T20" fmla="*/ 56 w 157"/>
                <a:gd name="T21" fmla="*/ 458 h 578"/>
                <a:gd name="T22" fmla="*/ 47 w 157"/>
                <a:gd name="T23" fmla="*/ 461 h 578"/>
                <a:gd name="T24" fmla="*/ 39 w 157"/>
                <a:gd name="T25" fmla="*/ 456 h 578"/>
                <a:gd name="T26" fmla="*/ 39 w 157"/>
                <a:gd name="T27" fmla="*/ 466 h 578"/>
                <a:gd name="T28" fmla="*/ 53 w 157"/>
                <a:gd name="T29" fmla="*/ 479 h 578"/>
                <a:gd name="T30" fmla="*/ 62 w 157"/>
                <a:gd name="T31" fmla="*/ 484 h 578"/>
                <a:gd name="T32" fmla="*/ 68 w 157"/>
                <a:gd name="T33" fmla="*/ 492 h 578"/>
                <a:gd name="T34" fmla="*/ 61 w 157"/>
                <a:gd name="T35" fmla="*/ 499 h 578"/>
                <a:gd name="T36" fmla="*/ 71 w 157"/>
                <a:gd name="T37" fmla="*/ 521 h 578"/>
                <a:gd name="T38" fmla="*/ 79 w 157"/>
                <a:gd name="T39" fmla="*/ 533 h 578"/>
                <a:gd name="T40" fmla="*/ 89 w 157"/>
                <a:gd name="T41" fmla="*/ 544 h 578"/>
                <a:gd name="T42" fmla="*/ 92 w 157"/>
                <a:gd name="T43" fmla="*/ 552 h 578"/>
                <a:gd name="T44" fmla="*/ 107 w 157"/>
                <a:gd name="T45" fmla="*/ 566 h 578"/>
                <a:gd name="T46" fmla="*/ 114 w 157"/>
                <a:gd name="T47" fmla="*/ 571 h 578"/>
                <a:gd name="T48" fmla="*/ 143 w 157"/>
                <a:gd name="T49" fmla="*/ 554 h 578"/>
                <a:gd name="T50" fmla="*/ 110 w 157"/>
                <a:gd name="T51" fmla="*/ 547 h 578"/>
                <a:gd name="T52" fmla="*/ 87 w 157"/>
                <a:gd name="T53" fmla="*/ 529 h 578"/>
                <a:gd name="T54" fmla="*/ 81 w 157"/>
                <a:gd name="T55" fmla="*/ 478 h 578"/>
                <a:gd name="T56" fmla="*/ 74 w 157"/>
                <a:gd name="T57" fmla="*/ 440 h 578"/>
                <a:gd name="T58" fmla="*/ 67 w 157"/>
                <a:gd name="T59" fmla="*/ 428 h 578"/>
                <a:gd name="T60" fmla="*/ 54 w 157"/>
                <a:gd name="T61" fmla="*/ 390 h 578"/>
                <a:gd name="T62" fmla="*/ 49 w 157"/>
                <a:gd name="T63" fmla="*/ 341 h 578"/>
                <a:gd name="T64" fmla="*/ 39 w 157"/>
                <a:gd name="T65" fmla="*/ 305 h 578"/>
                <a:gd name="T66" fmla="*/ 45 w 157"/>
                <a:gd name="T67" fmla="*/ 263 h 578"/>
                <a:gd name="T68" fmla="*/ 29 w 157"/>
                <a:gd name="T69" fmla="*/ 227 h 578"/>
                <a:gd name="T70" fmla="*/ 31 w 157"/>
                <a:gd name="T71" fmla="*/ 196 h 578"/>
                <a:gd name="T72" fmla="*/ 42 w 157"/>
                <a:gd name="T73" fmla="*/ 155 h 578"/>
                <a:gd name="T74" fmla="*/ 38 w 157"/>
                <a:gd name="T75" fmla="*/ 119 h 578"/>
                <a:gd name="T76" fmla="*/ 55 w 157"/>
                <a:gd name="T77" fmla="*/ 88 h 578"/>
                <a:gd name="T78" fmla="*/ 37 w 157"/>
                <a:gd name="T79" fmla="*/ 70 h 578"/>
                <a:gd name="T80" fmla="*/ 27 w 157"/>
                <a:gd name="T81" fmla="*/ 29 h 578"/>
                <a:gd name="T82" fmla="*/ 12 w 157"/>
                <a:gd name="T83" fmla="*/ 0 h 578"/>
                <a:gd name="T84" fmla="*/ 0 w 157"/>
                <a:gd name="T85" fmla="*/ 13 h 578"/>
                <a:gd name="T86" fmla="*/ 8 w 157"/>
                <a:gd name="T87" fmla="*/ 72 h 578"/>
                <a:gd name="T88" fmla="*/ 9 w 157"/>
                <a:gd name="T89" fmla="*/ 116 h 578"/>
                <a:gd name="T90" fmla="*/ 9 w 157"/>
                <a:gd name="T91" fmla="*/ 179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7" h="578">
                  <a:moveTo>
                    <a:pt x="11" y="205"/>
                  </a:moveTo>
                  <a:lnTo>
                    <a:pt x="13" y="217"/>
                  </a:lnTo>
                  <a:lnTo>
                    <a:pt x="15" y="229"/>
                  </a:lnTo>
                  <a:lnTo>
                    <a:pt x="18" y="241"/>
                  </a:lnTo>
                  <a:lnTo>
                    <a:pt x="19" y="253"/>
                  </a:lnTo>
                  <a:lnTo>
                    <a:pt x="18" y="268"/>
                  </a:lnTo>
                  <a:lnTo>
                    <a:pt x="15" y="282"/>
                  </a:lnTo>
                  <a:lnTo>
                    <a:pt x="14" y="296"/>
                  </a:lnTo>
                  <a:lnTo>
                    <a:pt x="13" y="311"/>
                  </a:lnTo>
                  <a:lnTo>
                    <a:pt x="9" y="317"/>
                  </a:lnTo>
                  <a:lnTo>
                    <a:pt x="14" y="330"/>
                  </a:lnTo>
                  <a:lnTo>
                    <a:pt x="19" y="343"/>
                  </a:lnTo>
                  <a:lnTo>
                    <a:pt x="23" y="359"/>
                  </a:lnTo>
                  <a:lnTo>
                    <a:pt x="21" y="373"/>
                  </a:lnTo>
                  <a:lnTo>
                    <a:pt x="30" y="386"/>
                  </a:lnTo>
                  <a:lnTo>
                    <a:pt x="31" y="389"/>
                  </a:lnTo>
                  <a:lnTo>
                    <a:pt x="36" y="386"/>
                  </a:lnTo>
                  <a:lnTo>
                    <a:pt x="42" y="386"/>
                  </a:lnTo>
                  <a:lnTo>
                    <a:pt x="45" y="384"/>
                  </a:lnTo>
                  <a:lnTo>
                    <a:pt x="44" y="392"/>
                  </a:lnTo>
                  <a:lnTo>
                    <a:pt x="48" y="397"/>
                  </a:lnTo>
                  <a:lnTo>
                    <a:pt x="45" y="396"/>
                  </a:lnTo>
                  <a:lnTo>
                    <a:pt x="47" y="401"/>
                  </a:lnTo>
                  <a:lnTo>
                    <a:pt x="48" y="410"/>
                  </a:lnTo>
                  <a:lnTo>
                    <a:pt x="49" y="420"/>
                  </a:lnTo>
                  <a:lnTo>
                    <a:pt x="49" y="426"/>
                  </a:lnTo>
                  <a:lnTo>
                    <a:pt x="56" y="433"/>
                  </a:lnTo>
                  <a:lnTo>
                    <a:pt x="53" y="443"/>
                  </a:lnTo>
                  <a:lnTo>
                    <a:pt x="57" y="446"/>
                  </a:lnTo>
                  <a:lnTo>
                    <a:pt x="54" y="446"/>
                  </a:lnTo>
                  <a:lnTo>
                    <a:pt x="54" y="451"/>
                  </a:lnTo>
                  <a:lnTo>
                    <a:pt x="55" y="460"/>
                  </a:lnTo>
                  <a:lnTo>
                    <a:pt x="56" y="458"/>
                  </a:lnTo>
                  <a:lnTo>
                    <a:pt x="53" y="464"/>
                  </a:lnTo>
                  <a:lnTo>
                    <a:pt x="51" y="461"/>
                  </a:lnTo>
                  <a:lnTo>
                    <a:pt x="47" y="461"/>
                  </a:lnTo>
                  <a:lnTo>
                    <a:pt x="47" y="455"/>
                  </a:lnTo>
                  <a:lnTo>
                    <a:pt x="43" y="455"/>
                  </a:lnTo>
                  <a:lnTo>
                    <a:pt x="39" y="456"/>
                  </a:lnTo>
                  <a:lnTo>
                    <a:pt x="32" y="469"/>
                  </a:lnTo>
                  <a:lnTo>
                    <a:pt x="35" y="468"/>
                  </a:lnTo>
                  <a:lnTo>
                    <a:pt x="39" y="466"/>
                  </a:lnTo>
                  <a:lnTo>
                    <a:pt x="48" y="469"/>
                  </a:lnTo>
                  <a:lnTo>
                    <a:pt x="56" y="476"/>
                  </a:lnTo>
                  <a:lnTo>
                    <a:pt x="53" y="479"/>
                  </a:lnTo>
                  <a:lnTo>
                    <a:pt x="56" y="481"/>
                  </a:lnTo>
                  <a:lnTo>
                    <a:pt x="50" y="484"/>
                  </a:lnTo>
                  <a:lnTo>
                    <a:pt x="62" y="484"/>
                  </a:lnTo>
                  <a:lnTo>
                    <a:pt x="63" y="482"/>
                  </a:lnTo>
                  <a:lnTo>
                    <a:pt x="68" y="487"/>
                  </a:lnTo>
                  <a:lnTo>
                    <a:pt x="68" y="492"/>
                  </a:lnTo>
                  <a:lnTo>
                    <a:pt x="59" y="490"/>
                  </a:lnTo>
                  <a:lnTo>
                    <a:pt x="55" y="490"/>
                  </a:lnTo>
                  <a:lnTo>
                    <a:pt x="61" y="499"/>
                  </a:lnTo>
                  <a:lnTo>
                    <a:pt x="67" y="510"/>
                  </a:lnTo>
                  <a:lnTo>
                    <a:pt x="67" y="515"/>
                  </a:lnTo>
                  <a:lnTo>
                    <a:pt x="71" y="521"/>
                  </a:lnTo>
                  <a:lnTo>
                    <a:pt x="68" y="522"/>
                  </a:lnTo>
                  <a:lnTo>
                    <a:pt x="74" y="527"/>
                  </a:lnTo>
                  <a:lnTo>
                    <a:pt x="79" y="533"/>
                  </a:lnTo>
                  <a:lnTo>
                    <a:pt x="79" y="536"/>
                  </a:lnTo>
                  <a:lnTo>
                    <a:pt x="85" y="540"/>
                  </a:lnTo>
                  <a:lnTo>
                    <a:pt x="89" y="544"/>
                  </a:lnTo>
                  <a:lnTo>
                    <a:pt x="85" y="542"/>
                  </a:lnTo>
                  <a:lnTo>
                    <a:pt x="91" y="548"/>
                  </a:lnTo>
                  <a:lnTo>
                    <a:pt x="92" y="552"/>
                  </a:lnTo>
                  <a:lnTo>
                    <a:pt x="97" y="559"/>
                  </a:lnTo>
                  <a:lnTo>
                    <a:pt x="99" y="563"/>
                  </a:lnTo>
                  <a:lnTo>
                    <a:pt x="107" y="566"/>
                  </a:lnTo>
                  <a:lnTo>
                    <a:pt x="108" y="569"/>
                  </a:lnTo>
                  <a:lnTo>
                    <a:pt x="105" y="570"/>
                  </a:lnTo>
                  <a:lnTo>
                    <a:pt x="114" y="571"/>
                  </a:lnTo>
                  <a:lnTo>
                    <a:pt x="132" y="578"/>
                  </a:lnTo>
                  <a:lnTo>
                    <a:pt x="133" y="560"/>
                  </a:lnTo>
                  <a:lnTo>
                    <a:pt x="143" y="554"/>
                  </a:lnTo>
                  <a:lnTo>
                    <a:pt x="157" y="556"/>
                  </a:lnTo>
                  <a:lnTo>
                    <a:pt x="135" y="550"/>
                  </a:lnTo>
                  <a:lnTo>
                    <a:pt x="110" y="547"/>
                  </a:lnTo>
                  <a:lnTo>
                    <a:pt x="103" y="541"/>
                  </a:lnTo>
                  <a:lnTo>
                    <a:pt x="95" y="529"/>
                  </a:lnTo>
                  <a:lnTo>
                    <a:pt x="87" y="529"/>
                  </a:lnTo>
                  <a:lnTo>
                    <a:pt x="75" y="509"/>
                  </a:lnTo>
                  <a:lnTo>
                    <a:pt x="83" y="499"/>
                  </a:lnTo>
                  <a:lnTo>
                    <a:pt x="81" y="478"/>
                  </a:lnTo>
                  <a:lnTo>
                    <a:pt x="78" y="460"/>
                  </a:lnTo>
                  <a:lnTo>
                    <a:pt x="77" y="448"/>
                  </a:lnTo>
                  <a:lnTo>
                    <a:pt x="74" y="440"/>
                  </a:lnTo>
                  <a:lnTo>
                    <a:pt x="68" y="437"/>
                  </a:lnTo>
                  <a:lnTo>
                    <a:pt x="77" y="434"/>
                  </a:lnTo>
                  <a:lnTo>
                    <a:pt x="67" y="428"/>
                  </a:lnTo>
                  <a:lnTo>
                    <a:pt x="61" y="410"/>
                  </a:lnTo>
                  <a:lnTo>
                    <a:pt x="54" y="402"/>
                  </a:lnTo>
                  <a:lnTo>
                    <a:pt x="54" y="390"/>
                  </a:lnTo>
                  <a:lnTo>
                    <a:pt x="48" y="368"/>
                  </a:lnTo>
                  <a:lnTo>
                    <a:pt x="47" y="352"/>
                  </a:lnTo>
                  <a:lnTo>
                    <a:pt x="49" y="341"/>
                  </a:lnTo>
                  <a:lnTo>
                    <a:pt x="48" y="331"/>
                  </a:lnTo>
                  <a:lnTo>
                    <a:pt x="44" y="318"/>
                  </a:lnTo>
                  <a:lnTo>
                    <a:pt x="39" y="305"/>
                  </a:lnTo>
                  <a:lnTo>
                    <a:pt x="47" y="294"/>
                  </a:lnTo>
                  <a:lnTo>
                    <a:pt x="43" y="283"/>
                  </a:lnTo>
                  <a:lnTo>
                    <a:pt x="45" y="263"/>
                  </a:lnTo>
                  <a:lnTo>
                    <a:pt x="42" y="253"/>
                  </a:lnTo>
                  <a:lnTo>
                    <a:pt x="36" y="240"/>
                  </a:lnTo>
                  <a:lnTo>
                    <a:pt x="29" y="227"/>
                  </a:lnTo>
                  <a:lnTo>
                    <a:pt x="30" y="217"/>
                  </a:lnTo>
                  <a:lnTo>
                    <a:pt x="31" y="206"/>
                  </a:lnTo>
                  <a:lnTo>
                    <a:pt x="31" y="196"/>
                  </a:lnTo>
                  <a:lnTo>
                    <a:pt x="30" y="184"/>
                  </a:lnTo>
                  <a:lnTo>
                    <a:pt x="36" y="169"/>
                  </a:lnTo>
                  <a:lnTo>
                    <a:pt x="42" y="155"/>
                  </a:lnTo>
                  <a:lnTo>
                    <a:pt x="45" y="150"/>
                  </a:lnTo>
                  <a:lnTo>
                    <a:pt x="41" y="142"/>
                  </a:lnTo>
                  <a:lnTo>
                    <a:pt x="38" y="119"/>
                  </a:lnTo>
                  <a:lnTo>
                    <a:pt x="41" y="110"/>
                  </a:lnTo>
                  <a:lnTo>
                    <a:pt x="53" y="104"/>
                  </a:lnTo>
                  <a:lnTo>
                    <a:pt x="55" y="88"/>
                  </a:lnTo>
                  <a:lnTo>
                    <a:pt x="53" y="85"/>
                  </a:lnTo>
                  <a:lnTo>
                    <a:pt x="43" y="84"/>
                  </a:lnTo>
                  <a:lnTo>
                    <a:pt x="37" y="70"/>
                  </a:lnTo>
                  <a:lnTo>
                    <a:pt x="31" y="55"/>
                  </a:lnTo>
                  <a:lnTo>
                    <a:pt x="27" y="41"/>
                  </a:lnTo>
                  <a:lnTo>
                    <a:pt x="27" y="29"/>
                  </a:lnTo>
                  <a:lnTo>
                    <a:pt x="20" y="18"/>
                  </a:lnTo>
                  <a:lnTo>
                    <a:pt x="15" y="7"/>
                  </a:lnTo>
                  <a:lnTo>
                    <a:pt x="12" y="0"/>
                  </a:lnTo>
                  <a:lnTo>
                    <a:pt x="8" y="6"/>
                  </a:lnTo>
                  <a:lnTo>
                    <a:pt x="3" y="13"/>
                  </a:lnTo>
                  <a:lnTo>
                    <a:pt x="0" y="13"/>
                  </a:lnTo>
                  <a:lnTo>
                    <a:pt x="3" y="34"/>
                  </a:lnTo>
                  <a:lnTo>
                    <a:pt x="8" y="54"/>
                  </a:lnTo>
                  <a:lnTo>
                    <a:pt x="8" y="72"/>
                  </a:lnTo>
                  <a:lnTo>
                    <a:pt x="7" y="89"/>
                  </a:lnTo>
                  <a:lnTo>
                    <a:pt x="7" y="96"/>
                  </a:lnTo>
                  <a:lnTo>
                    <a:pt x="9" y="116"/>
                  </a:lnTo>
                  <a:lnTo>
                    <a:pt x="9" y="134"/>
                  </a:lnTo>
                  <a:lnTo>
                    <a:pt x="9" y="156"/>
                  </a:lnTo>
                  <a:lnTo>
                    <a:pt x="9" y="179"/>
                  </a:lnTo>
                  <a:lnTo>
                    <a:pt x="11" y="190"/>
                  </a:lnTo>
                  <a:lnTo>
                    <a:pt x="11" y="20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54" name="Freeform 268">
              <a:extLst>
                <a:ext uri="{FF2B5EF4-FFF2-40B4-BE49-F238E27FC236}">
                  <a16:creationId xmlns:a16="http://schemas.microsoft.com/office/drawing/2014/main" id="{D5FE46CE-272D-4F52-B31A-64617F0BD97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51353" y="6288404"/>
              <a:ext cx="89428" cy="79362"/>
            </a:xfrm>
            <a:custGeom>
              <a:avLst/>
              <a:gdLst>
                <a:gd name="T0" fmla="*/ 28 w 42"/>
                <a:gd name="T1" fmla="*/ 2 h 36"/>
                <a:gd name="T2" fmla="*/ 35 w 42"/>
                <a:gd name="T3" fmla="*/ 19 h 36"/>
                <a:gd name="T4" fmla="*/ 42 w 42"/>
                <a:gd name="T5" fmla="*/ 36 h 36"/>
                <a:gd name="T6" fmla="*/ 37 w 42"/>
                <a:gd name="T7" fmla="*/ 35 h 36"/>
                <a:gd name="T8" fmla="*/ 31 w 42"/>
                <a:gd name="T9" fmla="*/ 36 h 36"/>
                <a:gd name="T10" fmla="*/ 17 w 42"/>
                <a:gd name="T11" fmla="*/ 35 h 36"/>
                <a:gd name="T12" fmla="*/ 12 w 42"/>
                <a:gd name="T13" fmla="*/ 34 h 36"/>
                <a:gd name="T14" fmla="*/ 0 w 42"/>
                <a:gd name="T15" fmla="*/ 32 h 36"/>
                <a:gd name="T16" fmla="*/ 4 w 42"/>
                <a:gd name="T17" fmla="*/ 31 h 36"/>
                <a:gd name="T18" fmla="*/ 11 w 42"/>
                <a:gd name="T19" fmla="*/ 28 h 36"/>
                <a:gd name="T20" fmla="*/ 15 w 42"/>
                <a:gd name="T21" fmla="*/ 31 h 36"/>
                <a:gd name="T22" fmla="*/ 19 w 42"/>
                <a:gd name="T23" fmla="*/ 31 h 36"/>
                <a:gd name="T24" fmla="*/ 12 w 42"/>
                <a:gd name="T25" fmla="*/ 26 h 36"/>
                <a:gd name="T26" fmla="*/ 21 w 42"/>
                <a:gd name="T27" fmla="*/ 29 h 36"/>
                <a:gd name="T28" fmla="*/ 25 w 42"/>
                <a:gd name="T29" fmla="*/ 29 h 36"/>
                <a:gd name="T30" fmla="*/ 31 w 42"/>
                <a:gd name="T31" fmla="*/ 31 h 36"/>
                <a:gd name="T32" fmla="*/ 34 w 42"/>
                <a:gd name="T33" fmla="*/ 31 h 36"/>
                <a:gd name="T34" fmla="*/ 18 w 42"/>
                <a:gd name="T35" fmla="*/ 22 h 36"/>
                <a:gd name="T36" fmla="*/ 24 w 42"/>
                <a:gd name="T37" fmla="*/ 14 h 36"/>
                <a:gd name="T38" fmla="*/ 13 w 42"/>
                <a:gd name="T39" fmla="*/ 14 h 36"/>
                <a:gd name="T40" fmla="*/ 10 w 42"/>
                <a:gd name="T41" fmla="*/ 2 h 36"/>
                <a:gd name="T42" fmla="*/ 15 w 42"/>
                <a:gd name="T43" fmla="*/ 0 h 36"/>
                <a:gd name="T44" fmla="*/ 28 w 42"/>
                <a:gd name="T45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36">
                  <a:moveTo>
                    <a:pt x="28" y="2"/>
                  </a:moveTo>
                  <a:lnTo>
                    <a:pt x="35" y="19"/>
                  </a:lnTo>
                  <a:lnTo>
                    <a:pt x="42" y="36"/>
                  </a:lnTo>
                  <a:lnTo>
                    <a:pt x="37" y="35"/>
                  </a:lnTo>
                  <a:lnTo>
                    <a:pt x="31" y="36"/>
                  </a:lnTo>
                  <a:lnTo>
                    <a:pt x="17" y="35"/>
                  </a:lnTo>
                  <a:lnTo>
                    <a:pt x="12" y="34"/>
                  </a:lnTo>
                  <a:lnTo>
                    <a:pt x="0" y="32"/>
                  </a:lnTo>
                  <a:lnTo>
                    <a:pt x="4" y="31"/>
                  </a:lnTo>
                  <a:lnTo>
                    <a:pt x="11" y="28"/>
                  </a:lnTo>
                  <a:lnTo>
                    <a:pt x="15" y="31"/>
                  </a:lnTo>
                  <a:lnTo>
                    <a:pt x="19" y="31"/>
                  </a:lnTo>
                  <a:lnTo>
                    <a:pt x="12" y="26"/>
                  </a:lnTo>
                  <a:lnTo>
                    <a:pt x="21" y="29"/>
                  </a:lnTo>
                  <a:lnTo>
                    <a:pt x="25" y="29"/>
                  </a:lnTo>
                  <a:lnTo>
                    <a:pt x="31" y="31"/>
                  </a:lnTo>
                  <a:lnTo>
                    <a:pt x="34" y="31"/>
                  </a:lnTo>
                  <a:lnTo>
                    <a:pt x="18" y="22"/>
                  </a:lnTo>
                  <a:lnTo>
                    <a:pt x="24" y="14"/>
                  </a:lnTo>
                  <a:lnTo>
                    <a:pt x="13" y="14"/>
                  </a:lnTo>
                  <a:lnTo>
                    <a:pt x="10" y="2"/>
                  </a:lnTo>
                  <a:lnTo>
                    <a:pt x="15" y="0"/>
                  </a:lnTo>
                  <a:lnTo>
                    <a:pt x="28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55" name="Freeform 269">
              <a:extLst>
                <a:ext uri="{FF2B5EF4-FFF2-40B4-BE49-F238E27FC236}">
                  <a16:creationId xmlns:a16="http://schemas.microsoft.com/office/drawing/2014/main" id="{1F25D9CC-29EC-4EC1-8BAB-6CBA1FEB46E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4440" y="5917387"/>
              <a:ext cx="22833" cy="53570"/>
            </a:xfrm>
            <a:custGeom>
              <a:avLst/>
              <a:gdLst>
                <a:gd name="T0" fmla="*/ 4 w 11"/>
                <a:gd name="T1" fmla="*/ 0 h 24"/>
                <a:gd name="T2" fmla="*/ 0 w 11"/>
                <a:gd name="T3" fmla="*/ 2 h 24"/>
                <a:gd name="T4" fmla="*/ 5 w 11"/>
                <a:gd name="T5" fmla="*/ 24 h 24"/>
                <a:gd name="T6" fmla="*/ 10 w 11"/>
                <a:gd name="T7" fmla="*/ 22 h 24"/>
                <a:gd name="T8" fmla="*/ 11 w 11"/>
                <a:gd name="T9" fmla="*/ 18 h 24"/>
                <a:gd name="T10" fmla="*/ 9 w 11"/>
                <a:gd name="T11" fmla="*/ 8 h 24"/>
                <a:gd name="T12" fmla="*/ 10 w 11"/>
                <a:gd name="T13" fmla="*/ 7 h 24"/>
                <a:gd name="T14" fmla="*/ 4 w 11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4">
                  <a:moveTo>
                    <a:pt x="4" y="0"/>
                  </a:moveTo>
                  <a:lnTo>
                    <a:pt x="0" y="2"/>
                  </a:lnTo>
                  <a:lnTo>
                    <a:pt x="5" y="24"/>
                  </a:lnTo>
                  <a:lnTo>
                    <a:pt x="10" y="22"/>
                  </a:lnTo>
                  <a:lnTo>
                    <a:pt x="11" y="18"/>
                  </a:lnTo>
                  <a:lnTo>
                    <a:pt x="9" y="8"/>
                  </a:lnTo>
                  <a:lnTo>
                    <a:pt x="10" y="7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56" name="Freeform 270">
              <a:extLst>
                <a:ext uri="{FF2B5EF4-FFF2-40B4-BE49-F238E27FC236}">
                  <a16:creationId xmlns:a16="http://schemas.microsoft.com/office/drawing/2014/main" id="{F1986E55-FA2B-4F7E-9C6D-2F8B9C138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85816" y="6161426"/>
              <a:ext cx="24735" cy="43648"/>
            </a:xfrm>
            <a:custGeom>
              <a:avLst/>
              <a:gdLst>
                <a:gd name="T0" fmla="*/ 6 w 12"/>
                <a:gd name="T1" fmla="*/ 0 h 20"/>
                <a:gd name="T2" fmla="*/ 0 w 12"/>
                <a:gd name="T3" fmla="*/ 8 h 20"/>
                <a:gd name="T4" fmla="*/ 8 w 12"/>
                <a:gd name="T5" fmla="*/ 17 h 20"/>
                <a:gd name="T6" fmla="*/ 12 w 12"/>
                <a:gd name="T7" fmla="*/ 20 h 20"/>
                <a:gd name="T8" fmla="*/ 12 w 12"/>
                <a:gd name="T9" fmla="*/ 14 h 20"/>
                <a:gd name="T10" fmla="*/ 6 w 12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0">
                  <a:moveTo>
                    <a:pt x="6" y="0"/>
                  </a:moveTo>
                  <a:lnTo>
                    <a:pt x="0" y="8"/>
                  </a:lnTo>
                  <a:lnTo>
                    <a:pt x="8" y="17"/>
                  </a:lnTo>
                  <a:lnTo>
                    <a:pt x="12" y="20"/>
                  </a:lnTo>
                  <a:lnTo>
                    <a:pt x="12" y="1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57" name="Freeform 287">
              <a:extLst>
                <a:ext uri="{FF2B5EF4-FFF2-40B4-BE49-F238E27FC236}">
                  <a16:creationId xmlns:a16="http://schemas.microsoft.com/office/drawing/2014/main" id="{A367A485-129D-4250-819E-44F703E5C9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32966" y="4385696"/>
              <a:ext cx="169342" cy="226183"/>
            </a:xfrm>
            <a:custGeom>
              <a:avLst/>
              <a:gdLst>
                <a:gd name="T0" fmla="*/ 0 w 80"/>
                <a:gd name="T1" fmla="*/ 41 h 103"/>
                <a:gd name="T2" fmla="*/ 1 w 80"/>
                <a:gd name="T3" fmla="*/ 58 h 103"/>
                <a:gd name="T4" fmla="*/ 0 w 80"/>
                <a:gd name="T5" fmla="*/ 60 h 103"/>
                <a:gd name="T6" fmla="*/ 9 w 80"/>
                <a:gd name="T7" fmla="*/ 65 h 103"/>
                <a:gd name="T8" fmla="*/ 12 w 80"/>
                <a:gd name="T9" fmla="*/ 61 h 103"/>
                <a:gd name="T10" fmla="*/ 14 w 80"/>
                <a:gd name="T11" fmla="*/ 64 h 103"/>
                <a:gd name="T12" fmla="*/ 13 w 80"/>
                <a:gd name="T13" fmla="*/ 75 h 103"/>
                <a:gd name="T14" fmla="*/ 8 w 80"/>
                <a:gd name="T15" fmla="*/ 77 h 103"/>
                <a:gd name="T16" fmla="*/ 9 w 80"/>
                <a:gd name="T17" fmla="*/ 87 h 103"/>
                <a:gd name="T18" fmla="*/ 6 w 80"/>
                <a:gd name="T19" fmla="*/ 94 h 103"/>
                <a:gd name="T20" fmla="*/ 10 w 80"/>
                <a:gd name="T21" fmla="*/ 91 h 103"/>
                <a:gd name="T22" fmla="*/ 26 w 80"/>
                <a:gd name="T23" fmla="*/ 103 h 103"/>
                <a:gd name="T24" fmla="*/ 31 w 80"/>
                <a:gd name="T25" fmla="*/ 97 h 103"/>
                <a:gd name="T26" fmla="*/ 32 w 80"/>
                <a:gd name="T27" fmla="*/ 90 h 103"/>
                <a:gd name="T28" fmla="*/ 36 w 80"/>
                <a:gd name="T29" fmla="*/ 85 h 103"/>
                <a:gd name="T30" fmla="*/ 38 w 80"/>
                <a:gd name="T31" fmla="*/ 76 h 103"/>
                <a:gd name="T32" fmla="*/ 39 w 80"/>
                <a:gd name="T33" fmla="*/ 76 h 103"/>
                <a:gd name="T34" fmla="*/ 39 w 80"/>
                <a:gd name="T35" fmla="*/ 78 h 103"/>
                <a:gd name="T36" fmla="*/ 42 w 80"/>
                <a:gd name="T37" fmla="*/ 77 h 103"/>
                <a:gd name="T38" fmla="*/ 40 w 80"/>
                <a:gd name="T39" fmla="*/ 75 h 103"/>
                <a:gd name="T40" fmla="*/ 44 w 80"/>
                <a:gd name="T41" fmla="*/ 71 h 103"/>
                <a:gd name="T42" fmla="*/ 52 w 80"/>
                <a:gd name="T43" fmla="*/ 67 h 103"/>
                <a:gd name="T44" fmla="*/ 68 w 80"/>
                <a:gd name="T45" fmla="*/ 58 h 103"/>
                <a:gd name="T46" fmla="*/ 76 w 80"/>
                <a:gd name="T47" fmla="*/ 39 h 103"/>
                <a:gd name="T48" fmla="*/ 80 w 80"/>
                <a:gd name="T49" fmla="*/ 39 h 103"/>
                <a:gd name="T50" fmla="*/ 74 w 80"/>
                <a:gd name="T51" fmla="*/ 25 h 103"/>
                <a:gd name="T52" fmla="*/ 79 w 80"/>
                <a:gd name="T53" fmla="*/ 24 h 103"/>
                <a:gd name="T54" fmla="*/ 63 w 80"/>
                <a:gd name="T55" fmla="*/ 17 h 103"/>
                <a:gd name="T56" fmla="*/ 49 w 80"/>
                <a:gd name="T57" fmla="*/ 17 h 103"/>
                <a:gd name="T58" fmla="*/ 40 w 80"/>
                <a:gd name="T59" fmla="*/ 9 h 103"/>
                <a:gd name="T60" fmla="*/ 28 w 80"/>
                <a:gd name="T61" fmla="*/ 0 h 103"/>
                <a:gd name="T62" fmla="*/ 24 w 80"/>
                <a:gd name="T63" fmla="*/ 5 h 103"/>
                <a:gd name="T64" fmla="*/ 10 w 80"/>
                <a:gd name="T65" fmla="*/ 12 h 103"/>
                <a:gd name="T66" fmla="*/ 7 w 80"/>
                <a:gd name="T67" fmla="*/ 25 h 103"/>
                <a:gd name="T68" fmla="*/ 7 w 80"/>
                <a:gd name="T69" fmla="*/ 33 h 103"/>
                <a:gd name="T70" fmla="*/ 0 w 80"/>
                <a:gd name="T71" fmla="*/ 4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0" h="103">
                  <a:moveTo>
                    <a:pt x="0" y="41"/>
                  </a:moveTo>
                  <a:lnTo>
                    <a:pt x="1" y="58"/>
                  </a:lnTo>
                  <a:lnTo>
                    <a:pt x="0" y="60"/>
                  </a:lnTo>
                  <a:lnTo>
                    <a:pt x="9" y="65"/>
                  </a:lnTo>
                  <a:lnTo>
                    <a:pt x="12" y="61"/>
                  </a:lnTo>
                  <a:lnTo>
                    <a:pt x="14" y="64"/>
                  </a:lnTo>
                  <a:lnTo>
                    <a:pt x="13" y="75"/>
                  </a:lnTo>
                  <a:lnTo>
                    <a:pt x="8" y="77"/>
                  </a:lnTo>
                  <a:lnTo>
                    <a:pt x="9" y="87"/>
                  </a:lnTo>
                  <a:lnTo>
                    <a:pt x="6" y="94"/>
                  </a:lnTo>
                  <a:lnTo>
                    <a:pt x="10" y="91"/>
                  </a:lnTo>
                  <a:lnTo>
                    <a:pt x="26" y="103"/>
                  </a:lnTo>
                  <a:lnTo>
                    <a:pt x="31" y="97"/>
                  </a:lnTo>
                  <a:lnTo>
                    <a:pt x="32" y="90"/>
                  </a:lnTo>
                  <a:lnTo>
                    <a:pt x="36" y="85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9" y="78"/>
                  </a:lnTo>
                  <a:lnTo>
                    <a:pt x="42" y="77"/>
                  </a:lnTo>
                  <a:lnTo>
                    <a:pt x="40" y="75"/>
                  </a:lnTo>
                  <a:lnTo>
                    <a:pt x="44" y="71"/>
                  </a:lnTo>
                  <a:lnTo>
                    <a:pt x="52" y="67"/>
                  </a:lnTo>
                  <a:lnTo>
                    <a:pt x="68" y="58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74" y="25"/>
                  </a:lnTo>
                  <a:lnTo>
                    <a:pt x="79" y="24"/>
                  </a:lnTo>
                  <a:lnTo>
                    <a:pt x="63" y="17"/>
                  </a:lnTo>
                  <a:lnTo>
                    <a:pt x="49" y="17"/>
                  </a:lnTo>
                  <a:lnTo>
                    <a:pt x="40" y="9"/>
                  </a:lnTo>
                  <a:lnTo>
                    <a:pt x="28" y="0"/>
                  </a:lnTo>
                  <a:lnTo>
                    <a:pt x="24" y="5"/>
                  </a:lnTo>
                  <a:lnTo>
                    <a:pt x="10" y="12"/>
                  </a:lnTo>
                  <a:lnTo>
                    <a:pt x="7" y="25"/>
                  </a:lnTo>
                  <a:lnTo>
                    <a:pt x="7" y="33"/>
                  </a:lnTo>
                  <a:lnTo>
                    <a:pt x="0" y="4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58" name="Freeform 288">
              <a:extLst>
                <a:ext uri="{FF2B5EF4-FFF2-40B4-BE49-F238E27FC236}">
                  <a16:creationId xmlns:a16="http://schemas.microsoft.com/office/drawing/2014/main" id="{2945A866-F7AD-46B8-B70A-2969C7F64B3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11404" y="4435298"/>
              <a:ext cx="17125" cy="29760"/>
            </a:xfrm>
            <a:custGeom>
              <a:avLst/>
              <a:gdLst>
                <a:gd name="T0" fmla="*/ 0 w 9"/>
                <a:gd name="T1" fmla="*/ 0 h 14"/>
                <a:gd name="T2" fmla="*/ 5 w 9"/>
                <a:gd name="T3" fmla="*/ 8 h 14"/>
                <a:gd name="T4" fmla="*/ 0 w 9"/>
                <a:gd name="T5" fmla="*/ 14 h 14"/>
                <a:gd name="T6" fmla="*/ 9 w 9"/>
                <a:gd name="T7" fmla="*/ 14 h 14"/>
                <a:gd name="T8" fmla="*/ 4 w 9"/>
                <a:gd name="T9" fmla="*/ 0 h 14"/>
                <a:gd name="T10" fmla="*/ 0 w 9"/>
                <a:gd name="T1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4">
                  <a:moveTo>
                    <a:pt x="0" y="0"/>
                  </a:moveTo>
                  <a:lnTo>
                    <a:pt x="5" y="8"/>
                  </a:lnTo>
                  <a:lnTo>
                    <a:pt x="0" y="14"/>
                  </a:lnTo>
                  <a:lnTo>
                    <a:pt x="9" y="14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59" name="Freeform 289">
              <a:extLst>
                <a:ext uri="{FF2B5EF4-FFF2-40B4-BE49-F238E27FC236}">
                  <a16:creationId xmlns:a16="http://schemas.microsoft.com/office/drawing/2014/main" id="{C0EB7E41-FAD0-46A7-950F-6A213615C3A3}"/>
                </a:ext>
              </a:extLst>
            </p:cNvPr>
            <p:cNvSpPr>
              <a:spLocks/>
            </p:cNvSpPr>
            <p:nvPr/>
          </p:nvSpPr>
          <p:spPr bwMode="gray">
            <a:xfrm>
              <a:off x="2353896" y="4532516"/>
              <a:ext cx="9514" cy="3967"/>
            </a:xfrm>
            <a:custGeom>
              <a:avLst/>
              <a:gdLst>
                <a:gd name="T0" fmla="*/ 5 w 5"/>
                <a:gd name="T1" fmla="*/ 1 h 4"/>
                <a:gd name="T2" fmla="*/ 1 w 5"/>
                <a:gd name="T3" fmla="*/ 4 h 4"/>
                <a:gd name="T4" fmla="*/ 0 w 5"/>
                <a:gd name="T5" fmla="*/ 0 h 4"/>
                <a:gd name="T6" fmla="*/ 5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5" y="1"/>
                  </a:moveTo>
                  <a:lnTo>
                    <a:pt x="1" y="4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60" name="Freeform 290">
              <a:extLst>
                <a:ext uri="{FF2B5EF4-FFF2-40B4-BE49-F238E27FC236}">
                  <a16:creationId xmlns:a16="http://schemas.microsoft.com/office/drawing/2014/main" id="{C00C43A1-09BA-4F6A-9512-25516FAB220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9946" y="4457121"/>
              <a:ext cx="9514" cy="3967"/>
            </a:xfrm>
            <a:custGeom>
              <a:avLst/>
              <a:gdLst>
                <a:gd name="T0" fmla="*/ 4 w 4"/>
                <a:gd name="T1" fmla="*/ 1 h 1"/>
                <a:gd name="T2" fmla="*/ 0 w 4"/>
                <a:gd name="T3" fmla="*/ 0 h 1"/>
                <a:gd name="T4" fmla="*/ 4 w 4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61" name="Freeform 294">
              <a:extLst>
                <a:ext uri="{FF2B5EF4-FFF2-40B4-BE49-F238E27FC236}">
                  <a16:creationId xmlns:a16="http://schemas.microsoft.com/office/drawing/2014/main" id="{A0B41044-E43A-4909-AAE2-2212990C631B}"/>
                </a:ext>
              </a:extLst>
            </p:cNvPr>
            <p:cNvSpPr>
              <a:spLocks/>
            </p:cNvSpPr>
            <p:nvPr/>
          </p:nvSpPr>
          <p:spPr bwMode="gray">
            <a:xfrm>
              <a:off x="2319647" y="4435298"/>
              <a:ext cx="393864" cy="652754"/>
            </a:xfrm>
            <a:custGeom>
              <a:avLst/>
              <a:gdLst>
                <a:gd name="T0" fmla="*/ 180 w 186"/>
                <a:gd name="T1" fmla="*/ 233 h 295"/>
                <a:gd name="T2" fmla="*/ 181 w 186"/>
                <a:gd name="T3" fmla="*/ 260 h 295"/>
                <a:gd name="T4" fmla="*/ 180 w 186"/>
                <a:gd name="T5" fmla="*/ 275 h 295"/>
                <a:gd name="T6" fmla="*/ 176 w 186"/>
                <a:gd name="T7" fmla="*/ 288 h 295"/>
                <a:gd name="T8" fmla="*/ 168 w 186"/>
                <a:gd name="T9" fmla="*/ 295 h 295"/>
                <a:gd name="T10" fmla="*/ 152 w 186"/>
                <a:gd name="T11" fmla="*/ 280 h 295"/>
                <a:gd name="T12" fmla="*/ 128 w 186"/>
                <a:gd name="T13" fmla="*/ 266 h 295"/>
                <a:gd name="T14" fmla="*/ 104 w 186"/>
                <a:gd name="T15" fmla="*/ 252 h 295"/>
                <a:gd name="T16" fmla="*/ 79 w 186"/>
                <a:gd name="T17" fmla="*/ 228 h 295"/>
                <a:gd name="T18" fmla="*/ 71 w 186"/>
                <a:gd name="T19" fmla="*/ 202 h 295"/>
                <a:gd name="T20" fmla="*/ 54 w 186"/>
                <a:gd name="T21" fmla="*/ 173 h 295"/>
                <a:gd name="T22" fmla="*/ 42 w 186"/>
                <a:gd name="T23" fmla="*/ 150 h 295"/>
                <a:gd name="T24" fmla="*/ 30 w 186"/>
                <a:gd name="T25" fmla="*/ 126 h 295"/>
                <a:gd name="T26" fmla="*/ 13 w 186"/>
                <a:gd name="T27" fmla="*/ 107 h 295"/>
                <a:gd name="T28" fmla="*/ 5 w 186"/>
                <a:gd name="T29" fmla="*/ 95 h 295"/>
                <a:gd name="T30" fmla="*/ 6 w 186"/>
                <a:gd name="T31" fmla="*/ 64 h 295"/>
                <a:gd name="T32" fmla="*/ 14 w 186"/>
                <a:gd name="T33" fmla="*/ 64 h 295"/>
                <a:gd name="T34" fmla="*/ 15 w 186"/>
                <a:gd name="T35" fmla="*/ 68 h 295"/>
                <a:gd name="T36" fmla="*/ 36 w 186"/>
                <a:gd name="T37" fmla="*/ 74 h 295"/>
                <a:gd name="T38" fmla="*/ 41 w 186"/>
                <a:gd name="T39" fmla="*/ 62 h 295"/>
                <a:gd name="T40" fmla="*/ 44 w 186"/>
                <a:gd name="T41" fmla="*/ 53 h 295"/>
                <a:gd name="T42" fmla="*/ 47 w 186"/>
                <a:gd name="T43" fmla="*/ 54 h 295"/>
                <a:gd name="T44" fmla="*/ 49 w 186"/>
                <a:gd name="T45" fmla="*/ 48 h 295"/>
                <a:gd name="T46" fmla="*/ 73 w 186"/>
                <a:gd name="T47" fmla="*/ 35 h 295"/>
                <a:gd name="T48" fmla="*/ 85 w 186"/>
                <a:gd name="T49" fmla="*/ 16 h 295"/>
                <a:gd name="T50" fmla="*/ 84 w 186"/>
                <a:gd name="T51" fmla="*/ 1 h 295"/>
                <a:gd name="T52" fmla="*/ 92 w 186"/>
                <a:gd name="T53" fmla="*/ 8 h 295"/>
                <a:gd name="T54" fmla="*/ 111 w 186"/>
                <a:gd name="T55" fmla="*/ 29 h 295"/>
                <a:gd name="T56" fmla="*/ 132 w 186"/>
                <a:gd name="T57" fmla="*/ 37 h 295"/>
                <a:gd name="T58" fmla="*/ 157 w 186"/>
                <a:gd name="T59" fmla="*/ 42 h 295"/>
                <a:gd name="T60" fmla="*/ 161 w 186"/>
                <a:gd name="T61" fmla="*/ 68 h 295"/>
                <a:gd name="T62" fmla="*/ 144 w 186"/>
                <a:gd name="T63" fmla="*/ 71 h 295"/>
                <a:gd name="T64" fmla="*/ 121 w 186"/>
                <a:gd name="T65" fmla="*/ 82 h 295"/>
                <a:gd name="T66" fmla="*/ 114 w 186"/>
                <a:gd name="T67" fmla="*/ 106 h 295"/>
                <a:gd name="T68" fmla="*/ 113 w 186"/>
                <a:gd name="T69" fmla="*/ 131 h 295"/>
                <a:gd name="T70" fmla="*/ 119 w 186"/>
                <a:gd name="T71" fmla="*/ 150 h 295"/>
                <a:gd name="T72" fmla="*/ 132 w 186"/>
                <a:gd name="T73" fmla="*/ 158 h 295"/>
                <a:gd name="T74" fmla="*/ 153 w 186"/>
                <a:gd name="T75" fmla="*/ 154 h 295"/>
                <a:gd name="T76" fmla="*/ 156 w 186"/>
                <a:gd name="T77" fmla="*/ 178 h 295"/>
                <a:gd name="T78" fmla="*/ 177 w 186"/>
                <a:gd name="T79" fmla="*/ 188 h 295"/>
                <a:gd name="T80" fmla="*/ 182 w 186"/>
                <a:gd name="T81" fmla="*/ 20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6" h="295">
                  <a:moveTo>
                    <a:pt x="182" y="224"/>
                  </a:moveTo>
                  <a:lnTo>
                    <a:pt x="180" y="233"/>
                  </a:lnTo>
                  <a:lnTo>
                    <a:pt x="180" y="247"/>
                  </a:lnTo>
                  <a:lnTo>
                    <a:pt x="181" y="260"/>
                  </a:lnTo>
                  <a:lnTo>
                    <a:pt x="186" y="262"/>
                  </a:lnTo>
                  <a:lnTo>
                    <a:pt x="180" y="275"/>
                  </a:lnTo>
                  <a:lnTo>
                    <a:pt x="180" y="282"/>
                  </a:lnTo>
                  <a:lnTo>
                    <a:pt x="176" y="288"/>
                  </a:lnTo>
                  <a:lnTo>
                    <a:pt x="171" y="295"/>
                  </a:lnTo>
                  <a:lnTo>
                    <a:pt x="168" y="295"/>
                  </a:lnTo>
                  <a:lnTo>
                    <a:pt x="158" y="288"/>
                  </a:lnTo>
                  <a:lnTo>
                    <a:pt x="152" y="280"/>
                  </a:lnTo>
                  <a:lnTo>
                    <a:pt x="140" y="272"/>
                  </a:lnTo>
                  <a:lnTo>
                    <a:pt x="128" y="266"/>
                  </a:lnTo>
                  <a:lnTo>
                    <a:pt x="116" y="259"/>
                  </a:lnTo>
                  <a:lnTo>
                    <a:pt x="104" y="252"/>
                  </a:lnTo>
                  <a:lnTo>
                    <a:pt x="91" y="240"/>
                  </a:lnTo>
                  <a:lnTo>
                    <a:pt x="79" y="228"/>
                  </a:lnTo>
                  <a:lnTo>
                    <a:pt x="80" y="220"/>
                  </a:lnTo>
                  <a:lnTo>
                    <a:pt x="71" y="202"/>
                  </a:lnTo>
                  <a:lnTo>
                    <a:pt x="61" y="184"/>
                  </a:lnTo>
                  <a:lnTo>
                    <a:pt x="54" y="173"/>
                  </a:lnTo>
                  <a:lnTo>
                    <a:pt x="48" y="162"/>
                  </a:lnTo>
                  <a:lnTo>
                    <a:pt x="42" y="150"/>
                  </a:lnTo>
                  <a:lnTo>
                    <a:pt x="36" y="138"/>
                  </a:lnTo>
                  <a:lnTo>
                    <a:pt x="30" y="126"/>
                  </a:lnTo>
                  <a:lnTo>
                    <a:pt x="24" y="114"/>
                  </a:lnTo>
                  <a:lnTo>
                    <a:pt x="13" y="107"/>
                  </a:lnTo>
                  <a:lnTo>
                    <a:pt x="3" y="98"/>
                  </a:lnTo>
                  <a:lnTo>
                    <a:pt x="5" y="95"/>
                  </a:lnTo>
                  <a:lnTo>
                    <a:pt x="0" y="73"/>
                  </a:lnTo>
                  <a:lnTo>
                    <a:pt x="6" y="64"/>
                  </a:lnTo>
                  <a:lnTo>
                    <a:pt x="13" y="54"/>
                  </a:lnTo>
                  <a:lnTo>
                    <a:pt x="14" y="64"/>
                  </a:lnTo>
                  <a:lnTo>
                    <a:pt x="11" y="71"/>
                  </a:lnTo>
                  <a:lnTo>
                    <a:pt x="15" y="68"/>
                  </a:lnTo>
                  <a:lnTo>
                    <a:pt x="31" y="80"/>
                  </a:lnTo>
                  <a:lnTo>
                    <a:pt x="36" y="74"/>
                  </a:lnTo>
                  <a:lnTo>
                    <a:pt x="37" y="67"/>
                  </a:lnTo>
                  <a:lnTo>
                    <a:pt x="41" y="62"/>
                  </a:lnTo>
                  <a:lnTo>
                    <a:pt x="43" y="53"/>
                  </a:lnTo>
                  <a:lnTo>
                    <a:pt x="44" y="53"/>
                  </a:lnTo>
                  <a:lnTo>
                    <a:pt x="44" y="55"/>
                  </a:lnTo>
                  <a:lnTo>
                    <a:pt x="47" y="54"/>
                  </a:lnTo>
                  <a:lnTo>
                    <a:pt x="45" y="52"/>
                  </a:lnTo>
                  <a:lnTo>
                    <a:pt x="49" y="48"/>
                  </a:lnTo>
                  <a:lnTo>
                    <a:pt x="57" y="44"/>
                  </a:lnTo>
                  <a:lnTo>
                    <a:pt x="73" y="35"/>
                  </a:lnTo>
                  <a:lnTo>
                    <a:pt x="81" y="16"/>
                  </a:lnTo>
                  <a:lnTo>
                    <a:pt x="85" y="16"/>
                  </a:lnTo>
                  <a:lnTo>
                    <a:pt x="79" y="2"/>
                  </a:lnTo>
                  <a:lnTo>
                    <a:pt x="84" y="1"/>
                  </a:lnTo>
                  <a:lnTo>
                    <a:pt x="85" y="0"/>
                  </a:lnTo>
                  <a:lnTo>
                    <a:pt x="92" y="8"/>
                  </a:lnTo>
                  <a:lnTo>
                    <a:pt x="101" y="17"/>
                  </a:lnTo>
                  <a:lnTo>
                    <a:pt x="111" y="29"/>
                  </a:lnTo>
                  <a:lnTo>
                    <a:pt x="114" y="36"/>
                  </a:lnTo>
                  <a:lnTo>
                    <a:pt x="132" y="37"/>
                  </a:lnTo>
                  <a:lnTo>
                    <a:pt x="143" y="37"/>
                  </a:lnTo>
                  <a:lnTo>
                    <a:pt x="157" y="42"/>
                  </a:lnTo>
                  <a:lnTo>
                    <a:pt x="151" y="61"/>
                  </a:lnTo>
                  <a:lnTo>
                    <a:pt x="161" y="68"/>
                  </a:lnTo>
                  <a:lnTo>
                    <a:pt x="156" y="67"/>
                  </a:lnTo>
                  <a:lnTo>
                    <a:pt x="144" y="71"/>
                  </a:lnTo>
                  <a:lnTo>
                    <a:pt x="132" y="76"/>
                  </a:lnTo>
                  <a:lnTo>
                    <a:pt x="121" y="82"/>
                  </a:lnTo>
                  <a:lnTo>
                    <a:pt x="117" y="94"/>
                  </a:lnTo>
                  <a:lnTo>
                    <a:pt x="114" y="106"/>
                  </a:lnTo>
                  <a:lnTo>
                    <a:pt x="107" y="119"/>
                  </a:lnTo>
                  <a:lnTo>
                    <a:pt x="113" y="131"/>
                  </a:lnTo>
                  <a:lnTo>
                    <a:pt x="119" y="143"/>
                  </a:lnTo>
                  <a:lnTo>
                    <a:pt x="119" y="150"/>
                  </a:lnTo>
                  <a:lnTo>
                    <a:pt x="125" y="151"/>
                  </a:lnTo>
                  <a:lnTo>
                    <a:pt x="132" y="158"/>
                  </a:lnTo>
                  <a:lnTo>
                    <a:pt x="144" y="161"/>
                  </a:lnTo>
                  <a:lnTo>
                    <a:pt x="153" y="154"/>
                  </a:lnTo>
                  <a:lnTo>
                    <a:pt x="155" y="166"/>
                  </a:lnTo>
                  <a:lnTo>
                    <a:pt x="156" y="178"/>
                  </a:lnTo>
                  <a:lnTo>
                    <a:pt x="170" y="176"/>
                  </a:lnTo>
                  <a:lnTo>
                    <a:pt x="177" y="188"/>
                  </a:lnTo>
                  <a:lnTo>
                    <a:pt x="185" y="202"/>
                  </a:lnTo>
                  <a:lnTo>
                    <a:pt x="182" y="205"/>
                  </a:lnTo>
                  <a:lnTo>
                    <a:pt x="182" y="2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56" name="Freeform 392">
              <a:extLst>
                <a:ext uri="{FF2B5EF4-FFF2-40B4-BE49-F238E27FC236}">
                  <a16:creationId xmlns:a16="http://schemas.microsoft.com/office/drawing/2014/main" id="{A4552F57-78ED-49A1-9708-7F3063E06BF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3788" y="2054433"/>
              <a:ext cx="256867" cy="140869"/>
            </a:xfrm>
            <a:custGeom>
              <a:avLst/>
              <a:gdLst>
                <a:gd name="T0" fmla="*/ 121 w 121"/>
                <a:gd name="T1" fmla="*/ 39 h 65"/>
                <a:gd name="T2" fmla="*/ 119 w 121"/>
                <a:gd name="T3" fmla="*/ 34 h 65"/>
                <a:gd name="T4" fmla="*/ 112 w 121"/>
                <a:gd name="T5" fmla="*/ 27 h 65"/>
                <a:gd name="T6" fmla="*/ 106 w 121"/>
                <a:gd name="T7" fmla="*/ 25 h 65"/>
                <a:gd name="T8" fmla="*/ 106 w 121"/>
                <a:gd name="T9" fmla="*/ 28 h 65"/>
                <a:gd name="T10" fmla="*/ 102 w 121"/>
                <a:gd name="T11" fmla="*/ 27 h 65"/>
                <a:gd name="T12" fmla="*/ 91 w 121"/>
                <a:gd name="T13" fmla="*/ 27 h 65"/>
                <a:gd name="T14" fmla="*/ 83 w 121"/>
                <a:gd name="T15" fmla="*/ 33 h 65"/>
                <a:gd name="T16" fmla="*/ 83 w 121"/>
                <a:gd name="T17" fmla="*/ 36 h 65"/>
                <a:gd name="T18" fmla="*/ 77 w 121"/>
                <a:gd name="T19" fmla="*/ 36 h 65"/>
                <a:gd name="T20" fmla="*/ 82 w 121"/>
                <a:gd name="T21" fmla="*/ 30 h 65"/>
                <a:gd name="T22" fmla="*/ 90 w 121"/>
                <a:gd name="T23" fmla="*/ 21 h 65"/>
                <a:gd name="T24" fmla="*/ 90 w 121"/>
                <a:gd name="T25" fmla="*/ 13 h 65"/>
                <a:gd name="T26" fmla="*/ 80 w 121"/>
                <a:gd name="T27" fmla="*/ 5 h 65"/>
                <a:gd name="T28" fmla="*/ 80 w 121"/>
                <a:gd name="T29" fmla="*/ 7 h 65"/>
                <a:gd name="T30" fmla="*/ 74 w 121"/>
                <a:gd name="T31" fmla="*/ 0 h 65"/>
                <a:gd name="T32" fmla="*/ 55 w 121"/>
                <a:gd name="T33" fmla="*/ 12 h 65"/>
                <a:gd name="T34" fmla="*/ 37 w 121"/>
                <a:gd name="T35" fmla="*/ 25 h 65"/>
                <a:gd name="T36" fmla="*/ 18 w 121"/>
                <a:gd name="T37" fmla="*/ 37 h 65"/>
                <a:gd name="T38" fmla="*/ 0 w 121"/>
                <a:gd name="T39" fmla="*/ 51 h 65"/>
                <a:gd name="T40" fmla="*/ 8 w 121"/>
                <a:gd name="T41" fmla="*/ 42 h 65"/>
                <a:gd name="T42" fmla="*/ 17 w 121"/>
                <a:gd name="T43" fmla="*/ 39 h 65"/>
                <a:gd name="T44" fmla="*/ 22 w 121"/>
                <a:gd name="T45" fmla="*/ 37 h 65"/>
                <a:gd name="T46" fmla="*/ 28 w 121"/>
                <a:gd name="T47" fmla="*/ 35 h 65"/>
                <a:gd name="T48" fmla="*/ 28 w 121"/>
                <a:gd name="T49" fmla="*/ 37 h 65"/>
                <a:gd name="T50" fmla="*/ 31 w 121"/>
                <a:gd name="T51" fmla="*/ 37 h 65"/>
                <a:gd name="T52" fmla="*/ 20 w 121"/>
                <a:gd name="T53" fmla="*/ 42 h 65"/>
                <a:gd name="T54" fmla="*/ 19 w 121"/>
                <a:gd name="T55" fmla="*/ 47 h 65"/>
                <a:gd name="T56" fmla="*/ 41 w 121"/>
                <a:gd name="T57" fmla="*/ 47 h 65"/>
                <a:gd name="T58" fmla="*/ 35 w 121"/>
                <a:gd name="T59" fmla="*/ 57 h 65"/>
                <a:gd name="T60" fmla="*/ 44 w 121"/>
                <a:gd name="T61" fmla="*/ 60 h 65"/>
                <a:gd name="T62" fmla="*/ 52 w 121"/>
                <a:gd name="T63" fmla="*/ 61 h 65"/>
                <a:gd name="T64" fmla="*/ 48 w 121"/>
                <a:gd name="T65" fmla="*/ 65 h 65"/>
                <a:gd name="T66" fmla="*/ 56 w 121"/>
                <a:gd name="T67" fmla="*/ 63 h 65"/>
                <a:gd name="T68" fmla="*/ 62 w 121"/>
                <a:gd name="T69" fmla="*/ 60 h 65"/>
                <a:gd name="T70" fmla="*/ 61 w 121"/>
                <a:gd name="T71" fmla="*/ 58 h 65"/>
                <a:gd name="T72" fmla="*/ 77 w 121"/>
                <a:gd name="T73" fmla="*/ 51 h 65"/>
                <a:gd name="T74" fmla="*/ 82 w 121"/>
                <a:gd name="T75" fmla="*/ 48 h 65"/>
                <a:gd name="T76" fmla="*/ 83 w 121"/>
                <a:gd name="T77" fmla="*/ 45 h 65"/>
                <a:gd name="T78" fmla="*/ 85 w 121"/>
                <a:gd name="T79" fmla="*/ 47 h 65"/>
                <a:gd name="T80" fmla="*/ 92 w 121"/>
                <a:gd name="T81" fmla="*/ 47 h 65"/>
                <a:gd name="T82" fmla="*/ 97 w 121"/>
                <a:gd name="T83" fmla="*/ 43 h 65"/>
                <a:gd name="T84" fmla="*/ 106 w 121"/>
                <a:gd name="T85" fmla="*/ 43 h 65"/>
                <a:gd name="T86" fmla="*/ 121 w 121"/>
                <a:gd name="T87" fmla="*/ 3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1" h="65">
                  <a:moveTo>
                    <a:pt x="121" y="39"/>
                  </a:moveTo>
                  <a:lnTo>
                    <a:pt x="119" y="34"/>
                  </a:lnTo>
                  <a:lnTo>
                    <a:pt x="112" y="27"/>
                  </a:lnTo>
                  <a:lnTo>
                    <a:pt x="106" y="25"/>
                  </a:lnTo>
                  <a:lnTo>
                    <a:pt x="106" y="28"/>
                  </a:lnTo>
                  <a:lnTo>
                    <a:pt x="102" y="27"/>
                  </a:lnTo>
                  <a:lnTo>
                    <a:pt x="91" y="27"/>
                  </a:lnTo>
                  <a:lnTo>
                    <a:pt x="83" y="33"/>
                  </a:lnTo>
                  <a:lnTo>
                    <a:pt x="83" y="36"/>
                  </a:lnTo>
                  <a:lnTo>
                    <a:pt x="77" y="36"/>
                  </a:lnTo>
                  <a:lnTo>
                    <a:pt x="82" y="30"/>
                  </a:lnTo>
                  <a:lnTo>
                    <a:pt x="90" y="21"/>
                  </a:lnTo>
                  <a:lnTo>
                    <a:pt x="90" y="13"/>
                  </a:lnTo>
                  <a:lnTo>
                    <a:pt x="80" y="5"/>
                  </a:lnTo>
                  <a:lnTo>
                    <a:pt x="80" y="7"/>
                  </a:lnTo>
                  <a:lnTo>
                    <a:pt x="74" y="0"/>
                  </a:lnTo>
                  <a:lnTo>
                    <a:pt x="55" y="12"/>
                  </a:lnTo>
                  <a:lnTo>
                    <a:pt x="37" y="25"/>
                  </a:lnTo>
                  <a:lnTo>
                    <a:pt x="18" y="37"/>
                  </a:lnTo>
                  <a:lnTo>
                    <a:pt x="0" y="51"/>
                  </a:lnTo>
                  <a:lnTo>
                    <a:pt x="8" y="42"/>
                  </a:lnTo>
                  <a:lnTo>
                    <a:pt x="17" y="39"/>
                  </a:lnTo>
                  <a:lnTo>
                    <a:pt x="22" y="37"/>
                  </a:lnTo>
                  <a:lnTo>
                    <a:pt x="28" y="35"/>
                  </a:lnTo>
                  <a:lnTo>
                    <a:pt x="28" y="37"/>
                  </a:lnTo>
                  <a:lnTo>
                    <a:pt x="31" y="37"/>
                  </a:lnTo>
                  <a:lnTo>
                    <a:pt x="20" y="42"/>
                  </a:lnTo>
                  <a:lnTo>
                    <a:pt x="19" y="47"/>
                  </a:lnTo>
                  <a:lnTo>
                    <a:pt x="41" y="47"/>
                  </a:lnTo>
                  <a:lnTo>
                    <a:pt x="35" y="57"/>
                  </a:lnTo>
                  <a:lnTo>
                    <a:pt x="44" y="60"/>
                  </a:lnTo>
                  <a:lnTo>
                    <a:pt x="52" y="61"/>
                  </a:lnTo>
                  <a:lnTo>
                    <a:pt x="48" y="65"/>
                  </a:lnTo>
                  <a:lnTo>
                    <a:pt x="56" y="63"/>
                  </a:lnTo>
                  <a:lnTo>
                    <a:pt x="62" y="60"/>
                  </a:lnTo>
                  <a:lnTo>
                    <a:pt x="61" y="58"/>
                  </a:lnTo>
                  <a:lnTo>
                    <a:pt x="77" y="51"/>
                  </a:lnTo>
                  <a:lnTo>
                    <a:pt x="82" y="48"/>
                  </a:lnTo>
                  <a:lnTo>
                    <a:pt x="83" y="45"/>
                  </a:lnTo>
                  <a:lnTo>
                    <a:pt x="85" y="47"/>
                  </a:lnTo>
                  <a:lnTo>
                    <a:pt x="92" y="47"/>
                  </a:lnTo>
                  <a:lnTo>
                    <a:pt x="97" y="43"/>
                  </a:lnTo>
                  <a:lnTo>
                    <a:pt x="106" y="43"/>
                  </a:lnTo>
                  <a:lnTo>
                    <a:pt x="121" y="3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68" name="Freeform 404">
              <a:extLst>
                <a:ext uri="{FF2B5EF4-FFF2-40B4-BE49-F238E27FC236}">
                  <a16:creationId xmlns:a16="http://schemas.microsoft.com/office/drawing/2014/main" id="{32C9B3E4-8D33-41BB-A6FB-FBE20495E9AC}"/>
                </a:ext>
              </a:extLst>
            </p:cNvPr>
            <p:cNvSpPr>
              <a:spLocks/>
            </p:cNvSpPr>
            <p:nvPr/>
          </p:nvSpPr>
          <p:spPr bwMode="gray">
            <a:xfrm>
              <a:off x="923045" y="1975071"/>
              <a:ext cx="62790" cy="11904"/>
            </a:xfrm>
            <a:custGeom>
              <a:avLst/>
              <a:gdLst>
                <a:gd name="T0" fmla="*/ 27 w 30"/>
                <a:gd name="T1" fmla="*/ 6 h 7"/>
                <a:gd name="T2" fmla="*/ 0 w 30"/>
                <a:gd name="T3" fmla="*/ 7 h 7"/>
                <a:gd name="T4" fmla="*/ 15 w 30"/>
                <a:gd name="T5" fmla="*/ 0 h 7"/>
                <a:gd name="T6" fmla="*/ 30 w 30"/>
                <a:gd name="T7" fmla="*/ 4 h 7"/>
                <a:gd name="T8" fmla="*/ 27 w 3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7">
                  <a:moveTo>
                    <a:pt x="27" y="6"/>
                  </a:moveTo>
                  <a:lnTo>
                    <a:pt x="0" y="7"/>
                  </a:lnTo>
                  <a:lnTo>
                    <a:pt x="15" y="0"/>
                  </a:lnTo>
                  <a:lnTo>
                    <a:pt x="30" y="4"/>
                  </a:lnTo>
                  <a:lnTo>
                    <a:pt x="27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97" name="Freeform 433">
              <a:extLst>
                <a:ext uri="{FF2B5EF4-FFF2-40B4-BE49-F238E27FC236}">
                  <a16:creationId xmlns:a16="http://schemas.microsoft.com/office/drawing/2014/main" id="{BC7E2A7F-DC89-4E43-A736-AB0E46467F8D}"/>
                </a:ext>
              </a:extLst>
            </p:cNvPr>
            <p:cNvSpPr>
              <a:spLocks/>
            </p:cNvSpPr>
            <p:nvPr/>
          </p:nvSpPr>
          <p:spPr bwMode="gray">
            <a:xfrm>
              <a:off x="1389214" y="1961181"/>
              <a:ext cx="1952197" cy="994011"/>
            </a:xfrm>
            <a:custGeom>
              <a:avLst/>
              <a:gdLst>
                <a:gd name="T0" fmla="*/ 785 w 1026"/>
                <a:gd name="T1" fmla="*/ 79 h 501"/>
                <a:gd name="T2" fmla="*/ 840 w 1026"/>
                <a:gd name="T3" fmla="*/ 40 h 501"/>
                <a:gd name="T4" fmla="*/ 759 w 1026"/>
                <a:gd name="T5" fmla="*/ 70 h 501"/>
                <a:gd name="T6" fmla="*/ 730 w 1026"/>
                <a:gd name="T7" fmla="*/ 39 h 501"/>
                <a:gd name="T8" fmla="*/ 731 w 1026"/>
                <a:gd name="T9" fmla="*/ 17 h 501"/>
                <a:gd name="T10" fmla="*/ 708 w 1026"/>
                <a:gd name="T11" fmla="*/ 10 h 501"/>
                <a:gd name="T12" fmla="*/ 699 w 1026"/>
                <a:gd name="T13" fmla="*/ 39 h 501"/>
                <a:gd name="T14" fmla="*/ 645 w 1026"/>
                <a:gd name="T15" fmla="*/ 76 h 501"/>
                <a:gd name="T16" fmla="*/ 664 w 1026"/>
                <a:gd name="T17" fmla="*/ 56 h 501"/>
                <a:gd name="T18" fmla="*/ 627 w 1026"/>
                <a:gd name="T19" fmla="*/ 58 h 501"/>
                <a:gd name="T20" fmla="*/ 517 w 1026"/>
                <a:gd name="T21" fmla="*/ 53 h 501"/>
                <a:gd name="T22" fmla="*/ 505 w 1026"/>
                <a:gd name="T23" fmla="*/ 85 h 501"/>
                <a:gd name="T24" fmla="*/ 431 w 1026"/>
                <a:gd name="T25" fmla="*/ 60 h 501"/>
                <a:gd name="T26" fmla="*/ 352 w 1026"/>
                <a:gd name="T27" fmla="*/ 37 h 501"/>
                <a:gd name="T28" fmla="*/ 328 w 1026"/>
                <a:gd name="T29" fmla="*/ 22 h 501"/>
                <a:gd name="T30" fmla="*/ 228 w 1026"/>
                <a:gd name="T31" fmla="*/ 43 h 501"/>
                <a:gd name="T32" fmla="*/ 103 w 1026"/>
                <a:gd name="T33" fmla="*/ 89 h 501"/>
                <a:gd name="T34" fmla="*/ 23 w 1026"/>
                <a:gd name="T35" fmla="*/ 187 h 501"/>
                <a:gd name="T36" fmla="*/ 66 w 1026"/>
                <a:gd name="T37" fmla="*/ 246 h 501"/>
                <a:gd name="T38" fmla="*/ 50 w 1026"/>
                <a:gd name="T39" fmla="*/ 276 h 501"/>
                <a:gd name="T40" fmla="*/ 47 w 1026"/>
                <a:gd name="T41" fmla="*/ 297 h 501"/>
                <a:gd name="T42" fmla="*/ 51 w 1026"/>
                <a:gd name="T43" fmla="*/ 313 h 501"/>
                <a:gd name="T44" fmla="*/ 50 w 1026"/>
                <a:gd name="T45" fmla="*/ 325 h 501"/>
                <a:gd name="T46" fmla="*/ 54 w 1026"/>
                <a:gd name="T47" fmla="*/ 340 h 501"/>
                <a:gd name="T48" fmla="*/ 51 w 1026"/>
                <a:gd name="T49" fmla="*/ 346 h 501"/>
                <a:gd name="T50" fmla="*/ 77 w 1026"/>
                <a:gd name="T51" fmla="*/ 352 h 501"/>
                <a:gd name="T52" fmla="*/ 74 w 1026"/>
                <a:gd name="T53" fmla="*/ 371 h 501"/>
                <a:gd name="T54" fmla="*/ 514 w 1026"/>
                <a:gd name="T55" fmla="*/ 385 h 501"/>
                <a:gd name="T56" fmla="*/ 598 w 1026"/>
                <a:gd name="T57" fmla="*/ 423 h 501"/>
                <a:gd name="T58" fmla="*/ 595 w 1026"/>
                <a:gd name="T59" fmla="*/ 497 h 501"/>
                <a:gd name="T60" fmla="*/ 706 w 1026"/>
                <a:gd name="T61" fmla="*/ 445 h 501"/>
                <a:gd name="T62" fmla="*/ 817 w 1026"/>
                <a:gd name="T63" fmla="*/ 403 h 501"/>
                <a:gd name="T64" fmla="*/ 864 w 1026"/>
                <a:gd name="T65" fmla="*/ 424 h 501"/>
                <a:gd name="T66" fmla="*/ 846 w 1026"/>
                <a:gd name="T67" fmla="*/ 446 h 501"/>
                <a:gd name="T68" fmla="*/ 871 w 1026"/>
                <a:gd name="T69" fmla="*/ 448 h 501"/>
                <a:gd name="T70" fmla="*/ 885 w 1026"/>
                <a:gd name="T71" fmla="*/ 428 h 501"/>
                <a:gd name="T72" fmla="*/ 846 w 1026"/>
                <a:gd name="T73" fmla="*/ 391 h 501"/>
                <a:gd name="T74" fmla="*/ 850 w 1026"/>
                <a:gd name="T75" fmla="*/ 373 h 501"/>
                <a:gd name="T76" fmla="*/ 805 w 1026"/>
                <a:gd name="T77" fmla="*/ 387 h 501"/>
                <a:gd name="T78" fmla="*/ 997 w 1026"/>
                <a:gd name="T79" fmla="*/ 331 h 501"/>
                <a:gd name="T80" fmla="*/ 1026 w 1026"/>
                <a:gd name="T81" fmla="*/ 297 h 501"/>
                <a:gd name="T82" fmla="*/ 966 w 1026"/>
                <a:gd name="T83" fmla="*/ 297 h 501"/>
                <a:gd name="T84" fmla="*/ 990 w 1026"/>
                <a:gd name="T85" fmla="*/ 271 h 501"/>
                <a:gd name="T86" fmla="*/ 977 w 1026"/>
                <a:gd name="T87" fmla="*/ 265 h 501"/>
                <a:gd name="T88" fmla="*/ 965 w 1026"/>
                <a:gd name="T89" fmla="*/ 245 h 501"/>
                <a:gd name="T90" fmla="*/ 974 w 1026"/>
                <a:gd name="T91" fmla="*/ 230 h 501"/>
                <a:gd name="T92" fmla="*/ 959 w 1026"/>
                <a:gd name="T93" fmla="*/ 214 h 501"/>
                <a:gd name="T94" fmla="*/ 955 w 1026"/>
                <a:gd name="T95" fmla="*/ 186 h 501"/>
                <a:gd name="T96" fmla="*/ 932 w 1026"/>
                <a:gd name="T97" fmla="*/ 207 h 501"/>
                <a:gd name="T98" fmla="*/ 895 w 1026"/>
                <a:gd name="T99" fmla="*/ 218 h 501"/>
                <a:gd name="T100" fmla="*/ 893 w 1026"/>
                <a:gd name="T101" fmla="*/ 197 h 501"/>
                <a:gd name="T102" fmla="*/ 879 w 1026"/>
                <a:gd name="T103" fmla="*/ 164 h 501"/>
                <a:gd name="T104" fmla="*/ 840 w 1026"/>
                <a:gd name="T105" fmla="*/ 149 h 501"/>
                <a:gd name="T106" fmla="*/ 790 w 1026"/>
                <a:gd name="T107" fmla="*/ 193 h 501"/>
                <a:gd name="T108" fmla="*/ 721 w 1026"/>
                <a:gd name="T109" fmla="*/ 287 h 501"/>
                <a:gd name="T110" fmla="*/ 681 w 1026"/>
                <a:gd name="T111" fmla="*/ 332 h 501"/>
                <a:gd name="T112" fmla="*/ 668 w 1026"/>
                <a:gd name="T113" fmla="*/ 266 h 501"/>
                <a:gd name="T114" fmla="*/ 574 w 1026"/>
                <a:gd name="T115" fmla="*/ 237 h 501"/>
                <a:gd name="T116" fmla="*/ 567 w 1026"/>
                <a:gd name="T117" fmla="*/ 200 h 501"/>
                <a:gd name="T118" fmla="*/ 644 w 1026"/>
                <a:gd name="T119" fmla="*/ 144 h 501"/>
                <a:gd name="T120" fmla="*/ 658 w 1026"/>
                <a:gd name="T121" fmla="*/ 124 h 501"/>
                <a:gd name="T122" fmla="*/ 731 w 1026"/>
                <a:gd name="T123" fmla="*/ 102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26" h="501">
                  <a:moveTo>
                    <a:pt x="755" y="87"/>
                  </a:moveTo>
                  <a:lnTo>
                    <a:pt x="750" y="82"/>
                  </a:lnTo>
                  <a:lnTo>
                    <a:pt x="766" y="84"/>
                  </a:lnTo>
                  <a:lnTo>
                    <a:pt x="774" y="87"/>
                  </a:lnTo>
                  <a:lnTo>
                    <a:pt x="780" y="86"/>
                  </a:lnTo>
                  <a:lnTo>
                    <a:pt x="775" y="77"/>
                  </a:lnTo>
                  <a:lnTo>
                    <a:pt x="781" y="78"/>
                  </a:lnTo>
                  <a:lnTo>
                    <a:pt x="785" y="79"/>
                  </a:lnTo>
                  <a:lnTo>
                    <a:pt x="790" y="85"/>
                  </a:lnTo>
                  <a:lnTo>
                    <a:pt x="818" y="73"/>
                  </a:lnTo>
                  <a:lnTo>
                    <a:pt x="824" y="66"/>
                  </a:lnTo>
                  <a:lnTo>
                    <a:pt x="821" y="58"/>
                  </a:lnTo>
                  <a:lnTo>
                    <a:pt x="824" y="52"/>
                  </a:lnTo>
                  <a:lnTo>
                    <a:pt x="838" y="47"/>
                  </a:lnTo>
                  <a:lnTo>
                    <a:pt x="830" y="46"/>
                  </a:lnTo>
                  <a:lnTo>
                    <a:pt x="840" y="40"/>
                  </a:lnTo>
                  <a:lnTo>
                    <a:pt x="824" y="37"/>
                  </a:lnTo>
                  <a:lnTo>
                    <a:pt x="835" y="33"/>
                  </a:lnTo>
                  <a:lnTo>
                    <a:pt x="800" y="33"/>
                  </a:lnTo>
                  <a:lnTo>
                    <a:pt x="797" y="42"/>
                  </a:lnTo>
                  <a:lnTo>
                    <a:pt x="799" y="45"/>
                  </a:lnTo>
                  <a:lnTo>
                    <a:pt x="797" y="49"/>
                  </a:lnTo>
                  <a:lnTo>
                    <a:pt x="787" y="49"/>
                  </a:lnTo>
                  <a:lnTo>
                    <a:pt x="759" y="70"/>
                  </a:lnTo>
                  <a:lnTo>
                    <a:pt x="751" y="71"/>
                  </a:lnTo>
                  <a:lnTo>
                    <a:pt x="748" y="59"/>
                  </a:lnTo>
                  <a:lnTo>
                    <a:pt x="753" y="56"/>
                  </a:lnTo>
                  <a:lnTo>
                    <a:pt x="759" y="46"/>
                  </a:lnTo>
                  <a:lnTo>
                    <a:pt x="750" y="40"/>
                  </a:lnTo>
                  <a:lnTo>
                    <a:pt x="728" y="56"/>
                  </a:lnTo>
                  <a:lnTo>
                    <a:pt x="734" y="43"/>
                  </a:lnTo>
                  <a:lnTo>
                    <a:pt x="730" y="39"/>
                  </a:lnTo>
                  <a:lnTo>
                    <a:pt x="740" y="38"/>
                  </a:lnTo>
                  <a:lnTo>
                    <a:pt x="734" y="36"/>
                  </a:lnTo>
                  <a:lnTo>
                    <a:pt x="720" y="33"/>
                  </a:lnTo>
                  <a:lnTo>
                    <a:pt x="719" y="32"/>
                  </a:lnTo>
                  <a:lnTo>
                    <a:pt x="728" y="27"/>
                  </a:lnTo>
                  <a:lnTo>
                    <a:pt x="728" y="26"/>
                  </a:lnTo>
                  <a:lnTo>
                    <a:pt x="735" y="26"/>
                  </a:lnTo>
                  <a:lnTo>
                    <a:pt x="731" y="17"/>
                  </a:lnTo>
                  <a:lnTo>
                    <a:pt x="735" y="7"/>
                  </a:lnTo>
                  <a:lnTo>
                    <a:pt x="728" y="3"/>
                  </a:lnTo>
                  <a:lnTo>
                    <a:pt x="724" y="2"/>
                  </a:lnTo>
                  <a:lnTo>
                    <a:pt x="727" y="0"/>
                  </a:lnTo>
                  <a:lnTo>
                    <a:pt x="718" y="2"/>
                  </a:lnTo>
                  <a:lnTo>
                    <a:pt x="724" y="2"/>
                  </a:lnTo>
                  <a:lnTo>
                    <a:pt x="706" y="6"/>
                  </a:lnTo>
                  <a:lnTo>
                    <a:pt x="708" y="10"/>
                  </a:lnTo>
                  <a:lnTo>
                    <a:pt x="695" y="10"/>
                  </a:lnTo>
                  <a:lnTo>
                    <a:pt x="690" y="19"/>
                  </a:lnTo>
                  <a:lnTo>
                    <a:pt x="693" y="20"/>
                  </a:lnTo>
                  <a:lnTo>
                    <a:pt x="685" y="23"/>
                  </a:lnTo>
                  <a:lnTo>
                    <a:pt x="679" y="31"/>
                  </a:lnTo>
                  <a:lnTo>
                    <a:pt x="706" y="38"/>
                  </a:lnTo>
                  <a:lnTo>
                    <a:pt x="698" y="40"/>
                  </a:lnTo>
                  <a:lnTo>
                    <a:pt x="699" y="39"/>
                  </a:lnTo>
                  <a:lnTo>
                    <a:pt x="693" y="42"/>
                  </a:lnTo>
                  <a:lnTo>
                    <a:pt x="686" y="49"/>
                  </a:lnTo>
                  <a:lnTo>
                    <a:pt x="698" y="45"/>
                  </a:lnTo>
                  <a:lnTo>
                    <a:pt x="693" y="50"/>
                  </a:lnTo>
                  <a:lnTo>
                    <a:pt x="668" y="58"/>
                  </a:lnTo>
                  <a:lnTo>
                    <a:pt x="658" y="70"/>
                  </a:lnTo>
                  <a:lnTo>
                    <a:pt x="653" y="76"/>
                  </a:lnTo>
                  <a:lnTo>
                    <a:pt x="645" y="76"/>
                  </a:lnTo>
                  <a:lnTo>
                    <a:pt x="645" y="79"/>
                  </a:lnTo>
                  <a:lnTo>
                    <a:pt x="645" y="76"/>
                  </a:lnTo>
                  <a:lnTo>
                    <a:pt x="646" y="76"/>
                  </a:lnTo>
                  <a:lnTo>
                    <a:pt x="654" y="73"/>
                  </a:lnTo>
                  <a:lnTo>
                    <a:pt x="650" y="72"/>
                  </a:lnTo>
                  <a:lnTo>
                    <a:pt x="654" y="69"/>
                  </a:lnTo>
                  <a:lnTo>
                    <a:pt x="647" y="70"/>
                  </a:lnTo>
                  <a:lnTo>
                    <a:pt x="664" y="56"/>
                  </a:lnTo>
                  <a:lnTo>
                    <a:pt x="653" y="58"/>
                  </a:lnTo>
                  <a:lnTo>
                    <a:pt x="655" y="56"/>
                  </a:lnTo>
                  <a:lnTo>
                    <a:pt x="641" y="52"/>
                  </a:lnTo>
                  <a:lnTo>
                    <a:pt x="632" y="56"/>
                  </a:lnTo>
                  <a:lnTo>
                    <a:pt x="635" y="60"/>
                  </a:lnTo>
                  <a:lnTo>
                    <a:pt x="644" y="63"/>
                  </a:lnTo>
                  <a:lnTo>
                    <a:pt x="631" y="63"/>
                  </a:lnTo>
                  <a:lnTo>
                    <a:pt x="627" y="58"/>
                  </a:lnTo>
                  <a:lnTo>
                    <a:pt x="624" y="63"/>
                  </a:lnTo>
                  <a:lnTo>
                    <a:pt x="600" y="63"/>
                  </a:lnTo>
                  <a:lnTo>
                    <a:pt x="578" y="62"/>
                  </a:lnTo>
                  <a:lnTo>
                    <a:pt x="570" y="58"/>
                  </a:lnTo>
                  <a:lnTo>
                    <a:pt x="560" y="58"/>
                  </a:lnTo>
                  <a:lnTo>
                    <a:pt x="557" y="51"/>
                  </a:lnTo>
                  <a:lnTo>
                    <a:pt x="552" y="45"/>
                  </a:lnTo>
                  <a:lnTo>
                    <a:pt x="517" y="53"/>
                  </a:lnTo>
                  <a:lnTo>
                    <a:pt x="524" y="57"/>
                  </a:lnTo>
                  <a:lnTo>
                    <a:pt x="541" y="52"/>
                  </a:lnTo>
                  <a:lnTo>
                    <a:pt x="552" y="51"/>
                  </a:lnTo>
                  <a:lnTo>
                    <a:pt x="531" y="58"/>
                  </a:lnTo>
                  <a:lnTo>
                    <a:pt x="520" y="59"/>
                  </a:lnTo>
                  <a:lnTo>
                    <a:pt x="512" y="78"/>
                  </a:lnTo>
                  <a:lnTo>
                    <a:pt x="508" y="73"/>
                  </a:lnTo>
                  <a:lnTo>
                    <a:pt x="505" y="85"/>
                  </a:lnTo>
                  <a:lnTo>
                    <a:pt x="500" y="72"/>
                  </a:lnTo>
                  <a:lnTo>
                    <a:pt x="508" y="72"/>
                  </a:lnTo>
                  <a:lnTo>
                    <a:pt x="506" y="65"/>
                  </a:lnTo>
                  <a:lnTo>
                    <a:pt x="500" y="69"/>
                  </a:lnTo>
                  <a:lnTo>
                    <a:pt x="500" y="63"/>
                  </a:lnTo>
                  <a:lnTo>
                    <a:pt x="491" y="60"/>
                  </a:lnTo>
                  <a:lnTo>
                    <a:pt x="447" y="65"/>
                  </a:lnTo>
                  <a:lnTo>
                    <a:pt x="431" y="60"/>
                  </a:lnTo>
                  <a:lnTo>
                    <a:pt x="448" y="56"/>
                  </a:lnTo>
                  <a:lnTo>
                    <a:pt x="455" y="53"/>
                  </a:lnTo>
                  <a:lnTo>
                    <a:pt x="441" y="45"/>
                  </a:lnTo>
                  <a:lnTo>
                    <a:pt x="435" y="46"/>
                  </a:lnTo>
                  <a:lnTo>
                    <a:pt x="405" y="39"/>
                  </a:lnTo>
                  <a:lnTo>
                    <a:pt x="375" y="31"/>
                  </a:lnTo>
                  <a:lnTo>
                    <a:pt x="359" y="38"/>
                  </a:lnTo>
                  <a:lnTo>
                    <a:pt x="352" y="37"/>
                  </a:lnTo>
                  <a:lnTo>
                    <a:pt x="358" y="33"/>
                  </a:lnTo>
                  <a:lnTo>
                    <a:pt x="360" y="27"/>
                  </a:lnTo>
                  <a:lnTo>
                    <a:pt x="357" y="30"/>
                  </a:lnTo>
                  <a:lnTo>
                    <a:pt x="351" y="32"/>
                  </a:lnTo>
                  <a:lnTo>
                    <a:pt x="345" y="37"/>
                  </a:lnTo>
                  <a:lnTo>
                    <a:pt x="339" y="39"/>
                  </a:lnTo>
                  <a:lnTo>
                    <a:pt x="333" y="29"/>
                  </a:lnTo>
                  <a:lnTo>
                    <a:pt x="328" y="22"/>
                  </a:lnTo>
                  <a:lnTo>
                    <a:pt x="330" y="26"/>
                  </a:lnTo>
                  <a:lnTo>
                    <a:pt x="305" y="32"/>
                  </a:lnTo>
                  <a:lnTo>
                    <a:pt x="306" y="31"/>
                  </a:lnTo>
                  <a:lnTo>
                    <a:pt x="280" y="36"/>
                  </a:lnTo>
                  <a:lnTo>
                    <a:pt x="306" y="26"/>
                  </a:lnTo>
                  <a:lnTo>
                    <a:pt x="287" y="29"/>
                  </a:lnTo>
                  <a:lnTo>
                    <a:pt x="258" y="37"/>
                  </a:lnTo>
                  <a:lnTo>
                    <a:pt x="228" y="43"/>
                  </a:lnTo>
                  <a:lnTo>
                    <a:pt x="225" y="49"/>
                  </a:lnTo>
                  <a:lnTo>
                    <a:pt x="215" y="47"/>
                  </a:lnTo>
                  <a:lnTo>
                    <a:pt x="213" y="50"/>
                  </a:lnTo>
                  <a:lnTo>
                    <a:pt x="190" y="42"/>
                  </a:lnTo>
                  <a:lnTo>
                    <a:pt x="167" y="33"/>
                  </a:lnTo>
                  <a:lnTo>
                    <a:pt x="146" y="52"/>
                  </a:lnTo>
                  <a:lnTo>
                    <a:pt x="124" y="70"/>
                  </a:lnTo>
                  <a:lnTo>
                    <a:pt x="103" y="89"/>
                  </a:lnTo>
                  <a:lnTo>
                    <a:pt x="81" y="106"/>
                  </a:lnTo>
                  <a:lnTo>
                    <a:pt x="60" y="125"/>
                  </a:lnTo>
                  <a:lnTo>
                    <a:pt x="40" y="144"/>
                  </a:lnTo>
                  <a:lnTo>
                    <a:pt x="20" y="163"/>
                  </a:lnTo>
                  <a:lnTo>
                    <a:pt x="0" y="180"/>
                  </a:lnTo>
                  <a:lnTo>
                    <a:pt x="26" y="180"/>
                  </a:lnTo>
                  <a:lnTo>
                    <a:pt x="19" y="185"/>
                  </a:lnTo>
                  <a:lnTo>
                    <a:pt x="23" y="187"/>
                  </a:lnTo>
                  <a:lnTo>
                    <a:pt x="21" y="205"/>
                  </a:lnTo>
                  <a:lnTo>
                    <a:pt x="33" y="200"/>
                  </a:lnTo>
                  <a:lnTo>
                    <a:pt x="44" y="196"/>
                  </a:lnTo>
                  <a:lnTo>
                    <a:pt x="61" y="189"/>
                  </a:lnTo>
                  <a:lnTo>
                    <a:pt x="66" y="207"/>
                  </a:lnTo>
                  <a:lnTo>
                    <a:pt x="63" y="223"/>
                  </a:lnTo>
                  <a:lnTo>
                    <a:pt x="59" y="238"/>
                  </a:lnTo>
                  <a:lnTo>
                    <a:pt x="66" y="246"/>
                  </a:lnTo>
                  <a:lnTo>
                    <a:pt x="72" y="254"/>
                  </a:lnTo>
                  <a:lnTo>
                    <a:pt x="58" y="269"/>
                  </a:lnTo>
                  <a:lnTo>
                    <a:pt x="71" y="258"/>
                  </a:lnTo>
                  <a:lnTo>
                    <a:pt x="71" y="263"/>
                  </a:lnTo>
                  <a:lnTo>
                    <a:pt x="59" y="269"/>
                  </a:lnTo>
                  <a:lnTo>
                    <a:pt x="61" y="269"/>
                  </a:lnTo>
                  <a:lnTo>
                    <a:pt x="53" y="276"/>
                  </a:lnTo>
                  <a:lnTo>
                    <a:pt x="50" y="276"/>
                  </a:lnTo>
                  <a:lnTo>
                    <a:pt x="50" y="281"/>
                  </a:lnTo>
                  <a:lnTo>
                    <a:pt x="47" y="277"/>
                  </a:lnTo>
                  <a:lnTo>
                    <a:pt x="46" y="284"/>
                  </a:lnTo>
                  <a:lnTo>
                    <a:pt x="53" y="284"/>
                  </a:lnTo>
                  <a:lnTo>
                    <a:pt x="48" y="284"/>
                  </a:lnTo>
                  <a:lnTo>
                    <a:pt x="48" y="287"/>
                  </a:lnTo>
                  <a:lnTo>
                    <a:pt x="46" y="285"/>
                  </a:lnTo>
                  <a:lnTo>
                    <a:pt x="47" y="297"/>
                  </a:lnTo>
                  <a:lnTo>
                    <a:pt x="64" y="286"/>
                  </a:lnTo>
                  <a:lnTo>
                    <a:pt x="58" y="296"/>
                  </a:lnTo>
                  <a:lnTo>
                    <a:pt x="61" y="298"/>
                  </a:lnTo>
                  <a:lnTo>
                    <a:pt x="53" y="296"/>
                  </a:lnTo>
                  <a:lnTo>
                    <a:pt x="52" y="306"/>
                  </a:lnTo>
                  <a:lnTo>
                    <a:pt x="54" y="305"/>
                  </a:lnTo>
                  <a:lnTo>
                    <a:pt x="46" y="316"/>
                  </a:lnTo>
                  <a:lnTo>
                    <a:pt x="51" y="313"/>
                  </a:lnTo>
                  <a:lnTo>
                    <a:pt x="50" y="317"/>
                  </a:lnTo>
                  <a:lnTo>
                    <a:pt x="70" y="306"/>
                  </a:lnTo>
                  <a:lnTo>
                    <a:pt x="63" y="314"/>
                  </a:lnTo>
                  <a:lnTo>
                    <a:pt x="63" y="321"/>
                  </a:lnTo>
                  <a:lnTo>
                    <a:pt x="60" y="316"/>
                  </a:lnTo>
                  <a:lnTo>
                    <a:pt x="44" y="324"/>
                  </a:lnTo>
                  <a:lnTo>
                    <a:pt x="46" y="327"/>
                  </a:lnTo>
                  <a:lnTo>
                    <a:pt x="50" y="325"/>
                  </a:lnTo>
                  <a:lnTo>
                    <a:pt x="59" y="326"/>
                  </a:lnTo>
                  <a:lnTo>
                    <a:pt x="44" y="331"/>
                  </a:lnTo>
                  <a:lnTo>
                    <a:pt x="39" y="332"/>
                  </a:lnTo>
                  <a:lnTo>
                    <a:pt x="46" y="333"/>
                  </a:lnTo>
                  <a:lnTo>
                    <a:pt x="38" y="336"/>
                  </a:lnTo>
                  <a:lnTo>
                    <a:pt x="48" y="340"/>
                  </a:lnTo>
                  <a:lnTo>
                    <a:pt x="52" y="338"/>
                  </a:lnTo>
                  <a:lnTo>
                    <a:pt x="54" y="340"/>
                  </a:lnTo>
                  <a:lnTo>
                    <a:pt x="50" y="341"/>
                  </a:lnTo>
                  <a:lnTo>
                    <a:pt x="57" y="341"/>
                  </a:lnTo>
                  <a:lnTo>
                    <a:pt x="52" y="344"/>
                  </a:lnTo>
                  <a:lnTo>
                    <a:pt x="64" y="340"/>
                  </a:lnTo>
                  <a:lnTo>
                    <a:pt x="66" y="337"/>
                  </a:lnTo>
                  <a:lnTo>
                    <a:pt x="59" y="344"/>
                  </a:lnTo>
                  <a:lnTo>
                    <a:pt x="53" y="344"/>
                  </a:lnTo>
                  <a:lnTo>
                    <a:pt x="51" y="346"/>
                  </a:lnTo>
                  <a:lnTo>
                    <a:pt x="61" y="344"/>
                  </a:lnTo>
                  <a:lnTo>
                    <a:pt x="61" y="347"/>
                  </a:lnTo>
                  <a:lnTo>
                    <a:pt x="71" y="341"/>
                  </a:lnTo>
                  <a:lnTo>
                    <a:pt x="66" y="350"/>
                  </a:lnTo>
                  <a:lnTo>
                    <a:pt x="74" y="346"/>
                  </a:lnTo>
                  <a:lnTo>
                    <a:pt x="63" y="354"/>
                  </a:lnTo>
                  <a:lnTo>
                    <a:pt x="70" y="358"/>
                  </a:lnTo>
                  <a:lnTo>
                    <a:pt x="77" y="352"/>
                  </a:lnTo>
                  <a:lnTo>
                    <a:pt x="72" y="361"/>
                  </a:lnTo>
                  <a:lnTo>
                    <a:pt x="74" y="361"/>
                  </a:lnTo>
                  <a:lnTo>
                    <a:pt x="68" y="361"/>
                  </a:lnTo>
                  <a:lnTo>
                    <a:pt x="74" y="364"/>
                  </a:lnTo>
                  <a:lnTo>
                    <a:pt x="80" y="361"/>
                  </a:lnTo>
                  <a:lnTo>
                    <a:pt x="77" y="366"/>
                  </a:lnTo>
                  <a:lnTo>
                    <a:pt x="80" y="367"/>
                  </a:lnTo>
                  <a:lnTo>
                    <a:pt x="74" y="371"/>
                  </a:lnTo>
                  <a:lnTo>
                    <a:pt x="79" y="373"/>
                  </a:lnTo>
                  <a:lnTo>
                    <a:pt x="448" y="373"/>
                  </a:lnTo>
                  <a:lnTo>
                    <a:pt x="460" y="372"/>
                  </a:lnTo>
                  <a:lnTo>
                    <a:pt x="467" y="366"/>
                  </a:lnTo>
                  <a:lnTo>
                    <a:pt x="465" y="376"/>
                  </a:lnTo>
                  <a:lnTo>
                    <a:pt x="480" y="380"/>
                  </a:lnTo>
                  <a:lnTo>
                    <a:pt x="500" y="387"/>
                  </a:lnTo>
                  <a:lnTo>
                    <a:pt x="514" y="385"/>
                  </a:lnTo>
                  <a:lnTo>
                    <a:pt x="525" y="391"/>
                  </a:lnTo>
                  <a:lnTo>
                    <a:pt x="544" y="385"/>
                  </a:lnTo>
                  <a:lnTo>
                    <a:pt x="555" y="393"/>
                  </a:lnTo>
                  <a:lnTo>
                    <a:pt x="567" y="401"/>
                  </a:lnTo>
                  <a:lnTo>
                    <a:pt x="579" y="407"/>
                  </a:lnTo>
                  <a:lnTo>
                    <a:pt x="591" y="416"/>
                  </a:lnTo>
                  <a:lnTo>
                    <a:pt x="592" y="424"/>
                  </a:lnTo>
                  <a:lnTo>
                    <a:pt x="598" y="423"/>
                  </a:lnTo>
                  <a:lnTo>
                    <a:pt x="597" y="428"/>
                  </a:lnTo>
                  <a:lnTo>
                    <a:pt x="607" y="436"/>
                  </a:lnTo>
                  <a:lnTo>
                    <a:pt x="605" y="452"/>
                  </a:lnTo>
                  <a:lnTo>
                    <a:pt x="601" y="468"/>
                  </a:lnTo>
                  <a:lnTo>
                    <a:pt x="594" y="478"/>
                  </a:lnTo>
                  <a:lnTo>
                    <a:pt x="577" y="494"/>
                  </a:lnTo>
                  <a:lnTo>
                    <a:pt x="580" y="501"/>
                  </a:lnTo>
                  <a:lnTo>
                    <a:pt x="595" y="497"/>
                  </a:lnTo>
                  <a:lnTo>
                    <a:pt x="611" y="491"/>
                  </a:lnTo>
                  <a:lnTo>
                    <a:pt x="626" y="485"/>
                  </a:lnTo>
                  <a:lnTo>
                    <a:pt x="641" y="481"/>
                  </a:lnTo>
                  <a:lnTo>
                    <a:pt x="644" y="470"/>
                  </a:lnTo>
                  <a:lnTo>
                    <a:pt x="660" y="468"/>
                  </a:lnTo>
                  <a:lnTo>
                    <a:pt x="678" y="466"/>
                  </a:lnTo>
                  <a:lnTo>
                    <a:pt x="693" y="456"/>
                  </a:lnTo>
                  <a:lnTo>
                    <a:pt x="706" y="445"/>
                  </a:lnTo>
                  <a:lnTo>
                    <a:pt x="734" y="444"/>
                  </a:lnTo>
                  <a:lnTo>
                    <a:pt x="760" y="443"/>
                  </a:lnTo>
                  <a:lnTo>
                    <a:pt x="771" y="436"/>
                  </a:lnTo>
                  <a:lnTo>
                    <a:pt x="785" y="425"/>
                  </a:lnTo>
                  <a:lnTo>
                    <a:pt x="797" y="412"/>
                  </a:lnTo>
                  <a:lnTo>
                    <a:pt x="808" y="400"/>
                  </a:lnTo>
                  <a:lnTo>
                    <a:pt x="810" y="403"/>
                  </a:lnTo>
                  <a:lnTo>
                    <a:pt x="817" y="403"/>
                  </a:lnTo>
                  <a:lnTo>
                    <a:pt x="826" y="406"/>
                  </a:lnTo>
                  <a:lnTo>
                    <a:pt x="819" y="428"/>
                  </a:lnTo>
                  <a:lnTo>
                    <a:pt x="824" y="439"/>
                  </a:lnTo>
                  <a:lnTo>
                    <a:pt x="826" y="441"/>
                  </a:lnTo>
                  <a:lnTo>
                    <a:pt x="839" y="436"/>
                  </a:lnTo>
                  <a:lnTo>
                    <a:pt x="839" y="438"/>
                  </a:lnTo>
                  <a:lnTo>
                    <a:pt x="859" y="431"/>
                  </a:lnTo>
                  <a:lnTo>
                    <a:pt x="864" y="424"/>
                  </a:lnTo>
                  <a:lnTo>
                    <a:pt x="865" y="426"/>
                  </a:lnTo>
                  <a:lnTo>
                    <a:pt x="867" y="426"/>
                  </a:lnTo>
                  <a:lnTo>
                    <a:pt x="857" y="434"/>
                  </a:lnTo>
                  <a:lnTo>
                    <a:pt x="878" y="436"/>
                  </a:lnTo>
                  <a:lnTo>
                    <a:pt x="865" y="440"/>
                  </a:lnTo>
                  <a:lnTo>
                    <a:pt x="865" y="438"/>
                  </a:lnTo>
                  <a:lnTo>
                    <a:pt x="841" y="448"/>
                  </a:lnTo>
                  <a:lnTo>
                    <a:pt x="846" y="446"/>
                  </a:lnTo>
                  <a:lnTo>
                    <a:pt x="833" y="453"/>
                  </a:lnTo>
                  <a:lnTo>
                    <a:pt x="838" y="450"/>
                  </a:lnTo>
                  <a:lnTo>
                    <a:pt x="831" y="459"/>
                  </a:lnTo>
                  <a:lnTo>
                    <a:pt x="835" y="468"/>
                  </a:lnTo>
                  <a:lnTo>
                    <a:pt x="845" y="465"/>
                  </a:lnTo>
                  <a:lnTo>
                    <a:pt x="865" y="450"/>
                  </a:lnTo>
                  <a:lnTo>
                    <a:pt x="867" y="451"/>
                  </a:lnTo>
                  <a:lnTo>
                    <a:pt x="871" y="448"/>
                  </a:lnTo>
                  <a:lnTo>
                    <a:pt x="873" y="450"/>
                  </a:lnTo>
                  <a:lnTo>
                    <a:pt x="891" y="444"/>
                  </a:lnTo>
                  <a:lnTo>
                    <a:pt x="910" y="438"/>
                  </a:lnTo>
                  <a:lnTo>
                    <a:pt x="905" y="436"/>
                  </a:lnTo>
                  <a:lnTo>
                    <a:pt x="908" y="434"/>
                  </a:lnTo>
                  <a:lnTo>
                    <a:pt x="902" y="426"/>
                  </a:lnTo>
                  <a:lnTo>
                    <a:pt x="895" y="431"/>
                  </a:lnTo>
                  <a:lnTo>
                    <a:pt x="885" y="428"/>
                  </a:lnTo>
                  <a:lnTo>
                    <a:pt x="874" y="424"/>
                  </a:lnTo>
                  <a:lnTo>
                    <a:pt x="867" y="421"/>
                  </a:lnTo>
                  <a:lnTo>
                    <a:pt x="867" y="407"/>
                  </a:lnTo>
                  <a:lnTo>
                    <a:pt x="861" y="406"/>
                  </a:lnTo>
                  <a:lnTo>
                    <a:pt x="873" y="394"/>
                  </a:lnTo>
                  <a:lnTo>
                    <a:pt x="860" y="396"/>
                  </a:lnTo>
                  <a:lnTo>
                    <a:pt x="859" y="392"/>
                  </a:lnTo>
                  <a:lnTo>
                    <a:pt x="846" y="391"/>
                  </a:lnTo>
                  <a:lnTo>
                    <a:pt x="850" y="390"/>
                  </a:lnTo>
                  <a:lnTo>
                    <a:pt x="864" y="390"/>
                  </a:lnTo>
                  <a:lnTo>
                    <a:pt x="881" y="383"/>
                  </a:lnTo>
                  <a:lnTo>
                    <a:pt x="884" y="377"/>
                  </a:lnTo>
                  <a:lnTo>
                    <a:pt x="886" y="377"/>
                  </a:lnTo>
                  <a:lnTo>
                    <a:pt x="886" y="373"/>
                  </a:lnTo>
                  <a:lnTo>
                    <a:pt x="870" y="367"/>
                  </a:lnTo>
                  <a:lnTo>
                    <a:pt x="850" y="373"/>
                  </a:lnTo>
                  <a:lnTo>
                    <a:pt x="830" y="379"/>
                  </a:lnTo>
                  <a:lnTo>
                    <a:pt x="814" y="387"/>
                  </a:lnTo>
                  <a:lnTo>
                    <a:pt x="799" y="399"/>
                  </a:lnTo>
                  <a:lnTo>
                    <a:pt x="778" y="411"/>
                  </a:lnTo>
                  <a:lnTo>
                    <a:pt x="791" y="399"/>
                  </a:lnTo>
                  <a:lnTo>
                    <a:pt x="806" y="387"/>
                  </a:lnTo>
                  <a:lnTo>
                    <a:pt x="790" y="383"/>
                  </a:lnTo>
                  <a:lnTo>
                    <a:pt x="805" y="387"/>
                  </a:lnTo>
                  <a:lnTo>
                    <a:pt x="825" y="373"/>
                  </a:lnTo>
                  <a:lnTo>
                    <a:pt x="846" y="366"/>
                  </a:lnTo>
                  <a:lnTo>
                    <a:pt x="860" y="352"/>
                  </a:lnTo>
                  <a:lnTo>
                    <a:pt x="891" y="352"/>
                  </a:lnTo>
                  <a:lnTo>
                    <a:pt x="922" y="351"/>
                  </a:lnTo>
                  <a:lnTo>
                    <a:pt x="948" y="351"/>
                  </a:lnTo>
                  <a:lnTo>
                    <a:pt x="974" y="337"/>
                  </a:lnTo>
                  <a:lnTo>
                    <a:pt x="997" y="331"/>
                  </a:lnTo>
                  <a:lnTo>
                    <a:pt x="1024" y="317"/>
                  </a:lnTo>
                  <a:lnTo>
                    <a:pt x="1017" y="313"/>
                  </a:lnTo>
                  <a:lnTo>
                    <a:pt x="1024" y="312"/>
                  </a:lnTo>
                  <a:lnTo>
                    <a:pt x="1014" y="311"/>
                  </a:lnTo>
                  <a:lnTo>
                    <a:pt x="1022" y="310"/>
                  </a:lnTo>
                  <a:lnTo>
                    <a:pt x="1022" y="306"/>
                  </a:lnTo>
                  <a:lnTo>
                    <a:pt x="1025" y="301"/>
                  </a:lnTo>
                  <a:lnTo>
                    <a:pt x="1026" y="297"/>
                  </a:lnTo>
                  <a:lnTo>
                    <a:pt x="1017" y="292"/>
                  </a:lnTo>
                  <a:lnTo>
                    <a:pt x="1018" y="292"/>
                  </a:lnTo>
                  <a:lnTo>
                    <a:pt x="1008" y="293"/>
                  </a:lnTo>
                  <a:lnTo>
                    <a:pt x="1012" y="284"/>
                  </a:lnTo>
                  <a:lnTo>
                    <a:pt x="998" y="285"/>
                  </a:lnTo>
                  <a:lnTo>
                    <a:pt x="1006" y="285"/>
                  </a:lnTo>
                  <a:lnTo>
                    <a:pt x="984" y="292"/>
                  </a:lnTo>
                  <a:lnTo>
                    <a:pt x="966" y="297"/>
                  </a:lnTo>
                  <a:lnTo>
                    <a:pt x="972" y="296"/>
                  </a:lnTo>
                  <a:lnTo>
                    <a:pt x="965" y="292"/>
                  </a:lnTo>
                  <a:lnTo>
                    <a:pt x="974" y="292"/>
                  </a:lnTo>
                  <a:lnTo>
                    <a:pt x="999" y="283"/>
                  </a:lnTo>
                  <a:lnTo>
                    <a:pt x="982" y="285"/>
                  </a:lnTo>
                  <a:lnTo>
                    <a:pt x="1014" y="277"/>
                  </a:lnTo>
                  <a:lnTo>
                    <a:pt x="994" y="269"/>
                  </a:lnTo>
                  <a:lnTo>
                    <a:pt x="990" y="271"/>
                  </a:lnTo>
                  <a:lnTo>
                    <a:pt x="994" y="266"/>
                  </a:lnTo>
                  <a:lnTo>
                    <a:pt x="982" y="272"/>
                  </a:lnTo>
                  <a:lnTo>
                    <a:pt x="987" y="267"/>
                  </a:lnTo>
                  <a:lnTo>
                    <a:pt x="986" y="266"/>
                  </a:lnTo>
                  <a:lnTo>
                    <a:pt x="979" y="267"/>
                  </a:lnTo>
                  <a:lnTo>
                    <a:pt x="982" y="265"/>
                  </a:lnTo>
                  <a:lnTo>
                    <a:pt x="974" y="269"/>
                  </a:lnTo>
                  <a:lnTo>
                    <a:pt x="977" y="265"/>
                  </a:lnTo>
                  <a:lnTo>
                    <a:pt x="979" y="263"/>
                  </a:lnTo>
                  <a:lnTo>
                    <a:pt x="980" y="256"/>
                  </a:lnTo>
                  <a:lnTo>
                    <a:pt x="977" y="259"/>
                  </a:lnTo>
                  <a:lnTo>
                    <a:pt x="977" y="257"/>
                  </a:lnTo>
                  <a:lnTo>
                    <a:pt x="972" y="251"/>
                  </a:lnTo>
                  <a:lnTo>
                    <a:pt x="964" y="247"/>
                  </a:lnTo>
                  <a:lnTo>
                    <a:pt x="970" y="247"/>
                  </a:lnTo>
                  <a:lnTo>
                    <a:pt x="965" y="245"/>
                  </a:lnTo>
                  <a:lnTo>
                    <a:pt x="970" y="244"/>
                  </a:lnTo>
                  <a:lnTo>
                    <a:pt x="964" y="243"/>
                  </a:lnTo>
                  <a:lnTo>
                    <a:pt x="968" y="243"/>
                  </a:lnTo>
                  <a:lnTo>
                    <a:pt x="962" y="238"/>
                  </a:lnTo>
                  <a:lnTo>
                    <a:pt x="965" y="238"/>
                  </a:lnTo>
                  <a:lnTo>
                    <a:pt x="968" y="240"/>
                  </a:lnTo>
                  <a:lnTo>
                    <a:pt x="978" y="234"/>
                  </a:lnTo>
                  <a:lnTo>
                    <a:pt x="974" y="230"/>
                  </a:lnTo>
                  <a:lnTo>
                    <a:pt x="970" y="227"/>
                  </a:lnTo>
                  <a:lnTo>
                    <a:pt x="975" y="224"/>
                  </a:lnTo>
                  <a:lnTo>
                    <a:pt x="970" y="219"/>
                  </a:lnTo>
                  <a:lnTo>
                    <a:pt x="968" y="217"/>
                  </a:lnTo>
                  <a:lnTo>
                    <a:pt x="962" y="218"/>
                  </a:lnTo>
                  <a:lnTo>
                    <a:pt x="972" y="214"/>
                  </a:lnTo>
                  <a:lnTo>
                    <a:pt x="970" y="212"/>
                  </a:lnTo>
                  <a:lnTo>
                    <a:pt x="959" y="214"/>
                  </a:lnTo>
                  <a:lnTo>
                    <a:pt x="972" y="206"/>
                  </a:lnTo>
                  <a:lnTo>
                    <a:pt x="967" y="203"/>
                  </a:lnTo>
                  <a:lnTo>
                    <a:pt x="962" y="203"/>
                  </a:lnTo>
                  <a:lnTo>
                    <a:pt x="967" y="197"/>
                  </a:lnTo>
                  <a:lnTo>
                    <a:pt x="965" y="196"/>
                  </a:lnTo>
                  <a:lnTo>
                    <a:pt x="960" y="187"/>
                  </a:lnTo>
                  <a:lnTo>
                    <a:pt x="960" y="185"/>
                  </a:lnTo>
                  <a:lnTo>
                    <a:pt x="955" y="186"/>
                  </a:lnTo>
                  <a:lnTo>
                    <a:pt x="960" y="183"/>
                  </a:lnTo>
                  <a:lnTo>
                    <a:pt x="952" y="186"/>
                  </a:lnTo>
                  <a:lnTo>
                    <a:pt x="952" y="190"/>
                  </a:lnTo>
                  <a:lnTo>
                    <a:pt x="945" y="190"/>
                  </a:lnTo>
                  <a:lnTo>
                    <a:pt x="947" y="196"/>
                  </a:lnTo>
                  <a:lnTo>
                    <a:pt x="944" y="197"/>
                  </a:lnTo>
                  <a:lnTo>
                    <a:pt x="938" y="203"/>
                  </a:lnTo>
                  <a:lnTo>
                    <a:pt x="932" y="207"/>
                  </a:lnTo>
                  <a:lnTo>
                    <a:pt x="928" y="213"/>
                  </a:lnTo>
                  <a:lnTo>
                    <a:pt x="926" y="206"/>
                  </a:lnTo>
                  <a:lnTo>
                    <a:pt x="914" y="213"/>
                  </a:lnTo>
                  <a:lnTo>
                    <a:pt x="904" y="220"/>
                  </a:lnTo>
                  <a:lnTo>
                    <a:pt x="905" y="214"/>
                  </a:lnTo>
                  <a:lnTo>
                    <a:pt x="899" y="217"/>
                  </a:lnTo>
                  <a:lnTo>
                    <a:pt x="902" y="210"/>
                  </a:lnTo>
                  <a:lnTo>
                    <a:pt x="895" y="218"/>
                  </a:lnTo>
                  <a:lnTo>
                    <a:pt x="880" y="224"/>
                  </a:lnTo>
                  <a:lnTo>
                    <a:pt x="899" y="214"/>
                  </a:lnTo>
                  <a:lnTo>
                    <a:pt x="897" y="204"/>
                  </a:lnTo>
                  <a:lnTo>
                    <a:pt x="880" y="207"/>
                  </a:lnTo>
                  <a:lnTo>
                    <a:pt x="877" y="206"/>
                  </a:lnTo>
                  <a:lnTo>
                    <a:pt x="884" y="204"/>
                  </a:lnTo>
                  <a:lnTo>
                    <a:pt x="887" y="205"/>
                  </a:lnTo>
                  <a:lnTo>
                    <a:pt x="893" y="197"/>
                  </a:lnTo>
                  <a:lnTo>
                    <a:pt x="890" y="194"/>
                  </a:lnTo>
                  <a:lnTo>
                    <a:pt x="894" y="186"/>
                  </a:lnTo>
                  <a:lnTo>
                    <a:pt x="878" y="185"/>
                  </a:lnTo>
                  <a:lnTo>
                    <a:pt x="897" y="184"/>
                  </a:lnTo>
                  <a:lnTo>
                    <a:pt x="899" y="176"/>
                  </a:lnTo>
                  <a:lnTo>
                    <a:pt x="902" y="170"/>
                  </a:lnTo>
                  <a:lnTo>
                    <a:pt x="897" y="171"/>
                  </a:lnTo>
                  <a:lnTo>
                    <a:pt x="879" y="164"/>
                  </a:lnTo>
                  <a:lnTo>
                    <a:pt x="884" y="159"/>
                  </a:lnTo>
                  <a:lnTo>
                    <a:pt x="879" y="159"/>
                  </a:lnTo>
                  <a:lnTo>
                    <a:pt x="875" y="154"/>
                  </a:lnTo>
                  <a:lnTo>
                    <a:pt x="877" y="151"/>
                  </a:lnTo>
                  <a:lnTo>
                    <a:pt x="864" y="146"/>
                  </a:lnTo>
                  <a:lnTo>
                    <a:pt x="850" y="151"/>
                  </a:lnTo>
                  <a:lnTo>
                    <a:pt x="835" y="151"/>
                  </a:lnTo>
                  <a:lnTo>
                    <a:pt x="840" y="149"/>
                  </a:lnTo>
                  <a:lnTo>
                    <a:pt x="815" y="146"/>
                  </a:lnTo>
                  <a:lnTo>
                    <a:pt x="806" y="158"/>
                  </a:lnTo>
                  <a:lnTo>
                    <a:pt x="807" y="164"/>
                  </a:lnTo>
                  <a:lnTo>
                    <a:pt x="798" y="174"/>
                  </a:lnTo>
                  <a:lnTo>
                    <a:pt x="801" y="174"/>
                  </a:lnTo>
                  <a:lnTo>
                    <a:pt x="798" y="185"/>
                  </a:lnTo>
                  <a:lnTo>
                    <a:pt x="793" y="191"/>
                  </a:lnTo>
                  <a:lnTo>
                    <a:pt x="790" y="193"/>
                  </a:lnTo>
                  <a:lnTo>
                    <a:pt x="770" y="209"/>
                  </a:lnTo>
                  <a:lnTo>
                    <a:pt x="784" y="225"/>
                  </a:lnTo>
                  <a:lnTo>
                    <a:pt x="777" y="239"/>
                  </a:lnTo>
                  <a:lnTo>
                    <a:pt x="768" y="254"/>
                  </a:lnTo>
                  <a:lnTo>
                    <a:pt x="748" y="263"/>
                  </a:lnTo>
                  <a:lnTo>
                    <a:pt x="730" y="272"/>
                  </a:lnTo>
                  <a:lnTo>
                    <a:pt x="720" y="276"/>
                  </a:lnTo>
                  <a:lnTo>
                    <a:pt x="721" y="287"/>
                  </a:lnTo>
                  <a:lnTo>
                    <a:pt x="717" y="312"/>
                  </a:lnTo>
                  <a:lnTo>
                    <a:pt x="710" y="321"/>
                  </a:lnTo>
                  <a:lnTo>
                    <a:pt x="705" y="330"/>
                  </a:lnTo>
                  <a:lnTo>
                    <a:pt x="701" y="333"/>
                  </a:lnTo>
                  <a:lnTo>
                    <a:pt x="699" y="326"/>
                  </a:lnTo>
                  <a:lnTo>
                    <a:pt x="690" y="337"/>
                  </a:lnTo>
                  <a:lnTo>
                    <a:pt x="691" y="343"/>
                  </a:lnTo>
                  <a:lnTo>
                    <a:pt x="681" y="332"/>
                  </a:lnTo>
                  <a:lnTo>
                    <a:pt x="671" y="337"/>
                  </a:lnTo>
                  <a:lnTo>
                    <a:pt x="681" y="330"/>
                  </a:lnTo>
                  <a:lnTo>
                    <a:pt x="671" y="317"/>
                  </a:lnTo>
                  <a:lnTo>
                    <a:pt x="675" y="312"/>
                  </a:lnTo>
                  <a:lnTo>
                    <a:pt x="673" y="299"/>
                  </a:lnTo>
                  <a:lnTo>
                    <a:pt x="679" y="284"/>
                  </a:lnTo>
                  <a:lnTo>
                    <a:pt x="686" y="267"/>
                  </a:lnTo>
                  <a:lnTo>
                    <a:pt x="668" y="266"/>
                  </a:lnTo>
                  <a:lnTo>
                    <a:pt x="653" y="265"/>
                  </a:lnTo>
                  <a:lnTo>
                    <a:pt x="648" y="267"/>
                  </a:lnTo>
                  <a:lnTo>
                    <a:pt x="654" y="264"/>
                  </a:lnTo>
                  <a:lnTo>
                    <a:pt x="641" y="257"/>
                  </a:lnTo>
                  <a:lnTo>
                    <a:pt x="628" y="252"/>
                  </a:lnTo>
                  <a:lnTo>
                    <a:pt x="614" y="237"/>
                  </a:lnTo>
                  <a:lnTo>
                    <a:pt x="597" y="232"/>
                  </a:lnTo>
                  <a:lnTo>
                    <a:pt x="574" y="237"/>
                  </a:lnTo>
                  <a:lnTo>
                    <a:pt x="575" y="236"/>
                  </a:lnTo>
                  <a:lnTo>
                    <a:pt x="571" y="237"/>
                  </a:lnTo>
                  <a:lnTo>
                    <a:pt x="581" y="217"/>
                  </a:lnTo>
                  <a:lnTo>
                    <a:pt x="580" y="207"/>
                  </a:lnTo>
                  <a:lnTo>
                    <a:pt x="568" y="210"/>
                  </a:lnTo>
                  <a:lnTo>
                    <a:pt x="564" y="216"/>
                  </a:lnTo>
                  <a:lnTo>
                    <a:pt x="568" y="207"/>
                  </a:lnTo>
                  <a:lnTo>
                    <a:pt x="567" y="200"/>
                  </a:lnTo>
                  <a:lnTo>
                    <a:pt x="586" y="178"/>
                  </a:lnTo>
                  <a:lnTo>
                    <a:pt x="612" y="159"/>
                  </a:lnTo>
                  <a:lnTo>
                    <a:pt x="615" y="154"/>
                  </a:lnTo>
                  <a:lnTo>
                    <a:pt x="628" y="150"/>
                  </a:lnTo>
                  <a:lnTo>
                    <a:pt x="625" y="149"/>
                  </a:lnTo>
                  <a:lnTo>
                    <a:pt x="630" y="150"/>
                  </a:lnTo>
                  <a:lnTo>
                    <a:pt x="635" y="145"/>
                  </a:lnTo>
                  <a:lnTo>
                    <a:pt x="644" y="144"/>
                  </a:lnTo>
                  <a:lnTo>
                    <a:pt x="644" y="140"/>
                  </a:lnTo>
                  <a:lnTo>
                    <a:pt x="665" y="137"/>
                  </a:lnTo>
                  <a:lnTo>
                    <a:pt x="666" y="131"/>
                  </a:lnTo>
                  <a:lnTo>
                    <a:pt x="651" y="127"/>
                  </a:lnTo>
                  <a:lnTo>
                    <a:pt x="654" y="126"/>
                  </a:lnTo>
                  <a:lnTo>
                    <a:pt x="639" y="125"/>
                  </a:lnTo>
                  <a:lnTo>
                    <a:pt x="639" y="120"/>
                  </a:lnTo>
                  <a:lnTo>
                    <a:pt x="658" y="124"/>
                  </a:lnTo>
                  <a:lnTo>
                    <a:pt x="677" y="127"/>
                  </a:lnTo>
                  <a:lnTo>
                    <a:pt x="681" y="122"/>
                  </a:lnTo>
                  <a:lnTo>
                    <a:pt x="686" y="119"/>
                  </a:lnTo>
                  <a:lnTo>
                    <a:pt x="693" y="122"/>
                  </a:lnTo>
                  <a:lnTo>
                    <a:pt x="693" y="119"/>
                  </a:lnTo>
                  <a:lnTo>
                    <a:pt x="700" y="120"/>
                  </a:lnTo>
                  <a:lnTo>
                    <a:pt x="728" y="106"/>
                  </a:lnTo>
                  <a:lnTo>
                    <a:pt x="731" y="102"/>
                  </a:lnTo>
                  <a:lnTo>
                    <a:pt x="706" y="98"/>
                  </a:lnTo>
                  <a:lnTo>
                    <a:pt x="691" y="91"/>
                  </a:lnTo>
                  <a:lnTo>
                    <a:pt x="719" y="96"/>
                  </a:lnTo>
                  <a:lnTo>
                    <a:pt x="728" y="100"/>
                  </a:lnTo>
                  <a:lnTo>
                    <a:pt x="755" y="8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98" name="Freeform 434">
              <a:extLst>
                <a:ext uri="{FF2B5EF4-FFF2-40B4-BE49-F238E27FC236}">
                  <a16:creationId xmlns:a16="http://schemas.microsoft.com/office/drawing/2014/main" id="{E0547994-1B1F-4DF6-AA30-84AA04DEE01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4312" y="1907613"/>
              <a:ext cx="532764" cy="363082"/>
            </a:xfrm>
            <a:custGeom>
              <a:avLst/>
              <a:gdLst>
                <a:gd name="T0" fmla="*/ 184 w 253"/>
                <a:gd name="T1" fmla="*/ 36 h 164"/>
                <a:gd name="T2" fmla="*/ 175 w 253"/>
                <a:gd name="T3" fmla="*/ 30 h 164"/>
                <a:gd name="T4" fmla="*/ 164 w 253"/>
                <a:gd name="T5" fmla="*/ 29 h 164"/>
                <a:gd name="T6" fmla="*/ 147 w 253"/>
                <a:gd name="T7" fmla="*/ 34 h 164"/>
                <a:gd name="T8" fmla="*/ 151 w 253"/>
                <a:gd name="T9" fmla="*/ 24 h 164"/>
                <a:gd name="T10" fmla="*/ 159 w 253"/>
                <a:gd name="T11" fmla="*/ 21 h 164"/>
                <a:gd name="T12" fmla="*/ 120 w 253"/>
                <a:gd name="T13" fmla="*/ 21 h 164"/>
                <a:gd name="T14" fmla="*/ 116 w 253"/>
                <a:gd name="T15" fmla="*/ 23 h 164"/>
                <a:gd name="T16" fmla="*/ 108 w 253"/>
                <a:gd name="T17" fmla="*/ 22 h 164"/>
                <a:gd name="T18" fmla="*/ 98 w 253"/>
                <a:gd name="T19" fmla="*/ 20 h 164"/>
                <a:gd name="T20" fmla="*/ 84 w 253"/>
                <a:gd name="T21" fmla="*/ 5 h 164"/>
                <a:gd name="T22" fmla="*/ 67 w 253"/>
                <a:gd name="T23" fmla="*/ 11 h 164"/>
                <a:gd name="T24" fmla="*/ 62 w 253"/>
                <a:gd name="T25" fmla="*/ 20 h 164"/>
                <a:gd name="T26" fmla="*/ 55 w 253"/>
                <a:gd name="T27" fmla="*/ 30 h 164"/>
                <a:gd name="T28" fmla="*/ 43 w 253"/>
                <a:gd name="T29" fmla="*/ 23 h 164"/>
                <a:gd name="T30" fmla="*/ 22 w 253"/>
                <a:gd name="T31" fmla="*/ 12 h 164"/>
                <a:gd name="T32" fmla="*/ 4 w 253"/>
                <a:gd name="T33" fmla="*/ 44 h 164"/>
                <a:gd name="T34" fmla="*/ 28 w 253"/>
                <a:gd name="T35" fmla="*/ 50 h 164"/>
                <a:gd name="T36" fmla="*/ 68 w 253"/>
                <a:gd name="T37" fmla="*/ 48 h 164"/>
                <a:gd name="T38" fmla="*/ 104 w 253"/>
                <a:gd name="T39" fmla="*/ 45 h 164"/>
                <a:gd name="T40" fmla="*/ 114 w 253"/>
                <a:gd name="T41" fmla="*/ 56 h 164"/>
                <a:gd name="T42" fmla="*/ 110 w 253"/>
                <a:gd name="T43" fmla="*/ 68 h 164"/>
                <a:gd name="T44" fmla="*/ 136 w 253"/>
                <a:gd name="T45" fmla="*/ 68 h 164"/>
                <a:gd name="T46" fmla="*/ 129 w 253"/>
                <a:gd name="T47" fmla="*/ 95 h 164"/>
                <a:gd name="T48" fmla="*/ 159 w 253"/>
                <a:gd name="T49" fmla="*/ 102 h 164"/>
                <a:gd name="T50" fmla="*/ 123 w 253"/>
                <a:gd name="T51" fmla="*/ 98 h 164"/>
                <a:gd name="T52" fmla="*/ 88 w 253"/>
                <a:gd name="T53" fmla="*/ 119 h 164"/>
                <a:gd name="T54" fmla="*/ 55 w 253"/>
                <a:gd name="T55" fmla="*/ 125 h 164"/>
                <a:gd name="T56" fmla="*/ 92 w 253"/>
                <a:gd name="T57" fmla="*/ 125 h 164"/>
                <a:gd name="T58" fmla="*/ 104 w 253"/>
                <a:gd name="T59" fmla="*/ 125 h 164"/>
                <a:gd name="T60" fmla="*/ 114 w 253"/>
                <a:gd name="T61" fmla="*/ 138 h 164"/>
                <a:gd name="T62" fmla="*/ 133 w 253"/>
                <a:gd name="T63" fmla="*/ 153 h 164"/>
                <a:gd name="T64" fmla="*/ 157 w 253"/>
                <a:gd name="T65" fmla="*/ 147 h 164"/>
                <a:gd name="T66" fmla="*/ 169 w 253"/>
                <a:gd name="T67" fmla="*/ 147 h 164"/>
                <a:gd name="T68" fmla="*/ 184 w 253"/>
                <a:gd name="T69" fmla="*/ 153 h 164"/>
                <a:gd name="T70" fmla="*/ 193 w 253"/>
                <a:gd name="T71" fmla="*/ 142 h 164"/>
                <a:gd name="T72" fmla="*/ 192 w 253"/>
                <a:gd name="T73" fmla="*/ 129 h 164"/>
                <a:gd name="T74" fmla="*/ 186 w 253"/>
                <a:gd name="T75" fmla="*/ 122 h 164"/>
                <a:gd name="T76" fmla="*/ 180 w 253"/>
                <a:gd name="T77" fmla="*/ 118 h 164"/>
                <a:gd name="T78" fmla="*/ 176 w 253"/>
                <a:gd name="T79" fmla="*/ 108 h 164"/>
                <a:gd name="T80" fmla="*/ 184 w 253"/>
                <a:gd name="T81" fmla="*/ 104 h 164"/>
                <a:gd name="T82" fmla="*/ 193 w 253"/>
                <a:gd name="T83" fmla="*/ 99 h 164"/>
                <a:gd name="T84" fmla="*/ 218 w 253"/>
                <a:gd name="T85" fmla="*/ 100 h 164"/>
                <a:gd name="T86" fmla="*/ 202 w 253"/>
                <a:gd name="T87" fmla="*/ 113 h 164"/>
                <a:gd name="T88" fmla="*/ 212 w 253"/>
                <a:gd name="T89" fmla="*/ 118 h 164"/>
                <a:gd name="T90" fmla="*/ 224 w 253"/>
                <a:gd name="T91" fmla="*/ 106 h 164"/>
                <a:gd name="T92" fmla="*/ 232 w 253"/>
                <a:gd name="T93" fmla="*/ 105 h 164"/>
                <a:gd name="T94" fmla="*/ 248 w 253"/>
                <a:gd name="T95" fmla="*/ 99 h 164"/>
                <a:gd name="T96" fmla="*/ 242 w 253"/>
                <a:gd name="T97" fmla="*/ 94 h 164"/>
                <a:gd name="T98" fmla="*/ 230 w 253"/>
                <a:gd name="T99" fmla="*/ 94 h 164"/>
                <a:gd name="T100" fmla="*/ 229 w 253"/>
                <a:gd name="T101" fmla="*/ 88 h 164"/>
                <a:gd name="T102" fmla="*/ 230 w 253"/>
                <a:gd name="T103" fmla="*/ 84 h 164"/>
                <a:gd name="T104" fmla="*/ 224 w 253"/>
                <a:gd name="T105" fmla="*/ 77 h 164"/>
                <a:gd name="T106" fmla="*/ 213 w 253"/>
                <a:gd name="T107" fmla="*/ 77 h 164"/>
                <a:gd name="T108" fmla="*/ 201 w 253"/>
                <a:gd name="T109" fmla="*/ 74 h 164"/>
                <a:gd name="T110" fmla="*/ 196 w 253"/>
                <a:gd name="T111" fmla="*/ 68 h 164"/>
                <a:gd name="T112" fmla="*/ 204 w 253"/>
                <a:gd name="T113" fmla="*/ 63 h 164"/>
                <a:gd name="T114" fmla="*/ 200 w 253"/>
                <a:gd name="T115" fmla="*/ 60 h 164"/>
                <a:gd name="T116" fmla="*/ 186 w 253"/>
                <a:gd name="T117" fmla="*/ 56 h 164"/>
                <a:gd name="T118" fmla="*/ 184 w 253"/>
                <a:gd name="T119" fmla="*/ 54 h 164"/>
                <a:gd name="T120" fmla="*/ 195 w 253"/>
                <a:gd name="T121" fmla="*/ 41 h 164"/>
                <a:gd name="T122" fmla="*/ 172 w 253"/>
                <a:gd name="T123" fmla="*/ 5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3" h="164">
                  <a:moveTo>
                    <a:pt x="177" y="44"/>
                  </a:moveTo>
                  <a:lnTo>
                    <a:pt x="174" y="44"/>
                  </a:lnTo>
                  <a:lnTo>
                    <a:pt x="190" y="38"/>
                  </a:lnTo>
                  <a:lnTo>
                    <a:pt x="184" y="36"/>
                  </a:lnTo>
                  <a:lnTo>
                    <a:pt x="170" y="40"/>
                  </a:lnTo>
                  <a:lnTo>
                    <a:pt x="178" y="35"/>
                  </a:lnTo>
                  <a:lnTo>
                    <a:pt x="188" y="34"/>
                  </a:lnTo>
                  <a:lnTo>
                    <a:pt x="175" y="30"/>
                  </a:lnTo>
                  <a:lnTo>
                    <a:pt x="164" y="35"/>
                  </a:lnTo>
                  <a:lnTo>
                    <a:pt x="165" y="33"/>
                  </a:lnTo>
                  <a:lnTo>
                    <a:pt x="159" y="35"/>
                  </a:lnTo>
                  <a:lnTo>
                    <a:pt x="164" y="29"/>
                  </a:lnTo>
                  <a:lnTo>
                    <a:pt x="159" y="33"/>
                  </a:lnTo>
                  <a:lnTo>
                    <a:pt x="164" y="27"/>
                  </a:lnTo>
                  <a:lnTo>
                    <a:pt x="162" y="28"/>
                  </a:lnTo>
                  <a:lnTo>
                    <a:pt x="147" y="34"/>
                  </a:lnTo>
                  <a:lnTo>
                    <a:pt x="153" y="29"/>
                  </a:lnTo>
                  <a:lnTo>
                    <a:pt x="150" y="29"/>
                  </a:lnTo>
                  <a:lnTo>
                    <a:pt x="164" y="24"/>
                  </a:lnTo>
                  <a:lnTo>
                    <a:pt x="151" y="24"/>
                  </a:lnTo>
                  <a:lnTo>
                    <a:pt x="145" y="27"/>
                  </a:lnTo>
                  <a:lnTo>
                    <a:pt x="151" y="22"/>
                  </a:lnTo>
                  <a:lnTo>
                    <a:pt x="141" y="26"/>
                  </a:lnTo>
                  <a:lnTo>
                    <a:pt x="159" y="21"/>
                  </a:lnTo>
                  <a:lnTo>
                    <a:pt x="152" y="16"/>
                  </a:lnTo>
                  <a:lnTo>
                    <a:pt x="127" y="16"/>
                  </a:lnTo>
                  <a:lnTo>
                    <a:pt x="135" y="22"/>
                  </a:lnTo>
                  <a:lnTo>
                    <a:pt x="120" y="21"/>
                  </a:lnTo>
                  <a:lnTo>
                    <a:pt x="124" y="26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16" y="23"/>
                  </a:lnTo>
                  <a:lnTo>
                    <a:pt x="116" y="18"/>
                  </a:lnTo>
                  <a:lnTo>
                    <a:pt x="114" y="20"/>
                  </a:lnTo>
                  <a:lnTo>
                    <a:pt x="108" y="20"/>
                  </a:lnTo>
                  <a:lnTo>
                    <a:pt x="108" y="22"/>
                  </a:lnTo>
                  <a:lnTo>
                    <a:pt x="103" y="22"/>
                  </a:lnTo>
                  <a:lnTo>
                    <a:pt x="98" y="23"/>
                  </a:lnTo>
                  <a:lnTo>
                    <a:pt x="102" y="18"/>
                  </a:lnTo>
                  <a:lnTo>
                    <a:pt x="98" y="20"/>
                  </a:lnTo>
                  <a:lnTo>
                    <a:pt x="111" y="14"/>
                  </a:lnTo>
                  <a:lnTo>
                    <a:pt x="109" y="2"/>
                  </a:lnTo>
                  <a:lnTo>
                    <a:pt x="82" y="4"/>
                  </a:lnTo>
                  <a:lnTo>
                    <a:pt x="84" y="5"/>
                  </a:lnTo>
                  <a:lnTo>
                    <a:pt x="75" y="6"/>
                  </a:lnTo>
                  <a:lnTo>
                    <a:pt x="68" y="8"/>
                  </a:lnTo>
                  <a:lnTo>
                    <a:pt x="79" y="10"/>
                  </a:lnTo>
                  <a:lnTo>
                    <a:pt x="67" y="11"/>
                  </a:lnTo>
                  <a:lnTo>
                    <a:pt x="75" y="14"/>
                  </a:lnTo>
                  <a:lnTo>
                    <a:pt x="60" y="12"/>
                  </a:lnTo>
                  <a:lnTo>
                    <a:pt x="58" y="20"/>
                  </a:lnTo>
                  <a:lnTo>
                    <a:pt x="62" y="20"/>
                  </a:lnTo>
                  <a:lnTo>
                    <a:pt x="63" y="23"/>
                  </a:lnTo>
                  <a:lnTo>
                    <a:pt x="52" y="22"/>
                  </a:lnTo>
                  <a:lnTo>
                    <a:pt x="50" y="26"/>
                  </a:lnTo>
                  <a:lnTo>
                    <a:pt x="55" y="30"/>
                  </a:lnTo>
                  <a:lnTo>
                    <a:pt x="46" y="36"/>
                  </a:lnTo>
                  <a:lnTo>
                    <a:pt x="31" y="36"/>
                  </a:lnTo>
                  <a:lnTo>
                    <a:pt x="50" y="32"/>
                  </a:lnTo>
                  <a:lnTo>
                    <a:pt x="43" y="23"/>
                  </a:lnTo>
                  <a:lnTo>
                    <a:pt x="58" y="8"/>
                  </a:lnTo>
                  <a:lnTo>
                    <a:pt x="75" y="0"/>
                  </a:lnTo>
                  <a:lnTo>
                    <a:pt x="42" y="4"/>
                  </a:lnTo>
                  <a:lnTo>
                    <a:pt x="22" y="12"/>
                  </a:lnTo>
                  <a:lnTo>
                    <a:pt x="0" y="32"/>
                  </a:lnTo>
                  <a:lnTo>
                    <a:pt x="22" y="36"/>
                  </a:lnTo>
                  <a:lnTo>
                    <a:pt x="2" y="38"/>
                  </a:lnTo>
                  <a:lnTo>
                    <a:pt x="4" y="44"/>
                  </a:lnTo>
                  <a:lnTo>
                    <a:pt x="18" y="46"/>
                  </a:lnTo>
                  <a:lnTo>
                    <a:pt x="19" y="45"/>
                  </a:lnTo>
                  <a:lnTo>
                    <a:pt x="24" y="45"/>
                  </a:lnTo>
                  <a:lnTo>
                    <a:pt x="28" y="50"/>
                  </a:lnTo>
                  <a:lnTo>
                    <a:pt x="67" y="51"/>
                  </a:lnTo>
                  <a:lnTo>
                    <a:pt x="57" y="46"/>
                  </a:lnTo>
                  <a:lnTo>
                    <a:pt x="75" y="53"/>
                  </a:lnTo>
                  <a:lnTo>
                    <a:pt x="68" y="48"/>
                  </a:lnTo>
                  <a:lnTo>
                    <a:pt x="98" y="51"/>
                  </a:lnTo>
                  <a:lnTo>
                    <a:pt x="96" y="45"/>
                  </a:lnTo>
                  <a:lnTo>
                    <a:pt x="104" y="41"/>
                  </a:lnTo>
                  <a:lnTo>
                    <a:pt x="104" y="45"/>
                  </a:lnTo>
                  <a:lnTo>
                    <a:pt x="111" y="47"/>
                  </a:lnTo>
                  <a:lnTo>
                    <a:pt x="108" y="52"/>
                  </a:lnTo>
                  <a:lnTo>
                    <a:pt x="116" y="53"/>
                  </a:lnTo>
                  <a:lnTo>
                    <a:pt x="114" y="56"/>
                  </a:lnTo>
                  <a:lnTo>
                    <a:pt x="118" y="54"/>
                  </a:lnTo>
                  <a:lnTo>
                    <a:pt x="121" y="63"/>
                  </a:lnTo>
                  <a:lnTo>
                    <a:pt x="111" y="65"/>
                  </a:lnTo>
                  <a:lnTo>
                    <a:pt x="110" y="68"/>
                  </a:lnTo>
                  <a:lnTo>
                    <a:pt x="123" y="63"/>
                  </a:lnTo>
                  <a:lnTo>
                    <a:pt x="129" y="64"/>
                  </a:lnTo>
                  <a:lnTo>
                    <a:pt x="133" y="70"/>
                  </a:lnTo>
                  <a:lnTo>
                    <a:pt x="136" y="68"/>
                  </a:lnTo>
                  <a:lnTo>
                    <a:pt x="135" y="74"/>
                  </a:lnTo>
                  <a:lnTo>
                    <a:pt x="141" y="74"/>
                  </a:lnTo>
                  <a:lnTo>
                    <a:pt x="139" y="89"/>
                  </a:lnTo>
                  <a:lnTo>
                    <a:pt x="129" y="95"/>
                  </a:lnTo>
                  <a:lnTo>
                    <a:pt x="145" y="96"/>
                  </a:lnTo>
                  <a:lnTo>
                    <a:pt x="152" y="90"/>
                  </a:lnTo>
                  <a:lnTo>
                    <a:pt x="164" y="99"/>
                  </a:lnTo>
                  <a:lnTo>
                    <a:pt x="159" y="102"/>
                  </a:lnTo>
                  <a:lnTo>
                    <a:pt x="147" y="102"/>
                  </a:lnTo>
                  <a:lnTo>
                    <a:pt x="142" y="104"/>
                  </a:lnTo>
                  <a:lnTo>
                    <a:pt x="145" y="98"/>
                  </a:lnTo>
                  <a:lnTo>
                    <a:pt x="123" y="98"/>
                  </a:lnTo>
                  <a:lnTo>
                    <a:pt x="108" y="104"/>
                  </a:lnTo>
                  <a:lnTo>
                    <a:pt x="111" y="112"/>
                  </a:lnTo>
                  <a:lnTo>
                    <a:pt x="86" y="117"/>
                  </a:lnTo>
                  <a:lnTo>
                    <a:pt x="88" y="119"/>
                  </a:lnTo>
                  <a:lnTo>
                    <a:pt x="86" y="122"/>
                  </a:lnTo>
                  <a:lnTo>
                    <a:pt x="86" y="116"/>
                  </a:lnTo>
                  <a:lnTo>
                    <a:pt x="68" y="114"/>
                  </a:lnTo>
                  <a:lnTo>
                    <a:pt x="55" y="125"/>
                  </a:lnTo>
                  <a:lnTo>
                    <a:pt x="68" y="129"/>
                  </a:lnTo>
                  <a:lnTo>
                    <a:pt x="81" y="126"/>
                  </a:lnTo>
                  <a:lnTo>
                    <a:pt x="82" y="125"/>
                  </a:lnTo>
                  <a:lnTo>
                    <a:pt x="92" y="125"/>
                  </a:lnTo>
                  <a:lnTo>
                    <a:pt x="96" y="120"/>
                  </a:lnTo>
                  <a:lnTo>
                    <a:pt x="98" y="124"/>
                  </a:lnTo>
                  <a:lnTo>
                    <a:pt x="98" y="129"/>
                  </a:lnTo>
                  <a:lnTo>
                    <a:pt x="104" y="125"/>
                  </a:lnTo>
                  <a:lnTo>
                    <a:pt x="109" y="125"/>
                  </a:lnTo>
                  <a:lnTo>
                    <a:pt x="106" y="131"/>
                  </a:lnTo>
                  <a:lnTo>
                    <a:pt x="114" y="135"/>
                  </a:lnTo>
                  <a:lnTo>
                    <a:pt x="114" y="138"/>
                  </a:lnTo>
                  <a:lnTo>
                    <a:pt x="122" y="140"/>
                  </a:lnTo>
                  <a:lnTo>
                    <a:pt x="115" y="142"/>
                  </a:lnTo>
                  <a:lnTo>
                    <a:pt x="120" y="147"/>
                  </a:lnTo>
                  <a:lnTo>
                    <a:pt x="133" y="153"/>
                  </a:lnTo>
                  <a:lnTo>
                    <a:pt x="150" y="159"/>
                  </a:lnTo>
                  <a:lnTo>
                    <a:pt x="168" y="164"/>
                  </a:lnTo>
                  <a:lnTo>
                    <a:pt x="166" y="158"/>
                  </a:lnTo>
                  <a:lnTo>
                    <a:pt x="157" y="147"/>
                  </a:lnTo>
                  <a:lnTo>
                    <a:pt x="147" y="137"/>
                  </a:lnTo>
                  <a:lnTo>
                    <a:pt x="159" y="142"/>
                  </a:lnTo>
                  <a:lnTo>
                    <a:pt x="162" y="138"/>
                  </a:lnTo>
                  <a:lnTo>
                    <a:pt x="169" y="147"/>
                  </a:lnTo>
                  <a:lnTo>
                    <a:pt x="170" y="144"/>
                  </a:lnTo>
                  <a:lnTo>
                    <a:pt x="174" y="148"/>
                  </a:lnTo>
                  <a:lnTo>
                    <a:pt x="182" y="150"/>
                  </a:lnTo>
                  <a:lnTo>
                    <a:pt x="184" y="153"/>
                  </a:lnTo>
                  <a:lnTo>
                    <a:pt x="184" y="149"/>
                  </a:lnTo>
                  <a:lnTo>
                    <a:pt x="188" y="148"/>
                  </a:lnTo>
                  <a:lnTo>
                    <a:pt x="190" y="138"/>
                  </a:lnTo>
                  <a:lnTo>
                    <a:pt x="193" y="142"/>
                  </a:lnTo>
                  <a:lnTo>
                    <a:pt x="195" y="137"/>
                  </a:lnTo>
                  <a:lnTo>
                    <a:pt x="196" y="134"/>
                  </a:lnTo>
                  <a:lnTo>
                    <a:pt x="193" y="132"/>
                  </a:lnTo>
                  <a:lnTo>
                    <a:pt x="192" y="129"/>
                  </a:lnTo>
                  <a:lnTo>
                    <a:pt x="193" y="126"/>
                  </a:lnTo>
                  <a:lnTo>
                    <a:pt x="192" y="124"/>
                  </a:lnTo>
                  <a:lnTo>
                    <a:pt x="189" y="123"/>
                  </a:lnTo>
                  <a:lnTo>
                    <a:pt x="186" y="122"/>
                  </a:lnTo>
                  <a:lnTo>
                    <a:pt x="182" y="118"/>
                  </a:lnTo>
                  <a:lnTo>
                    <a:pt x="181" y="120"/>
                  </a:lnTo>
                  <a:lnTo>
                    <a:pt x="183" y="117"/>
                  </a:lnTo>
                  <a:lnTo>
                    <a:pt x="180" y="118"/>
                  </a:lnTo>
                  <a:lnTo>
                    <a:pt x="181" y="113"/>
                  </a:lnTo>
                  <a:lnTo>
                    <a:pt x="181" y="110"/>
                  </a:lnTo>
                  <a:lnTo>
                    <a:pt x="174" y="111"/>
                  </a:lnTo>
                  <a:lnTo>
                    <a:pt x="176" y="108"/>
                  </a:lnTo>
                  <a:lnTo>
                    <a:pt x="175" y="105"/>
                  </a:lnTo>
                  <a:lnTo>
                    <a:pt x="172" y="101"/>
                  </a:lnTo>
                  <a:lnTo>
                    <a:pt x="181" y="106"/>
                  </a:lnTo>
                  <a:lnTo>
                    <a:pt x="184" y="104"/>
                  </a:lnTo>
                  <a:lnTo>
                    <a:pt x="183" y="99"/>
                  </a:lnTo>
                  <a:lnTo>
                    <a:pt x="189" y="99"/>
                  </a:lnTo>
                  <a:lnTo>
                    <a:pt x="188" y="98"/>
                  </a:lnTo>
                  <a:lnTo>
                    <a:pt x="193" y="99"/>
                  </a:lnTo>
                  <a:lnTo>
                    <a:pt x="202" y="102"/>
                  </a:lnTo>
                  <a:lnTo>
                    <a:pt x="206" y="101"/>
                  </a:lnTo>
                  <a:lnTo>
                    <a:pt x="199" y="106"/>
                  </a:lnTo>
                  <a:lnTo>
                    <a:pt x="218" y="100"/>
                  </a:lnTo>
                  <a:lnTo>
                    <a:pt x="208" y="105"/>
                  </a:lnTo>
                  <a:lnTo>
                    <a:pt x="201" y="110"/>
                  </a:lnTo>
                  <a:lnTo>
                    <a:pt x="204" y="110"/>
                  </a:lnTo>
                  <a:lnTo>
                    <a:pt x="202" y="113"/>
                  </a:lnTo>
                  <a:lnTo>
                    <a:pt x="208" y="113"/>
                  </a:lnTo>
                  <a:lnTo>
                    <a:pt x="206" y="118"/>
                  </a:lnTo>
                  <a:lnTo>
                    <a:pt x="210" y="114"/>
                  </a:lnTo>
                  <a:lnTo>
                    <a:pt x="212" y="118"/>
                  </a:lnTo>
                  <a:lnTo>
                    <a:pt x="218" y="118"/>
                  </a:lnTo>
                  <a:lnTo>
                    <a:pt x="218" y="112"/>
                  </a:lnTo>
                  <a:lnTo>
                    <a:pt x="219" y="112"/>
                  </a:lnTo>
                  <a:lnTo>
                    <a:pt x="224" y="106"/>
                  </a:lnTo>
                  <a:lnTo>
                    <a:pt x="228" y="110"/>
                  </a:lnTo>
                  <a:lnTo>
                    <a:pt x="230" y="107"/>
                  </a:lnTo>
                  <a:lnTo>
                    <a:pt x="236" y="106"/>
                  </a:lnTo>
                  <a:lnTo>
                    <a:pt x="232" y="105"/>
                  </a:lnTo>
                  <a:lnTo>
                    <a:pt x="240" y="104"/>
                  </a:lnTo>
                  <a:lnTo>
                    <a:pt x="235" y="102"/>
                  </a:lnTo>
                  <a:lnTo>
                    <a:pt x="241" y="100"/>
                  </a:lnTo>
                  <a:lnTo>
                    <a:pt x="248" y="99"/>
                  </a:lnTo>
                  <a:lnTo>
                    <a:pt x="246" y="96"/>
                  </a:lnTo>
                  <a:lnTo>
                    <a:pt x="253" y="96"/>
                  </a:lnTo>
                  <a:lnTo>
                    <a:pt x="244" y="92"/>
                  </a:lnTo>
                  <a:lnTo>
                    <a:pt x="242" y="94"/>
                  </a:lnTo>
                  <a:lnTo>
                    <a:pt x="238" y="94"/>
                  </a:lnTo>
                  <a:lnTo>
                    <a:pt x="238" y="92"/>
                  </a:lnTo>
                  <a:lnTo>
                    <a:pt x="230" y="95"/>
                  </a:lnTo>
                  <a:lnTo>
                    <a:pt x="230" y="94"/>
                  </a:lnTo>
                  <a:lnTo>
                    <a:pt x="235" y="87"/>
                  </a:lnTo>
                  <a:lnTo>
                    <a:pt x="232" y="90"/>
                  </a:lnTo>
                  <a:lnTo>
                    <a:pt x="220" y="89"/>
                  </a:lnTo>
                  <a:lnTo>
                    <a:pt x="229" y="88"/>
                  </a:lnTo>
                  <a:lnTo>
                    <a:pt x="219" y="88"/>
                  </a:lnTo>
                  <a:lnTo>
                    <a:pt x="226" y="87"/>
                  </a:lnTo>
                  <a:lnTo>
                    <a:pt x="220" y="87"/>
                  </a:lnTo>
                  <a:lnTo>
                    <a:pt x="230" y="84"/>
                  </a:lnTo>
                  <a:lnTo>
                    <a:pt x="229" y="83"/>
                  </a:lnTo>
                  <a:lnTo>
                    <a:pt x="223" y="82"/>
                  </a:lnTo>
                  <a:lnTo>
                    <a:pt x="220" y="81"/>
                  </a:lnTo>
                  <a:lnTo>
                    <a:pt x="224" y="77"/>
                  </a:lnTo>
                  <a:lnTo>
                    <a:pt x="217" y="82"/>
                  </a:lnTo>
                  <a:lnTo>
                    <a:pt x="214" y="78"/>
                  </a:lnTo>
                  <a:lnTo>
                    <a:pt x="211" y="80"/>
                  </a:lnTo>
                  <a:lnTo>
                    <a:pt x="213" y="77"/>
                  </a:lnTo>
                  <a:lnTo>
                    <a:pt x="207" y="80"/>
                  </a:lnTo>
                  <a:lnTo>
                    <a:pt x="211" y="76"/>
                  </a:lnTo>
                  <a:lnTo>
                    <a:pt x="205" y="76"/>
                  </a:lnTo>
                  <a:lnTo>
                    <a:pt x="201" y="74"/>
                  </a:lnTo>
                  <a:lnTo>
                    <a:pt x="195" y="74"/>
                  </a:lnTo>
                  <a:lnTo>
                    <a:pt x="205" y="71"/>
                  </a:lnTo>
                  <a:lnTo>
                    <a:pt x="189" y="69"/>
                  </a:lnTo>
                  <a:lnTo>
                    <a:pt x="196" y="68"/>
                  </a:lnTo>
                  <a:lnTo>
                    <a:pt x="188" y="66"/>
                  </a:lnTo>
                  <a:lnTo>
                    <a:pt x="200" y="66"/>
                  </a:lnTo>
                  <a:lnTo>
                    <a:pt x="196" y="65"/>
                  </a:lnTo>
                  <a:lnTo>
                    <a:pt x="204" y="63"/>
                  </a:lnTo>
                  <a:lnTo>
                    <a:pt x="192" y="63"/>
                  </a:lnTo>
                  <a:lnTo>
                    <a:pt x="196" y="60"/>
                  </a:lnTo>
                  <a:lnTo>
                    <a:pt x="192" y="60"/>
                  </a:lnTo>
                  <a:lnTo>
                    <a:pt x="200" y="60"/>
                  </a:lnTo>
                  <a:lnTo>
                    <a:pt x="193" y="59"/>
                  </a:lnTo>
                  <a:lnTo>
                    <a:pt x="216" y="62"/>
                  </a:lnTo>
                  <a:lnTo>
                    <a:pt x="198" y="56"/>
                  </a:lnTo>
                  <a:lnTo>
                    <a:pt x="186" y="56"/>
                  </a:lnTo>
                  <a:lnTo>
                    <a:pt x="214" y="53"/>
                  </a:lnTo>
                  <a:lnTo>
                    <a:pt x="210" y="46"/>
                  </a:lnTo>
                  <a:lnTo>
                    <a:pt x="193" y="52"/>
                  </a:lnTo>
                  <a:lnTo>
                    <a:pt x="184" y="54"/>
                  </a:lnTo>
                  <a:lnTo>
                    <a:pt x="202" y="47"/>
                  </a:lnTo>
                  <a:lnTo>
                    <a:pt x="186" y="51"/>
                  </a:lnTo>
                  <a:lnTo>
                    <a:pt x="210" y="42"/>
                  </a:lnTo>
                  <a:lnTo>
                    <a:pt x="195" y="41"/>
                  </a:lnTo>
                  <a:lnTo>
                    <a:pt x="190" y="41"/>
                  </a:lnTo>
                  <a:lnTo>
                    <a:pt x="196" y="39"/>
                  </a:lnTo>
                  <a:lnTo>
                    <a:pt x="181" y="44"/>
                  </a:lnTo>
                  <a:lnTo>
                    <a:pt x="172" y="50"/>
                  </a:lnTo>
                  <a:lnTo>
                    <a:pt x="177" y="4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99" name="Freeform 435">
              <a:extLst>
                <a:ext uri="{FF2B5EF4-FFF2-40B4-BE49-F238E27FC236}">
                  <a16:creationId xmlns:a16="http://schemas.microsoft.com/office/drawing/2014/main" id="{B1554931-C73C-4E6B-AB9F-90FBE83F5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4142" y="1683415"/>
              <a:ext cx="648831" cy="154755"/>
            </a:xfrm>
            <a:custGeom>
              <a:avLst/>
              <a:gdLst>
                <a:gd name="T0" fmla="*/ 76 w 307"/>
                <a:gd name="T1" fmla="*/ 52 h 71"/>
                <a:gd name="T2" fmla="*/ 57 w 307"/>
                <a:gd name="T3" fmla="*/ 58 h 71"/>
                <a:gd name="T4" fmla="*/ 46 w 307"/>
                <a:gd name="T5" fmla="*/ 53 h 71"/>
                <a:gd name="T6" fmla="*/ 55 w 307"/>
                <a:gd name="T7" fmla="*/ 49 h 71"/>
                <a:gd name="T8" fmla="*/ 36 w 307"/>
                <a:gd name="T9" fmla="*/ 46 h 71"/>
                <a:gd name="T10" fmla="*/ 84 w 307"/>
                <a:gd name="T11" fmla="*/ 41 h 71"/>
                <a:gd name="T12" fmla="*/ 64 w 307"/>
                <a:gd name="T13" fmla="*/ 28 h 71"/>
                <a:gd name="T14" fmla="*/ 91 w 307"/>
                <a:gd name="T15" fmla="*/ 27 h 71"/>
                <a:gd name="T16" fmla="*/ 103 w 307"/>
                <a:gd name="T17" fmla="*/ 31 h 71"/>
                <a:gd name="T18" fmla="*/ 96 w 307"/>
                <a:gd name="T19" fmla="*/ 25 h 71"/>
                <a:gd name="T20" fmla="*/ 141 w 307"/>
                <a:gd name="T21" fmla="*/ 19 h 71"/>
                <a:gd name="T22" fmla="*/ 163 w 307"/>
                <a:gd name="T23" fmla="*/ 15 h 71"/>
                <a:gd name="T24" fmla="*/ 117 w 307"/>
                <a:gd name="T25" fmla="*/ 18 h 71"/>
                <a:gd name="T26" fmla="*/ 70 w 307"/>
                <a:gd name="T27" fmla="*/ 22 h 71"/>
                <a:gd name="T28" fmla="*/ 109 w 307"/>
                <a:gd name="T29" fmla="*/ 17 h 71"/>
                <a:gd name="T30" fmla="*/ 63 w 307"/>
                <a:gd name="T31" fmla="*/ 23 h 71"/>
                <a:gd name="T32" fmla="*/ 48 w 307"/>
                <a:gd name="T33" fmla="*/ 19 h 71"/>
                <a:gd name="T34" fmla="*/ 93 w 307"/>
                <a:gd name="T35" fmla="*/ 16 h 71"/>
                <a:gd name="T36" fmla="*/ 46 w 307"/>
                <a:gd name="T37" fmla="*/ 17 h 71"/>
                <a:gd name="T38" fmla="*/ 75 w 307"/>
                <a:gd name="T39" fmla="*/ 15 h 71"/>
                <a:gd name="T40" fmla="*/ 39 w 307"/>
                <a:gd name="T41" fmla="*/ 12 h 71"/>
                <a:gd name="T42" fmla="*/ 87 w 307"/>
                <a:gd name="T43" fmla="*/ 7 h 71"/>
                <a:gd name="T44" fmla="*/ 147 w 307"/>
                <a:gd name="T45" fmla="*/ 11 h 71"/>
                <a:gd name="T46" fmla="*/ 139 w 307"/>
                <a:gd name="T47" fmla="*/ 1 h 71"/>
                <a:gd name="T48" fmla="*/ 187 w 307"/>
                <a:gd name="T49" fmla="*/ 4 h 71"/>
                <a:gd name="T50" fmla="*/ 177 w 307"/>
                <a:gd name="T51" fmla="*/ 0 h 71"/>
                <a:gd name="T52" fmla="*/ 241 w 307"/>
                <a:gd name="T53" fmla="*/ 3 h 71"/>
                <a:gd name="T54" fmla="*/ 307 w 307"/>
                <a:gd name="T55" fmla="*/ 6 h 71"/>
                <a:gd name="T56" fmla="*/ 264 w 307"/>
                <a:gd name="T57" fmla="*/ 12 h 71"/>
                <a:gd name="T58" fmla="*/ 220 w 307"/>
                <a:gd name="T59" fmla="*/ 18 h 71"/>
                <a:gd name="T60" fmla="*/ 271 w 307"/>
                <a:gd name="T61" fmla="*/ 13 h 71"/>
                <a:gd name="T62" fmla="*/ 225 w 307"/>
                <a:gd name="T63" fmla="*/ 23 h 71"/>
                <a:gd name="T64" fmla="*/ 177 w 307"/>
                <a:gd name="T65" fmla="*/ 31 h 71"/>
                <a:gd name="T66" fmla="*/ 132 w 307"/>
                <a:gd name="T67" fmla="*/ 36 h 71"/>
                <a:gd name="T68" fmla="*/ 157 w 307"/>
                <a:gd name="T69" fmla="*/ 40 h 71"/>
                <a:gd name="T70" fmla="*/ 124 w 307"/>
                <a:gd name="T71" fmla="*/ 42 h 71"/>
                <a:gd name="T72" fmla="*/ 151 w 307"/>
                <a:gd name="T73" fmla="*/ 45 h 71"/>
                <a:gd name="T74" fmla="*/ 112 w 307"/>
                <a:gd name="T75" fmla="*/ 53 h 71"/>
                <a:gd name="T76" fmla="*/ 109 w 307"/>
                <a:gd name="T77" fmla="*/ 59 h 71"/>
                <a:gd name="T78" fmla="*/ 77 w 307"/>
                <a:gd name="T79" fmla="*/ 60 h 71"/>
                <a:gd name="T80" fmla="*/ 102 w 307"/>
                <a:gd name="T81" fmla="*/ 69 h 71"/>
                <a:gd name="T82" fmla="*/ 70 w 307"/>
                <a:gd name="T83" fmla="*/ 71 h 71"/>
                <a:gd name="T84" fmla="*/ 35 w 307"/>
                <a:gd name="T85" fmla="*/ 70 h 71"/>
                <a:gd name="T86" fmla="*/ 0 w 307"/>
                <a:gd name="T87" fmla="*/ 69 h 71"/>
                <a:gd name="T88" fmla="*/ 24 w 307"/>
                <a:gd name="T89" fmla="*/ 61 h 71"/>
                <a:gd name="T90" fmla="*/ 19 w 307"/>
                <a:gd name="T91" fmla="*/ 55 h 71"/>
                <a:gd name="T92" fmla="*/ 57 w 307"/>
                <a:gd name="T93" fmla="*/ 59 h 71"/>
                <a:gd name="T94" fmla="*/ 76 w 307"/>
                <a:gd name="T95" fmla="*/ 5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7" h="71">
                  <a:moveTo>
                    <a:pt x="76" y="52"/>
                  </a:moveTo>
                  <a:lnTo>
                    <a:pt x="57" y="58"/>
                  </a:lnTo>
                  <a:lnTo>
                    <a:pt x="46" y="53"/>
                  </a:lnTo>
                  <a:lnTo>
                    <a:pt x="55" y="49"/>
                  </a:lnTo>
                  <a:lnTo>
                    <a:pt x="36" y="46"/>
                  </a:lnTo>
                  <a:lnTo>
                    <a:pt x="84" y="41"/>
                  </a:lnTo>
                  <a:lnTo>
                    <a:pt x="64" y="28"/>
                  </a:lnTo>
                  <a:lnTo>
                    <a:pt x="91" y="27"/>
                  </a:lnTo>
                  <a:lnTo>
                    <a:pt x="103" y="31"/>
                  </a:lnTo>
                  <a:lnTo>
                    <a:pt x="96" y="25"/>
                  </a:lnTo>
                  <a:lnTo>
                    <a:pt x="141" y="19"/>
                  </a:lnTo>
                  <a:lnTo>
                    <a:pt x="163" y="15"/>
                  </a:lnTo>
                  <a:lnTo>
                    <a:pt x="117" y="18"/>
                  </a:lnTo>
                  <a:lnTo>
                    <a:pt x="70" y="22"/>
                  </a:lnTo>
                  <a:lnTo>
                    <a:pt x="109" y="17"/>
                  </a:lnTo>
                  <a:lnTo>
                    <a:pt x="63" y="23"/>
                  </a:lnTo>
                  <a:lnTo>
                    <a:pt x="48" y="19"/>
                  </a:lnTo>
                  <a:lnTo>
                    <a:pt x="93" y="16"/>
                  </a:lnTo>
                  <a:lnTo>
                    <a:pt x="46" y="17"/>
                  </a:lnTo>
                  <a:lnTo>
                    <a:pt x="75" y="15"/>
                  </a:lnTo>
                  <a:lnTo>
                    <a:pt x="39" y="12"/>
                  </a:lnTo>
                  <a:lnTo>
                    <a:pt x="87" y="7"/>
                  </a:lnTo>
                  <a:lnTo>
                    <a:pt x="147" y="11"/>
                  </a:lnTo>
                  <a:lnTo>
                    <a:pt x="139" y="1"/>
                  </a:lnTo>
                  <a:lnTo>
                    <a:pt x="187" y="4"/>
                  </a:lnTo>
                  <a:lnTo>
                    <a:pt x="177" y="0"/>
                  </a:lnTo>
                  <a:lnTo>
                    <a:pt x="241" y="3"/>
                  </a:lnTo>
                  <a:lnTo>
                    <a:pt x="307" y="6"/>
                  </a:lnTo>
                  <a:lnTo>
                    <a:pt x="264" y="12"/>
                  </a:lnTo>
                  <a:lnTo>
                    <a:pt x="220" y="18"/>
                  </a:lnTo>
                  <a:lnTo>
                    <a:pt x="271" y="13"/>
                  </a:lnTo>
                  <a:lnTo>
                    <a:pt x="225" y="23"/>
                  </a:lnTo>
                  <a:lnTo>
                    <a:pt x="177" y="31"/>
                  </a:lnTo>
                  <a:lnTo>
                    <a:pt x="132" y="36"/>
                  </a:lnTo>
                  <a:lnTo>
                    <a:pt x="157" y="40"/>
                  </a:lnTo>
                  <a:lnTo>
                    <a:pt x="124" y="42"/>
                  </a:lnTo>
                  <a:lnTo>
                    <a:pt x="151" y="45"/>
                  </a:lnTo>
                  <a:lnTo>
                    <a:pt x="112" y="53"/>
                  </a:lnTo>
                  <a:lnTo>
                    <a:pt x="109" y="59"/>
                  </a:lnTo>
                  <a:lnTo>
                    <a:pt x="77" y="60"/>
                  </a:lnTo>
                  <a:lnTo>
                    <a:pt x="102" y="69"/>
                  </a:lnTo>
                  <a:lnTo>
                    <a:pt x="70" y="71"/>
                  </a:lnTo>
                  <a:lnTo>
                    <a:pt x="35" y="70"/>
                  </a:lnTo>
                  <a:lnTo>
                    <a:pt x="0" y="69"/>
                  </a:lnTo>
                  <a:lnTo>
                    <a:pt x="24" y="61"/>
                  </a:lnTo>
                  <a:lnTo>
                    <a:pt x="19" y="55"/>
                  </a:lnTo>
                  <a:lnTo>
                    <a:pt x="57" y="59"/>
                  </a:lnTo>
                  <a:lnTo>
                    <a:pt x="76" y="5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00" name="Freeform 436">
              <a:extLst>
                <a:ext uri="{FF2B5EF4-FFF2-40B4-BE49-F238E27FC236}">
                  <a16:creationId xmlns:a16="http://schemas.microsoft.com/office/drawing/2014/main" id="{CEFAF6D2-063F-48C5-9635-25FC1E250CF0}"/>
                </a:ext>
              </a:extLst>
            </p:cNvPr>
            <p:cNvSpPr>
              <a:spLocks/>
            </p:cNvSpPr>
            <p:nvPr/>
          </p:nvSpPr>
          <p:spPr bwMode="gray">
            <a:xfrm>
              <a:off x="2226413" y="1921501"/>
              <a:ext cx="361518" cy="140869"/>
            </a:xfrm>
            <a:custGeom>
              <a:avLst/>
              <a:gdLst>
                <a:gd name="T0" fmla="*/ 112 w 171"/>
                <a:gd name="T1" fmla="*/ 58 h 64"/>
                <a:gd name="T2" fmla="*/ 106 w 171"/>
                <a:gd name="T3" fmla="*/ 53 h 64"/>
                <a:gd name="T4" fmla="*/ 101 w 171"/>
                <a:gd name="T5" fmla="*/ 52 h 64"/>
                <a:gd name="T6" fmla="*/ 83 w 171"/>
                <a:gd name="T7" fmla="*/ 58 h 64"/>
                <a:gd name="T8" fmla="*/ 54 w 171"/>
                <a:gd name="T9" fmla="*/ 62 h 64"/>
                <a:gd name="T10" fmla="*/ 25 w 171"/>
                <a:gd name="T11" fmla="*/ 64 h 64"/>
                <a:gd name="T12" fmla="*/ 27 w 171"/>
                <a:gd name="T13" fmla="*/ 57 h 64"/>
                <a:gd name="T14" fmla="*/ 0 w 171"/>
                <a:gd name="T15" fmla="*/ 50 h 64"/>
                <a:gd name="T16" fmla="*/ 5 w 171"/>
                <a:gd name="T17" fmla="*/ 42 h 64"/>
                <a:gd name="T18" fmla="*/ 36 w 171"/>
                <a:gd name="T19" fmla="*/ 41 h 64"/>
                <a:gd name="T20" fmla="*/ 66 w 171"/>
                <a:gd name="T21" fmla="*/ 40 h 64"/>
                <a:gd name="T22" fmla="*/ 37 w 171"/>
                <a:gd name="T23" fmla="*/ 35 h 64"/>
                <a:gd name="T24" fmla="*/ 7 w 171"/>
                <a:gd name="T25" fmla="*/ 34 h 64"/>
                <a:gd name="T26" fmla="*/ 5 w 171"/>
                <a:gd name="T27" fmla="*/ 30 h 64"/>
                <a:gd name="T28" fmla="*/ 43 w 171"/>
                <a:gd name="T29" fmla="*/ 24 h 64"/>
                <a:gd name="T30" fmla="*/ 15 w 171"/>
                <a:gd name="T31" fmla="*/ 24 h 64"/>
                <a:gd name="T32" fmla="*/ 23 w 171"/>
                <a:gd name="T33" fmla="*/ 22 h 64"/>
                <a:gd name="T34" fmla="*/ 9 w 171"/>
                <a:gd name="T35" fmla="*/ 22 h 64"/>
                <a:gd name="T36" fmla="*/ 28 w 171"/>
                <a:gd name="T37" fmla="*/ 14 h 64"/>
                <a:gd name="T38" fmla="*/ 27 w 171"/>
                <a:gd name="T39" fmla="*/ 11 h 64"/>
                <a:gd name="T40" fmla="*/ 53 w 171"/>
                <a:gd name="T41" fmla="*/ 5 h 64"/>
                <a:gd name="T42" fmla="*/ 79 w 171"/>
                <a:gd name="T43" fmla="*/ 0 h 64"/>
                <a:gd name="T44" fmla="*/ 82 w 171"/>
                <a:gd name="T45" fmla="*/ 3 h 64"/>
                <a:gd name="T46" fmla="*/ 70 w 171"/>
                <a:gd name="T47" fmla="*/ 10 h 64"/>
                <a:gd name="T48" fmla="*/ 79 w 171"/>
                <a:gd name="T49" fmla="*/ 8 h 64"/>
                <a:gd name="T50" fmla="*/ 89 w 171"/>
                <a:gd name="T51" fmla="*/ 5 h 64"/>
                <a:gd name="T52" fmla="*/ 100 w 171"/>
                <a:gd name="T53" fmla="*/ 10 h 64"/>
                <a:gd name="T54" fmla="*/ 93 w 171"/>
                <a:gd name="T55" fmla="*/ 14 h 64"/>
                <a:gd name="T56" fmla="*/ 97 w 171"/>
                <a:gd name="T57" fmla="*/ 14 h 64"/>
                <a:gd name="T58" fmla="*/ 112 w 171"/>
                <a:gd name="T59" fmla="*/ 11 h 64"/>
                <a:gd name="T60" fmla="*/ 113 w 171"/>
                <a:gd name="T61" fmla="*/ 9 h 64"/>
                <a:gd name="T62" fmla="*/ 114 w 171"/>
                <a:gd name="T63" fmla="*/ 5 h 64"/>
                <a:gd name="T64" fmla="*/ 126 w 171"/>
                <a:gd name="T65" fmla="*/ 10 h 64"/>
                <a:gd name="T66" fmla="*/ 119 w 171"/>
                <a:gd name="T67" fmla="*/ 22 h 64"/>
                <a:gd name="T68" fmla="*/ 130 w 171"/>
                <a:gd name="T69" fmla="*/ 18 h 64"/>
                <a:gd name="T70" fmla="*/ 139 w 171"/>
                <a:gd name="T71" fmla="*/ 3 h 64"/>
                <a:gd name="T72" fmla="*/ 156 w 171"/>
                <a:gd name="T73" fmla="*/ 2 h 64"/>
                <a:gd name="T74" fmla="*/ 160 w 171"/>
                <a:gd name="T75" fmla="*/ 11 h 64"/>
                <a:gd name="T76" fmla="*/ 149 w 171"/>
                <a:gd name="T77" fmla="*/ 28 h 64"/>
                <a:gd name="T78" fmla="*/ 150 w 171"/>
                <a:gd name="T79" fmla="*/ 36 h 64"/>
                <a:gd name="T80" fmla="*/ 154 w 171"/>
                <a:gd name="T81" fmla="*/ 36 h 64"/>
                <a:gd name="T82" fmla="*/ 171 w 171"/>
                <a:gd name="T83" fmla="*/ 42 h 64"/>
                <a:gd name="T84" fmla="*/ 168 w 171"/>
                <a:gd name="T85" fmla="*/ 45 h 64"/>
                <a:gd name="T86" fmla="*/ 161 w 171"/>
                <a:gd name="T87" fmla="*/ 48 h 64"/>
                <a:gd name="T88" fmla="*/ 162 w 171"/>
                <a:gd name="T89" fmla="*/ 45 h 64"/>
                <a:gd name="T90" fmla="*/ 155 w 171"/>
                <a:gd name="T91" fmla="*/ 47 h 64"/>
                <a:gd name="T92" fmla="*/ 151 w 171"/>
                <a:gd name="T93" fmla="*/ 47 h 64"/>
                <a:gd name="T94" fmla="*/ 143 w 171"/>
                <a:gd name="T95" fmla="*/ 51 h 64"/>
                <a:gd name="T96" fmla="*/ 139 w 171"/>
                <a:gd name="T97" fmla="*/ 50 h 64"/>
                <a:gd name="T98" fmla="*/ 135 w 171"/>
                <a:gd name="T99" fmla="*/ 56 h 64"/>
                <a:gd name="T100" fmla="*/ 151 w 171"/>
                <a:gd name="T101" fmla="*/ 51 h 64"/>
                <a:gd name="T102" fmla="*/ 149 w 171"/>
                <a:gd name="T103" fmla="*/ 54 h 64"/>
                <a:gd name="T104" fmla="*/ 144 w 171"/>
                <a:gd name="T105" fmla="*/ 58 h 64"/>
                <a:gd name="T106" fmla="*/ 112 w 171"/>
                <a:gd name="T107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1" h="64">
                  <a:moveTo>
                    <a:pt x="112" y="58"/>
                  </a:moveTo>
                  <a:lnTo>
                    <a:pt x="106" y="53"/>
                  </a:lnTo>
                  <a:lnTo>
                    <a:pt x="101" y="52"/>
                  </a:lnTo>
                  <a:lnTo>
                    <a:pt x="83" y="58"/>
                  </a:lnTo>
                  <a:lnTo>
                    <a:pt x="54" y="62"/>
                  </a:lnTo>
                  <a:lnTo>
                    <a:pt x="25" y="64"/>
                  </a:lnTo>
                  <a:lnTo>
                    <a:pt x="27" y="57"/>
                  </a:lnTo>
                  <a:lnTo>
                    <a:pt x="0" y="50"/>
                  </a:lnTo>
                  <a:lnTo>
                    <a:pt x="5" y="42"/>
                  </a:lnTo>
                  <a:lnTo>
                    <a:pt x="36" y="41"/>
                  </a:lnTo>
                  <a:lnTo>
                    <a:pt x="66" y="40"/>
                  </a:lnTo>
                  <a:lnTo>
                    <a:pt x="37" y="35"/>
                  </a:lnTo>
                  <a:lnTo>
                    <a:pt x="7" y="34"/>
                  </a:lnTo>
                  <a:lnTo>
                    <a:pt x="5" y="30"/>
                  </a:lnTo>
                  <a:lnTo>
                    <a:pt x="43" y="24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9" y="22"/>
                  </a:lnTo>
                  <a:lnTo>
                    <a:pt x="28" y="14"/>
                  </a:lnTo>
                  <a:lnTo>
                    <a:pt x="27" y="11"/>
                  </a:lnTo>
                  <a:lnTo>
                    <a:pt x="53" y="5"/>
                  </a:lnTo>
                  <a:lnTo>
                    <a:pt x="79" y="0"/>
                  </a:lnTo>
                  <a:lnTo>
                    <a:pt x="82" y="3"/>
                  </a:lnTo>
                  <a:lnTo>
                    <a:pt x="70" y="10"/>
                  </a:lnTo>
                  <a:lnTo>
                    <a:pt x="79" y="8"/>
                  </a:lnTo>
                  <a:lnTo>
                    <a:pt x="89" y="5"/>
                  </a:lnTo>
                  <a:lnTo>
                    <a:pt x="100" y="10"/>
                  </a:lnTo>
                  <a:lnTo>
                    <a:pt x="93" y="14"/>
                  </a:lnTo>
                  <a:lnTo>
                    <a:pt x="97" y="14"/>
                  </a:lnTo>
                  <a:lnTo>
                    <a:pt x="112" y="11"/>
                  </a:lnTo>
                  <a:lnTo>
                    <a:pt x="113" y="9"/>
                  </a:lnTo>
                  <a:lnTo>
                    <a:pt x="114" y="5"/>
                  </a:lnTo>
                  <a:lnTo>
                    <a:pt x="126" y="10"/>
                  </a:lnTo>
                  <a:lnTo>
                    <a:pt x="119" y="22"/>
                  </a:lnTo>
                  <a:lnTo>
                    <a:pt x="130" y="18"/>
                  </a:lnTo>
                  <a:lnTo>
                    <a:pt x="139" y="3"/>
                  </a:lnTo>
                  <a:lnTo>
                    <a:pt x="156" y="2"/>
                  </a:lnTo>
                  <a:lnTo>
                    <a:pt x="160" y="11"/>
                  </a:lnTo>
                  <a:lnTo>
                    <a:pt x="149" y="28"/>
                  </a:lnTo>
                  <a:lnTo>
                    <a:pt x="150" y="36"/>
                  </a:lnTo>
                  <a:lnTo>
                    <a:pt x="154" y="36"/>
                  </a:lnTo>
                  <a:lnTo>
                    <a:pt x="171" y="42"/>
                  </a:lnTo>
                  <a:lnTo>
                    <a:pt x="168" y="45"/>
                  </a:lnTo>
                  <a:lnTo>
                    <a:pt x="161" y="48"/>
                  </a:lnTo>
                  <a:lnTo>
                    <a:pt x="162" y="45"/>
                  </a:lnTo>
                  <a:lnTo>
                    <a:pt x="155" y="47"/>
                  </a:lnTo>
                  <a:lnTo>
                    <a:pt x="151" y="47"/>
                  </a:lnTo>
                  <a:lnTo>
                    <a:pt x="143" y="51"/>
                  </a:lnTo>
                  <a:lnTo>
                    <a:pt x="139" y="50"/>
                  </a:lnTo>
                  <a:lnTo>
                    <a:pt x="135" y="56"/>
                  </a:lnTo>
                  <a:lnTo>
                    <a:pt x="151" y="51"/>
                  </a:lnTo>
                  <a:lnTo>
                    <a:pt x="149" y="54"/>
                  </a:lnTo>
                  <a:lnTo>
                    <a:pt x="144" y="58"/>
                  </a:lnTo>
                  <a:lnTo>
                    <a:pt x="112" y="5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01" name="Freeform 437">
              <a:extLst>
                <a:ext uri="{FF2B5EF4-FFF2-40B4-BE49-F238E27FC236}">
                  <a16:creationId xmlns:a16="http://schemas.microsoft.com/office/drawing/2014/main" id="{67C951EA-4546-4FEE-A6A8-149F9C2027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7957" y="1889757"/>
              <a:ext cx="262578" cy="97218"/>
            </a:xfrm>
            <a:custGeom>
              <a:avLst/>
              <a:gdLst>
                <a:gd name="T0" fmla="*/ 56 w 123"/>
                <a:gd name="T1" fmla="*/ 30 h 43"/>
                <a:gd name="T2" fmla="*/ 37 w 123"/>
                <a:gd name="T3" fmla="*/ 40 h 43"/>
                <a:gd name="T4" fmla="*/ 9 w 123"/>
                <a:gd name="T5" fmla="*/ 43 h 43"/>
                <a:gd name="T6" fmla="*/ 5 w 123"/>
                <a:gd name="T7" fmla="*/ 35 h 43"/>
                <a:gd name="T8" fmla="*/ 0 w 123"/>
                <a:gd name="T9" fmla="*/ 30 h 43"/>
                <a:gd name="T10" fmla="*/ 18 w 123"/>
                <a:gd name="T11" fmla="*/ 22 h 43"/>
                <a:gd name="T12" fmla="*/ 24 w 123"/>
                <a:gd name="T13" fmla="*/ 18 h 43"/>
                <a:gd name="T14" fmla="*/ 45 w 123"/>
                <a:gd name="T15" fmla="*/ 8 h 43"/>
                <a:gd name="T16" fmla="*/ 44 w 123"/>
                <a:gd name="T17" fmla="*/ 1 h 43"/>
                <a:gd name="T18" fmla="*/ 83 w 123"/>
                <a:gd name="T19" fmla="*/ 0 h 43"/>
                <a:gd name="T20" fmla="*/ 92 w 123"/>
                <a:gd name="T21" fmla="*/ 4 h 43"/>
                <a:gd name="T22" fmla="*/ 95 w 123"/>
                <a:gd name="T23" fmla="*/ 5 h 43"/>
                <a:gd name="T24" fmla="*/ 115 w 123"/>
                <a:gd name="T25" fmla="*/ 4 h 43"/>
                <a:gd name="T26" fmla="*/ 123 w 123"/>
                <a:gd name="T27" fmla="*/ 12 h 43"/>
                <a:gd name="T28" fmla="*/ 96 w 123"/>
                <a:gd name="T29" fmla="*/ 19 h 43"/>
                <a:gd name="T30" fmla="*/ 68 w 123"/>
                <a:gd name="T31" fmla="*/ 26 h 43"/>
                <a:gd name="T32" fmla="*/ 56 w 123"/>
                <a:gd name="T33" fmla="*/ 3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3" h="43">
                  <a:moveTo>
                    <a:pt x="56" y="30"/>
                  </a:moveTo>
                  <a:lnTo>
                    <a:pt x="37" y="40"/>
                  </a:lnTo>
                  <a:lnTo>
                    <a:pt x="9" y="43"/>
                  </a:lnTo>
                  <a:lnTo>
                    <a:pt x="5" y="35"/>
                  </a:lnTo>
                  <a:lnTo>
                    <a:pt x="0" y="30"/>
                  </a:lnTo>
                  <a:lnTo>
                    <a:pt x="18" y="22"/>
                  </a:lnTo>
                  <a:lnTo>
                    <a:pt x="24" y="18"/>
                  </a:lnTo>
                  <a:lnTo>
                    <a:pt x="45" y="8"/>
                  </a:lnTo>
                  <a:lnTo>
                    <a:pt x="44" y="1"/>
                  </a:lnTo>
                  <a:lnTo>
                    <a:pt x="83" y="0"/>
                  </a:lnTo>
                  <a:lnTo>
                    <a:pt x="92" y="4"/>
                  </a:lnTo>
                  <a:lnTo>
                    <a:pt x="95" y="5"/>
                  </a:lnTo>
                  <a:lnTo>
                    <a:pt x="115" y="4"/>
                  </a:lnTo>
                  <a:lnTo>
                    <a:pt x="123" y="12"/>
                  </a:lnTo>
                  <a:lnTo>
                    <a:pt x="96" y="19"/>
                  </a:lnTo>
                  <a:lnTo>
                    <a:pt x="68" y="26"/>
                  </a:lnTo>
                  <a:lnTo>
                    <a:pt x="56" y="3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02" name="Freeform 438">
              <a:extLst>
                <a:ext uri="{FF2B5EF4-FFF2-40B4-BE49-F238E27FC236}">
                  <a16:creationId xmlns:a16="http://schemas.microsoft.com/office/drawing/2014/main" id="{4C72263B-2515-4B5D-B496-456B1478790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2999" y="2613935"/>
              <a:ext cx="176955" cy="168644"/>
            </a:xfrm>
            <a:custGeom>
              <a:avLst/>
              <a:gdLst>
                <a:gd name="T0" fmla="*/ 42 w 83"/>
                <a:gd name="T1" fmla="*/ 61 h 76"/>
                <a:gd name="T2" fmla="*/ 44 w 83"/>
                <a:gd name="T3" fmla="*/ 57 h 76"/>
                <a:gd name="T4" fmla="*/ 20 w 83"/>
                <a:gd name="T5" fmla="*/ 61 h 76"/>
                <a:gd name="T6" fmla="*/ 0 w 83"/>
                <a:gd name="T7" fmla="*/ 58 h 76"/>
                <a:gd name="T8" fmla="*/ 5 w 83"/>
                <a:gd name="T9" fmla="*/ 52 h 76"/>
                <a:gd name="T10" fmla="*/ 15 w 83"/>
                <a:gd name="T11" fmla="*/ 46 h 76"/>
                <a:gd name="T12" fmla="*/ 4 w 83"/>
                <a:gd name="T13" fmla="*/ 46 h 76"/>
                <a:gd name="T14" fmla="*/ 9 w 83"/>
                <a:gd name="T15" fmla="*/ 44 h 76"/>
                <a:gd name="T16" fmla="*/ 21 w 83"/>
                <a:gd name="T17" fmla="*/ 38 h 76"/>
                <a:gd name="T18" fmla="*/ 22 w 83"/>
                <a:gd name="T19" fmla="*/ 39 h 76"/>
                <a:gd name="T20" fmla="*/ 24 w 83"/>
                <a:gd name="T21" fmla="*/ 34 h 76"/>
                <a:gd name="T22" fmla="*/ 21 w 83"/>
                <a:gd name="T23" fmla="*/ 32 h 76"/>
                <a:gd name="T24" fmla="*/ 27 w 83"/>
                <a:gd name="T25" fmla="*/ 30 h 76"/>
                <a:gd name="T26" fmla="*/ 40 w 83"/>
                <a:gd name="T27" fmla="*/ 13 h 76"/>
                <a:gd name="T28" fmla="*/ 54 w 83"/>
                <a:gd name="T29" fmla="*/ 1 h 76"/>
                <a:gd name="T30" fmla="*/ 60 w 83"/>
                <a:gd name="T31" fmla="*/ 0 h 76"/>
                <a:gd name="T32" fmla="*/ 66 w 83"/>
                <a:gd name="T33" fmla="*/ 0 h 76"/>
                <a:gd name="T34" fmla="*/ 57 w 83"/>
                <a:gd name="T35" fmla="*/ 4 h 76"/>
                <a:gd name="T36" fmla="*/ 59 w 83"/>
                <a:gd name="T37" fmla="*/ 7 h 76"/>
                <a:gd name="T38" fmla="*/ 54 w 83"/>
                <a:gd name="T39" fmla="*/ 12 h 76"/>
                <a:gd name="T40" fmla="*/ 39 w 83"/>
                <a:gd name="T41" fmla="*/ 30 h 76"/>
                <a:gd name="T42" fmla="*/ 51 w 83"/>
                <a:gd name="T43" fmla="*/ 21 h 76"/>
                <a:gd name="T44" fmla="*/ 48 w 83"/>
                <a:gd name="T45" fmla="*/ 24 h 76"/>
                <a:gd name="T46" fmla="*/ 58 w 83"/>
                <a:gd name="T47" fmla="*/ 24 h 76"/>
                <a:gd name="T48" fmla="*/ 50 w 83"/>
                <a:gd name="T49" fmla="*/ 28 h 76"/>
                <a:gd name="T50" fmla="*/ 50 w 83"/>
                <a:gd name="T51" fmla="*/ 31 h 76"/>
                <a:gd name="T52" fmla="*/ 58 w 83"/>
                <a:gd name="T53" fmla="*/ 32 h 76"/>
                <a:gd name="T54" fmla="*/ 57 w 83"/>
                <a:gd name="T55" fmla="*/ 36 h 76"/>
                <a:gd name="T56" fmla="*/ 69 w 83"/>
                <a:gd name="T57" fmla="*/ 31 h 76"/>
                <a:gd name="T58" fmla="*/ 68 w 83"/>
                <a:gd name="T59" fmla="*/ 34 h 76"/>
                <a:gd name="T60" fmla="*/ 78 w 83"/>
                <a:gd name="T61" fmla="*/ 33 h 76"/>
                <a:gd name="T62" fmla="*/ 70 w 83"/>
                <a:gd name="T63" fmla="*/ 42 h 76"/>
                <a:gd name="T64" fmla="*/ 72 w 83"/>
                <a:gd name="T65" fmla="*/ 44 h 76"/>
                <a:gd name="T66" fmla="*/ 68 w 83"/>
                <a:gd name="T67" fmla="*/ 48 h 76"/>
                <a:gd name="T68" fmla="*/ 83 w 83"/>
                <a:gd name="T69" fmla="*/ 45 h 76"/>
                <a:gd name="T70" fmla="*/ 69 w 83"/>
                <a:gd name="T71" fmla="*/ 52 h 76"/>
                <a:gd name="T72" fmla="*/ 71 w 83"/>
                <a:gd name="T73" fmla="*/ 56 h 76"/>
                <a:gd name="T74" fmla="*/ 70 w 83"/>
                <a:gd name="T75" fmla="*/ 56 h 76"/>
                <a:gd name="T76" fmla="*/ 69 w 83"/>
                <a:gd name="T77" fmla="*/ 61 h 76"/>
                <a:gd name="T78" fmla="*/ 82 w 83"/>
                <a:gd name="T79" fmla="*/ 51 h 76"/>
                <a:gd name="T80" fmla="*/ 76 w 83"/>
                <a:gd name="T81" fmla="*/ 61 h 76"/>
                <a:gd name="T82" fmla="*/ 82 w 83"/>
                <a:gd name="T83" fmla="*/ 57 h 76"/>
                <a:gd name="T84" fmla="*/ 83 w 83"/>
                <a:gd name="T85" fmla="*/ 62 h 76"/>
                <a:gd name="T86" fmla="*/ 72 w 83"/>
                <a:gd name="T87" fmla="*/ 76 h 76"/>
                <a:gd name="T88" fmla="*/ 68 w 83"/>
                <a:gd name="T89" fmla="*/ 73 h 76"/>
                <a:gd name="T90" fmla="*/ 68 w 83"/>
                <a:gd name="T91" fmla="*/ 69 h 76"/>
                <a:gd name="T92" fmla="*/ 60 w 83"/>
                <a:gd name="T93" fmla="*/ 72 h 76"/>
                <a:gd name="T94" fmla="*/ 66 w 83"/>
                <a:gd name="T95" fmla="*/ 61 h 76"/>
                <a:gd name="T96" fmla="*/ 64 w 83"/>
                <a:gd name="T97" fmla="*/ 56 h 76"/>
                <a:gd name="T98" fmla="*/ 57 w 83"/>
                <a:gd name="T99" fmla="*/ 64 h 76"/>
                <a:gd name="T100" fmla="*/ 60 w 83"/>
                <a:gd name="T101" fmla="*/ 61 h 76"/>
                <a:gd name="T102" fmla="*/ 41 w 83"/>
                <a:gd name="T103" fmla="*/ 73 h 76"/>
                <a:gd name="T104" fmla="*/ 40 w 83"/>
                <a:gd name="T105" fmla="*/ 69 h 76"/>
                <a:gd name="T106" fmla="*/ 57 w 83"/>
                <a:gd name="T107" fmla="*/ 60 h 76"/>
                <a:gd name="T108" fmla="*/ 52 w 83"/>
                <a:gd name="T109" fmla="*/ 61 h 76"/>
                <a:gd name="T110" fmla="*/ 54 w 83"/>
                <a:gd name="T111" fmla="*/ 57 h 76"/>
                <a:gd name="T112" fmla="*/ 48 w 83"/>
                <a:gd name="T113" fmla="*/ 60 h 76"/>
                <a:gd name="T114" fmla="*/ 42 w 83"/>
                <a:gd name="T115" fmla="*/ 63 h 76"/>
                <a:gd name="T116" fmla="*/ 38 w 83"/>
                <a:gd name="T117" fmla="*/ 62 h 76"/>
                <a:gd name="T118" fmla="*/ 42 w 83"/>
                <a:gd name="T119" fmla="*/ 6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3" h="76">
                  <a:moveTo>
                    <a:pt x="42" y="61"/>
                  </a:moveTo>
                  <a:lnTo>
                    <a:pt x="44" y="57"/>
                  </a:lnTo>
                  <a:lnTo>
                    <a:pt x="20" y="61"/>
                  </a:lnTo>
                  <a:lnTo>
                    <a:pt x="0" y="58"/>
                  </a:lnTo>
                  <a:lnTo>
                    <a:pt x="5" y="52"/>
                  </a:lnTo>
                  <a:lnTo>
                    <a:pt x="15" y="46"/>
                  </a:lnTo>
                  <a:lnTo>
                    <a:pt x="4" y="46"/>
                  </a:lnTo>
                  <a:lnTo>
                    <a:pt x="9" y="44"/>
                  </a:lnTo>
                  <a:lnTo>
                    <a:pt x="21" y="38"/>
                  </a:lnTo>
                  <a:lnTo>
                    <a:pt x="22" y="39"/>
                  </a:lnTo>
                  <a:lnTo>
                    <a:pt x="24" y="34"/>
                  </a:lnTo>
                  <a:lnTo>
                    <a:pt x="21" y="32"/>
                  </a:lnTo>
                  <a:lnTo>
                    <a:pt x="27" y="30"/>
                  </a:lnTo>
                  <a:lnTo>
                    <a:pt x="40" y="13"/>
                  </a:lnTo>
                  <a:lnTo>
                    <a:pt x="54" y="1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57" y="4"/>
                  </a:lnTo>
                  <a:lnTo>
                    <a:pt x="59" y="7"/>
                  </a:lnTo>
                  <a:lnTo>
                    <a:pt x="54" y="12"/>
                  </a:lnTo>
                  <a:lnTo>
                    <a:pt x="39" y="30"/>
                  </a:lnTo>
                  <a:lnTo>
                    <a:pt x="51" y="21"/>
                  </a:lnTo>
                  <a:lnTo>
                    <a:pt x="48" y="24"/>
                  </a:lnTo>
                  <a:lnTo>
                    <a:pt x="58" y="24"/>
                  </a:lnTo>
                  <a:lnTo>
                    <a:pt x="50" y="28"/>
                  </a:lnTo>
                  <a:lnTo>
                    <a:pt x="50" y="31"/>
                  </a:lnTo>
                  <a:lnTo>
                    <a:pt x="58" y="32"/>
                  </a:lnTo>
                  <a:lnTo>
                    <a:pt x="57" y="36"/>
                  </a:lnTo>
                  <a:lnTo>
                    <a:pt x="69" y="31"/>
                  </a:lnTo>
                  <a:lnTo>
                    <a:pt x="68" y="34"/>
                  </a:lnTo>
                  <a:lnTo>
                    <a:pt x="78" y="33"/>
                  </a:lnTo>
                  <a:lnTo>
                    <a:pt x="70" y="42"/>
                  </a:lnTo>
                  <a:lnTo>
                    <a:pt x="72" y="44"/>
                  </a:lnTo>
                  <a:lnTo>
                    <a:pt x="68" y="48"/>
                  </a:lnTo>
                  <a:lnTo>
                    <a:pt x="83" y="45"/>
                  </a:lnTo>
                  <a:lnTo>
                    <a:pt x="69" y="52"/>
                  </a:lnTo>
                  <a:lnTo>
                    <a:pt x="71" y="56"/>
                  </a:lnTo>
                  <a:lnTo>
                    <a:pt x="70" y="56"/>
                  </a:lnTo>
                  <a:lnTo>
                    <a:pt x="69" y="61"/>
                  </a:lnTo>
                  <a:lnTo>
                    <a:pt x="82" y="51"/>
                  </a:lnTo>
                  <a:lnTo>
                    <a:pt x="76" y="61"/>
                  </a:lnTo>
                  <a:lnTo>
                    <a:pt x="82" y="57"/>
                  </a:lnTo>
                  <a:lnTo>
                    <a:pt x="83" y="62"/>
                  </a:lnTo>
                  <a:lnTo>
                    <a:pt x="72" y="76"/>
                  </a:lnTo>
                  <a:lnTo>
                    <a:pt x="68" y="73"/>
                  </a:lnTo>
                  <a:lnTo>
                    <a:pt x="68" y="69"/>
                  </a:lnTo>
                  <a:lnTo>
                    <a:pt x="60" y="72"/>
                  </a:lnTo>
                  <a:lnTo>
                    <a:pt x="66" y="61"/>
                  </a:lnTo>
                  <a:lnTo>
                    <a:pt x="64" y="56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41" y="73"/>
                  </a:lnTo>
                  <a:lnTo>
                    <a:pt x="40" y="69"/>
                  </a:lnTo>
                  <a:lnTo>
                    <a:pt x="57" y="60"/>
                  </a:lnTo>
                  <a:lnTo>
                    <a:pt x="52" y="61"/>
                  </a:lnTo>
                  <a:lnTo>
                    <a:pt x="54" y="57"/>
                  </a:lnTo>
                  <a:lnTo>
                    <a:pt x="48" y="60"/>
                  </a:lnTo>
                  <a:lnTo>
                    <a:pt x="42" y="63"/>
                  </a:lnTo>
                  <a:lnTo>
                    <a:pt x="38" y="62"/>
                  </a:lnTo>
                  <a:lnTo>
                    <a:pt x="42" y="6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03" name="Freeform 439">
              <a:extLst>
                <a:ext uri="{FF2B5EF4-FFF2-40B4-BE49-F238E27FC236}">
                  <a16:creationId xmlns:a16="http://schemas.microsoft.com/office/drawing/2014/main" id="{EA475C42-4C92-41C0-BAA3-FE459FCCFCC5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4312" y="1828251"/>
              <a:ext cx="308243" cy="53570"/>
            </a:xfrm>
            <a:custGeom>
              <a:avLst/>
              <a:gdLst>
                <a:gd name="T0" fmla="*/ 58 w 146"/>
                <a:gd name="T1" fmla="*/ 13 h 25"/>
                <a:gd name="T2" fmla="*/ 44 w 146"/>
                <a:gd name="T3" fmla="*/ 7 h 25"/>
                <a:gd name="T4" fmla="*/ 64 w 146"/>
                <a:gd name="T5" fmla="*/ 7 h 25"/>
                <a:gd name="T6" fmla="*/ 26 w 146"/>
                <a:gd name="T7" fmla="*/ 5 h 25"/>
                <a:gd name="T8" fmla="*/ 33 w 146"/>
                <a:gd name="T9" fmla="*/ 0 h 25"/>
                <a:gd name="T10" fmla="*/ 0 w 146"/>
                <a:gd name="T11" fmla="*/ 1 h 25"/>
                <a:gd name="T12" fmla="*/ 31 w 146"/>
                <a:gd name="T13" fmla="*/ 6 h 25"/>
                <a:gd name="T14" fmla="*/ 25 w 146"/>
                <a:gd name="T15" fmla="*/ 16 h 25"/>
                <a:gd name="T16" fmla="*/ 20 w 146"/>
                <a:gd name="T17" fmla="*/ 25 h 25"/>
                <a:gd name="T18" fmla="*/ 51 w 146"/>
                <a:gd name="T19" fmla="*/ 25 h 25"/>
                <a:gd name="T20" fmla="*/ 81 w 146"/>
                <a:gd name="T21" fmla="*/ 24 h 25"/>
                <a:gd name="T22" fmla="*/ 111 w 146"/>
                <a:gd name="T23" fmla="*/ 24 h 25"/>
                <a:gd name="T24" fmla="*/ 142 w 146"/>
                <a:gd name="T25" fmla="*/ 23 h 25"/>
                <a:gd name="T26" fmla="*/ 146 w 146"/>
                <a:gd name="T27" fmla="*/ 17 h 25"/>
                <a:gd name="T28" fmla="*/ 122 w 146"/>
                <a:gd name="T29" fmla="*/ 12 h 25"/>
                <a:gd name="T30" fmla="*/ 91 w 146"/>
                <a:gd name="T31" fmla="*/ 12 h 25"/>
                <a:gd name="T32" fmla="*/ 58 w 146"/>
                <a:gd name="T3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25">
                  <a:moveTo>
                    <a:pt x="58" y="13"/>
                  </a:moveTo>
                  <a:lnTo>
                    <a:pt x="44" y="7"/>
                  </a:lnTo>
                  <a:lnTo>
                    <a:pt x="64" y="7"/>
                  </a:lnTo>
                  <a:lnTo>
                    <a:pt x="26" y="5"/>
                  </a:lnTo>
                  <a:lnTo>
                    <a:pt x="33" y="0"/>
                  </a:lnTo>
                  <a:lnTo>
                    <a:pt x="0" y="1"/>
                  </a:lnTo>
                  <a:lnTo>
                    <a:pt x="31" y="6"/>
                  </a:lnTo>
                  <a:lnTo>
                    <a:pt x="25" y="16"/>
                  </a:lnTo>
                  <a:lnTo>
                    <a:pt x="20" y="25"/>
                  </a:lnTo>
                  <a:lnTo>
                    <a:pt x="51" y="25"/>
                  </a:lnTo>
                  <a:lnTo>
                    <a:pt x="81" y="24"/>
                  </a:lnTo>
                  <a:lnTo>
                    <a:pt x="111" y="24"/>
                  </a:lnTo>
                  <a:lnTo>
                    <a:pt x="142" y="23"/>
                  </a:lnTo>
                  <a:lnTo>
                    <a:pt x="146" y="17"/>
                  </a:lnTo>
                  <a:lnTo>
                    <a:pt x="122" y="12"/>
                  </a:lnTo>
                  <a:lnTo>
                    <a:pt x="91" y="12"/>
                  </a:lnTo>
                  <a:lnTo>
                    <a:pt x="58" y="1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04" name="Freeform 440">
              <a:extLst>
                <a:ext uri="{FF2B5EF4-FFF2-40B4-BE49-F238E27FC236}">
                  <a16:creationId xmlns:a16="http://schemas.microsoft.com/office/drawing/2014/main" id="{DBF89242-072B-4563-8F3F-44C085EDB64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58963" y="1723096"/>
              <a:ext cx="199786" cy="71426"/>
            </a:xfrm>
            <a:custGeom>
              <a:avLst/>
              <a:gdLst>
                <a:gd name="T0" fmla="*/ 20 w 94"/>
                <a:gd name="T1" fmla="*/ 9 h 33"/>
                <a:gd name="T2" fmla="*/ 13 w 94"/>
                <a:gd name="T3" fmla="*/ 5 h 33"/>
                <a:gd name="T4" fmla="*/ 44 w 94"/>
                <a:gd name="T5" fmla="*/ 0 h 33"/>
                <a:gd name="T6" fmla="*/ 83 w 94"/>
                <a:gd name="T7" fmla="*/ 6 h 33"/>
                <a:gd name="T8" fmla="*/ 74 w 94"/>
                <a:gd name="T9" fmla="*/ 16 h 33"/>
                <a:gd name="T10" fmla="*/ 94 w 94"/>
                <a:gd name="T11" fmla="*/ 19 h 33"/>
                <a:gd name="T12" fmla="*/ 60 w 94"/>
                <a:gd name="T13" fmla="*/ 25 h 33"/>
                <a:gd name="T14" fmla="*/ 46 w 94"/>
                <a:gd name="T15" fmla="*/ 31 h 33"/>
                <a:gd name="T16" fmla="*/ 40 w 94"/>
                <a:gd name="T17" fmla="*/ 27 h 33"/>
                <a:gd name="T18" fmla="*/ 38 w 94"/>
                <a:gd name="T19" fmla="*/ 33 h 33"/>
                <a:gd name="T20" fmla="*/ 6 w 94"/>
                <a:gd name="T21" fmla="*/ 23 h 33"/>
                <a:gd name="T22" fmla="*/ 44 w 94"/>
                <a:gd name="T23" fmla="*/ 19 h 33"/>
                <a:gd name="T24" fmla="*/ 0 w 94"/>
                <a:gd name="T25" fmla="*/ 15 h 33"/>
                <a:gd name="T26" fmla="*/ 20 w 94"/>
                <a:gd name="T27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33">
                  <a:moveTo>
                    <a:pt x="20" y="9"/>
                  </a:moveTo>
                  <a:lnTo>
                    <a:pt x="13" y="5"/>
                  </a:lnTo>
                  <a:lnTo>
                    <a:pt x="44" y="0"/>
                  </a:lnTo>
                  <a:lnTo>
                    <a:pt x="83" y="6"/>
                  </a:lnTo>
                  <a:lnTo>
                    <a:pt x="74" y="16"/>
                  </a:lnTo>
                  <a:lnTo>
                    <a:pt x="94" y="19"/>
                  </a:lnTo>
                  <a:lnTo>
                    <a:pt x="60" y="25"/>
                  </a:lnTo>
                  <a:lnTo>
                    <a:pt x="46" y="31"/>
                  </a:lnTo>
                  <a:lnTo>
                    <a:pt x="40" y="27"/>
                  </a:lnTo>
                  <a:lnTo>
                    <a:pt x="38" y="33"/>
                  </a:lnTo>
                  <a:lnTo>
                    <a:pt x="6" y="23"/>
                  </a:lnTo>
                  <a:lnTo>
                    <a:pt x="44" y="19"/>
                  </a:lnTo>
                  <a:lnTo>
                    <a:pt x="0" y="15"/>
                  </a:lnTo>
                  <a:lnTo>
                    <a:pt x="20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05" name="Freeform 441">
              <a:extLst>
                <a:ext uri="{FF2B5EF4-FFF2-40B4-BE49-F238E27FC236}">
                  <a16:creationId xmlns:a16="http://schemas.microsoft.com/office/drawing/2014/main" id="{E14F7185-3CD0-441B-8E16-15F138BE72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391950" y="1828251"/>
              <a:ext cx="262578" cy="61504"/>
            </a:xfrm>
            <a:custGeom>
              <a:avLst/>
              <a:gdLst>
                <a:gd name="T0" fmla="*/ 35 w 125"/>
                <a:gd name="T1" fmla="*/ 29 h 29"/>
                <a:gd name="T2" fmla="*/ 22 w 125"/>
                <a:gd name="T3" fmla="*/ 25 h 29"/>
                <a:gd name="T4" fmla="*/ 63 w 125"/>
                <a:gd name="T5" fmla="*/ 18 h 29"/>
                <a:gd name="T6" fmla="*/ 31 w 125"/>
                <a:gd name="T7" fmla="*/ 18 h 29"/>
                <a:gd name="T8" fmla="*/ 0 w 125"/>
                <a:gd name="T9" fmla="*/ 18 h 29"/>
                <a:gd name="T10" fmla="*/ 30 w 125"/>
                <a:gd name="T11" fmla="*/ 13 h 29"/>
                <a:gd name="T12" fmla="*/ 17 w 125"/>
                <a:gd name="T13" fmla="*/ 12 h 29"/>
                <a:gd name="T14" fmla="*/ 36 w 125"/>
                <a:gd name="T15" fmla="*/ 11 h 29"/>
                <a:gd name="T16" fmla="*/ 28 w 125"/>
                <a:gd name="T17" fmla="*/ 7 h 29"/>
                <a:gd name="T18" fmla="*/ 64 w 125"/>
                <a:gd name="T19" fmla="*/ 10 h 29"/>
                <a:gd name="T20" fmla="*/ 88 w 125"/>
                <a:gd name="T21" fmla="*/ 16 h 29"/>
                <a:gd name="T22" fmla="*/ 89 w 125"/>
                <a:gd name="T23" fmla="*/ 5 h 29"/>
                <a:gd name="T24" fmla="*/ 109 w 125"/>
                <a:gd name="T25" fmla="*/ 0 h 29"/>
                <a:gd name="T26" fmla="*/ 102 w 125"/>
                <a:gd name="T27" fmla="*/ 12 h 29"/>
                <a:gd name="T28" fmla="*/ 125 w 125"/>
                <a:gd name="T29" fmla="*/ 12 h 29"/>
                <a:gd name="T30" fmla="*/ 107 w 125"/>
                <a:gd name="T31" fmla="*/ 22 h 29"/>
                <a:gd name="T32" fmla="*/ 91 w 125"/>
                <a:gd name="T33" fmla="*/ 21 h 29"/>
                <a:gd name="T34" fmla="*/ 63 w 125"/>
                <a:gd name="T35" fmla="*/ 25 h 29"/>
                <a:gd name="T36" fmla="*/ 35 w 125"/>
                <a:gd name="T3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" h="29">
                  <a:moveTo>
                    <a:pt x="35" y="29"/>
                  </a:moveTo>
                  <a:lnTo>
                    <a:pt x="22" y="25"/>
                  </a:lnTo>
                  <a:lnTo>
                    <a:pt x="63" y="18"/>
                  </a:lnTo>
                  <a:lnTo>
                    <a:pt x="31" y="18"/>
                  </a:lnTo>
                  <a:lnTo>
                    <a:pt x="0" y="18"/>
                  </a:lnTo>
                  <a:lnTo>
                    <a:pt x="30" y="13"/>
                  </a:lnTo>
                  <a:lnTo>
                    <a:pt x="17" y="12"/>
                  </a:lnTo>
                  <a:lnTo>
                    <a:pt x="36" y="11"/>
                  </a:lnTo>
                  <a:lnTo>
                    <a:pt x="28" y="7"/>
                  </a:lnTo>
                  <a:lnTo>
                    <a:pt x="64" y="10"/>
                  </a:lnTo>
                  <a:lnTo>
                    <a:pt x="88" y="16"/>
                  </a:lnTo>
                  <a:lnTo>
                    <a:pt x="89" y="5"/>
                  </a:lnTo>
                  <a:lnTo>
                    <a:pt x="109" y="0"/>
                  </a:lnTo>
                  <a:lnTo>
                    <a:pt x="102" y="12"/>
                  </a:lnTo>
                  <a:lnTo>
                    <a:pt x="125" y="12"/>
                  </a:lnTo>
                  <a:lnTo>
                    <a:pt x="107" y="22"/>
                  </a:lnTo>
                  <a:lnTo>
                    <a:pt x="91" y="21"/>
                  </a:lnTo>
                  <a:lnTo>
                    <a:pt x="63" y="25"/>
                  </a:lnTo>
                  <a:lnTo>
                    <a:pt x="35" y="2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06" name="Freeform 442">
              <a:extLst>
                <a:ext uri="{FF2B5EF4-FFF2-40B4-BE49-F238E27FC236}">
                  <a16:creationId xmlns:a16="http://schemas.microsoft.com/office/drawing/2014/main" id="{0DEFF210-9FCF-4B32-9424-30FC61C027C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0149" y="2147682"/>
              <a:ext cx="169342" cy="83330"/>
            </a:xfrm>
            <a:custGeom>
              <a:avLst/>
              <a:gdLst>
                <a:gd name="T0" fmla="*/ 55 w 79"/>
                <a:gd name="T1" fmla="*/ 29 h 39"/>
                <a:gd name="T2" fmla="*/ 48 w 79"/>
                <a:gd name="T3" fmla="*/ 27 h 39"/>
                <a:gd name="T4" fmla="*/ 49 w 79"/>
                <a:gd name="T5" fmla="*/ 24 h 39"/>
                <a:gd name="T6" fmla="*/ 43 w 79"/>
                <a:gd name="T7" fmla="*/ 28 h 39"/>
                <a:gd name="T8" fmla="*/ 18 w 79"/>
                <a:gd name="T9" fmla="*/ 39 h 39"/>
                <a:gd name="T10" fmla="*/ 17 w 79"/>
                <a:gd name="T11" fmla="*/ 30 h 39"/>
                <a:gd name="T12" fmla="*/ 0 w 79"/>
                <a:gd name="T13" fmla="*/ 31 h 39"/>
                <a:gd name="T14" fmla="*/ 17 w 79"/>
                <a:gd name="T15" fmla="*/ 24 h 39"/>
                <a:gd name="T16" fmla="*/ 27 w 79"/>
                <a:gd name="T17" fmla="*/ 11 h 39"/>
                <a:gd name="T18" fmla="*/ 37 w 79"/>
                <a:gd name="T19" fmla="*/ 0 h 39"/>
                <a:gd name="T20" fmla="*/ 43 w 79"/>
                <a:gd name="T21" fmla="*/ 4 h 39"/>
                <a:gd name="T22" fmla="*/ 42 w 79"/>
                <a:gd name="T23" fmla="*/ 9 h 39"/>
                <a:gd name="T24" fmla="*/ 48 w 79"/>
                <a:gd name="T25" fmla="*/ 6 h 39"/>
                <a:gd name="T26" fmla="*/ 68 w 79"/>
                <a:gd name="T27" fmla="*/ 19 h 39"/>
                <a:gd name="T28" fmla="*/ 61 w 79"/>
                <a:gd name="T29" fmla="*/ 27 h 39"/>
                <a:gd name="T30" fmla="*/ 77 w 79"/>
                <a:gd name="T31" fmla="*/ 27 h 39"/>
                <a:gd name="T32" fmla="*/ 79 w 79"/>
                <a:gd name="T33" fmla="*/ 30 h 39"/>
                <a:gd name="T34" fmla="*/ 65 w 79"/>
                <a:gd name="T35" fmla="*/ 34 h 39"/>
                <a:gd name="T36" fmla="*/ 55 w 79"/>
                <a:gd name="T37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" h="39">
                  <a:moveTo>
                    <a:pt x="55" y="29"/>
                  </a:moveTo>
                  <a:lnTo>
                    <a:pt x="48" y="27"/>
                  </a:lnTo>
                  <a:lnTo>
                    <a:pt x="49" y="24"/>
                  </a:lnTo>
                  <a:lnTo>
                    <a:pt x="43" y="28"/>
                  </a:lnTo>
                  <a:lnTo>
                    <a:pt x="18" y="39"/>
                  </a:lnTo>
                  <a:lnTo>
                    <a:pt x="17" y="30"/>
                  </a:lnTo>
                  <a:lnTo>
                    <a:pt x="0" y="31"/>
                  </a:lnTo>
                  <a:lnTo>
                    <a:pt x="17" y="24"/>
                  </a:lnTo>
                  <a:lnTo>
                    <a:pt x="27" y="11"/>
                  </a:lnTo>
                  <a:lnTo>
                    <a:pt x="37" y="0"/>
                  </a:lnTo>
                  <a:lnTo>
                    <a:pt x="43" y="4"/>
                  </a:lnTo>
                  <a:lnTo>
                    <a:pt x="42" y="9"/>
                  </a:lnTo>
                  <a:lnTo>
                    <a:pt x="48" y="6"/>
                  </a:lnTo>
                  <a:lnTo>
                    <a:pt x="68" y="19"/>
                  </a:lnTo>
                  <a:lnTo>
                    <a:pt x="61" y="27"/>
                  </a:lnTo>
                  <a:lnTo>
                    <a:pt x="77" y="27"/>
                  </a:lnTo>
                  <a:lnTo>
                    <a:pt x="79" y="30"/>
                  </a:lnTo>
                  <a:lnTo>
                    <a:pt x="65" y="34"/>
                  </a:lnTo>
                  <a:lnTo>
                    <a:pt x="55" y="2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07" name="Freeform 443">
              <a:extLst>
                <a:ext uri="{FF2B5EF4-FFF2-40B4-BE49-F238E27FC236}">
                  <a16:creationId xmlns:a16="http://schemas.microsoft.com/office/drawing/2014/main" id="{54D109CE-CB29-4A20-A732-8A585F416CB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0277" y="1913565"/>
              <a:ext cx="144607" cy="61504"/>
            </a:xfrm>
            <a:custGeom>
              <a:avLst/>
              <a:gdLst>
                <a:gd name="T0" fmla="*/ 70 w 70"/>
                <a:gd name="T1" fmla="*/ 0 h 28"/>
                <a:gd name="T2" fmla="*/ 29 w 70"/>
                <a:gd name="T3" fmla="*/ 0 h 28"/>
                <a:gd name="T4" fmla="*/ 34 w 70"/>
                <a:gd name="T5" fmla="*/ 6 h 28"/>
                <a:gd name="T6" fmla="*/ 25 w 70"/>
                <a:gd name="T7" fmla="*/ 12 h 28"/>
                <a:gd name="T8" fmla="*/ 0 w 70"/>
                <a:gd name="T9" fmla="*/ 12 h 28"/>
                <a:gd name="T10" fmla="*/ 15 w 70"/>
                <a:gd name="T11" fmla="*/ 20 h 28"/>
                <a:gd name="T12" fmla="*/ 30 w 70"/>
                <a:gd name="T13" fmla="*/ 28 h 28"/>
                <a:gd name="T14" fmla="*/ 33 w 70"/>
                <a:gd name="T15" fmla="*/ 24 h 28"/>
                <a:gd name="T16" fmla="*/ 51 w 70"/>
                <a:gd name="T17" fmla="*/ 24 h 28"/>
                <a:gd name="T18" fmla="*/ 60 w 70"/>
                <a:gd name="T19" fmla="*/ 12 h 28"/>
                <a:gd name="T20" fmla="*/ 70 w 70"/>
                <a:gd name="T2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28">
                  <a:moveTo>
                    <a:pt x="70" y="0"/>
                  </a:moveTo>
                  <a:lnTo>
                    <a:pt x="29" y="0"/>
                  </a:lnTo>
                  <a:lnTo>
                    <a:pt x="34" y="6"/>
                  </a:lnTo>
                  <a:lnTo>
                    <a:pt x="25" y="12"/>
                  </a:lnTo>
                  <a:lnTo>
                    <a:pt x="0" y="12"/>
                  </a:lnTo>
                  <a:lnTo>
                    <a:pt x="15" y="20"/>
                  </a:lnTo>
                  <a:lnTo>
                    <a:pt x="30" y="28"/>
                  </a:lnTo>
                  <a:lnTo>
                    <a:pt x="33" y="24"/>
                  </a:lnTo>
                  <a:lnTo>
                    <a:pt x="51" y="24"/>
                  </a:lnTo>
                  <a:lnTo>
                    <a:pt x="60" y="12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08" name="Freeform 444">
              <a:extLst>
                <a:ext uri="{FF2B5EF4-FFF2-40B4-BE49-F238E27FC236}">
                  <a16:creationId xmlns:a16="http://schemas.microsoft.com/office/drawing/2014/main" id="{60E3C410-FA8B-4EF9-A23D-21B91C2B007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274" y="1899676"/>
              <a:ext cx="152218" cy="61504"/>
            </a:xfrm>
            <a:custGeom>
              <a:avLst/>
              <a:gdLst>
                <a:gd name="T0" fmla="*/ 44 w 72"/>
                <a:gd name="T1" fmla="*/ 15 h 27"/>
                <a:gd name="T2" fmla="*/ 20 w 72"/>
                <a:gd name="T3" fmla="*/ 17 h 27"/>
                <a:gd name="T4" fmla="*/ 24 w 72"/>
                <a:gd name="T5" fmla="*/ 19 h 27"/>
                <a:gd name="T6" fmla="*/ 13 w 72"/>
                <a:gd name="T7" fmla="*/ 26 h 27"/>
                <a:gd name="T8" fmla="*/ 0 w 72"/>
                <a:gd name="T9" fmla="*/ 27 h 27"/>
                <a:gd name="T10" fmla="*/ 2 w 72"/>
                <a:gd name="T11" fmla="*/ 25 h 27"/>
                <a:gd name="T12" fmla="*/ 16 w 72"/>
                <a:gd name="T13" fmla="*/ 7 h 27"/>
                <a:gd name="T14" fmla="*/ 24 w 72"/>
                <a:gd name="T15" fmla="*/ 6 h 27"/>
                <a:gd name="T16" fmla="*/ 23 w 72"/>
                <a:gd name="T17" fmla="*/ 2 h 27"/>
                <a:gd name="T18" fmla="*/ 31 w 72"/>
                <a:gd name="T19" fmla="*/ 0 h 27"/>
                <a:gd name="T20" fmla="*/ 72 w 72"/>
                <a:gd name="T21" fmla="*/ 2 h 27"/>
                <a:gd name="T22" fmla="*/ 62 w 72"/>
                <a:gd name="T23" fmla="*/ 7 h 27"/>
                <a:gd name="T24" fmla="*/ 44 w 72"/>
                <a:gd name="T25" fmla="*/ 1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27">
                  <a:moveTo>
                    <a:pt x="44" y="15"/>
                  </a:moveTo>
                  <a:lnTo>
                    <a:pt x="20" y="17"/>
                  </a:lnTo>
                  <a:lnTo>
                    <a:pt x="24" y="19"/>
                  </a:lnTo>
                  <a:lnTo>
                    <a:pt x="13" y="26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16" y="7"/>
                  </a:lnTo>
                  <a:lnTo>
                    <a:pt x="24" y="6"/>
                  </a:lnTo>
                  <a:lnTo>
                    <a:pt x="23" y="2"/>
                  </a:lnTo>
                  <a:lnTo>
                    <a:pt x="31" y="0"/>
                  </a:lnTo>
                  <a:lnTo>
                    <a:pt x="72" y="2"/>
                  </a:lnTo>
                  <a:lnTo>
                    <a:pt x="62" y="7"/>
                  </a:lnTo>
                  <a:lnTo>
                    <a:pt x="44" y="1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09" name="Freeform 445">
              <a:extLst>
                <a:ext uri="{FF2B5EF4-FFF2-40B4-BE49-F238E27FC236}">
                  <a16:creationId xmlns:a16="http://schemas.microsoft.com/office/drawing/2014/main" id="{1E0D4EB3-7B5D-4C94-8B58-4526F20C08FE}"/>
                </a:ext>
              </a:extLst>
            </p:cNvPr>
            <p:cNvSpPr>
              <a:spLocks/>
            </p:cNvSpPr>
            <p:nvPr/>
          </p:nvSpPr>
          <p:spPr bwMode="gray">
            <a:xfrm>
              <a:off x="1431074" y="2641712"/>
              <a:ext cx="79916" cy="79362"/>
            </a:xfrm>
            <a:custGeom>
              <a:avLst/>
              <a:gdLst>
                <a:gd name="T0" fmla="*/ 27 w 38"/>
                <a:gd name="T1" fmla="*/ 25 h 36"/>
                <a:gd name="T2" fmla="*/ 24 w 38"/>
                <a:gd name="T3" fmla="*/ 26 h 36"/>
                <a:gd name="T4" fmla="*/ 14 w 38"/>
                <a:gd name="T5" fmla="*/ 26 h 36"/>
                <a:gd name="T6" fmla="*/ 18 w 38"/>
                <a:gd name="T7" fmla="*/ 24 h 36"/>
                <a:gd name="T8" fmla="*/ 13 w 38"/>
                <a:gd name="T9" fmla="*/ 22 h 36"/>
                <a:gd name="T10" fmla="*/ 7 w 38"/>
                <a:gd name="T11" fmla="*/ 20 h 36"/>
                <a:gd name="T12" fmla="*/ 16 w 38"/>
                <a:gd name="T13" fmla="*/ 16 h 36"/>
                <a:gd name="T14" fmla="*/ 8 w 38"/>
                <a:gd name="T15" fmla="*/ 13 h 36"/>
                <a:gd name="T16" fmla="*/ 7 w 38"/>
                <a:gd name="T17" fmla="*/ 10 h 36"/>
                <a:gd name="T18" fmla="*/ 2 w 38"/>
                <a:gd name="T19" fmla="*/ 9 h 36"/>
                <a:gd name="T20" fmla="*/ 1 w 38"/>
                <a:gd name="T21" fmla="*/ 7 h 36"/>
                <a:gd name="T22" fmla="*/ 7 w 38"/>
                <a:gd name="T23" fmla="*/ 3 h 36"/>
                <a:gd name="T24" fmla="*/ 4 w 38"/>
                <a:gd name="T25" fmla="*/ 3 h 36"/>
                <a:gd name="T26" fmla="*/ 0 w 38"/>
                <a:gd name="T27" fmla="*/ 0 h 36"/>
                <a:gd name="T28" fmla="*/ 13 w 38"/>
                <a:gd name="T29" fmla="*/ 2 h 36"/>
                <a:gd name="T30" fmla="*/ 26 w 38"/>
                <a:gd name="T31" fmla="*/ 4 h 36"/>
                <a:gd name="T32" fmla="*/ 30 w 38"/>
                <a:gd name="T33" fmla="*/ 12 h 36"/>
                <a:gd name="T34" fmla="*/ 37 w 38"/>
                <a:gd name="T35" fmla="*/ 21 h 36"/>
                <a:gd name="T36" fmla="*/ 38 w 38"/>
                <a:gd name="T37" fmla="*/ 33 h 36"/>
                <a:gd name="T38" fmla="*/ 38 w 38"/>
                <a:gd name="T39" fmla="*/ 36 h 36"/>
                <a:gd name="T40" fmla="*/ 19 w 38"/>
                <a:gd name="T41" fmla="*/ 31 h 36"/>
                <a:gd name="T42" fmla="*/ 27 w 38"/>
                <a:gd name="T43" fmla="*/ 2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36">
                  <a:moveTo>
                    <a:pt x="27" y="25"/>
                  </a:moveTo>
                  <a:lnTo>
                    <a:pt x="2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13" y="22"/>
                  </a:lnTo>
                  <a:lnTo>
                    <a:pt x="7" y="20"/>
                  </a:lnTo>
                  <a:lnTo>
                    <a:pt x="16" y="16"/>
                  </a:lnTo>
                  <a:lnTo>
                    <a:pt x="8" y="13"/>
                  </a:lnTo>
                  <a:lnTo>
                    <a:pt x="7" y="10"/>
                  </a:lnTo>
                  <a:lnTo>
                    <a:pt x="2" y="9"/>
                  </a:lnTo>
                  <a:lnTo>
                    <a:pt x="1" y="7"/>
                  </a:lnTo>
                  <a:lnTo>
                    <a:pt x="7" y="3"/>
                  </a:lnTo>
                  <a:lnTo>
                    <a:pt x="4" y="3"/>
                  </a:lnTo>
                  <a:lnTo>
                    <a:pt x="0" y="0"/>
                  </a:lnTo>
                  <a:lnTo>
                    <a:pt x="13" y="2"/>
                  </a:lnTo>
                  <a:lnTo>
                    <a:pt x="26" y="4"/>
                  </a:lnTo>
                  <a:lnTo>
                    <a:pt x="30" y="12"/>
                  </a:lnTo>
                  <a:lnTo>
                    <a:pt x="37" y="21"/>
                  </a:lnTo>
                  <a:lnTo>
                    <a:pt x="38" y="33"/>
                  </a:lnTo>
                  <a:lnTo>
                    <a:pt x="38" y="36"/>
                  </a:lnTo>
                  <a:lnTo>
                    <a:pt x="19" y="31"/>
                  </a:lnTo>
                  <a:lnTo>
                    <a:pt x="27" y="2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10" name="Freeform 446">
              <a:extLst>
                <a:ext uri="{FF2B5EF4-FFF2-40B4-BE49-F238E27FC236}">
                  <a16:creationId xmlns:a16="http://schemas.microsoft.com/office/drawing/2014/main" id="{8FE68427-E6A7-44DA-BCE5-73D1D6590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319647" y="1810395"/>
              <a:ext cx="190272" cy="45633"/>
            </a:xfrm>
            <a:custGeom>
              <a:avLst/>
              <a:gdLst>
                <a:gd name="T0" fmla="*/ 54 w 90"/>
                <a:gd name="T1" fmla="*/ 10 h 19"/>
                <a:gd name="T2" fmla="*/ 56 w 90"/>
                <a:gd name="T3" fmla="*/ 8 h 19"/>
                <a:gd name="T4" fmla="*/ 44 w 90"/>
                <a:gd name="T5" fmla="*/ 12 h 19"/>
                <a:gd name="T6" fmla="*/ 34 w 90"/>
                <a:gd name="T7" fmla="*/ 14 h 19"/>
                <a:gd name="T8" fmla="*/ 32 w 90"/>
                <a:gd name="T9" fmla="*/ 13 h 19"/>
                <a:gd name="T10" fmla="*/ 26 w 90"/>
                <a:gd name="T11" fmla="*/ 18 h 19"/>
                <a:gd name="T12" fmla="*/ 16 w 90"/>
                <a:gd name="T13" fmla="*/ 19 h 19"/>
                <a:gd name="T14" fmla="*/ 16 w 90"/>
                <a:gd name="T15" fmla="*/ 16 h 19"/>
                <a:gd name="T16" fmla="*/ 9 w 90"/>
                <a:gd name="T17" fmla="*/ 17 h 19"/>
                <a:gd name="T18" fmla="*/ 0 w 90"/>
                <a:gd name="T19" fmla="*/ 17 h 19"/>
                <a:gd name="T20" fmla="*/ 6 w 90"/>
                <a:gd name="T21" fmla="*/ 13 h 19"/>
                <a:gd name="T22" fmla="*/ 38 w 90"/>
                <a:gd name="T23" fmla="*/ 6 h 19"/>
                <a:gd name="T24" fmla="*/ 61 w 90"/>
                <a:gd name="T25" fmla="*/ 1 h 19"/>
                <a:gd name="T26" fmla="*/ 76 w 90"/>
                <a:gd name="T27" fmla="*/ 0 h 19"/>
                <a:gd name="T28" fmla="*/ 90 w 90"/>
                <a:gd name="T29" fmla="*/ 1 h 19"/>
                <a:gd name="T30" fmla="*/ 78 w 90"/>
                <a:gd name="T31" fmla="*/ 5 h 19"/>
                <a:gd name="T32" fmla="*/ 80 w 90"/>
                <a:gd name="T33" fmla="*/ 6 h 19"/>
                <a:gd name="T34" fmla="*/ 75 w 90"/>
                <a:gd name="T35" fmla="*/ 7 h 19"/>
                <a:gd name="T36" fmla="*/ 61 w 90"/>
                <a:gd name="T37" fmla="*/ 11 h 19"/>
                <a:gd name="T38" fmla="*/ 54 w 90"/>
                <a:gd name="T39" fmla="*/ 14 h 19"/>
                <a:gd name="T40" fmla="*/ 54 w 90"/>
                <a:gd name="T41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9">
                  <a:moveTo>
                    <a:pt x="54" y="10"/>
                  </a:moveTo>
                  <a:lnTo>
                    <a:pt x="56" y="8"/>
                  </a:lnTo>
                  <a:lnTo>
                    <a:pt x="44" y="12"/>
                  </a:lnTo>
                  <a:lnTo>
                    <a:pt x="34" y="14"/>
                  </a:lnTo>
                  <a:lnTo>
                    <a:pt x="32" y="13"/>
                  </a:lnTo>
                  <a:lnTo>
                    <a:pt x="26" y="18"/>
                  </a:lnTo>
                  <a:lnTo>
                    <a:pt x="16" y="19"/>
                  </a:lnTo>
                  <a:lnTo>
                    <a:pt x="16" y="16"/>
                  </a:lnTo>
                  <a:lnTo>
                    <a:pt x="9" y="17"/>
                  </a:lnTo>
                  <a:lnTo>
                    <a:pt x="0" y="17"/>
                  </a:lnTo>
                  <a:lnTo>
                    <a:pt x="6" y="13"/>
                  </a:lnTo>
                  <a:lnTo>
                    <a:pt x="38" y="6"/>
                  </a:lnTo>
                  <a:lnTo>
                    <a:pt x="61" y="1"/>
                  </a:lnTo>
                  <a:lnTo>
                    <a:pt x="76" y="0"/>
                  </a:lnTo>
                  <a:lnTo>
                    <a:pt x="90" y="1"/>
                  </a:lnTo>
                  <a:lnTo>
                    <a:pt x="78" y="5"/>
                  </a:lnTo>
                  <a:lnTo>
                    <a:pt x="80" y="6"/>
                  </a:lnTo>
                  <a:lnTo>
                    <a:pt x="75" y="7"/>
                  </a:lnTo>
                  <a:lnTo>
                    <a:pt x="61" y="11"/>
                  </a:lnTo>
                  <a:lnTo>
                    <a:pt x="54" y="14"/>
                  </a:lnTo>
                  <a:lnTo>
                    <a:pt x="54" y="1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11" name="Freeform 447">
              <a:extLst>
                <a:ext uri="{FF2B5EF4-FFF2-40B4-BE49-F238E27FC236}">
                  <a16:creationId xmlns:a16="http://schemas.microsoft.com/office/drawing/2014/main" id="{4DCAD4FC-056A-4B60-B4D5-F2AFF7CAD6C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5900" y="1834203"/>
              <a:ext cx="117970" cy="39681"/>
            </a:xfrm>
            <a:custGeom>
              <a:avLst/>
              <a:gdLst>
                <a:gd name="T0" fmla="*/ 26 w 56"/>
                <a:gd name="T1" fmla="*/ 6 h 19"/>
                <a:gd name="T2" fmla="*/ 17 w 56"/>
                <a:gd name="T3" fmla="*/ 3 h 19"/>
                <a:gd name="T4" fmla="*/ 22 w 56"/>
                <a:gd name="T5" fmla="*/ 4 h 19"/>
                <a:gd name="T6" fmla="*/ 14 w 56"/>
                <a:gd name="T7" fmla="*/ 6 h 19"/>
                <a:gd name="T8" fmla="*/ 14 w 56"/>
                <a:gd name="T9" fmla="*/ 8 h 19"/>
                <a:gd name="T10" fmla="*/ 14 w 56"/>
                <a:gd name="T11" fmla="*/ 9 h 19"/>
                <a:gd name="T12" fmla="*/ 0 w 56"/>
                <a:gd name="T13" fmla="*/ 10 h 19"/>
                <a:gd name="T14" fmla="*/ 36 w 56"/>
                <a:gd name="T15" fmla="*/ 10 h 19"/>
                <a:gd name="T16" fmla="*/ 14 w 56"/>
                <a:gd name="T17" fmla="*/ 15 h 19"/>
                <a:gd name="T18" fmla="*/ 13 w 56"/>
                <a:gd name="T19" fmla="*/ 16 h 19"/>
                <a:gd name="T20" fmla="*/ 35 w 56"/>
                <a:gd name="T21" fmla="*/ 19 h 19"/>
                <a:gd name="T22" fmla="*/ 37 w 56"/>
                <a:gd name="T23" fmla="*/ 16 h 19"/>
                <a:gd name="T24" fmla="*/ 40 w 56"/>
                <a:gd name="T25" fmla="*/ 14 h 19"/>
                <a:gd name="T26" fmla="*/ 47 w 56"/>
                <a:gd name="T27" fmla="*/ 14 h 19"/>
                <a:gd name="T28" fmla="*/ 50 w 56"/>
                <a:gd name="T29" fmla="*/ 10 h 19"/>
                <a:gd name="T30" fmla="*/ 46 w 56"/>
                <a:gd name="T31" fmla="*/ 10 h 19"/>
                <a:gd name="T32" fmla="*/ 56 w 56"/>
                <a:gd name="T33" fmla="*/ 3 h 19"/>
                <a:gd name="T34" fmla="*/ 53 w 56"/>
                <a:gd name="T35" fmla="*/ 0 h 19"/>
                <a:gd name="T36" fmla="*/ 44 w 56"/>
                <a:gd name="T37" fmla="*/ 1 h 19"/>
                <a:gd name="T38" fmla="*/ 29 w 56"/>
                <a:gd name="T39" fmla="*/ 1 h 19"/>
                <a:gd name="T40" fmla="*/ 35 w 56"/>
                <a:gd name="T41" fmla="*/ 6 h 19"/>
                <a:gd name="T42" fmla="*/ 30 w 56"/>
                <a:gd name="T43" fmla="*/ 7 h 19"/>
                <a:gd name="T44" fmla="*/ 26 w 56"/>
                <a:gd name="T45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" h="19">
                  <a:moveTo>
                    <a:pt x="26" y="6"/>
                  </a:moveTo>
                  <a:lnTo>
                    <a:pt x="17" y="3"/>
                  </a:lnTo>
                  <a:lnTo>
                    <a:pt x="22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0" y="10"/>
                  </a:lnTo>
                  <a:lnTo>
                    <a:pt x="36" y="10"/>
                  </a:lnTo>
                  <a:lnTo>
                    <a:pt x="14" y="15"/>
                  </a:lnTo>
                  <a:lnTo>
                    <a:pt x="13" y="16"/>
                  </a:lnTo>
                  <a:lnTo>
                    <a:pt x="35" y="19"/>
                  </a:lnTo>
                  <a:lnTo>
                    <a:pt x="37" y="16"/>
                  </a:lnTo>
                  <a:lnTo>
                    <a:pt x="40" y="14"/>
                  </a:lnTo>
                  <a:lnTo>
                    <a:pt x="47" y="14"/>
                  </a:lnTo>
                  <a:lnTo>
                    <a:pt x="50" y="10"/>
                  </a:lnTo>
                  <a:lnTo>
                    <a:pt x="46" y="10"/>
                  </a:lnTo>
                  <a:lnTo>
                    <a:pt x="56" y="3"/>
                  </a:lnTo>
                  <a:lnTo>
                    <a:pt x="53" y="0"/>
                  </a:lnTo>
                  <a:lnTo>
                    <a:pt x="44" y="1"/>
                  </a:lnTo>
                  <a:lnTo>
                    <a:pt x="29" y="1"/>
                  </a:lnTo>
                  <a:lnTo>
                    <a:pt x="35" y="6"/>
                  </a:lnTo>
                  <a:lnTo>
                    <a:pt x="30" y="7"/>
                  </a:lnTo>
                  <a:lnTo>
                    <a:pt x="26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12" name="Freeform 448">
              <a:extLst>
                <a:ext uri="{FF2B5EF4-FFF2-40B4-BE49-F238E27FC236}">
                  <a16:creationId xmlns:a16="http://schemas.microsoft.com/office/drawing/2014/main" id="{92F331E5-7E39-410F-93CB-A905ED3BBF9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565" y="1762777"/>
              <a:ext cx="102748" cy="39681"/>
            </a:xfrm>
            <a:custGeom>
              <a:avLst/>
              <a:gdLst>
                <a:gd name="T0" fmla="*/ 31 w 49"/>
                <a:gd name="T1" fmla="*/ 4 h 17"/>
                <a:gd name="T2" fmla="*/ 31 w 49"/>
                <a:gd name="T3" fmla="*/ 3 h 17"/>
                <a:gd name="T4" fmla="*/ 43 w 49"/>
                <a:gd name="T5" fmla="*/ 4 h 17"/>
                <a:gd name="T6" fmla="*/ 46 w 49"/>
                <a:gd name="T7" fmla="*/ 5 h 17"/>
                <a:gd name="T8" fmla="*/ 45 w 49"/>
                <a:gd name="T9" fmla="*/ 10 h 17"/>
                <a:gd name="T10" fmla="*/ 49 w 49"/>
                <a:gd name="T11" fmla="*/ 15 h 17"/>
                <a:gd name="T12" fmla="*/ 36 w 49"/>
                <a:gd name="T13" fmla="*/ 17 h 17"/>
                <a:gd name="T14" fmla="*/ 22 w 49"/>
                <a:gd name="T15" fmla="*/ 12 h 17"/>
                <a:gd name="T16" fmla="*/ 0 w 49"/>
                <a:gd name="T17" fmla="*/ 11 h 17"/>
                <a:gd name="T18" fmla="*/ 4 w 49"/>
                <a:gd name="T19" fmla="*/ 9 h 17"/>
                <a:gd name="T20" fmla="*/ 16 w 49"/>
                <a:gd name="T21" fmla="*/ 8 h 17"/>
                <a:gd name="T22" fmla="*/ 15 w 49"/>
                <a:gd name="T23" fmla="*/ 4 h 17"/>
                <a:gd name="T24" fmla="*/ 7 w 49"/>
                <a:gd name="T25" fmla="*/ 5 h 17"/>
                <a:gd name="T26" fmla="*/ 4 w 49"/>
                <a:gd name="T27" fmla="*/ 2 h 17"/>
                <a:gd name="T28" fmla="*/ 31 w 49"/>
                <a:gd name="T29" fmla="*/ 0 h 17"/>
                <a:gd name="T30" fmla="*/ 31 w 49"/>
                <a:gd name="T31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" h="17">
                  <a:moveTo>
                    <a:pt x="31" y="4"/>
                  </a:moveTo>
                  <a:lnTo>
                    <a:pt x="31" y="3"/>
                  </a:lnTo>
                  <a:lnTo>
                    <a:pt x="43" y="4"/>
                  </a:lnTo>
                  <a:lnTo>
                    <a:pt x="46" y="5"/>
                  </a:lnTo>
                  <a:lnTo>
                    <a:pt x="45" y="10"/>
                  </a:lnTo>
                  <a:lnTo>
                    <a:pt x="49" y="15"/>
                  </a:lnTo>
                  <a:lnTo>
                    <a:pt x="36" y="17"/>
                  </a:lnTo>
                  <a:lnTo>
                    <a:pt x="22" y="12"/>
                  </a:lnTo>
                  <a:lnTo>
                    <a:pt x="0" y="11"/>
                  </a:lnTo>
                  <a:lnTo>
                    <a:pt x="4" y="9"/>
                  </a:lnTo>
                  <a:lnTo>
                    <a:pt x="16" y="8"/>
                  </a:lnTo>
                  <a:lnTo>
                    <a:pt x="15" y="4"/>
                  </a:lnTo>
                  <a:lnTo>
                    <a:pt x="7" y="5"/>
                  </a:lnTo>
                  <a:lnTo>
                    <a:pt x="4" y="2"/>
                  </a:lnTo>
                  <a:lnTo>
                    <a:pt x="31" y="0"/>
                  </a:lnTo>
                  <a:lnTo>
                    <a:pt x="31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13" name="Freeform 449">
              <a:extLst>
                <a:ext uri="{FF2B5EF4-FFF2-40B4-BE49-F238E27FC236}">
                  <a16:creationId xmlns:a16="http://schemas.microsoft.com/office/drawing/2014/main" id="{B7712529-19F4-4309-AA7A-5B2091045ADF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7931" y="2022687"/>
              <a:ext cx="87527" cy="43648"/>
            </a:xfrm>
            <a:custGeom>
              <a:avLst/>
              <a:gdLst>
                <a:gd name="T0" fmla="*/ 37 w 43"/>
                <a:gd name="T1" fmla="*/ 10 h 19"/>
                <a:gd name="T2" fmla="*/ 38 w 43"/>
                <a:gd name="T3" fmla="*/ 8 h 19"/>
                <a:gd name="T4" fmla="*/ 26 w 43"/>
                <a:gd name="T5" fmla="*/ 0 h 19"/>
                <a:gd name="T6" fmla="*/ 20 w 43"/>
                <a:gd name="T7" fmla="*/ 5 h 19"/>
                <a:gd name="T8" fmla="*/ 19 w 43"/>
                <a:gd name="T9" fmla="*/ 4 h 19"/>
                <a:gd name="T10" fmla="*/ 15 w 43"/>
                <a:gd name="T11" fmla="*/ 7 h 19"/>
                <a:gd name="T12" fmla="*/ 0 w 43"/>
                <a:gd name="T13" fmla="*/ 11 h 19"/>
                <a:gd name="T14" fmla="*/ 25 w 43"/>
                <a:gd name="T15" fmla="*/ 19 h 19"/>
                <a:gd name="T16" fmla="*/ 43 w 43"/>
                <a:gd name="T17" fmla="*/ 13 h 19"/>
                <a:gd name="T18" fmla="*/ 38 w 43"/>
                <a:gd name="T19" fmla="*/ 14 h 19"/>
                <a:gd name="T20" fmla="*/ 37 w 43"/>
                <a:gd name="T21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19">
                  <a:moveTo>
                    <a:pt x="37" y="10"/>
                  </a:moveTo>
                  <a:lnTo>
                    <a:pt x="38" y="8"/>
                  </a:lnTo>
                  <a:lnTo>
                    <a:pt x="26" y="0"/>
                  </a:lnTo>
                  <a:lnTo>
                    <a:pt x="20" y="5"/>
                  </a:lnTo>
                  <a:lnTo>
                    <a:pt x="19" y="4"/>
                  </a:lnTo>
                  <a:lnTo>
                    <a:pt x="15" y="7"/>
                  </a:lnTo>
                  <a:lnTo>
                    <a:pt x="0" y="11"/>
                  </a:lnTo>
                  <a:lnTo>
                    <a:pt x="25" y="19"/>
                  </a:lnTo>
                  <a:lnTo>
                    <a:pt x="43" y="13"/>
                  </a:lnTo>
                  <a:lnTo>
                    <a:pt x="38" y="14"/>
                  </a:lnTo>
                  <a:lnTo>
                    <a:pt x="37" y="1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14" name="Freeform 450">
              <a:extLst>
                <a:ext uri="{FF2B5EF4-FFF2-40B4-BE49-F238E27FC236}">
                  <a16:creationId xmlns:a16="http://schemas.microsoft.com/office/drawing/2014/main" id="{EC654D03-32D2-4E50-83E9-4EB672AEBC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0251" y="1913565"/>
              <a:ext cx="89428" cy="25793"/>
            </a:xfrm>
            <a:custGeom>
              <a:avLst/>
              <a:gdLst>
                <a:gd name="T0" fmla="*/ 30 w 43"/>
                <a:gd name="T1" fmla="*/ 0 h 13"/>
                <a:gd name="T2" fmla="*/ 3 w 43"/>
                <a:gd name="T3" fmla="*/ 1 h 13"/>
                <a:gd name="T4" fmla="*/ 0 w 43"/>
                <a:gd name="T5" fmla="*/ 6 h 13"/>
                <a:gd name="T6" fmla="*/ 4 w 43"/>
                <a:gd name="T7" fmla="*/ 8 h 13"/>
                <a:gd name="T8" fmla="*/ 9 w 43"/>
                <a:gd name="T9" fmla="*/ 13 h 13"/>
                <a:gd name="T10" fmla="*/ 43 w 43"/>
                <a:gd name="T11" fmla="*/ 10 h 13"/>
                <a:gd name="T12" fmla="*/ 30 w 43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3">
                  <a:moveTo>
                    <a:pt x="30" y="0"/>
                  </a:moveTo>
                  <a:lnTo>
                    <a:pt x="3" y="1"/>
                  </a:lnTo>
                  <a:lnTo>
                    <a:pt x="0" y="6"/>
                  </a:lnTo>
                  <a:lnTo>
                    <a:pt x="4" y="8"/>
                  </a:lnTo>
                  <a:lnTo>
                    <a:pt x="9" y="13"/>
                  </a:lnTo>
                  <a:lnTo>
                    <a:pt x="43" y="10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15" name="Freeform 451">
              <a:extLst>
                <a:ext uri="{FF2B5EF4-FFF2-40B4-BE49-F238E27FC236}">
                  <a16:creationId xmlns:a16="http://schemas.microsoft.com/office/drawing/2014/main" id="{F05DDEA4-0C00-4940-ABE2-C6E7125D65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8392" y="2072289"/>
              <a:ext cx="55179" cy="29760"/>
            </a:xfrm>
            <a:custGeom>
              <a:avLst/>
              <a:gdLst>
                <a:gd name="T0" fmla="*/ 23 w 26"/>
                <a:gd name="T1" fmla="*/ 9 h 14"/>
                <a:gd name="T2" fmla="*/ 2 w 26"/>
                <a:gd name="T3" fmla="*/ 14 h 14"/>
                <a:gd name="T4" fmla="*/ 0 w 26"/>
                <a:gd name="T5" fmla="*/ 8 h 14"/>
                <a:gd name="T6" fmla="*/ 17 w 26"/>
                <a:gd name="T7" fmla="*/ 0 h 14"/>
                <a:gd name="T8" fmla="*/ 26 w 26"/>
                <a:gd name="T9" fmla="*/ 3 h 14"/>
                <a:gd name="T10" fmla="*/ 23 w 26"/>
                <a:gd name="T11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4">
                  <a:moveTo>
                    <a:pt x="23" y="9"/>
                  </a:moveTo>
                  <a:lnTo>
                    <a:pt x="2" y="14"/>
                  </a:lnTo>
                  <a:lnTo>
                    <a:pt x="0" y="8"/>
                  </a:lnTo>
                  <a:lnTo>
                    <a:pt x="17" y="0"/>
                  </a:lnTo>
                  <a:lnTo>
                    <a:pt x="26" y="3"/>
                  </a:lnTo>
                  <a:lnTo>
                    <a:pt x="23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16" name="Freeform 452">
              <a:extLst>
                <a:ext uri="{FF2B5EF4-FFF2-40B4-BE49-F238E27FC236}">
                  <a16:creationId xmlns:a16="http://schemas.microsoft.com/office/drawing/2014/main" id="{9884E0BF-6E62-43C3-BDF0-E86B588E05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9049" y="1776665"/>
              <a:ext cx="64693" cy="25793"/>
            </a:xfrm>
            <a:custGeom>
              <a:avLst/>
              <a:gdLst>
                <a:gd name="T0" fmla="*/ 0 w 30"/>
                <a:gd name="T1" fmla="*/ 5 h 11"/>
                <a:gd name="T2" fmla="*/ 4 w 30"/>
                <a:gd name="T3" fmla="*/ 0 h 11"/>
                <a:gd name="T4" fmla="*/ 30 w 30"/>
                <a:gd name="T5" fmla="*/ 5 h 11"/>
                <a:gd name="T6" fmla="*/ 26 w 30"/>
                <a:gd name="T7" fmla="*/ 8 h 11"/>
                <a:gd name="T8" fmla="*/ 3 w 30"/>
                <a:gd name="T9" fmla="*/ 11 h 11"/>
                <a:gd name="T10" fmla="*/ 1 w 30"/>
                <a:gd name="T11" fmla="*/ 8 h 11"/>
                <a:gd name="T12" fmla="*/ 0 w 30"/>
                <a:gd name="T13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1">
                  <a:moveTo>
                    <a:pt x="0" y="5"/>
                  </a:moveTo>
                  <a:lnTo>
                    <a:pt x="4" y="0"/>
                  </a:lnTo>
                  <a:lnTo>
                    <a:pt x="30" y="5"/>
                  </a:lnTo>
                  <a:lnTo>
                    <a:pt x="26" y="8"/>
                  </a:lnTo>
                  <a:lnTo>
                    <a:pt x="3" y="11"/>
                  </a:lnTo>
                  <a:lnTo>
                    <a:pt x="1" y="8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17" name="Freeform 453">
              <a:extLst>
                <a:ext uri="{FF2B5EF4-FFF2-40B4-BE49-F238E27FC236}">
                  <a16:creationId xmlns:a16="http://schemas.microsoft.com/office/drawing/2014/main" id="{24045EBF-1613-47C4-9883-98818A1E3E6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746" y="1859995"/>
              <a:ext cx="68498" cy="21825"/>
            </a:xfrm>
            <a:custGeom>
              <a:avLst/>
              <a:gdLst>
                <a:gd name="T0" fmla="*/ 8 w 31"/>
                <a:gd name="T1" fmla="*/ 9 h 10"/>
                <a:gd name="T2" fmla="*/ 0 w 31"/>
                <a:gd name="T3" fmla="*/ 7 h 10"/>
                <a:gd name="T4" fmla="*/ 24 w 31"/>
                <a:gd name="T5" fmla="*/ 0 h 10"/>
                <a:gd name="T6" fmla="*/ 31 w 31"/>
                <a:gd name="T7" fmla="*/ 6 h 10"/>
                <a:gd name="T8" fmla="*/ 28 w 31"/>
                <a:gd name="T9" fmla="*/ 10 h 10"/>
                <a:gd name="T10" fmla="*/ 8 w 31"/>
                <a:gd name="T1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10">
                  <a:moveTo>
                    <a:pt x="8" y="9"/>
                  </a:moveTo>
                  <a:lnTo>
                    <a:pt x="0" y="7"/>
                  </a:lnTo>
                  <a:lnTo>
                    <a:pt x="24" y="0"/>
                  </a:lnTo>
                  <a:lnTo>
                    <a:pt x="31" y="6"/>
                  </a:lnTo>
                  <a:lnTo>
                    <a:pt x="28" y="10"/>
                  </a:lnTo>
                  <a:lnTo>
                    <a:pt x="8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18" name="Freeform 454">
              <a:extLst>
                <a:ext uri="{FF2B5EF4-FFF2-40B4-BE49-F238E27FC236}">
                  <a16:creationId xmlns:a16="http://schemas.microsoft.com/office/drawing/2014/main" id="{8C5B3587-C9B8-4BCD-8FA7-A6CB9AFE6A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553682" y="1913565"/>
              <a:ext cx="55179" cy="21825"/>
            </a:xfrm>
            <a:custGeom>
              <a:avLst/>
              <a:gdLst>
                <a:gd name="T0" fmla="*/ 7 w 25"/>
                <a:gd name="T1" fmla="*/ 10 h 10"/>
                <a:gd name="T2" fmla="*/ 0 w 25"/>
                <a:gd name="T3" fmla="*/ 2 h 10"/>
                <a:gd name="T4" fmla="*/ 22 w 25"/>
                <a:gd name="T5" fmla="*/ 0 h 10"/>
                <a:gd name="T6" fmla="*/ 25 w 25"/>
                <a:gd name="T7" fmla="*/ 2 h 10"/>
                <a:gd name="T8" fmla="*/ 7 w 25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0">
                  <a:moveTo>
                    <a:pt x="7" y="10"/>
                  </a:moveTo>
                  <a:lnTo>
                    <a:pt x="0" y="2"/>
                  </a:lnTo>
                  <a:lnTo>
                    <a:pt x="22" y="0"/>
                  </a:lnTo>
                  <a:lnTo>
                    <a:pt x="25" y="2"/>
                  </a:lnTo>
                  <a:lnTo>
                    <a:pt x="7" y="1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20" name="Freeform 456">
              <a:extLst>
                <a:ext uri="{FF2B5EF4-FFF2-40B4-BE49-F238E27FC236}">
                  <a16:creationId xmlns:a16="http://schemas.microsoft.com/office/drawing/2014/main" id="{9BF0CD85-0457-4B7B-BF18-92899E13E8B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348" y="2010783"/>
              <a:ext cx="58984" cy="29760"/>
            </a:xfrm>
            <a:custGeom>
              <a:avLst/>
              <a:gdLst>
                <a:gd name="T0" fmla="*/ 27 w 27"/>
                <a:gd name="T1" fmla="*/ 8 h 13"/>
                <a:gd name="T2" fmla="*/ 7 w 27"/>
                <a:gd name="T3" fmla="*/ 0 h 13"/>
                <a:gd name="T4" fmla="*/ 0 w 27"/>
                <a:gd name="T5" fmla="*/ 4 h 13"/>
                <a:gd name="T6" fmla="*/ 1 w 27"/>
                <a:gd name="T7" fmla="*/ 5 h 13"/>
                <a:gd name="T8" fmla="*/ 0 w 27"/>
                <a:gd name="T9" fmla="*/ 7 h 13"/>
                <a:gd name="T10" fmla="*/ 2 w 27"/>
                <a:gd name="T11" fmla="*/ 10 h 13"/>
                <a:gd name="T12" fmla="*/ 8 w 27"/>
                <a:gd name="T13" fmla="*/ 12 h 13"/>
                <a:gd name="T14" fmla="*/ 5 w 27"/>
                <a:gd name="T15" fmla="*/ 13 h 13"/>
                <a:gd name="T16" fmla="*/ 27 w 27"/>
                <a:gd name="T17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3">
                  <a:moveTo>
                    <a:pt x="27" y="8"/>
                  </a:moveTo>
                  <a:lnTo>
                    <a:pt x="7" y="0"/>
                  </a:lnTo>
                  <a:lnTo>
                    <a:pt x="0" y="4"/>
                  </a:lnTo>
                  <a:lnTo>
                    <a:pt x="1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8" y="12"/>
                  </a:lnTo>
                  <a:lnTo>
                    <a:pt x="5" y="13"/>
                  </a:lnTo>
                  <a:lnTo>
                    <a:pt x="27" y="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34" name="Freeform 470">
              <a:extLst>
                <a:ext uri="{FF2B5EF4-FFF2-40B4-BE49-F238E27FC236}">
                  <a16:creationId xmlns:a16="http://schemas.microsoft.com/office/drawing/2014/main" id="{7BA47314-6F07-485D-8328-18D60688C4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3784" y="3286530"/>
              <a:ext cx="9514" cy="396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0 w 2"/>
                <a:gd name="T5" fmla="*/ 1 h 1"/>
                <a:gd name="T6" fmla="*/ 1 w 2"/>
                <a:gd name="T7" fmla="*/ 1 h 1"/>
                <a:gd name="T8" fmla="*/ 2 w 2"/>
                <a:gd name="T9" fmla="*/ 1 h 1"/>
                <a:gd name="T10" fmla="*/ 2 w 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38" name="Freeform 474">
              <a:extLst>
                <a:ext uri="{FF2B5EF4-FFF2-40B4-BE49-F238E27FC236}">
                  <a16:creationId xmlns:a16="http://schemas.microsoft.com/office/drawing/2014/main" id="{22ED168F-7EF4-42DB-842C-1487F01EE8D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20716" y="2689330"/>
              <a:ext cx="1638248" cy="849175"/>
            </a:xfrm>
            <a:custGeom>
              <a:avLst/>
              <a:gdLst>
                <a:gd name="T0" fmla="*/ 852 w 861"/>
                <a:gd name="T1" fmla="*/ 37 h 428"/>
                <a:gd name="T2" fmla="*/ 806 w 861"/>
                <a:gd name="T3" fmla="*/ 70 h 428"/>
                <a:gd name="T4" fmla="*/ 713 w 861"/>
                <a:gd name="T5" fmla="*/ 100 h 428"/>
                <a:gd name="T6" fmla="*/ 646 w 861"/>
                <a:gd name="T7" fmla="*/ 125 h 428"/>
                <a:gd name="T8" fmla="*/ 636 w 861"/>
                <a:gd name="T9" fmla="*/ 101 h 428"/>
                <a:gd name="T10" fmla="*/ 627 w 861"/>
                <a:gd name="T11" fmla="*/ 58 h 428"/>
                <a:gd name="T12" fmla="*/ 578 w 861"/>
                <a:gd name="T13" fmla="*/ 19 h 428"/>
                <a:gd name="T14" fmla="*/ 499 w 861"/>
                <a:gd name="T15" fmla="*/ 10 h 428"/>
                <a:gd name="T16" fmla="*/ 113 w 861"/>
                <a:gd name="T17" fmla="*/ 7 h 428"/>
                <a:gd name="T18" fmla="*/ 95 w 861"/>
                <a:gd name="T19" fmla="*/ 38 h 428"/>
                <a:gd name="T20" fmla="*/ 105 w 861"/>
                <a:gd name="T21" fmla="*/ 21 h 428"/>
                <a:gd name="T22" fmla="*/ 71 w 861"/>
                <a:gd name="T23" fmla="*/ 50 h 428"/>
                <a:gd name="T24" fmla="*/ 61 w 861"/>
                <a:gd name="T25" fmla="*/ 64 h 428"/>
                <a:gd name="T26" fmla="*/ 1 w 861"/>
                <a:gd name="T27" fmla="*/ 157 h 428"/>
                <a:gd name="T28" fmla="*/ 2 w 861"/>
                <a:gd name="T29" fmla="*/ 197 h 428"/>
                <a:gd name="T30" fmla="*/ 8 w 861"/>
                <a:gd name="T31" fmla="*/ 206 h 428"/>
                <a:gd name="T32" fmla="*/ 12 w 861"/>
                <a:gd name="T33" fmla="*/ 246 h 428"/>
                <a:gd name="T34" fmla="*/ 48 w 861"/>
                <a:gd name="T35" fmla="*/ 298 h 428"/>
                <a:gd name="T36" fmla="*/ 120 w 861"/>
                <a:gd name="T37" fmla="*/ 313 h 428"/>
                <a:gd name="T38" fmla="*/ 202 w 861"/>
                <a:gd name="T39" fmla="*/ 311 h 428"/>
                <a:gd name="T40" fmla="*/ 249 w 861"/>
                <a:gd name="T41" fmla="*/ 347 h 428"/>
                <a:gd name="T42" fmla="*/ 300 w 861"/>
                <a:gd name="T43" fmla="*/ 411 h 428"/>
                <a:gd name="T44" fmla="*/ 320 w 861"/>
                <a:gd name="T45" fmla="*/ 391 h 428"/>
                <a:gd name="T46" fmla="*/ 339 w 861"/>
                <a:gd name="T47" fmla="*/ 367 h 428"/>
                <a:gd name="T48" fmla="*/ 367 w 861"/>
                <a:gd name="T49" fmla="*/ 354 h 428"/>
                <a:gd name="T50" fmla="*/ 385 w 861"/>
                <a:gd name="T51" fmla="*/ 346 h 428"/>
                <a:gd name="T52" fmla="*/ 432 w 861"/>
                <a:gd name="T53" fmla="*/ 357 h 428"/>
                <a:gd name="T54" fmla="*/ 454 w 861"/>
                <a:gd name="T55" fmla="*/ 357 h 428"/>
                <a:gd name="T56" fmla="*/ 438 w 861"/>
                <a:gd name="T57" fmla="*/ 339 h 428"/>
                <a:gd name="T58" fmla="*/ 483 w 861"/>
                <a:gd name="T59" fmla="*/ 338 h 428"/>
                <a:gd name="T60" fmla="*/ 507 w 861"/>
                <a:gd name="T61" fmla="*/ 339 h 428"/>
                <a:gd name="T62" fmla="*/ 534 w 861"/>
                <a:gd name="T63" fmla="*/ 341 h 428"/>
                <a:gd name="T64" fmla="*/ 547 w 861"/>
                <a:gd name="T65" fmla="*/ 385 h 428"/>
                <a:gd name="T66" fmla="*/ 554 w 861"/>
                <a:gd name="T67" fmla="*/ 405 h 428"/>
                <a:gd name="T68" fmla="*/ 574 w 861"/>
                <a:gd name="T69" fmla="*/ 426 h 428"/>
                <a:gd name="T70" fmla="*/ 581 w 861"/>
                <a:gd name="T71" fmla="*/ 380 h 428"/>
                <a:gd name="T72" fmla="*/ 582 w 861"/>
                <a:gd name="T73" fmla="*/ 320 h 428"/>
                <a:gd name="T74" fmla="*/ 598 w 861"/>
                <a:gd name="T75" fmla="*/ 299 h 428"/>
                <a:gd name="T76" fmla="*/ 654 w 861"/>
                <a:gd name="T77" fmla="*/ 260 h 428"/>
                <a:gd name="T78" fmla="*/ 663 w 861"/>
                <a:gd name="T79" fmla="*/ 245 h 428"/>
                <a:gd name="T80" fmla="*/ 672 w 861"/>
                <a:gd name="T81" fmla="*/ 233 h 428"/>
                <a:gd name="T82" fmla="*/ 686 w 861"/>
                <a:gd name="T83" fmla="*/ 223 h 428"/>
                <a:gd name="T84" fmla="*/ 682 w 861"/>
                <a:gd name="T85" fmla="*/ 217 h 428"/>
                <a:gd name="T86" fmla="*/ 679 w 861"/>
                <a:gd name="T87" fmla="*/ 192 h 428"/>
                <a:gd name="T88" fmla="*/ 685 w 861"/>
                <a:gd name="T89" fmla="*/ 188 h 428"/>
                <a:gd name="T90" fmla="*/ 693 w 861"/>
                <a:gd name="T91" fmla="*/ 188 h 428"/>
                <a:gd name="T92" fmla="*/ 692 w 861"/>
                <a:gd name="T93" fmla="*/ 207 h 428"/>
                <a:gd name="T94" fmla="*/ 706 w 861"/>
                <a:gd name="T95" fmla="*/ 171 h 428"/>
                <a:gd name="T96" fmla="*/ 733 w 861"/>
                <a:gd name="T97" fmla="*/ 157 h 428"/>
                <a:gd name="T98" fmla="*/ 774 w 861"/>
                <a:gd name="T99" fmla="*/ 140 h 428"/>
                <a:gd name="T100" fmla="*/ 800 w 861"/>
                <a:gd name="T101" fmla="*/ 135 h 428"/>
                <a:gd name="T102" fmla="*/ 793 w 861"/>
                <a:gd name="T103" fmla="*/ 117 h 428"/>
                <a:gd name="T104" fmla="*/ 832 w 861"/>
                <a:gd name="T105" fmla="*/ 8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1" h="428">
                  <a:moveTo>
                    <a:pt x="860" y="79"/>
                  </a:moveTo>
                  <a:lnTo>
                    <a:pt x="859" y="72"/>
                  </a:lnTo>
                  <a:lnTo>
                    <a:pt x="854" y="61"/>
                  </a:lnTo>
                  <a:lnTo>
                    <a:pt x="861" y="40"/>
                  </a:lnTo>
                  <a:lnTo>
                    <a:pt x="852" y="37"/>
                  </a:lnTo>
                  <a:lnTo>
                    <a:pt x="845" y="37"/>
                  </a:lnTo>
                  <a:lnTo>
                    <a:pt x="843" y="33"/>
                  </a:lnTo>
                  <a:lnTo>
                    <a:pt x="832" y="46"/>
                  </a:lnTo>
                  <a:lnTo>
                    <a:pt x="820" y="59"/>
                  </a:lnTo>
                  <a:lnTo>
                    <a:pt x="806" y="70"/>
                  </a:lnTo>
                  <a:lnTo>
                    <a:pt x="795" y="77"/>
                  </a:lnTo>
                  <a:lnTo>
                    <a:pt x="769" y="78"/>
                  </a:lnTo>
                  <a:lnTo>
                    <a:pt x="741" y="79"/>
                  </a:lnTo>
                  <a:lnTo>
                    <a:pt x="728" y="90"/>
                  </a:lnTo>
                  <a:lnTo>
                    <a:pt x="713" y="100"/>
                  </a:lnTo>
                  <a:lnTo>
                    <a:pt x="695" y="101"/>
                  </a:lnTo>
                  <a:lnTo>
                    <a:pt x="679" y="103"/>
                  </a:lnTo>
                  <a:lnTo>
                    <a:pt x="676" y="115"/>
                  </a:lnTo>
                  <a:lnTo>
                    <a:pt x="661" y="119"/>
                  </a:lnTo>
                  <a:lnTo>
                    <a:pt x="646" y="125"/>
                  </a:lnTo>
                  <a:lnTo>
                    <a:pt x="630" y="130"/>
                  </a:lnTo>
                  <a:lnTo>
                    <a:pt x="615" y="135"/>
                  </a:lnTo>
                  <a:lnTo>
                    <a:pt x="612" y="128"/>
                  </a:lnTo>
                  <a:lnTo>
                    <a:pt x="629" y="111"/>
                  </a:lnTo>
                  <a:lnTo>
                    <a:pt x="636" y="101"/>
                  </a:lnTo>
                  <a:lnTo>
                    <a:pt x="640" y="86"/>
                  </a:lnTo>
                  <a:lnTo>
                    <a:pt x="642" y="70"/>
                  </a:lnTo>
                  <a:lnTo>
                    <a:pt x="632" y="61"/>
                  </a:lnTo>
                  <a:lnTo>
                    <a:pt x="633" y="57"/>
                  </a:lnTo>
                  <a:lnTo>
                    <a:pt x="627" y="58"/>
                  </a:lnTo>
                  <a:lnTo>
                    <a:pt x="626" y="50"/>
                  </a:lnTo>
                  <a:lnTo>
                    <a:pt x="614" y="41"/>
                  </a:lnTo>
                  <a:lnTo>
                    <a:pt x="602" y="34"/>
                  </a:lnTo>
                  <a:lnTo>
                    <a:pt x="590" y="27"/>
                  </a:lnTo>
                  <a:lnTo>
                    <a:pt x="578" y="19"/>
                  </a:lnTo>
                  <a:lnTo>
                    <a:pt x="560" y="24"/>
                  </a:lnTo>
                  <a:lnTo>
                    <a:pt x="548" y="19"/>
                  </a:lnTo>
                  <a:lnTo>
                    <a:pt x="535" y="21"/>
                  </a:lnTo>
                  <a:lnTo>
                    <a:pt x="515" y="13"/>
                  </a:lnTo>
                  <a:lnTo>
                    <a:pt x="499" y="10"/>
                  </a:lnTo>
                  <a:lnTo>
                    <a:pt x="502" y="0"/>
                  </a:lnTo>
                  <a:lnTo>
                    <a:pt x="495" y="6"/>
                  </a:lnTo>
                  <a:lnTo>
                    <a:pt x="472" y="6"/>
                  </a:lnTo>
                  <a:lnTo>
                    <a:pt x="447" y="6"/>
                  </a:lnTo>
                  <a:lnTo>
                    <a:pt x="113" y="7"/>
                  </a:lnTo>
                  <a:lnTo>
                    <a:pt x="109" y="20"/>
                  </a:lnTo>
                  <a:lnTo>
                    <a:pt x="102" y="34"/>
                  </a:lnTo>
                  <a:lnTo>
                    <a:pt x="91" y="40"/>
                  </a:lnTo>
                  <a:lnTo>
                    <a:pt x="93" y="37"/>
                  </a:lnTo>
                  <a:lnTo>
                    <a:pt x="95" y="38"/>
                  </a:lnTo>
                  <a:lnTo>
                    <a:pt x="106" y="26"/>
                  </a:lnTo>
                  <a:lnTo>
                    <a:pt x="92" y="34"/>
                  </a:lnTo>
                  <a:lnTo>
                    <a:pt x="91" y="34"/>
                  </a:lnTo>
                  <a:lnTo>
                    <a:pt x="100" y="28"/>
                  </a:lnTo>
                  <a:lnTo>
                    <a:pt x="105" y="21"/>
                  </a:lnTo>
                  <a:lnTo>
                    <a:pt x="82" y="18"/>
                  </a:lnTo>
                  <a:lnTo>
                    <a:pt x="75" y="40"/>
                  </a:lnTo>
                  <a:lnTo>
                    <a:pt x="73" y="43"/>
                  </a:lnTo>
                  <a:lnTo>
                    <a:pt x="72" y="46"/>
                  </a:lnTo>
                  <a:lnTo>
                    <a:pt x="71" y="50"/>
                  </a:lnTo>
                  <a:lnTo>
                    <a:pt x="71" y="47"/>
                  </a:lnTo>
                  <a:lnTo>
                    <a:pt x="66" y="53"/>
                  </a:lnTo>
                  <a:lnTo>
                    <a:pt x="76" y="57"/>
                  </a:lnTo>
                  <a:lnTo>
                    <a:pt x="68" y="57"/>
                  </a:lnTo>
                  <a:lnTo>
                    <a:pt x="61" y="64"/>
                  </a:lnTo>
                  <a:lnTo>
                    <a:pt x="44" y="87"/>
                  </a:lnTo>
                  <a:lnTo>
                    <a:pt x="27" y="111"/>
                  </a:lnTo>
                  <a:lnTo>
                    <a:pt x="21" y="126"/>
                  </a:lnTo>
                  <a:lnTo>
                    <a:pt x="16" y="139"/>
                  </a:lnTo>
                  <a:lnTo>
                    <a:pt x="1" y="157"/>
                  </a:lnTo>
                  <a:lnTo>
                    <a:pt x="2" y="163"/>
                  </a:lnTo>
                  <a:lnTo>
                    <a:pt x="0" y="177"/>
                  </a:lnTo>
                  <a:lnTo>
                    <a:pt x="2" y="187"/>
                  </a:lnTo>
                  <a:lnTo>
                    <a:pt x="4" y="199"/>
                  </a:lnTo>
                  <a:lnTo>
                    <a:pt x="2" y="197"/>
                  </a:lnTo>
                  <a:lnTo>
                    <a:pt x="2" y="199"/>
                  </a:lnTo>
                  <a:lnTo>
                    <a:pt x="9" y="200"/>
                  </a:lnTo>
                  <a:lnTo>
                    <a:pt x="13" y="199"/>
                  </a:lnTo>
                  <a:lnTo>
                    <a:pt x="11" y="208"/>
                  </a:lnTo>
                  <a:lnTo>
                    <a:pt x="8" y="206"/>
                  </a:lnTo>
                  <a:lnTo>
                    <a:pt x="4" y="208"/>
                  </a:lnTo>
                  <a:lnTo>
                    <a:pt x="9" y="219"/>
                  </a:lnTo>
                  <a:lnTo>
                    <a:pt x="6" y="226"/>
                  </a:lnTo>
                  <a:lnTo>
                    <a:pt x="8" y="235"/>
                  </a:lnTo>
                  <a:lnTo>
                    <a:pt x="12" y="246"/>
                  </a:lnTo>
                  <a:lnTo>
                    <a:pt x="9" y="261"/>
                  </a:lnTo>
                  <a:lnTo>
                    <a:pt x="18" y="263"/>
                  </a:lnTo>
                  <a:lnTo>
                    <a:pt x="33" y="271"/>
                  </a:lnTo>
                  <a:lnTo>
                    <a:pt x="48" y="283"/>
                  </a:lnTo>
                  <a:lnTo>
                    <a:pt x="48" y="298"/>
                  </a:lnTo>
                  <a:lnTo>
                    <a:pt x="67" y="297"/>
                  </a:lnTo>
                  <a:lnTo>
                    <a:pt x="85" y="295"/>
                  </a:lnTo>
                  <a:lnTo>
                    <a:pt x="96" y="301"/>
                  </a:lnTo>
                  <a:lnTo>
                    <a:pt x="108" y="307"/>
                  </a:lnTo>
                  <a:lnTo>
                    <a:pt x="120" y="313"/>
                  </a:lnTo>
                  <a:lnTo>
                    <a:pt x="132" y="319"/>
                  </a:lnTo>
                  <a:lnTo>
                    <a:pt x="154" y="319"/>
                  </a:lnTo>
                  <a:lnTo>
                    <a:pt x="175" y="319"/>
                  </a:lnTo>
                  <a:lnTo>
                    <a:pt x="178" y="311"/>
                  </a:lnTo>
                  <a:lnTo>
                    <a:pt x="202" y="311"/>
                  </a:lnTo>
                  <a:lnTo>
                    <a:pt x="216" y="328"/>
                  </a:lnTo>
                  <a:lnTo>
                    <a:pt x="220" y="346"/>
                  </a:lnTo>
                  <a:lnTo>
                    <a:pt x="229" y="354"/>
                  </a:lnTo>
                  <a:lnTo>
                    <a:pt x="239" y="360"/>
                  </a:lnTo>
                  <a:lnTo>
                    <a:pt x="249" y="347"/>
                  </a:lnTo>
                  <a:lnTo>
                    <a:pt x="271" y="350"/>
                  </a:lnTo>
                  <a:lnTo>
                    <a:pt x="278" y="366"/>
                  </a:lnTo>
                  <a:lnTo>
                    <a:pt x="286" y="384"/>
                  </a:lnTo>
                  <a:lnTo>
                    <a:pt x="291" y="404"/>
                  </a:lnTo>
                  <a:lnTo>
                    <a:pt x="300" y="411"/>
                  </a:lnTo>
                  <a:lnTo>
                    <a:pt x="319" y="415"/>
                  </a:lnTo>
                  <a:lnTo>
                    <a:pt x="318" y="395"/>
                  </a:lnTo>
                  <a:lnTo>
                    <a:pt x="316" y="392"/>
                  </a:lnTo>
                  <a:lnTo>
                    <a:pt x="315" y="388"/>
                  </a:lnTo>
                  <a:lnTo>
                    <a:pt x="320" y="391"/>
                  </a:lnTo>
                  <a:lnTo>
                    <a:pt x="323" y="381"/>
                  </a:lnTo>
                  <a:lnTo>
                    <a:pt x="327" y="379"/>
                  </a:lnTo>
                  <a:lnTo>
                    <a:pt x="335" y="372"/>
                  </a:lnTo>
                  <a:lnTo>
                    <a:pt x="339" y="370"/>
                  </a:lnTo>
                  <a:lnTo>
                    <a:pt x="339" y="367"/>
                  </a:lnTo>
                  <a:lnTo>
                    <a:pt x="347" y="367"/>
                  </a:lnTo>
                  <a:lnTo>
                    <a:pt x="343" y="370"/>
                  </a:lnTo>
                  <a:lnTo>
                    <a:pt x="352" y="366"/>
                  </a:lnTo>
                  <a:lnTo>
                    <a:pt x="348" y="366"/>
                  </a:lnTo>
                  <a:lnTo>
                    <a:pt x="367" y="354"/>
                  </a:lnTo>
                  <a:lnTo>
                    <a:pt x="368" y="348"/>
                  </a:lnTo>
                  <a:lnTo>
                    <a:pt x="373" y="351"/>
                  </a:lnTo>
                  <a:lnTo>
                    <a:pt x="372" y="352"/>
                  </a:lnTo>
                  <a:lnTo>
                    <a:pt x="383" y="346"/>
                  </a:lnTo>
                  <a:lnTo>
                    <a:pt x="385" y="346"/>
                  </a:lnTo>
                  <a:lnTo>
                    <a:pt x="398" y="347"/>
                  </a:lnTo>
                  <a:lnTo>
                    <a:pt x="409" y="348"/>
                  </a:lnTo>
                  <a:lnTo>
                    <a:pt x="418" y="347"/>
                  </a:lnTo>
                  <a:lnTo>
                    <a:pt x="422" y="354"/>
                  </a:lnTo>
                  <a:lnTo>
                    <a:pt x="432" y="357"/>
                  </a:lnTo>
                  <a:lnTo>
                    <a:pt x="439" y="357"/>
                  </a:lnTo>
                  <a:lnTo>
                    <a:pt x="439" y="351"/>
                  </a:lnTo>
                  <a:lnTo>
                    <a:pt x="452" y="358"/>
                  </a:lnTo>
                  <a:lnTo>
                    <a:pt x="448" y="361"/>
                  </a:lnTo>
                  <a:lnTo>
                    <a:pt x="454" y="357"/>
                  </a:lnTo>
                  <a:lnTo>
                    <a:pt x="447" y="348"/>
                  </a:lnTo>
                  <a:lnTo>
                    <a:pt x="452" y="345"/>
                  </a:lnTo>
                  <a:lnTo>
                    <a:pt x="449" y="344"/>
                  </a:lnTo>
                  <a:lnTo>
                    <a:pt x="448" y="341"/>
                  </a:lnTo>
                  <a:lnTo>
                    <a:pt x="438" y="339"/>
                  </a:lnTo>
                  <a:lnTo>
                    <a:pt x="448" y="339"/>
                  </a:lnTo>
                  <a:lnTo>
                    <a:pt x="473" y="338"/>
                  </a:lnTo>
                  <a:lnTo>
                    <a:pt x="476" y="330"/>
                  </a:lnTo>
                  <a:lnTo>
                    <a:pt x="476" y="338"/>
                  </a:lnTo>
                  <a:lnTo>
                    <a:pt x="483" y="338"/>
                  </a:lnTo>
                  <a:lnTo>
                    <a:pt x="492" y="334"/>
                  </a:lnTo>
                  <a:lnTo>
                    <a:pt x="487" y="337"/>
                  </a:lnTo>
                  <a:lnTo>
                    <a:pt x="502" y="337"/>
                  </a:lnTo>
                  <a:lnTo>
                    <a:pt x="498" y="337"/>
                  </a:lnTo>
                  <a:lnTo>
                    <a:pt x="507" y="339"/>
                  </a:lnTo>
                  <a:lnTo>
                    <a:pt x="509" y="339"/>
                  </a:lnTo>
                  <a:lnTo>
                    <a:pt x="513" y="344"/>
                  </a:lnTo>
                  <a:lnTo>
                    <a:pt x="509" y="340"/>
                  </a:lnTo>
                  <a:lnTo>
                    <a:pt x="513" y="348"/>
                  </a:lnTo>
                  <a:lnTo>
                    <a:pt x="534" y="341"/>
                  </a:lnTo>
                  <a:lnTo>
                    <a:pt x="542" y="352"/>
                  </a:lnTo>
                  <a:lnTo>
                    <a:pt x="550" y="365"/>
                  </a:lnTo>
                  <a:lnTo>
                    <a:pt x="546" y="385"/>
                  </a:lnTo>
                  <a:lnTo>
                    <a:pt x="545" y="381"/>
                  </a:lnTo>
                  <a:lnTo>
                    <a:pt x="547" y="385"/>
                  </a:lnTo>
                  <a:lnTo>
                    <a:pt x="550" y="380"/>
                  </a:lnTo>
                  <a:lnTo>
                    <a:pt x="547" y="391"/>
                  </a:lnTo>
                  <a:lnTo>
                    <a:pt x="552" y="398"/>
                  </a:lnTo>
                  <a:lnTo>
                    <a:pt x="554" y="399"/>
                  </a:lnTo>
                  <a:lnTo>
                    <a:pt x="554" y="405"/>
                  </a:lnTo>
                  <a:lnTo>
                    <a:pt x="556" y="401"/>
                  </a:lnTo>
                  <a:lnTo>
                    <a:pt x="555" y="406"/>
                  </a:lnTo>
                  <a:lnTo>
                    <a:pt x="556" y="417"/>
                  </a:lnTo>
                  <a:lnTo>
                    <a:pt x="563" y="428"/>
                  </a:lnTo>
                  <a:lnTo>
                    <a:pt x="574" y="426"/>
                  </a:lnTo>
                  <a:lnTo>
                    <a:pt x="580" y="412"/>
                  </a:lnTo>
                  <a:lnTo>
                    <a:pt x="585" y="398"/>
                  </a:lnTo>
                  <a:lnTo>
                    <a:pt x="582" y="381"/>
                  </a:lnTo>
                  <a:lnTo>
                    <a:pt x="580" y="367"/>
                  </a:lnTo>
                  <a:lnTo>
                    <a:pt x="581" y="380"/>
                  </a:lnTo>
                  <a:lnTo>
                    <a:pt x="580" y="367"/>
                  </a:lnTo>
                  <a:lnTo>
                    <a:pt x="578" y="352"/>
                  </a:lnTo>
                  <a:lnTo>
                    <a:pt x="578" y="338"/>
                  </a:lnTo>
                  <a:lnTo>
                    <a:pt x="576" y="324"/>
                  </a:lnTo>
                  <a:lnTo>
                    <a:pt x="582" y="320"/>
                  </a:lnTo>
                  <a:lnTo>
                    <a:pt x="582" y="318"/>
                  </a:lnTo>
                  <a:lnTo>
                    <a:pt x="588" y="310"/>
                  </a:lnTo>
                  <a:lnTo>
                    <a:pt x="593" y="301"/>
                  </a:lnTo>
                  <a:lnTo>
                    <a:pt x="594" y="300"/>
                  </a:lnTo>
                  <a:lnTo>
                    <a:pt x="598" y="299"/>
                  </a:lnTo>
                  <a:lnTo>
                    <a:pt x="620" y="285"/>
                  </a:lnTo>
                  <a:lnTo>
                    <a:pt x="622" y="285"/>
                  </a:lnTo>
                  <a:lnTo>
                    <a:pt x="636" y="273"/>
                  </a:lnTo>
                  <a:lnTo>
                    <a:pt x="643" y="271"/>
                  </a:lnTo>
                  <a:lnTo>
                    <a:pt x="654" y="260"/>
                  </a:lnTo>
                  <a:lnTo>
                    <a:pt x="673" y="253"/>
                  </a:lnTo>
                  <a:lnTo>
                    <a:pt x="661" y="251"/>
                  </a:lnTo>
                  <a:lnTo>
                    <a:pt x="669" y="252"/>
                  </a:lnTo>
                  <a:lnTo>
                    <a:pt x="670" y="248"/>
                  </a:lnTo>
                  <a:lnTo>
                    <a:pt x="663" y="245"/>
                  </a:lnTo>
                  <a:lnTo>
                    <a:pt x="680" y="245"/>
                  </a:lnTo>
                  <a:lnTo>
                    <a:pt x="683" y="237"/>
                  </a:lnTo>
                  <a:lnTo>
                    <a:pt x="680" y="239"/>
                  </a:lnTo>
                  <a:lnTo>
                    <a:pt x="675" y="237"/>
                  </a:lnTo>
                  <a:lnTo>
                    <a:pt x="672" y="233"/>
                  </a:lnTo>
                  <a:lnTo>
                    <a:pt x="672" y="232"/>
                  </a:lnTo>
                  <a:lnTo>
                    <a:pt x="676" y="233"/>
                  </a:lnTo>
                  <a:lnTo>
                    <a:pt x="682" y="232"/>
                  </a:lnTo>
                  <a:lnTo>
                    <a:pt x="685" y="235"/>
                  </a:lnTo>
                  <a:lnTo>
                    <a:pt x="686" y="223"/>
                  </a:lnTo>
                  <a:lnTo>
                    <a:pt x="687" y="239"/>
                  </a:lnTo>
                  <a:lnTo>
                    <a:pt x="682" y="219"/>
                  </a:lnTo>
                  <a:lnTo>
                    <a:pt x="676" y="217"/>
                  </a:lnTo>
                  <a:lnTo>
                    <a:pt x="673" y="212"/>
                  </a:lnTo>
                  <a:lnTo>
                    <a:pt x="682" y="217"/>
                  </a:lnTo>
                  <a:lnTo>
                    <a:pt x="679" y="208"/>
                  </a:lnTo>
                  <a:lnTo>
                    <a:pt x="685" y="212"/>
                  </a:lnTo>
                  <a:lnTo>
                    <a:pt x="676" y="198"/>
                  </a:lnTo>
                  <a:lnTo>
                    <a:pt x="686" y="205"/>
                  </a:lnTo>
                  <a:lnTo>
                    <a:pt x="679" y="192"/>
                  </a:lnTo>
                  <a:lnTo>
                    <a:pt x="674" y="192"/>
                  </a:lnTo>
                  <a:lnTo>
                    <a:pt x="681" y="186"/>
                  </a:lnTo>
                  <a:lnTo>
                    <a:pt x="679" y="192"/>
                  </a:lnTo>
                  <a:lnTo>
                    <a:pt x="687" y="198"/>
                  </a:lnTo>
                  <a:lnTo>
                    <a:pt x="685" y="188"/>
                  </a:lnTo>
                  <a:lnTo>
                    <a:pt x="689" y="193"/>
                  </a:lnTo>
                  <a:lnTo>
                    <a:pt x="692" y="178"/>
                  </a:lnTo>
                  <a:lnTo>
                    <a:pt x="701" y="173"/>
                  </a:lnTo>
                  <a:lnTo>
                    <a:pt x="694" y="185"/>
                  </a:lnTo>
                  <a:lnTo>
                    <a:pt x="693" y="188"/>
                  </a:lnTo>
                  <a:lnTo>
                    <a:pt x="690" y="193"/>
                  </a:lnTo>
                  <a:lnTo>
                    <a:pt x="695" y="197"/>
                  </a:lnTo>
                  <a:lnTo>
                    <a:pt x="693" y="200"/>
                  </a:lnTo>
                  <a:lnTo>
                    <a:pt x="694" y="205"/>
                  </a:lnTo>
                  <a:lnTo>
                    <a:pt x="692" y="207"/>
                  </a:lnTo>
                  <a:lnTo>
                    <a:pt x="687" y="213"/>
                  </a:lnTo>
                  <a:lnTo>
                    <a:pt x="707" y="192"/>
                  </a:lnTo>
                  <a:lnTo>
                    <a:pt x="705" y="173"/>
                  </a:lnTo>
                  <a:lnTo>
                    <a:pt x="714" y="166"/>
                  </a:lnTo>
                  <a:lnTo>
                    <a:pt x="706" y="171"/>
                  </a:lnTo>
                  <a:lnTo>
                    <a:pt x="712" y="179"/>
                  </a:lnTo>
                  <a:lnTo>
                    <a:pt x="712" y="183"/>
                  </a:lnTo>
                  <a:lnTo>
                    <a:pt x="729" y="166"/>
                  </a:lnTo>
                  <a:lnTo>
                    <a:pt x="729" y="168"/>
                  </a:lnTo>
                  <a:lnTo>
                    <a:pt x="733" y="157"/>
                  </a:lnTo>
                  <a:lnTo>
                    <a:pt x="740" y="145"/>
                  </a:lnTo>
                  <a:lnTo>
                    <a:pt x="736" y="150"/>
                  </a:lnTo>
                  <a:lnTo>
                    <a:pt x="742" y="147"/>
                  </a:lnTo>
                  <a:lnTo>
                    <a:pt x="759" y="143"/>
                  </a:lnTo>
                  <a:lnTo>
                    <a:pt x="774" y="140"/>
                  </a:lnTo>
                  <a:lnTo>
                    <a:pt x="779" y="135"/>
                  </a:lnTo>
                  <a:lnTo>
                    <a:pt x="781" y="135"/>
                  </a:lnTo>
                  <a:lnTo>
                    <a:pt x="788" y="139"/>
                  </a:lnTo>
                  <a:lnTo>
                    <a:pt x="790" y="139"/>
                  </a:lnTo>
                  <a:lnTo>
                    <a:pt x="800" y="135"/>
                  </a:lnTo>
                  <a:lnTo>
                    <a:pt x="800" y="128"/>
                  </a:lnTo>
                  <a:lnTo>
                    <a:pt x="800" y="132"/>
                  </a:lnTo>
                  <a:lnTo>
                    <a:pt x="792" y="130"/>
                  </a:lnTo>
                  <a:lnTo>
                    <a:pt x="793" y="119"/>
                  </a:lnTo>
                  <a:lnTo>
                    <a:pt x="793" y="117"/>
                  </a:lnTo>
                  <a:lnTo>
                    <a:pt x="810" y="98"/>
                  </a:lnTo>
                  <a:lnTo>
                    <a:pt x="814" y="94"/>
                  </a:lnTo>
                  <a:lnTo>
                    <a:pt x="817" y="97"/>
                  </a:lnTo>
                  <a:lnTo>
                    <a:pt x="830" y="84"/>
                  </a:lnTo>
                  <a:lnTo>
                    <a:pt x="832" y="87"/>
                  </a:lnTo>
                  <a:lnTo>
                    <a:pt x="834" y="86"/>
                  </a:lnTo>
                  <a:lnTo>
                    <a:pt x="841" y="87"/>
                  </a:lnTo>
                  <a:lnTo>
                    <a:pt x="860" y="7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39" name="Freeform 475">
              <a:extLst>
                <a:ext uri="{FF2B5EF4-FFF2-40B4-BE49-F238E27FC236}">
                  <a16:creationId xmlns:a16="http://schemas.microsoft.com/office/drawing/2014/main" id="{A3A67A0F-0335-4ADB-BDC0-FA8C4D20B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4274" y="1979039"/>
              <a:ext cx="1042694" cy="525774"/>
            </a:xfrm>
            <a:custGeom>
              <a:avLst/>
              <a:gdLst>
                <a:gd name="T0" fmla="*/ 395 w 492"/>
                <a:gd name="T1" fmla="*/ 205 h 236"/>
                <a:gd name="T2" fmla="*/ 382 w 492"/>
                <a:gd name="T3" fmla="*/ 167 h 236"/>
                <a:gd name="T4" fmla="*/ 359 w 492"/>
                <a:gd name="T5" fmla="*/ 157 h 236"/>
                <a:gd name="T6" fmla="*/ 378 w 492"/>
                <a:gd name="T7" fmla="*/ 120 h 236"/>
                <a:gd name="T8" fmla="*/ 454 w 492"/>
                <a:gd name="T9" fmla="*/ 54 h 236"/>
                <a:gd name="T10" fmla="*/ 447 w 492"/>
                <a:gd name="T11" fmla="*/ 13 h 236"/>
                <a:gd name="T12" fmla="*/ 383 w 492"/>
                <a:gd name="T13" fmla="*/ 6 h 236"/>
                <a:gd name="T14" fmla="*/ 370 w 492"/>
                <a:gd name="T15" fmla="*/ 1 h 236"/>
                <a:gd name="T16" fmla="*/ 317 w 492"/>
                <a:gd name="T17" fmla="*/ 8 h 236"/>
                <a:gd name="T18" fmla="*/ 289 w 492"/>
                <a:gd name="T19" fmla="*/ 13 h 236"/>
                <a:gd name="T20" fmla="*/ 205 w 492"/>
                <a:gd name="T21" fmla="*/ 39 h 236"/>
                <a:gd name="T22" fmla="*/ 223 w 492"/>
                <a:gd name="T23" fmla="*/ 65 h 236"/>
                <a:gd name="T24" fmla="*/ 215 w 492"/>
                <a:gd name="T25" fmla="*/ 67 h 236"/>
                <a:gd name="T26" fmla="*/ 198 w 492"/>
                <a:gd name="T27" fmla="*/ 63 h 236"/>
                <a:gd name="T28" fmla="*/ 138 w 492"/>
                <a:gd name="T29" fmla="*/ 84 h 236"/>
                <a:gd name="T30" fmla="*/ 196 w 492"/>
                <a:gd name="T31" fmla="*/ 87 h 236"/>
                <a:gd name="T32" fmla="*/ 161 w 492"/>
                <a:gd name="T33" fmla="*/ 108 h 236"/>
                <a:gd name="T34" fmla="*/ 115 w 492"/>
                <a:gd name="T35" fmla="*/ 120 h 236"/>
                <a:gd name="T36" fmla="*/ 85 w 492"/>
                <a:gd name="T37" fmla="*/ 132 h 236"/>
                <a:gd name="T38" fmla="*/ 96 w 492"/>
                <a:gd name="T39" fmla="*/ 135 h 236"/>
                <a:gd name="T40" fmla="*/ 93 w 492"/>
                <a:gd name="T41" fmla="*/ 146 h 236"/>
                <a:gd name="T42" fmla="*/ 72 w 492"/>
                <a:gd name="T43" fmla="*/ 151 h 236"/>
                <a:gd name="T44" fmla="*/ 97 w 492"/>
                <a:gd name="T45" fmla="*/ 158 h 236"/>
                <a:gd name="T46" fmla="*/ 78 w 492"/>
                <a:gd name="T47" fmla="*/ 179 h 236"/>
                <a:gd name="T48" fmla="*/ 123 w 492"/>
                <a:gd name="T49" fmla="*/ 173 h 236"/>
                <a:gd name="T50" fmla="*/ 142 w 492"/>
                <a:gd name="T51" fmla="*/ 173 h 236"/>
                <a:gd name="T52" fmla="*/ 111 w 492"/>
                <a:gd name="T53" fmla="*/ 194 h 236"/>
                <a:gd name="T54" fmla="*/ 51 w 492"/>
                <a:gd name="T55" fmla="*/ 221 h 236"/>
                <a:gd name="T56" fmla="*/ 33 w 492"/>
                <a:gd name="T57" fmla="*/ 219 h 236"/>
                <a:gd name="T58" fmla="*/ 11 w 492"/>
                <a:gd name="T59" fmla="*/ 230 h 236"/>
                <a:gd name="T60" fmla="*/ 29 w 492"/>
                <a:gd name="T61" fmla="*/ 225 h 236"/>
                <a:gd name="T62" fmla="*/ 72 w 492"/>
                <a:gd name="T63" fmla="*/ 218 h 236"/>
                <a:gd name="T64" fmla="*/ 150 w 492"/>
                <a:gd name="T65" fmla="*/ 188 h 236"/>
                <a:gd name="T66" fmla="*/ 203 w 492"/>
                <a:gd name="T67" fmla="*/ 159 h 236"/>
                <a:gd name="T68" fmla="*/ 265 w 492"/>
                <a:gd name="T69" fmla="*/ 137 h 236"/>
                <a:gd name="T70" fmla="*/ 231 w 492"/>
                <a:gd name="T71" fmla="*/ 147 h 236"/>
                <a:gd name="T72" fmla="*/ 213 w 492"/>
                <a:gd name="T73" fmla="*/ 169 h 236"/>
                <a:gd name="T74" fmla="*/ 233 w 492"/>
                <a:gd name="T75" fmla="*/ 163 h 236"/>
                <a:gd name="T76" fmla="*/ 250 w 492"/>
                <a:gd name="T77" fmla="*/ 159 h 236"/>
                <a:gd name="T78" fmla="*/ 263 w 492"/>
                <a:gd name="T79" fmla="*/ 147 h 236"/>
                <a:gd name="T80" fmla="*/ 279 w 492"/>
                <a:gd name="T81" fmla="*/ 144 h 236"/>
                <a:gd name="T82" fmla="*/ 289 w 492"/>
                <a:gd name="T83" fmla="*/ 146 h 236"/>
                <a:gd name="T84" fmla="*/ 289 w 492"/>
                <a:gd name="T85" fmla="*/ 151 h 236"/>
                <a:gd name="T86" fmla="*/ 304 w 492"/>
                <a:gd name="T87" fmla="*/ 156 h 236"/>
                <a:gd name="T88" fmla="*/ 352 w 492"/>
                <a:gd name="T89" fmla="*/ 159 h 236"/>
                <a:gd name="T90" fmla="*/ 348 w 492"/>
                <a:gd name="T91" fmla="*/ 164 h 236"/>
                <a:gd name="T92" fmla="*/ 367 w 492"/>
                <a:gd name="T93" fmla="*/ 174 h 236"/>
                <a:gd name="T94" fmla="*/ 376 w 492"/>
                <a:gd name="T95" fmla="*/ 180 h 236"/>
                <a:gd name="T96" fmla="*/ 388 w 492"/>
                <a:gd name="T97" fmla="*/ 179 h 236"/>
                <a:gd name="T98" fmla="*/ 390 w 492"/>
                <a:gd name="T99" fmla="*/ 188 h 236"/>
                <a:gd name="T100" fmla="*/ 389 w 492"/>
                <a:gd name="T101" fmla="*/ 193 h 236"/>
                <a:gd name="T102" fmla="*/ 389 w 492"/>
                <a:gd name="T103" fmla="*/ 207 h 236"/>
                <a:gd name="T104" fmla="*/ 383 w 492"/>
                <a:gd name="T105" fmla="*/ 222 h 236"/>
                <a:gd name="T106" fmla="*/ 394 w 492"/>
                <a:gd name="T107" fmla="*/ 228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2" h="236">
                  <a:moveTo>
                    <a:pt x="399" y="229"/>
                  </a:moveTo>
                  <a:lnTo>
                    <a:pt x="407" y="219"/>
                  </a:lnTo>
                  <a:lnTo>
                    <a:pt x="401" y="212"/>
                  </a:lnTo>
                  <a:lnTo>
                    <a:pt x="395" y="205"/>
                  </a:lnTo>
                  <a:lnTo>
                    <a:pt x="399" y="191"/>
                  </a:lnTo>
                  <a:lnTo>
                    <a:pt x="401" y="177"/>
                  </a:lnTo>
                  <a:lnTo>
                    <a:pt x="397" y="161"/>
                  </a:lnTo>
                  <a:lnTo>
                    <a:pt x="382" y="167"/>
                  </a:lnTo>
                  <a:lnTo>
                    <a:pt x="372" y="171"/>
                  </a:lnTo>
                  <a:lnTo>
                    <a:pt x="361" y="175"/>
                  </a:lnTo>
                  <a:lnTo>
                    <a:pt x="363" y="159"/>
                  </a:lnTo>
                  <a:lnTo>
                    <a:pt x="359" y="157"/>
                  </a:lnTo>
                  <a:lnTo>
                    <a:pt x="365" y="153"/>
                  </a:lnTo>
                  <a:lnTo>
                    <a:pt x="342" y="153"/>
                  </a:lnTo>
                  <a:lnTo>
                    <a:pt x="360" y="137"/>
                  </a:lnTo>
                  <a:lnTo>
                    <a:pt x="378" y="120"/>
                  </a:lnTo>
                  <a:lnTo>
                    <a:pt x="396" y="103"/>
                  </a:lnTo>
                  <a:lnTo>
                    <a:pt x="415" y="86"/>
                  </a:lnTo>
                  <a:lnTo>
                    <a:pt x="435" y="71"/>
                  </a:lnTo>
                  <a:lnTo>
                    <a:pt x="454" y="54"/>
                  </a:lnTo>
                  <a:lnTo>
                    <a:pt x="473" y="38"/>
                  </a:lnTo>
                  <a:lnTo>
                    <a:pt x="492" y="21"/>
                  </a:lnTo>
                  <a:lnTo>
                    <a:pt x="468" y="15"/>
                  </a:lnTo>
                  <a:lnTo>
                    <a:pt x="447" y="13"/>
                  </a:lnTo>
                  <a:lnTo>
                    <a:pt x="424" y="12"/>
                  </a:lnTo>
                  <a:lnTo>
                    <a:pt x="395" y="9"/>
                  </a:lnTo>
                  <a:lnTo>
                    <a:pt x="394" y="8"/>
                  </a:lnTo>
                  <a:lnTo>
                    <a:pt x="383" y="6"/>
                  </a:lnTo>
                  <a:lnTo>
                    <a:pt x="377" y="5"/>
                  </a:lnTo>
                  <a:lnTo>
                    <a:pt x="373" y="3"/>
                  </a:lnTo>
                  <a:lnTo>
                    <a:pt x="363" y="5"/>
                  </a:lnTo>
                  <a:lnTo>
                    <a:pt x="370" y="1"/>
                  </a:lnTo>
                  <a:lnTo>
                    <a:pt x="363" y="0"/>
                  </a:lnTo>
                  <a:lnTo>
                    <a:pt x="333" y="7"/>
                  </a:lnTo>
                  <a:lnTo>
                    <a:pt x="328" y="6"/>
                  </a:lnTo>
                  <a:lnTo>
                    <a:pt x="317" y="8"/>
                  </a:lnTo>
                  <a:lnTo>
                    <a:pt x="316" y="11"/>
                  </a:lnTo>
                  <a:lnTo>
                    <a:pt x="310" y="14"/>
                  </a:lnTo>
                  <a:lnTo>
                    <a:pt x="313" y="9"/>
                  </a:lnTo>
                  <a:lnTo>
                    <a:pt x="289" y="13"/>
                  </a:lnTo>
                  <a:lnTo>
                    <a:pt x="264" y="23"/>
                  </a:lnTo>
                  <a:lnTo>
                    <a:pt x="239" y="31"/>
                  </a:lnTo>
                  <a:lnTo>
                    <a:pt x="217" y="32"/>
                  </a:lnTo>
                  <a:lnTo>
                    <a:pt x="205" y="39"/>
                  </a:lnTo>
                  <a:lnTo>
                    <a:pt x="214" y="53"/>
                  </a:lnTo>
                  <a:lnTo>
                    <a:pt x="210" y="56"/>
                  </a:lnTo>
                  <a:lnTo>
                    <a:pt x="228" y="60"/>
                  </a:lnTo>
                  <a:lnTo>
                    <a:pt x="223" y="65"/>
                  </a:lnTo>
                  <a:lnTo>
                    <a:pt x="237" y="65"/>
                  </a:lnTo>
                  <a:lnTo>
                    <a:pt x="219" y="65"/>
                  </a:lnTo>
                  <a:lnTo>
                    <a:pt x="217" y="60"/>
                  </a:lnTo>
                  <a:lnTo>
                    <a:pt x="215" y="67"/>
                  </a:lnTo>
                  <a:lnTo>
                    <a:pt x="220" y="71"/>
                  </a:lnTo>
                  <a:lnTo>
                    <a:pt x="211" y="71"/>
                  </a:lnTo>
                  <a:lnTo>
                    <a:pt x="189" y="69"/>
                  </a:lnTo>
                  <a:lnTo>
                    <a:pt x="198" y="63"/>
                  </a:lnTo>
                  <a:lnTo>
                    <a:pt x="171" y="69"/>
                  </a:lnTo>
                  <a:lnTo>
                    <a:pt x="135" y="78"/>
                  </a:lnTo>
                  <a:lnTo>
                    <a:pt x="147" y="83"/>
                  </a:lnTo>
                  <a:lnTo>
                    <a:pt x="138" y="84"/>
                  </a:lnTo>
                  <a:lnTo>
                    <a:pt x="136" y="92"/>
                  </a:lnTo>
                  <a:lnTo>
                    <a:pt x="167" y="92"/>
                  </a:lnTo>
                  <a:lnTo>
                    <a:pt x="171" y="95"/>
                  </a:lnTo>
                  <a:lnTo>
                    <a:pt x="196" y="87"/>
                  </a:lnTo>
                  <a:lnTo>
                    <a:pt x="191" y="93"/>
                  </a:lnTo>
                  <a:lnTo>
                    <a:pt x="186" y="95"/>
                  </a:lnTo>
                  <a:lnTo>
                    <a:pt x="180" y="103"/>
                  </a:lnTo>
                  <a:lnTo>
                    <a:pt x="161" y="108"/>
                  </a:lnTo>
                  <a:lnTo>
                    <a:pt x="133" y="115"/>
                  </a:lnTo>
                  <a:lnTo>
                    <a:pt x="138" y="111"/>
                  </a:lnTo>
                  <a:lnTo>
                    <a:pt x="127" y="114"/>
                  </a:lnTo>
                  <a:lnTo>
                    <a:pt x="115" y="120"/>
                  </a:lnTo>
                  <a:lnTo>
                    <a:pt x="117" y="120"/>
                  </a:lnTo>
                  <a:lnTo>
                    <a:pt x="112" y="122"/>
                  </a:lnTo>
                  <a:lnTo>
                    <a:pt x="93" y="131"/>
                  </a:lnTo>
                  <a:lnTo>
                    <a:pt x="85" y="132"/>
                  </a:lnTo>
                  <a:lnTo>
                    <a:pt x="87" y="134"/>
                  </a:lnTo>
                  <a:lnTo>
                    <a:pt x="81" y="135"/>
                  </a:lnTo>
                  <a:lnTo>
                    <a:pt x="83" y="140"/>
                  </a:lnTo>
                  <a:lnTo>
                    <a:pt x="96" y="135"/>
                  </a:lnTo>
                  <a:lnTo>
                    <a:pt x="83" y="141"/>
                  </a:lnTo>
                  <a:lnTo>
                    <a:pt x="84" y="144"/>
                  </a:lnTo>
                  <a:lnTo>
                    <a:pt x="97" y="145"/>
                  </a:lnTo>
                  <a:lnTo>
                    <a:pt x="93" y="146"/>
                  </a:lnTo>
                  <a:lnTo>
                    <a:pt x="95" y="149"/>
                  </a:lnTo>
                  <a:lnTo>
                    <a:pt x="87" y="149"/>
                  </a:lnTo>
                  <a:lnTo>
                    <a:pt x="82" y="146"/>
                  </a:lnTo>
                  <a:lnTo>
                    <a:pt x="72" y="151"/>
                  </a:lnTo>
                  <a:lnTo>
                    <a:pt x="77" y="161"/>
                  </a:lnTo>
                  <a:lnTo>
                    <a:pt x="97" y="156"/>
                  </a:lnTo>
                  <a:lnTo>
                    <a:pt x="109" y="149"/>
                  </a:lnTo>
                  <a:lnTo>
                    <a:pt x="97" y="158"/>
                  </a:lnTo>
                  <a:lnTo>
                    <a:pt x="89" y="168"/>
                  </a:lnTo>
                  <a:lnTo>
                    <a:pt x="85" y="171"/>
                  </a:lnTo>
                  <a:lnTo>
                    <a:pt x="85" y="173"/>
                  </a:lnTo>
                  <a:lnTo>
                    <a:pt x="78" y="179"/>
                  </a:lnTo>
                  <a:lnTo>
                    <a:pt x="102" y="174"/>
                  </a:lnTo>
                  <a:lnTo>
                    <a:pt x="108" y="175"/>
                  </a:lnTo>
                  <a:lnTo>
                    <a:pt x="108" y="182"/>
                  </a:lnTo>
                  <a:lnTo>
                    <a:pt x="123" y="173"/>
                  </a:lnTo>
                  <a:lnTo>
                    <a:pt x="126" y="173"/>
                  </a:lnTo>
                  <a:lnTo>
                    <a:pt x="118" y="176"/>
                  </a:lnTo>
                  <a:lnTo>
                    <a:pt x="119" y="179"/>
                  </a:lnTo>
                  <a:lnTo>
                    <a:pt x="142" y="173"/>
                  </a:lnTo>
                  <a:lnTo>
                    <a:pt x="121" y="185"/>
                  </a:lnTo>
                  <a:lnTo>
                    <a:pt x="125" y="185"/>
                  </a:lnTo>
                  <a:lnTo>
                    <a:pt x="121" y="185"/>
                  </a:lnTo>
                  <a:lnTo>
                    <a:pt x="111" y="194"/>
                  </a:lnTo>
                  <a:lnTo>
                    <a:pt x="103" y="195"/>
                  </a:lnTo>
                  <a:lnTo>
                    <a:pt x="84" y="206"/>
                  </a:lnTo>
                  <a:lnTo>
                    <a:pt x="53" y="216"/>
                  </a:lnTo>
                  <a:lnTo>
                    <a:pt x="51" y="221"/>
                  </a:lnTo>
                  <a:lnTo>
                    <a:pt x="46" y="221"/>
                  </a:lnTo>
                  <a:lnTo>
                    <a:pt x="42" y="223"/>
                  </a:lnTo>
                  <a:lnTo>
                    <a:pt x="42" y="219"/>
                  </a:lnTo>
                  <a:lnTo>
                    <a:pt x="33" y="219"/>
                  </a:lnTo>
                  <a:lnTo>
                    <a:pt x="0" y="234"/>
                  </a:lnTo>
                  <a:lnTo>
                    <a:pt x="1" y="233"/>
                  </a:lnTo>
                  <a:lnTo>
                    <a:pt x="4" y="234"/>
                  </a:lnTo>
                  <a:lnTo>
                    <a:pt x="11" y="230"/>
                  </a:lnTo>
                  <a:lnTo>
                    <a:pt x="12" y="231"/>
                  </a:lnTo>
                  <a:lnTo>
                    <a:pt x="28" y="225"/>
                  </a:lnTo>
                  <a:lnTo>
                    <a:pt x="35" y="225"/>
                  </a:lnTo>
                  <a:lnTo>
                    <a:pt x="29" y="225"/>
                  </a:lnTo>
                  <a:lnTo>
                    <a:pt x="45" y="223"/>
                  </a:lnTo>
                  <a:lnTo>
                    <a:pt x="55" y="223"/>
                  </a:lnTo>
                  <a:lnTo>
                    <a:pt x="58" y="222"/>
                  </a:lnTo>
                  <a:lnTo>
                    <a:pt x="72" y="218"/>
                  </a:lnTo>
                  <a:lnTo>
                    <a:pt x="76" y="217"/>
                  </a:lnTo>
                  <a:lnTo>
                    <a:pt x="79" y="213"/>
                  </a:lnTo>
                  <a:lnTo>
                    <a:pt x="117" y="200"/>
                  </a:lnTo>
                  <a:lnTo>
                    <a:pt x="150" y="188"/>
                  </a:lnTo>
                  <a:lnTo>
                    <a:pt x="179" y="175"/>
                  </a:lnTo>
                  <a:lnTo>
                    <a:pt x="173" y="171"/>
                  </a:lnTo>
                  <a:lnTo>
                    <a:pt x="198" y="161"/>
                  </a:lnTo>
                  <a:lnTo>
                    <a:pt x="203" y="159"/>
                  </a:lnTo>
                  <a:lnTo>
                    <a:pt x="208" y="155"/>
                  </a:lnTo>
                  <a:lnTo>
                    <a:pt x="228" y="146"/>
                  </a:lnTo>
                  <a:lnTo>
                    <a:pt x="250" y="139"/>
                  </a:lnTo>
                  <a:lnTo>
                    <a:pt x="265" y="137"/>
                  </a:lnTo>
                  <a:lnTo>
                    <a:pt x="256" y="140"/>
                  </a:lnTo>
                  <a:lnTo>
                    <a:pt x="258" y="145"/>
                  </a:lnTo>
                  <a:lnTo>
                    <a:pt x="253" y="144"/>
                  </a:lnTo>
                  <a:lnTo>
                    <a:pt x="231" y="147"/>
                  </a:lnTo>
                  <a:lnTo>
                    <a:pt x="210" y="163"/>
                  </a:lnTo>
                  <a:lnTo>
                    <a:pt x="221" y="162"/>
                  </a:lnTo>
                  <a:lnTo>
                    <a:pt x="204" y="168"/>
                  </a:lnTo>
                  <a:lnTo>
                    <a:pt x="213" y="169"/>
                  </a:lnTo>
                  <a:lnTo>
                    <a:pt x="228" y="162"/>
                  </a:lnTo>
                  <a:lnTo>
                    <a:pt x="223" y="165"/>
                  </a:lnTo>
                  <a:lnTo>
                    <a:pt x="229" y="163"/>
                  </a:lnTo>
                  <a:lnTo>
                    <a:pt x="233" y="163"/>
                  </a:lnTo>
                  <a:lnTo>
                    <a:pt x="234" y="161"/>
                  </a:lnTo>
                  <a:lnTo>
                    <a:pt x="235" y="162"/>
                  </a:lnTo>
                  <a:lnTo>
                    <a:pt x="243" y="158"/>
                  </a:lnTo>
                  <a:lnTo>
                    <a:pt x="250" y="159"/>
                  </a:lnTo>
                  <a:lnTo>
                    <a:pt x="264" y="152"/>
                  </a:lnTo>
                  <a:lnTo>
                    <a:pt x="262" y="151"/>
                  </a:lnTo>
                  <a:lnTo>
                    <a:pt x="265" y="149"/>
                  </a:lnTo>
                  <a:lnTo>
                    <a:pt x="263" y="147"/>
                  </a:lnTo>
                  <a:lnTo>
                    <a:pt x="270" y="145"/>
                  </a:lnTo>
                  <a:lnTo>
                    <a:pt x="282" y="139"/>
                  </a:lnTo>
                  <a:lnTo>
                    <a:pt x="273" y="144"/>
                  </a:lnTo>
                  <a:lnTo>
                    <a:pt x="279" y="144"/>
                  </a:lnTo>
                  <a:lnTo>
                    <a:pt x="277" y="145"/>
                  </a:lnTo>
                  <a:lnTo>
                    <a:pt x="295" y="141"/>
                  </a:lnTo>
                  <a:lnTo>
                    <a:pt x="291" y="143"/>
                  </a:lnTo>
                  <a:lnTo>
                    <a:pt x="289" y="146"/>
                  </a:lnTo>
                  <a:lnTo>
                    <a:pt x="287" y="147"/>
                  </a:lnTo>
                  <a:lnTo>
                    <a:pt x="292" y="147"/>
                  </a:lnTo>
                  <a:lnTo>
                    <a:pt x="293" y="147"/>
                  </a:lnTo>
                  <a:lnTo>
                    <a:pt x="289" y="151"/>
                  </a:lnTo>
                  <a:lnTo>
                    <a:pt x="293" y="153"/>
                  </a:lnTo>
                  <a:lnTo>
                    <a:pt x="305" y="149"/>
                  </a:lnTo>
                  <a:lnTo>
                    <a:pt x="300" y="152"/>
                  </a:lnTo>
                  <a:lnTo>
                    <a:pt x="304" y="156"/>
                  </a:lnTo>
                  <a:lnTo>
                    <a:pt x="319" y="157"/>
                  </a:lnTo>
                  <a:lnTo>
                    <a:pt x="335" y="158"/>
                  </a:lnTo>
                  <a:lnTo>
                    <a:pt x="335" y="162"/>
                  </a:lnTo>
                  <a:lnTo>
                    <a:pt x="352" y="159"/>
                  </a:lnTo>
                  <a:lnTo>
                    <a:pt x="358" y="161"/>
                  </a:lnTo>
                  <a:lnTo>
                    <a:pt x="352" y="163"/>
                  </a:lnTo>
                  <a:lnTo>
                    <a:pt x="355" y="159"/>
                  </a:lnTo>
                  <a:lnTo>
                    <a:pt x="348" y="164"/>
                  </a:lnTo>
                  <a:lnTo>
                    <a:pt x="355" y="174"/>
                  </a:lnTo>
                  <a:lnTo>
                    <a:pt x="364" y="185"/>
                  </a:lnTo>
                  <a:lnTo>
                    <a:pt x="370" y="183"/>
                  </a:lnTo>
                  <a:lnTo>
                    <a:pt x="367" y="174"/>
                  </a:lnTo>
                  <a:lnTo>
                    <a:pt x="372" y="175"/>
                  </a:lnTo>
                  <a:lnTo>
                    <a:pt x="378" y="174"/>
                  </a:lnTo>
                  <a:lnTo>
                    <a:pt x="379" y="175"/>
                  </a:lnTo>
                  <a:lnTo>
                    <a:pt x="376" y="180"/>
                  </a:lnTo>
                  <a:lnTo>
                    <a:pt x="376" y="182"/>
                  </a:lnTo>
                  <a:lnTo>
                    <a:pt x="377" y="185"/>
                  </a:lnTo>
                  <a:lnTo>
                    <a:pt x="389" y="170"/>
                  </a:lnTo>
                  <a:lnTo>
                    <a:pt x="388" y="179"/>
                  </a:lnTo>
                  <a:lnTo>
                    <a:pt x="390" y="185"/>
                  </a:lnTo>
                  <a:lnTo>
                    <a:pt x="393" y="183"/>
                  </a:lnTo>
                  <a:lnTo>
                    <a:pt x="394" y="187"/>
                  </a:lnTo>
                  <a:lnTo>
                    <a:pt x="390" y="188"/>
                  </a:lnTo>
                  <a:lnTo>
                    <a:pt x="397" y="189"/>
                  </a:lnTo>
                  <a:lnTo>
                    <a:pt x="393" y="189"/>
                  </a:lnTo>
                  <a:lnTo>
                    <a:pt x="393" y="194"/>
                  </a:lnTo>
                  <a:lnTo>
                    <a:pt x="389" y="193"/>
                  </a:lnTo>
                  <a:lnTo>
                    <a:pt x="390" y="198"/>
                  </a:lnTo>
                  <a:lnTo>
                    <a:pt x="385" y="199"/>
                  </a:lnTo>
                  <a:lnTo>
                    <a:pt x="387" y="200"/>
                  </a:lnTo>
                  <a:lnTo>
                    <a:pt x="389" y="207"/>
                  </a:lnTo>
                  <a:lnTo>
                    <a:pt x="394" y="215"/>
                  </a:lnTo>
                  <a:lnTo>
                    <a:pt x="389" y="216"/>
                  </a:lnTo>
                  <a:lnTo>
                    <a:pt x="377" y="224"/>
                  </a:lnTo>
                  <a:lnTo>
                    <a:pt x="383" y="222"/>
                  </a:lnTo>
                  <a:lnTo>
                    <a:pt x="397" y="217"/>
                  </a:lnTo>
                  <a:lnTo>
                    <a:pt x="389" y="229"/>
                  </a:lnTo>
                  <a:lnTo>
                    <a:pt x="384" y="230"/>
                  </a:lnTo>
                  <a:lnTo>
                    <a:pt x="394" y="228"/>
                  </a:lnTo>
                  <a:lnTo>
                    <a:pt x="388" y="231"/>
                  </a:lnTo>
                  <a:lnTo>
                    <a:pt x="384" y="236"/>
                  </a:lnTo>
                  <a:lnTo>
                    <a:pt x="399" y="22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40" name="Freeform 476">
              <a:extLst>
                <a:ext uri="{FF2B5EF4-FFF2-40B4-BE49-F238E27FC236}">
                  <a16:creationId xmlns:a16="http://schemas.microsoft.com/office/drawing/2014/main" id="{4AF570AA-E68E-498A-9ADB-FED1BAF7155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7294" y="2397675"/>
              <a:ext cx="72304" cy="39681"/>
            </a:xfrm>
            <a:custGeom>
              <a:avLst/>
              <a:gdLst>
                <a:gd name="T0" fmla="*/ 35 w 35"/>
                <a:gd name="T1" fmla="*/ 5 h 19"/>
                <a:gd name="T2" fmla="*/ 31 w 35"/>
                <a:gd name="T3" fmla="*/ 5 h 19"/>
                <a:gd name="T4" fmla="*/ 34 w 35"/>
                <a:gd name="T5" fmla="*/ 1 h 19"/>
                <a:gd name="T6" fmla="*/ 31 w 35"/>
                <a:gd name="T7" fmla="*/ 1 h 19"/>
                <a:gd name="T8" fmla="*/ 28 w 35"/>
                <a:gd name="T9" fmla="*/ 0 h 19"/>
                <a:gd name="T10" fmla="*/ 25 w 35"/>
                <a:gd name="T11" fmla="*/ 4 h 19"/>
                <a:gd name="T12" fmla="*/ 22 w 35"/>
                <a:gd name="T13" fmla="*/ 3 h 19"/>
                <a:gd name="T14" fmla="*/ 17 w 35"/>
                <a:gd name="T15" fmla="*/ 4 h 19"/>
                <a:gd name="T16" fmla="*/ 12 w 35"/>
                <a:gd name="T17" fmla="*/ 11 h 19"/>
                <a:gd name="T18" fmla="*/ 11 w 35"/>
                <a:gd name="T19" fmla="*/ 5 h 19"/>
                <a:gd name="T20" fmla="*/ 1 w 35"/>
                <a:gd name="T21" fmla="*/ 11 h 19"/>
                <a:gd name="T22" fmla="*/ 1 w 35"/>
                <a:gd name="T23" fmla="*/ 16 h 19"/>
                <a:gd name="T24" fmla="*/ 3 w 35"/>
                <a:gd name="T25" fmla="*/ 13 h 19"/>
                <a:gd name="T26" fmla="*/ 6 w 35"/>
                <a:gd name="T27" fmla="*/ 13 h 19"/>
                <a:gd name="T28" fmla="*/ 0 w 35"/>
                <a:gd name="T29" fmla="*/ 19 h 19"/>
                <a:gd name="T30" fmla="*/ 7 w 35"/>
                <a:gd name="T31" fmla="*/ 15 h 19"/>
                <a:gd name="T32" fmla="*/ 23 w 35"/>
                <a:gd name="T33" fmla="*/ 10 h 19"/>
                <a:gd name="T34" fmla="*/ 25 w 35"/>
                <a:gd name="T35" fmla="*/ 9 h 19"/>
                <a:gd name="T36" fmla="*/ 35 w 35"/>
                <a:gd name="T37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19">
                  <a:moveTo>
                    <a:pt x="35" y="5"/>
                  </a:moveTo>
                  <a:lnTo>
                    <a:pt x="31" y="5"/>
                  </a:lnTo>
                  <a:lnTo>
                    <a:pt x="34" y="1"/>
                  </a:lnTo>
                  <a:lnTo>
                    <a:pt x="31" y="1"/>
                  </a:lnTo>
                  <a:lnTo>
                    <a:pt x="28" y="0"/>
                  </a:lnTo>
                  <a:lnTo>
                    <a:pt x="25" y="4"/>
                  </a:lnTo>
                  <a:lnTo>
                    <a:pt x="22" y="3"/>
                  </a:lnTo>
                  <a:lnTo>
                    <a:pt x="17" y="4"/>
                  </a:lnTo>
                  <a:lnTo>
                    <a:pt x="12" y="11"/>
                  </a:lnTo>
                  <a:lnTo>
                    <a:pt x="11" y="5"/>
                  </a:lnTo>
                  <a:lnTo>
                    <a:pt x="1" y="11"/>
                  </a:lnTo>
                  <a:lnTo>
                    <a:pt x="1" y="16"/>
                  </a:lnTo>
                  <a:lnTo>
                    <a:pt x="3" y="13"/>
                  </a:lnTo>
                  <a:lnTo>
                    <a:pt x="6" y="13"/>
                  </a:lnTo>
                  <a:lnTo>
                    <a:pt x="0" y="19"/>
                  </a:lnTo>
                  <a:lnTo>
                    <a:pt x="7" y="15"/>
                  </a:lnTo>
                  <a:lnTo>
                    <a:pt x="23" y="10"/>
                  </a:lnTo>
                  <a:lnTo>
                    <a:pt x="25" y="9"/>
                  </a:lnTo>
                  <a:lnTo>
                    <a:pt x="35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41" name="Freeform 478">
              <a:extLst>
                <a:ext uri="{FF2B5EF4-FFF2-40B4-BE49-F238E27FC236}">
                  <a16:creationId xmlns:a16="http://schemas.microsoft.com/office/drawing/2014/main" id="{4B0561EC-4E54-4E8B-81E2-95EEA322E86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8438" y="2213156"/>
              <a:ext cx="64693" cy="21825"/>
            </a:xfrm>
            <a:custGeom>
              <a:avLst/>
              <a:gdLst>
                <a:gd name="T0" fmla="*/ 30 w 30"/>
                <a:gd name="T1" fmla="*/ 5 h 10"/>
                <a:gd name="T2" fmla="*/ 16 w 30"/>
                <a:gd name="T3" fmla="*/ 10 h 10"/>
                <a:gd name="T4" fmla="*/ 10 w 30"/>
                <a:gd name="T5" fmla="*/ 4 h 10"/>
                <a:gd name="T6" fmla="*/ 12 w 30"/>
                <a:gd name="T7" fmla="*/ 6 h 10"/>
                <a:gd name="T8" fmla="*/ 0 w 30"/>
                <a:gd name="T9" fmla="*/ 5 h 10"/>
                <a:gd name="T10" fmla="*/ 4 w 30"/>
                <a:gd name="T11" fmla="*/ 0 h 10"/>
                <a:gd name="T12" fmla="*/ 16 w 30"/>
                <a:gd name="T13" fmla="*/ 0 h 10"/>
                <a:gd name="T14" fmla="*/ 30 w 30"/>
                <a:gd name="T1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10">
                  <a:moveTo>
                    <a:pt x="30" y="5"/>
                  </a:moveTo>
                  <a:lnTo>
                    <a:pt x="16" y="10"/>
                  </a:lnTo>
                  <a:lnTo>
                    <a:pt x="10" y="4"/>
                  </a:lnTo>
                  <a:lnTo>
                    <a:pt x="12" y="6"/>
                  </a:lnTo>
                  <a:lnTo>
                    <a:pt x="0" y="5"/>
                  </a:lnTo>
                  <a:lnTo>
                    <a:pt x="4" y="0"/>
                  </a:lnTo>
                  <a:lnTo>
                    <a:pt x="16" y="0"/>
                  </a:lnTo>
                  <a:lnTo>
                    <a:pt x="3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42" name="Freeform 479">
              <a:extLst>
                <a:ext uri="{FF2B5EF4-FFF2-40B4-BE49-F238E27FC236}">
                  <a16:creationId xmlns:a16="http://schemas.microsoft.com/office/drawing/2014/main" id="{B875F6E7-E153-47CC-A1FE-F08E18CF79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427268" y="2451243"/>
              <a:ext cx="28540" cy="53570"/>
            </a:xfrm>
            <a:custGeom>
              <a:avLst/>
              <a:gdLst>
                <a:gd name="T0" fmla="*/ 10 w 16"/>
                <a:gd name="T1" fmla="*/ 23 h 24"/>
                <a:gd name="T2" fmla="*/ 7 w 16"/>
                <a:gd name="T3" fmla="*/ 24 h 24"/>
                <a:gd name="T4" fmla="*/ 6 w 16"/>
                <a:gd name="T5" fmla="*/ 20 h 24"/>
                <a:gd name="T6" fmla="*/ 0 w 16"/>
                <a:gd name="T7" fmla="*/ 16 h 24"/>
                <a:gd name="T8" fmla="*/ 6 w 16"/>
                <a:gd name="T9" fmla="*/ 15 h 24"/>
                <a:gd name="T10" fmla="*/ 9 w 16"/>
                <a:gd name="T11" fmla="*/ 10 h 24"/>
                <a:gd name="T12" fmla="*/ 4 w 16"/>
                <a:gd name="T13" fmla="*/ 11 h 24"/>
                <a:gd name="T14" fmla="*/ 10 w 16"/>
                <a:gd name="T15" fmla="*/ 6 h 24"/>
                <a:gd name="T16" fmla="*/ 9 w 16"/>
                <a:gd name="T17" fmla="*/ 3 h 24"/>
                <a:gd name="T18" fmla="*/ 13 w 16"/>
                <a:gd name="T19" fmla="*/ 0 h 24"/>
                <a:gd name="T20" fmla="*/ 16 w 16"/>
                <a:gd name="T21" fmla="*/ 12 h 24"/>
                <a:gd name="T22" fmla="*/ 13 w 16"/>
                <a:gd name="T23" fmla="*/ 11 h 24"/>
                <a:gd name="T24" fmla="*/ 12 w 16"/>
                <a:gd name="T25" fmla="*/ 14 h 24"/>
                <a:gd name="T26" fmla="*/ 10 w 16"/>
                <a:gd name="T27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4">
                  <a:moveTo>
                    <a:pt x="10" y="23"/>
                  </a:moveTo>
                  <a:lnTo>
                    <a:pt x="7" y="24"/>
                  </a:lnTo>
                  <a:lnTo>
                    <a:pt x="6" y="20"/>
                  </a:lnTo>
                  <a:lnTo>
                    <a:pt x="0" y="16"/>
                  </a:lnTo>
                  <a:lnTo>
                    <a:pt x="6" y="15"/>
                  </a:lnTo>
                  <a:lnTo>
                    <a:pt x="9" y="10"/>
                  </a:lnTo>
                  <a:lnTo>
                    <a:pt x="4" y="11"/>
                  </a:lnTo>
                  <a:lnTo>
                    <a:pt x="10" y="6"/>
                  </a:lnTo>
                  <a:lnTo>
                    <a:pt x="9" y="3"/>
                  </a:lnTo>
                  <a:lnTo>
                    <a:pt x="13" y="0"/>
                  </a:lnTo>
                  <a:lnTo>
                    <a:pt x="16" y="12"/>
                  </a:lnTo>
                  <a:lnTo>
                    <a:pt x="13" y="11"/>
                  </a:lnTo>
                  <a:lnTo>
                    <a:pt x="12" y="14"/>
                  </a:lnTo>
                  <a:lnTo>
                    <a:pt x="10" y="2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43" name="Freeform 480">
              <a:extLst>
                <a:ext uri="{FF2B5EF4-FFF2-40B4-BE49-F238E27FC236}">
                  <a16:creationId xmlns:a16="http://schemas.microsoft.com/office/drawing/2014/main" id="{E394D17E-4DDE-48EC-87FB-7B10632C14A6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4393" y="2389737"/>
              <a:ext cx="38054" cy="39681"/>
            </a:xfrm>
            <a:custGeom>
              <a:avLst/>
              <a:gdLst>
                <a:gd name="T0" fmla="*/ 15 w 17"/>
                <a:gd name="T1" fmla="*/ 9 h 18"/>
                <a:gd name="T2" fmla="*/ 12 w 17"/>
                <a:gd name="T3" fmla="*/ 10 h 18"/>
                <a:gd name="T4" fmla="*/ 0 w 17"/>
                <a:gd name="T5" fmla="*/ 18 h 18"/>
                <a:gd name="T6" fmla="*/ 3 w 17"/>
                <a:gd name="T7" fmla="*/ 14 h 18"/>
                <a:gd name="T8" fmla="*/ 12 w 17"/>
                <a:gd name="T9" fmla="*/ 0 h 18"/>
                <a:gd name="T10" fmla="*/ 17 w 17"/>
                <a:gd name="T11" fmla="*/ 1 h 18"/>
                <a:gd name="T12" fmla="*/ 15 w 17"/>
                <a:gd name="T1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8">
                  <a:moveTo>
                    <a:pt x="15" y="9"/>
                  </a:moveTo>
                  <a:lnTo>
                    <a:pt x="12" y="10"/>
                  </a:lnTo>
                  <a:lnTo>
                    <a:pt x="0" y="18"/>
                  </a:lnTo>
                  <a:lnTo>
                    <a:pt x="3" y="14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15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44" name="Freeform 481">
              <a:extLst>
                <a:ext uri="{FF2B5EF4-FFF2-40B4-BE49-F238E27FC236}">
                  <a16:creationId xmlns:a16="http://schemas.microsoft.com/office/drawing/2014/main" id="{16B1B1F2-BB91-4809-9A5E-0125F2F909F8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290" y="2494891"/>
              <a:ext cx="51374" cy="17858"/>
            </a:xfrm>
            <a:custGeom>
              <a:avLst/>
              <a:gdLst>
                <a:gd name="T0" fmla="*/ 24 w 24"/>
                <a:gd name="T1" fmla="*/ 6 h 8"/>
                <a:gd name="T2" fmla="*/ 19 w 24"/>
                <a:gd name="T3" fmla="*/ 0 h 8"/>
                <a:gd name="T4" fmla="*/ 0 w 24"/>
                <a:gd name="T5" fmla="*/ 7 h 8"/>
                <a:gd name="T6" fmla="*/ 6 w 24"/>
                <a:gd name="T7" fmla="*/ 8 h 8"/>
                <a:gd name="T8" fmla="*/ 24 w 24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4" y="6"/>
                  </a:moveTo>
                  <a:lnTo>
                    <a:pt x="19" y="0"/>
                  </a:lnTo>
                  <a:lnTo>
                    <a:pt x="0" y="7"/>
                  </a:lnTo>
                  <a:lnTo>
                    <a:pt x="6" y="8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45" name="Freeform 482">
              <a:extLst>
                <a:ext uri="{FF2B5EF4-FFF2-40B4-BE49-F238E27FC236}">
                  <a16:creationId xmlns:a16="http://schemas.microsoft.com/office/drawing/2014/main" id="{2E047F98-2320-4C61-A56B-A644CFEAEA8A}"/>
                </a:ext>
              </a:extLst>
            </p:cNvPr>
            <p:cNvSpPr>
              <a:spLocks/>
            </p:cNvSpPr>
            <p:nvPr/>
          </p:nvSpPr>
          <p:spPr bwMode="gray">
            <a:xfrm>
              <a:off x="749897" y="2318313"/>
              <a:ext cx="38054" cy="17858"/>
            </a:xfrm>
            <a:custGeom>
              <a:avLst/>
              <a:gdLst>
                <a:gd name="T0" fmla="*/ 18 w 18"/>
                <a:gd name="T1" fmla="*/ 6 h 9"/>
                <a:gd name="T2" fmla="*/ 11 w 18"/>
                <a:gd name="T3" fmla="*/ 9 h 9"/>
                <a:gd name="T4" fmla="*/ 0 w 18"/>
                <a:gd name="T5" fmla="*/ 5 h 9"/>
                <a:gd name="T6" fmla="*/ 18 w 18"/>
                <a:gd name="T7" fmla="*/ 0 h 9"/>
                <a:gd name="T8" fmla="*/ 18 w 18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9">
                  <a:moveTo>
                    <a:pt x="18" y="6"/>
                  </a:moveTo>
                  <a:lnTo>
                    <a:pt x="11" y="9"/>
                  </a:lnTo>
                  <a:lnTo>
                    <a:pt x="0" y="5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46" name="Freeform 483">
              <a:extLst>
                <a:ext uri="{FF2B5EF4-FFF2-40B4-BE49-F238E27FC236}">
                  <a16:creationId xmlns:a16="http://schemas.microsoft.com/office/drawing/2014/main" id="{18166F85-271D-49AD-AC49-4D2C9B5EA5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423461" y="2389737"/>
              <a:ext cx="32347" cy="25793"/>
            </a:xfrm>
            <a:custGeom>
              <a:avLst/>
              <a:gdLst>
                <a:gd name="T0" fmla="*/ 13 w 17"/>
                <a:gd name="T1" fmla="*/ 10 h 12"/>
                <a:gd name="T2" fmla="*/ 12 w 17"/>
                <a:gd name="T3" fmla="*/ 7 h 12"/>
                <a:gd name="T4" fmla="*/ 8 w 17"/>
                <a:gd name="T5" fmla="*/ 3 h 12"/>
                <a:gd name="T6" fmla="*/ 17 w 17"/>
                <a:gd name="T7" fmla="*/ 6 h 12"/>
                <a:gd name="T8" fmla="*/ 16 w 17"/>
                <a:gd name="T9" fmla="*/ 3 h 12"/>
                <a:gd name="T10" fmla="*/ 11 w 17"/>
                <a:gd name="T11" fmla="*/ 3 h 12"/>
                <a:gd name="T12" fmla="*/ 13 w 17"/>
                <a:gd name="T13" fmla="*/ 0 h 12"/>
                <a:gd name="T14" fmla="*/ 6 w 17"/>
                <a:gd name="T15" fmla="*/ 2 h 12"/>
                <a:gd name="T16" fmla="*/ 5 w 17"/>
                <a:gd name="T17" fmla="*/ 6 h 12"/>
                <a:gd name="T18" fmla="*/ 0 w 17"/>
                <a:gd name="T19" fmla="*/ 6 h 12"/>
                <a:gd name="T20" fmla="*/ 4 w 17"/>
                <a:gd name="T21" fmla="*/ 12 h 12"/>
                <a:gd name="T22" fmla="*/ 6 w 17"/>
                <a:gd name="T23" fmla="*/ 7 h 12"/>
                <a:gd name="T24" fmla="*/ 13 w 17"/>
                <a:gd name="T2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12">
                  <a:moveTo>
                    <a:pt x="13" y="10"/>
                  </a:moveTo>
                  <a:lnTo>
                    <a:pt x="12" y="7"/>
                  </a:lnTo>
                  <a:lnTo>
                    <a:pt x="8" y="3"/>
                  </a:lnTo>
                  <a:lnTo>
                    <a:pt x="17" y="6"/>
                  </a:lnTo>
                  <a:lnTo>
                    <a:pt x="16" y="3"/>
                  </a:lnTo>
                  <a:lnTo>
                    <a:pt x="11" y="3"/>
                  </a:lnTo>
                  <a:lnTo>
                    <a:pt x="13" y="0"/>
                  </a:lnTo>
                  <a:lnTo>
                    <a:pt x="6" y="2"/>
                  </a:lnTo>
                  <a:lnTo>
                    <a:pt x="5" y="6"/>
                  </a:lnTo>
                  <a:lnTo>
                    <a:pt x="0" y="6"/>
                  </a:lnTo>
                  <a:lnTo>
                    <a:pt x="4" y="12"/>
                  </a:lnTo>
                  <a:lnTo>
                    <a:pt x="6" y="7"/>
                  </a:lnTo>
                  <a:lnTo>
                    <a:pt x="13" y="1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47" name="Freeform 484">
              <a:extLst>
                <a:ext uri="{FF2B5EF4-FFF2-40B4-BE49-F238E27FC236}">
                  <a16:creationId xmlns:a16="http://schemas.microsoft.com/office/drawing/2014/main" id="{68E0A96A-B8FB-4705-A8A7-085AB0C42C73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7754" y="2411562"/>
              <a:ext cx="20930" cy="43648"/>
            </a:xfrm>
            <a:custGeom>
              <a:avLst/>
              <a:gdLst>
                <a:gd name="T0" fmla="*/ 0 w 9"/>
                <a:gd name="T1" fmla="*/ 20 h 20"/>
                <a:gd name="T2" fmla="*/ 9 w 9"/>
                <a:gd name="T3" fmla="*/ 0 h 20"/>
                <a:gd name="T4" fmla="*/ 2 w 9"/>
                <a:gd name="T5" fmla="*/ 4 h 20"/>
                <a:gd name="T6" fmla="*/ 0 w 9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20">
                  <a:moveTo>
                    <a:pt x="0" y="20"/>
                  </a:moveTo>
                  <a:lnTo>
                    <a:pt x="9" y="0"/>
                  </a:lnTo>
                  <a:lnTo>
                    <a:pt x="2" y="4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48" name="Freeform 485">
              <a:extLst>
                <a:ext uri="{FF2B5EF4-FFF2-40B4-BE49-F238E27FC236}">
                  <a16:creationId xmlns:a16="http://schemas.microsoft.com/office/drawing/2014/main" id="{1B813042-4D04-4622-A3C4-DB21452D465C}"/>
                </a:ext>
              </a:extLst>
            </p:cNvPr>
            <p:cNvSpPr>
              <a:spLocks/>
            </p:cNvSpPr>
            <p:nvPr/>
          </p:nvSpPr>
          <p:spPr bwMode="gray">
            <a:xfrm>
              <a:off x="1452003" y="2425450"/>
              <a:ext cx="24735" cy="21825"/>
            </a:xfrm>
            <a:custGeom>
              <a:avLst/>
              <a:gdLst>
                <a:gd name="T0" fmla="*/ 10 w 11"/>
                <a:gd name="T1" fmla="*/ 6 h 10"/>
                <a:gd name="T2" fmla="*/ 11 w 11"/>
                <a:gd name="T3" fmla="*/ 5 h 10"/>
                <a:gd name="T4" fmla="*/ 5 w 11"/>
                <a:gd name="T5" fmla="*/ 0 h 10"/>
                <a:gd name="T6" fmla="*/ 0 w 11"/>
                <a:gd name="T7" fmla="*/ 8 h 10"/>
                <a:gd name="T8" fmla="*/ 4 w 11"/>
                <a:gd name="T9" fmla="*/ 10 h 10"/>
                <a:gd name="T10" fmla="*/ 8 w 11"/>
                <a:gd name="T11" fmla="*/ 6 h 10"/>
                <a:gd name="T12" fmla="*/ 10 w 11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lnTo>
                    <a:pt x="11" y="5"/>
                  </a:lnTo>
                  <a:lnTo>
                    <a:pt x="5" y="0"/>
                  </a:lnTo>
                  <a:lnTo>
                    <a:pt x="0" y="8"/>
                  </a:lnTo>
                  <a:lnTo>
                    <a:pt x="4" y="10"/>
                  </a:lnTo>
                  <a:lnTo>
                    <a:pt x="8" y="6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49" name="Freeform 486">
              <a:extLst>
                <a:ext uri="{FF2B5EF4-FFF2-40B4-BE49-F238E27FC236}">
                  <a16:creationId xmlns:a16="http://schemas.microsoft.com/office/drawing/2014/main" id="{E1C5AB62-16C3-4578-B9EF-ED548579A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1431074" y="2433387"/>
              <a:ext cx="20930" cy="21825"/>
            </a:xfrm>
            <a:custGeom>
              <a:avLst/>
              <a:gdLst>
                <a:gd name="T0" fmla="*/ 10 w 10"/>
                <a:gd name="T1" fmla="*/ 4 h 11"/>
                <a:gd name="T2" fmla="*/ 0 w 10"/>
                <a:gd name="T3" fmla="*/ 11 h 11"/>
                <a:gd name="T4" fmla="*/ 4 w 10"/>
                <a:gd name="T5" fmla="*/ 0 h 11"/>
                <a:gd name="T6" fmla="*/ 10 w 10"/>
                <a:gd name="T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10" y="4"/>
                  </a:moveTo>
                  <a:lnTo>
                    <a:pt x="0" y="11"/>
                  </a:lnTo>
                  <a:lnTo>
                    <a:pt x="4" y="0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450" name="Freeform 488">
              <a:extLst>
                <a:ext uri="{FF2B5EF4-FFF2-40B4-BE49-F238E27FC236}">
                  <a16:creationId xmlns:a16="http://schemas.microsoft.com/office/drawing/2014/main" id="{98259248-56B7-464D-8857-18FD5A235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9219" y="2973050"/>
              <a:ext cx="66595" cy="21825"/>
            </a:xfrm>
            <a:custGeom>
              <a:avLst/>
              <a:gdLst>
                <a:gd name="T0" fmla="*/ 31 w 31"/>
                <a:gd name="T1" fmla="*/ 1 h 8"/>
                <a:gd name="T2" fmla="*/ 23 w 31"/>
                <a:gd name="T3" fmla="*/ 3 h 8"/>
                <a:gd name="T4" fmla="*/ 24 w 31"/>
                <a:gd name="T5" fmla="*/ 0 h 8"/>
                <a:gd name="T6" fmla="*/ 0 w 31"/>
                <a:gd name="T7" fmla="*/ 8 h 8"/>
                <a:gd name="T8" fmla="*/ 16 w 31"/>
                <a:gd name="T9" fmla="*/ 5 h 8"/>
                <a:gd name="T10" fmla="*/ 31 w 31"/>
                <a:gd name="T1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8">
                  <a:moveTo>
                    <a:pt x="31" y="1"/>
                  </a:moveTo>
                  <a:lnTo>
                    <a:pt x="23" y="3"/>
                  </a:lnTo>
                  <a:lnTo>
                    <a:pt x="24" y="0"/>
                  </a:lnTo>
                  <a:lnTo>
                    <a:pt x="0" y="8"/>
                  </a:lnTo>
                  <a:lnTo>
                    <a:pt x="16" y="5"/>
                  </a:lnTo>
                  <a:lnTo>
                    <a:pt x="31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sp>
        <p:nvSpPr>
          <p:cNvPr id="451" name="Freeform 491">
            <a:extLst>
              <a:ext uri="{FF2B5EF4-FFF2-40B4-BE49-F238E27FC236}">
                <a16:creationId xmlns:a16="http://schemas.microsoft.com/office/drawing/2014/main" id="{D188F26F-EA43-4E31-A7D4-EDA9D6B9D9CE}"/>
              </a:ext>
            </a:extLst>
          </p:cNvPr>
          <p:cNvSpPr>
            <a:spLocks/>
          </p:cNvSpPr>
          <p:nvPr/>
        </p:nvSpPr>
        <p:spPr bwMode="gray">
          <a:xfrm>
            <a:off x="4260428" y="3449223"/>
            <a:ext cx="253064" cy="248008"/>
          </a:xfrm>
          <a:custGeom>
            <a:avLst/>
            <a:gdLst>
              <a:gd name="T0" fmla="*/ 2 w 119"/>
              <a:gd name="T1" fmla="*/ 102 h 111"/>
              <a:gd name="T2" fmla="*/ 0 w 119"/>
              <a:gd name="T3" fmla="*/ 111 h 111"/>
              <a:gd name="T4" fmla="*/ 0 w 119"/>
              <a:gd name="T5" fmla="*/ 102 h 111"/>
              <a:gd name="T6" fmla="*/ 10 w 119"/>
              <a:gd name="T7" fmla="*/ 83 h 111"/>
              <a:gd name="T8" fmla="*/ 20 w 119"/>
              <a:gd name="T9" fmla="*/ 62 h 111"/>
              <a:gd name="T10" fmla="*/ 17 w 119"/>
              <a:gd name="T11" fmla="*/ 65 h 111"/>
              <a:gd name="T12" fmla="*/ 28 w 119"/>
              <a:gd name="T13" fmla="*/ 51 h 111"/>
              <a:gd name="T14" fmla="*/ 33 w 119"/>
              <a:gd name="T15" fmla="*/ 39 h 111"/>
              <a:gd name="T16" fmla="*/ 39 w 119"/>
              <a:gd name="T17" fmla="*/ 26 h 111"/>
              <a:gd name="T18" fmla="*/ 50 w 119"/>
              <a:gd name="T19" fmla="*/ 17 h 111"/>
              <a:gd name="T20" fmla="*/ 57 w 119"/>
              <a:gd name="T21" fmla="*/ 0 h 111"/>
              <a:gd name="T22" fmla="*/ 72 w 119"/>
              <a:gd name="T23" fmla="*/ 0 h 111"/>
              <a:gd name="T24" fmla="*/ 88 w 119"/>
              <a:gd name="T25" fmla="*/ 0 h 111"/>
              <a:gd name="T26" fmla="*/ 104 w 119"/>
              <a:gd name="T27" fmla="*/ 0 h 111"/>
              <a:gd name="T28" fmla="*/ 119 w 119"/>
              <a:gd name="T29" fmla="*/ 0 h 111"/>
              <a:gd name="T30" fmla="*/ 119 w 119"/>
              <a:gd name="T31" fmla="*/ 6 h 111"/>
              <a:gd name="T32" fmla="*/ 118 w 119"/>
              <a:gd name="T33" fmla="*/ 26 h 111"/>
              <a:gd name="T34" fmla="*/ 107 w 119"/>
              <a:gd name="T35" fmla="*/ 26 h 111"/>
              <a:gd name="T36" fmla="*/ 95 w 119"/>
              <a:gd name="T37" fmla="*/ 26 h 111"/>
              <a:gd name="T38" fmla="*/ 84 w 119"/>
              <a:gd name="T39" fmla="*/ 26 h 111"/>
              <a:gd name="T40" fmla="*/ 72 w 119"/>
              <a:gd name="T41" fmla="*/ 26 h 111"/>
              <a:gd name="T42" fmla="*/ 72 w 119"/>
              <a:gd name="T43" fmla="*/ 48 h 111"/>
              <a:gd name="T44" fmla="*/ 71 w 119"/>
              <a:gd name="T45" fmla="*/ 68 h 111"/>
              <a:gd name="T46" fmla="*/ 58 w 119"/>
              <a:gd name="T47" fmla="*/ 74 h 111"/>
              <a:gd name="T48" fmla="*/ 57 w 119"/>
              <a:gd name="T49" fmla="*/ 89 h 111"/>
              <a:gd name="T50" fmla="*/ 57 w 119"/>
              <a:gd name="T51" fmla="*/ 102 h 111"/>
              <a:gd name="T52" fmla="*/ 44 w 119"/>
              <a:gd name="T53" fmla="*/ 102 h 111"/>
              <a:gd name="T54" fmla="*/ 29 w 119"/>
              <a:gd name="T55" fmla="*/ 102 h 111"/>
              <a:gd name="T56" fmla="*/ 16 w 119"/>
              <a:gd name="T57" fmla="*/ 102 h 111"/>
              <a:gd name="T58" fmla="*/ 2 w 119"/>
              <a:gd name="T59" fmla="*/ 102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19" h="111">
                <a:moveTo>
                  <a:pt x="2" y="102"/>
                </a:moveTo>
                <a:lnTo>
                  <a:pt x="0" y="111"/>
                </a:lnTo>
                <a:lnTo>
                  <a:pt x="0" y="102"/>
                </a:lnTo>
                <a:lnTo>
                  <a:pt x="10" y="83"/>
                </a:lnTo>
                <a:lnTo>
                  <a:pt x="20" y="62"/>
                </a:lnTo>
                <a:lnTo>
                  <a:pt x="17" y="65"/>
                </a:lnTo>
                <a:lnTo>
                  <a:pt x="28" y="51"/>
                </a:lnTo>
                <a:lnTo>
                  <a:pt x="33" y="39"/>
                </a:lnTo>
                <a:lnTo>
                  <a:pt x="39" y="26"/>
                </a:lnTo>
                <a:lnTo>
                  <a:pt x="50" y="17"/>
                </a:lnTo>
                <a:lnTo>
                  <a:pt x="57" y="0"/>
                </a:lnTo>
                <a:lnTo>
                  <a:pt x="72" y="0"/>
                </a:lnTo>
                <a:lnTo>
                  <a:pt x="88" y="0"/>
                </a:lnTo>
                <a:lnTo>
                  <a:pt x="104" y="0"/>
                </a:lnTo>
                <a:lnTo>
                  <a:pt x="119" y="0"/>
                </a:lnTo>
                <a:lnTo>
                  <a:pt x="119" y="6"/>
                </a:lnTo>
                <a:lnTo>
                  <a:pt x="118" y="26"/>
                </a:lnTo>
                <a:lnTo>
                  <a:pt x="107" y="26"/>
                </a:lnTo>
                <a:lnTo>
                  <a:pt x="95" y="26"/>
                </a:lnTo>
                <a:lnTo>
                  <a:pt x="84" y="26"/>
                </a:lnTo>
                <a:lnTo>
                  <a:pt x="72" y="26"/>
                </a:lnTo>
                <a:lnTo>
                  <a:pt x="72" y="48"/>
                </a:lnTo>
                <a:lnTo>
                  <a:pt x="71" y="68"/>
                </a:lnTo>
                <a:lnTo>
                  <a:pt x="58" y="74"/>
                </a:lnTo>
                <a:lnTo>
                  <a:pt x="57" y="89"/>
                </a:lnTo>
                <a:lnTo>
                  <a:pt x="57" y="102"/>
                </a:lnTo>
                <a:lnTo>
                  <a:pt x="44" y="102"/>
                </a:lnTo>
                <a:lnTo>
                  <a:pt x="29" y="102"/>
                </a:lnTo>
                <a:lnTo>
                  <a:pt x="16" y="102"/>
                </a:lnTo>
                <a:lnTo>
                  <a:pt x="2" y="102"/>
                </a:lnTo>
                <a:close/>
              </a:path>
            </a:pathLst>
          </a:custGeom>
          <a:solidFill>
            <a:srgbClr val="D5DDEB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911" name="Straight Connector 910">
            <a:extLst>
              <a:ext uri="{FF2B5EF4-FFF2-40B4-BE49-F238E27FC236}">
                <a16:creationId xmlns:a16="http://schemas.microsoft.com/office/drawing/2014/main" id="{22C96F27-75CC-4A57-8537-F82421EFB309}"/>
              </a:ext>
            </a:extLst>
          </p:cNvPr>
          <p:cNvCxnSpPr>
            <a:cxnSpLocks/>
          </p:cNvCxnSpPr>
          <p:nvPr/>
        </p:nvCxnSpPr>
        <p:spPr>
          <a:xfrm>
            <a:off x="9772631" y="1738047"/>
            <a:ext cx="0" cy="4333918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3" name="RectangleLegend1">
            <a:extLst>
              <a:ext uri="{FF2B5EF4-FFF2-40B4-BE49-F238E27FC236}">
                <a16:creationId xmlns:a16="http://schemas.microsoft.com/office/drawing/2014/main" id="{D3CF8201-11B6-4E24-951B-968AB0C1E5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9990259" y="1734621"/>
            <a:ext cx="245795" cy="244800"/>
          </a:xfrm>
          <a:prstGeom prst="rect">
            <a:avLst/>
          </a:prstGeom>
          <a:solidFill>
            <a:srgbClr val="D5DDE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06" name="Legend1">
            <a:extLst>
              <a:ext uri="{FF2B5EF4-FFF2-40B4-BE49-F238E27FC236}">
                <a16:creationId xmlns:a16="http://schemas.microsoft.com/office/drawing/2014/main" id="{7C85F0EF-8514-4FC7-8AE2-4E6FB5975C22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376702" y="1749299"/>
            <a:ext cx="12487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755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-20 EJ/capita</a:t>
            </a:r>
          </a:p>
        </p:txBody>
      </p:sp>
      <p:sp>
        <p:nvSpPr>
          <p:cNvPr id="463" name="AutoShape 250">
            <a:extLst>
              <a:ext uri="{FF2B5EF4-FFF2-40B4-BE49-F238E27FC236}">
                <a16:creationId xmlns:a16="http://schemas.microsoft.com/office/drawing/2014/main" id="{C067D5FD-F92D-4CFA-907C-0C2A939B90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608" y="1111726"/>
            <a:ext cx="5699103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755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omass available for energ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J/capita</a:t>
            </a:r>
            <a:endParaRPr kumimoji="0" lang="en-US" sz="1400" b="0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4" name="RectangleLegend1">
            <a:extLst>
              <a:ext uri="{FF2B5EF4-FFF2-40B4-BE49-F238E27FC236}">
                <a16:creationId xmlns:a16="http://schemas.microsoft.com/office/drawing/2014/main" id="{1277CCFD-610E-4767-8561-8ED75CAD7472}"/>
              </a:ext>
            </a:extLst>
          </p:cNvPr>
          <p:cNvSpPr>
            <a:spLocks noChangeArrowheads="1"/>
          </p:cNvSpPr>
          <p:nvPr/>
        </p:nvSpPr>
        <p:spPr bwMode="gray">
          <a:xfrm>
            <a:off x="9990259" y="2031732"/>
            <a:ext cx="245795" cy="244800"/>
          </a:xfrm>
          <a:prstGeom prst="rect">
            <a:avLst/>
          </a:prstGeom>
          <a:solidFill>
            <a:srgbClr val="95ABC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5" name="Legend1">
            <a:extLst>
              <a:ext uri="{FF2B5EF4-FFF2-40B4-BE49-F238E27FC236}">
                <a16:creationId xmlns:a16="http://schemas.microsoft.com/office/drawing/2014/main" id="{99B5E0E1-CEA4-4A85-AE2A-C90A3C0EE42C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376702" y="2046410"/>
            <a:ext cx="134812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755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-40 EJ/capita</a:t>
            </a:r>
          </a:p>
        </p:txBody>
      </p:sp>
      <p:sp>
        <p:nvSpPr>
          <p:cNvPr id="466" name="RectangleLegend1">
            <a:extLst>
              <a:ext uri="{FF2B5EF4-FFF2-40B4-BE49-F238E27FC236}">
                <a16:creationId xmlns:a16="http://schemas.microsoft.com/office/drawing/2014/main" id="{42A35B8A-BBD6-4147-81C6-DB8F8679E3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9990259" y="2328843"/>
            <a:ext cx="245795" cy="244800"/>
          </a:xfrm>
          <a:prstGeom prst="rect">
            <a:avLst/>
          </a:prstGeom>
          <a:solidFill>
            <a:srgbClr val="0C437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7" name="Legend1">
            <a:extLst>
              <a:ext uri="{FF2B5EF4-FFF2-40B4-BE49-F238E27FC236}">
                <a16:creationId xmlns:a16="http://schemas.microsoft.com/office/drawing/2014/main" id="{78CB69E4-5CFD-4AC3-A4AB-0EEE1563FAC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376702" y="2343521"/>
            <a:ext cx="134812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755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40-60 EJ/capita</a:t>
            </a:r>
          </a:p>
        </p:txBody>
      </p:sp>
      <p:cxnSp>
        <p:nvCxnSpPr>
          <p:cNvPr id="469" name="AutoShape 249">
            <a:extLst>
              <a:ext uri="{FF2B5EF4-FFF2-40B4-BE49-F238E27FC236}">
                <a16:creationId xmlns:a16="http://schemas.microsoft.com/office/drawing/2014/main" id="{5F2BAD69-745D-4F6A-B86F-22D2B2CF569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06390" y="1618156"/>
            <a:ext cx="9114865" cy="0"/>
          </a:xfrm>
          <a:prstGeom prst="straightConnector1">
            <a:avLst/>
          </a:prstGeom>
          <a:solidFill>
            <a:srgbClr val="7030A0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1" name="5. Source">
            <a:extLst>
              <a:ext uri="{FF2B5EF4-FFF2-40B4-BE49-F238E27FC236}">
                <a16:creationId xmlns:a16="http://schemas.microsoft.com/office/drawing/2014/main" id="{B61F5F8C-3DE7-4FD7-9873-BAD39BB61F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RENA and UN in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 McKinsey &amp; Company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carbonization of the industrial sectors: the next frontier 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482" name="AutoShape 249">
            <a:extLst>
              <a:ext uri="{FF2B5EF4-FFF2-40B4-BE49-F238E27FC236}">
                <a16:creationId xmlns:a16="http://schemas.microsoft.com/office/drawing/2014/main" id="{D673ED22-3B36-4F30-9943-965EB591FC9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98608" y="1561080"/>
            <a:ext cx="8992117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04955612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0" name="Object 119" hidden="1">
            <a:extLst>
              <a:ext uri="{FF2B5EF4-FFF2-40B4-BE49-F238E27FC236}">
                <a16:creationId xmlns:a16="http://schemas.microsoft.com/office/drawing/2014/main" id="{8E1E47EC-3634-4B22-B94A-98ACF4529E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874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9" name="think-cell Slide" r:id="rId42" imgW="395" imgH="394" progId="TCLayout.ActiveDocument.1">
                  <p:embed/>
                </p:oleObj>
              </mc:Choice>
              <mc:Fallback>
                <p:oleObj name="think-cell Slide" r:id="rId42" imgW="395" imgH="394" progId="TCLayout.ActiveDocument.1">
                  <p:embed/>
                  <p:pic>
                    <p:nvPicPr>
                      <p:cNvPr id="120" name="Object 119" hidden="1">
                        <a:extLst>
                          <a:ext uri="{FF2B5EF4-FFF2-40B4-BE49-F238E27FC236}">
                            <a16:creationId xmlns:a16="http://schemas.microsoft.com/office/drawing/2014/main" id="{8E1E47EC-3634-4B22-B94A-98ACF4529E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Rectangle 118" hidden="1">
            <a:extLst>
              <a:ext uri="{FF2B5EF4-FFF2-40B4-BE49-F238E27FC236}">
                <a16:creationId xmlns:a16="http://schemas.microsoft.com/office/drawing/2014/main" id="{93E8E124-4ADC-4452-A284-EA93F078E27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400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E1A7D67-463B-44B6-8924-30CB5EB9974E}"/>
              </a:ext>
            </a:extLst>
          </p:cNvPr>
          <p:cNvCxnSpPr>
            <a:cxnSpLocks/>
          </p:cNvCxnSpPr>
          <p:nvPr/>
        </p:nvCxnSpPr>
        <p:spPr>
          <a:xfrm>
            <a:off x="1019175" y="2252663"/>
            <a:ext cx="5256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5727D63-A4A8-4F00-BEEF-FA6AB43F8684}"/>
              </a:ext>
            </a:extLst>
          </p:cNvPr>
          <p:cNvCxnSpPr>
            <a:cxnSpLocks/>
          </p:cNvCxnSpPr>
          <p:nvPr/>
        </p:nvCxnSpPr>
        <p:spPr>
          <a:xfrm>
            <a:off x="1019175" y="1863725"/>
            <a:ext cx="5256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677C9B6-E7DF-495C-8823-CA8DB74489B0}"/>
              </a:ext>
            </a:extLst>
          </p:cNvPr>
          <p:cNvCxnSpPr>
            <a:cxnSpLocks/>
          </p:cNvCxnSpPr>
          <p:nvPr/>
        </p:nvCxnSpPr>
        <p:spPr>
          <a:xfrm>
            <a:off x="1019175" y="3030538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4AF4907-49BE-444F-A5FC-87C58D00A395}"/>
              </a:ext>
            </a:extLst>
          </p:cNvPr>
          <p:cNvCxnSpPr>
            <a:cxnSpLocks/>
          </p:cNvCxnSpPr>
          <p:nvPr/>
        </p:nvCxnSpPr>
        <p:spPr>
          <a:xfrm>
            <a:off x="1019175" y="2641600"/>
            <a:ext cx="5256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BFF02D5-9E7C-4A19-BC05-F9B1C974E3AA}"/>
              </a:ext>
            </a:extLst>
          </p:cNvPr>
          <p:cNvCxnSpPr>
            <a:cxnSpLocks/>
          </p:cNvCxnSpPr>
          <p:nvPr/>
        </p:nvCxnSpPr>
        <p:spPr>
          <a:xfrm>
            <a:off x="1019175" y="3419475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85D2B58-6B3B-4066-825C-C18C560D6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302163"/>
            <a:ext cx="11540428" cy="314060"/>
          </a:xfrm>
        </p:spPr>
        <p:txBody>
          <a:bodyPr/>
          <a:lstStyle/>
          <a:p>
            <a:r>
              <a:rPr lang="en-GB" dirty="0"/>
              <a:t>In a zero-carbon economy, bioenergy needs could reach up to 123EJ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3B554E08-1AF8-4671-8C30-ECEA5DA9763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956300" y="4113213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B895B898-0A9C-4400-910D-576A3A4A061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350000" y="4498975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66A88D2A-3ED3-4425-A0A8-EBC0804EEBA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865563" y="1795463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4C90CEF2-D3BB-4A33-AA4D-63482307D5EC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878513" y="3727450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D1E8892C-A2A1-4E25-B0AD-DA6EF1737E8C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203700" y="2182813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D62AF482-4018-43E4-B110-2612ED205A3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424363" y="2568575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CEA1C8DE-36DE-4450-8590-CCB234F0FB9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5494338" y="2954338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893A5630-0CDC-4CD2-AEC8-CB6C23F1257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757863" y="3341688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0C60E5C2-FFE4-44E1-A243-E49B803C7B1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192963" y="4886325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A4E0C38-87BB-4B97-8030-EFB17CF2FECA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785100" y="5272088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A53E2E1-A1CE-4018-9C76-6369EBA8BDDD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920038" y="5657850"/>
            <a:ext cx="0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221E33B2-3345-4FA3-923A-80553C97DDAC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294688" y="6045200"/>
            <a:ext cx="0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4" name="Chart 73">
            <a:extLst>
              <a:ext uri="{FF2B5EF4-FFF2-40B4-BE49-F238E27FC236}">
                <a16:creationId xmlns:a16="http://schemas.microsoft.com/office/drawing/2014/main" id="{63D0236D-38C7-4082-9514-A6DFE6DA6588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205907336"/>
              </p:ext>
            </p:extLst>
          </p:nvPr>
        </p:nvGraphicFramePr>
        <p:xfrm>
          <a:off x="3560763" y="1412875"/>
          <a:ext cx="4816475" cy="5186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30" name="Rectangle 129">
            <a:extLst>
              <a:ext uri="{FF2B5EF4-FFF2-40B4-BE49-F238E27FC236}">
                <a16:creationId xmlns:a16="http://schemas.microsoft.com/office/drawing/2014/main" id="{BEAFA327-67EC-4AE6-8339-2EDEBBA442E7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8172451" y="6216650"/>
            <a:ext cx="149225" cy="212725"/>
          </a:xfrm>
          <a:prstGeom prst="rect">
            <a:avLst/>
          </a:prstGeom>
          <a:solidFill>
            <a:srgbClr val="9B7AB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C56104D-51BD-4641-89CC-B13E2CFDFC08}" type="datetime'''''3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626E87E-7E60-4A0D-9AAA-959C6B3C19AB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5519738" y="2740025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B20045C-B3E3-4D01-8C2C-5DAB826410E5}" type="datetime'''''''''''''''''''''''''''''''''2''''''''''''''''''''8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8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BF53DF78-C1C2-4DE4-BBDC-7EBEAF7570F6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5981700" y="3898900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9AF6A78-D681-4776-898D-C7F9E280F833}" type="datetime'''''''''''''''''''''''2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E257E64-CCC7-4E19-8FC8-7C42A2CD922E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5903913" y="3513138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5406821-6CE6-4289-9FB0-D8D24C233809}" type="datetime'''''''''''''''''''''''''''''3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C417EDA5-2FAD-4CBC-9587-44F1D267EF19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4449763" y="2354263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54E86F9-0FA9-422A-9EBC-3D65CB7748B6}" type="datetime'''''''''''''''''''''''''''''''''''''''''''''''''''''6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4E7C19D6-0A7A-4FFA-AE7D-E344F6AFA86A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4229100" y="1968500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287CD0A-5EF5-4037-AED4-D0C85BF7AA18}" type="datetime'''''''''''''''''''''''''''''''''''''''''''''9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9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1449A662-BDD3-4405-8B40-C7A699E483EF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890963" y="1581150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4579BDF-30C6-452D-9740-0FF847F5BB2B}" type="datetime'6''''''''''''''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2530CBE6-7373-4676-BDF8-DBBA09F907C4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375400" y="4284663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0E2BCBC-B8F3-4A15-8649-1E42CA76386F}" type="datetime'''''''''''''''''''''''''''''''''''''1''''''''''''''''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EBD6E23-86C0-4294-9AB2-7FFA60A6F37C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783263" y="3127375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DF701C4-A28E-447E-93EA-B9D7B8DAF8E0}" type="datetime'''''''''''7''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E32FFF74-9396-464C-8D59-2C99C5348754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7218363" y="4672013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DADC91C-BFC7-4D3F-89CB-8A97D68B525F}" type="datetime'''''''2''''''''''''''2''''''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2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06EC015-2FC7-4C12-A449-5E7E4104BDDC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810500" y="5057775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E607903-1A23-4DEB-8F86-6D7F400F23B9}" type="datetime'1''''''''6''''''''''''''''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6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F0C7822-8437-4AAF-AD7B-6945EDEFD26E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7945438" y="5443538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6A2A8F0-78E2-4EE9-B5EB-3442B57BEB35}" type="datetime'''4''''''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8F92243-460E-4CD0-B28D-B40DEB72FD85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8340725" y="5830888"/>
            <a:ext cx="247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0292A90-BE92-4482-9B81-9AE3CFB415C1}" type="datetime'''1''''''''''''''''''''''''''''''''''''0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CC3D5F52-83D8-4623-88F8-2F7529BDA18C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340725" y="6216650"/>
            <a:ext cx="3460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25AE588-5405-47C6-9A3C-1C4F20FB1591}" type="datetime'''''''''''''''''''''''''''''''''''''''''''1''2''''''''''3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2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53B6B3-C13E-46CC-9C3D-40C52BDAB19F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480175" y="1671638"/>
            <a:ext cx="250825" cy="187325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828711A-79A3-46B9-A87B-8A828B5EB30E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480175" y="1935163"/>
            <a:ext cx="250825" cy="18732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030C8F-B4F4-46AF-AC59-DB1DC120FEC2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480175" y="2462213"/>
            <a:ext cx="250825" cy="18732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9412D59-616B-4789-A314-886DFAF78211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6480175" y="2198688"/>
            <a:ext cx="250825" cy="187325"/>
          </a:xfrm>
          <a:prstGeom prst="rect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41C436F-7F04-4412-97C9-CACBB1FE6D99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6480175" y="2725738"/>
            <a:ext cx="250825" cy="187325"/>
          </a:xfrm>
          <a:prstGeom prst="rect">
            <a:avLst/>
          </a:prstGeom>
          <a:solidFill>
            <a:srgbClr val="9B7AB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F8CB1E3-0F9E-44E1-8232-83A94A778762}"/>
              </a:ext>
            </a:extLst>
          </p:cNvPr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6781800" y="1666875"/>
            <a:ext cx="20050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F38CB5C-E491-4826-9E3C-A178DB522B6D}" type="datetime'''B''''''''ioen''er''gy'' dire''c''tly'''' us''e''''''''d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ioenergy directly used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0834BE49-E473-4CC4-AD25-87A01D826D09}"/>
              </a:ext>
            </a:extLst>
          </p:cNvPr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6781800" y="2457450"/>
            <a:ext cx="27241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CC2371F-3312-4D29-8415-834D1CACF390}" type="datetime'''Bi''oga''s fo''r elec''''''tricit''y ''gene''rati''''o''n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iogas for electricity genera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57F1486-7BF0-4A01-BDA5-F836006A4B0C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6781799" y="1930400"/>
            <a:ext cx="28400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9A0AC17-8868-4C1C-9FD0-BB26325FE808}" type="datetime'Bi''o''''''mass'' for'' electric''''''ity gen''''era''tion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iomass for electricity genera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E473E998-8CEE-479E-9D80-EEC7E2DDAD77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6781800" y="2193925"/>
            <a:ext cx="29019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ACD04AD-8BFD-4D27-8250-2B6952DF49A9}" type="datetime'B''ioen''er''g''y fo''''r chemi''cal'''' f''''eedst''''ock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ioenergy for chemical feedstock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858F756-3DF9-4A9E-A727-71F929533D95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6781800" y="2720975"/>
            <a:ext cx="27273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4C7C82A-C62F-44F6-8168-202AA33E7B6B}" type="datetime'Bi''og''as'' for ''hydrog''e''n'' gener''''''a''''ti''o''n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iogas for hydrogen genera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A173EF2-3E5F-40EB-B32B-A4E2DBBDB6BB}"/>
              </a:ext>
            </a:extLst>
          </p:cNvPr>
          <p:cNvCxnSpPr>
            <a:cxnSpLocks/>
          </p:cNvCxnSpPr>
          <p:nvPr/>
        </p:nvCxnSpPr>
        <p:spPr>
          <a:xfrm>
            <a:off x="1019175" y="4973638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E575384-816A-4094-8CBC-71D85461B0B7}"/>
              </a:ext>
            </a:extLst>
          </p:cNvPr>
          <p:cNvCxnSpPr>
            <a:cxnSpLocks/>
          </p:cNvCxnSpPr>
          <p:nvPr/>
        </p:nvCxnSpPr>
        <p:spPr>
          <a:xfrm>
            <a:off x="1019175" y="5751513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764328D-CDB8-4117-B752-A3459B839D96}"/>
              </a:ext>
            </a:extLst>
          </p:cNvPr>
          <p:cNvCxnSpPr>
            <a:cxnSpLocks/>
          </p:cNvCxnSpPr>
          <p:nvPr/>
        </p:nvCxnSpPr>
        <p:spPr>
          <a:xfrm>
            <a:off x="1019175" y="3808413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72BAB83-5DE5-41DC-A15A-C5832593B0C3}"/>
              </a:ext>
            </a:extLst>
          </p:cNvPr>
          <p:cNvCxnSpPr>
            <a:cxnSpLocks/>
          </p:cNvCxnSpPr>
          <p:nvPr/>
        </p:nvCxnSpPr>
        <p:spPr>
          <a:xfrm>
            <a:off x="1019175" y="4195763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5AD9B7CB-4165-4687-A549-69A330CD087C}"/>
              </a:ext>
            </a:extLst>
          </p:cNvPr>
          <p:cNvCxnSpPr>
            <a:cxnSpLocks/>
          </p:cNvCxnSpPr>
          <p:nvPr/>
        </p:nvCxnSpPr>
        <p:spPr>
          <a:xfrm>
            <a:off x="1019175" y="4584700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1E23088A-E16F-418A-B825-86E9A172CD54}"/>
              </a:ext>
            </a:extLst>
          </p:cNvPr>
          <p:cNvCxnSpPr>
            <a:cxnSpLocks/>
          </p:cNvCxnSpPr>
          <p:nvPr/>
        </p:nvCxnSpPr>
        <p:spPr>
          <a:xfrm>
            <a:off x="1019175" y="5362575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C6185B96-DAF4-4C31-B4AD-6C8E30B8C97D}"/>
              </a:ext>
            </a:extLst>
          </p:cNvPr>
          <p:cNvSpPr/>
          <p:nvPr/>
        </p:nvSpPr>
        <p:spPr>
          <a:xfrm>
            <a:off x="1020763" y="3463925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ight-duty transpor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3BBD1D3-5342-463D-8596-C5C199D7BCFE}"/>
              </a:ext>
            </a:extLst>
          </p:cNvPr>
          <p:cNvSpPr/>
          <p:nvPr/>
        </p:nvSpPr>
        <p:spPr>
          <a:xfrm>
            <a:off x="1020763" y="3852863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-duty transpor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501FA8-510E-4EA8-AB02-3087174E703C}"/>
              </a:ext>
            </a:extLst>
          </p:cNvPr>
          <p:cNvSpPr/>
          <p:nvPr/>
        </p:nvSpPr>
        <p:spPr>
          <a:xfrm>
            <a:off x="1020763" y="4241800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51B27DC-424C-4143-8627-C87753C1DA0A}"/>
              </a:ext>
            </a:extLst>
          </p:cNvPr>
          <p:cNvSpPr/>
          <p:nvPr/>
        </p:nvSpPr>
        <p:spPr>
          <a:xfrm>
            <a:off x="1020763" y="4630738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iation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4D83A0A-6614-470D-B892-DD8730473748}"/>
              </a:ext>
            </a:extLst>
          </p:cNvPr>
          <p:cNvSpPr/>
          <p:nvPr/>
        </p:nvSpPr>
        <p:spPr>
          <a:xfrm>
            <a:off x="1020763" y="3074988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ther industries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35D46D8-D76E-4369-8EBD-8FF8656B52D0}"/>
              </a:ext>
            </a:extLst>
          </p:cNvPr>
          <p:cNvSpPr/>
          <p:nvPr/>
        </p:nvSpPr>
        <p:spPr>
          <a:xfrm>
            <a:off x="1020763" y="5019675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uilding heating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F06C0F2-AD76-45DE-83D1-0961103FEF3B}"/>
              </a:ext>
            </a:extLst>
          </p:cNvPr>
          <p:cNvSpPr/>
          <p:nvPr/>
        </p:nvSpPr>
        <p:spPr>
          <a:xfrm>
            <a:off x="1020763" y="1519238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eme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B2F36C1-BCA5-44D4-BA6F-3988820A604E}"/>
              </a:ext>
            </a:extLst>
          </p:cNvPr>
          <p:cNvSpPr/>
          <p:nvPr/>
        </p:nvSpPr>
        <p:spPr>
          <a:xfrm>
            <a:off x="1020763" y="1908175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teel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8318E34-19D5-4F1F-B57C-F5CFD748BADB}"/>
              </a:ext>
            </a:extLst>
          </p:cNvPr>
          <p:cNvSpPr/>
          <p:nvPr/>
        </p:nvSpPr>
        <p:spPr>
          <a:xfrm>
            <a:off x="1020763" y="2686050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micals –  feedstock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F1436A0-9CBA-468E-8523-4794DE1DEEC7}"/>
              </a:ext>
            </a:extLst>
          </p:cNvPr>
          <p:cNvSpPr/>
          <p:nvPr/>
        </p:nvSpPr>
        <p:spPr>
          <a:xfrm>
            <a:off x="1020763" y="5797550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ther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8F992FD9-F185-474F-96BF-2DB8A72FD355}"/>
              </a:ext>
            </a:extLst>
          </p:cNvPr>
          <p:cNvSpPr/>
          <p:nvPr/>
        </p:nvSpPr>
        <p:spPr>
          <a:xfrm>
            <a:off x="1020763" y="2297113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micals –  energy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68132BFC-D10D-4552-9845-054653D93903}"/>
              </a:ext>
            </a:extLst>
          </p:cNvPr>
          <p:cNvSpPr/>
          <p:nvPr/>
        </p:nvSpPr>
        <p:spPr>
          <a:xfrm>
            <a:off x="1020763" y="5408613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griculture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C6E52A13-997F-402A-A983-9EE2DAF5D21C}"/>
              </a:ext>
            </a:extLst>
          </p:cNvPr>
          <p:cNvCxnSpPr>
            <a:cxnSpLocks/>
          </p:cNvCxnSpPr>
          <p:nvPr/>
        </p:nvCxnSpPr>
        <p:spPr>
          <a:xfrm>
            <a:off x="1019175" y="6140450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E4EE9389-84CE-458E-9031-D785B5096199}"/>
              </a:ext>
            </a:extLst>
          </p:cNvPr>
          <p:cNvSpPr/>
          <p:nvPr/>
        </p:nvSpPr>
        <p:spPr>
          <a:xfrm>
            <a:off x="1020763" y="6186488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tal</a:t>
            </a:r>
          </a:p>
        </p:txBody>
      </p:sp>
      <p:sp>
        <p:nvSpPr>
          <p:cNvPr id="102" name="AutoShape 250">
            <a:extLst>
              <a:ext uri="{FF2B5EF4-FFF2-40B4-BE49-F238E27FC236}">
                <a16:creationId xmlns:a16="http://schemas.microsoft.com/office/drawing/2014/main" id="{DBD8410B-6CF5-4A19-95DC-61479201C0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4912" y="933902"/>
            <a:ext cx="6765925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oenergy input demand in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 net-zero-CO</a:t>
            </a:r>
            <a:r>
              <a:rPr kumimoji="0" lang="en-GB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emissions econom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J/year, ETC supply-side decarbonization pathway</a:t>
            </a:r>
          </a:p>
        </p:txBody>
      </p:sp>
      <p:cxnSp>
        <p:nvCxnSpPr>
          <p:cNvPr id="104" name="AutoShape 249">
            <a:extLst>
              <a:ext uri="{FF2B5EF4-FFF2-40B4-BE49-F238E27FC236}">
                <a16:creationId xmlns:a16="http://schemas.microsoft.com/office/drawing/2014/main" id="{F078663D-080F-4094-A614-65A7E35B874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711575" y="1401716"/>
            <a:ext cx="6765925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5. Source">
            <a:extLst>
              <a:ext uri="{FF2B5EF4-FFF2-40B4-BE49-F238E27FC236}">
                <a16:creationId xmlns:a16="http://schemas.microsoft.com/office/drawing/2014/main" id="{0522D709-0292-41A9-B770-CD6DDBE3B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SYSTEMIQ analysis for th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ransitions Commission analysis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343528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>
            <a:extLst>
              <a:ext uri="{FF2B5EF4-FFF2-40B4-BE49-F238E27FC236}">
                <a16:creationId xmlns:a16="http://schemas.microsoft.com/office/drawing/2014/main" id="{BDE2CB06-524D-4588-A765-2208F44F30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3" name="think-cell Slide" r:id="rId45" imgW="395" imgH="394" progId="TCLayout.ActiveDocument.1">
                  <p:embed/>
                </p:oleObj>
              </mc:Choice>
              <mc:Fallback>
                <p:oleObj name="think-cell Slide" r:id="rId45" imgW="395" imgH="394" progId="TCLayout.ActiveDocument.1">
                  <p:embed/>
                  <p:pic>
                    <p:nvPicPr>
                      <p:cNvPr id="67" name="Object 66" hidden="1">
                        <a:extLst>
                          <a:ext uri="{FF2B5EF4-FFF2-40B4-BE49-F238E27FC236}">
                            <a16:creationId xmlns:a16="http://schemas.microsoft.com/office/drawing/2014/main" id="{BDE2CB06-524D-4588-A765-2208F44F3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107274D8-84D2-4804-B902-2DE7461C886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0152F2-0A8B-4FBF-B6B3-CFF95F128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271611"/>
            <a:ext cx="10058751" cy="314060"/>
          </a:xfrm>
        </p:spPr>
        <p:txBody>
          <a:bodyPr/>
          <a:lstStyle/>
          <a:p>
            <a:r>
              <a:rPr lang="en-US" dirty="0"/>
              <a:t>Up to 8Gt of CO</a:t>
            </a:r>
            <a:r>
              <a:rPr lang="en-US" baseline="-25000" dirty="0"/>
              <a:t>2</a:t>
            </a:r>
            <a:r>
              <a:rPr lang="en-US" dirty="0"/>
              <a:t> capture per annum may be required in 2050 </a:t>
            </a:r>
            <a:endParaRPr lang="en-GB" dirty="0"/>
          </a:p>
        </p:txBody>
      </p:sp>
      <p:sp>
        <p:nvSpPr>
          <p:cNvPr id="275" name="Isosceles Triangle 274">
            <a:extLst>
              <a:ext uri="{FF2B5EF4-FFF2-40B4-BE49-F238E27FC236}">
                <a16:creationId xmlns:a16="http://schemas.microsoft.com/office/drawing/2014/main" id="{51E240ED-FCD8-4F16-9991-C522D302258D}"/>
              </a:ext>
            </a:extLst>
          </p:cNvPr>
          <p:cNvSpPr/>
          <p:nvPr/>
        </p:nvSpPr>
        <p:spPr>
          <a:xfrm rot="5400000">
            <a:off x="5608638" y="3772175"/>
            <a:ext cx="4737101" cy="403227"/>
          </a:xfrm>
          <a:prstGeom prst="triangle">
            <a:avLst/>
          </a:prstGeom>
          <a:solidFill>
            <a:srgbClr val="C9D4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F4BC1D5B-20FE-4D57-AC8F-B24CE48FF39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401300" y="4462463"/>
            <a:ext cx="5334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>
            <a:extLst>
              <a:ext uri="{FF2B5EF4-FFF2-40B4-BE49-F238E27FC236}">
                <a16:creationId xmlns:a16="http://schemas.microsoft.com/office/drawing/2014/main" id="{A8092360-335D-4AB5-B7DD-DE9AB0BD037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202738" y="2170113"/>
            <a:ext cx="5318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3" name="Chart 152">
            <a:extLst>
              <a:ext uri="{FF2B5EF4-FFF2-40B4-BE49-F238E27FC236}">
                <a16:creationId xmlns:a16="http://schemas.microsoft.com/office/drawing/2014/main" id="{E6B4E585-C3F0-4D8C-A428-C20E4851D25A}"/>
              </a:ext>
            </a:extLst>
          </p:cNvPr>
          <p:cNvGraphicFramePr/>
          <p:nvPr>
            <p:custDataLst>
              <p:tags r:id="rId6"/>
            </p:custDataLst>
            <p:extLst/>
          </p:nvPr>
        </p:nvGraphicFramePr>
        <p:xfrm>
          <a:off x="8186738" y="1909763"/>
          <a:ext cx="3763962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276" name="Rectangle 275">
            <a:extLst>
              <a:ext uri="{FF2B5EF4-FFF2-40B4-BE49-F238E27FC236}">
                <a16:creationId xmlns:a16="http://schemas.microsoft.com/office/drawing/2014/main" id="{8C73001B-B615-4EBB-B5D8-4418A521CF81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8472488" y="5086350"/>
            <a:ext cx="79375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Total 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emission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93CE28F0-2A1E-4C62-9215-E4C600053340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9490075" y="5086350"/>
            <a:ext cx="1157288" cy="106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Emissions captured through CCS (80% capture efficiency)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BFFC9830-3BCE-4AD8-B6C7-D7AFE355520A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0871200" y="5086350"/>
            <a:ext cx="79375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Residual emission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73" name="AutoShape 250">
            <a:extLst>
              <a:ext uri="{FF2B5EF4-FFF2-40B4-BE49-F238E27FC236}">
                <a16:creationId xmlns:a16="http://schemas.microsoft.com/office/drawing/2014/main" id="{B8DCF691-DC06-49B5-9ECD-4AB330AF32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40077" y="990483"/>
            <a:ext cx="6765925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</a:t>
            </a:r>
            <a:r>
              <a: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emissions in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 net-zero-CO</a:t>
            </a:r>
            <a:r>
              <a:rPr kumimoji="0" lang="en-GB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emissions econom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tCO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/year, ETC supply-side decarbonization pathway</a:t>
            </a:r>
          </a:p>
        </p:txBody>
      </p: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EC5BE611-4BB3-40CE-94C4-814D940AC8F6}"/>
              </a:ext>
            </a:extLst>
          </p:cNvPr>
          <p:cNvGrpSpPr/>
          <p:nvPr/>
        </p:nvGrpSpPr>
        <p:grpSpPr>
          <a:xfrm>
            <a:off x="179695" y="1519238"/>
            <a:ext cx="7105756" cy="4737100"/>
            <a:chOff x="201032" y="1519238"/>
            <a:chExt cx="7003047" cy="4965700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7447F5F-0422-4653-ABEF-9937B65CB7DA}"/>
                </a:ext>
              </a:extLst>
            </p:cNvPr>
            <p:cNvGrpSpPr/>
            <p:nvPr/>
          </p:nvGrpSpPr>
          <p:grpSpPr>
            <a:xfrm>
              <a:off x="201032" y="1863725"/>
              <a:ext cx="4866968" cy="777875"/>
              <a:chOff x="201032" y="1863725"/>
              <a:chExt cx="5256000" cy="777875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B14879B1-3F52-42B4-B30C-FE07F5812C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32" y="2252663"/>
                <a:ext cx="5256000" cy="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F280FFC-8AAC-492A-9B69-B368E34465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32" y="1863725"/>
                <a:ext cx="5256000" cy="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74133B09-D8E4-42D2-BBB5-83346463DF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32" y="2641600"/>
                <a:ext cx="5256000" cy="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5DF7F57-E4CE-499B-A841-A82954E8B462}"/>
                </a:ext>
              </a:extLst>
            </p:cNvPr>
            <p:cNvGrpSpPr/>
            <p:nvPr/>
          </p:nvGrpSpPr>
          <p:grpSpPr>
            <a:xfrm>
              <a:off x="201032" y="3030538"/>
              <a:ext cx="7003047" cy="3109912"/>
              <a:chOff x="201032" y="3030538"/>
              <a:chExt cx="7812000" cy="3109912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FCFE4DBA-A2A7-44C6-9CBF-B3136D9742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32" y="3030538"/>
                <a:ext cx="7812000" cy="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7C7FC6D-78E4-4E39-B8FF-EFD3970D21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32" y="3419475"/>
                <a:ext cx="7812000" cy="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2AD8B31-F01D-451D-9E66-03C34AD324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32" y="4973638"/>
                <a:ext cx="7812000" cy="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5085169E-2B88-4E2B-8681-6E9C1A9DB02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32" y="5751513"/>
                <a:ext cx="7812000" cy="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50522EE1-CA9D-49F1-95C6-38698EA60D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32" y="3808413"/>
                <a:ext cx="7812000" cy="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1C5281A7-6409-41C2-BBF0-4E351294994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32" y="4195763"/>
                <a:ext cx="7812000" cy="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83969ADF-21C5-491E-8AC2-39E796A4B5E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32" y="4584700"/>
                <a:ext cx="7812000" cy="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FCCF29E-259D-4221-8389-352BD2B5A7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32" y="5362575"/>
                <a:ext cx="7812000" cy="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7C072812-FCA7-4D26-9B91-FDEAB698BD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032" y="6140450"/>
                <a:ext cx="7812000" cy="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3F83DCF-B6BD-4846-9C51-B06DE956D954}"/>
                </a:ext>
              </a:extLst>
            </p:cNvPr>
            <p:cNvGrpSpPr/>
            <p:nvPr/>
          </p:nvGrpSpPr>
          <p:grpSpPr>
            <a:xfrm>
              <a:off x="209717" y="1519238"/>
              <a:ext cx="2014173" cy="4965700"/>
              <a:chOff x="202620" y="1519238"/>
              <a:chExt cx="2576513" cy="4965700"/>
            </a:xfrm>
          </p:grpSpPr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AE4664CF-4F67-4943-99DE-146311D39DE9}"/>
                  </a:ext>
                </a:extLst>
              </p:cNvPr>
              <p:cNvSpPr/>
              <p:nvPr/>
            </p:nvSpPr>
            <p:spPr>
              <a:xfrm>
                <a:off x="202620" y="3463925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Light-duty transport</a:t>
                </a: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7F217DF0-2A9E-40F1-B100-CEE4D99DB395}"/>
                  </a:ext>
                </a:extLst>
              </p:cNvPr>
              <p:cNvSpPr/>
              <p:nvPr/>
            </p:nvSpPr>
            <p:spPr>
              <a:xfrm>
                <a:off x="202620" y="3852863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Heavy-duty transport</a:t>
                </a: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B60DCD8D-E4CD-4791-9880-9692305533D6}"/>
                  </a:ext>
                </a:extLst>
              </p:cNvPr>
              <p:cNvSpPr/>
              <p:nvPr/>
            </p:nvSpPr>
            <p:spPr>
              <a:xfrm>
                <a:off x="202620" y="4241800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Shipping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27308B79-FA81-4EA0-9651-C5187C891272}"/>
                  </a:ext>
                </a:extLst>
              </p:cNvPr>
              <p:cNvSpPr/>
              <p:nvPr/>
            </p:nvSpPr>
            <p:spPr>
              <a:xfrm>
                <a:off x="202620" y="4630738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Aviation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D568A1B6-FE94-46DE-BD5D-AFD241C3E6EC}"/>
                  </a:ext>
                </a:extLst>
              </p:cNvPr>
              <p:cNvSpPr/>
              <p:nvPr/>
            </p:nvSpPr>
            <p:spPr>
              <a:xfrm>
                <a:off x="202620" y="3074988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Other industries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23DA42B-5E4F-4163-A420-32C6EA68FE6E}"/>
                  </a:ext>
                </a:extLst>
              </p:cNvPr>
              <p:cNvSpPr/>
              <p:nvPr/>
            </p:nvSpPr>
            <p:spPr>
              <a:xfrm>
                <a:off x="202620" y="5019675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Building heating</a:t>
                </a: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62937968-CF4A-471A-8712-AACC51FDD39F}"/>
                  </a:ext>
                </a:extLst>
              </p:cNvPr>
              <p:cNvSpPr/>
              <p:nvPr/>
            </p:nvSpPr>
            <p:spPr>
              <a:xfrm>
                <a:off x="202620" y="1519238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Cement</a:t>
                </a:r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A9D3EADD-E534-4F8D-A385-AE4A0AD71CA0}"/>
                  </a:ext>
                </a:extLst>
              </p:cNvPr>
              <p:cNvSpPr/>
              <p:nvPr/>
            </p:nvSpPr>
            <p:spPr>
              <a:xfrm>
                <a:off x="202620" y="1908175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Steel</a:t>
                </a:r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4F6E910E-BFDE-4536-AC3D-CB6857E629E9}"/>
                  </a:ext>
                </a:extLst>
              </p:cNvPr>
              <p:cNvSpPr/>
              <p:nvPr/>
            </p:nvSpPr>
            <p:spPr>
              <a:xfrm>
                <a:off x="202620" y="2686050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Chemicals – feedstock</a:t>
                </a: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B5C6156E-2318-4FBB-8D81-C9A00828FB28}"/>
                  </a:ext>
                </a:extLst>
              </p:cNvPr>
              <p:cNvSpPr/>
              <p:nvPr/>
            </p:nvSpPr>
            <p:spPr>
              <a:xfrm>
                <a:off x="202620" y="5797550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Other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D0FAB1A5-75E3-4E7D-8FB6-09E3E0BD5B7F}"/>
                  </a:ext>
                </a:extLst>
              </p:cNvPr>
              <p:cNvSpPr/>
              <p:nvPr/>
            </p:nvSpPr>
            <p:spPr>
              <a:xfrm>
                <a:off x="202620" y="2297113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Chemicals –  energy</a:t>
                </a: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7A9CCF5F-898F-4504-A40F-80A32D52D20A}"/>
                  </a:ext>
                </a:extLst>
              </p:cNvPr>
              <p:cNvSpPr/>
              <p:nvPr/>
            </p:nvSpPr>
            <p:spPr>
              <a:xfrm>
                <a:off x="202620" y="5408613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Agriculture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5F757669-A4F2-4866-AB03-FD012A11FB10}"/>
                  </a:ext>
                </a:extLst>
              </p:cNvPr>
              <p:cNvSpPr/>
              <p:nvPr/>
            </p:nvSpPr>
            <p:spPr>
              <a:xfrm>
                <a:off x="202620" y="6186488"/>
                <a:ext cx="2576513" cy="29845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Total</a:t>
                </a:r>
              </a:p>
            </p:txBody>
          </p:sp>
        </p:grpSp>
      </p:grpSp>
      <p:cxnSp>
        <p:nvCxnSpPr>
          <p:cNvPr id="100" name="AutoShape 249">
            <a:extLst>
              <a:ext uri="{FF2B5EF4-FFF2-40B4-BE49-F238E27FC236}">
                <a16:creationId xmlns:a16="http://schemas.microsoft.com/office/drawing/2014/main" id="{52E65F34-B12E-4EDE-A677-8AB87B7531E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340077" y="1439837"/>
            <a:ext cx="9324873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1" name="5. Source">
            <a:extLst>
              <a:ext uri="{FF2B5EF4-FFF2-40B4-BE49-F238E27FC236}">
                <a16:creationId xmlns:a16="http://schemas.microsoft.com/office/drawing/2014/main" id="{4E3AEA33-D5E9-441A-9321-2D963BDBDB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369251"/>
            <a:ext cx="11778784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The ETC supply-side decarbonization pathway accounts for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arbon capture on end-of-life incineration of plastic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SYSTEMIQ analysis for th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ransitions Commission analysis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FC117076-90A0-4101-996E-30BAE1C9903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5546725" y="3622676"/>
            <a:ext cx="0" cy="1635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68ED012-94CA-4E95-A9F1-FC237D36B10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3097213" y="1781176"/>
            <a:ext cx="0" cy="1635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4F97681C-9AB1-450A-8875-93FB5D8A12C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794500" y="5832476"/>
            <a:ext cx="0" cy="163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53F10F4-3E03-46AC-AED9-0F0294B9AC1F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3776663" y="2149476"/>
            <a:ext cx="0" cy="1635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B8221B5E-4C5A-4C80-9059-4383EC224F1C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4418013" y="2517776"/>
            <a:ext cx="0" cy="1635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E8A7204-0867-48F0-939C-3647AB9FEA2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5697538" y="3990976"/>
            <a:ext cx="0" cy="1635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2F97A6D8-CF60-429E-84C2-D5B749C9847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5240338" y="2886076"/>
            <a:ext cx="0" cy="1635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EC9814E2-D267-4C5A-9878-92866ABFA4E3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5378450" y="3254376"/>
            <a:ext cx="0" cy="1635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A681DDC8-AC08-4375-AC1F-D99BC4C1E40E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6002338" y="4359276"/>
            <a:ext cx="0" cy="1635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C0BAB51D-23E4-450C-910F-D52AD4A67C64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6073775" y="4727576"/>
            <a:ext cx="0" cy="1635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79177464-AD66-4EC6-9B00-28D08346F7B6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6440488" y="5095876"/>
            <a:ext cx="0" cy="1635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845D5AD5-475B-44AA-AB38-21F9AC73B20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6469063" y="5464176"/>
            <a:ext cx="0" cy="163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7" name="Chart 186">
            <a:extLst>
              <a:ext uri="{FF2B5EF4-FFF2-40B4-BE49-F238E27FC236}">
                <a16:creationId xmlns:a16="http://schemas.microsoft.com/office/drawing/2014/main" id="{143471AD-DD77-4FC1-880A-F598908A9073}"/>
              </a:ext>
            </a:extLst>
          </p:cNvPr>
          <p:cNvGraphicFramePr/>
          <p:nvPr>
            <p:custDataLst>
              <p:tags r:id="rId22"/>
            </p:custDataLst>
            <p:extLst/>
          </p:nvPr>
        </p:nvGraphicFramePr>
        <p:xfrm>
          <a:off x="2257425" y="1412875"/>
          <a:ext cx="4619625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30" name="Rectangle 129">
            <a:extLst>
              <a:ext uri="{FF2B5EF4-FFF2-40B4-BE49-F238E27FC236}">
                <a16:creationId xmlns:a16="http://schemas.microsoft.com/office/drawing/2014/main" id="{A896AB34-C147-4212-80EC-60303774F5FD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5722938" y="37814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0DECA9E-9022-4EFC-88D7-984FF1C24E9A}" type="datetime'''''''0''''''.''''3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6C15ED85-038D-48EC-B5C7-37CAD513088B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819900" y="5991225"/>
            <a:ext cx="3952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DFB75DC-E71B-493F-9E14-BDFB0A079326}" type="datetime'''''''''''''''''1''0''.1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.1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C950588D-A54F-43E7-8C05-5AEE47BDB3FB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6819900" y="56229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411D2B1-4452-4160-9120-59AE11C7CE00}" type="datetime'''''''0''''''''.''''''''7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7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E5184F7-4A3A-483F-AFBB-21BCDC1CC780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3802063" y="19399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17DE213-5108-4E68-BE3F-01CCB058DC04}" type="datetime'1''''''''.''''''5''''''''''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49DC077-F102-4980-8813-66324FAB65BD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3122613" y="15716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D38EA95-64BC-4BB1-8C24-7A7D95A7D749}" type="datetime'''''''''''''1''''''''''.''''''''''''''''''''''''''7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7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0EFE276-8EDE-4097-9006-9CE9A01E9EDE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4443413" y="23082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A580A75-F821-4FF1-A6CA-B517AC51F1EC}" type="datetime'''''''''''''''''''''''''1''''''''''''''''''''.''''4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4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28F3573F-A449-4A20-A8DC-5EF8EE67C645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5265738" y="26765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383C575-B974-4249-BC38-9EAA74C63E2B}" type="datetime'''''''1''''''''.''''''''''''''''''9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9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F7E198DB-265F-4B5D-A356-0C45D8672FE4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5403850" y="30448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75E912E-D9F5-40E6-9E49-6F48319A1D88}" type="datetime'''''0.3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BC99117E-9E37-4797-BA6B-743406FCCA31}"/>
              </a:ext>
            </a:extLst>
          </p:cNvPr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6099175" y="45180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7AAB244-A5D1-4AE9-B6E3-6E6D336BEDAC}" type="datetime'''''''''''''''''''''''''''''0''''.''''''''''''''''2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2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12F3642-F493-4B2F-944D-0FA66782076D}"/>
              </a:ext>
            </a:extLst>
          </p:cNvPr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5572125" y="34131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513475F-59EF-422F-917D-6A8C9F8AC85A}" type="datetime'''''0''''''''.''''''''''4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4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6D00D5F0-5461-46D1-8CC8-6C098301DABC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6027738" y="41497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EFD1CC6-9D23-40A7-A5C3-0BEE22C02718}" type="datetime'0''''''''''''''.7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7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61D7A388-0C49-4F8C-AB9A-7FEFEC412229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6465888" y="48863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04B7849-A79B-480A-B7E7-AC8E894D6E93}" type="datetime'''''0''''''''''''.''''''''''''''''''''''''''8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8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66146B5B-827B-4236-8C62-734CEFFF035B}"/>
              </a:ext>
            </a:extLst>
          </p:cNvPr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6494463" y="52546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2A9A368-4514-4326-8D56-81C07DA30F0E}" type="datetime'''''''''0.''1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1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654B4B99-AE9F-4B44-806F-CC19FDFF46B6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5530850" y="1681163"/>
            <a:ext cx="250825" cy="187325"/>
          </a:xfrm>
          <a:prstGeom prst="rect">
            <a:avLst/>
          </a:prstGeom>
          <a:solidFill>
            <a:srgbClr val="D6D7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41C49C1C-5A57-466C-A21C-5F5DC10E3307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5530850" y="1944688"/>
            <a:ext cx="250825" cy="187325"/>
          </a:xfrm>
          <a:prstGeom prst="rect">
            <a:avLst/>
          </a:prstGeom>
          <a:solidFill>
            <a:srgbClr val="969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4C50F8AC-5111-412C-A789-CC31C3FF8D27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5530850" y="2208213"/>
            <a:ext cx="250825" cy="187325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2255278B-776E-44DE-9B5D-241F544F8A0B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5530850" y="2471738"/>
            <a:ext cx="250825" cy="187325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11773EC1-32E3-4415-A7BC-B35E4E610843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5832475" y="1676400"/>
            <a:ext cx="992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5B004D8-5625-4439-816E-9FAB36361CF0}" type="datetime'''Natu''''''''''''r''''''''''''''al'''' ''''''gas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Natural gas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D441003E-84AF-41F3-9759-E74C4F9AB2EB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5832474" y="2466975"/>
            <a:ext cx="6413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9C073D5-D9FC-46A0-ACD6-C45AECAB99CE}" type="datetime'''''P''''''''r''oc''''''''''e''''''s''''''''''''''s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rocess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8A5F3AF3-5195-481A-84F3-B74BF9D76EF1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5832475" y="2203450"/>
            <a:ext cx="417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302BE70-2734-4F7D-9515-3B6F967176E6}" type="datetime'''''''''''''''''''''''''C''''''''o''''''al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oal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D369971D-487C-4982-8327-0261837616D2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5832475" y="1939925"/>
            <a:ext cx="2730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6D35E91-1F91-407A-896F-EE96C8F5A340}" type="datetime'''''''O''''''''i''''''''''l'''''' 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il 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8711887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9" name="Object 928" hidden="1">
            <a:extLst>
              <a:ext uri="{FF2B5EF4-FFF2-40B4-BE49-F238E27FC236}">
                <a16:creationId xmlns:a16="http://schemas.microsoft.com/office/drawing/2014/main" id="{12590A54-6C06-4747-914A-8613D724FC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7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929" name="Object 928" hidden="1">
                        <a:extLst>
                          <a:ext uri="{FF2B5EF4-FFF2-40B4-BE49-F238E27FC236}">
                            <a16:creationId xmlns:a16="http://schemas.microsoft.com/office/drawing/2014/main" id="{12590A54-6C06-4747-914A-8613D724F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8" name="Rectangle 927" hidden="1">
            <a:extLst>
              <a:ext uri="{FF2B5EF4-FFF2-40B4-BE49-F238E27FC236}">
                <a16:creationId xmlns:a16="http://schemas.microsoft.com/office/drawing/2014/main" id="{A8D4C950-D12A-44D2-B174-E53A42A307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770600-BD7E-48C5-BC87-74E51E5C2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694" y="112632"/>
            <a:ext cx="10659357" cy="6281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vailability of CO</a:t>
            </a:r>
            <a:r>
              <a:rPr lang="en-US" baseline="-25000" dirty="0"/>
              <a:t>2</a:t>
            </a:r>
            <a:r>
              <a:rPr lang="en-US" dirty="0"/>
              <a:t> underground storage resources is still uncertain in some regions, but appears to differ significantly across the glob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9FA1A1-8046-480E-BB27-0D21F57F53D9}"/>
              </a:ext>
            </a:extLst>
          </p:cNvPr>
          <p:cNvCxnSpPr>
            <a:cxnSpLocks/>
          </p:cNvCxnSpPr>
          <p:nvPr/>
        </p:nvCxnSpPr>
        <p:spPr>
          <a:xfrm>
            <a:off x="9108601" y="1812478"/>
            <a:ext cx="0" cy="3945927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23D454E-F9CE-4819-802D-62D0C674535E}"/>
              </a:ext>
            </a:extLst>
          </p:cNvPr>
          <p:cNvCxnSpPr>
            <a:cxnSpLocks/>
          </p:cNvCxnSpPr>
          <p:nvPr/>
        </p:nvCxnSpPr>
        <p:spPr>
          <a:xfrm>
            <a:off x="15868631" y="4502893"/>
            <a:ext cx="0" cy="540796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 391">
            <a:extLst>
              <a:ext uri="{FF2B5EF4-FFF2-40B4-BE49-F238E27FC236}">
                <a16:creationId xmlns:a16="http://schemas.microsoft.com/office/drawing/2014/main" id="{96DB4F65-60C8-4C25-9502-520995B9209C}"/>
              </a:ext>
            </a:extLst>
          </p:cNvPr>
          <p:cNvSpPr>
            <a:spLocks/>
          </p:cNvSpPr>
          <p:nvPr/>
        </p:nvSpPr>
        <p:spPr bwMode="gray">
          <a:xfrm>
            <a:off x="4985049" y="1464472"/>
            <a:ext cx="3227762" cy="1125461"/>
          </a:xfrm>
          <a:custGeom>
            <a:avLst/>
            <a:gdLst>
              <a:gd name="T0" fmla="*/ 1455 w 1687"/>
              <a:gd name="T1" fmla="*/ 112 h 520"/>
              <a:gd name="T2" fmla="*/ 1318 w 1687"/>
              <a:gd name="T3" fmla="*/ 87 h 520"/>
              <a:gd name="T4" fmla="*/ 1191 w 1687"/>
              <a:gd name="T5" fmla="*/ 73 h 520"/>
              <a:gd name="T6" fmla="*/ 1095 w 1687"/>
              <a:gd name="T7" fmla="*/ 62 h 520"/>
              <a:gd name="T8" fmla="*/ 1060 w 1687"/>
              <a:gd name="T9" fmla="*/ 74 h 520"/>
              <a:gd name="T10" fmla="*/ 960 w 1687"/>
              <a:gd name="T11" fmla="*/ 66 h 520"/>
              <a:gd name="T12" fmla="*/ 799 w 1687"/>
              <a:gd name="T13" fmla="*/ 45 h 520"/>
              <a:gd name="T14" fmla="*/ 782 w 1687"/>
              <a:gd name="T15" fmla="*/ 26 h 520"/>
              <a:gd name="T16" fmla="*/ 697 w 1687"/>
              <a:gd name="T17" fmla="*/ 13 h 520"/>
              <a:gd name="T18" fmla="*/ 630 w 1687"/>
              <a:gd name="T19" fmla="*/ 15 h 520"/>
              <a:gd name="T20" fmla="*/ 536 w 1687"/>
              <a:gd name="T21" fmla="*/ 36 h 520"/>
              <a:gd name="T22" fmla="*/ 506 w 1687"/>
              <a:gd name="T23" fmla="*/ 66 h 520"/>
              <a:gd name="T24" fmla="*/ 535 w 1687"/>
              <a:gd name="T25" fmla="*/ 74 h 520"/>
              <a:gd name="T26" fmla="*/ 458 w 1687"/>
              <a:gd name="T27" fmla="*/ 76 h 520"/>
              <a:gd name="T28" fmla="*/ 492 w 1687"/>
              <a:gd name="T29" fmla="*/ 108 h 520"/>
              <a:gd name="T30" fmla="*/ 486 w 1687"/>
              <a:gd name="T31" fmla="*/ 128 h 520"/>
              <a:gd name="T32" fmla="*/ 458 w 1687"/>
              <a:gd name="T33" fmla="*/ 138 h 520"/>
              <a:gd name="T34" fmla="*/ 384 w 1687"/>
              <a:gd name="T35" fmla="*/ 60 h 520"/>
              <a:gd name="T36" fmla="*/ 417 w 1687"/>
              <a:gd name="T37" fmla="*/ 111 h 520"/>
              <a:gd name="T38" fmla="*/ 322 w 1687"/>
              <a:gd name="T39" fmla="*/ 118 h 520"/>
              <a:gd name="T40" fmla="*/ 266 w 1687"/>
              <a:gd name="T41" fmla="*/ 110 h 520"/>
              <a:gd name="T42" fmla="*/ 174 w 1687"/>
              <a:gd name="T43" fmla="*/ 130 h 520"/>
              <a:gd name="T44" fmla="*/ 162 w 1687"/>
              <a:gd name="T45" fmla="*/ 145 h 520"/>
              <a:gd name="T46" fmla="*/ 117 w 1687"/>
              <a:gd name="T47" fmla="*/ 180 h 520"/>
              <a:gd name="T48" fmla="*/ 49 w 1687"/>
              <a:gd name="T49" fmla="*/ 138 h 520"/>
              <a:gd name="T50" fmla="*/ 43 w 1687"/>
              <a:gd name="T51" fmla="*/ 109 h 520"/>
              <a:gd name="T52" fmla="*/ 12 w 1687"/>
              <a:gd name="T53" fmla="*/ 103 h 520"/>
              <a:gd name="T54" fmla="*/ 36 w 1687"/>
              <a:gd name="T55" fmla="*/ 180 h 520"/>
              <a:gd name="T56" fmla="*/ 25 w 1687"/>
              <a:gd name="T57" fmla="*/ 231 h 520"/>
              <a:gd name="T58" fmla="*/ 52 w 1687"/>
              <a:gd name="T59" fmla="*/ 301 h 520"/>
              <a:gd name="T60" fmla="*/ 136 w 1687"/>
              <a:gd name="T61" fmla="*/ 372 h 520"/>
              <a:gd name="T62" fmla="*/ 186 w 1687"/>
              <a:gd name="T63" fmla="*/ 440 h 520"/>
              <a:gd name="T64" fmla="*/ 187 w 1687"/>
              <a:gd name="T65" fmla="*/ 475 h 520"/>
              <a:gd name="T66" fmla="*/ 334 w 1687"/>
              <a:gd name="T67" fmla="*/ 520 h 520"/>
              <a:gd name="T68" fmla="*/ 325 w 1687"/>
              <a:gd name="T69" fmla="*/ 447 h 520"/>
              <a:gd name="T70" fmla="*/ 314 w 1687"/>
              <a:gd name="T71" fmla="*/ 363 h 520"/>
              <a:gd name="T72" fmla="*/ 432 w 1687"/>
              <a:gd name="T73" fmla="*/ 354 h 520"/>
              <a:gd name="T74" fmla="*/ 525 w 1687"/>
              <a:gd name="T75" fmla="*/ 307 h 520"/>
              <a:gd name="T76" fmla="*/ 620 w 1687"/>
              <a:gd name="T77" fmla="*/ 328 h 520"/>
              <a:gd name="T78" fmla="*/ 751 w 1687"/>
              <a:gd name="T79" fmla="*/ 392 h 520"/>
              <a:gd name="T80" fmla="*/ 864 w 1687"/>
              <a:gd name="T81" fmla="*/ 386 h 520"/>
              <a:gd name="T82" fmla="*/ 974 w 1687"/>
              <a:gd name="T83" fmla="*/ 386 h 520"/>
              <a:gd name="T84" fmla="*/ 1131 w 1687"/>
              <a:gd name="T85" fmla="*/ 391 h 520"/>
              <a:gd name="T86" fmla="*/ 1176 w 1687"/>
              <a:gd name="T87" fmla="*/ 337 h 520"/>
              <a:gd name="T88" fmla="*/ 1326 w 1687"/>
              <a:gd name="T89" fmla="*/ 408 h 520"/>
              <a:gd name="T90" fmla="*/ 1382 w 1687"/>
              <a:gd name="T91" fmla="*/ 487 h 520"/>
              <a:gd name="T92" fmla="*/ 1407 w 1687"/>
              <a:gd name="T93" fmla="*/ 501 h 520"/>
              <a:gd name="T94" fmla="*/ 1441 w 1687"/>
              <a:gd name="T95" fmla="*/ 403 h 520"/>
              <a:gd name="T96" fmla="*/ 1357 w 1687"/>
              <a:gd name="T97" fmla="*/ 322 h 520"/>
              <a:gd name="T98" fmla="*/ 1320 w 1687"/>
              <a:gd name="T99" fmla="*/ 290 h 520"/>
              <a:gd name="T100" fmla="*/ 1371 w 1687"/>
              <a:gd name="T101" fmla="*/ 247 h 520"/>
              <a:gd name="T102" fmla="*/ 1459 w 1687"/>
              <a:gd name="T103" fmla="*/ 249 h 520"/>
              <a:gd name="T104" fmla="*/ 1498 w 1687"/>
              <a:gd name="T105" fmla="*/ 224 h 520"/>
              <a:gd name="T106" fmla="*/ 1524 w 1687"/>
              <a:gd name="T107" fmla="*/ 202 h 520"/>
              <a:gd name="T108" fmla="*/ 1525 w 1687"/>
              <a:gd name="T109" fmla="*/ 284 h 520"/>
              <a:gd name="T110" fmla="*/ 1618 w 1687"/>
              <a:gd name="T111" fmla="*/ 340 h 520"/>
              <a:gd name="T112" fmla="*/ 1618 w 1687"/>
              <a:gd name="T113" fmla="*/ 296 h 520"/>
              <a:gd name="T114" fmla="*/ 1575 w 1687"/>
              <a:gd name="T115" fmla="*/ 241 h 520"/>
              <a:gd name="T116" fmla="*/ 1639 w 1687"/>
              <a:gd name="T117" fmla="*/ 222 h 520"/>
              <a:gd name="T118" fmla="*/ 1676 w 1687"/>
              <a:gd name="T119" fmla="*/ 194 h 520"/>
              <a:gd name="T120" fmla="*/ 1602 w 1687"/>
              <a:gd name="T121" fmla="*/ 139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87" h="520">
                <a:moveTo>
                  <a:pt x="1560" y="110"/>
                </a:moveTo>
                <a:lnTo>
                  <a:pt x="1528" y="104"/>
                </a:lnTo>
                <a:lnTo>
                  <a:pt x="1496" y="98"/>
                </a:lnTo>
                <a:lnTo>
                  <a:pt x="1468" y="97"/>
                </a:lnTo>
                <a:lnTo>
                  <a:pt x="1442" y="94"/>
                </a:lnTo>
                <a:lnTo>
                  <a:pt x="1452" y="102"/>
                </a:lnTo>
                <a:lnTo>
                  <a:pt x="1467" y="110"/>
                </a:lnTo>
                <a:lnTo>
                  <a:pt x="1465" y="112"/>
                </a:lnTo>
                <a:lnTo>
                  <a:pt x="1455" y="112"/>
                </a:lnTo>
                <a:lnTo>
                  <a:pt x="1441" y="106"/>
                </a:lnTo>
                <a:lnTo>
                  <a:pt x="1435" y="106"/>
                </a:lnTo>
                <a:lnTo>
                  <a:pt x="1419" y="99"/>
                </a:lnTo>
                <a:lnTo>
                  <a:pt x="1407" y="103"/>
                </a:lnTo>
                <a:lnTo>
                  <a:pt x="1365" y="100"/>
                </a:lnTo>
                <a:lnTo>
                  <a:pt x="1364" y="106"/>
                </a:lnTo>
                <a:lnTo>
                  <a:pt x="1350" y="100"/>
                </a:lnTo>
                <a:lnTo>
                  <a:pt x="1334" y="97"/>
                </a:lnTo>
                <a:lnTo>
                  <a:pt x="1318" y="87"/>
                </a:lnTo>
                <a:lnTo>
                  <a:pt x="1293" y="82"/>
                </a:lnTo>
                <a:lnTo>
                  <a:pt x="1268" y="84"/>
                </a:lnTo>
                <a:lnTo>
                  <a:pt x="1243" y="85"/>
                </a:lnTo>
                <a:lnTo>
                  <a:pt x="1236" y="84"/>
                </a:lnTo>
                <a:lnTo>
                  <a:pt x="1216" y="78"/>
                </a:lnTo>
                <a:lnTo>
                  <a:pt x="1210" y="80"/>
                </a:lnTo>
                <a:lnTo>
                  <a:pt x="1210" y="76"/>
                </a:lnTo>
                <a:lnTo>
                  <a:pt x="1203" y="75"/>
                </a:lnTo>
                <a:lnTo>
                  <a:pt x="1191" y="73"/>
                </a:lnTo>
                <a:lnTo>
                  <a:pt x="1197" y="72"/>
                </a:lnTo>
                <a:lnTo>
                  <a:pt x="1174" y="66"/>
                </a:lnTo>
                <a:lnTo>
                  <a:pt x="1160" y="69"/>
                </a:lnTo>
                <a:lnTo>
                  <a:pt x="1156" y="69"/>
                </a:lnTo>
                <a:lnTo>
                  <a:pt x="1158" y="66"/>
                </a:lnTo>
                <a:lnTo>
                  <a:pt x="1156" y="66"/>
                </a:lnTo>
                <a:lnTo>
                  <a:pt x="1122" y="62"/>
                </a:lnTo>
                <a:lnTo>
                  <a:pt x="1087" y="60"/>
                </a:lnTo>
                <a:lnTo>
                  <a:pt x="1095" y="62"/>
                </a:lnTo>
                <a:lnTo>
                  <a:pt x="1081" y="66"/>
                </a:lnTo>
                <a:lnTo>
                  <a:pt x="1087" y="67"/>
                </a:lnTo>
                <a:lnTo>
                  <a:pt x="1090" y="68"/>
                </a:lnTo>
                <a:lnTo>
                  <a:pt x="1095" y="72"/>
                </a:lnTo>
                <a:lnTo>
                  <a:pt x="1101" y="76"/>
                </a:lnTo>
                <a:lnTo>
                  <a:pt x="1083" y="75"/>
                </a:lnTo>
                <a:lnTo>
                  <a:pt x="1087" y="79"/>
                </a:lnTo>
                <a:lnTo>
                  <a:pt x="1089" y="81"/>
                </a:lnTo>
                <a:lnTo>
                  <a:pt x="1060" y="74"/>
                </a:lnTo>
                <a:lnTo>
                  <a:pt x="1051" y="78"/>
                </a:lnTo>
                <a:lnTo>
                  <a:pt x="1027" y="73"/>
                </a:lnTo>
                <a:lnTo>
                  <a:pt x="1023" y="72"/>
                </a:lnTo>
                <a:lnTo>
                  <a:pt x="1028" y="80"/>
                </a:lnTo>
                <a:lnTo>
                  <a:pt x="1026" y="86"/>
                </a:lnTo>
                <a:lnTo>
                  <a:pt x="1010" y="81"/>
                </a:lnTo>
                <a:lnTo>
                  <a:pt x="990" y="73"/>
                </a:lnTo>
                <a:lnTo>
                  <a:pt x="967" y="66"/>
                </a:lnTo>
                <a:lnTo>
                  <a:pt x="960" y="66"/>
                </a:lnTo>
                <a:lnTo>
                  <a:pt x="978" y="78"/>
                </a:lnTo>
                <a:lnTo>
                  <a:pt x="954" y="66"/>
                </a:lnTo>
                <a:lnTo>
                  <a:pt x="916" y="61"/>
                </a:lnTo>
                <a:lnTo>
                  <a:pt x="878" y="57"/>
                </a:lnTo>
                <a:lnTo>
                  <a:pt x="858" y="51"/>
                </a:lnTo>
                <a:lnTo>
                  <a:pt x="861" y="50"/>
                </a:lnTo>
                <a:lnTo>
                  <a:pt x="844" y="49"/>
                </a:lnTo>
                <a:lnTo>
                  <a:pt x="810" y="50"/>
                </a:lnTo>
                <a:lnTo>
                  <a:pt x="799" y="45"/>
                </a:lnTo>
                <a:lnTo>
                  <a:pt x="783" y="45"/>
                </a:lnTo>
                <a:lnTo>
                  <a:pt x="783" y="43"/>
                </a:lnTo>
                <a:lnTo>
                  <a:pt x="766" y="46"/>
                </a:lnTo>
                <a:lnTo>
                  <a:pt x="781" y="48"/>
                </a:lnTo>
                <a:lnTo>
                  <a:pt x="763" y="54"/>
                </a:lnTo>
                <a:lnTo>
                  <a:pt x="744" y="56"/>
                </a:lnTo>
                <a:lnTo>
                  <a:pt x="744" y="52"/>
                </a:lnTo>
                <a:lnTo>
                  <a:pt x="764" y="40"/>
                </a:lnTo>
                <a:lnTo>
                  <a:pt x="782" y="26"/>
                </a:lnTo>
                <a:lnTo>
                  <a:pt x="774" y="25"/>
                </a:lnTo>
                <a:lnTo>
                  <a:pt x="765" y="21"/>
                </a:lnTo>
                <a:lnTo>
                  <a:pt x="780" y="24"/>
                </a:lnTo>
                <a:lnTo>
                  <a:pt x="766" y="16"/>
                </a:lnTo>
                <a:lnTo>
                  <a:pt x="764" y="18"/>
                </a:lnTo>
                <a:lnTo>
                  <a:pt x="758" y="16"/>
                </a:lnTo>
                <a:lnTo>
                  <a:pt x="741" y="12"/>
                </a:lnTo>
                <a:lnTo>
                  <a:pt x="709" y="12"/>
                </a:lnTo>
                <a:lnTo>
                  <a:pt x="697" y="13"/>
                </a:lnTo>
                <a:lnTo>
                  <a:pt x="696" y="7"/>
                </a:lnTo>
                <a:lnTo>
                  <a:pt x="682" y="6"/>
                </a:lnTo>
                <a:lnTo>
                  <a:pt x="666" y="6"/>
                </a:lnTo>
                <a:lnTo>
                  <a:pt x="678" y="2"/>
                </a:lnTo>
                <a:lnTo>
                  <a:pt x="654" y="0"/>
                </a:lnTo>
                <a:lnTo>
                  <a:pt x="638" y="8"/>
                </a:lnTo>
                <a:lnTo>
                  <a:pt x="644" y="13"/>
                </a:lnTo>
                <a:lnTo>
                  <a:pt x="652" y="14"/>
                </a:lnTo>
                <a:lnTo>
                  <a:pt x="630" y="15"/>
                </a:lnTo>
                <a:lnTo>
                  <a:pt x="637" y="18"/>
                </a:lnTo>
                <a:lnTo>
                  <a:pt x="621" y="19"/>
                </a:lnTo>
                <a:lnTo>
                  <a:pt x="606" y="19"/>
                </a:lnTo>
                <a:lnTo>
                  <a:pt x="577" y="19"/>
                </a:lnTo>
                <a:lnTo>
                  <a:pt x="589" y="20"/>
                </a:lnTo>
                <a:lnTo>
                  <a:pt x="567" y="24"/>
                </a:lnTo>
                <a:lnTo>
                  <a:pt x="543" y="28"/>
                </a:lnTo>
                <a:lnTo>
                  <a:pt x="536" y="30"/>
                </a:lnTo>
                <a:lnTo>
                  <a:pt x="536" y="36"/>
                </a:lnTo>
                <a:lnTo>
                  <a:pt x="526" y="36"/>
                </a:lnTo>
                <a:lnTo>
                  <a:pt x="541" y="39"/>
                </a:lnTo>
                <a:lnTo>
                  <a:pt x="532" y="40"/>
                </a:lnTo>
                <a:lnTo>
                  <a:pt x="544" y="43"/>
                </a:lnTo>
                <a:lnTo>
                  <a:pt x="544" y="45"/>
                </a:lnTo>
                <a:lnTo>
                  <a:pt x="517" y="48"/>
                </a:lnTo>
                <a:lnTo>
                  <a:pt x="489" y="50"/>
                </a:lnTo>
                <a:lnTo>
                  <a:pt x="494" y="56"/>
                </a:lnTo>
                <a:lnTo>
                  <a:pt x="506" y="66"/>
                </a:lnTo>
                <a:lnTo>
                  <a:pt x="519" y="68"/>
                </a:lnTo>
                <a:lnTo>
                  <a:pt x="538" y="75"/>
                </a:lnTo>
                <a:lnTo>
                  <a:pt x="548" y="87"/>
                </a:lnTo>
                <a:lnTo>
                  <a:pt x="552" y="92"/>
                </a:lnTo>
                <a:lnTo>
                  <a:pt x="546" y="92"/>
                </a:lnTo>
                <a:lnTo>
                  <a:pt x="536" y="84"/>
                </a:lnTo>
                <a:lnTo>
                  <a:pt x="535" y="88"/>
                </a:lnTo>
                <a:lnTo>
                  <a:pt x="529" y="79"/>
                </a:lnTo>
                <a:lnTo>
                  <a:pt x="535" y="74"/>
                </a:lnTo>
                <a:lnTo>
                  <a:pt x="512" y="72"/>
                </a:lnTo>
                <a:lnTo>
                  <a:pt x="489" y="66"/>
                </a:lnTo>
                <a:lnTo>
                  <a:pt x="471" y="68"/>
                </a:lnTo>
                <a:lnTo>
                  <a:pt x="481" y="72"/>
                </a:lnTo>
                <a:lnTo>
                  <a:pt x="459" y="70"/>
                </a:lnTo>
                <a:lnTo>
                  <a:pt x="465" y="75"/>
                </a:lnTo>
                <a:lnTo>
                  <a:pt x="489" y="80"/>
                </a:lnTo>
                <a:lnTo>
                  <a:pt x="494" y="84"/>
                </a:lnTo>
                <a:lnTo>
                  <a:pt x="458" y="76"/>
                </a:lnTo>
                <a:lnTo>
                  <a:pt x="446" y="60"/>
                </a:lnTo>
                <a:lnTo>
                  <a:pt x="438" y="60"/>
                </a:lnTo>
                <a:lnTo>
                  <a:pt x="447" y="68"/>
                </a:lnTo>
                <a:lnTo>
                  <a:pt x="436" y="74"/>
                </a:lnTo>
                <a:lnTo>
                  <a:pt x="441" y="79"/>
                </a:lnTo>
                <a:lnTo>
                  <a:pt x="456" y="88"/>
                </a:lnTo>
                <a:lnTo>
                  <a:pt x="454" y="99"/>
                </a:lnTo>
                <a:lnTo>
                  <a:pt x="465" y="109"/>
                </a:lnTo>
                <a:lnTo>
                  <a:pt x="492" y="108"/>
                </a:lnTo>
                <a:lnTo>
                  <a:pt x="506" y="111"/>
                </a:lnTo>
                <a:lnTo>
                  <a:pt x="512" y="121"/>
                </a:lnTo>
                <a:lnTo>
                  <a:pt x="516" y="127"/>
                </a:lnTo>
                <a:lnTo>
                  <a:pt x="531" y="129"/>
                </a:lnTo>
                <a:lnTo>
                  <a:pt x="510" y="127"/>
                </a:lnTo>
                <a:lnTo>
                  <a:pt x="500" y="115"/>
                </a:lnTo>
                <a:lnTo>
                  <a:pt x="493" y="110"/>
                </a:lnTo>
                <a:lnTo>
                  <a:pt x="474" y="114"/>
                </a:lnTo>
                <a:lnTo>
                  <a:pt x="486" y="128"/>
                </a:lnTo>
                <a:lnTo>
                  <a:pt x="475" y="142"/>
                </a:lnTo>
                <a:lnTo>
                  <a:pt x="471" y="144"/>
                </a:lnTo>
                <a:lnTo>
                  <a:pt x="465" y="147"/>
                </a:lnTo>
                <a:lnTo>
                  <a:pt x="435" y="142"/>
                </a:lnTo>
                <a:lnTo>
                  <a:pt x="432" y="140"/>
                </a:lnTo>
                <a:lnTo>
                  <a:pt x="451" y="141"/>
                </a:lnTo>
                <a:lnTo>
                  <a:pt x="447" y="142"/>
                </a:lnTo>
                <a:lnTo>
                  <a:pt x="460" y="141"/>
                </a:lnTo>
                <a:lnTo>
                  <a:pt x="458" y="138"/>
                </a:lnTo>
                <a:lnTo>
                  <a:pt x="466" y="124"/>
                </a:lnTo>
                <a:lnTo>
                  <a:pt x="466" y="117"/>
                </a:lnTo>
                <a:lnTo>
                  <a:pt x="448" y="106"/>
                </a:lnTo>
                <a:lnTo>
                  <a:pt x="441" y="93"/>
                </a:lnTo>
                <a:lnTo>
                  <a:pt x="433" y="81"/>
                </a:lnTo>
                <a:lnTo>
                  <a:pt x="422" y="75"/>
                </a:lnTo>
                <a:lnTo>
                  <a:pt x="422" y="63"/>
                </a:lnTo>
                <a:lnTo>
                  <a:pt x="405" y="58"/>
                </a:lnTo>
                <a:lnTo>
                  <a:pt x="384" y="60"/>
                </a:lnTo>
                <a:lnTo>
                  <a:pt x="381" y="76"/>
                </a:lnTo>
                <a:lnTo>
                  <a:pt x="373" y="82"/>
                </a:lnTo>
                <a:lnTo>
                  <a:pt x="376" y="86"/>
                </a:lnTo>
                <a:lnTo>
                  <a:pt x="382" y="86"/>
                </a:lnTo>
                <a:lnTo>
                  <a:pt x="385" y="96"/>
                </a:lnTo>
                <a:lnTo>
                  <a:pt x="388" y="100"/>
                </a:lnTo>
                <a:lnTo>
                  <a:pt x="403" y="104"/>
                </a:lnTo>
                <a:lnTo>
                  <a:pt x="411" y="111"/>
                </a:lnTo>
                <a:lnTo>
                  <a:pt x="417" y="111"/>
                </a:lnTo>
                <a:lnTo>
                  <a:pt x="412" y="120"/>
                </a:lnTo>
                <a:lnTo>
                  <a:pt x="396" y="111"/>
                </a:lnTo>
                <a:lnTo>
                  <a:pt x="370" y="105"/>
                </a:lnTo>
                <a:lnTo>
                  <a:pt x="346" y="102"/>
                </a:lnTo>
                <a:lnTo>
                  <a:pt x="324" y="98"/>
                </a:lnTo>
                <a:lnTo>
                  <a:pt x="319" y="102"/>
                </a:lnTo>
                <a:lnTo>
                  <a:pt x="331" y="111"/>
                </a:lnTo>
                <a:lnTo>
                  <a:pt x="322" y="115"/>
                </a:lnTo>
                <a:lnTo>
                  <a:pt x="322" y="118"/>
                </a:lnTo>
                <a:lnTo>
                  <a:pt x="316" y="117"/>
                </a:lnTo>
                <a:lnTo>
                  <a:pt x="313" y="111"/>
                </a:lnTo>
                <a:lnTo>
                  <a:pt x="298" y="114"/>
                </a:lnTo>
                <a:lnTo>
                  <a:pt x="286" y="115"/>
                </a:lnTo>
                <a:lnTo>
                  <a:pt x="273" y="120"/>
                </a:lnTo>
                <a:lnTo>
                  <a:pt x="256" y="118"/>
                </a:lnTo>
                <a:lnTo>
                  <a:pt x="261" y="116"/>
                </a:lnTo>
                <a:lnTo>
                  <a:pt x="258" y="111"/>
                </a:lnTo>
                <a:lnTo>
                  <a:pt x="266" y="110"/>
                </a:lnTo>
                <a:lnTo>
                  <a:pt x="247" y="115"/>
                </a:lnTo>
                <a:lnTo>
                  <a:pt x="246" y="117"/>
                </a:lnTo>
                <a:lnTo>
                  <a:pt x="224" y="122"/>
                </a:lnTo>
                <a:lnTo>
                  <a:pt x="212" y="126"/>
                </a:lnTo>
                <a:lnTo>
                  <a:pt x="213" y="128"/>
                </a:lnTo>
                <a:lnTo>
                  <a:pt x="204" y="129"/>
                </a:lnTo>
                <a:lnTo>
                  <a:pt x="202" y="139"/>
                </a:lnTo>
                <a:lnTo>
                  <a:pt x="187" y="139"/>
                </a:lnTo>
                <a:lnTo>
                  <a:pt x="174" y="130"/>
                </a:lnTo>
                <a:lnTo>
                  <a:pt x="190" y="124"/>
                </a:lnTo>
                <a:lnTo>
                  <a:pt x="171" y="116"/>
                </a:lnTo>
                <a:lnTo>
                  <a:pt x="151" y="115"/>
                </a:lnTo>
                <a:lnTo>
                  <a:pt x="163" y="120"/>
                </a:lnTo>
                <a:lnTo>
                  <a:pt x="168" y="135"/>
                </a:lnTo>
                <a:lnTo>
                  <a:pt x="172" y="145"/>
                </a:lnTo>
                <a:lnTo>
                  <a:pt x="172" y="151"/>
                </a:lnTo>
                <a:lnTo>
                  <a:pt x="166" y="151"/>
                </a:lnTo>
                <a:lnTo>
                  <a:pt x="162" y="145"/>
                </a:lnTo>
                <a:lnTo>
                  <a:pt x="150" y="144"/>
                </a:lnTo>
                <a:lnTo>
                  <a:pt x="140" y="152"/>
                </a:lnTo>
                <a:lnTo>
                  <a:pt x="129" y="159"/>
                </a:lnTo>
                <a:lnTo>
                  <a:pt x="140" y="171"/>
                </a:lnTo>
                <a:lnTo>
                  <a:pt x="115" y="168"/>
                </a:lnTo>
                <a:lnTo>
                  <a:pt x="99" y="163"/>
                </a:lnTo>
                <a:lnTo>
                  <a:pt x="99" y="169"/>
                </a:lnTo>
                <a:lnTo>
                  <a:pt x="111" y="174"/>
                </a:lnTo>
                <a:lnTo>
                  <a:pt x="117" y="180"/>
                </a:lnTo>
                <a:lnTo>
                  <a:pt x="103" y="181"/>
                </a:lnTo>
                <a:lnTo>
                  <a:pt x="81" y="170"/>
                </a:lnTo>
                <a:lnTo>
                  <a:pt x="74" y="158"/>
                </a:lnTo>
                <a:lnTo>
                  <a:pt x="73" y="153"/>
                </a:lnTo>
                <a:lnTo>
                  <a:pt x="75" y="153"/>
                </a:lnTo>
                <a:lnTo>
                  <a:pt x="60" y="147"/>
                </a:lnTo>
                <a:lnTo>
                  <a:pt x="54" y="144"/>
                </a:lnTo>
                <a:lnTo>
                  <a:pt x="40" y="135"/>
                </a:lnTo>
                <a:lnTo>
                  <a:pt x="49" y="138"/>
                </a:lnTo>
                <a:lnTo>
                  <a:pt x="78" y="144"/>
                </a:lnTo>
                <a:lnTo>
                  <a:pt x="106" y="150"/>
                </a:lnTo>
                <a:lnTo>
                  <a:pt x="134" y="144"/>
                </a:lnTo>
                <a:lnTo>
                  <a:pt x="138" y="134"/>
                </a:lnTo>
                <a:lnTo>
                  <a:pt x="127" y="126"/>
                </a:lnTo>
                <a:lnTo>
                  <a:pt x="96" y="116"/>
                </a:lnTo>
                <a:lnTo>
                  <a:pt x="66" y="106"/>
                </a:lnTo>
                <a:lnTo>
                  <a:pt x="48" y="108"/>
                </a:lnTo>
                <a:lnTo>
                  <a:pt x="43" y="109"/>
                </a:lnTo>
                <a:lnTo>
                  <a:pt x="46" y="104"/>
                </a:lnTo>
                <a:lnTo>
                  <a:pt x="39" y="105"/>
                </a:lnTo>
                <a:lnTo>
                  <a:pt x="31" y="100"/>
                </a:lnTo>
                <a:lnTo>
                  <a:pt x="40" y="99"/>
                </a:lnTo>
                <a:lnTo>
                  <a:pt x="28" y="97"/>
                </a:lnTo>
                <a:lnTo>
                  <a:pt x="24" y="99"/>
                </a:lnTo>
                <a:lnTo>
                  <a:pt x="18" y="98"/>
                </a:lnTo>
                <a:lnTo>
                  <a:pt x="18" y="103"/>
                </a:lnTo>
                <a:lnTo>
                  <a:pt x="12" y="103"/>
                </a:lnTo>
                <a:lnTo>
                  <a:pt x="1" y="109"/>
                </a:lnTo>
                <a:lnTo>
                  <a:pt x="0" y="111"/>
                </a:lnTo>
                <a:lnTo>
                  <a:pt x="1" y="121"/>
                </a:lnTo>
                <a:lnTo>
                  <a:pt x="16" y="129"/>
                </a:lnTo>
                <a:lnTo>
                  <a:pt x="10" y="140"/>
                </a:lnTo>
                <a:lnTo>
                  <a:pt x="24" y="156"/>
                </a:lnTo>
                <a:lnTo>
                  <a:pt x="25" y="168"/>
                </a:lnTo>
                <a:lnTo>
                  <a:pt x="28" y="172"/>
                </a:lnTo>
                <a:lnTo>
                  <a:pt x="36" y="180"/>
                </a:lnTo>
                <a:lnTo>
                  <a:pt x="30" y="183"/>
                </a:lnTo>
                <a:lnTo>
                  <a:pt x="50" y="195"/>
                </a:lnTo>
                <a:lnTo>
                  <a:pt x="42" y="204"/>
                </a:lnTo>
                <a:lnTo>
                  <a:pt x="33" y="212"/>
                </a:lnTo>
                <a:lnTo>
                  <a:pt x="25" y="220"/>
                </a:lnTo>
                <a:lnTo>
                  <a:pt x="16" y="229"/>
                </a:lnTo>
                <a:lnTo>
                  <a:pt x="25" y="229"/>
                </a:lnTo>
                <a:lnTo>
                  <a:pt x="22" y="229"/>
                </a:lnTo>
                <a:lnTo>
                  <a:pt x="25" y="231"/>
                </a:lnTo>
                <a:lnTo>
                  <a:pt x="45" y="237"/>
                </a:lnTo>
                <a:lnTo>
                  <a:pt x="33" y="237"/>
                </a:lnTo>
                <a:lnTo>
                  <a:pt x="24" y="242"/>
                </a:lnTo>
                <a:lnTo>
                  <a:pt x="20" y="246"/>
                </a:lnTo>
                <a:lnTo>
                  <a:pt x="24" y="260"/>
                </a:lnTo>
                <a:lnTo>
                  <a:pt x="18" y="268"/>
                </a:lnTo>
                <a:lnTo>
                  <a:pt x="26" y="279"/>
                </a:lnTo>
                <a:lnTo>
                  <a:pt x="33" y="297"/>
                </a:lnTo>
                <a:lnTo>
                  <a:pt x="52" y="301"/>
                </a:lnTo>
                <a:lnTo>
                  <a:pt x="72" y="303"/>
                </a:lnTo>
                <a:lnTo>
                  <a:pt x="74" y="321"/>
                </a:lnTo>
                <a:lnTo>
                  <a:pt x="90" y="334"/>
                </a:lnTo>
                <a:lnTo>
                  <a:pt x="86" y="339"/>
                </a:lnTo>
                <a:lnTo>
                  <a:pt x="88" y="354"/>
                </a:lnTo>
                <a:lnTo>
                  <a:pt x="99" y="350"/>
                </a:lnTo>
                <a:lnTo>
                  <a:pt x="118" y="352"/>
                </a:lnTo>
                <a:lnTo>
                  <a:pt x="121" y="357"/>
                </a:lnTo>
                <a:lnTo>
                  <a:pt x="136" y="372"/>
                </a:lnTo>
                <a:lnTo>
                  <a:pt x="153" y="385"/>
                </a:lnTo>
                <a:lnTo>
                  <a:pt x="162" y="384"/>
                </a:lnTo>
                <a:lnTo>
                  <a:pt x="180" y="390"/>
                </a:lnTo>
                <a:lnTo>
                  <a:pt x="199" y="396"/>
                </a:lnTo>
                <a:lnTo>
                  <a:pt x="207" y="417"/>
                </a:lnTo>
                <a:lnTo>
                  <a:pt x="196" y="422"/>
                </a:lnTo>
                <a:lnTo>
                  <a:pt x="193" y="432"/>
                </a:lnTo>
                <a:lnTo>
                  <a:pt x="195" y="435"/>
                </a:lnTo>
                <a:lnTo>
                  <a:pt x="186" y="440"/>
                </a:lnTo>
                <a:lnTo>
                  <a:pt x="178" y="442"/>
                </a:lnTo>
                <a:lnTo>
                  <a:pt x="189" y="450"/>
                </a:lnTo>
                <a:lnTo>
                  <a:pt x="186" y="450"/>
                </a:lnTo>
                <a:lnTo>
                  <a:pt x="184" y="454"/>
                </a:lnTo>
                <a:lnTo>
                  <a:pt x="182" y="451"/>
                </a:lnTo>
                <a:lnTo>
                  <a:pt x="181" y="460"/>
                </a:lnTo>
                <a:lnTo>
                  <a:pt x="170" y="462"/>
                </a:lnTo>
                <a:lnTo>
                  <a:pt x="168" y="464"/>
                </a:lnTo>
                <a:lnTo>
                  <a:pt x="187" y="475"/>
                </a:lnTo>
                <a:lnTo>
                  <a:pt x="206" y="484"/>
                </a:lnTo>
                <a:lnTo>
                  <a:pt x="207" y="483"/>
                </a:lnTo>
                <a:lnTo>
                  <a:pt x="222" y="484"/>
                </a:lnTo>
                <a:lnTo>
                  <a:pt x="236" y="486"/>
                </a:lnTo>
                <a:lnTo>
                  <a:pt x="255" y="493"/>
                </a:lnTo>
                <a:lnTo>
                  <a:pt x="274" y="501"/>
                </a:lnTo>
                <a:lnTo>
                  <a:pt x="294" y="508"/>
                </a:lnTo>
                <a:lnTo>
                  <a:pt x="314" y="517"/>
                </a:lnTo>
                <a:lnTo>
                  <a:pt x="334" y="520"/>
                </a:lnTo>
                <a:lnTo>
                  <a:pt x="324" y="508"/>
                </a:lnTo>
                <a:lnTo>
                  <a:pt x="313" y="496"/>
                </a:lnTo>
                <a:lnTo>
                  <a:pt x="312" y="486"/>
                </a:lnTo>
                <a:lnTo>
                  <a:pt x="310" y="489"/>
                </a:lnTo>
                <a:lnTo>
                  <a:pt x="303" y="477"/>
                </a:lnTo>
                <a:lnTo>
                  <a:pt x="298" y="472"/>
                </a:lnTo>
                <a:lnTo>
                  <a:pt x="304" y="457"/>
                </a:lnTo>
                <a:lnTo>
                  <a:pt x="319" y="451"/>
                </a:lnTo>
                <a:lnTo>
                  <a:pt x="325" y="447"/>
                </a:lnTo>
                <a:lnTo>
                  <a:pt x="324" y="445"/>
                </a:lnTo>
                <a:lnTo>
                  <a:pt x="314" y="429"/>
                </a:lnTo>
                <a:lnTo>
                  <a:pt x="298" y="417"/>
                </a:lnTo>
                <a:lnTo>
                  <a:pt x="284" y="405"/>
                </a:lnTo>
                <a:lnTo>
                  <a:pt x="285" y="387"/>
                </a:lnTo>
                <a:lnTo>
                  <a:pt x="288" y="370"/>
                </a:lnTo>
                <a:lnTo>
                  <a:pt x="302" y="378"/>
                </a:lnTo>
                <a:lnTo>
                  <a:pt x="304" y="370"/>
                </a:lnTo>
                <a:lnTo>
                  <a:pt x="314" y="363"/>
                </a:lnTo>
                <a:lnTo>
                  <a:pt x="324" y="357"/>
                </a:lnTo>
                <a:lnTo>
                  <a:pt x="342" y="356"/>
                </a:lnTo>
                <a:lnTo>
                  <a:pt x="358" y="363"/>
                </a:lnTo>
                <a:lnTo>
                  <a:pt x="375" y="372"/>
                </a:lnTo>
                <a:lnTo>
                  <a:pt x="394" y="370"/>
                </a:lnTo>
                <a:lnTo>
                  <a:pt x="418" y="370"/>
                </a:lnTo>
                <a:lnTo>
                  <a:pt x="442" y="374"/>
                </a:lnTo>
                <a:lnTo>
                  <a:pt x="445" y="369"/>
                </a:lnTo>
                <a:lnTo>
                  <a:pt x="432" y="354"/>
                </a:lnTo>
                <a:lnTo>
                  <a:pt x="438" y="336"/>
                </a:lnTo>
                <a:lnTo>
                  <a:pt x="448" y="337"/>
                </a:lnTo>
                <a:lnTo>
                  <a:pt x="433" y="328"/>
                </a:lnTo>
                <a:lnTo>
                  <a:pt x="450" y="326"/>
                </a:lnTo>
                <a:lnTo>
                  <a:pt x="465" y="324"/>
                </a:lnTo>
                <a:lnTo>
                  <a:pt x="481" y="319"/>
                </a:lnTo>
                <a:lnTo>
                  <a:pt x="495" y="315"/>
                </a:lnTo>
                <a:lnTo>
                  <a:pt x="511" y="310"/>
                </a:lnTo>
                <a:lnTo>
                  <a:pt x="525" y="307"/>
                </a:lnTo>
                <a:lnTo>
                  <a:pt x="536" y="306"/>
                </a:lnTo>
                <a:lnTo>
                  <a:pt x="546" y="315"/>
                </a:lnTo>
                <a:lnTo>
                  <a:pt x="570" y="324"/>
                </a:lnTo>
                <a:lnTo>
                  <a:pt x="578" y="328"/>
                </a:lnTo>
                <a:lnTo>
                  <a:pt x="588" y="330"/>
                </a:lnTo>
                <a:lnTo>
                  <a:pt x="604" y="324"/>
                </a:lnTo>
                <a:lnTo>
                  <a:pt x="620" y="319"/>
                </a:lnTo>
                <a:lnTo>
                  <a:pt x="622" y="321"/>
                </a:lnTo>
                <a:lnTo>
                  <a:pt x="620" y="328"/>
                </a:lnTo>
                <a:lnTo>
                  <a:pt x="637" y="339"/>
                </a:lnTo>
                <a:lnTo>
                  <a:pt x="654" y="351"/>
                </a:lnTo>
                <a:lnTo>
                  <a:pt x="672" y="362"/>
                </a:lnTo>
                <a:lnTo>
                  <a:pt x="688" y="374"/>
                </a:lnTo>
                <a:lnTo>
                  <a:pt x="691" y="370"/>
                </a:lnTo>
                <a:lnTo>
                  <a:pt x="700" y="374"/>
                </a:lnTo>
                <a:lnTo>
                  <a:pt x="716" y="370"/>
                </a:lnTo>
                <a:lnTo>
                  <a:pt x="734" y="381"/>
                </a:lnTo>
                <a:lnTo>
                  <a:pt x="751" y="392"/>
                </a:lnTo>
                <a:lnTo>
                  <a:pt x="768" y="388"/>
                </a:lnTo>
                <a:lnTo>
                  <a:pt x="782" y="403"/>
                </a:lnTo>
                <a:lnTo>
                  <a:pt x="792" y="402"/>
                </a:lnTo>
                <a:lnTo>
                  <a:pt x="798" y="397"/>
                </a:lnTo>
                <a:lnTo>
                  <a:pt x="808" y="392"/>
                </a:lnTo>
                <a:lnTo>
                  <a:pt x="822" y="385"/>
                </a:lnTo>
                <a:lnTo>
                  <a:pt x="834" y="378"/>
                </a:lnTo>
                <a:lnTo>
                  <a:pt x="860" y="380"/>
                </a:lnTo>
                <a:lnTo>
                  <a:pt x="864" y="386"/>
                </a:lnTo>
                <a:lnTo>
                  <a:pt x="883" y="388"/>
                </a:lnTo>
                <a:lnTo>
                  <a:pt x="902" y="392"/>
                </a:lnTo>
                <a:lnTo>
                  <a:pt x="912" y="385"/>
                </a:lnTo>
                <a:lnTo>
                  <a:pt x="900" y="374"/>
                </a:lnTo>
                <a:lnTo>
                  <a:pt x="902" y="357"/>
                </a:lnTo>
                <a:lnTo>
                  <a:pt x="924" y="362"/>
                </a:lnTo>
                <a:lnTo>
                  <a:pt x="945" y="367"/>
                </a:lnTo>
                <a:lnTo>
                  <a:pt x="955" y="376"/>
                </a:lnTo>
                <a:lnTo>
                  <a:pt x="974" y="386"/>
                </a:lnTo>
                <a:lnTo>
                  <a:pt x="996" y="381"/>
                </a:lnTo>
                <a:lnTo>
                  <a:pt x="1014" y="385"/>
                </a:lnTo>
                <a:lnTo>
                  <a:pt x="1030" y="390"/>
                </a:lnTo>
                <a:lnTo>
                  <a:pt x="1038" y="394"/>
                </a:lnTo>
                <a:lnTo>
                  <a:pt x="1064" y="402"/>
                </a:lnTo>
                <a:lnTo>
                  <a:pt x="1078" y="399"/>
                </a:lnTo>
                <a:lnTo>
                  <a:pt x="1093" y="396"/>
                </a:lnTo>
                <a:lnTo>
                  <a:pt x="1107" y="385"/>
                </a:lnTo>
                <a:lnTo>
                  <a:pt x="1131" y="391"/>
                </a:lnTo>
                <a:lnTo>
                  <a:pt x="1143" y="392"/>
                </a:lnTo>
                <a:lnTo>
                  <a:pt x="1161" y="396"/>
                </a:lnTo>
                <a:lnTo>
                  <a:pt x="1171" y="385"/>
                </a:lnTo>
                <a:lnTo>
                  <a:pt x="1166" y="374"/>
                </a:lnTo>
                <a:lnTo>
                  <a:pt x="1166" y="355"/>
                </a:lnTo>
                <a:lnTo>
                  <a:pt x="1156" y="349"/>
                </a:lnTo>
                <a:lnTo>
                  <a:pt x="1150" y="346"/>
                </a:lnTo>
                <a:lnTo>
                  <a:pt x="1160" y="338"/>
                </a:lnTo>
                <a:lnTo>
                  <a:pt x="1176" y="337"/>
                </a:lnTo>
                <a:lnTo>
                  <a:pt x="1191" y="337"/>
                </a:lnTo>
                <a:lnTo>
                  <a:pt x="1224" y="346"/>
                </a:lnTo>
                <a:lnTo>
                  <a:pt x="1237" y="357"/>
                </a:lnTo>
                <a:lnTo>
                  <a:pt x="1250" y="368"/>
                </a:lnTo>
                <a:lnTo>
                  <a:pt x="1262" y="379"/>
                </a:lnTo>
                <a:lnTo>
                  <a:pt x="1275" y="390"/>
                </a:lnTo>
                <a:lnTo>
                  <a:pt x="1290" y="396"/>
                </a:lnTo>
                <a:lnTo>
                  <a:pt x="1312" y="402"/>
                </a:lnTo>
                <a:lnTo>
                  <a:pt x="1326" y="408"/>
                </a:lnTo>
                <a:lnTo>
                  <a:pt x="1341" y="424"/>
                </a:lnTo>
                <a:lnTo>
                  <a:pt x="1360" y="422"/>
                </a:lnTo>
                <a:lnTo>
                  <a:pt x="1380" y="416"/>
                </a:lnTo>
                <a:lnTo>
                  <a:pt x="1388" y="429"/>
                </a:lnTo>
                <a:lnTo>
                  <a:pt x="1390" y="448"/>
                </a:lnTo>
                <a:lnTo>
                  <a:pt x="1393" y="466"/>
                </a:lnTo>
                <a:lnTo>
                  <a:pt x="1376" y="464"/>
                </a:lnTo>
                <a:lnTo>
                  <a:pt x="1374" y="472"/>
                </a:lnTo>
                <a:lnTo>
                  <a:pt x="1382" y="487"/>
                </a:lnTo>
                <a:lnTo>
                  <a:pt x="1392" y="500"/>
                </a:lnTo>
                <a:lnTo>
                  <a:pt x="1386" y="504"/>
                </a:lnTo>
                <a:lnTo>
                  <a:pt x="1389" y="508"/>
                </a:lnTo>
                <a:lnTo>
                  <a:pt x="1392" y="511"/>
                </a:lnTo>
                <a:lnTo>
                  <a:pt x="1389" y="506"/>
                </a:lnTo>
                <a:lnTo>
                  <a:pt x="1392" y="506"/>
                </a:lnTo>
                <a:lnTo>
                  <a:pt x="1399" y="496"/>
                </a:lnTo>
                <a:lnTo>
                  <a:pt x="1402" y="495"/>
                </a:lnTo>
                <a:lnTo>
                  <a:pt x="1407" y="501"/>
                </a:lnTo>
                <a:lnTo>
                  <a:pt x="1417" y="502"/>
                </a:lnTo>
                <a:lnTo>
                  <a:pt x="1431" y="496"/>
                </a:lnTo>
                <a:lnTo>
                  <a:pt x="1436" y="486"/>
                </a:lnTo>
                <a:lnTo>
                  <a:pt x="1441" y="475"/>
                </a:lnTo>
                <a:lnTo>
                  <a:pt x="1443" y="460"/>
                </a:lnTo>
                <a:lnTo>
                  <a:pt x="1444" y="445"/>
                </a:lnTo>
                <a:lnTo>
                  <a:pt x="1446" y="430"/>
                </a:lnTo>
                <a:lnTo>
                  <a:pt x="1447" y="416"/>
                </a:lnTo>
                <a:lnTo>
                  <a:pt x="1441" y="403"/>
                </a:lnTo>
                <a:lnTo>
                  <a:pt x="1435" y="390"/>
                </a:lnTo>
                <a:lnTo>
                  <a:pt x="1426" y="381"/>
                </a:lnTo>
                <a:lnTo>
                  <a:pt x="1423" y="370"/>
                </a:lnTo>
                <a:lnTo>
                  <a:pt x="1419" y="360"/>
                </a:lnTo>
                <a:lnTo>
                  <a:pt x="1410" y="349"/>
                </a:lnTo>
                <a:lnTo>
                  <a:pt x="1396" y="340"/>
                </a:lnTo>
                <a:lnTo>
                  <a:pt x="1405" y="342"/>
                </a:lnTo>
                <a:lnTo>
                  <a:pt x="1372" y="325"/>
                </a:lnTo>
                <a:lnTo>
                  <a:pt x="1357" y="322"/>
                </a:lnTo>
                <a:lnTo>
                  <a:pt x="1360" y="330"/>
                </a:lnTo>
                <a:lnTo>
                  <a:pt x="1350" y="334"/>
                </a:lnTo>
                <a:lnTo>
                  <a:pt x="1350" y="330"/>
                </a:lnTo>
                <a:lnTo>
                  <a:pt x="1342" y="326"/>
                </a:lnTo>
                <a:lnTo>
                  <a:pt x="1341" y="330"/>
                </a:lnTo>
                <a:lnTo>
                  <a:pt x="1332" y="319"/>
                </a:lnTo>
                <a:lnTo>
                  <a:pt x="1310" y="316"/>
                </a:lnTo>
                <a:lnTo>
                  <a:pt x="1315" y="303"/>
                </a:lnTo>
                <a:lnTo>
                  <a:pt x="1320" y="290"/>
                </a:lnTo>
                <a:lnTo>
                  <a:pt x="1323" y="280"/>
                </a:lnTo>
                <a:lnTo>
                  <a:pt x="1327" y="271"/>
                </a:lnTo>
                <a:lnTo>
                  <a:pt x="1324" y="264"/>
                </a:lnTo>
                <a:lnTo>
                  <a:pt x="1329" y="250"/>
                </a:lnTo>
                <a:lnTo>
                  <a:pt x="1344" y="248"/>
                </a:lnTo>
                <a:lnTo>
                  <a:pt x="1359" y="246"/>
                </a:lnTo>
                <a:lnTo>
                  <a:pt x="1364" y="246"/>
                </a:lnTo>
                <a:lnTo>
                  <a:pt x="1370" y="249"/>
                </a:lnTo>
                <a:lnTo>
                  <a:pt x="1371" y="247"/>
                </a:lnTo>
                <a:lnTo>
                  <a:pt x="1400" y="248"/>
                </a:lnTo>
                <a:lnTo>
                  <a:pt x="1400" y="246"/>
                </a:lnTo>
                <a:lnTo>
                  <a:pt x="1399" y="242"/>
                </a:lnTo>
                <a:lnTo>
                  <a:pt x="1420" y="243"/>
                </a:lnTo>
                <a:lnTo>
                  <a:pt x="1438" y="248"/>
                </a:lnTo>
                <a:lnTo>
                  <a:pt x="1432" y="250"/>
                </a:lnTo>
                <a:lnTo>
                  <a:pt x="1437" y="254"/>
                </a:lnTo>
                <a:lnTo>
                  <a:pt x="1449" y="253"/>
                </a:lnTo>
                <a:lnTo>
                  <a:pt x="1459" y="249"/>
                </a:lnTo>
                <a:lnTo>
                  <a:pt x="1476" y="249"/>
                </a:lnTo>
                <a:lnTo>
                  <a:pt x="1473" y="247"/>
                </a:lnTo>
                <a:lnTo>
                  <a:pt x="1461" y="246"/>
                </a:lnTo>
                <a:lnTo>
                  <a:pt x="1456" y="241"/>
                </a:lnTo>
                <a:lnTo>
                  <a:pt x="1456" y="226"/>
                </a:lnTo>
                <a:lnTo>
                  <a:pt x="1455" y="212"/>
                </a:lnTo>
                <a:lnTo>
                  <a:pt x="1480" y="212"/>
                </a:lnTo>
                <a:lnTo>
                  <a:pt x="1485" y="210"/>
                </a:lnTo>
                <a:lnTo>
                  <a:pt x="1498" y="224"/>
                </a:lnTo>
                <a:lnTo>
                  <a:pt x="1501" y="222"/>
                </a:lnTo>
                <a:lnTo>
                  <a:pt x="1508" y="229"/>
                </a:lnTo>
                <a:lnTo>
                  <a:pt x="1515" y="214"/>
                </a:lnTo>
                <a:lnTo>
                  <a:pt x="1522" y="214"/>
                </a:lnTo>
                <a:lnTo>
                  <a:pt x="1509" y="201"/>
                </a:lnTo>
                <a:lnTo>
                  <a:pt x="1513" y="199"/>
                </a:lnTo>
                <a:lnTo>
                  <a:pt x="1532" y="201"/>
                </a:lnTo>
                <a:lnTo>
                  <a:pt x="1536" y="204"/>
                </a:lnTo>
                <a:lnTo>
                  <a:pt x="1524" y="202"/>
                </a:lnTo>
                <a:lnTo>
                  <a:pt x="1533" y="213"/>
                </a:lnTo>
                <a:lnTo>
                  <a:pt x="1543" y="224"/>
                </a:lnTo>
                <a:lnTo>
                  <a:pt x="1536" y="229"/>
                </a:lnTo>
                <a:lnTo>
                  <a:pt x="1533" y="240"/>
                </a:lnTo>
                <a:lnTo>
                  <a:pt x="1531" y="252"/>
                </a:lnTo>
                <a:lnTo>
                  <a:pt x="1530" y="266"/>
                </a:lnTo>
                <a:lnTo>
                  <a:pt x="1518" y="270"/>
                </a:lnTo>
                <a:lnTo>
                  <a:pt x="1524" y="274"/>
                </a:lnTo>
                <a:lnTo>
                  <a:pt x="1525" y="284"/>
                </a:lnTo>
                <a:lnTo>
                  <a:pt x="1536" y="297"/>
                </a:lnTo>
                <a:lnTo>
                  <a:pt x="1545" y="310"/>
                </a:lnTo>
                <a:lnTo>
                  <a:pt x="1564" y="326"/>
                </a:lnTo>
                <a:lnTo>
                  <a:pt x="1582" y="342"/>
                </a:lnTo>
                <a:lnTo>
                  <a:pt x="1602" y="357"/>
                </a:lnTo>
                <a:lnTo>
                  <a:pt x="1621" y="374"/>
                </a:lnTo>
                <a:lnTo>
                  <a:pt x="1624" y="363"/>
                </a:lnTo>
                <a:lnTo>
                  <a:pt x="1615" y="343"/>
                </a:lnTo>
                <a:lnTo>
                  <a:pt x="1618" y="340"/>
                </a:lnTo>
                <a:lnTo>
                  <a:pt x="1628" y="342"/>
                </a:lnTo>
                <a:lnTo>
                  <a:pt x="1626" y="338"/>
                </a:lnTo>
                <a:lnTo>
                  <a:pt x="1614" y="324"/>
                </a:lnTo>
                <a:lnTo>
                  <a:pt x="1629" y="318"/>
                </a:lnTo>
                <a:lnTo>
                  <a:pt x="1610" y="301"/>
                </a:lnTo>
                <a:lnTo>
                  <a:pt x="1609" y="292"/>
                </a:lnTo>
                <a:lnTo>
                  <a:pt x="1610" y="290"/>
                </a:lnTo>
                <a:lnTo>
                  <a:pt x="1610" y="294"/>
                </a:lnTo>
                <a:lnTo>
                  <a:pt x="1618" y="296"/>
                </a:lnTo>
                <a:lnTo>
                  <a:pt x="1609" y="286"/>
                </a:lnTo>
                <a:lnTo>
                  <a:pt x="1603" y="285"/>
                </a:lnTo>
                <a:lnTo>
                  <a:pt x="1590" y="270"/>
                </a:lnTo>
                <a:lnTo>
                  <a:pt x="1582" y="271"/>
                </a:lnTo>
                <a:lnTo>
                  <a:pt x="1572" y="266"/>
                </a:lnTo>
                <a:lnTo>
                  <a:pt x="1566" y="249"/>
                </a:lnTo>
                <a:lnTo>
                  <a:pt x="1558" y="240"/>
                </a:lnTo>
                <a:lnTo>
                  <a:pt x="1567" y="237"/>
                </a:lnTo>
                <a:lnTo>
                  <a:pt x="1575" y="241"/>
                </a:lnTo>
                <a:lnTo>
                  <a:pt x="1573" y="236"/>
                </a:lnTo>
                <a:lnTo>
                  <a:pt x="1579" y="230"/>
                </a:lnTo>
                <a:lnTo>
                  <a:pt x="1590" y="240"/>
                </a:lnTo>
                <a:lnTo>
                  <a:pt x="1591" y="232"/>
                </a:lnTo>
                <a:lnTo>
                  <a:pt x="1611" y="229"/>
                </a:lnTo>
                <a:lnTo>
                  <a:pt x="1632" y="237"/>
                </a:lnTo>
                <a:lnTo>
                  <a:pt x="1632" y="234"/>
                </a:lnTo>
                <a:lnTo>
                  <a:pt x="1638" y="223"/>
                </a:lnTo>
                <a:lnTo>
                  <a:pt x="1639" y="222"/>
                </a:lnTo>
                <a:lnTo>
                  <a:pt x="1638" y="217"/>
                </a:lnTo>
                <a:lnTo>
                  <a:pt x="1639" y="216"/>
                </a:lnTo>
                <a:lnTo>
                  <a:pt x="1651" y="207"/>
                </a:lnTo>
                <a:lnTo>
                  <a:pt x="1663" y="200"/>
                </a:lnTo>
                <a:lnTo>
                  <a:pt x="1657" y="198"/>
                </a:lnTo>
                <a:lnTo>
                  <a:pt x="1660" y="198"/>
                </a:lnTo>
                <a:lnTo>
                  <a:pt x="1686" y="204"/>
                </a:lnTo>
                <a:lnTo>
                  <a:pt x="1687" y="200"/>
                </a:lnTo>
                <a:lnTo>
                  <a:pt x="1676" y="194"/>
                </a:lnTo>
                <a:lnTo>
                  <a:pt x="1663" y="188"/>
                </a:lnTo>
                <a:lnTo>
                  <a:pt x="1657" y="186"/>
                </a:lnTo>
                <a:lnTo>
                  <a:pt x="1638" y="174"/>
                </a:lnTo>
                <a:lnTo>
                  <a:pt x="1636" y="176"/>
                </a:lnTo>
                <a:lnTo>
                  <a:pt x="1622" y="169"/>
                </a:lnTo>
                <a:lnTo>
                  <a:pt x="1630" y="170"/>
                </a:lnTo>
                <a:lnTo>
                  <a:pt x="1642" y="168"/>
                </a:lnTo>
                <a:lnTo>
                  <a:pt x="1622" y="153"/>
                </a:lnTo>
                <a:lnTo>
                  <a:pt x="1602" y="139"/>
                </a:lnTo>
                <a:lnTo>
                  <a:pt x="1581" y="124"/>
                </a:lnTo>
                <a:lnTo>
                  <a:pt x="1560" y="110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326500CA-A5F0-48C7-BABD-C545F3B67838}"/>
              </a:ext>
            </a:extLst>
          </p:cNvPr>
          <p:cNvSpPr>
            <a:spLocks/>
          </p:cNvSpPr>
          <p:nvPr/>
        </p:nvSpPr>
        <p:spPr bwMode="gray">
          <a:xfrm>
            <a:off x="7233814" y="3993836"/>
            <a:ext cx="10324" cy="3894"/>
          </a:xfrm>
          <a:custGeom>
            <a:avLst/>
            <a:gdLst>
              <a:gd name="T0" fmla="*/ 5 w 5"/>
              <a:gd name="T1" fmla="*/ 1 h 3"/>
              <a:gd name="T2" fmla="*/ 0 w 5"/>
              <a:gd name="T3" fmla="*/ 3 h 3"/>
              <a:gd name="T4" fmla="*/ 0 w 5"/>
              <a:gd name="T5" fmla="*/ 0 h 3"/>
              <a:gd name="T6" fmla="*/ 5 w 5"/>
              <a:gd name="T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3">
                <a:moveTo>
                  <a:pt x="5" y="1"/>
                </a:moveTo>
                <a:lnTo>
                  <a:pt x="0" y="3"/>
                </a:lnTo>
                <a:lnTo>
                  <a:pt x="0" y="0"/>
                </a:lnTo>
                <a:lnTo>
                  <a:pt x="5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3FA1ABA5-5BC8-43C6-9E19-33629E8A8459}"/>
              </a:ext>
            </a:extLst>
          </p:cNvPr>
          <p:cNvSpPr>
            <a:spLocks/>
          </p:cNvSpPr>
          <p:nvPr/>
        </p:nvSpPr>
        <p:spPr bwMode="gray">
          <a:xfrm>
            <a:off x="7374899" y="3890635"/>
            <a:ext cx="275289" cy="290127"/>
          </a:xfrm>
          <a:custGeom>
            <a:avLst/>
            <a:gdLst>
              <a:gd name="T0" fmla="*/ 143 w 143"/>
              <a:gd name="T1" fmla="*/ 57 h 136"/>
              <a:gd name="T2" fmla="*/ 129 w 143"/>
              <a:gd name="T3" fmla="*/ 55 h 136"/>
              <a:gd name="T4" fmla="*/ 128 w 143"/>
              <a:gd name="T5" fmla="*/ 55 h 136"/>
              <a:gd name="T6" fmla="*/ 122 w 143"/>
              <a:gd name="T7" fmla="*/ 76 h 136"/>
              <a:gd name="T8" fmla="*/ 123 w 143"/>
              <a:gd name="T9" fmla="*/ 78 h 136"/>
              <a:gd name="T10" fmla="*/ 121 w 143"/>
              <a:gd name="T11" fmla="*/ 85 h 136"/>
              <a:gd name="T12" fmla="*/ 111 w 143"/>
              <a:gd name="T13" fmla="*/ 89 h 136"/>
              <a:gd name="T14" fmla="*/ 105 w 143"/>
              <a:gd name="T15" fmla="*/ 100 h 136"/>
              <a:gd name="T16" fmla="*/ 105 w 143"/>
              <a:gd name="T17" fmla="*/ 107 h 136"/>
              <a:gd name="T18" fmla="*/ 109 w 143"/>
              <a:gd name="T19" fmla="*/ 107 h 136"/>
              <a:gd name="T20" fmla="*/ 104 w 143"/>
              <a:gd name="T21" fmla="*/ 112 h 136"/>
              <a:gd name="T22" fmla="*/ 102 w 143"/>
              <a:gd name="T23" fmla="*/ 118 h 136"/>
              <a:gd name="T24" fmla="*/ 99 w 143"/>
              <a:gd name="T25" fmla="*/ 129 h 136"/>
              <a:gd name="T26" fmla="*/ 80 w 143"/>
              <a:gd name="T27" fmla="*/ 136 h 136"/>
              <a:gd name="T28" fmla="*/ 78 w 143"/>
              <a:gd name="T29" fmla="*/ 127 h 136"/>
              <a:gd name="T30" fmla="*/ 75 w 143"/>
              <a:gd name="T31" fmla="*/ 125 h 136"/>
              <a:gd name="T32" fmla="*/ 66 w 143"/>
              <a:gd name="T33" fmla="*/ 125 h 136"/>
              <a:gd name="T34" fmla="*/ 56 w 143"/>
              <a:gd name="T35" fmla="*/ 120 h 136"/>
              <a:gd name="T36" fmla="*/ 49 w 143"/>
              <a:gd name="T37" fmla="*/ 125 h 136"/>
              <a:gd name="T38" fmla="*/ 41 w 143"/>
              <a:gd name="T39" fmla="*/ 126 h 136"/>
              <a:gd name="T40" fmla="*/ 38 w 143"/>
              <a:gd name="T41" fmla="*/ 118 h 136"/>
              <a:gd name="T42" fmla="*/ 25 w 143"/>
              <a:gd name="T43" fmla="*/ 119 h 136"/>
              <a:gd name="T44" fmla="*/ 27 w 143"/>
              <a:gd name="T45" fmla="*/ 118 h 136"/>
              <a:gd name="T46" fmla="*/ 24 w 143"/>
              <a:gd name="T47" fmla="*/ 119 h 136"/>
              <a:gd name="T48" fmla="*/ 18 w 143"/>
              <a:gd name="T49" fmla="*/ 118 h 136"/>
              <a:gd name="T50" fmla="*/ 14 w 143"/>
              <a:gd name="T51" fmla="*/ 101 h 136"/>
              <a:gd name="T52" fmla="*/ 14 w 143"/>
              <a:gd name="T53" fmla="*/ 89 h 136"/>
              <a:gd name="T54" fmla="*/ 6 w 143"/>
              <a:gd name="T55" fmla="*/ 82 h 136"/>
              <a:gd name="T56" fmla="*/ 7 w 143"/>
              <a:gd name="T57" fmla="*/ 82 h 136"/>
              <a:gd name="T58" fmla="*/ 3 w 143"/>
              <a:gd name="T59" fmla="*/ 75 h 136"/>
              <a:gd name="T60" fmla="*/ 3 w 143"/>
              <a:gd name="T61" fmla="*/ 70 h 136"/>
              <a:gd name="T62" fmla="*/ 0 w 143"/>
              <a:gd name="T63" fmla="*/ 57 h 136"/>
              <a:gd name="T64" fmla="*/ 5 w 143"/>
              <a:gd name="T65" fmla="*/ 48 h 136"/>
              <a:gd name="T66" fmla="*/ 2 w 143"/>
              <a:gd name="T67" fmla="*/ 49 h 136"/>
              <a:gd name="T68" fmla="*/ 9 w 143"/>
              <a:gd name="T69" fmla="*/ 37 h 136"/>
              <a:gd name="T70" fmla="*/ 13 w 143"/>
              <a:gd name="T71" fmla="*/ 48 h 136"/>
              <a:gd name="T72" fmla="*/ 26 w 143"/>
              <a:gd name="T73" fmla="*/ 57 h 136"/>
              <a:gd name="T74" fmla="*/ 45 w 143"/>
              <a:gd name="T75" fmla="*/ 53 h 136"/>
              <a:gd name="T76" fmla="*/ 50 w 143"/>
              <a:gd name="T77" fmla="*/ 46 h 136"/>
              <a:gd name="T78" fmla="*/ 69 w 143"/>
              <a:gd name="T79" fmla="*/ 51 h 136"/>
              <a:gd name="T80" fmla="*/ 81 w 143"/>
              <a:gd name="T81" fmla="*/ 46 h 136"/>
              <a:gd name="T82" fmla="*/ 87 w 143"/>
              <a:gd name="T83" fmla="*/ 31 h 136"/>
              <a:gd name="T84" fmla="*/ 90 w 143"/>
              <a:gd name="T85" fmla="*/ 23 h 136"/>
              <a:gd name="T86" fmla="*/ 93 w 143"/>
              <a:gd name="T87" fmla="*/ 12 h 136"/>
              <a:gd name="T88" fmla="*/ 97 w 143"/>
              <a:gd name="T89" fmla="*/ 0 h 136"/>
              <a:gd name="T90" fmla="*/ 109 w 143"/>
              <a:gd name="T91" fmla="*/ 3 h 136"/>
              <a:gd name="T92" fmla="*/ 121 w 143"/>
              <a:gd name="T93" fmla="*/ 4 h 136"/>
              <a:gd name="T94" fmla="*/ 120 w 143"/>
              <a:gd name="T95" fmla="*/ 6 h 136"/>
              <a:gd name="T96" fmla="*/ 121 w 143"/>
              <a:gd name="T97" fmla="*/ 7 h 136"/>
              <a:gd name="T98" fmla="*/ 125 w 143"/>
              <a:gd name="T99" fmla="*/ 12 h 136"/>
              <a:gd name="T100" fmla="*/ 121 w 143"/>
              <a:gd name="T101" fmla="*/ 12 h 136"/>
              <a:gd name="T102" fmla="*/ 116 w 143"/>
              <a:gd name="T103" fmla="*/ 13 h 136"/>
              <a:gd name="T104" fmla="*/ 119 w 143"/>
              <a:gd name="T105" fmla="*/ 19 h 136"/>
              <a:gd name="T106" fmla="*/ 129 w 143"/>
              <a:gd name="T107" fmla="*/ 35 h 136"/>
              <a:gd name="T108" fmla="*/ 126 w 143"/>
              <a:gd name="T109" fmla="*/ 41 h 136"/>
              <a:gd name="T110" fmla="*/ 134 w 143"/>
              <a:gd name="T111" fmla="*/ 48 h 136"/>
              <a:gd name="T112" fmla="*/ 143 w 143"/>
              <a:gd name="T113" fmla="*/ 57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3" h="136">
                <a:moveTo>
                  <a:pt x="143" y="57"/>
                </a:moveTo>
                <a:lnTo>
                  <a:pt x="129" y="55"/>
                </a:lnTo>
                <a:lnTo>
                  <a:pt x="128" y="55"/>
                </a:lnTo>
                <a:lnTo>
                  <a:pt x="122" y="76"/>
                </a:lnTo>
                <a:lnTo>
                  <a:pt x="123" y="78"/>
                </a:lnTo>
                <a:lnTo>
                  <a:pt x="121" y="85"/>
                </a:lnTo>
                <a:lnTo>
                  <a:pt x="111" y="89"/>
                </a:lnTo>
                <a:lnTo>
                  <a:pt x="105" y="100"/>
                </a:lnTo>
                <a:lnTo>
                  <a:pt x="105" y="107"/>
                </a:lnTo>
                <a:lnTo>
                  <a:pt x="109" y="107"/>
                </a:lnTo>
                <a:lnTo>
                  <a:pt x="104" y="112"/>
                </a:lnTo>
                <a:lnTo>
                  <a:pt x="102" y="118"/>
                </a:lnTo>
                <a:lnTo>
                  <a:pt x="99" y="129"/>
                </a:lnTo>
                <a:lnTo>
                  <a:pt x="80" y="136"/>
                </a:lnTo>
                <a:lnTo>
                  <a:pt x="78" y="127"/>
                </a:lnTo>
                <a:lnTo>
                  <a:pt x="75" y="125"/>
                </a:lnTo>
                <a:lnTo>
                  <a:pt x="66" y="125"/>
                </a:lnTo>
                <a:lnTo>
                  <a:pt x="56" y="120"/>
                </a:lnTo>
                <a:lnTo>
                  <a:pt x="49" y="125"/>
                </a:lnTo>
                <a:lnTo>
                  <a:pt x="41" y="126"/>
                </a:lnTo>
                <a:lnTo>
                  <a:pt x="38" y="118"/>
                </a:lnTo>
                <a:lnTo>
                  <a:pt x="25" y="119"/>
                </a:lnTo>
                <a:lnTo>
                  <a:pt x="27" y="118"/>
                </a:lnTo>
                <a:lnTo>
                  <a:pt x="24" y="119"/>
                </a:lnTo>
                <a:lnTo>
                  <a:pt x="18" y="118"/>
                </a:lnTo>
                <a:lnTo>
                  <a:pt x="14" y="101"/>
                </a:lnTo>
                <a:lnTo>
                  <a:pt x="14" y="89"/>
                </a:lnTo>
                <a:lnTo>
                  <a:pt x="6" y="82"/>
                </a:lnTo>
                <a:lnTo>
                  <a:pt x="7" y="82"/>
                </a:lnTo>
                <a:lnTo>
                  <a:pt x="3" y="75"/>
                </a:lnTo>
                <a:lnTo>
                  <a:pt x="3" y="70"/>
                </a:lnTo>
                <a:lnTo>
                  <a:pt x="0" y="57"/>
                </a:lnTo>
                <a:lnTo>
                  <a:pt x="5" y="48"/>
                </a:lnTo>
                <a:lnTo>
                  <a:pt x="2" y="49"/>
                </a:lnTo>
                <a:lnTo>
                  <a:pt x="9" y="37"/>
                </a:lnTo>
                <a:lnTo>
                  <a:pt x="13" y="48"/>
                </a:lnTo>
                <a:lnTo>
                  <a:pt x="26" y="57"/>
                </a:lnTo>
                <a:lnTo>
                  <a:pt x="45" y="53"/>
                </a:lnTo>
                <a:lnTo>
                  <a:pt x="50" y="46"/>
                </a:lnTo>
                <a:lnTo>
                  <a:pt x="69" y="51"/>
                </a:lnTo>
                <a:lnTo>
                  <a:pt x="81" y="46"/>
                </a:lnTo>
                <a:lnTo>
                  <a:pt x="87" y="31"/>
                </a:lnTo>
                <a:lnTo>
                  <a:pt x="90" y="23"/>
                </a:lnTo>
                <a:lnTo>
                  <a:pt x="93" y="12"/>
                </a:lnTo>
                <a:lnTo>
                  <a:pt x="97" y="0"/>
                </a:lnTo>
                <a:lnTo>
                  <a:pt x="109" y="3"/>
                </a:lnTo>
                <a:lnTo>
                  <a:pt x="121" y="4"/>
                </a:lnTo>
                <a:lnTo>
                  <a:pt x="120" y="6"/>
                </a:lnTo>
                <a:lnTo>
                  <a:pt x="121" y="7"/>
                </a:lnTo>
                <a:lnTo>
                  <a:pt x="125" y="12"/>
                </a:lnTo>
                <a:lnTo>
                  <a:pt x="121" y="12"/>
                </a:lnTo>
                <a:lnTo>
                  <a:pt x="116" y="13"/>
                </a:lnTo>
                <a:lnTo>
                  <a:pt x="119" y="19"/>
                </a:lnTo>
                <a:lnTo>
                  <a:pt x="129" y="35"/>
                </a:lnTo>
                <a:lnTo>
                  <a:pt x="126" y="41"/>
                </a:lnTo>
                <a:lnTo>
                  <a:pt x="134" y="48"/>
                </a:lnTo>
                <a:lnTo>
                  <a:pt x="143" y="57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F3F02736-0CED-426E-834E-59156B0CF3E2}"/>
              </a:ext>
            </a:extLst>
          </p:cNvPr>
          <p:cNvSpPr>
            <a:spLocks/>
          </p:cNvSpPr>
          <p:nvPr/>
        </p:nvSpPr>
        <p:spPr bwMode="gray">
          <a:xfrm>
            <a:off x="6999819" y="3851694"/>
            <a:ext cx="297656" cy="393327"/>
          </a:xfrm>
          <a:custGeom>
            <a:avLst/>
            <a:gdLst>
              <a:gd name="T0" fmla="*/ 156 w 156"/>
              <a:gd name="T1" fmla="*/ 141 h 183"/>
              <a:gd name="T2" fmla="*/ 155 w 156"/>
              <a:gd name="T3" fmla="*/ 142 h 183"/>
              <a:gd name="T4" fmla="*/ 152 w 156"/>
              <a:gd name="T5" fmla="*/ 162 h 183"/>
              <a:gd name="T6" fmla="*/ 150 w 156"/>
              <a:gd name="T7" fmla="*/ 183 h 183"/>
              <a:gd name="T8" fmla="*/ 143 w 156"/>
              <a:gd name="T9" fmla="*/ 177 h 183"/>
              <a:gd name="T10" fmla="*/ 142 w 156"/>
              <a:gd name="T11" fmla="*/ 180 h 183"/>
              <a:gd name="T12" fmla="*/ 134 w 156"/>
              <a:gd name="T13" fmla="*/ 178 h 183"/>
              <a:gd name="T14" fmla="*/ 134 w 156"/>
              <a:gd name="T15" fmla="*/ 183 h 183"/>
              <a:gd name="T16" fmla="*/ 121 w 156"/>
              <a:gd name="T17" fmla="*/ 169 h 183"/>
              <a:gd name="T18" fmla="*/ 113 w 156"/>
              <a:gd name="T19" fmla="*/ 161 h 183"/>
              <a:gd name="T20" fmla="*/ 106 w 156"/>
              <a:gd name="T21" fmla="*/ 154 h 183"/>
              <a:gd name="T22" fmla="*/ 98 w 156"/>
              <a:gd name="T23" fmla="*/ 145 h 183"/>
              <a:gd name="T24" fmla="*/ 90 w 156"/>
              <a:gd name="T25" fmla="*/ 138 h 183"/>
              <a:gd name="T26" fmla="*/ 84 w 156"/>
              <a:gd name="T27" fmla="*/ 125 h 183"/>
              <a:gd name="T28" fmla="*/ 78 w 156"/>
              <a:gd name="T29" fmla="*/ 112 h 183"/>
              <a:gd name="T30" fmla="*/ 76 w 156"/>
              <a:gd name="T31" fmla="*/ 109 h 183"/>
              <a:gd name="T32" fmla="*/ 68 w 156"/>
              <a:gd name="T33" fmla="*/ 97 h 183"/>
              <a:gd name="T34" fmla="*/ 61 w 156"/>
              <a:gd name="T35" fmla="*/ 85 h 183"/>
              <a:gd name="T36" fmla="*/ 56 w 156"/>
              <a:gd name="T37" fmla="*/ 75 h 183"/>
              <a:gd name="T38" fmla="*/ 52 w 156"/>
              <a:gd name="T39" fmla="*/ 64 h 183"/>
              <a:gd name="T40" fmla="*/ 41 w 156"/>
              <a:gd name="T41" fmla="*/ 53 h 183"/>
              <a:gd name="T42" fmla="*/ 31 w 156"/>
              <a:gd name="T43" fmla="*/ 40 h 183"/>
              <a:gd name="T44" fmla="*/ 20 w 156"/>
              <a:gd name="T45" fmla="*/ 29 h 183"/>
              <a:gd name="T46" fmla="*/ 10 w 156"/>
              <a:gd name="T47" fmla="*/ 18 h 183"/>
              <a:gd name="T48" fmla="*/ 0 w 156"/>
              <a:gd name="T49" fmla="*/ 0 h 183"/>
              <a:gd name="T50" fmla="*/ 10 w 156"/>
              <a:gd name="T51" fmla="*/ 1 h 183"/>
              <a:gd name="T52" fmla="*/ 20 w 156"/>
              <a:gd name="T53" fmla="*/ 4 h 183"/>
              <a:gd name="T54" fmla="*/ 31 w 156"/>
              <a:gd name="T55" fmla="*/ 5 h 183"/>
              <a:gd name="T56" fmla="*/ 44 w 156"/>
              <a:gd name="T57" fmla="*/ 19 h 183"/>
              <a:gd name="T58" fmla="*/ 46 w 156"/>
              <a:gd name="T59" fmla="*/ 23 h 183"/>
              <a:gd name="T60" fmla="*/ 59 w 156"/>
              <a:gd name="T61" fmla="*/ 35 h 183"/>
              <a:gd name="T62" fmla="*/ 71 w 156"/>
              <a:gd name="T63" fmla="*/ 46 h 183"/>
              <a:gd name="T64" fmla="*/ 82 w 156"/>
              <a:gd name="T65" fmla="*/ 58 h 183"/>
              <a:gd name="T66" fmla="*/ 82 w 156"/>
              <a:gd name="T67" fmla="*/ 52 h 183"/>
              <a:gd name="T68" fmla="*/ 94 w 156"/>
              <a:gd name="T69" fmla="*/ 63 h 183"/>
              <a:gd name="T70" fmla="*/ 101 w 156"/>
              <a:gd name="T71" fmla="*/ 71 h 183"/>
              <a:gd name="T72" fmla="*/ 114 w 156"/>
              <a:gd name="T73" fmla="*/ 81 h 183"/>
              <a:gd name="T74" fmla="*/ 116 w 156"/>
              <a:gd name="T75" fmla="*/ 82 h 183"/>
              <a:gd name="T76" fmla="*/ 125 w 156"/>
              <a:gd name="T77" fmla="*/ 89 h 183"/>
              <a:gd name="T78" fmla="*/ 119 w 156"/>
              <a:gd name="T79" fmla="*/ 93 h 183"/>
              <a:gd name="T80" fmla="*/ 120 w 156"/>
              <a:gd name="T81" fmla="*/ 95 h 183"/>
              <a:gd name="T82" fmla="*/ 119 w 156"/>
              <a:gd name="T83" fmla="*/ 97 h 183"/>
              <a:gd name="T84" fmla="*/ 121 w 156"/>
              <a:gd name="T85" fmla="*/ 103 h 183"/>
              <a:gd name="T86" fmla="*/ 132 w 156"/>
              <a:gd name="T87" fmla="*/ 106 h 183"/>
              <a:gd name="T88" fmla="*/ 134 w 156"/>
              <a:gd name="T89" fmla="*/ 118 h 183"/>
              <a:gd name="T90" fmla="*/ 137 w 156"/>
              <a:gd name="T91" fmla="*/ 121 h 183"/>
              <a:gd name="T92" fmla="*/ 137 w 156"/>
              <a:gd name="T93" fmla="*/ 127 h 183"/>
              <a:gd name="T94" fmla="*/ 149 w 156"/>
              <a:gd name="T95" fmla="*/ 127 h 183"/>
              <a:gd name="T96" fmla="*/ 156 w 156"/>
              <a:gd name="T97" fmla="*/ 141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56" h="183">
                <a:moveTo>
                  <a:pt x="156" y="141"/>
                </a:moveTo>
                <a:lnTo>
                  <a:pt x="155" y="142"/>
                </a:lnTo>
                <a:lnTo>
                  <a:pt x="152" y="162"/>
                </a:lnTo>
                <a:lnTo>
                  <a:pt x="150" y="183"/>
                </a:lnTo>
                <a:lnTo>
                  <a:pt x="143" y="177"/>
                </a:lnTo>
                <a:lnTo>
                  <a:pt x="142" y="180"/>
                </a:lnTo>
                <a:lnTo>
                  <a:pt x="134" y="178"/>
                </a:lnTo>
                <a:lnTo>
                  <a:pt x="134" y="183"/>
                </a:lnTo>
                <a:lnTo>
                  <a:pt x="121" y="169"/>
                </a:lnTo>
                <a:lnTo>
                  <a:pt x="113" y="161"/>
                </a:lnTo>
                <a:lnTo>
                  <a:pt x="106" y="154"/>
                </a:lnTo>
                <a:lnTo>
                  <a:pt x="98" y="145"/>
                </a:lnTo>
                <a:lnTo>
                  <a:pt x="90" y="138"/>
                </a:lnTo>
                <a:lnTo>
                  <a:pt x="84" y="125"/>
                </a:lnTo>
                <a:lnTo>
                  <a:pt x="78" y="112"/>
                </a:lnTo>
                <a:lnTo>
                  <a:pt x="76" y="109"/>
                </a:lnTo>
                <a:lnTo>
                  <a:pt x="68" y="97"/>
                </a:lnTo>
                <a:lnTo>
                  <a:pt x="61" y="85"/>
                </a:lnTo>
                <a:lnTo>
                  <a:pt x="56" y="75"/>
                </a:lnTo>
                <a:lnTo>
                  <a:pt x="52" y="64"/>
                </a:lnTo>
                <a:lnTo>
                  <a:pt x="41" y="53"/>
                </a:lnTo>
                <a:lnTo>
                  <a:pt x="31" y="40"/>
                </a:lnTo>
                <a:lnTo>
                  <a:pt x="20" y="29"/>
                </a:lnTo>
                <a:lnTo>
                  <a:pt x="10" y="18"/>
                </a:lnTo>
                <a:lnTo>
                  <a:pt x="0" y="0"/>
                </a:lnTo>
                <a:lnTo>
                  <a:pt x="10" y="1"/>
                </a:lnTo>
                <a:lnTo>
                  <a:pt x="20" y="4"/>
                </a:lnTo>
                <a:lnTo>
                  <a:pt x="31" y="5"/>
                </a:lnTo>
                <a:lnTo>
                  <a:pt x="44" y="19"/>
                </a:lnTo>
                <a:lnTo>
                  <a:pt x="46" y="23"/>
                </a:lnTo>
                <a:lnTo>
                  <a:pt x="59" y="35"/>
                </a:lnTo>
                <a:lnTo>
                  <a:pt x="71" y="46"/>
                </a:lnTo>
                <a:lnTo>
                  <a:pt x="82" y="58"/>
                </a:lnTo>
                <a:lnTo>
                  <a:pt x="82" y="52"/>
                </a:lnTo>
                <a:lnTo>
                  <a:pt x="94" y="63"/>
                </a:lnTo>
                <a:lnTo>
                  <a:pt x="101" y="71"/>
                </a:lnTo>
                <a:lnTo>
                  <a:pt x="114" y="81"/>
                </a:lnTo>
                <a:lnTo>
                  <a:pt x="116" y="82"/>
                </a:lnTo>
                <a:lnTo>
                  <a:pt x="125" y="89"/>
                </a:lnTo>
                <a:lnTo>
                  <a:pt x="119" y="93"/>
                </a:lnTo>
                <a:lnTo>
                  <a:pt x="120" y="95"/>
                </a:lnTo>
                <a:lnTo>
                  <a:pt x="119" y="97"/>
                </a:lnTo>
                <a:lnTo>
                  <a:pt x="121" y="103"/>
                </a:lnTo>
                <a:lnTo>
                  <a:pt x="132" y="106"/>
                </a:lnTo>
                <a:lnTo>
                  <a:pt x="134" y="118"/>
                </a:lnTo>
                <a:lnTo>
                  <a:pt x="137" y="121"/>
                </a:lnTo>
                <a:lnTo>
                  <a:pt x="137" y="127"/>
                </a:lnTo>
                <a:lnTo>
                  <a:pt x="149" y="127"/>
                </a:lnTo>
                <a:lnTo>
                  <a:pt x="156" y="141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DD3CF2CA-B808-460D-AD98-295804560CF0}"/>
              </a:ext>
            </a:extLst>
          </p:cNvPr>
          <p:cNvSpPr>
            <a:spLocks/>
          </p:cNvSpPr>
          <p:nvPr/>
        </p:nvSpPr>
        <p:spPr bwMode="gray">
          <a:xfrm>
            <a:off x="7980538" y="4058091"/>
            <a:ext cx="266685" cy="299863"/>
          </a:xfrm>
          <a:custGeom>
            <a:avLst/>
            <a:gdLst>
              <a:gd name="T0" fmla="*/ 106 w 140"/>
              <a:gd name="T1" fmla="*/ 118 h 139"/>
              <a:gd name="T2" fmla="*/ 110 w 140"/>
              <a:gd name="T3" fmla="*/ 124 h 139"/>
              <a:gd name="T4" fmla="*/ 125 w 140"/>
              <a:gd name="T5" fmla="*/ 130 h 139"/>
              <a:gd name="T6" fmla="*/ 134 w 140"/>
              <a:gd name="T7" fmla="*/ 126 h 139"/>
              <a:gd name="T8" fmla="*/ 136 w 140"/>
              <a:gd name="T9" fmla="*/ 101 h 139"/>
              <a:gd name="T10" fmla="*/ 138 w 140"/>
              <a:gd name="T11" fmla="*/ 75 h 139"/>
              <a:gd name="T12" fmla="*/ 140 w 140"/>
              <a:gd name="T13" fmla="*/ 48 h 139"/>
              <a:gd name="T14" fmla="*/ 130 w 140"/>
              <a:gd name="T15" fmla="*/ 33 h 139"/>
              <a:gd name="T16" fmla="*/ 95 w 140"/>
              <a:gd name="T17" fmla="*/ 17 h 139"/>
              <a:gd name="T18" fmla="*/ 72 w 140"/>
              <a:gd name="T19" fmla="*/ 33 h 139"/>
              <a:gd name="T20" fmla="*/ 52 w 140"/>
              <a:gd name="T21" fmla="*/ 41 h 139"/>
              <a:gd name="T22" fmla="*/ 46 w 140"/>
              <a:gd name="T23" fmla="*/ 37 h 139"/>
              <a:gd name="T24" fmla="*/ 42 w 140"/>
              <a:gd name="T25" fmla="*/ 11 h 139"/>
              <a:gd name="T26" fmla="*/ 28 w 140"/>
              <a:gd name="T27" fmla="*/ 3 h 139"/>
              <a:gd name="T28" fmla="*/ 3 w 140"/>
              <a:gd name="T29" fmla="*/ 9 h 139"/>
              <a:gd name="T30" fmla="*/ 11 w 140"/>
              <a:gd name="T31" fmla="*/ 21 h 139"/>
              <a:gd name="T32" fmla="*/ 28 w 140"/>
              <a:gd name="T33" fmla="*/ 29 h 139"/>
              <a:gd name="T34" fmla="*/ 38 w 140"/>
              <a:gd name="T35" fmla="*/ 31 h 139"/>
              <a:gd name="T36" fmla="*/ 35 w 140"/>
              <a:gd name="T37" fmla="*/ 34 h 139"/>
              <a:gd name="T38" fmla="*/ 18 w 140"/>
              <a:gd name="T39" fmla="*/ 37 h 139"/>
              <a:gd name="T40" fmla="*/ 24 w 140"/>
              <a:gd name="T41" fmla="*/ 51 h 139"/>
              <a:gd name="T42" fmla="*/ 30 w 140"/>
              <a:gd name="T43" fmla="*/ 58 h 139"/>
              <a:gd name="T44" fmla="*/ 36 w 140"/>
              <a:gd name="T45" fmla="*/ 52 h 139"/>
              <a:gd name="T46" fmla="*/ 52 w 140"/>
              <a:gd name="T47" fmla="*/ 57 h 139"/>
              <a:gd name="T48" fmla="*/ 62 w 140"/>
              <a:gd name="T49" fmla="*/ 65 h 139"/>
              <a:gd name="T50" fmla="*/ 82 w 140"/>
              <a:gd name="T51" fmla="*/ 73 h 139"/>
              <a:gd name="T52" fmla="*/ 98 w 140"/>
              <a:gd name="T53" fmla="*/ 84 h 139"/>
              <a:gd name="T54" fmla="*/ 110 w 140"/>
              <a:gd name="T55" fmla="*/ 106 h 139"/>
              <a:gd name="T56" fmla="*/ 110 w 140"/>
              <a:gd name="T57" fmla="*/ 109 h 139"/>
              <a:gd name="T58" fmla="*/ 105 w 140"/>
              <a:gd name="T59" fmla="*/ 114 h 139"/>
              <a:gd name="T60" fmla="*/ 88 w 140"/>
              <a:gd name="T61" fmla="*/ 129 h 139"/>
              <a:gd name="T62" fmla="*/ 106 w 140"/>
              <a:gd name="T63" fmla="*/ 117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0" h="139">
                <a:moveTo>
                  <a:pt x="106" y="117"/>
                </a:moveTo>
                <a:lnTo>
                  <a:pt x="106" y="118"/>
                </a:lnTo>
                <a:lnTo>
                  <a:pt x="105" y="125"/>
                </a:lnTo>
                <a:lnTo>
                  <a:pt x="110" y="124"/>
                </a:lnTo>
                <a:lnTo>
                  <a:pt x="122" y="121"/>
                </a:lnTo>
                <a:lnTo>
                  <a:pt x="125" y="130"/>
                </a:lnTo>
                <a:lnTo>
                  <a:pt x="134" y="139"/>
                </a:lnTo>
                <a:lnTo>
                  <a:pt x="134" y="126"/>
                </a:lnTo>
                <a:lnTo>
                  <a:pt x="135" y="114"/>
                </a:lnTo>
                <a:lnTo>
                  <a:pt x="136" y="101"/>
                </a:lnTo>
                <a:lnTo>
                  <a:pt x="137" y="88"/>
                </a:lnTo>
                <a:lnTo>
                  <a:pt x="138" y="75"/>
                </a:lnTo>
                <a:lnTo>
                  <a:pt x="138" y="61"/>
                </a:lnTo>
                <a:lnTo>
                  <a:pt x="140" y="48"/>
                </a:lnTo>
                <a:lnTo>
                  <a:pt x="140" y="35"/>
                </a:lnTo>
                <a:lnTo>
                  <a:pt x="130" y="33"/>
                </a:lnTo>
                <a:lnTo>
                  <a:pt x="113" y="24"/>
                </a:lnTo>
                <a:lnTo>
                  <a:pt x="95" y="17"/>
                </a:lnTo>
                <a:lnTo>
                  <a:pt x="86" y="24"/>
                </a:lnTo>
                <a:lnTo>
                  <a:pt x="72" y="33"/>
                </a:lnTo>
                <a:lnTo>
                  <a:pt x="58" y="47"/>
                </a:lnTo>
                <a:lnTo>
                  <a:pt x="52" y="41"/>
                </a:lnTo>
                <a:lnTo>
                  <a:pt x="47" y="34"/>
                </a:lnTo>
                <a:lnTo>
                  <a:pt x="46" y="37"/>
                </a:lnTo>
                <a:lnTo>
                  <a:pt x="42" y="19"/>
                </a:lnTo>
                <a:lnTo>
                  <a:pt x="42" y="11"/>
                </a:lnTo>
                <a:lnTo>
                  <a:pt x="41" y="5"/>
                </a:lnTo>
                <a:lnTo>
                  <a:pt x="28" y="3"/>
                </a:lnTo>
                <a:lnTo>
                  <a:pt x="15" y="0"/>
                </a:lnTo>
                <a:lnTo>
                  <a:pt x="3" y="9"/>
                </a:lnTo>
                <a:lnTo>
                  <a:pt x="0" y="16"/>
                </a:lnTo>
                <a:lnTo>
                  <a:pt x="11" y="21"/>
                </a:lnTo>
                <a:lnTo>
                  <a:pt x="17" y="29"/>
                </a:lnTo>
                <a:lnTo>
                  <a:pt x="28" y="29"/>
                </a:lnTo>
                <a:lnTo>
                  <a:pt x="39" y="29"/>
                </a:lnTo>
                <a:lnTo>
                  <a:pt x="38" y="31"/>
                </a:lnTo>
                <a:lnTo>
                  <a:pt x="36" y="34"/>
                </a:lnTo>
                <a:lnTo>
                  <a:pt x="35" y="34"/>
                </a:lnTo>
                <a:lnTo>
                  <a:pt x="30" y="34"/>
                </a:lnTo>
                <a:lnTo>
                  <a:pt x="18" y="37"/>
                </a:lnTo>
                <a:lnTo>
                  <a:pt x="12" y="40"/>
                </a:lnTo>
                <a:lnTo>
                  <a:pt x="24" y="51"/>
                </a:lnTo>
                <a:lnTo>
                  <a:pt x="23" y="57"/>
                </a:lnTo>
                <a:lnTo>
                  <a:pt x="30" y="58"/>
                </a:lnTo>
                <a:lnTo>
                  <a:pt x="39" y="42"/>
                </a:lnTo>
                <a:lnTo>
                  <a:pt x="36" y="52"/>
                </a:lnTo>
                <a:lnTo>
                  <a:pt x="48" y="57"/>
                </a:lnTo>
                <a:lnTo>
                  <a:pt x="52" y="57"/>
                </a:lnTo>
                <a:lnTo>
                  <a:pt x="51" y="61"/>
                </a:lnTo>
                <a:lnTo>
                  <a:pt x="62" y="65"/>
                </a:lnTo>
                <a:lnTo>
                  <a:pt x="71" y="70"/>
                </a:lnTo>
                <a:lnTo>
                  <a:pt x="82" y="73"/>
                </a:lnTo>
                <a:lnTo>
                  <a:pt x="93" y="77"/>
                </a:lnTo>
                <a:lnTo>
                  <a:pt x="98" y="84"/>
                </a:lnTo>
                <a:lnTo>
                  <a:pt x="105" y="102"/>
                </a:lnTo>
                <a:lnTo>
                  <a:pt x="110" y="106"/>
                </a:lnTo>
                <a:lnTo>
                  <a:pt x="102" y="106"/>
                </a:lnTo>
                <a:lnTo>
                  <a:pt x="110" y="109"/>
                </a:lnTo>
                <a:lnTo>
                  <a:pt x="104" y="109"/>
                </a:lnTo>
                <a:lnTo>
                  <a:pt x="105" y="114"/>
                </a:lnTo>
                <a:lnTo>
                  <a:pt x="96" y="113"/>
                </a:lnTo>
                <a:lnTo>
                  <a:pt x="88" y="129"/>
                </a:lnTo>
                <a:lnTo>
                  <a:pt x="100" y="126"/>
                </a:lnTo>
                <a:lnTo>
                  <a:pt x="106" y="117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9C2B55ED-6A56-4231-A55B-9A8F63C202DE}"/>
              </a:ext>
            </a:extLst>
          </p:cNvPr>
          <p:cNvSpPr>
            <a:spLocks/>
          </p:cNvSpPr>
          <p:nvPr/>
        </p:nvSpPr>
        <p:spPr bwMode="gray">
          <a:xfrm>
            <a:off x="7646748" y="3980206"/>
            <a:ext cx="172055" cy="260918"/>
          </a:xfrm>
          <a:custGeom>
            <a:avLst/>
            <a:gdLst>
              <a:gd name="T0" fmla="*/ 91 w 91"/>
              <a:gd name="T1" fmla="*/ 4 h 119"/>
              <a:gd name="T2" fmla="*/ 88 w 91"/>
              <a:gd name="T3" fmla="*/ 0 h 119"/>
              <a:gd name="T4" fmla="*/ 73 w 91"/>
              <a:gd name="T5" fmla="*/ 15 h 119"/>
              <a:gd name="T6" fmla="*/ 55 w 91"/>
              <a:gd name="T7" fmla="*/ 11 h 119"/>
              <a:gd name="T8" fmla="*/ 37 w 91"/>
              <a:gd name="T9" fmla="*/ 9 h 119"/>
              <a:gd name="T10" fmla="*/ 29 w 91"/>
              <a:gd name="T11" fmla="*/ 9 h 119"/>
              <a:gd name="T12" fmla="*/ 23 w 91"/>
              <a:gd name="T13" fmla="*/ 15 h 119"/>
              <a:gd name="T14" fmla="*/ 21 w 91"/>
              <a:gd name="T15" fmla="*/ 15 h 119"/>
              <a:gd name="T16" fmla="*/ 13 w 91"/>
              <a:gd name="T17" fmla="*/ 28 h 119"/>
              <a:gd name="T18" fmla="*/ 15 w 91"/>
              <a:gd name="T19" fmla="*/ 42 h 119"/>
              <a:gd name="T20" fmla="*/ 13 w 91"/>
              <a:gd name="T21" fmla="*/ 40 h 119"/>
              <a:gd name="T22" fmla="*/ 7 w 91"/>
              <a:gd name="T23" fmla="*/ 56 h 119"/>
              <a:gd name="T24" fmla="*/ 0 w 91"/>
              <a:gd name="T25" fmla="*/ 71 h 119"/>
              <a:gd name="T26" fmla="*/ 1 w 91"/>
              <a:gd name="T27" fmla="*/ 84 h 119"/>
              <a:gd name="T28" fmla="*/ 9 w 91"/>
              <a:gd name="T29" fmla="*/ 86 h 119"/>
              <a:gd name="T30" fmla="*/ 9 w 91"/>
              <a:gd name="T31" fmla="*/ 98 h 119"/>
              <a:gd name="T32" fmla="*/ 7 w 91"/>
              <a:gd name="T33" fmla="*/ 110 h 119"/>
              <a:gd name="T34" fmla="*/ 9 w 91"/>
              <a:gd name="T35" fmla="*/ 119 h 119"/>
              <a:gd name="T36" fmla="*/ 21 w 91"/>
              <a:gd name="T37" fmla="*/ 117 h 119"/>
              <a:gd name="T38" fmla="*/ 21 w 91"/>
              <a:gd name="T39" fmla="*/ 96 h 119"/>
              <a:gd name="T40" fmla="*/ 21 w 91"/>
              <a:gd name="T41" fmla="*/ 77 h 119"/>
              <a:gd name="T42" fmla="*/ 29 w 91"/>
              <a:gd name="T43" fmla="*/ 71 h 119"/>
              <a:gd name="T44" fmla="*/ 30 w 91"/>
              <a:gd name="T45" fmla="*/ 81 h 119"/>
              <a:gd name="T46" fmla="*/ 31 w 91"/>
              <a:gd name="T47" fmla="*/ 88 h 119"/>
              <a:gd name="T48" fmla="*/ 37 w 91"/>
              <a:gd name="T49" fmla="*/ 96 h 119"/>
              <a:gd name="T50" fmla="*/ 40 w 91"/>
              <a:gd name="T51" fmla="*/ 106 h 119"/>
              <a:gd name="T52" fmla="*/ 45 w 91"/>
              <a:gd name="T53" fmla="*/ 104 h 119"/>
              <a:gd name="T54" fmla="*/ 54 w 91"/>
              <a:gd name="T55" fmla="*/ 98 h 119"/>
              <a:gd name="T56" fmla="*/ 57 w 91"/>
              <a:gd name="T57" fmla="*/ 96 h 119"/>
              <a:gd name="T58" fmla="*/ 48 w 91"/>
              <a:gd name="T59" fmla="*/ 82 h 119"/>
              <a:gd name="T60" fmla="*/ 51 w 91"/>
              <a:gd name="T61" fmla="*/ 78 h 119"/>
              <a:gd name="T62" fmla="*/ 43 w 91"/>
              <a:gd name="T63" fmla="*/ 68 h 119"/>
              <a:gd name="T64" fmla="*/ 36 w 91"/>
              <a:gd name="T65" fmla="*/ 57 h 119"/>
              <a:gd name="T66" fmla="*/ 42 w 91"/>
              <a:gd name="T67" fmla="*/ 58 h 119"/>
              <a:gd name="T68" fmla="*/ 52 w 91"/>
              <a:gd name="T69" fmla="*/ 50 h 119"/>
              <a:gd name="T70" fmla="*/ 63 w 91"/>
              <a:gd name="T71" fmla="*/ 42 h 119"/>
              <a:gd name="T72" fmla="*/ 66 w 91"/>
              <a:gd name="T73" fmla="*/ 42 h 119"/>
              <a:gd name="T74" fmla="*/ 63 w 91"/>
              <a:gd name="T75" fmla="*/ 38 h 119"/>
              <a:gd name="T76" fmla="*/ 58 w 91"/>
              <a:gd name="T77" fmla="*/ 39 h 119"/>
              <a:gd name="T78" fmla="*/ 41 w 91"/>
              <a:gd name="T79" fmla="*/ 42 h 119"/>
              <a:gd name="T80" fmla="*/ 29 w 91"/>
              <a:gd name="T81" fmla="*/ 50 h 119"/>
              <a:gd name="T82" fmla="*/ 18 w 91"/>
              <a:gd name="T83" fmla="*/ 34 h 119"/>
              <a:gd name="T84" fmla="*/ 23 w 91"/>
              <a:gd name="T85" fmla="*/ 21 h 119"/>
              <a:gd name="T86" fmla="*/ 43 w 91"/>
              <a:gd name="T87" fmla="*/ 21 h 119"/>
              <a:gd name="T88" fmla="*/ 63 w 91"/>
              <a:gd name="T89" fmla="*/ 22 h 119"/>
              <a:gd name="T90" fmla="*/ 82 w 91"/>
              <a:gd name="T91" fmla="*/ 18 h 119"/>
              <a:gd name="T92" fmla="*/ 91 w 91"/>
              <a:gd name="T93" fmla="*/ 4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1" h="119">
                <a:moveTo>
                  <a:pt x="91" y="4"/>
                </a:moveTo>
                <a:lnTo>
                  <a:pt x="88" y="0"/>
                </a:lnTo>
                <a:lnTo>
                  <a:pt x="73" y="15"/>
                </a:lnTo>
                <a:lnTo>
                  <a:pt x="55" y="11"/>
                </a:lnTo>
                <a:lnTo>
                  <a:pt x="37" y="9"/>
                </a:lnTo>
                <a:lnTo>
                  <a:pt x="29" y="9"/>
                </a:lnTo>
                <a:lnTo>
                  <a:pt x="23" y="15"/>
                </a:lnTo>
                <a:lnTo>
                  <a:pt x="21" y="15"/>
                </a:lnTo>
                <a:lnTo>
                  <a:pt x="13" y="28"/>
                </a:lnTo>
                <a:lnTo>
                  <a:pt x="15" y="42"/>
                </a:lnTo>
                <a:lnTo>
                  <a:pt x="13" y="40"/>
                </a:lnTo>
                <a:lnTo>
                  <a:pt x="7" y="56"/>
                </a:lnTo>
                <a:lnTo>
                  <a:pt x="0" y="71"/>
                </a:lnTo>
                <a:lnTo>
                  <a:pt x="1" y="84"/>
                </a:lnTo>
                <a:lnTo>
                  <a:pt x="9" y="86"/>
                </a:lnTo>
                <a:lnTo>
                  <a:pt x="9" y="98"/>
                </a:lnTo>
                <a:lnTo>
                  <a:pt x="7" y="110"/>
                </a:lnTo>
                <a:lnTo>
                  <a:pt x="9" y="119"/>
                </a:lnTo>
                <a:lnTo>
                  <a:pt x="21" y="117"/>
                </a:lnTo>
                <a:lnTo>
                  <a:pt x="21" y="96"/>
                </a:lnTo>
                <a:lnTo>
                  <a:pt x="21" y="77"/>
                </a:lnTo>
                <a:lnTo>
                  <a:pt x="29" y="71"/>
                </a:lnTo>
                <a:lnTo>
                  <a:pt x="30" y="81"/>
                </a:lnTo>
                <a:lnTo>
                  <a:pt x="31" y="88"/>
                </a:lnTo>
                <a:lnTo>
                  <a:pt x="37" y="96"/>
                </a:lnTo>
                <a:lnTo>
                  <a:pt x="40" y="106"/>
                </a:lnTo>
                <a:lnTo>
                  <a:pt x="45" y="104"/>
                </a:lnTo>
                <a:lnTo>
                  <a:pt x="54" y="98"/>
                </a:lnTo>
                <a:lnTo>
                  <a:pt x="57" y="96"/>
                </a:lnTo>
                <a:lnTo>
                  <a:pt x="48" y="82"/>
                </a:lnTo>
                <a:lnTo>
                  <a:pt x="51" y="78"/>
                </a:lnTo>
                <a:lnTo>
                  <a:pt x="43" y="68"/>
                </a:lnTo>
                <a:lnTo>
                  <a:pt x="36" y="57"/>
                </a:lnTo>
                <a:lnTo>
                  <a:pt x="42" y="58"/>
                </a:lnTo>
                <a:lnTo>
                  <a:pt x="52" y="50"/>
                </a:lnTo>
                <a:lnTo>
                  <a:pt x="63" y="42"/>
                </a:lnTo>
                <a:lnTo>
                  <a:pt x="66" y="42"/>
                </a:lnTo>
                <a:lnTo>
                  <a:pt x="63" y="38"/>
                </a:lnTo>
                <a:lnTo>
                  <a:pt x="58" y="39"/>
                </a:lnTo>
                <a:lnTo>
                  <a:pt x="41" y="42"/>
                </a:lnTo>
                <a:lnTo>
                  <a:pt x="29" y="50"/>
                </a:lnTo>
                <a:lnTo>
                  <a:pt x="18" y="34"/>
                </a:lnTo>
                <a:lnTo>
                  <a:pt x="23" y="21"/>
                </a:lnTo>
                <a:lnTo>
                  <a:pt x="43" y="21"/>
                </a:lnTo>
                <a:lnTo>
                  <a:pt x="63" y="22"/>
                </a:lnTo>
                <a:lnTo>
                  <a:pt x="82" y="18"/>
                </a:lnTo>
                <a:lnTo>
                  <a:pt x="91" y="4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A7E002BD-DAEB-4EA1-A60D-21E36DCE03D9}"/>
              </a:ext>
            </a:extLst>
          </p:cNvPr>
          <p:cNvSpPr>
            <a:spLocks/>
          </p:cNvSpPr>
          <p:nvPr/>
        </p:nvSpPr>
        <p:spPr bwMode="gray">
          <a:xfrm>
            <a:off x="7271667" y="4248915"/>
            <a:ext cx="247760" cy="101253"/>
          </a:xfrm>
          <a:custGeom>
            <a:avLst/>
            <a:gdLst>
              <a:gd name="T0" fmla="*/ 129 w 129"/>
              <a:gd name="T1" fmla="*/ 46 h 46"/>
              <a:gd name="T2" fmla="*/ 127 w 129"/>
              <a:gd name="T3" fmla="*/ 43 h 46"/>
              <a:gd name="T4" fmla="*/ 128 w 129"/>
              <a:gd name="T5" fmla="*/ 30 h 46"/>
              <a:gd name="T6" fmla="*/ 117 w 129"/>
              <a:gd name="T7" fmla="*/ 29 h 46"/>
              <a:gd name="T8" fmla="*/ 107 w 129"/>
              <a:gd name="T9" fmla="*/ 28 h 46"/>
              <a:gd name="T10" fmla="*/ 103 w 129"/>
              <a:gd name="T11" fmla="*/ 18 h 46"/>
              <a:gd name="T12" fmla="*/ 86 w 129"/>
              <a:gd name="T13" fmla="*/ 12 h 46"/>
              <a:gd name="T14" fmla="*/ 79 w 129"/>
              <a:gd name="T15" fmla="*/ 7 h 46"/>
              <a:gd name="T16" fmla="*/ 74 w 129"/>
              <a:gd name="T17" fmla="*/ 14 h 46"/>
              <a:gd name="T18" fmla="*/ 62 w 129"/>
              <a:gd name="T19" fmla="*/ 14 h 46"/>
              <a:gd name="T20" fmla="*/ 51 w 129"/>
              <a:gd name="T21" fmla="*/ 14 h 46"/>
              <a:gd name="T22" fmla="*/ 45 w 129"/>
              <a:gd name="T23" fmla="*/ 8 h 46"/>
              <a:gd name="T24" fmla="*/ 30 w 129"/>
              <a:gd name="T25" fmla="*/ 1 h 46"/>
              <a:gd name="T26" fmla="*/ 12 w 129"/>
              <a:gd name="T27" fmla="*/ 0 h 46"/>
              <a:gd name="T28" fmla="*/ 5 w 129"/>
              <a:gd name="T29" fmla="*/ 11 h 46"/>
              <a:gd name="T30" fmla="*/ 0 w 129"/>
              <a:gd name="T31" fmla="*/ 12 h 46"/>
              <a:gd name="T32" fmla="*/ 14 w 129"/>
              <a:gd name="T33" fmla="*/ 17 h 46"/>
              <a:gd name="T34" fmla="*/ 14 w 129"/>
              <a:gd name="T35" fmla="*/ 20 h 46"/>
              <a:gd name="T36" fmla="*/ 29 w 129"/>
              <a:gd name="T37" fmla="*/ 24 h 46"/>
              <a:gd name="T38" fmla="*/ 43 w 129"/>
              <a:gd name="T39" fmla="*/ 28 h 46"/>
              <a:gd name="T40" fmla="*/ 56 w 129"/>
              <a:gd name="T41" fmla="*/ 31 h 46"/>
              <a:gd name="T42" fmla="*/ 69 w 129"/>
              <a:gd name="T43" fmla="*/ 34 h 46"/>
              <a:gd name="T44" fmla="*/ 89 w 129"/>
              <a:gd name="T45" fmla="*/ 36 h 46"/>
              <a:gd name="T46" fmla="*/ 107 w 129"/>
              <a:gd name="T47" fmla="*/ 38 h 46"/>
              <a:gd name="T48" fmla="*/ 117 w 129"/>
              <a:gd name="T49" fmla="*/ 42 h 46"/>
              <a:gd name="T50" fmla="*/ 129 w 129"/>
              <a:gd name="T51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29" h="46">
                <a:moveTo>
                  <a:pt x="129" y="46"/>
                </a:moveTo>
                <a:lnTo>
                  <a:pt x="127" y="43"/>
                </a:lnTo>
                <a:lnTo>
                  <a:pt x="128" y="30"/>
                </a:lnTo>
                <a:lnTo>
                  <a:pt x="117" y="29"/>
                </a:lnTo>
                <a:lnTo>
                  <a:pt x="107" y="28"/>
                </a:lnTo>
                <a:lnTo>
                  <a:pt x="103" y="18"/>
                </a:lnTo>
                <a:lnTo>
                  <a:pt x="86" y="12"/>
                </a:lnTo>
                <a:lnTo>
                  <a:pt x="79" y="7"/>
                </a:lnTo>
                <a:lnTo>
                  <a:pt x="74" y="14"/>
                </a:lnTo>
                <a:lnTo>
                  <a:pt x="62" y="14"/>
                </a:lnTo>
                <a:lnTo>
                  <a:pt x="51" y="14"/>
                </a:lnTo>
                <a:lnTo>
                  <a:pt x="45" y="8"/>
                </a:lnTo>
                <a:lnTo>
                  <a:pt x="30" y="1"/>
                </a:lnTo>
                <a:lnTo>
                  <a:pt x="12" y="0"/>
                </a:lnTo>
                <a:lnTo>
                  <a:pt x="5" y="11"/>
                </a:lnTo>
                <a:lnTo>
                  <a:pt x="0" y="12"/>
                </a:lnTo>
                <a:lnTo>
                  <a:pt x="14" y="17"/>
                </a:lnTo>
                <a:lnTo>
                  <a:pt x="14" y="20"/>
                </a:lnTo>
                <a:lnTo>
                  <a:pt x="29" y="24"/>
                </a:lnTo>
                <a:lnTo>
                  <a:pt x="43" y="28"/>
                </a:lnTo>
                <a:lnTo>
                  <a:pt x="56" y="31"/>
                </a:lnTo>
                <a:lnTo>
                  <a:pt x="69" y="34"/>
                </a:lnTo>
                <a:lnTo>
                  <a:pt x="89" y="36"/>
                </a:lnTo>
                <a:lnTo>
                  <a:pt x="107" y="38"/>
                </a:lnTo>
                <a:lnTo>
                  <a:pt x="117" y="42"/>
                </a:lnTo>
                <a:lnTo>
                  <a:pt x="129" y="46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id="{E6B2E382-7955-47AF-9033-B37C6CA845E7}"/>
              </a:ext>
            </a:extLst>
          </p:cNvPr>
          <p:cNvSpPr>
            <a:spLocks/>
          </p:cNvSpPr>
          <p:nvPr/>
        </p:nvSpPr>
        <p:spPr bwMode="gray">
          <a:xfrm>
            <a:off x="7756864" y="4336536"/>
            <a:ext cx="108396" cy="64256"/>
          </a:xfrm>
          <a:custGeom>
            <a:avLst/>
            <a:gdLst>
              <a:gd name="T0" fmla="*/ 56 w 56"/>
              <a:gd name="T1" fmla="*/ 0 h 31"/>
              <a:gd name="T2" fmla="*/ 35 w 56"/>
              <a:gd name="T3" fmla="*/ 1 h 31"/>
              <a:gd name="T4" fmla="*/ 22 w 56"/>
              <a:gd name="T5" fmla="*/ 8 h 31"/>
              <a:gd name="T6" fmla="*/ 8 w 56"/>
              <a:gd name="T7" fmla="*/ 14 h 31"/>
              <a:gd name="T8" fmla="*/ 1 w 56"/>
              <a:gd name="T9" fmla="*/ 26 h 31"/>
              <a:gd name="T10" fmla="*/ 0 w 56"/>
              <a:gd name="T11" fmla="*/ 28 h 31"/>
              <a:gd name="T12" fmla="*/ 2 w 56"/>
              <a:gd name="T13" fmla="*/ 31 h 31"/>
              <a:gd name="T14" fmla="*/ 20 w 56"/>
              <a:gd name="T15" fmla="*/ 20 h 31"/>
              <a:gd name="T16" fmla="*/ 38 w 56"/>
              <a:gd name="T17" fmla="*/ 10 h 31"/>
              <a:gd name="T18" fmla="*/ 56 w 56"/>
              <a:gd name="T19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6" h="31">
                <a:moveTo>
                  <a:pt x="56" y="0"/>
                </a:moveTo>
                <a:lnTo>
                  <a:pt x="35" y="1"/>
                </a:lnTo>
                <a:lnTo>
                  <a:pt x="22" y="8"/>
                </a:lnTo>
                <a:lnTo>
                  <a:pt x="8" y="14"/>
                </a:lnTo>
                <a:lnTo>
                  <a:pt x="1" y="26"/>
                </a:lnTo>
                <a:lnTo>
                  <a:pt x="0" y="28"/>
                </a:lnTo>
                <a:lnTo>
                  <a:pt x="2" y="31"/>
                </a:lnTo>
                <a:lnTo>
                  <a:pt x="20" y="20"/>
                </a:lnTo>
                <a:lnTo>
                  <a:pt x="38" y="10"/>
                </a:lnTo>
                <a:lnTo>
                  <a:pt x="56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B2060C09-A468-4D0D-BEAA-D244257CC63B}"/>
              </a:ext>
            </a:extLst>
          </p:cNvPr>
          <p:cNvSpPr>
            <a:spLocks/>
          </p:cNvSpPr>
          <p:nvPr/>
        </p:nvSpPr>
        <p:spPr bwMode="gray">
          <a:xfrm>
            <a:off x="7880743" y="3968521"/>
            <a:ext cx="41294" cy="103199"/>
          </a:xfrm>
          <a:custGeom>
            <a:avLst/>
            <a:gdLst>
              <a:gd name="T0" fmla="*/ 20 w 20"/>
              <a:gd name="T1" fmla="*/ 31 h 49"/>
              <a:gd name="T2" fmla="*/ 12 w 20"/>
              <a:gd name="T3" fmla="*/ 21 h 49"/>
              <a:gd name="T4" fmla="*/ 18 w 20"/>
              <a:gd name="T5" fmla="*/ 13 h 49"/>
              <a:gd name="T6" fmla="*/ 13 w 20"/>
              <a:gd name="T7" fmla="*/ 10 h 49"/>
              <a:gd name="T8" fmla="*/ 8 w 20"/>
              <a:gd name="T9" fmla="*/ 15 h 49"/>
              <a:gd name="T10" fmla="*/ 5 w 20"/>
              <a:gd name="T11" fmla="*/ 22 h 49"/>
              <a:gd name="T12" fmla="*/ 3 w 20"/>
              <a:gd name="T13" fmla="*/ 17 h 49"/>
              <a:gd name="T14" fmla="*/ 7 w 20"/>
              <a:gd name="T15" fmla="*/ 7 h 49"/>
              <a:gd name="T16" fmla="*/ 7 w 20"/>
              <a:gd name="T17" fmla="*/ 0 h 49"/>
              <a:gd name="T18" fmla="*/ 0 w 20"/>
              <a:gd name="T19" fmla="*/ 12 h 49"/>
              <a:gd name="T20" fmla="*/ 1 w 20"/>
              <a:gd name="T21" fmla="*/ 24 h 49"/>
              <a:gd name="T22" fmla="*/ 3 w 20"/>
              <a:gd name="T23" fmla="*/ 35 h 49"/>
              <a:gd name="T24" fmla="*/ 12 w 20"/>
              <a:gd name="T25" fmla="*/ 49 h 49"/>
              <a:gd name="T26" fmla="*/ 6 w 20"/>
              <a:gd name="T27" fmla="*/ 30 h 49"/>
              <a:gd name="T28" fmla="*/ 20 w 20"/>
              <a:gd name="T29" fmla="*/ 31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" h="49">
                <a:moveTo>
                  <a:pt x="20" y="31"/>
                </a:moveTo>
                <a:lnTo>
                  <a:pt x="12" y="21"/>
                </a:lnTo>
                <a:lnTo>
                  <a:pt x="18" y="13"/>
                </a:lnTo>
                <a:lnTo>
                  <a:pt x="13" y="10"/>
                </a:lnTo>
                <a:lnTo>
                  <a:pt x="8" y="15"/>
                </a:lnTo>
                <a:lnTo>
                  <a:pt x="5" y="22"/>
                </a:lnTo>
                <a:lnTo>
                  <a:pt x="3" y="17"/>
                </a:lnTo>
                <a:lnTo>
                  <a:pt x="7" y="7"/>
                </a:lnTo>
                <a:lnTo>
                  <a:pt x="7" y="0"/>
                </a:lnTo>
                <a:lnTo>
                  <a:pt x="0" y="12"/>
                </a:lnTo>
                <a:lnTo>
                  <a:pt x="1" y="24"/>
                </a:lnTo>
                <a:lnTo>
                  <a:pt x="3" y="35"/>
                </a:lnTo>
                <a:lnTo>
                  <a:pt x="12" y="49"/>
                </a:lnTo>
                <a:lnTo>
                  <a:pt x="6" y="30"/>
                </a:lnTo>
                <a:lnTo>
                  <a:pt x="20" y="3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5" name="Freeform 12">
            <a:extLst>
              <a:ext uri="{FF2B5EF4-FFF2-40B4-BE49-F238E27FC236}">
                <a16:creationId xmlns:a16="http://schemas.microsoft.com/office/drawing/2014/main" id="{79ECB66B-CE0F-4BD8-852B-495CDB4C38B8}"/>
              </a:ext>
            </a:extLst>
          </p:cNvPr>
          <p:cNvSpPr>
            <a:spLocks/>
          </p:cNvSpPr>
          <p:nvPr/>
        </p:nvSpPr>
        <p:spPr bwMode="gray">
          <a:xfrm>
            <a:off x="7891069" y="4141819"/>
            <a:ext cx="80867" cy="33102"/>
          </a:xfrm>
          <a:custGeom>
            <a:avLst/>
            <a:gdLst>
              <a:gd name="T0" fmla="*/ 42 w 42"/>
              <a:gd name="T1" fmla="*/ 13 h 15"/>
              <a:gd name="T2" fmla="*/ 39 w 42"/>
              <a:gd name="T3" fmla="*/ 15 h 15"/>
              <a:gd name="T4" fmla="*/ 22 w 42"/>
              <a:gd name="T5" fmla="*/ 8 h 15"/>
              <a:gd name="T6" fmla="*/ 10 w 42"/>
              <a:gd name="T7" fmla="*/ 8 h 15"/>
              <a:gd name="T8" fmla="*/ 2 w 42"/>
              <a:gd name="T9" fmla="*/ 6 h 15"/>
              <a:gd name="T10" fmla="*/ 0 w 42"/>
              <a:gd name="T11" fmla="*/ 9 h 15"/>
              <a:gd name="T12" fmla="*/ 1 w 42"/>
              <a:gd name="T13" fmla="*/ 3 h 15"/>
              <a:gd name="T14" fmla="*/ 9 w 42"/>
              <a:gd name="T15" fmla="*/ 0 h 15"/>
              <a:gd name="T16" fmla="*/ 21 w 42"/>
              <a:gd name="T17" fmla="*/ 1 h 15"/>
              <a:gd name="T18" fmla="*/ 34 w 42"/>
              <a:gd name="T19" fmla="*/ 2 h 15"/>
              <a:gd name="T20" fmla="*/ 42 w 42"/>
              <a:gd name="T21" fmla="*/ 13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2" h="15">
                <a:moveTo>
                  <a:pt x="42" y="13"/>
                </a:moveTo>
                <a:lnTo>
                  <a:pt x="39" y="15"/>
                </a:lnTo>
                <a:lnTo>
                  <a:pt x="22" y="8"/>
                </a:lnTo>
                <a:lnTo>
                  <a:pt x="10" y="8"/>
                </a:lnTo>
                <a:lnTo>
                  <a:pt x="2" y="6"/>
                </a:lnTo>
                <a:lnTo>
                  <a:pt x="0" y="9"/>
                </a:lnTo>
                <a:lnTo>
                  <a:pt x="1" y="3"/>
                </a:lnTo>
                <a:lnTo>
                  <a:pt x="9" y="0"/>
                </a:lnTo>
                <a:lnTo>
                  <a:pt x="21" y="1"/>
                </a:lnTo>
                <a:lnTo>
                  <a:pt x="34" y="2"/>
                </a:lnTo>
                <a:lnTo>
                  <a:pt x="42" y="1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AE6FA63C-80BB-43DA-9237-FC9E555D0E7C}"/>
              </a:ext>
            </a:extLst>
          </p:cNvPr>
          <p:cNvSpPr>
            <a:spLocks/>
          </p:cNvSpPr>
          <p:nvPr/>
        </p:nvSpPr>
        <p:spPr bwMode="gray">
          <a:xfrm>
            <a:off x="7662233" y="4326801"/>
            <a:ext cx="87749" cy="23367"/>
          </a:xfrm>
          <a:custGeom>
            <a:avLst/>
            <a:gdLst>
              <a:gd name="T0" fmla="*/ 45 w 45"/>
              <a:gd name="T1" fmla="*/ 1 h 10"/>
              <a:gd name="T2" fmla="*/ 43 w 45"/>
              <a:gd name="T3" fmla="*/ 0 h 10"/>
              <a:gd name="T4" fmla="*/ 38 w 45"/>
              <a:gd name="T5" fmla="*/ 5 h 10"/>
              <a:gd name="T6" fmla="*/ 30 w 45"/>
              <a:gd name="T7" fmla="*/ 5 h 10"/>
              <a:gd name="T8" fmla="*/ 19 w 45"/>
              <a:gd name="T9" fmla="*/ 2 h 10"/>
              <a:gd name="T10" fmla="*/ 7 w 45"/>
              <a:gd name="T11" fmla="*/ 1 h 10"/>
              <a:gd name="T12" fmla="*/ 0 w 45"/>
              <a:gd name="T13" fmla="*/ 7 h 10"/>
              <a:gd name="T14" fmla="*/ 6 w 45"/>
              <a:gd name="T15" fmla="*/ 10 h 10"/>
              <a:gd name="T16" fmla="*/ 20 w 45"/>
              <a:gd name="T17" fmla="*/ 10 h 10"/>
              <a:gd name="T18" fmla="*/ 34 w 45"/>
              <a:gd name="T19" fmla="*/ 8 h 10"/>
              <a:gd name="T20" fmla="*/ 45 w 45"/>
              <a:gd name="T21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5" h="10">
                <a:moveTo>
                  <a:pt x="45" y="1"/>
                </a:moveTo>
                <a:lnTo>
                  <a:pt x="43" y="0"/>
                </a:lnTo>
                <a:lnTo>
                  <a:pt x="38" y="5"/>
                </a:lnTo>
                <a:lnTo>
                  <a:pt x="30" y="5"/>
                </a:lnTo>
                <a:lnTo>
                  <a:pt x="19" y="2"/>
                </a:lnTo>
                <a:lnTo>
                  <a:pt x="7" y="1"/>
                </a:lnTo>
                <a:lnTo>
                  <a:pt x="0" y="7"/>
                </a:lnTo>
                <a:lnTo>
                  <a:pt x="6" y="10"/>
                </a:lnTo>
                <a:lnTo>
                  <a:pt x="20" y="10"/>
                </a:lnTo>
                <a:lnTo>
                  <a:pt x="34" y="8"/>
                </a:lnTo>
                <a:lnTo>
                  <a:pt x="45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3BF92C64-AAD7-4559-86AB-74E0621B043B}"/>
              </a:ext>
            </a:extLst>
          </p:cNvPr>
          <p:cNvSpPr>
            <a:spLocks/>
          </p:cNvSpPr>
          <p:nvPr/>
        </p:nvSpPr>
        <p:spPr bwMode="gray">
          <a:xfrm>
            <a:off x="7275110" y="4097036"/>
            <a:ext cx="41294" cy="52573"/>
          </a:xfrm>
          <a:custGeom>
            <a:avLst/>
            <a:gdLst>
              <a:gd name="T0" fmla="*/ 23 w 23"/>
              <a:gd name="T1" fmla="*/ 17 h 24"/>
              <a:gd name="T2" fmla="*/ 22 w 23"/>
              <a:gd name="T3" fmla="*/ 24 h 24"/>
              <a:gd name="T4" fmla="*/ 10 w 23"/>
              <a:gd name="T5" fmla="*/ 17 h 24"/>
              <a:gd name="T6" fmla="*/ 5 w 23"/>
              <a:gd name="T7" fmla="*/ 9 h 24"/>
              <a:gd name="T8" fmla="*/ 0 w 23"/>
              <a:gd name="T9" fmla="*/ 6 h 24"/>
              <a:gd name="T10" fmla="*/ 6 w 23"/>
              <a:gd name="T11" fmla="*/ 1 h 24"/>
              <a:gd name="T12" fmla="*/ 8 w 23"/>
              <a:gd name="T13" fmla="*/ 0 h 24"/>
              <a:gd name="T14" fmla="*/ 14 w 23"/>
              <a:gd name="T15" fmla="*/ 13 h 24"/>
              <a:gd name="T16" fmla="*/ 23 w 23"/>
              <a:gd name="T17" fmla="*/ 1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24">
                <a:moveTo>
                  <a:pt x="23" y="17"/>
                </a:moveTo>
                <a:lnTo>
                  <a:pt x="22" y="24"/>
                </a:lnTo>
                <a:lnTo>
                  <a:pt x="10" y="17"/>
                </a:lnTo>
                <a:lnTo>
                  <a:pt x="5" y="9"/>
                </a:lnTo>
                <a:lnTo>
                  <a:pt x="0" y="6"/>
                </a:lnTo>
                <a:lnTo>
                  <a:pt x="6" y="1"/>
                </a:lnTo>
                <a:lnTo>
                  <a:pt x="8" y="0"/>
                </a:lnTo>
                <a:lnTo>
                  <a:pt x="14" y="13"/>
                </a:lnTo>
                <a:lnTo>
                  <a:pt x="23" y="1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1E61FAF4-3F3B-4A88-AE6A-7F0CF989B61B}"/>
              </a:ext>
            </a:extLst>
          </p:cNvPr>
          <p:cNvSpPr>
            <a:spLocks/>
          </p:cNvSpPr>
          <p:nvPr/>
        </p:nvSpPr>
        <p:spPr bwMode="gray">
          <a:xfrm>
            <a:off x="7577927" y="4322907"/>
            <a:ext cx="68822" cy="35048"/>
          </a:xfrm>
          <a:custGeom>
            <a:avLst/>
            <a:gdLst>
              <a:gd name="T0" fmla="*/ 35 w 35"/>
              <a:gd name="T1" fmla="*/ 8 h 14"/>
              <a:gd name="T2" fmla="*/ 33 w 35"/>
              <a:gd name="T3" fmla="*/ 3 h 14"/>
              <a:gd name="T4" fmla="*/ 28 w 35"/>
              <a:gd name="T5" fmla="*/ 5 h 14"/>
              <a:gd name="T6" fmla="*/ 16 w 35"/>
              <a:gd name="T7" fmla="*/ 0 h 14"/>
              <a:gd name="T8" fmla="*/ 22 w 35"/>
              <a:gd name="T9" fmla="*/ 7 h 14"/>
              <a:gd name="T10" fmla="*/ 15 w 35"/>
              <a:gd name="T11" fmla="*/ 7 h 14"/>
              <a:gd name="T12" fmla="*/ 3 w 35"/>
              <a:gd name="T13" fmla="*/ 6 h 14"/>
              <a:gd name="T14" fmla="*/ 0 w 35"/>
              <a:gd name="T15" fmla="*/ 14 h 14"/>
              <a:gd name="T16" fmla="*/ 12 w 35"/>
              <a:gd name="T17" fmla="*/ 12 h 14"/>
              <a:gd name="T18" fmla="*/ 24 w 35"/>
              <a:gd name="T19" fmla="*/ 9 h 14"/>
              <a:gd name="T20" fmla="*/ 29 w 35"/>
              <a:gd name="T21" fmla="*/ 11 h 14"/>
              <a:gd name="T22" fmla="*/ 28 w 35"/>
              <a:gd name="T23" fmla="*/ 11 h 14"/>
              <a:gd name="T24" fmla="*/ 35 w 35"/>
              <a:gd name="T25" fmla="*/ 8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5" h="14">
                <a:moveTo>
                  <a:pt x="35" y="8"/>
                </a:moveTo>
                <a:lnTo>
                  <a:pt x="33" y="3"/>
                </a:lnTo>
                <a:lnTo>
                  <a:pt x="28" y="5"/>
                </a:lnTo>
                <a:lnTo>
                  <a:pt x="16" y="0"/>
                </a:lnTo>
                <a:lnTo>
                  <a:pt x="22" y="7"/>
                </a:lnTo>
                <a:lnTo>
                  <a:pt x="15" y="7"/>
                </a:lnTo>
                <a:lnTo>
                  <a:pt x="3" y="6"/>
                </a:lnTo>
                <a:lnTo>
                  <a:pt x="0" y="14"/>
                </a:lnTo>
                <a:lnTo>
                  <a:pt x="12" y="12"/>
                </a:lnTo>
                <a:lnTo>
                  <a:pt x="24" y="9"/>
                </a:lnTo>
                <a:lnTo>
                  <a:pt x="29" y="11"/>
                </a:lnTo>
                <a:lnTo>
                  <a:pt x="28" y="11"/>
                </a:lnTo>
                <a:lnTo>
                  <a:pt x="35" y="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C1EC9281-6704-4B2A-B013-6CDDCE5DE626}"/>
              </a:ext>
            </a:extLst>
          </p:cNvPr>
          <p:cNvSpPr>
            <a:spLocks/>
          </p:cNvSpPr>
          <p:nvPr/>
        </p:nvSpPr>
        <p:spPr bwMode="gray">
          <a:xfrm>
            <a:off x="7638145" y="4371585"/>
            <a:ext cx="46455" cy="25313"/>
          </a:xfrm>
          <a:custGeom>
            <a:avLst/>
            <a:gdLst>
              <a:gd name="T0" fmla="*/ 25 w 25"/>
              <a:gd name="T1" fmla="*/ 11 h 13"/>
              <a:gd name="T2" fmla="*/ 15 w 25"/>
              <a:gd name="T3" fmla="*/ 13 h 13"/>
              <a:gd name="T4" fmla="*/ 3 w 25"/>
              <a:gd name="T5" fmla="*/ 6 h 13"/>
              <a:gd name="T6" fmla="*/ 0 w 25"/>
              <a:gd name="T7" fmla="*/ 0 h 13"/>
              <a:gd name="T8" fmla="*/ 15 w 25"/>
              <a:gd name="T9" fmla="*/ 1 h 13"/>
              <a:gd name="T10" fmla="*/ 25 w 25"/>
              <a:gd name="T11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" h="13">
                <a:moveTo>
                  <a:pt x="25" y="11"/>
                </a:moveTo>
                <a:lnTo>
                  <a:pt x="15" y="13"/>
                </a:lnTo>
                <a:lnTo>
                  <a:pt x="3" y="6"/>
                </a:lnTo>
                <a:lnTo>
                  <a:pt x="0" y="0"/>
                </a:lnTo>
                <a:lnTo>
                  <a:pt x="15" y="1"/>
                </a:lnTo>
                <a:lnTo>
                  <a:pt x="25" y="1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5C3F4ACD-E243-4A4F-BB07-7E331817A123}"/>
              </a:ext>
            </a:extLst>
          </p:cNvPr>
          <p:cNvSpPr>
            <a:spLocks/>
          </p:cNvSpPr>
          <p:nvPr/>
        </p:nvSpPr>
        <p:spPr bwMode="gray">
          <a:xfrm>
            <a:off x="7837729" y="4149608"/>
            <a:ext cx="34410" cy="25313"/>
          </a:xfrm>
          <a:custGeom>
            <a:avLst/>
            <a:gdLst>
              <a:gd name="T0" fmla="*/ 18 w 18"/>
              <a:gd name="T1" fmla="*/ 5 h 12"/>
              <a:gd name="T2" fmla="*/ 12 w 18"/>
              <a:gd name="T3" fmla="*/ 12 h 12"/>
              <a:gd name="T4" fmla="*/ 0 w 18"/>
              <a:gd name="T5" fmla="*/ 5 h 12"/>
              <a:gd name="T6" fmla="*/ 6 w 18"/>
              <a:gd name="T7" fmla="*/ 0 h 12"/>
              <a:gd name="T8" fmla="*/ 18 w 18"/>
              <a:gd name="T9" fmla="*/ 5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12">
                <a:moveTo>
                  <a:pt x="18" y="5"/>
                </a:moveTo>
                <a:lnTo>
                  <a:pt x="12" y="12"/>
                </a:lnTo>
                <a:lnTo>
                  <a:pt x="0" y="5"/>
                </a:lnTo>
                <a:lnTo>
                  <a:pt x="6" y="0"/>
                </a:lnTo>
                <a:lnTo>
                  <a:pt x="18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" name="Freeform 18">
            <a:extLst>
              <a:ext uri="{FF2B5EF4-FFF2-40B4-BE49-F238E27FC236}">
                <a16:creationId xmlns:a16="http://schemas.microsoft.com/office/drawing/2014/main" id="{012ABE41-F094-42C6-BF8F-2E024C288EDF}"/>
              </a:ext>
            </a:extLst>
          </p:cNvPr>
          <p:cNvSpPr>
            <a:spLocks/>
          </p:cNvSpPr>
          <p:nvPr/>
        </p:nvSpPr>
        <p:spPr bwMode="gray">
          <a:xfrm>
            <a:off x="7519427" y="4322907"/>
            <a:ext cx="30969" cy="21419"/>
          </a:xfrm>
          <a:custGeom>
            <a:avLst/>
            <a:gdLst>
              <a:gd name="T0" fmla="*/ 16 w 16"/>
              <a:gd name="T1" fmla="*/ 5 h 9"/>
              <a:gd name="T2" fmla="*/ 14 w 16"/>
              <a:gd name="T3" fmla="*/ 1 h 9"/>
              <a:gd name="T4" fmla="*/ 0 w 16"/>
              <a:gd name="T5" fmla="*/ 0 h 9"/>
              <a:gd name="T6" fmla="*/ 8 w 16"/>
              <a:gd name="T7" fmla="*/ 9 h 9"/>
              <a:gd name="T8" fmla="*/ 16 w 16"/>
              <a:gd name="T9" fmla="*/ 5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9">
                <a:moveTo>
                  <a:pt x="16" y="5"/>
                </a:moveTo>
                <a:lnTo>
                  <a:pt x="14" y="1"/>
                </a:lnTo>
                <a:lnTo>
                  <a:pt x="0" y="0"/>
                </a:lnTo>
                <a:lnTo>
                  <a:pt x="8" y="9"/>
                </a:lnTo>
                <a:lnTo>
                  <a:pt x="16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" name="Freeform 19">
            <a:extLst>
              <a:ext uri="{FF2B5EF4-FFF2-40B4-BE49-F238E27FC236}">
                <a16:creationId xmlns:a16="http://schemas.microsoft.com/office/drawing/2014/main" id="{6772EE4C-1FB6-490D-9C79-1C1843A459F2}"/>
              </a:ext>
            </a:extLst>
          </p:cNvPr>
          <p:cNvSpPr>
            <a:spLocks/>
          </p:cNvSpPr>
          <p:nvPr/>
        </p:nvSpPr>
        <p:spPr bwMode="gray">
          <a:xfrm>
            <a:off x="7053156" y="3989942"/>
            <a:ext cx="22367" cy="35048"/>
          </a:xfrm>
          <a:custGeom>
            <a:avLst/>
            <a:gdLst>
              <a:gd name="T0" fmla="*/ 12 w 12"/>
              <a:gd name="T1" fmla="*/ 8 h 16"/>
              <a:gd name="T2" fmla="*/ 11 w 12"/>
              <a:gd name="T3" fmla="*/ 16 h 16"/>
              <a:gd name="T4" fmla="*/ 0 w 12"/>
              <a:gd name="T5" fmla="*/ 1 h 16"/>
              <a:gd name="T6" fmla="*/ 3 w 12"/>
              <a:gd name="T7" fmla="*/ 0 h 16"/>
              <a:gd name="T8" fmla="*/ 12 w 12"/>
              <a:gd name="T9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" h="16">
                <a:moveTo>
                  <a:pt x="12" y="8"/>
                </a:moveTo>
                <a:lnTo>
                  <a:pt x="11" y="16"/>
                </a:lnTo>
                <a:lnTo>
                  <a:pt x="0" y="1"/>
                </a:lnTo>
                <a:lnTo>
                  <a:pt x="3" y="0"/>
                </a:lnTo>
                <a:lnTo>
                  <a:pt x="12" y="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" name="Freeform 20">
            <a:extLst>
              <a:ext uri="{FF2B5EF4-FFF2-40B4-BE49-F238E27FC236}">
                <a16:creationId xmlns:a16="http://schemas.microsoft.com/office/drawing/2014/main" id="{2C88B763-D1CE-4F2F-A54B-E907144EAA03}"/>
              </a:ext>
            </a:extLst>
          </p:cNvPr>
          <p:cNvSpPr>
            <a:spLocks/>
          </p:cNvSpPr>
          <p:nvPr/>
        </p:nvSpPr>
        <p:spPr bwMode="gray">
          <a:xfrm>
            <a:off x="7559001" y="4326801"/>
            <a:ext cx="18926" cy="27260"/>
          </a:xfrm>
          <a:custGeom>
            <a:avLst/>
            <a:gdLst>
              <a:gd name="T0" fmla="*/ 10 w 10"/>
              <a:gd name="T1" fmla="*/ 4 h 12"/>
              <a:gd name="T2" fmla="*/ 7 w 10"/>
              <a:gd name="T3" fmla="*/ 0 h 12"/>
              <a:gd name="T4" fmla="*/ 0 w 10"/>
              <a:gd name="T5" fmla="*/ 8 h 12"/>
              <a:gd name="T6" fmla="*/ 4 w 10"/>
              <a:gd name="T7" fmla="*/ 12 h 12"/>
              <a:gd name="T8" fmla="*/ 10 w 10"/>
              <a:gd name="T9" fmla="*/ 4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12">
                <a:moveTo>
                  <a:pt x="10" y="4"/>
                </a:moveTo>
                <a:lnTo>
                  <a:pt x="7" y="0"/>
                </a:lnTo>
                <a:lnTo>
                  <a:pt x="0" y="8"/>
                </a:lnTo>
                <a:lnTo>
                  <a:pt x="4" y="12"/>
                </a:lnTo>
                <a:lnTo>
                  <a:pt x="10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F913B22A-1B52-4D23-9B7C-5ADAE932D296}"/>
              </a:ext>
            </a:extLst>
          </p:cNvPr>
          <p:cNvSpPr>
            <a:spLocks/>
          </p:cNvSpPr>
          <p:nvPr/>
        </p:nvSpPr>
        <p:spPr bwMode="gray">
          <a:xfrm>
            <a:off x="7340489" y="4132084"/>
            <a:ext cx="18926" cy="21419"/>
          </a:xfrm>
          <a:custGeom>
            <a:avLst/>
            <a:gdLst>
              <a:gd name="T0" fmla="*/ 9 w 9"/>
              <a:gd name="T1" fmla="*/ 4 h 10"/>
              <a:gd name="T2" fmla="*/ 4 w 9"/>
              <a:gd name="T3" fmla="*/ 8 h 10"/>
              <a:gd name="T4" fmla="*/ 0 w 9"/>
              <a:gd name="T5" fmla="*/ 10 h 10"/>
              <a:gd name="T6" fmla="*/ 1 w 9"/>
              <a:gd name="T7" fmla="*/ 0 h 10"/>
              <a:gd name="T8" fmla="*/ 9 w 9"/>
              <a:gd name="T9" fmla="*/ 4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10">
                <a:moveTo>
                  <a:pt x="9" y="4"/>
                </a:moveTo>
                <a:lnTo>
                  <a:pt x="4" y="8"/>
                </a:lnTo>
                <a:lnTo>
                  <a:pt x="0" y="10"/>
                </a:lnTo>
                <a:lnTo>
                  <a:pt x="1" y="0"/>
                </a:lnTo>
                <a:lnTo>
                  <a:pt x="9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" name="Freeform 22">
            <a:extLst>
              <a:ext uri="{FF2B5EF4-FFF2-40B4-BE49-F238E27FC236}">
                <a16:creationId xmlns:a16="http://schemas.microsoft.com/office/drawing/2014/main" id="{68F22D3D-54F6-4964-A9FA-F82A4E24CB4E}"/>
              </a:ext>
            </a:extLst>
          </p:cNvPr>
          <p:cNvSpPr>
            <a:spLocks/>
          </p:cNvSpPr>
          <p:nvPr/>
        </p:nvSpPr>
        <p:spPr bwMode="gray">
          <a:xfrm>
            <a:off x="7743100" y="4198285"/>
            <a:ext cx="18926" cy="42837"/>
          </a:xfrm>
          <a:custGeom>
            <a:avLst/>
            <a:gdLst>
              <a:gd name="T0" fmla="*/ 8 w 8"/>
              <a:gd name="T1" fmla="*/ 13 h 19"/>
              <a:gd name="T2" fmla="*/ 7 w 8"/>
              <a:gd name="T3" fmla="*/ 12 h 19"/>
              <a:gd name="T4" fmla="*/ 7 w 8"/>
              <a:gd name="T5" fmla="*/ 5 h 19"/>
              <a:gd name="T6" fmla="*/ 7 w 8"/>
              <a:gd name="T7" fmla="*/ 0 h 19"/>
              <a:gd name="T8" fmla="*/ 0 w 8"/>
              <a:gd name="T9" fmla="*/ 19 h 19"/>
              <a:gd name="T10" fmla="*/ 8 w 8"/>
              <a:gd name="T11" fmla="*/ 13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19">
                <a:moveTo>
                  <a:pt x="8" y="13"/>
                </a:moveTo>
                <a:lnTo>
                  <a:pt x="7" y="12"/>
                </a:lnTo>
                <a:lnTo>
                  <a:pt x="7" y="5"/>
                </a:lnTo>
                <a:lnTo>
                  <a:pt x="7" y="0"/>
                </a:lnTo>
                <a:lnTo>
                  <a:pt x="0" y="19"/>
                </a:lnTo>
                <a:lnTo>
                  <a:pt x="8" y="1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" name="Freeform 23">
            <a:extLst>
              <a:ext uri="{FF2B5EF4-FFF2-40B4-BE49-F238E27FC236}">
                <a16:creationId xmlns:a16="http://schemas.microsoft.com/office/drawing/2014/main" id="{C176453D-57D2-452E-9D2D-AB89A8455006}"/>
              </a:ext>
            </a:extLst>
          </p:cNvPr>
          <p:cNvSpPr>
            <a:spLocks/>
          </p:cNvSpPr>
          <p:nvPr/>
        </p:nvSpPr>
        <p:spPr bwMode="gray">
          <a:xfrm>
            <a:off x="8063124" y="4231389"/>
            <a:ext cx="8604" cy="27260"/>
          </a:xfrm>
          <a:custGeom>
            <a:avLst/>
            <a:gdLst>
              <a:gd name="T0" fmla="*/ 4 w 4"/>
              <a:gd name="T1" fmla="*/ 9 h 12"/>
              <a:gd name="T2" fmla="*/ 3 w 4"/>
              <a:gd name="T3" fmla="*/ 0 h 12"/>
              <a:gd name="T4" fmla="*/ 0 w 4"/>
              <a:gd name="T5" fmla="*/ 2 h 12"/>
              <a:gd name="T6" fmla="*/ 0 w 4"/>
              <a:gd name="T7" fmla="*/ 12 h 12"/>
              <a:gd name="T8" fmla="*/ 4 w 4"/>
              <a:gd name="T9" fmla="*/ 9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12">
                <a:moveTo>
                  <a:pt x="4" y="9"/>
                </a:moveTo>
                <a:lnTo>
                  <a:pt x="3" y="0"/>
                </a:lnTo>
                <a:lnTo>
                  <a:pt x="0" y="2"/>
                </a:lnTo>
                <a:lnTo>
                  <a:pt x="0" y="12"/>
                </a:lnTo>
                <a:lnTo>
                  <a:pt x="4" y="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" name="Freeform 24">
            <a:extLst>
              <a:ext uri="{FF2B5EF4-FFF2-40B4-BE49-F238E27FC236}">
                <a16:creationId xmlns:a16="http://schemas.microsoft.com/office/drawing/2014/main" id="{60DB4097-6690-4F55-97E4-A3304D2B4647}"/>
              </a:ext>
            </a:extLst>
          </p:cNvPr>
          <p:cNvSpPr>
            <a:spLocks/>
          </p:cNvSpPr>
          <p:nvPr/>
        </p:nvSpPr>
        <p:spPr bwMode="gray">
          <a:xfrm>
            <a:off x="7099611" y="4075617"/>
            <a:ext cx="15486" cy="27260"/>
          </a:xfrm>
          <a:custGeom>
            <a:avLst/>
            <a:gdLst>
              <a:gd name="T0" fmla="*/ 8 w 8"/>
              <a:gd name="T1" fmla="*/ 12 h 12"/>
              <a:gd name="T2" fmla="*/ 2 w 8"/>
              <a:gd name="T3" fmla="*/ 12 h 12"/>
              <a:gd name="T4" fmla="*/ 0 w 8"/>
              <a:gd name="T5" fmla="*/ 0 h 12"/>
              <a:gd name="T6" fmla="*/ 8 w 8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12">
                <a:moveTo>
                  <a:pt x="8" y="12"/>
                </a:moveTo>
                <a:lnTo>
                  <a:pt x="2" y="12"/>
                </a:lnTo>
                <a:lnTo>
                  <a:pt x="0" y="0"/>
                </a:lnTo>
                <a:lnTo>
                  <a:pt x="8" y="1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" name="Freeform 25">
            <a:extLst>
              <a:ext uri="{FF2B5EF4-FFF2-40B4-BE49-F238E27FC236}">
                <a16:creationId xmlns:a16="http://schemas.microsoft.com/office/drawing/2014/main" id="{AA1FF3CA-D876-455C-8E78-2C5ED3D547E7}"/>
              </a:ext>
            </a:extLst>
          </p:cNvPr>
          <p:cNvSpPr>
            <a:spLocks/>
          </p:cNvSpPr>
          <p:nvPr/>
        </p:nvSpPr>
        <p:spPr bwMode="gray">
          <a:xfrm>
            <a:off x="7737937" y="4202181"/>
            <a:ext cx="12045" cy="25313"/>
          </a:xfrm>
          <a:custGeom>
            <a:avLst/>
            <a:gdLst>
              <a:gd name="T0" fmla="*/ 6 w 6"/>
              <a:gd name="T1" fmla="*/ 5 h 12"/>
              <a:gd name="T2" fmla="*/ 5 w 6"/>
              <a:gd name="T3" fmla="*/ 0 h 12"/>
              <a:gd name="T4" fmla="*/ 3 w 6"/>
              <a:gd name="T5" fmla="*/ 2 h 12"/>
              <a:gd name="T6" fmla="*/ 0 w 6"/>
              <a:gd name="T7" fmla="*/ 12 h 12"/>
              <a:gd name="T8" fmla="*/ 6 w 6"/>
              <a:gd name="T9" fmla="*/ 5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12">
                <a:moveTo>
                  <a:pt x="6" y="5"/>
                </a:moveTo>
                <a:lnTo>
                  <a:pt x="5" y="0"/>
                </a:lnTo>
                <a:lnTo>
                  <a:pt x="3" y="2"/>
                </a:lnTo>
                <a:lnTo>
                  <a:pt x="0" y="12"/>
                </a:lnTo>
                <a:lnTo>
                  <a:pt x="6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" name="Freeform 26">
            <a:extLst>
              <a:ext uri="{FF2B5EF4-FFF2-40B4-BE49-F238E27FC236}">
                <a16:creationId xmlns:a16="http://schemas.microsoft.com/office/drawing/2014/main" id="{64F9ECB5-4D57-4CA8-BBB9-B2EDC9DD5885}"/>
              </a:ext>
            </a:extLst>
          </p:cNvPr>
          <p:cNvSpPr>
            <a:spLocks/>
          </p:cNvSpPr>
          <p:nvPr/>
        </p:nvSpPr>
        <p:spPr bwMode="gray">
          <a:xfrm>
            <a:off x="7796437" y="4097036"/>
            <a:ext cx="25808" cy="9735"/>
          </a:xfrm>
          <a:custGeom>
            <a:avLst/>
            <a:gdLst>
              <a:gd name="T0" fmla="*/ 15 w 15"/>
              <a:gd name="T1" fmla="*/ 4 h 4"/>
              <a:gd name="T2" fmla="*/ 6 w 15"/>
              <a:gd name="T3" fmla="*/ 0 h 4"/>
              <a:gd name="T4" fmla="*/ 0 w 15"/>
              <a:gd name="T5" fmla="*/ 4 h 4"/>
              <a:gd name="T6" fmla="*/ 15 w 15"/>
              <a:gd name="T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5" h="4">
                <a:moveTo>
                  <a:pt x="15" y="4"/>
                </a:moveTo>
                <a:lnTo>
                  <a:pt x="6" y="0"/>
                </a:lnTo>
                <a:lnTo>
                  <a:pt x="0" y="4"/>
                </a:lnTo>
                <a:lnTo>
                  <a:pt x="15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" name="Freeform 27">
            <a:extLst>
              <a:ext uri="{FF2B5EF4-FFF2-40B4-BE49-F238E27FC236}">
                <a16:creationId xmlns:a16="http://schemas.microsoft.com/office/drawing/2014/main" id="{C8A50545-1118-4104-97B9-4E08CC873F56}"/>
              </a:ext>
            </a:extLst>
          </p:cNvPr>
          <p:cNvSpPr>
            <a:spLocks/>
          </p:cNvSpPr>
          <p:nvPr/>
        </p:nvSpPr>
        <p:spPr bwMode="gray">
          <a:xfrm>
            <a:off x="8052799" y="4258650"/>
            <a:ext cx="10324" cy="21419"/>
          </a:xfrm>
          <a:custGeom>
            <a:avLst/>
            <a:gdLst>
              <a:gd name="T0" fmla="*/ 6 w 6"/>
              <a:gd name="T1" fmla="*/ 5 h 9"/>
              <a:gd name="T2" fmla="*/ 1 w 6"/>
              <a:gd name="T3" fmla="*/ 9 h 9"/>
              <a:gd name="T4" fmla="*/ 0 w 6"/>
              <a:gd name="T5" fmla="*/ 0 h 9"/>
              <a:gd name="T6" fmla="*/ 6 w 6"/>
              <a:gd name="T7" fmla="*/ 5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9">
                <a:moveTo>
                  <a:pt x="6" y="5"/>
                </a:moveTo>
                <a:lnTo>
                  <a:pt x="1" y="9"/>
                </a:lnTo>
                <a:lnTo>
                  <a:pt x="0" y="0"/>
                </a:lnTo>
                <a:lnTo>
                  <a:pt x="6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" name="Freeform 28">
            <a:extLst>
              <a:ext uri="{FF2B5EF4-FFF2-40B4-BE49-F238E27FC236}">
                <a16:creationId xmlns:a16="http://schemas.microsoft.com/office/drawing/2014/main" id="{AACB324B-D4AA-4538-822A-1CC51C9D8505}"/>
              </a:ext>
            </a:extLst>
          </p:cNvPr>
          <p:cNvSpPr>
            <a:spLocks/>
          </p:cNvSpPr>
          <p:nvPr/>
        </p:nvSpPr>
        <p:spPr bwMode="gray">
          <a:xfrm>
            <a:off x="7474693" y="4283962"/>
            <a:ext cx="37851" cy="9735"/>
          </a:xfrm>
          <a:custGeom>
            <a:avLst/>
            <a:gdLst>
              <a:gd name="T0" fmla="*/ 21 w 21"/>
              <a:gd name="T1" fmla="*/ 0 h 2"/>
              <a:gd name="T2" fmla="*/ 6 w 21"/>
              <a:gd name="T3" fmla="*/ 2 h 2"/>
              <a:gd name="T4" fmla="*/ 0 w 21"/>
              <a:gd name="T5" fmla="*/ 0 h 2"/>
              <a:gd name="T6" fmla="*/ 21 w 21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" h="2">
                <a:moveTo>
                  <a:pt x="21" y="0"/>
                </a:moveTo>
                <a:lnTo>
                  <a:pt x="6" y="2"/>
                </a:lnTo>
                <a:lnTo>
                  <a:pt x="0" y="0"/>
                </a:lnTo>
                <a:lnTo>
                  <a:pt x="2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" name="Freeform 29">
            <a:extLst>
              <a:ext uri="{FF2B5EF4-FFF2-40B4-BE49-F238E27FC236}">
                <a16:creationId xmlns:a16="http://schemas.microsoft.com/office/drawing/2014/main" id="{ACD3E3D9-E0BC-44B8-B707-04262BD72BFC}"/>
              </a:ext>
            </a:extLst>
          </p:cNvPr>
          <p:cNvSpPr>
            <a:spLocks/>
          </p:cNvSpPr>
          <p:nvPr/>
        </p:nvSpPr>
        <p:spPr bwMode="gray">
          <a:xfrm>
            <a:off x="7512546" y="3867270"/>
            <a:ext cx="27529" cy="35048"/>
          </a:xfrm>
          <a:custGeom>
            <a:avLst/>
            <a:gdLst>
              <a:gd name="T0" fmla="*/ 7 w 13"/>
              <a:gd name="T1" fmla="*/ 14 h 14"/>
              <a:gd name="T2" fmla="*/ 0 w 13"/>
              <a:gd name="T3" fmla="*/ 6 h 14"/>
              <a:gd name="T4" fmla="*/ 13 w 13"/>
              <a:gd name="T5" fmla="*/ 0 h 14"/>
              <a:gd name="T6" fmla="*/ 13 w 13"/>
              <a:gd name="T7" fmla="*/ 1 h 14"/>
              <a:gd name="T8" fmla="*/ 11 w 13"/>
              <a:gd name="T9" fmla="*/ 8 h 14"/>
              <a:gd name="T10" fmla="*/ 7 w 13"/>
              <a:gd name="T11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" h="14">
                <a:moveTo>
                  <a:pt x="7" y="14"/>
                </a:moveTo>
                <a:lnTo>
                  <a:pt x="0" y="6"/>
                </a:lnTo>
                <a:lnTo>
                  <a:pt x="13" y="0"/>
                </a:lnTo>
                <a:lnTo>
                  <a:pt x="13" y="1"/>
                </a:lnTo>
                <a:lnTo>
                  <a:pt x="11" y="8"/>
                </a:lnTo>
                <a:lnTo>
                  <a:pt x="7" y="1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C5D4C167-D6C9-4E48-8985-3175200808D9}"/>
              </a:ext>
            </a:extLst>
          </p:cNvPr>
          <p:cNvSpPr>
            <a:spLocks/>
          </p:cNvSpPr>
          <p:nvPr/>
        </p:nvSpPr>
        <p:spPr bwMode="gray">
          <a:xfrm>
            <a:off x="8156034" y="3707603"/>
            <a:ext cx="3441" cy="3894"/>
          </a:xfrm>
          <a:custGeom>
            <a:avLst/>
            <a:gdLst>
              <a:gd name="T0" fmla="*/ 1 w 1"/>
              <a:gd name="T1" fmla="*/ 2 h 3"/>
              <a:gd name="T2" fmla="*/ 0 w 1"/>
              <a:gd name="T3" fmla="*/ 0 h 3"/>
              <a:gd name="T4" fmla="*/ 0 w 1"/>
              <a:gd name="T5" fmla="*/ 3 h 3"/>
              <a:gd name="T6" fmla="*/ 0 w 1"/>
              <a:gd name="T7" fmla="*/ 2 h 3"/>
              <a:gd name="T8" fmla="*/ 0 w 1"/>
              <a:gd name="T9" fmla="*/ 0 h 3"/>
              <a:gd name="T10" fmla="*/ 1 w 1"/>
              <a:gd name="T11" fmla="*/ 0 h 3"/>
              <a:gd name="T12" fmla="*/ 1 w 1"/>
              <a:gd name="T13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3">
                <a:moveTo>
                  <a:pt x="1" y="2"/>
                </a:moveTo>
                <a:lnTo>
                  <a:pt x="0" y="0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lnTo>
                  <a:pt x="1" y="0"/>
                </a:lnTo>
                <a:lnTo>
                  <a:pt x="1" y="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" name="Freeform 35">
            <a:extLst>
              <a:ext uri="{FF2B5EF4-FFF2-40B4-BE49-F238E27FC236}">
                <a16:creationId xmlns:a16="http://schemas.microsoft.com/office/drawing/2014/main" id="{6BAEB501-2172-4628-BA1C-E74357864AEB}"/>
              </a:ext>
            </a:extLst>
          </p:cNvPr>
          <p:cNvSpPr>
            <a:spLocks/>
          </p:cNvSpPr>
          <p:nvPr/>
        </p:nvSpPr>
        <p:spPr bwMode="gray">
          <a:xfrm>
            <a:off x="7393828" y="3799121"/>
            <a:ext cx="259803" cy="212241"/>
          </a:xfrm>
          <a:custGeom>
            <a:avLst/>
            <a:gdLst>
              <a:gd name="T0" fmla="*/ 102 w 136"/>
              <a:gd name="T1" fmla="*/ 0 h 98"/>
              <a:gd name="T2" fmla="*/ 111 w 136"/>
              <a:gd name="T3" fmla="*/ 8 h 98"/>
              <a:gd name="T4" fmla="*/ 110 w 136"/>
              <a:gd name="T5" fmla="*/ 17 h 98"/>
              <a:gd name="T6" fmla="*/ 117 w 136"/>
              <a:gd name="T7" fmla="*/ 15 h 98"/>
              <a:gd name="T8" fmla="*/ 117 w 136"/>
              <a:gd name="T9" fmla="*/ 18 h 98"/>
              <a:gd name="T10" fmla="*/ 119 w 136"/>
              <a:gd name="T11" fmla="*/ 20 h 98"/>
              <a:gd name="T12" fmla="*/ 136 w 136"/>
              <a:gd name="T13" fmla="*/ 27 h 98"/>
              <a:gd name="T14" fmla="*/ 122 w 136"/>
              <a:gd name="T15" fmla="*/ 32 h 98"/>
              <a:gd name="T16" fmla="*/ 125 w 136"/>
              <a:gd name="T17" fmla="*/ 40 h 98"/>
              <a:gd name="T18" fmla="*/ 116 w 136"/>
              <a:gd name="T19" fmla="*/ 42 h 98"/>
              <a:gd name="T20" fmla="*/ 112 w 136"/>
              <a:gd name="T21" fmla="*/ 45 h 98"/>
              <a:gd name="T22" fmla="*/ 100 w 136"/>
              <a:gd name="T23" fmla="*/ 44 h 98"/>
              <a:gd name="T24" fmla="*/ 88 w 136"/>
              <a:gd name="T25" fmla="*/ 41 h 98"/>
              <a:gd name="T26" fmla="*/ 84 w 136"/>
              <a:gd name="T27" fmla="*/ 53 h 98"/>
              <a:gd name="T28" fmla="*/ 81 w 136"/>
              <a:gd name="T29" fmla="*/ 64 h 98"/>
              <a:gd name="T30" fmla="*/ 78 w 136"/>
              <a:gd name="T31" fmla="*/ 72 h 98"/>
              <a:gd name="T32" fmla="*/ 72 w 136"/>
              <a:gd name="T33" fmla="*/ 87 h 98"/>
              <a:gd name="T34" fmla="*/ 60 w 136"/>
              <a:gd name="T35" fmla="*/ 92 h 98"/>
              <a:gd name="T36" fmla="*/ 41 w 136"/>
              <a:gd name="T37" fmla="*/ 87 h 98"/>
              <a:gd name="T38" fmla="*/ 36 w 136"/>
              <a:gd name="T39" fmla="*/ 94 h 98"/>
              <a:gd name="T40" fmla="*/ 17 w 136"/>
              <a:gd name="T41" fmla="*/ 98 h 98"/>
              <a:gd name="T42" fmla="*/ 4 w 136"/>
              <a:gd name="T43" fmla="*/ 89 h 98"/>
              <a:gd name="T44" fmla="*/ 0 w 136"/>
              <a:gd name="T45" fmla="*/ 78 h 98"/>
              <a:gd name="T46" fmla="*/ 2 w 136"/>
              <a:gd name="T47" fmla="*/ 80 h 98"/>
              <a:gd name="T48" fmla="*/ 12 w 136"/>
              <a:gd name="T49" fmla="*/ 86 h 98"/>
              <a:gd name="T50" fmla="*/ 24 w 136"/>
              <a:gd name="T51" fmla="*/ 89 h 98"/>
              <a:gd name="T52" fmla="*/ 21 w 136"/>
              <a:gd name="T53" fmla="*/ 89 h 98"/>
              <a:gd name="T54" fmla="*/ 23 w 136"/>
              <a:gd name="T55" fmla="*/ 86 h 98"/>
              <a:gd name="T56" fmla="*/ 24 w 136"/>
              <a:gd name="T57" fmla="*/ 77 h 98"/>
              <a:gd name="T58" fmla="*/ 24 w 136"/>
              <a:gd name="T59" fmla="*/ 75 h 98"/>
              <a:gd name="T60" fmla="*/ 26 w 136"/>
              <a:gd name="T61" fmla="*/ 69 h 98"/>
              <a:gd name="T62" fmla="*/ 36 w 136"/>
              <a:gd name="T63" fmla="*/ 65 h 98"/>
              <a:gd name="T64" fmla="*/ 46 w 136"/>
              <a:gd name="T65" fmla="*/ 62 h 98"/>
              <a:gd name="T66" fmla="*/ 54 w 136"/>
              <a:gd name="T67" fmla="*/ 51 h 98"/>
              <a:gd name="T68" fmla="*/ 63 w 136"/>
              <a:gd name="T69" fmla="*/ 39 h 98"/>
              <a:gd name="T70" fmla="*/ 70 w 136"/>
              <a:gd name="T71" fmla="*/ 47 h 98"/>
              <a:gd name="T72" fmla="*/ 74 w 136"/>
              <a:gd name="T73" fmla="*/ 41 h 98"/>
              <a:gd name="T74" fmla="*/ 76 w 136"/>
              <a:gd name="T75" fmla="*/ 34 h 98"/>
              <a:gd name="T76" fmla="*/ 80 w 136"/>
              <a:gd name="T77" fmla="*/ 42 h 98"/>
              <a:gd name="T78" fmla="*/ 78 w 136"/>
              <a:gd name="T79" fmla="*/ 35 h 98"/>
              <a:gd name="T80" fmla="*/ 82 w 136"/>
              <a:gd name="T81" fmla="*/ 32 h 98"/>
              <a:gd name="T82" fmla="*/ 81 w 136"/>
              <a:gd name="T83" fmla="*/ 27 h 98"/>
              <a:gd name="T84" fmla="*/ 84 w 136"/>
              <a:gd name="T85" fmla="*/ 23 h 98"/>
              <a:gd name="T86" fmla="*/ 90 w 136"/>
              <a:gd name="T87" fmla="*/ 12 h 98"/>
              <a:gd name="T88" fmla="*/ 98 w 136"/>
              <a:gd name="T89" fmla="*/ 0 h 98"/>
              <a:gd name="T90" fmla="*/ 99 w 136"/>
              <a:gd name="T91" fmla="*/ 5 h 98"/>
              <a:gd name="T92" fmla="*/ 102 w 136"/>
              <a:gd name="T93" fmla="*/ 0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6" h="98">
                <a:moveTo>
                  <a:pt x="102" y="0"/>
                </a:moveTo>
                <a:lnTo>
                  <a:pt x="111" y="8"/>
                </a:lnTo>
                <a:lnTo>
                  <a:pt x="110" y="17"/>
                </a:lnTo>
                <a:lnTo>
                  <a:pt x="117" y="15"/>
                </a:lnTo>
                <a:lnTo>
                  <a:pt x="117" y="18"/>
                </a:lnTo>
                <a:lnTo>
                  <a:pt x="119" y="20"/>
                </a:lnTo>
                <a:lnTo>
                  <a:pt x="136" y="27"/>
                </a:lnTo>
                <a:lnTo>
                  <a:pt x="122" y="32"/>
                </a:lnTo>
                <a:lnTo>
                  <a:pt x="125" y="40"/>
                </a:lnTo>
                <a:lnTo>
                  <a:pt x="116" y="42"/>
                </a:lnTo>
                <a:lnTo>
                  <a:pt x="112" y="45"/>
                </a:lnTo>
                <a:lnTo>
                  <a:pt x="100" y="44"/>
                </a:lnTo>
                <a:lnTo>
                  <a:pt x="88" y="41"/>
                </a:lnTo>
                <a:lnTo>
                  <a:pt x="84" y="53"/>
                </a:lnTo>
                <a:lnTo>
                  <a:pt x="81" y="64"/>
                </a:lnTo>
                <a:lnTo>
                  <a:pt x="78" y="72"/>
                </a:lnTo>
                <a:lnTo>
                  <a:pt x="72" y="87"/>
                </a:lnTo>
                <a:lnTo>
                  <a:pt x="60" y="92"/>
                </a:lnTo>
                <a:lnTo>
                  <a:pt x="41" y="87"/>
                </a:lnTo>
                <a:lnTo>
                  <a:pt x="36" y="94"/>
                </a:lnTo>
                <a:lnTo>
                  <a:pt x="17" y="98"/>
                </a:lnTo>
                <a:lnTo>
                  <a:pt x="4" y="89"/>
                </a:lnTo>
                <a:lnTo>
                  <a:pt x="0" y="78"/>
                </a:lnTo>
                <a:lnTo>
                  <a:pt x="2" y="80"/>
                </a:lnTo>
                <a:lnTo>
                  <a:pt x="12" y="86"/>
                </a:lnTo>
                <a:lnTo>
                  <a:pt x="24" y="89"/>
                </a:lnTo>
                <a:lnTo>
                  <a:pt x="21" y="89"/>
                </a:lnTo>
                <a:lnTo>
                  <a:pt x="23" y="86"/>
                </a:lnTo>
                <a:lnTo>
                  <a:pt x="24" y="77"/>
                </a:lnTo>
                <a:lnTo>
                  <a:pt x="24" y="75"/>
                </a:lnTo>
                <a:lnTo>
                  <a:pt x="26" y="69"/>
                </a:lnTo>
                <a:lnTo>
                  <a:pt x="36" y="65"/>
                </a:lnTo>
                <a:lnTo>
                  <a:pt x="46" y="62"/>
                </a:lnTo>
                <a:lnTo>
                  <a:pt x="54" y="51"/>
                </a:lnTo>
                <a:lnTo>
                  <a:pt x="63" y="39"/>
                </a:lnTo>
                <a:lnTo>
                  <a:pt x="70" y="47"/>
                </a:lnTo>
                <a:lnTo>
                  <a:pt x="74" y="41"/>
                </a:lnTo>
                <a:lnTo>
                  <a:pt x="76" y="34"/>
                </a:lnTo>
                <a:lnTo>
                  <a:pt x="80" y="42"/>
                </a:lnTo>
                <a:lnTo>
                  <a:pt x="78" y="35"/>
                </a:lnTo>
                <a:lnTo>
                  <a:pt x="82" y="32"/>
                </a:lnTo>
                <a:lnTo>
                  <a:pt x="81" y="27"/>
                </a:lnTo>
                <a:lnTo>
                  <a:pt x="84" y="23"/>
                </a:lnTo>
                <a:lnTo>
                  <a:pt x="90" y="12"/>
                </a:lnTo>
                <a:lnTo>
                  <a:pt x="98" y="0"/>
                </a:lnTo>
                <a:lnTo>
                  <a:pt x="99" y="5"/>
                </a:lnTo>
                <a:lnTo>
                  <a:pt x="102" y="0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" name="Freeform 36">
            <a:extLst>
              <a:ext uri="{FF2B5EF4-FFF2-40B4-BE49-F238E27FC236}">
                <a16:creationId xmlns:a16="http://schemas.microsoft.com/office/drawing/2014/main" id="{397890D7-D0BD-40F1-B745-D4115D7C1D91}"/>
              </a:ext>
            </a:extLst>
          </p:cNvPr>
          <p:cNvSpPr>
            <a:spLocks/>
          </p:cNvSpPr>
          <p:nvPr/>
        </p:nvSpPr>
        <p:spPr bwMode="gray">
          <a:xfrm>
            <a:off x="7134023" y="3812749"/>
            <a:ext cx="113557" cy="181087"/>
          </a:xfrm>
          <a:custGeom>
            <a:avLst/>
            <a:gdLst>
              <a:gd name="T0" fmla="*/ 51 w 61"/>
              <a:gd name="T1" fmla="*/ 83 h 83"/>
              <a:gd name="T2" fmla="*/ 34 w 61"/>
              <a:gd name="T3" fmla="*/ 71 h 83"/>
              <a:gd name="T4" fmla="*/ 18 w 61"/>
              <a:gd name="T5" fmla="*/ 59 h 83"/>
              <a:gd name="T6" fmla="*/ 10 w 61"/>
              <a:gd name="T7" fmla="*/ 41 h 83"/>
              <a:gd name="T8" fmla="*/ 4 w 61"/>
              <a:gd name="T9" fmla="*/ 22 h 83"/>
              <a:gd name="T10" fmla="*/ 0 w 61"/>
              <a:gd name="T11" fmla="*/ 3 h 83"/>
              <a:gd name="T12" fmla="*/ 0 w 61"/>
              <a:gd name="T13" fmla="*/ 0 h 83"/>
              <a:gd name="T14" fmla="*/ 12 w 61"/>
              <a:gd name="T15" fmla="*/ 5 h 83"/>
              <a:gd name="T16" fmla="*/ 12 w 61"/>
              <a:gd name="T17" fmla="*/ 12 h 83"/>
              <a:gd name="T18" fmla="*/ 21 w 61"/>
              <a:gd name="T19" fmla="*/ 12 h 83"/>
              <a:gd name="T20" fmla="*/ 27 w 61"/>
              <a:gd name="T21" fmla="*/ 5 h 83"/>
              <a:gd name="T22" fmla="*/ 37 w 61"/>
              <a:gd name="T23" fmla="*/ 15 h 83"/>
              <a:gd name="T24" fmla="*/ 45 w 61"/>
              <a:gd name="T25" fmla="*/ 24 h 83"/>
              <a:gd name="T26" fmla="*/ 46 w 61"/>
              <a:gd name="T27" fmla="*/ 40 h 83"/>
              <a:gd name="T28" fmla="*/ 49 w 61"/>
              <a:gd name="T29" fmla="*/ 54 h 83"/>
              <a:gd name="T30" fmla="*/ 55 w 61"/>
              <a:gd name="T31" fmla="*/ 69 h 83"/>
              <a:gd name="T32" fmla="*/ 61 w 61"/>
              <a:gd name="T33" fmla="*/ 83 h 83"/>
              <a:gd name="T34" fmla="*/ 56 w 61"/>
              <a:gd name="T35" fmla="*/ 81 h 83"/>
              <a:gd name="T36" fmla="*/ 51 w 61"/>
              <a:gd name="T37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1" h="83">
                <a:moveTo>
                  <a:pt x="51" y="83"/>
                </a:moveTo>
                <a:lnTo>
                  <a:pt x="34" y="71"/>
                </a:lnTo>
                <a:lnTo>
                  <a:pt x="18" y="59"/>
                </a:lnTo>
                <a:lnTo>
                  <a:pt x="10" y="41"/>
                </a:lnTo>
                <a:lnTo>
                  <a:pt x="4" y="22"/>
                </a:lnTo>
                <a:lnTo>
                  <a:pt x="0" y="3"/>
                </a:lnTo>
                <a:lnTo>
                  <a:pt x="0" y="0"/>
                </a:lnTo>
                <a:lnTo>
                  <a:pt x="12" y="5"/>
                </a:lnTo>
                <a:lnTo>
                  <a:pt x="12" y="12"/>
                </a:lnTo>
                <a:lnTo>
                  <a:pt x="21" y="12"/>
                </a:lnTo>
                <a:lnTo>
                  <a:pt x="27" y="5"/>
                </a:lnTo>
                <a:lnTo>
                  <a:pt x="37" y="15"/>
                </a:lnTo>
                <a:lnTo>
                  <a:pt x="45" y="24"/>
                </a:lnTo>
                <a:lnTo>
                  <a:pt x="46" y="40"/>
                </a:lnTo>
                <a:lnTo>
                  <a:pt x="49" y="54"/>
                </a:lnTo>
                <a:lnTo>
                  <a:pt x="55" y="69"/>
                </a:lnTo>
                <a:lnTo>
                  <a:pt x="61" y="83"/>
                </a:lnTo>
                <a:lnTo>
                  <a:pt x="56" y="81"/>
                </a:lnTo>
                <a:lnTo>
                  <a:pt x="51" y="8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" name="Freeform 40">
            <a:extLst>
              <a:ext uri="{FF2B5EF4-FFF2-40B4-BE49-F238E27FC236}">
                <a16:creationId xmlns:a16="http://schemas.microsoft.com/office/drawing/2014/main" id="{2F0FEDB4-18BD-4C96-BE6B-A223948BC000}"/>
              </a:ext>
            </a:extLst>
          </p:cNvPr>
          <p:cNvSpPr>
            <a:spLocks/>
          </p:cNvSpPr>
          <p:nvPr/>
        </p:nvSpPr>
        <p:spPr bwMode="gray">
          <a:xfrm>
            <a:off x="8059683" y="3773806"/>
            <a:ext cx="3441" cy="11683"/>
          </a:xfrm>
          <a:custGeom>
            <a:avLst/>
            <a:gdLst>
              <a:gd name="T0" fmla="*/ 2 w 3"/>
              <a:gd name="T1" fmla="*/ 5 h 6"/>
              <a:gd name="T2" fmla="*/ 2 w 3"/>
              <a:gd name="T3" fmla="*/ 4 h 6"/>
              <a:gd name="T4" fmla="*/ 2 w 3"/>
              <a:gd name="T5" fmla="*/ 3 h 6"/>
              <a:gd name="T6" fmla="*/ 3 w 3"/>
              <a:gd name="T7" fmla="*/ 1 h 6"/>
              <a:gd name="T8" fmla="*/ 3 w 3"/>
              <a:gd name="T9" fmla="*/ 0 h 6"/>
              <a:gd name="T10" fmla="*/ 3 w 3"/>
              <a:gd name="T11" fmla="*/ 1 h 6"/>
              <a:gd name="T12" fmla="*/ 3 w 3"/>
              <a:gd name="T13" fmla="*/ 4 h 6"/>
              <a:gd name="T14" fmla="*/ 3 w 3"/>
              <a:gd name="T15" fmla="*/ 5 h 6"/>
              <a:gd name="T16" fmla="*/ 3 w 3"/>
              <a:gd name="T17" fmla="*/ 6 h 6"/>
              <a:gd name="T18" fmla="*/ 2 w 3"/>
              <a:gd name="T19" fmla="*/ 6 h 6"/>
              <a:gd name="T20" fmla="*/ 0 w 3"/>
              <a:gd name="T21" fmla="*/ 5 h 6"/>
              <a:gd name="T22" fmla="*/ 2 w 3"/>
              <a:gd name="T23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" h="6">
                <a:moveTo>
                  <a:pt x="2" y="5"/>
                </a:moveTo>
                <a:lnTo>
                  <a:pt x="2" y="4"/>
                </a:lnTo>
                <a:lnTo>
                  <a:pt x="2" y="3"/>
                </a:lnTo>
                <a:lnTo>
                  <a:pt x="3" y="1"/>
                </a:lnTo>
                <a:lnTo>
                  <a:pt x="3" y="0"/>
                </a:lnTo>
                <a:lnTo>
                  <a:pt x="3" y="1"/>
                </a:lnTo>
                <a:lnTo>
                  <a:pt x="3" y="4"/>
                </a:lnTo>
                <a:lnTo>
                  <a:pt x="3" y="5"/>
                </a:lnTo>
                <a:lnTo>
                  <a:pt x="3" y="6"/>
                </a:lnTo>
                <a:lnTo>
                  <a:pt x="2" y="6"/>
                </a:lnTo>
                <a:lnTo>
                  <a:pt x="0" y="5"/>
                </a:lnTo>
                <a:lnTo>
                  <a:pt x="2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" name="Freeform 41">
            <a:extLst>
              <a:ext uri="{FF2B5EF4-FFF2-40B4-BE49-F238E27FC236}">
                <a16:creationId xmlns:a16="http://schemas.microsoft.com/office/drawing/2014/main" id="{42810242-2B1F-4626-B3B9-CC296142A833}"/>
              </a:ext>
            </a:extLst>
          </p:cNvPr>
          <p:cNvSpPr>
            <a:spLocks/>
          </p:cNvSpPr>
          <p:nvPr/>
        </p:nvSpPr>
        <p:spPr bwMode="gray">
          <a:xfrm>
            <a:off x="8059683" y="3785489"/>
            <a:ext cx="3441" cy="3894"/>
          </a:xfrm>
          <a:custGeom>
            <a:avLst/>
            <a:gdLst>
              <a:gd name="T0" fmla="*/ 1 w 1"/>
              <a:gd name="T1" fmla="*/ 2 h 2"/>
              <a:gd name="T2" fmla="*/ 0 w 1"/>
              <a:gd name="T3" fmla="*/ 2 h 2"/>
              <a:gd name="T4" fmla="*/ 1 w 1"/>
              <a:gd name="T5" fmla="*/ 2 h 2"/>
              <a:gd name="T6" fmla="*/ 1 w 1"/>
              <a:gd name="T7" fmla="*/ 0 h 2"/>
              <a:gd name="T8" fmla="*/ 1 w 1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2">
                <a:moveTo>
                  <a:pt x="1" y="2"/>
                </a:moveTo>
                <a:lnTo>
                  <a:pt x="0" y="2"/>
                </a:lnTo>
                <a:lnTo>
                  <a:pt x="1" y="2"/>
                </a:lnTo>
                <a:lnTo>
                  <a:pt x="1" y="0"/>
                </a:lnTo>
                <a:lnTo>
                  <a:pt x="1" y="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" name="Freeform 42">
            <a:extLst>
              <a:ext uri="{FF2B5EF4-FFF2-40B4-BE49-F238E27FC236}">
                <a16:creationId xmlns:a16="http://schemas.microsoft.com/office/drawing/2014/main" id="{5D01A399-2F68-421A-84A4-CD22165EC33A}"/>
              </a:ext>
            </a:extLst>
          </p:cNvPr>
          <p:cNvSpPr>
            <a:spLocks/>
          </p:cNvSpPr>
          <p:nvPr/>
        </p:nvSpPr>
        <p:spPr bwMode="gray">
          <a:xfrm>
            <a:off x="8059683" y="3785489"/>
            <a:ext cx="3441" cy="3894"/>
          </a:xfrm>
          <a:custGeom>
            <a:avLst/>
            <a:gdLst>
              <a:gd name="T0" fmla="*/ 2 w 2"/>
              <a:gd name="T1" fmla="*/ 1 h 1"/>
              <a:gd name="T2" fmla="*/ 0 w 2"/>
              <a:gd name="T3" fmla="*/ 0 h 1"/>
              <a:gd name="T4" fmla="*/ 0 w 2"/>
              <a:gd name="T5" fmla="*/ 1 h 1"/>
              <a:gd name="T6" fmla="*/ 2 w 2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0" y="0"/>
                </a:lnTo>
                <a:lnTo>
                  <a:pt x="0" y="1"/>
                </a:lnTo>
                <a:lnTo>
                  <a:pt x="2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" name="Freeform 43">
            <a:extLst>
              <a:ext uri="{FF2B5EF4-FFF2-40B4-BE49-F238E27FC236}">
                <a16:creationId xmlns:a16="http://schemas.microsoft.com/office/drawing/2014/main" id="{AEC482DC-D735-4159-9D50-912141CF4951}"/>
              </a:ext>
            </a:extLst>
          </p:cNvPr>
          <p:cNvSpPr>
            <a:spLocks/>
          </p:cNvSpPr>
          <p:nvPr/>
        </p:nvSpPr>
        <p:spPr bwMode="gray">
          <a:xfrm>
            <a:off x="8052799" y="3799121"/>
            <a:ext cx="3441" cy="3894"/>
          </a:xfrm>
          <a:custGeom>
            <a:avLst/>
            <a:gdLst>
              <a:gd name="T0" fmla="*/ 0 h 2"/>
              <a:gd name="T1" fmla="*/ 2 h 2"/>
              <a:gd name="T2" fmla="*/ 0 h 2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2">
                <a:moveTo>
                  <a:pt x="0" y="0"/>
                </a:move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" name="Freeform 44">
            <a:extLst>
              <a:ext uri="{FF2B5EF4-FFF2-40B4-BE49-F238E27FC236}">
                <a16:creationId xmlns:a16="http://schemas.microsoft.com/office/drawing/2014/main" id="{B355922F-4D58-45E7-B9D0-D56247A34ED6}"/>
              </a:ext>
            </a:extLst>
          </p:cNvPr>
          <p:cNvSpPr>
            <a:spLocks/>
          </p:cNvSpPr>
          <p:nvPr/>
        </p:nvSpPr>
        <p:spPr bwMode="gray">
          <a:xfrm>
            <a:off x="8056242" y="3795225"/>
            <a:ext cx="3441" cy="3894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0"/>
                </a:lnTo>
                <a:lnTo>
                  <a:pt x="0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" name="Freeform 45">
            <a:extLst>
              <a:ext uri="{FF2B5EF4-FFF2-40B4-BE49-F238E27FC236}">
                <a16:creationId xmlns:a16="http://schemas.microsoft.com/office/drawing/2014/main" id="{06151943-EDBC-4282-B56F-726CA9D48051}"/>
              </a:ext>
            </a:extLst>
          </p:cNvPr>
          <p:cNvSpPr>
            <a:spLocks/>
          </p:cNvSpPr>
          <p:nvPr/>
        </p:nvSpPr>
        <p:spPr bwMode="gray">
          <a:xfrm>
            <a:off x="8236899" y="4132084"/>
            <a:ext cx="263246" cy="278444"/>
          </a:xfrm>
          <a:custGeom>
            <a:avLst/>
            <a:gdLst>
              <a:gd name="T0" fmla="*/ 138 w 138"/>
              <a:gd name="T1" fmla="*/ 122 h 128"/>
              <a:gd name="T2" fmla="*/ 132 w 138"/>
              <a:gd name="T3" fmla="*/ 126 h 128"/>
              <a:gd name="T4" fmla="*/ 132 w 138"/>
              <a:gd name="T5" fmla="*/ 128 h 128"/>
              <a:gd name="T6" fmla="*/ 123 w 138"/>
              <a:gd name="T7" fmla="*/ 127 h 128"/>
              <a:gd name="T8" fmla="*/ 110 w 138"/>
              <a:gd name="T9" fmla="*/ 124 h 128"/>
              <a:gd name="T10" fmla="*/ 97 w 138"/>
              <a:gd name="T11" fmla="*/ 121 h 128"/>
              <a:gd name="T12" fmla="*/ 90 w 138"/>
              <a:gd name="T13" fmla="*/ 113 h 128"/>
              <a:gd name="T14" fmla="*/ 82 w 138"/>
              <a:gd name="T15" fmla="*/ 104 h 128"/>
              <a:gd name="T16" fmla="*/ 75 w 138"/>
              <a:gd name="T17" fmla="*/ 95 h 128"/>
              <a:gd name="T18" fmla="*/ 68 w 138"/>
              <a:gd name="T19" fmla="*/ 86 h 128"/>
              <a:gd name="T20" fmla="*/ 49 w 138"/>
              <a:gd name="T21" fmla="*/ 79 h 128"/>
              <a:gd name="T22" fmla="*/ 49 w 138"/>
              <a:gd name="T23" fmla="*/ 83 h 128"/>
              <a:gd name="T24" fmla="*/ 40 w 138"/>
              <a:gd name="T25" fmla="*/ 79 h 128"/>
              <a:gd name="T26" fmla="*/ 40 w 138"/>
              <a:gd name="T27" fmla="*/ 88 h 128"/>
              <a:gd name="T28" fmla="*/ 36 w 138"/>
              <a:gd name="T29" fmla="*/ 86 h 128"/>
              <a:gd name="T30" fmla="*/ 37 w 138"/>
              <a:gd name="T31" fmla="*/ 91 h 128"/>
              <a:gd name="T32" fmla="*/ 18 w 138"/>
              <a:gd name="T33" fmla="*/ 90 h 128"/>
              <a:gd name="T34" fmla="*/ 33 w 138"/>
              <a:gd name="T35" fmla="*/ 100 h 128"/>
              <a:gd name="T36" fmla="*/ 26 w 138"/>
              <a:gd name="T37" fmla="*/ 106 h 128"/>
              <a:gd name="T38" fmla="*/ 13 w 138"/>
              <a:gd name="T39" fmla="*/ 106 h 128"/>
              <a:gd name="T40" fmla="*/ 0 w 138"/>
              <a:gd name="T41" fmla="*/ 104 h 128"/>
              <a:gd name="T42" fmla="*/ 0 w 138"/>
              <a:gd name="T43" fmla="*/ 91 h 128"/>
              <a:gd name="T44" fmla="*/ 1 w 138"/>
              <a:gd name="T45" fmla="*/ 79 h 128"/>
              <a:gd name="T46" fmla="*/ 2 w 138"/>
              <a:gd name="T47" fmla="*/ 66 h 128"/>
              <a:gd name="T48" fmla="*/ 3 w 138"/>
              <a:gd name="T49" fmla="*/ 53 h 128"/>
              <a:gd name="T50" fmla="*/ 4 w 138"/>
              <a:gd name="T51" fmla="*/ 40 h 128"/>
              <a:gd name="T52" fmla="*/ 4 w 138"/>
              <a:gd name="T53" fmla="*/ 26 h 128"/>
              <a:gd name="T54" fmla="*/ 6 w 138"/>
              <a:gd name="T55" fmla="*/ 13 h 128"/>
              <a:gd name="T56" fmla="*/ 6 w 138"/>
              <a:gd name="T57" fmla="*/ 0 h 128"/>
              <a:gd name="T58" fmla="*/ 19 w 138"/>
              <a:gd name="T59" fmla="*/ 6 h 128"/>
              <a:gd name="T60" fmla="*/ 33 w 138"/>
              <a:gd name="T61" fmla="*/ 12 h 128"/>
              <a:gd name="T62" fmla="*/ 46 w 138"/>
              <a:gd name="T63" fmla="*/ 18 h 128"/>
              <a:gd name="T64" fmla="*/ 60 w 138"/>
              <a:gd name="T65" fmla="*/ 24 h 128"/>
              <a:gd name="T66" fmla="*/ 73 w 138"/>
              <a:gd name="T67" fmla="*/ 40 h 128"/>
              <a:gd name="T68" fmla="*/ 73 w 138"/>
              <a:gd name="T69" fmla="*/ 47 h 128"/>
              <a:gd name="T70" fmla="*/ 85 w 138"/>
              <a:gd name="T71" fmla="*/ 52 h 128"/>
              <a:gd name="T72" fmla="*/ 98 w 138"/>
              <a:gd name="T73" fmla="*/ 58 h 128"/>
              <a:gd name="T74" fmla="*/ 99 w 138"/>
              <a:gd name="T75" fmla="*/ 66 h 128"/>
              <a:gd name="T76" fmla="*/ 86 w 138"/>
              <a:gd name="T77" fmla="*/ 68 h 128"/>
              <a:gd name="T78" fmla="*/ 93 w 138"/>
              <a:gd name="T79" fmla="*/ 82 h 128"/>
              <a:gd name="T80" fmla="*/ 102 w 138"/>
              <a:gd name="T81" fmla="*/ 91 h 128"/>
              <a:gd name="T82" fmla="*/ 109 w 138"/>
              <a:gd name="T83" fmla="*/ 104 h 128"/>
              <a:gd name="T84" fmla="*/ 117 w 138"/>
              <a:gd name="T85" fmla="*/ 106 h 128"/>
              <a:gd name="T86" fmla="*/ 117 w 138"/>
              <a:gd name="T87" fmla="*/ 112 h 128"/>
              <a:gd name="T88" fmla="*/ 124 w 138"/>
              <a:gd name="T89" fmla="*/ 115 h 128"/>
              <a:gd name="T90" fmla="*/ 123 w 138"/>
              <a:gd name="T91" fmla="*/ 119 h 128"/>
              <a:gd name="T92" fmla="*/ 138 w 138"/>
              <a:gd name="T93" fmla="*/ 122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8" h="128">
                <a:moveTo>
                  <a:pt x="138" y="122"/>
                </a:moveTo>
                <a:lnTo>
                  <a:pt x="132" y="126"/>
                </a:lnTo>
                <a:lnTo>
                  <a:pt x="132" y="128"/>
                </a:lnTo>
                <a:lnTo>
                  <a:pt x="123" y="127"/>
                </a:lnTo>
                <a:lnTo>
                  <a:pt x="110" y="124"/>
                </a:lnTo>
                <a:lnTo>
                  <a:pt x="97" y="121"/>
                </a:lnTo>
                <a:lnTo>
                  <a:pt x="90" y="113"/>
                </a:lnTo>
                <a:lnTo>
                  <a:pt x="82" y="104"/>
                </a:lnTo>
                <a:lnTo>
                  <a:pt x="75" y="95"/>
                </a:lnTo>
                <a:lnTo>
                  <a:pt x="68" y="86"/>
                </a:lnTo>
                <a:lnTo>
                  <a:pt x="49" y="79"/>
                </a:lnTo>
                <a:lnTo>
                  <a:pt x="49" y="83"/>
                </a:lnTo>
                <a:lnTo>
                  <a:pt x="40" y="79"/>
                </a:lnTo>
                <a:lnTo>
                  <a:pt x="40" y="88"/>
                </a:lnTo>
                <a:lnTo>
                  <a:pt x="36" y="86"/>
                </a:lnTo>
                <a:lnTo>
                  <a:pt x="37" y="91"/>
                </a:lnTo>
                <a:lnTo>
                  <a:pt x="18" y="90"/>
                </a:lnTo>
                <a:lnTo>
                  <a:pt x="33" y="100"/>
                </a:lnTo>
                <a:lnTo>
                  <a:pt x="26" y="106"/>
                </a:lnTo>
                <a:lnTo>
                  <a:pt x="13" y="106"/>
                </a:lnTo>
                <a:lnTo>
                  <a:pt x="0" y="104"/>
                </a:lnTo>
                <a:lnTo>
                  <a:pt x="0" y="91"/>
                </a:lnTo>
                <a:lnTo>
                  <a:pt x="1" y="79"/>
                </a:lnTo>
                <a:lnTo>
                  <a:pt x="2" y="66"/>
                </a:lnTo>
                <a:lnTo>
                  <a:pt x="3" y="53"/>
                </a:lnTo>
                <a:lnTo>
                  <a:pt x="4" y="40"/>
                </a:lnTo>
                <a:lnTo>
                  <a:pt x="4" y="26"/>
                </a:lnTo>
                <a:lnTo>
                  <a:pt x="6" y="13"/>
                </a:lnTo>
                <a:lnTo>
                  <a:pt x="6" y="0"/>
                </a:lnTo>
                <a:lnTo>
                  <a:pt x="19" y="6"/>
                </a:lnTo>
                <a:lnTo>
                  <a:pt x="33" y="12"/>
                </a:lnTo>
                <a:lnTo>
                  <a:pt x="46" y="18"/>
                </a:lnTo>
                <a:lnTo>
                  <a:pt x="60" y="24"/>
                </a:lnTo>
                <a:lnTo>
                  <a:pt x="73" y="40"/>
                </a:lnTo>
                <a:lnTo>
                  <a:pt x="73" y="47"/>
                </a:lnTo>
                <a:lnTo>
                  <a:pt x="85" y="52"/>
                </a:lnTo>
                <a:lnTo>
                  <a:pt x="98" y="58"/>
                </a:lnTo>
                <a:lnTo>
                  <a:pt x="99" y="66"/>
                </a:lnTo>
                <a:lnTo>
                  <a:pt x="86" y="68"/>
                </a:lnTo>
                <a:lnTo>
                  <a:pt x="93" y="82"/>
                </a:lnTo>
                <a:lnTo>
                  <a:pt x="102" y="91"/>
                </a:lnTo>
                <a:lnTo>
                  <a:pt x="109" y="104"/>
                </a:lnTo>
                <a:lnTo>
                  <a:pt x="117" y="106"/>
                </a:lnTo>
                <a:lnTo>
                  <a:pt x="117" y="112"/>
                </a:lnTo>
                <a:lnTo>
                  <a:pt x="124" y="115"/>
                </a:lnTo>
                <a:lnTo>
                  <a:pt x="123" y="119"/>
                </a:lnTo>
                <a:lnTo>
                  <a:pt x="138" y="12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" name="Freeform 46">
            <a:extLst>
              <a:ext uri="{FF2B5EF4-FFF2-40B4-BE49-F238E27FC236}">
                <a16:creationId xmlns:a16="http://schemas.microsoft.com/office/drawing/2014/main" id="{8D515B23-1AB4-4024-92D6-8732EAE94AB8}"/>
              </a:ext>
            </a:extLst>
          </p:cNvPr>
          <p:cNvSpPr>
            <a:spLocks/>
          </p:cNvSpPr>
          <p:nvPr/>
        </p:nvSpPr>
        <p:spPr bwMode="gray">
          <a:xfrm>
            <a:off x="8443366" y="4188551"/>
            <a:ext cx="110114" cy="70097"/>
          </a:xfrm>
          <a:custGeom>
            <a:avLst/>
            <a:gdLst>
              <a:gd name="T0" fmla="*/ 58 w 58"/>
              <a:gd name="T1" fmla="*/ 2 h 33"/>
              <a:gd name="T2" fmla="*/ 55 w 58"/>
              <a:gd name="T3" fmla="*/ 12 h 33"/>
              <a:gd name="T4" fmla="*/ 51 w 58"/>
              <a:gd name="T5" fmla="*/ 15 h 33"/>
              <a:gd name="T6" fmla="*/ 52 w 58"/>
              <a:gd name="T7" fmla="*/ 20 h 33"/>
              <a:gd name="T8" fmla="*/ 43 w 58"/>
              <a:gd name="T9" fmla="*/ 24 h 33"/>
              <a:gd name="T10" fmla="*/ 24 w 58"/>
              <a:gd name="T11" fmla="*/ 33 h 33"/>
              <a:gd name="T12" fmla="*/ 12 w 58"/>
              <a:gd name="T13" fmla="*/ 30 h 33"/>
              <a:gd name="T14" fmla="*/ 3 w 58"/>
              <a:gd name="T15" fmla="*/ 26 h 33"/>
              <a:gd name="T16" fmla="*/ 0 w 58"/>
              <a:gd name="T17" fmla="*/ 21 h 33"/>
              <a:gd name="T18" fmla="*/ 20 w 58"/>
              <a:gd name="T19" fmla="*/ 22 h 33"/>
              <a:gd name="T20" fmla="*/ 25 w 58"/>
              <a:gd name="T21" fmla="*/ 12 h 33"/>
              <a:gd name="T22" fmla="*/ 25 w 58"/>
              <a:gd name="T23" fmla="*/ 17 h 33"/>
              <a:gd name="T24" fmla="*/ 32 w 58"/>
              <a:gd name="T25" fmla="*/ 21 h 33"/>
              <a:gd name="T26" fmla="*/ 45 w 58"/>
              <a:gd name="T27" fmla="*/ 11 h 33"/>
              <a:gd name="T28" fmla="*/ 46 w 58"/>
              <a:gd name="T29" fmla="*/ 2 h 33"/>
              <a:gd name="T30" fmla="*/ 54 w 58"/>
              <a:gd name="T31" fmla="*/ 0 h 33"/>
              <a:gd name="T32" fmla="*/ 58 w 58"/>
              <a:gd name="T33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8" h="33">
                <a:moveTo>
                  <a:pt x="58" y="2"/>
                </a:moveTo>
                <a:lnTo>
                  <a:pt x="55" y="12"/>
                </a:lnTo>
                <a:lnTo>
                  <a:pt x="51" y="15"/>
                </a:lnTo>
                <a:lnTo>
                  <a:pt x="52" y="20"/>
                </a:lnTo>
                <a:lnTo>
                  <a:pt x="43" y="24"/>
                </a:lnTo>
                <a:lnTo>
                  <a:pt x="24" y="33"/>
                </a:lnTo>
                <a:lnTo>
                  <a:pt x="12" y="30"/>
                </a:lnTo>
                <a:lnTo>
                  <a:pt x="3" y="26"/>
                </a:lnTo>
                <a:lnTo>
                  <a:pt x="0" y="21"/>
                </a:lnTo>
                <a:lnTo>
                  <a:pt x="20" y="22"/>
                </a:lnTo>
                <a:lnTo>
                  <a:pt x="25" y="12"/>
                </a:lnTo>
                <a:lnTo>
                  <a:pt x="25" y="17"/>
                </a:lnTo>
                <a:lnTo>
                  <a:pt x="32" y="21"/>
                </a:lnTo>
                <a:lnTo>
                  <a:pt x="45" y="11"/>
                </a:lnTo>
                <a:lnTo>
                  <a:pt x="46" y="2"/>
                </a:lnTo>
                <a:lnTo>
                  <a:pt x="54" y="0"/>
                </a:lnTo>
                <a:lnTo>
                  <a:pt x="58" y="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" name="Freeform 47">
            <a:extLst>
              <a:ext uri="{FF2B5EF4-FFF2-40B4-BE49-F238E27FC236}">
                <a16:creationId xmlns:a16="http://schemas.microsoft.com/office/drawing/2014/main" id="{2C01C1FD-3DC6-4CA6-9E7F-8700424CD2D1}"/>
              </a:ext>
            </a:extLst>
          </p:cNvPr>
          <p:cNvSpPr>
            <a:spLocks/>
          </p:cNvSpPr>
          <p:nvPr/>
        </p:nvSpPr>
        <p:spPr bwMode="gray">
          <a:xfrm>
            <a:off x="8615422" y="4231389"/>
            <a:ext cx="30969" cy="48680"/>
          </a:xfrm>
          <a:custGeom>
            <a:avLst/>
            <a:gdLst>
              <a:gd name="T0" fmla="*/ 15 w 15"/>
              <a:gd name="T1" fmla="*/ 20 h 22"/>
              <a:gd name="T2" fmla="*/ 11 w 15"/>
              <a:gd name="T3" fmla="*/ 22 h 22"/>
              <a:gd name="T4" fmla="*/ 2 w 15"/>
              <a:gd name="T5" fmla="*/ 12 h 22"/>
              <a:gd name="T6" fmla="*/ 0 w 15"/>
              <a:gd name="T7" fmla="*/ 0 h 22"/>
              <a:gd name="T8" fmla="*/ 7 w 15"/>
              <a:gd name="T9" fmla="*/ 9 h 22"/>
              <a:gd name="T10" fmla="*/ 15 w 15"/>
              <a:gd name="T11" fmla="*/ 2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" h="22">
                <a:moveTo>
                  <a:pt x="15" y="20"/>
                </a:moveTo>
                <a:lnTo>
                  <a:pt x="11" y="22"/>
                </a:lnTo>
                <a:lnTo>
                  <a:pt x="2" y="12"/>
                </a:lnTo>
                <a:lnTo>
                  <a:pt x="0" y="0"/>
                </a:lnTo>
                <a:lnTo>
                  <a:pt x="7" y="9"/>
                </a:lnTo>
                <a:lnTo>
                  <a:pt x="15" y="2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4" name="Freeform 48">
            <a:extLst>
              <a:ext uri="{FF2B5EF4-FFF2-40B4-BE49-F238E27FC236}">
                <a16:creationId xmlns:a16="http://schemas.microsoft.com/office/drawing/2014/main" id="{C536DEF4-6B16-479C-9255-9FE647287CA7}"/>
              </a:ext>
            </a:extLst>
          </p:cNvPr>
          <p:cNvSpPr>
            <a:spLocks/>
          </p:cNvSpPr>
          <p:nvPr/>
        </p:nvSpPr>
        <p:spPr bwMode="gray">
          <a:xfrm>
            <a:off x="8515629" y="4135977"/>
            <a:ext cx="61941" cy="70097"/>
          </a:xfrm>
          <a:custGeom>
            <a:avLst/>
            <a:gdLst>
              <a:gd name="T0" fmla="*/ 31 w 31"/>
              <a:gd name="T1" fmla="*/ 28 h 33"/>
              <a:gd name="T2" fmla="*/ 26 w 31"/>
              <a:gd name="T3" fmla="*/ 33 h 33"/>
              <a:gd name="T4" fmla="*/ 17 w 31"/>
              <a:gd name="T5" fmla="*/ 13 h 33"/>
              <a:gd name="T6" fmla="*/ 8 w 31"/>
              <a:gd name="T7" fmla="*/ 7 h 33"/>
              <a:gd name="T8" fmla="*/ 0 w 31"/>
              <a:gd name="T9" fmla="*/ 0 h 33"/>
              <a:gd name="T10" fmla="*/ 12 w 31"/>
              <a:gd name="T11" fmla="*/ 9 h 33"/>
              <a:gd name="T12" fmla="*/ 23 w 31"/>
              <a:gd name="T13" fmla="*/ 17 h 33"/>
              <a:gd name="T14" fmla="*/ 31 w 31"/>
              <a:gd name="T15" fmla="*/ 28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1" h="33">
                <a:moveTo>
                  <a:pt x="31" y="28"/>
                </a:moveTo>
                <a:lnTo>
                  <a:pt x="26" y="33"/>
                </a:lnTo>
                <a:lnTo>
                  <a:pt x="17" y="13"/>
                </a:lnTo>
                <a:lnTo>
                  <a:pt x="8" y="7"/>
                </a:lnTo>
                <a:lnTo>
                  <a:pt x="0" y="0"/>
                </a:lnTo>
                <a:lnTo>
                  <a:pt x="12" y="9"/>
                </a:lnTo>
                <a:lnTo>
                  <a:pt x="23" y="17"/>
                </a:lnTo>
                <a:lnTo>
                  <a:pt x="31" y="2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5" name="Freeform 49">
            <a:extLst>
              <a:ext uri="{FF2B5EF4-FFF2-40B4-BE49-F238E27FC236}">
                <a16:creationId xmlns:a16="http://schemas.microsoft.com/office/drawing/2014/main" id="{F56A386E-FE44-4D71-81B3-EC4EDE8B8C6A}"/>
              </a:ext>
            </a:extLst>
          </p:cNvPr>
          <p:cNvSpPr>
            <a:spLocks/>
          </p:cNvSpPr>
          <p:nvPr/>
        </p:nvSpPr>
        <p:spPr bwMode="gray">
          <a:xfrm>
            <a:off x="8500143" y="4383268"/>
            <a:ext cx="12045" cy="13630"/>
          </a:xfrm>
          <a:custGeom>
            <a:avLst/>
            <a:gdLst>
              <a:gd name="T0" fmla="*/ 6 w 6"/>
              <a:gd name="T1" fmla="*/ 3 h 5"/>
              <a:gd name="T2" fmla="*/ 2 w 6"/>
              <a:gd name="T3" fmla="*/ 5 h 5"/>
              <a:gd name="T4" fmla="*/ 0 w 6"/>
              <a:gd name="T5" fmla="*/ 0 h 5"/>
              <a:gd name="T6" fmla="*/ 6 w 6"/>
              <a:gd name="T7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5">
                <a:moveTo>
                  <a:pt x="6" y="3"/>
                </a:moveTo>
                <a:lnTo>
                  <a:pt x="2" y="5"/>
                </a:lnTo>
                <a:lnTo>
                  <a:pt x="0" y="0"/>
                </a:lnTo>
                <a:lnTo>
                  <a:pt x="6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" name="Freeform 50">
            <a:extLst>
              <a:ext uri="{FF2B5EF4-FFF2-40B4-BE49-F238E27FC236}">
                <a16:creationId xmlns:a16="http://schemas.microsoft.com/office/drawing/2014/main" id="{E97C40CB-F8D2-4D8B-90B9-D7373B75B120}"/>
              </a:ext>
            </a:extLst>
          </p:cNvPr>
          <p:cNvSpPr>
            <a:spLocks/>
          </p:cNvSpPr>
          <p:nvPr/>
        </p:nvSpPr>
        <p:spPr bwMode="gray">
          <a:xfrm>
            <a:off x="8334970" y="3508990"/>
            <a:ext cx="5161" cy="7789"/>
          </a:xfrm>
          <a:custGeom>
            <a:avLst/>
            <a:gdLst>
              <a:gd name="T0" fmla="*/ 2 w 2"/>
              <a:gd name="T1" fmla="*/ 0 h 4"/>
              <a:gd name="T2" fmla="*/ 2 w 2"/>
              <a:gd name="T3" fmla="*/ 1 h 4"/>
              <a:gd name="T4" fmla="*/ 0 w 2"/>
              <a:gd name="T5" fmla="*/ 1 h 4"/>
              <a:gd name="T6" fmla="*/ 0 w 2"/>
              <a:gd name="T7" fmla="*/ 4 h 4"/>
              <a:gd name="T8" fmla="*/ 2 w 2"/>
              <a:gd name="T9" fmla="*/ 4 h 4"/>
              <a:gd name="T10" fmla="*/ 2 w 2"/>
              <a:gd name="T11" fmla="*/ 2 h 4"/>
              <a:gd name="T12" fmla="*/ 2 w 2"/>
              <a:gd name="T13" fmla="*/ 1 h 4"/>
              <a:gd name="T14" fmla="*/ 2 w 2"/>
              <a:gd name="T1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4">
                <a:moveTo>
                  <a:pt x="2" y="0"/>
                </a:moveTo>
                <a:lnTo>
                  <a:pt x="2" y="1"/>
                </a:lnTo>
                <a:lnTo>
                  <a:pt x="0" y="1"/>
                </a:lnTo>
                <a:lnTo>
                  <a:pt x="0" y="4"/>
                </a:lnTo>
                <a:lnTo>
                  <a:pt x="2" y="4"/>
                </a:lnTo>
                <a:lnTo>
                  <a:pt x="2" y="2"/>
                </a:lnTo>
                <a:lnTo>
                  <a:pt x="2" y="1"/>
                </a:lnTo>
                <a:lnTo>
                  <a:pt x="2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7" name="Freeform 51">
            <a:extLst>
              <a:ext uri="{FF2B5EF4-FFF2-40B4-BE49-F238E27FC236}">
                <a16:creationId xmlns:a16="http://schemas.microsoft.com/office/drawing/2014/main" id="{55172A71-0DBF-4E3E-AE2E-851C554A071F}"/>
              </a:ext>
            </a:extLst>
          </p:cNvPr>
          <p:cNvSpPr>
            <a:spLocks/>
          </p:cNvSpPr>
          <p:nvPr/>
        </p:nvSpPr>
        <p:spPr bwMode="gray">
          <a:xfrm>
            <a:off x="8334970" y="3516779"/>
            <a:ext cx="5161" cy="3894"/>
          </a:xfrm>
          <a:custGeom>
            <a:avLst/>
            <a:gdLst>
              <a:gd name="T0" fmla="*/ 1 w 1"/>
              <a:gd name="T1" fmla="*/ 0 h 2"/>
              <a:gd name="T2" fmla="*/ 0 w 1"/>
              <a:gd name="T3" fmla="*/ 0 h 2"/>
              <a:gd name="T4" fmla="*/ 0 w 1"/>
              <a:gd name="T5" fmla="*/ 1 h 2"/>
              <a:gd name="T6" fmla="*/ 1 w 1"/>
              <a:gd name="T7" fmla="*/ 2 h 2"/>
              <a:gd name="T8" fmla="*/ 1 w 1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2">
                <a:moveTo>
                  <a:pt x="1" y="0"/>
                </a:moveTo>
                <a:lnTo>
                  <a:pt x="0" y="0"/>
                </a:lnTo>
                <a:lnTo>
                  <a:pt x="0" y="1"/>
                </a:lnTo>
                <a:lnTo>
                  <a:pt x="1" y="2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8" name="Freeform 52">
            <a:extLst>
              <a:ext uri="{FF2B5EF4-FFF2-40B4-BE49-F238E27FC236}">
                <a16:creationId xmlns:a16="http://schemas.microsoft.com/office/drawing/2014/main" id="{DDE3A071-1BBF-4908-8BEA-1E8136D0AAE6}"/>
              </a:ext>
            </a:extLst>
          </p:cNvPr>
          <p:cNvSpPr>
            <a:spLocks/>
          </p:cNvSpPr>
          <p:nvPr/>
        </p:nvSpPr>
        <p:spPr bwMode="gray">
          <a:xfrm>
            <a:off x="8324648" y="3547937"/>
            <a:ext cx="3441" cy="3894"/>
          </a:xfrm>
          <a:custGeom>
            <a:avLst/>
            <a:gdLst>
              <a:gd name="T0" fmla="*/ 2 w 3"/>
              <a:gd name="T1" fmla="*/ 1 h 1"/>
              <a:gd name="T2" fmla="*/ 0 w 3"/>
              <a:gd name="T3" fmla="*/ 1 h 1"/>
              <a:gd name="T4" fmla="*/ 3 w 3"/>
              <a:gd name="T5" fmla="*/ 0 h 1"/>
              <a:gd name="T6" fmla="*/ 2 w 3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1">
                <a:moveTo>
                  <a:pt x="2" y="1"/>
                </a:moveTo>
                <a:lnTo>
                  <a:pt x="0" y="1"/>
                </a:lnTo>
                <a:lnTo>
                  <a:pt x="3" y="0"/>
                </a:lnTo>
                <a:lnTo>
                  <a:pt x="2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9" name="Freeform 53">
            <a:extLst>
              <a:ext uri="{FF2B5EF4-FFF2-40B4-BE49-F238E27FC236}">
                <a16:creationId xmlns:a16="http://schemas.microsoft.com/office/drawing/2014/main" id="{2B87B7E8-F0F0-417D-AFF2-8509F5E8D714}"/>
              </a:ext>
            </a:extLst>
          </p:cNvPr>
          <p:cNvSpPr>
            <a:spLocks/>
          </p:cNvSpPr>
          <p:nvPr/>
        </p:nvSpPr>
        <p:spPr bwMode="gray">
          <a:xfrm>
            <a:off x="8321207" y="3409687"/>
            <a:ext cx="3441" cy="3894"/>
          </a:xfrm>
          <a:custGeom>
            <a:avLst/>
            <a:gdLst>
              <a:gd name="T0" fmla="*/ 1 w 1"/>
              <a:gd name="T1" fmla="*/ 1 h 3"/>
              <a:gd name="T2" fmla="*/ 0 w 1"/>
              <a:gd name="T3" fmla="*/ 3 h 3"/>
              <a:gd name="T4" fmla="*/ 0 w 1"/>
              <a:gd name="T5" fmla="*/ 1 h 3"/>
              <a:gd name="T6" fmla="*/ 0 w 1"/>
              <a:gd name="T7" fmla="*/ 0 h 3"/>
              <a:gd name="T8" fmla="*/ 1 w 1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3">
                <a:moveTo>
                  <a:pt x="1" y="1"/>
                </a:move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  <a:lnTo>
                  <a:pt x="1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0" name="Freeform 54">
            <a:extLst>
              <a:ext uri="{FF2B5EF4-FFF2-40B4-BE49-F238E27FC236}">
                <a16:creationId xmlns:a16="http://schemas.microsoft.com/office/drawing/2014/main" id="{A0B99807-5CB8-4141-808A-A71CE315D8C8}"/>
              </a:ext>
            </a:extLst>
          </p:cNvPr>
          <p:cNvSpPr>
            <a:spLocks/>
          </p:cNvSpPr>
          <p:nvPr/>
        </p:nvSpPr>
        <p:spPr bwMode="gray">
          <a:xfrm>
            <a:off x="8312605" y="3386320"/>
            <a:ext cx="3441" cy="5841"/>
          </a:xfrm>
          <a:custGeom>
            <a:avLst/>
            <a:gdLst>
              <a:gd name="T0" fmla="*/ 2 w 2"/>
              <a:gd name="T1" fmla="*/ 1 h 1"/>
              <a:gd name="T2" fmla="*/ 0 w 2"/>
              <a:gd name="T3" fmla="*/ 0 h 1"/>
              <a:gd name="T4" fmla="*/ 0 w 2"/>
              <a:gd name="T5" fmla="*/ 1 h 1"/>
              <a:gd name="T6" fmla="*/ 2 w 2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0" y="0"/>
                </a:lnTo>
                <a:lnTo>
                  <a:pt x="0" y="1"/>
                </a:lnTo>
                <a:lnTo>
                  <a:pt x="2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1" name="Freeform 55">
            <a:extLst>
              <a:ext uri="{FF2B5EF4-FFF2-40B4-BE49-F238E27FC236}">
                <a16:creationId xmlns:a16="http://schemas.microsoft.com/office/drawing/2014/main" id="{12C8F8EC-CCAF-442B-94EF-80ECB143F5BA}"/>
              </a:ext>
            </a:extLst>
          </p:cNvPr>
          <p:cNvSpPr>
            <a:spLocks/>
          </p:cNvSpPr>
          <p:nvPr/>
        </p:nvSpPr>
        <p:spPr bwMode="gray">
          <a:xfrm>
            <a:off x="8328088" y="3473943"/>
            <a:ext cx="3441" cy="3894"/>
          </a:xfrm>
          <a:custGeom>
            <a:avLst/>
            <a:gdLst>
              <a:gd name="T0" fmla="*/ 1 w 1"/>
              <a:gd name="T1" fmla="*/ 0 w 1"/>
              <a:gd name="T2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2" name="Freeform 56">
            <a:extLst>
              <a:ext uri="{FF2B5EF4-FFF2-40B4-BE49-F238E27FC236}">
                <a16:creationId xmlns:a16="http://schemas.microsoft.com/office/drawing/2014/main" id="{347BC521-E001-4AFD-BDB6-C51F520A30F0}"/>
              </a:ext>
            </a:extLst>
          </p:cNvPr>
          <p:cNvSpPr>
            <a:spLocks/>
          </p:cNvSpPr>
          <p:nvPr/>
        </p:nvSpPr>
        <p:spPr bwMode="gray">
          <a:xfrm>
            <a:off x="6743456" y="3113717"/>
            <a:ext cx="137644" cy="200558"/>
          </a:xfrm>
          <a:custGeom>
            <a:avLst/>
            <a:gdLst>
              <a:gd name="T0" fmla="*/ 26 w 71"/>
              <a:gd name="T1" fmla="*/ 75 h 91"/>
              <a:gd name="T2" fmla="*/ 25 w 71"/>
              <a:gd name="T3" fmla="*/ 77 h 91"/>
              <a:gd name="T4" fmla="*/ 21 w 71"/>
              <a:gd name="T5" fmla="*/ 73 h 91"/>
              <a:gd name="T6" fmla="*/ 21 w 71"/>
              <a:gd name="T7" fmla="*/ 74 h 91"/>
              <a:gd name="T8" fmla="*/ 18 w 71"/>
              <a:gd name="T9" fmla="*/ 62 h 91"/>
              <a:gd name="T10" fmla="*/ 13 w 71"/>
              <a:gd name="T11" fmla="*/ 49 h 91"/>
              <a:gd name="T12" fmla="*/ 12 w 71"/>
              <a:gd name="T13" fmla="*/ 41 h 91"/>
              <a:gd name="T14" fmla="*/ 2 w 71"/>
              <a:gd name="T15" fmla="*/ 31 h 91"/>
              <a:gd name="T16" fmla="*/ 5 w 71"/>
              <a:gd name="T17" fmla="*/ 25 h 91"/>
              <a:gd name="T18" fmla="*/ 11 w 71"/>
              <a:gd name="T19" fmla="*/ 21 h 91"/>
              <a:gd name="T20" fmla="*/ 0 w 71"/>
              <a:gd name="T21" fmla="*/ 12 h 91"/>
              <a:gd name="T22" fmla="*/ 0 w 71"/>
              <a:gd name="T23" fmla="*/ 0 h 91"/>
              <a:gd name="T24" fmla="*/ 9 w 71"/>
              <a:gd name="T25" fmla="*/ 3 h 91"/>
              <a:gd name="T26" fmla="*/ 14 w 71"/>
              <a:gd name="T27" fmla="*/ 8 h 91"/>
              <a:gd name="T28" fmla="*/ 18 w 71"/>
              <a:gd name="T29" fmla="*/ 6 h 91"/>
              <a:gd name="T30" fmla="*/ 24 w 71"/>
              <a:gd name="T31" fmla="*/ 19 h 91"/>
              <a:gd name="T32" fmla="*/ 38 w 71"/>
              <a:gd name="T33" fmla="*/ 20 h 91"/>
              <a:gd name="T34" fmla="*/ 53 w 71"/>
              <a:gd name="T35" fmla="*/ 21 h 91"/>
              <a:gd name="T36" fmla="*/ 60 w 71"/>
              <a:gd name="T37" fmla="*/ 27 h 91"/>
              <a:gd name="T38" fmla="*/ 57 w 71"/>
              <a:gd name="T39" fmla="*/ 33 h 91"/>
              <a:gd name="T40" fmla="*/ 48 w 71"/>
              <a:gd name="T41" fmla="*/ 41 h 91"/>
              <a:gd name="T42" fmla="*/ 50 w 71"/>
              <a:gd name="T43" fmla="*/ 54 h 91"/>
              <a:gd name="T44" fmla="*/ 54 w 71"/>
              <a:gd name="T45" fmla="*/ 57 h 91"/>
              <a:gd name="T46" fmla="*/ 60 w 71"/>
              <a:gd name="T47" fmla="*/ 45 h 91"/>
              <a:gd name="T48" fmla="*/ 65 w 71"/>
              <a:gd name="T49" fmla="*/ 60 h 91"/>
              <a:gd name="T50" fmla="*/ 71 w 71"/>
              <a:gd name="T51" fmla="*/ 73 h 91"/>
              <a:gd name="T52" fmla="*/ 71 w 71"/>
              <a:gd name="T53" fmla="*/ 83 h 91"/>
              <a:gd name="T54" fmla="*/ 67 w 71"/>
              <a:gd name="T55" fmla="*/ 86 h 91"/>
              <a:gd name="T56" fmla="*/ 68 w 71"/>
              <a:gd name="T57" fmla="*/ 91 h 91"/>
              <a:gd name="T58" fmla="*/ 61 w 71"/>
              <a:gd name="T59" fmla="*/ 75 h 91"/>
              <a:gd name="T60" fmla="*/ 53 w 71"/>
              <a:gd name="T61" fmla="*/ 61 h 91"/>
              <a:gd name="T62" fmla="*/ 44 w 71"/>
              <a:gd name="T63" fmla="*/ 59 h 91"/>
              <a:gd name="T64" fmla="*/ 38 w 71"/>
              <a:gd name="T65" fmla="*/ 49 h 91"/>
              <a:gd name="T66" fmla="*/ 25 w 71"/>
              <a:gd name="T67" fmla="*/ 42 h 91"/>
              <a:gd name="T68" fmla="*/ 20 w 71"/>
              <a:gd name="T69" fmla="*/ 42 h 91"/>
              <a:gd name="T70" fmla="*/ 36 w 71"/>
              <a:gd name="T71" fmla="*/ 51 h 91"/>
              <a:gd name="T72" fmla="*/ 39 w 71"/>
              <a:gd name="T73" fmla="*/ 60 h 91"/>
              <a:gd name="T74" fmla="*/ 41 w 71"/>
              <a:gd name="T75" fmla="*/ 65 h 91"/>
              <a:gd name="T76" fmla="*/ 37 w 71"/>
              <a:gd name="T77" fmla="*/ 77 h 91"/>
              <a:gd name="T78" fmla="*/ 35 w 71"/>
              <a:gd name="T79" fmla="*/ 72 h 91"/>
              <a:gd name="T80" fmla="*/ 32 w 71"/>
              <a:gd name="T81" fmla="*/ 73 h 91"/>
              <a:gd name="T82" fmla="*/ 29 w 71"/>
              <a:gd name="T83" fmla="*/ 75 h 91"/>
              <a:gd name="T84" fmla="*/ 26 w 71"/>
              <a:gd name="T85" fmla="*/ 75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1" h="91">
                <a:moveTo>
                  <a:pt x="26" y="75"/>
                </a:moveTo>
                <a:lnTo>
                  <a:pt x="25" y="77"/>
                </a:lnTo>
                <a:lnTo>
                  <a:pt x="21" y="73"/>
                </a:lnTo>
                <a:lnTo>
                  <a:pt x="21" y="74"/>
                </a:lnTo>
                <a:lnTo>
                  <a:pt x="18" y="62"/>
                </a:lnTo>
                <a:lnTo>
                  <a:pt x="13" y="49"/>
                </a:lnTo>
                <a:lnTo>
                  <a:pt x="12" y="41"/>
                </a:lnTo>
                <a:lnTo>
                  <a:pt x="2" y="31"/>
                </a:lnTo>
                <a:lnTo>
                  <a:pt x="5" y="25"/>
                </a:lnTo>
                <a:lnTo>
                  <a:pt x="11" y="21"/>
                </a:lnTo>
                <a:lnTo>
                  <a:pt x="0" y="12"/>
                </a:lnTo>
                <a:lnTo>
                  <a:pt x="0" y="0"/>
                </a:lnTo>
                <a:lnTo>
                  <a:pt x="9" y="3"/>
                </a:lnTo>
                <a:lnTo>
                  <a:pt x="14" y="8"/>
                </a:lnTo>
                <a:lnTo>
                  <a:pt x="18" y="6"/>
                </a:lnTo>
                <a:lnTo>
                  <a:pt x="24" y="19"/>
                </a:lnTo>
                <a:lnTo>
                  <a:pt x="38" y="20"/>
                </a:lnTo>
                <a:lnTo>
                  <a:pt x="53" y="21"/>
                </a:lnTo>
                <a:lnTo>
                  <a:pt x="60" y="27"/>
                </a:lnTo>
                <a:lnTo>
                  <a:pt x="57" y="33"/>
                </a:lnTo>
                <a:lnTo>
                  <a:pt x="48" y="41"/>
                </a:lnTo>
                <a:lnTo>
                  <a:pt x="50" y="54"/>
                </a:lnTo>
                <a:lnTo>
                  <a:pt x="54" y="57"/>
                </a:lnTo>
                <a:lnTo>
                  <a:pt x="60" y="45"/>
                </a:lnTo>
                <a:lnTo>
                  <a:pt x="65" y="60"/>
                </a:lnTo>
                <a:lnTo>
                  <a:pt x="71" y="73"/>
                </a:lnTo>
                <a:lnTo>
                  <a:pt x="71" y="83"/>
                </a:lnTo>
                <a:lnTo>
                  <a:pt x="67" y="86"/>
                </a:lnTo>
                <a:lnTo>
                  <a:pt x="68" y="91"/>
                </a:lnTo>
                <a:lnTo>
                  <a:pt x="61" y="75"/>
                </a:lnTo>
                <a:lnTo>
                  <a:pt x="53" y="61"/>
                </a:lnTo>
                <a:lnTo>
                  <a:pt x="44" y="59"/>
                </a:lnTo>
                <a:lnTo>
                  <a:pt x="38" y="49"/>
                </a:lnTo>
                <a:lnTo>
                  <a:pt x="25" y="42"/>
                </a:lnTo>
                <a:lnTo>
                  <a:pt x="20" y="42"/>
                </a:lnTo>
                <a:lnTo>
                  <a:pt x="36" y="51"/>
                </a:lnTo>
                <a:lnTo>
                  <a:pt x="39" y="60"/>
                </a:lnTo>
                <a:lnTo>
                  <a:pt x="41" y="65"/>
                </a:lnTo>
                <a:lnTo>
                  <a:pt x="37" y="77"/>
                </a:lnTo>
                <a:lnTo>
                  <a:pt x="35" y="72"/>
                </a:lnTo>
                <a:lnTo>
                  <a:pt x="32" y="73"/>
                </a:lnTo>
                <a:lnTo>
                  <a:pt x="29" y="75"/>
                </a:lnTo>
                <a:lnTo>
                  <a:pt x="26" y="7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3" name="Freeform 57">
            <a:extLst>
              <a:ext uri="{FF2B5EF4-FFF2-40B4-BE49-F238E27FC236}">
                <a16:creationId xmlns:a16="http://schemas.microsoft.com/office/drawing/2014/main" id="{E7693F71-5BAC-4EF5-898F-ABBD3D44A469}"/>
              </a:ext>
            </a:extLst>
          </p:cNvPr>
          <p:cNvSpPr>
            <a:spLocks/>
          </p:cNvSpPr>
          <p:nvPr/>
        </p:nvSpPr>
        <p:spPr bwMode="gray">
          <a:xfrm>
            <a:off x="6753781" y="3057250"/>
            <a:ext cx="89469" cy="52573"/>
          </a:xfrm>
          <a:custGeom>
            <a:avLst/>
            <a:gdLst>
              <a:gd name="T0" fmla="*/ 28 w 45"/>
              <a:gd name="T1" fmla="*/ 3 h 23"/>
              <a:gd name="T2" fmla="*/ 9 w 45"/>
              <a:gd name="T3" fmla="*/ 0 h 23"/>
              <a:gd name="T4" fmla="*/ 0 w 45"/>
              <a:gd name="T5" fmla="*/ 15 h 23"/>
              <a:gd name="T6" fmla="*/ 2 w 45"/>
              <a:gd name="T7" fmla="*/ 21 h 23"/>
              <a:gd name="T8" fmla="*/ 19 w 45"/>
              <a:gd name="T9" fmla="*/ 23 h 23"/>
              <a:gd name="T10" fmla="*/ 32 w 45"/>
              <a:gd name="T11" fmla="*/ 22 h 23"/>
              <a:gd name="T12" fmla="*/ 45 w 45"/>
              <a:gd name="T13" fmla="*/ 21 h 23"/>
              <a:gd name="T14" fmla="*/ 39 w 45"/>
              <a:gd name="T15" fmla="*/ 12 h 23"/>
              <a:gd name="T16" fmla="*/ 36 w 45"/>
              <a:gd name="T17" fmla="*/ 8 h 23"/>
              <a:gd name="T18" fmla="*/ 28 w 45"/>
              <a:gd name="T19" fmla="*/ 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5" h="23">
                <a:moveTo>
                  <a:pt x="28" y="3"/>
                </a:moveTo>
                <a:lnTo>
                  <a:pt x="9" y="0"/>
                </a:lnTo>
                <a:lnTo>
                  <a:pt x="0" y="15"/>
                </a:lnTo>
                <a:lnTo>
                  <a:pt x="2" y="21"/>
                </a:lnTo>
                <a:lnTo>
                  <a:pt x="19" y="23"/>
                </a:lnTo>
                <a:lnTo>
                  <a:pt x="32" y="22"/>
                </a:lnTo>
                <a:lnTo>
                  <a:pt x="45" y="21"/>
                </a:lnTo>
                <a:lnTo>
                  <a:pt x="39" y="12"/>
                </a:lnTo>
                <a:lnTo>
                  <a:pt x="36" y="8"/>
                </a:lnTo>
                <a:lnTo>
                  <a:pt x="28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4" name="Freeform 58">
            <a:extLst>
              <a:ext uri="{FF2B5EF4-FFF2-40B4-BE49-F238E27FC236}">
                <a16:creationId xmlns:a16="http://schemas.microsoft.com/office/drawing/2014/main" id="{A64F95F8-A48F-4A85-A33D-C1A6F1E8F81A}"/>
              </a:ext>
            </a:extLst>
          </p:cNvPr>
          <p:cNvSpPr>
            <a:spLocks/>
          </p:cNvSpPr>
          <p:nvPr/>
        </p:nvSpPr>
        <p:spPr bwMode="gray">
          <a:xfrm>
            <a:off x="7175314" y="3530411"/>
            <a:ext cx="141087" cy="147985"/>
          </a:xfrm>
          <a:custGeom>
            <a:avLst/>
            <a:gdLst>
              <a:gd name="T0" fmla="*/ 53 w 74"/>
              <a:gd name="T1" fmla="*/ 50 h 68"/>
              <a:gd name="T2" fmla="*/ 57 w 74"/>
              <a:gd name="T3" fmla="*/ 62 h 68"/>
              <a:gd name="T4" fmla="*/ 46 w 74"/>
              <a:gd name="T5" fmla="*/ 61 h 68"/>
              <a:gd name="T6" fmla="*/ 42 w 74"/>
              <a:gd name="T7" fmla="*/ 63 h 68"/>
              <a:gd name="T8" fmla="*/ 34 w 74"/>
              <a:gd name="T9" fmla="*/ 68 h 68"/>
              <a:gd name="T10" fmla="*/ 26 w 74"/>
              <a:gd name="T11" fmla="*/ 67 h 68"/>
              <a:gd name="T12" fmla="*/ 22 w 74"/>
              <a:gd name="T13" fmla="*/ 63 h 68"/>
              <a:gd name="T14" fmla="*/ 20 w 74"/>
              <a:gd name="T15" fmla="*/ 57 h 68"/>
              <a:gd name="T16" fmla="*/ 15 w 74"/>
              <a:gd name="T17" fmla="*/ 61 h 68"/>
              <a:gd name="T18" fmla="*/ 11 w 74"/>
              <a:gd name="T19" fmla="*/ 50 h 68"/>
              <a:gd name="T20" fmla="*/ 11 w 74"/>
              <a:gd name="T21" fmla="*/ 49 h 68"/>
              <a:gd name="T22" fmla="*/ 5 w 74"/>
              <a:gd name="T23" fmla="*/ 36 h 68"/>
              <a:gd name="T24" fmla="*/ 0 w 74"/>
              <a:gd name="T25" fmla="*/ 22 h 68"/>
              <a:gd name="T26" fmla="*/ 9 w 74"/>
              <a:gd name="T27" fmla="*/ 6 h 68"/>
              <a:gd name="T28" fmla="*/ 24 w 74"/>
              <a:gd name="T29" fmla="*/ 6 h 68"/>
              <a:gd name="T30" fmla="*/ 39 w 74"/>
              <a:gd name="T31" fmla="*/ 6 h 68"/>
              <a:gd name="T32" fmla="*/ 51 w 74"/>
              <a:gd name="T33" fmla="*/ 12 h 68"/>
              <a:gd name="T34" fmla="*/ 51 w 74"/>
              <a:gd name="T35" fmla="*/ 7 h 68"/>
              <a:gd name="T36" fmla="*/ 56 w 74"/>
              <a:gd name="T37" fmla="*/ 3 h 68"/>
              <a:gd name="T38" fmla="*/ 62 w 74"/>
              <a:gd name="T39" fmla="*/ 6 h 68"/>
              <a:gd name="T40" fmla="*/ 71 w 74"/>
              <a:gd name="T41" fmla="*/ 0 h 68"/>
              <a:gd name="T42" fmla="*/ 71 w 74"/>
              <a:gd name="T43" fmla="*/ 14 h 68"/>
              <a:gd name="T44" fmla="*/ 72 w 74"/>
              <a:gd name="T45" fmla="*/ 26 h 68"/>
              <a:gd name="T46" fmla="*/ 74 w 74"/>
              <a:gd name="T47" fmla="*/ 39 h 68"/>
              <a:gd name="T48" fmla="*/ 60 w 74"/>
              <a:gd name="T49" fmla="*/ 46 h 68"/>
              <a:gd name="T50" fmla="*/ 53 w 74"/>
              <a:gd name="T51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4" h="68">
                <a:moveTo>
                  <a:pt x="53" y="50"/>
                </a:moveTo>
                <a:lnTo>
                  <a:pt x="57" y="62"/>
                </a:lnTo>
                <a:lnTo>
                  <a:pt x="46" y="61"/>
                </a:lnTo>
                <a:lnTo>
                  <a:pt x="42" y="63"/>
                </a:lnTo>
                <a:lnTo>
                  <a:pt x="34" y="68"/>
                </a:lnTo>
                <a:lnTo>
                  <a:pt x="26" y="67"/>
                </a:lnTo>
                <a:lnTo>
                  <a:pt x="22" y="63"/>
                </a:lnTo>
                <a:lnTo>
                  <a:pt x="20" y="57"/>
                </a:lnTo>
                <a:lnTo>
                  <a:pt x="15" y="61"/>
                </a:lnTo>
                <a:lnTo>
                  <a:pt x="11" y="50"/>
                </a:lnTo>
                <a:lnTo>
                  <a:pt x="11" y="49"/>
                </a:lnTo>
                <a:lnTo>
                  <a:pt x="5" y="36"/>
                </a:lnTo>
                <a:lnTo>
                  <a:pt x="0" y="22"/>
                </a:lnTo>
                <a:lnTo>
                  <a:pt x="9" y="6"/>
                </a:lnTo>
                <a:lnTo>
                  <a:pt x="24" y="6"/>
                </a:lnTo>
                <a:lnTo>
                  <a:pt x="39" y="6"/>
                </a:lnTo>
                <a:lnTo>
                  <a:pt x="51" y="12"/>
                </a:lnTo>
                <a:lnTo>
                  <a:pt x="51" y="7"/>
                </a:lnTo>
                <a:lnTo>
                  <a:pt x="56" y="3"/>
                </a:lnTo>
                <a:lnTo>
                  <a:pt x="62" y="6"/>
                </a:lnTo>
                <a:lnTo>
                  <a:pt x="71" y="0"/>
                </a:lnTo>
                <a:lnTo>
                  <a:pt x="71" y="14"/>
                </a:lnTo>
                <a:lnTo>
                  <a:pt x="72" y="26"/>
                </a:lnTo>
                <a:lnTo>
                  <a:pt x="74" y="39"/>
                </a:lnTo>
                <a:lnTo>
                  <a:pt x="60" y="46"/>
                </a:lnTo>
                <a:lnTo>
                  <a:pt x="53" y="5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5" name="Freeform 59">
            <a:extLst>
              <a:ext uri="{FF2B5EF4-FFF2-40B4-BE49-F238E27FC236}">
                <a16:creationId xmlns:a16="http://schemas.microsoft.com/office/drawing/2014/main" id="{434F6889-B4BE-4191-A19A-788F2ACC6EAF}"/>
              </a:ext>
            </a:extLst>
          </p:cNvPr>
          <p:cNvSpPr>
            <a:spLocks/>
          </p:cNvSpPr>
          <p:nvPr/>
        </p:nvSpPr>
        <p:spPr bwMode="gray">
          <a:xfrm>
            <a:off x="8316045" y="3569354"/>
            <a:ext cx="8604" cy="7789"/>
          </a:xfrm>
          <a:custGeom>
            <a:avLst/>
            <a:gdLst>
              <a:gd name="T0" fmla="*/ 1 w 4"/>
              <a:gd name="T1" fmla="*/ 4 h 4"/>
              <a:gd name="T2" fmla="*/ 0 w 4"/>
              <a:gd name="T3" fmla="*/ 2 h 4"/>
              <a:gd name="T4" fmla="*/ 3 w 4"/>
              <a:gd name="T5" fmla="*/ 0 h 4"/>
              <a:gd name="T6" fmla="*/ 4 w 4"/>
              <a:gd name="T7" fmla="*/ 0 h 4"/>
              <a:gd name="T8" fmla="*/ 1 w 4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4">
                <a:moveTo>
                  <a:pt x="1" y="4"/>
                </a:moveTo>
                <a:lnTo>
                  <a:pt x="0" y="2"/>
                </a:lnTo>
                <a:lnTo>
                  <a:pt x="3" y="0"/>
                </a:lnTo>
                <a:lnTo>
                  <a:pt x="4" y="0"/>
                </a:lnTo>
                <a:lnTo>
                  <a:pt x="1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6" name="Freeform 60">
            <a:extLst>
              <a:ext uri="{FF2B5EF4-FFF2-40B4-BE49-F238E27FC236}">
                <a16:creationId xmlns:a16="http://schemas.microsoft.com/office/drawing/2014/main" id="{4B7F3D65-516D-4E2B-A699-6ACBC1392B2C}"/>
              </a:ext>
            </a:extLst>
          </p:cNvPr>
          <p:cNvSpPr>
            <a:spLocks/>
          </p:cNvSpPr>
          <p:nvPr/>
        </p:nvSpPr>
        <p:spPr bwMode="gray">
          <a:xfrm>
            <a:off x="7443723" y="3265596"/>
            <a:ext cx="3441" cy="3894"/>
          </a:xfrm>
          <a:custGeom>
            <a:avLst/>
            <a:gdLst>
              <a:gd name="T0" fmla="*/ 2 w 2"/>
              <a:gd name="T1" fmla="*/ 0 h 1"/>
              <a:gd name="T2" fmla="*/ 2 w 2"/>
              <a:gd name="T3" fmla="*/ 1 h 1"/>
              <a:gd name="T4" fmla="*/ 0 w 2"/>
              <a:gd name="T5" fmla="*/ 1 h 1"/>
              <a:gd name="T6" fmla="*/ 2 w 2"/>
              <a:gd name="T7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1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7" name="Freeform 61">
            <a:extLst>
              <a:ext uri="{FF2B5EF4-FFF2-40B4-BE49-F238E27FC236}">
                <a16:creationId xmlns:a16="http://schemas.microsoft.com/office/drawing/2014/main" id="{5BD88B16-4A55-44FA-99F6-535C8A0D6CAB}"/>
              </a:ext>
            </a:extLst>
          </p:cNvPr>
          <p:cNvSpPr>
            <a:spLocks/>
          </p:cNvSpPr>
          <p:nvPr/>
        </p:nvSpPr>
        <p:spPr bwMode="gray">
          <a:xfrm>
            <a:off x="7087568" y="3261702"/>
            <a:ext cx="225391" cy="294022"/>
          </a:xfrm>
          <a:custGeom>
            <a:avLst/>
            <a:gdLst>
              <a:gd name="T0" fmla="*/ 66 w 117"/>
              <a:gd name="T1" fmla="*/ 35 h 136"/>
              <a:gd name="T2" fmla="*/ 62 w 117"/>
              <a:gd name="T3" fmla="*/ 30 h 136"/>
              <a:gd name="T4" fmla="*/ 54 w 117"/>
              <a:gd name="T5" fmla="*/ 23 h 136"/>
              <a:gd name="T6" fmla="*/ 46 w 117"/>
              <a:gd name="T7" fmla="*/ 26 h 136"/>
              <a:gd name="T8" fmla="*/ 37 w 117"/>
              <a:gd name="T9" fmla="*/ 17 h 136"/>
              <a:gd name="T10" fmla="*/ 34 w 117"/>
              <a:gd name="T11" fmla="*/ 11 h 136"/>
              <a:gd name="T12" fmla="*/ 22 w 117"/>
              <a:gd name="T13" fmla="*/ 0 h 136"/>
              <a:gd name="T14" fmla="*/ 16 w 117"/>
              <a:gd name="T15" fmla="*/ 0 h 136"/>
              <a:gd name="T16" fmla="*/ 20 w 117"/>
              <a:gd name="T17" fmla="*/ 19 h 136"/>
              <a:gd name="T18" fmla="*/ 13 w 117"/>
              <a:gd name="T19" fmla="*/ 16 h 136"/>
              <a:gd name="T20" fmla="*/ 12 w 117"/>
              <a:gd name="T21" fmla="*/ 13 h 136"/>
              <a:gd name="T22" fmla="*/ 4 w 117"/>
              <a:gd name="T23" fmla="*/ 24 h 136"/>
              <a:gd name="T24" fmla="*/ 0 w 117"/>
              <a:gd name="T25" fmla="*/ 32 h 136"/>
              <a:gd name="T26" fmla="*/ 4 w 117"/>
              <a:gd name="T27" fmla="*/ 35 h 136"/>
              <a:gd name="T28" fmla="*/ 7 w 117"/>
              <a:gd name="T29" fmla="*/ 44 h 136"/>
              <a:gd name="T30" fmla="*/ 18 w 117"/>
              <a:gd name="T31" fmla="*/ 44 h 136"/>
              <a:gd name="T32" fmla="*/ 19 w 117"/>
              <a:gd name="T33" fmla="*/ 61 h 136"/>
              <a:gd name="T34" fmla="*/ 19 w 117"/>
              <a:gd name="T35" fmla="*/ 78 h 136"/>
              <a:gd name="T36" fmla="*/ 32 w 117"/>
              <a:gd name="T37" fmla="*/ 68 h 136"/>
              <a:gd name="T38" fmla="*/ 40 w 117"/>
              <a:gd name="T39" fmla="*/ 71 h 136"/>
              <a:gd name="T40" fmla="*/ 46 w 117"/>
              <a:gd name="T41" fmla="*/ 68 h 136"/>
              <a:gd name="T42" fmla="*/ 54 w 117"/>
              <a:gd name="T43" fmla="*/ 64 h 136"/>
              <a:gd name="T44" fmla="*/ 70 w 117"/>
              <a:gd name="T45" fmla="*/ 78 h 136"/>
              <a:gd name="T46" fmla="*/ 73 w 117"/>
              <a:gd name="T47" fmla="*/ 90 h 136"/>
              <a:gd name="T48" fmla="*/ 85 w 117"/>
              <a:gd name="T49" fmla="*/ 107 h 136"/>
              <a:gd name="T50" fmla="*/ 90 w 117"/>
              <a:gd name="T51" fmla="*/ 120 h 136"/>
              <a:gd name="T52" fmla="*/ 85 w 117"/>
              <a:gd name="T53" fmla="*/ 130 h 136"/>
              <a:gd name="T54" fmla="*/ 97 w 117"/>
              <a:gd name="T55" fmla="*/ 136 h 136"/>
              <a:gd name="T56" fmla="*/ 97 w 117"/>
              <a:gd name="T57" fmla="*/ 131 h 136"/>
              <a:gd name="T58" fmla="*/ 102 w 117"/>
              <a:gd name="T59" fmla="*/ 127 h 136"/>
              <a:gd name="T60" fmla="*/ 108 w 117"/>
              <a:gd name="T61" fmla="*/ 130 h 136"/>
              <a:gd name="T62" fmla="*/ 117 w 117"/>
              <a:gd name="T63" fmla="*/ 124 h 136"/>
              <a:gd name="T64" fmla="*/ 115 w 117"/>
              <a:gd name="T65" fmla="*/ 110 h 136"/>
              <a:gd name="T66" fmla="*/ 111 w 117"/>
              <a:gd name="T67" fmla="*/ 106 h 136"/>
              <a:gd name="T68" fmla="*/ 111 w 117"/>
              <a:gd name="T69" fmla="*/ 102 h 136"/>
              <a:gd name="T70" fmla="*/ 99 w 117"/>
              <a:gd name="T71" fmla="*/ 91 h 136"/>
              <a:gd name="T72" fmla="*/ 92 w 117"/>
              <a:gd name="T73" fmla="*/ 83 h 136"/>
              <a:gd name="T74" fmla="*/ 84 w 117"/>
              <a:gd name="T75" fmla="*/ 72 h 136"/>
              <a:gd name="T76" fmla="*/ 75 w 117"/>
              <a:gd name="T77" fmla="*/ 61 h 136"/>
              <a:gd name="T78" fmla="*/ 57 w 117"/>
              <a:gd name="T79" fmla="*/ 48 h 136"/>
              <a:gd name="T80" fmla="*/ 60 w 117"/>
              <a:gd name="T81" fmla="*/ 43 h 136"/>
              <a:gd name="T82" fmla="*/ 67 w 117"/>
              <a:gd name="T83" fmla="*/ 41 h 136"/>
              <a:gd name="T84" fmla="*/ 66 w 117"/>
              <a:gd name="T85" fmla="*/ 35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17" h="136">
                <a:moveTo>
                  <a:pt x="66" y="35"/>
                </a:moveTo>
                <a:lnTo>
                  <a:pt x="62" y="30"/>
                </a:lnTo>
                <a:lnTo>
                  <a:pt x="54" y="23"/>
                </a:lnTo>
                <a:lnTo>
                  <a:pt x="46" y="26"/>
                </a:lnTo>
                <a:lnTo>
                  <a:pt x="37" y="17"/>
                </a:lnTo>
                <a:lnTo>
                  <a:pt x="34" y="11"/>
                </a:lnTo>
                <a:lnTo>
                  <a:pt x="22" y="0"/>
                </a:lnTo>
                <a:lnTo>
                  <a:pt x="16" y="0"/>
                </a:lnTo>
                <a:lnTo>
                  <a:pt x="20" y="19"/>
                </a:lnTo>
                <a:lnTo>
                  <a:pt x="13" y="16"/>
                </a:lnTo>
                <a:lnTo>
                  <a:pt x="12" y="13"/>
                </a:lnTo>
                <a:lnTo>
                  <a:pt x="4" y="24"/>
                </a:lnTo>
                <a:lnTo>
                  <a:pt x="0" y="32"/>
                </a:lnTo>
                <a:lnTo>
                  <a:pt x="4" y="35"/>
                </a:lnTo>
                <a:lnTo>
                  <a:pt x="7" y="44"/>
                </a:lnTo>
                <a:lnTo>
                  <a:pt x="18" y="44"/>
                </a:lnTo>
                <a:lnTo>
                  <a:pt x="19" y="61"/>
                </a:lnTo>
                <a:lnTo>
                  <a:pt x="19" y="78"/>
                </a:lnTo>
                <a:lnTo>
                  <a:pt x="32" y="68"/>
                </a:lnTo>
                <a:lnTo>
                  <a:pt x="40" y="71"/>
                </a:lnTo>
                <a:lnTo>
                  <a:pt x="46" y="68"/>
                </a:lnTo>
                <a:lnTo>
                  <a:pt x="54" y="64"/>
                </a:lnTo>
                <a:lnTo>
                  <a:pt x="70" y="78"/>
                </a:lnTo>
                <a:lnTo>
                  <a:pt x="73" y="90"/>
                </a:lnTo>
                <a:lnTo>
                  <a:pt x="85" y="107"/>
                </a:lnTo>
                <a:lnTo>
                  <a:pt x="90" y="120"/>
                </a:lnTo>
                <a:lnTo>
                  <a:pt x="85" y="130"/>
                </a:lnTo>
                <a:lnTo>
                  <a:pt x="97" y="136"/>
                </a:lnTo>
                <a:lnTo>
                  <a:pt x="97" y="131"/>
                </a:lnTo>
                <a:lnTo>
                  <a:pt x="102" y="127"/>
                </a:lnTo>
                <a:lnTo>
                  <a:pt x="108" y="130"/>
                </a:lnTo>
                <a:lnTo>
                  <a:pt x="117" y="124"/>
                </a:lnTo>
                <a:lnTo>
                  <a:pt x="115" y="110"/>
                </a:lnTo>
                <a:lnTo>
                  <a:pt x="111" y="106"/>
                </a:lnTo>
                <a:lnTo>
                  <a:pt x="111" y="102"/>
                </a:lnTo>
                <a:lnTo>
                  <a:pt x="99" y="91"/>
                </a:lnTo>
                <a:lnTo>
                  <a:pt x="92" y="83"/>
                </a:lnTo>
                <a:lnTo>
                  <a:pt x="84" y="72"/>
                </a:lnTo>
                <a:lnTo>
                  <a:pt x="75" y="61"/>
                </a:lnTo>
                <a:lnTo>
                  <a:pt x="57" y="48"/>
                </a:lnTo>
                <a:lnTo>
                  <a:pt x="60" y="43"/>
                </a:lnTo>
                <a:lnTo>
                  <a:pt x="67" y="41"/>
                </a:lnTo>
                <a:lnTo>
                  <a:pt x="66" y="3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8" name="Freeform 62">
            <a:extLst>
              <a:ext uri="{FF2B5EF4-FFF2-40B4-BE49-F238E27FC236}">
                <a16:creationId xmlns:a16="http://schemas.microsoft.com/office/drawing/2014/main" id="{4020ACF0-4462-43B1-A099-124EAA26298D}"/>
              </a:ext>
            </a:extLst>
          </p:cNvPr>
          <p:cNvSpPr>
            <a:spLocks/>
          </p:cNvSpPr>
          <p:nvPr/>
        </p:nvSpPr>
        <p:spPr bwMode="gray">
          <a:xfrm>
            <a:off x="6872499" y="3045566"/>
            <a:ext cx="237438" cy="640617"/>
          </a:xfrm>
          <a:custGeom>
            <a:avLst/>
            <a:gdLst>
              <a:gd name="T0" fmla="*/ 68 w 124"/>
              <a:gd name="T1" fmla="*/ 74 h 297"/>
              <a:gd name="T2" fmla="*/ 67 w 124"/>
              <a:gd name="T3" fmla="*/ 60 h 297"/>
              <a:gd name="T4" fmla="*/ 76 w 124"/>
              <a:gd name="T5" fmla="*/ 41 h 297"/>
              <a:gd name="T6" fmla="*/ 70 w 124"/>
              <a:gd name="T7" fmla="*/ 16 h 297"/>
              <a:gd name="T8" fmla="*/ 52 w 124"/>
              <a:gd name="T9" fmla="*/ 0 h 297"/>
              <a:gd name="T10" fmla="*/ 48 w 124"/>
              <a:gd name="T11" fmla="*/ 14 h 297"/>
              <a:gd name="T12" fmla="*/ 49 w 124"/>
              <a:gd name="T13" fmla="*/ 23 h 297"/>
              <a:gd name="T14" fmla="*/ 25 w 124"/>
              <a:gd name="T15" fmla="*/ 35 h 297"/>
              <a:gd name="T16" fmla="*/ 25 w 124"/>
              <a:gd name="T17" fmla="*/ 56 h 297"/>
              <a:gd name="T18" fmla="*/ 10 w 124"/>
              <a:gd name="T19" fmla="*/ 75 h 297"/>
              <a:gd name="T20" fmla="*/ 8 w 124"/>
              <a:gd name="T21" fmla="*/ 106 h 297"/>
              <a:gd name="T22" fmla="*/ 4 w 124"/>
              <a:gd name="T23" fmla="*/ 116 h 297"/>
              <a:gd name="T24" fmla="*/ 10 w 124"/>
              <a:gd name="T25" fmla="*/ 134 h 297"/>
              <a:gd name="T26" fmla="*/ 13 w 124"/>
              <a:gd name="T27" fmla="*/ 131 h 297"/>
              <a:gd name="T28" fmla="*/ 17 w 124"/>
              <a:gd name="T29" fmla="*/ 141 h 297"/>
              <a:gd name="T30" fmla="*/ 28 w 124"/>
              <a:gd name="T31" fmla="*/ 147 h 297"/>
              <a:gd name="T32" fmla="*/ 28 w 124"/>
              <a:gd name="T33" fmla="*/ 155 h 297"/>
              <a:gd name="T34" fmla="*/ 35 w 124"/>
              <a:gd name="T35" fmla="*/ 162 h 297"/>
              <a:gd name="T36" fmla="*/ 40 w 124"/>
              <a:gd name="T37" fmla="*/ 189 h 297"/>
              <a:gd name="T38" fmla="*/ 44 w 124"/>
              <a:gd name="T39" fmla="*/ 194 h 297"/>
              <a:gd name="T40" fmla="*/ 48 w 124"/>
              <a:gd name="T41" fmla="*/ 206 h 297"/>
              <a:gd name="T42" fmla="*/ 55 w 124"/>
              <a:gd name="T43" fmla="*/ 203 h 297"/>
              <a:gd name="T44" fmla="*/ 65 w 124"/>
              <a:gd name="T45" fmla="*/ 197 h 297"/>
              <a:gd name="T46" fmla="*/ 70 w 124"/>
              <a:gd name="T47" fmla="*/ 195 h 297"/>
              <a:gd name="T48" fmla="*/ 79 w 124"/>
              <a:gd name="T49" fmla="*/ 189 h 297"/>
              <a:gd name="T50" fmla="*/ 92 w 124"/>
              <a:gd name="T51" fmla="*/ 218 h 297"/>
              <a:gd name="T52" fmla="*/ 98 w 124"/>
              <a:gd name="T53" fmla="*/ 236 h 297"/>
              <a:gd name="T54" fmla="*/ 107 w 124"/>
              <a:gd name="T55" fmla="*/ 260 h 297"/>
              <a:gd name="T56" fmla="*/ 109 w 124"/>
              <a:gd name="T57" fmla="*/ 285 h 297"/>
              <a:gd name="T58" fmla="*/ 112 w 124"/>
              <a:gd name="T59" fmla="*/ 293 h 297"/>
              <a:gd name="T60" fmla="*/ 121 w 124"/>
              <a:gd name="T61" fmla="*/ 273 h 297"/>
              <a:gd name="T62" fmla="*/ 114 w 124"/>
              <a:gd name="T63" fmla="*/ 243 h 297"/>
              <a:gd name="T64" fmla="*/ 100 w 124"/>
              <a:gd name="T65" fmla="*/ 224 h 297"/>
              <a:gd name="T66" fmla="*/ 101 w 124"/>
              <a:gd name="T67" fmla="*/ 207 h 297"/>
              <a:gd name="T68" fmla="*/ 101 w 124"/>
              <a:gd name="T69" fmla="*/ 196 h 297"/>
              <a:gd name="T70" fmla="*/ 78 w 124"/>
              <a:gd name="T71" fmla="*/ 161 h 297"/>
              <a:gd name="T72" fmla="*/ 84 w 124"/>
              <a:gd name="T73" fmla="*/ 144 h 297"/>
              <a:gd name="T74" fmla="*/ 104 w 124"/>
              <a:gd name="T75" fmla="*/ 135 h 297"/>
              <a:gd name="T76" fmla="*/ 116 w 124"/>
              <a:gd name="T77" fmla="*/ 124 h 297"/>
              <a:gd name="T78" fmla="*/ 119 w 124"/>
              <a:gd name="T79" fmla="*/ 111 h 297"/>
              <a:gd name="T80" fmla="*/ 102 w 124"/>
              <a:gd name="T81" fmla="*/ 105 h 297"/>
              <a:gd name="T82" fmla="*/ 96 w 124"/>
              <a:gd name="T83" fmla="*/ 89 h 297"/>
              <a:gd name="T84" fmla="*/ 84 w 124"/>
              <a:gd name="T85" fmla="*/ 74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24" h="297">
                <a:moveTo>
                  <a:pt x="83" y="72"/>
                </a:moveTo>
                <a:lnTo>
                  <a:pt x="68" y="74"/>
                </a:lnTo>
                <a:lnTo>
                  <a:pt x="67" y="66"/>
                </a:lnTo>
                <a:lnTo>
                  <a:pt x="67" y="60"/>
                </a:lnTo>
                <a:lnTo>
                  <a:pt x="73" y="50"/>
                </a:lnTo>
                <a:lnTo>
                  <a:pt x="76" y="41"/>
                </a:lnTo>
                <a:lnTo>
                  <a:pt x="72" y="29"/>
                </a:lnTo>
                <a:lnTo>
                  <a:pt x="70" y="16"/>
                </a:lnTo>
                <a:lnTo>
                  <a:pt x="64" y="12"/>
                </a:lnTo>
                <a:lnTo>
                  <a:pt x="52" y="0"/>
                </a:lnTo>
                <a:lnTo>
                  <a:pt x="50" y="6"/>
                </a:lnTo>
                <a:lnTo>
                  <a:pt x="48" y="14"/>
                </a:lnTo>
                <a:lnTo>
                  <a:pt x="47" y="18"/>
                </a:lnTo>
                <a:lnTo>
                  <a:pt x="49" y="23"/>
                </a:lnTo>
                <a:lnTo>
                  <a:pt x="40" y="21"/>
                </a:lnTo>
                <a:lnTo>
                  <a:pt x="25" y="35"/>
                </a:lnTo>
                <a:lnTo>
                  <a:pt x="25" y="48"/>
                </a:lnTo>
                <a:lnTo>
                  <a:pt x="25" y="56"/>
                </a:lnTo>
                <a:lnTo>
                  <a:pt x="18" y="75"/>
                </a:lnTo>
                <a:lnTo>
                  <a:pt x="10" y="75"/>
                </a:lnTo>
                <a:lnTo>
                  <a:pt x="8" y="89"/>
                </a:lnTo>
                <a:lnTo>
                  <a:pt x="8" y="106"/>
                </a:lnTo>
                <a:lnTo>
                  <a:pt x="4" y="106"/>
                </a:lnTo>
                <a:lnTo>
                  <a:pt x="4" y="116"/>
                </a:lnTo>
                <a:lnTo>
                  <a:pt x="0" y="119"/>
                </a:lnTo>
                <a:lnTo>
                  <a:pt x="10" y="134"/>
                </a:lnTo>
                <a:lnTo>
                  <a:pt x="10" y="135"/>
                </a:lnTo>
                <a:lnTo>
                  <a:pt x="13" y="131"/>
                </a:lnTo>
                <a:lnTo>
                  <a:pt x="16" y="141"/>
                </a:lnTo>
                <a:lnTo>
                  <a:pt x="17" y="141"/>
                </a:lnTo>
                <a:lnTo>
                  <a:pt x="23" y="141"/>
                </a:lnTo>
                <a:lnTo>
                  <a:pt x="28" y="147"/>
                </a:lnTo>
                <a:lnTo>
                  <a:pt x="24" y="149"/>
                </a:lnTo>
                <a:lnTo>
                  <a:pt x="28" y="155"/>
                </a:lnTo>
                <a:lnTo>
                  <a:pt x="30" y="149"/>
                </a:lnTo>
                <a:lnTo>
                  <a:pt x="35" y="162"/>
                </a:lnTo>
                <a:lnTo>
                  <a:pt x="40" y="174"/>
                </a:lnTo>
                <a:lnTo>
                  <a:pt x="40" y="189"/>
                </a:lnTo>
                <a:lnTo>
                  <a:pt x="38" y="202"/>
                </a:lnTo>
                <a:lnTo>
                  <a:pt x="44" y="194"/>
                </a:lnTo>
                <a:lnTo>
                  <a:pt x="47" y="203"/>
                </a:lnTo>
                <a:lnTo>
                  <a:pt x="48" y="206"/>
                </a:lnTo>
                <a:lnTo>
                  <a:pt x="52" y="204"/>
                </a:lnTo>
                <a:lnTo>
                  <a:pt x="55" y="203"/>
                </a:lnTo>
                <a:lnTo>
                  <a:pt x="55" y="204"/>
                </a:lnTo>
                <a:lnTo>
                  <a:pt x="65" y="197"/>
                </a:lnTo>
                <a:lnTo>
                  <a:pt x="66" y="192"/>
                </a:lnTo>
                <a:lnTo>
                  <a:pt x="70" y="195"/>
                </a:lnTo>
                <a:lnTo>
                  <a:pt x="74" y="182"/>
                </a:lnTo>
                <a:lnTo>
                  <a:pt x="79" y="189"/>
                </a:lnTo>
                <a:lnTo>
                  <a:pt x="86" y="195"/>
                </a:lnTo>
                <a:lnTo>
                  <a:pt x="92" y="218"/>
                </a:lnTo>
                <a:lnTo>
                  <a:pt x="98" y="240"/>
                </a:lnTo>
                <a:lnTo>
                  <a:pt x="98" y="236"/>
                </a:lnTo>
                <a:lnTo>
                  <a:pt x="103" y="248"/>
                </a:lnTo>
                <a:lnTo>
                  <a:pt x="107" y="260"/>
                </a:lnTo>
                <a:lnTo>
                  <a:pt x="109" y="272"/>
                </a:lnTo>
                <a:lnTo>
                  <a:pt x="109" y="285"/>
                </a:lnTo>
                <a:lnTo>
                  <a:pt x="109" y="297"/>
                </a:lnTo>
                <a:lnTo>
                  <a:pt x="112" y="293"/>
                </a:lnTo>
                <a:lnTo>
                  <a:pt x="116" y="284"/>
                </a:lnTo>
                <a:lnTo>
                  <a:pt x="121" y="273"/>
                </a:lnTo>
                <a:lnTo>
                  <a:pt x="118" y="257"/>
                </a:lnTo>
                <a:lnTo>
                  <a:pt x="114" y="243"/>
                </a:lnTo>
                <a:lnTo>
                  <a:pt x="107" y="233"/>
                </a:lnTo>
                <a:lnTo>
                  <a:pt x="100" y="224"/>
                </a:lnTo>
                <a:lnTo>
                  <a:pt x="100" y="214"/>
                </a:lnTo>
                <a:lnTo>
                  <a:pt x="101" y="207"/>
                </a:lnTo>
                <a:lnTo>
                  <a:pt x="104" y="197"/>
                </a:lnTo>
                <a:lnTo>
                  <a:pt x="101" y="196"/>
                </a:lnTo>
                <a:lnTo>
                  <a:pt x="89" y="179"/>
                </a:lnTo>
                <a:lnTo>
                  <a:pt x="78" y="161"/>
                </a:lnTo>
                <a:lnTo>
                  <a:pt x="82" y="162"/>
                </a:lnTo>
                <a:lnTo>
                  <a:pt x="84" y="144"/>
                </a:lnTo>
                <a:lnTo>
                  <a:pt x="98" y="142"/>
                </a:lnTo>
                <a:lnTo>
                  <a:pt x="104" y="135"/>
                </a:lnTo>
                <a:lnTo>
                  <a:pt x="112" y="132"/>
                </a:lnTo>
                <a:lnTo>
                  <a:pt x="116" y="124"/>
                </a:lnTo>
                <a:lnTo>
                  <a:pt x="124" y="113"/>
                </a:lnTo>
                <a:lnTo>
                  <a:pt x="119" y="111"/>
                </a:lnTo>
                <a:lnTo>
                  <a:pt x="109" y="114"/>
                </a:lnTo>
                <a:lnTo>
                  <a:pt x="102" y="105"/>
                </a:lnTo>
                <a:lnTo>
                  <a:pt x="95" y="102"/>
                </a:lnTo>
                <a:lnTo>
                  <a:pt x="96" y="89"/>
                </a:lnTo>
                <a:lnTo>
                  <a:pt x="88" y="84"/>
                </a:lnTo>
                <a:lnTo>
                  <a:pt x="84" y="74"/>
                </a:lnTo>
                <a:lnTo>
                  <a:pt x="83" y="72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9" name="Freeform 63">
            <a:extLst>
              <a:ext uri="{FF2B5EF4-FFF2-40B4-BE49-F238E27FC236}">
                <a16:creationId xmlns:a16="http://schemas.microsoft.com/office/drawing/2014/main" id="{F5C114B1-3184-401F-B71E-203AFE644BB3}"/>
              </a:ext>
            </a:extLst>
          </p:cNvPr>
          <p:cNvSpPr>
            <a:spLocks/>
          </p:cNvSpPr>
          <p:nvPr/>
        </p:nvSpPr>
        <p:spPr bwMode="gray">
          <a:xfrm>
            <a:off x="7638145" y="3392161"/>
            <a:ext cx="127322" cy="212241"/>
          </a:xfrm>
          <a:custGeom>
            <a:avLst/>
            <a:gdLst>
              <a:gd name="T0" fmla="*/ 12 w 67"/>
              <a:gd name="T1" fmla="*/ 61 h 97"/>
              <a:gd name="T2" fmla="*/ 12 w 67"/>
              <a:gd name="T3" fmla="*/ 68 h 97"/>
              <a:gd name="T4" fmla="*/ 1 w 67"/>
              <a:gd name="T5" fmla="*/ 52 h 97"/>
              <a:gd name="T6" fmla="*/ 0 w 67"/>
              <a:gd name="T7" fmla="*/ 38 h 97"/>
              <a:gd name="T8" fmla="*/ 7 w 67"/>
              <a:gd name="T9" fmla="*/ 41 h 97"/>
              <a:gd name="T10" fmla="*/ 4 w 67"/>
              <a:gd name="T11" fmla="*/ 24 h 97"/>
              <a:gd name="T12" fmla="*/ 2 w 67"/>
              <a:gd name="T13" fmla="*/ 7 h 97"/>
              <a:gd name="T14" fmla="*/ 6 w 67"/>
              <a:gd name="T15" fmla="*/ 0 h 97"/>
              <a:gd name="T16" fmla="*/ 25 w 67"/>
              <a:gd name="T17" fmla="*/ 4 h 97"/>
              <a:gd name="T18" fmla="*/ 27 w 67"/>
              <a:gd name="T19" fmla="*/ 7 h 97"/>
              <a:gd name="T20" fmla="*/ 31 w 67"/>
              <a:gd name="T21" fmla="*/ 20 h 97"/>
              <a:gd name="T22" fmla="*/ 33 w 67"/>
              <a:gd name="T23" fmla="*/ 30 h 97"/>
              <a:gd name="T24" fmla="*/ 30 w 67"/>
              <a:gd name="T25" fmla="*/ 41 h 97"/>
              <a:gd name="T26" fmla="*/ 24 w 67"/>
              <a:gd name="T27" fmla="*/ 47 h 97"/>
              <a:gd name="T28" fmla="*/ 25 w 67"/>
              <a:gd name="T29" fmla="*/ 58 h 97"/>
              <a:gd name="T30" fmla="*/ 33 w 67"/>
              <a:gd name="T31" fmla="*/ 76 h 97"/>
              <a:gd name="T32" fmla="*/ 38 w 67"/>
              <a:gd name="T33" fmla="*/ 74 h 97"/>
              <a:gd name="T34" fmla="*/ 38 w 67"/>
              <a:gd name="T35" fmla="*/ 73 h 97"/>
              <a:gd name="T36" fmla="*/ 45 w 67"/>
              <a:gd name="T37" fmla="*/ 71 h 97"/>
              <a:gd name="T38" fmla="*/ 52 w 67"/>
              <a:gd name="T39" fmla="*/ 79 h 97"/>
              <a:gd name="T40" fmla="*/ 54 w 67"/>
              <a:gd name="T41" fmla="*/ 76 h 97"/>
              <a:gd name="T42" fmla="*/ 60 w 67"/>
              <a:gd name="T43" fmla="*/ 80 h 97"/>
              <a:gd name="T44" fmla="*/ 57 w 67"/>
              <a:gd name="T45" fmla="*/ 82 h 97"/>
              <a:gd name="T46" fmla="*/ 63 w 67"/>
              <a:gd name="T47" fmla="*/ 89 h 97"/>
              <a:gd name="T48" fmla="*/ 67 w 67"/>
              <a:gd name="T49" fmla="*/ 91 h 97"/>
              <a:gd name="T50" fmla="*/ 63 w 67"/>
              <a:gd name="T51" fmla="*/ 97 h 97"/>
              <a:gd name="T52" fmla="*/ 63 w 67"/>
              <a:gd name="T53" fmla="*/ 94 h 97"/>
              <a:gd name="T54" fmla="*/ 54 w 67"/>
              <a:gd name="T55" fmla="*/ 88 h 97"/>
              <a:gd name="T56" fmla="*/ 46 w 67"/>
              <a:gd name="T57" fmla="*/ 80 h 97"/>
              <a:gd name="T58" fmla="*/ 42 w 67"/>
              <a:gd name="T59" fmla="*/ 78 h 97"/>
              <a:gd name="T60" fmla="*/ 44 w 67"/>
              <a:gd name="T61" fmla="*/ 89 h 97"/>
              <a:gd name="T62" fmla="*/ 30 w 67"/>
              <a:gd name="T63" fmla="*/ 76 h 97"/>
              <a:gd name="T64" fmla="*/ 21 w 67"/>
              <a:gd name="T65" fmla="*/ 80 h 97"/>
              <a:gd name="T66" fmla="*/ 15 w 67"/>
              <a:gd name="T67" fmla="*/ 77 h 97"/>
              <a:gd name="T68" fmla="*/ 15 w 67"/>
              <a:gd name="T69" fmla="*/ 71 h 97"/>
              <a:gd name="T70" fmla="*/ 16 w 67"/>
              <a:gd name="T71" fmla="*/ 64 h 97"/>
              <a:gd name="T72" fmla="*/ 12 w 67"/>
              <a:gd name="T73" fmla="*/ 61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7" h="97">
                <a:moveTo>
                  <a:pt x="12" y="61"/>
                </a:moveTo>
                <a:lnTo>
                  <a:pt x="12" y="68"/>
                </a:lnTo>
                <a:lnTo>
                  <a:pt x="1" y="52"/>
                </a:lnTo>
                <a:lnTo>
                  <a:pt x="0" y="38"/>
                </a:lnTo>
                <a:lnTo>
                  <a:pt x="7" y="41"/>
                </a:lnTo>
                <a:lnTo>
                  <a:pt x="4" y="24"/>
                </a:lnTo>
                <a:lnTo>
                  <a:pt x="2" y="7"/>
                </a:lnTo>
                <a:lnTo>
                  <a:pt x="6" y="0"/>
                </a:lnTo>
                <a:lnTo>
                  <a:pt x="25" y="4"/>
                </a:lnTo>
                <a:lnTo>
                  <a:pt x="27" y="7"/>
                </a:lnTo>
                <a:lnTo>
                  <a:pt x="31" y="20"/>
                </a:lnTo>
                <a:lnTo>
                  <a:pt x="33" y="30"/>
                </a:lnTo>
                <a:lnTo>
                  <a:pt x="30" y="41"/>
                </a:lnTo>
                <a:lnTo>
                  <a:pt x="24" y="47"/>
                </a:lnTo>
                <a:lnTo>
                  <a:pt x="25" y="58"/>
                </a:lnTo>
                <a:lnTo>
                  <a:pt x="33" y="76"/>
                </a:lnTo>
                <a:lnTo>
                  <a:pt x="38" y="74"/>
                </a:lnTo>
                <a:lnTo>
                  <a:pt x="38" y="73"/>
                </a:lnTo>
                <a:lnTo>
                  <a:pt x="45" y="71"/>
                </a:lnTo>
                <a:lnTo>
                  <a:pt x="52" y="79"/>
                </a:lnTo>
                <a:lnTo>
                  <a:pt x="54" y="76"/>
                </a:lnTo>
                <a:lnTo>
                  <a:pt x="60" y="80"/>
                </a:lnTo>
                <a:lnTo>
                  <a:pt x="57" y="82"/>
                </a:lnTo>
                <a:lnTo>
                  <a:pt x="63" y="89"/>
                </a:lnTo>
                <a:lnTo>
                  <a:pt x="67" y="91"/>
                </a:lnTo>
                <a:lnTo>
                  <a:pt x="63" y="97"/>
                </a:lnTo>
                <a:lnTo>
                  <a:pt x="63" y="94"/>
                </a:lnTo>
                <a:lnTo>
                  <a:pt x="54" y="88"/>
                </a:lnTo>
                <a:lnTo>
                  <a:pt x="46" y="80"/>
                </a:lnTo>
                <a:lnTo>
                  <a:pt x="42" y="78"/>
                </a:lnTo>
                <a:lnTo>
                  <a:pt x="44" y="89"/>
                </a:lnTo>
                <a:lnTo>
                  <a:pt x="30" y="76"/>
                </a:lnTo>
                <a:lnTo>
                  <a:pt x="21" y="80"/>
                </a:lnTo>
                <a:lnTo>
                  <a:pt x="15" y="77"/>
                </a:lnTo>
                <a:lnTo>
                  <a:pt x="15" y="71"/>
                </a:lnTo>
                <a:lnTo>
                  <a:pt x="16" y="64"/>
                </a:lnTo>
                <a:lnTo>
                  <a:pt x="12" y="61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0" name="Freeform 64">
            <a:extLst>
              <a:ext uri="{FF2B5EF4-FFF2-40B4-BE49-F238E27FC236}">
                <a16:creationId xmlns:a16="http://schemas.microsoft.com/office/drawing/2014/main" id="{1639899F-5DA4-4E37-8F0C-4BF07A6E46D4}"/>
              </a:ext>
            </a:extLst>
          </p:cNvPr>
          <p:cNvSpPr>
            <a:spLocks/>
          </p:cNvSpPr>
          <p:nvPr/>
        </p:nvSpPr>
        <p:spPr bwMode="gray">
          <a:xfrm>
            <a:off x="7722452" y="3703707"/>
            <a:ext cx="127322" cy="142144"/>
          </a:xfrm>
          <a:custGeom>
            <a:avLst/>
            <a:gdLst>
              <a:gd name="T0" fmla="*/ 50 w 66"/>
              <a:gd name="T1" fmla="*/ 66 h 66"/>
              <a:gd name="T2" fmla="*/ 48 w 66"/>
              <a:gd name="T3" fmla="*/ 60 h 66"/>
              <a:gd name="T4" fmla="*/ 46 w 66"/>
              <a:gd name="T5" fmla="*/ 61 h 66"/>
              <a:gd name="T6" fmla="*/ 30 w 66"/>
              <a:gd name="T7" fmla="*/ 53 h 66"/>
              <a:gd name="T8" fmla="*/ 31 w 66"/>
              <a:gd name="T9" fmla="*/ 38 h 66"/>
              <a:gd name="T10" fmla="*/ 24 w 66"/>
              <a:gd name="T11" fmla="*/ 30 h 66"/>
              <a:gd name="T12" fmla="*/ 19 w 66"/>
              <a:gd name="T13" fmla="*/ 35 h 66"/>
              <a:gd name="T14" fmla="*/ 17 w 66"/>
              <a:gd name="T15" fmla="*/ 34 h 66"/>
              <a:gd name="T16" fmla="*/ 14 w 66"/>
              <a:gd name="T17" fmla="*/ 36 h 66"/>
              <a:gd name="T18" fmla="*/ 10 w 66"/>
              <a:gd name="T19" fmla="*/ 31 h 66"/>
              <a:gd name="T20" fmla="*/ 4 w 66"/>
              <a:gd name="T21" fmla="*/ 41 h 66"/>
              <a:gd name="T22" fmla="*/ 0 w 66"/>
              <a:gd name="T23" fmla="*/ 44 h 66"/>
              <a:gd name="T24" fmla="*/ 1 w 66"/>
              <a:gd name="T25" fmla="*/ 32 h 66"/>
              <a:gd name="T26" fmla="*/ 13 w 66"/>
              <a:gd name="T27" fmla="*/ 23 h 66"/>
              <a:gd name="T28" fmla="*/ 22 w 66"/>
              <a:gd name="T29" fmla="*/ 17 h 66"/>
              <a:gd name="T30" fmla="*/ 25 w 66"/>
              <a:gd name="T31" fmla="*/ 26 h 66"/>
              <a:gd name="T32" fmla="*/ 31 w 66"/>
              <a:gd name="T33" fmla="*/ 23 h 66"/>
              <a:gd name="T34" fmla="*/ 36 w 66"/>
              <a:gd name="T35" fmla="*/ 19 h 66"/>
              <a:gd name="T36" fmla="*/ 37 w 66"/>
              <a:gd name="T37" fmla="*/ 12 h 66"/>
              <a:gd name="T38" fmla="*/ 43 w 66"/>
              <a:gd name="T39" fmla="*/ 12 h 66"/>
              <a:gd name="T40" fmla="*/ 47 w 66"/>
              <a:gd name="T41" fmla="*/ 12 h 66"/>
              <a:gd name="T42" fmla="*/ 46 w 66"/>
              <a:gd name="T43" fmla="*/ 0 h 66"/>
              <a:gd name="T44" fmla="*/ 56 w 66"/>
              <a:gd name="T45" fmla="*/ 7 h 66"/>
              <a:gd name="T46" fmla="*/ 59 w 66"/>
              <a:gd name="T47" fmla="*/ 19 h 66"/>
              <a:gd name="T48" fmla="*/ 66 w 66"/>
              <a:gd name="T49" fmla="*/ 40 h 66"/>
              <a:gd name="T50" fmla="*/ 61 w 66"/>
              <a:gd name="T51" fmla="*/ 47 h 66"/>
              <a:gd name="T52" fmla="*/ 61 w 66"/>
              <a:gd name="T53" fmla="*/ 53 h 66"/>
              <a:gd name="T54" fmla="*/ 55 w 66"/>
              <a:gd name="T55" fmla="*/ 40 h 66"/>
              <a:gd name="T56" fmla="*/ 50 w 66"/>
              <a:gd name="T57" fmla="*/ 43 h 66"/>
              <a:gd name="T58" fmla="*/ 53 w 66"/>
              <a:gd name="T59" fmla="*/ 54 h 66"/>
              <a:gd name="T60" fmla="*/ 50 w 66"/>
              <a:gd name="T61" fmla="*/ 66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66" h="66">
                <a:moveTo>
                  <a:pt x="50" y="66"/>
                </a:moveTo>
                <a:lnTo>
                  <a:pt x="48" y="60"/>
                </a:lnTo>
                <a:lnTo>
                  <a:pt x="46" y="61"/>
                </a:lnTo>
                <a:lnTo>
                  <a:pt x="30" y="53"/>
                </a:lnTo>
                <a:lnTo>
                  <a:pt x="31" y="38"/>
                </a:lnTo>
                <a:lnTo>
                  <a:pt x="24" y="30"/>
                </a:lnTo>
                <a:lnTo>
                  <a:pt x="19" y="35"/>
                </a:lnTo>
                <a:lnTo>
                  <a:pt x="17" y="34"/>
                </a:lnTo>
                <a:lnTo>
                  <a:pt x="14" y="36"/>
                </a:lnTo>
                <a:lnTo>
                  <a:pt x="10" y="31"/>
                </a:lnTo>
                <a:lnTo>
                  <a:pt x="4" y="41"/>
                </a:lnTo>
                <a:lnTo>
                  <a:pt x="0" y="44"/>
                </a:lnTo>
                <a:lnTo>
                  <a:pt x="1" y="32"/>
                </a:lnTo>
                <a:lnTo>
                  <a:pt x="13" y="23"/>
                </a:lnTo>
                <a:lnTo>
                  <a:pt x="22" y="17"/>
                </a:lnTo>
                <a:lnTo>
                  <a:pt x="25" y="26"/>
                </a:lnTo>
                <a:lnTo>
                  <a:pt x="31" y="23"/>
                </a:lnTo>
                <a:lnTo>
                  <a:pt x="36" y="19"/>
                </a:lnTo>
                <a:lnTo>
                  <a:pt x="37" y="12"/>
                </a:lnTo>
                <a:lnTo>
                  <a:pt x="43" y="12"/>
                </a:lnTo>
                <a:lnTo>
                  <a:pt x="47" y="12"/>
                </a:lnTo>
                <a:lnTo>
                  <a:pt x="46" y="0"/>
                </a:lnTo>
                <a:lnTo>
                  <a:pt x="56" y="7"/>
                </a:lnTo>
                <a:lnTo>
                  <a:pt x="59" y="19"/>
                </a:lnTo>
                <a:lnTo>
                  <a:pt x="66" y="40"/>
                </a:lnTo>
                <a:lnTo>
                  <a:pt x="61" y="47"/>
                </a:lnTo>
                <a:lnTo>
                  <a:pt x="61" y="53"/>
                </a:lnTo>
                <a:lnTo>
                  <a:pt x="55" y="40"/>
                </a:lnTo>
                <a:lnTo>
                  <a:pt x="50" y="43"/>
                </a:lnTo>
                <a:lnTo>
                  <a:pt x="53" y="54"/>
                </a:lnTo>
                <a:lnTo>
                  <a:pt x="50" y="66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1" name="Freeform 65">
            <a:extLst>
              <a:ext uri="{FF2B5EF4-FFF2-40B4-BE49-F238E27FC236}">
                <a16:creationId xmlns:a16="http://schemas.microsoft.com/office/drawing/2014/main" id="{633B91CB-3301-4FD7-89A9-0ED70047D525}"/>
              </a:ext>
            </a:extLst>
          </p:cNvPr>
          <p:cNvSpPr>
            <a:spLocks/>
          </p:cNvSpPr>
          <p:nvPr/>
        </p:nvSpPr>
        <p:spPr bwMode="gray">
          <a:xfrm>
            <a:off x="7731055" y="3664764"/>
            <a:ext cx="25808" cy="60360"/>
          </a:xfrm>
          <a:custGeom>
            <a:avLst/>
            <a:gdLst>
              <a:gd name="T0" fmla="*/ 14 w 14"/>
              <a:gd name="T1" fmla="*/ 0 h 28"/>
              <a:gd name="T2" fmla="*/ 10 w 14"/>
              <a:gd name="T3" fmla="*/ 20 h 28"/>
              <a:gd name="T4" fmla="*/ 10 w 14"/>
              <a:gd name="T5" fmla="*/ 28 h 28"/>
              <a:gd name="T6" fmla="*/ 0 w 14"/>
              <a:gd name="T7" fmla="*/ 18 h 28"/>
              <a:gd name="T8" fmla="*/ 3 w 14"/>
              <a:gd name="T9" fmla="*/ 13 h 28"/>
              <a:gd name="T10" fmla="*/ 6 w 14"/>
              <a:gd name="T11" fmla="*/ 0 h 28"/>
              <a:gd name="T12" fmla="*/ 14 w 14"/>
              <a:gd name="T13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" h="28">
                <a:moveTo>
                  <a:pt x="14" y="0"/>
                </a:moveTo>
                <a:lnTo>
                  <a:pt x="10" y="20"/>
                </a:lnTo>
                <a:lnTo>
                  <a:pt x="10" y="28"/>
                </a:lnTo>
                <a:lnTo>
                  <a:pt x="0" y="18"/>
                </a:lnTo>
                <a:lnTo>
                  <a:pt x="3" y="13"/>
                </a:lnTo>
                <a:lnTo>
                  <a:pt x="6" y="0"/>
                </a:lnTo>
                <a:lnTo>
                  <a:pt x="14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2" name="Freeform 66">
            <a:extLst>
              <a:ext uri="{FF2B5EF4-FFF2-40B4-BE49-F238E27FC236}">
                <a16:creationId xmlns:a16="http://schemas.microsoft.com/office/drawing/2014/main" id="{187C7320-BAE5-4FE5-85B5-A563575431A6}"/>
              </a:ext>
            </a:extLst>
          </p:cNvPr>
          <p:cNvSpPr>
            <a:spLocks/>
          </p:cNvSpPr>
          <p:nvPr/>
        </p:nvSpPr>
        <p:spPr bwMode="gray">
          <a:xfrm>
            <a:off x="7772351" y="3604404"/>
            <a:ext cx="46455" cy="50625"/>
          </a:xfrm>
          <a:custGeom>
            <a:avLst/>
            <a:gdLst>
              <a:gd name="T0" fmla="*/ 18 w 24"/>
              <a:gd name="T1" fmla="*/ 23 h 24"/>
              <a:gd name="T2" fmla="*/ 11 w 24"/>
              <a:gd name="T3" fmla="*/ 16 h 24"/>
              <a:gd name="T4" fmla="*/ 0 w 24"/>
              <a:gd name="T5" fmla="*/ 2 h 24"/>
              <a:gd name="T6" fmla="*/ 12 w 24"/>
              <a:gd name="T7" fmla="*/ 0 h 24"/>
              <a:gd name="T8" fmla="*/ 17 w 24"/>
              <a:gd name="T9" fmla="*/ 10 h 24"/>
              <a:gd name="T10" fmla="*/ 24 w 24"/>
              <a:gd name="T11" fmla="*/ 24 h 24"/>
              <a:gd name="T12" fmla="*/ 18 w 24"/>
              <a:gd name="T13" fmla="*/ 23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" h="24">
                <a:moveTo>
                  <a:pt x="18" y="23"/>
                </a:moveTo>
                <a:lnTo>
                  <a:pt x="11" y="16"/>
                </a:lnTo>
                <a:lnTo>
                  <a:pt x="0" y="2"/>
                </a:lnTo>
                <a:lnTo>
                  <a:pt x="12" y="0"/>
                </a:lnTo>
                <a:lnTo>
                  <a:pt x="17" y="10"/>
                </a:lnTo>
                <a:lnTo>
                  <a:pt x="24" y="24"/>
                </a:lnTo>
                <a:lnTo>
                  <a:pt x="18" y="2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3" name="Freeform 67">
            <a:extLst>
              <a:ext uri="{FF2B5EF4-FFF2-40B4-BE49-F238E27FC236}">
                <a16:creationId xmlns:a16="http://schemas.microsoft.com/office/drawing/2014/main" id="{02F13543-3C57-4E56-8BEB-9D7592A493C7}"/>
              </a:ext>
            </a:extLst>
          </p:cNvPr>
          <p:cNvSpPr>
            <a:spLocks/>
          </p:cNvSpPr>
          <p:nvPr/>
        </p:nvSpPr>
        <p:spPr bwMode="gray">
          <a:xfrm>
            <a:off x="7706968" y="3629717"/>
            <a:ext cx="36132" cy="42837"/>
          </a:xfrm>
          <a:custGeom>
            <a:avLst/>
            <a:gdLst>
              <a:gd name="T0" fmla="*/ 17 w 18"/>
              <a:gd name="T1" fmla="*/ 4 h 21"/>
              <a:gd name="T2" fmla="*/ 2 w 18"/>
              <a:gd name="T3" fmla="*/ 0 h 21"/>
              <a:gd name="T4" fmla="*/ 0 w 18"/>
              <a:gd name="T5" fmla="*/ 0 h 21"/>
              <a:gd name="T6" fmla="*/ 5 w 18"/>
              <a:gd name="T7" fmla="*/ 21 h 21"/>
              <a:gd name="T8" fmla="*/ 18 w 18"/>
              <a:gd name="T9" fmla="*/ 8 h 21"/>
              <a:gd name="T10" fmla="*/ 18 w 18"/>
              <a:gd name="T11" fmla="*/ 6 h 21"/>
              <a:gd name="T12" fmla="*/ 17 w 18"/>
              <a:gd name="T13" fmla="*/ 4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21">
                <a:moveTo>
                  <a:pt x="17" y="4"/>
                </a:moveTo>
                <a:lnTo>
                  <a:pt x="2" y="0"/>
                </a:lnTo>
                <a:lnTo>
                  <a:pt x="0" y="0"/>
                </a:lnTo>
                <a:lnTo>
                  <a:pt x="5" y="21"/>
                </a:lnTo>
                <a:lnTo>
                  <a:pt x="18" y="8"/>
                </a:lnTo>
                <a:lnTo>
                  <a:pt x="18" y="6"/>
                </a:lnTo>
                <a:lnTo>
                  <a:pt x="17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4" name="Freeform 68">
            <a:extLst>
              <a:ext uri="{FF2B5EF4-FFF2-40B4-BE49-F238E27FC236}">
                <a16:creationId xmlns:a16="http://schemas.microsoft.com/office/drawing/2014/main" id="{8FD3C927-3523-416C-A799-345183B727D3}"/>
              </a:ext>
            </a:extLst>
          </p:cNvPr>
          <p:cNvSpPr>
            <a:spLocks/>
          </p:cNvSpPr>
          <p:nvPr/>
        </p:nvSpPr>
        <p:spPr bwMode="gray">
          <a:xfrm>
            <a:off x="7593411" y="3647240"/>
            <a:ext cx="60218" cy="99305"/>
          </a:xfrm>
          <a:custGeom>
            <a:avLst/>
            <a:gdLst>
              <a:gd name="T0" fmla="*/ 32 w 32"/>
              <a:gd name="T1" fmla="*/ 12 h 45"/>
              <a:gd name="T2" fmla="*/ 19 w 32"/>
              <a:gd name="T3" fmla="*/ 25 h 45"/>
              <a:gd name="T4" fmla="*/ 9 w 32"/>
              <a:gd name="T5" fmla="*/ 35 h 45"/>
              <a:gd name="T6" fmla="*/ 0 w 32"/>
              <a:gd name="T7" fmla="*/ 45 h 45"/>
              <a:gd name="T8" fmla="*/ 1 w 32"/>
              <a:gd name="T9" fmla="*/ 42 h 45"/>
              <a:gd name="T10" fmla="*/ 10 w 32"/>
              <a:gd name="T11" fmla="*/ 30 h 45"/>
              <a:gd name="T12" fmla="*/ 20 w 32"/>
              <a:gd name="T13" fmla="*/ 17 h 45"/>
              <a:gd name="T14" fmla="*/ 25 w 32"/>
              <a:gd name="T15" fmla="*/ 7 h 45"/>
              <a:gd name="T16" fmla="*/ 26 w 32"/>
              <a:gd name="T17" fmla="*/ 7 h 45"/>
              <a:gd name="T18" fmla="*/ 26 w 32"/>
              <a:gd name="T19" fmla="*/ 0 h 45"/>
              <a:gd name="T20" fmla="*/ 32 w 32"/>
              <a:gd name="T21" fmla="*/ 12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2" h="45">
                <a:moveTo>
                  <a:pt x="32" y="12"/>
                </a:moveTo>
                <a:lnTo>
                  <a:pt x="19" y="25"/>
                </a:lnTo>
                <a:lnTo>
                  <a:pt x="9" y="35"/>
                </a:lnTo>
                <a:lnTo>
                  <a:pt x="0" y="45"/>
                </a:lnTo>
                <a:lnTo>
                  <a:pt x="1" y="42"/>
                </a:lnTo>
                <a:lnTo>
                  <a:pt x="10" y="30"/>
                </a:lnTo>
                <a:lnTo>
                  <a:pt x="20" y="17"/>
                </a:lnTo>
                <a:lnTo>
                  <a:pt x="25" y="7"/>
                </a:lnTo>
                <a:lnTo>
                  <a:pt x="26" y="7"/>
                </a:lnTo>
                <a:lnTo>
                  <a:pt x="26" y="0"/>
                </a:lnTo>
                <a:lnTo>
                  <a:pt x="32" y="1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5" name="Freeform 69">
            <a:extLst>
              <a:ext uri="{FF2B5EF4-FFF2-40B4-BE49-F238E27FC236}">
                <a16:creationId xmlns:a16="http://schemas.microsoft.com/office/drawing/2014/main" id="{20F99ABF-D9CC-4B6A-B6D9-05A856F5BD3C}"/>
              </a:ext>
            </a:extLst>
          </p:cNvPr>
          <p:cNvSpPr>
            <a:spLocks/>
          </p:cNvSpPr>
          <p:nvPr/>
        </p:nvSpPr>
        <p:spPr bwMode="gray">
          <a:xfrm>
            <a:off x="7658792" y="3573250"/>
            <a:ext cx="37851" cy="38943"/>
          </a:xfrm>
          <a:custGeom>
            <a:avLst/>
            <a:gdLst>
              <a:gd name="T0" fmla="*/ 20 w 20"/>
              <a:gd name="T1" fmla="*/ 13 h 18"/>
              <a:gd name="T2" fmla="*/ 17 w 20"/>
              <a:gd name="T3" fmla="*/ 18 h 18"/>
              <a:gd name="T4" fmla="*/ 9 w 20"/>
              <a:gd name="T5" fmla="*/ 10 h 18"/>
              <a:gd name="T6" fmla="*/ 0 w 20"/>
              <a:gd name="T7" fmla="*/ 0 h 18"/>
              <a:gd name="T8" fmla="*/ 16 w 20"/>
              <a:gd name="T9" fmla="*/ 2 h 18"/>
              <a:gd name="T10" fmla="*/ 20 w 20"/>
              <a:gd name="T11" fmla="*/ 13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" h="18">
                <a:moveTo>
                  <a:pt x="20" y="13"/>
                </a:moveTo>
                <a:lnTo>
                  <a:pt x="17" y="18"/>
                </a:lnTo>
                <a:lnTo>
                  <a:pt x="9" y="10"/>
                </a:lnTo>
                <a:lnTo>
                  <a:pt x="0" y="0"/>
                </a:lnTo>
                <a:lnTo>
                  <a:pt x="16" y="2"/>
                </a:lnTo>
                <a:lnTo>
                  <a:pt x="20" y="1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6" name="Freeform 70">
            <a:extLst>
              <a:ext uri="{FF2B5EF4-FFF2-40B4-BE49-F238E27FC236}">
                <a16:creationId xmlns:a16="http://schemas.microsoft.com/office/drawing/2014/main" id="{5EEF408D-9F3D-48C1-BB2F-F258CEF60B41}"/>
              </a:ext>
            </a:extLst>
          </p:cNvPr>
          <p:cNvSpPr>
            <a:spLocks/>
          </p:cNvSpPr>
          <p:nvPr/>
        </p:nvSpPr>
        <p:spPr bwMode="gray">
          <a:xfrm>
            <a:off x="7777510" y="3643345"/>
            <a:ext cx="29251" cy="46732"/>
          </a:xfrm>
          <a:custGeom>
            <a:avLst/>
            <a:gdLst>
              <a:gd name="T0" fmla="*/ 8 w 14"/>
              <a:gd name="T1" fmla="*/ 4 h 23"/>
              <a:gd name="T2" fmla="*/ 14 w 14"/>
              <a:gd name="T3" fmla="*/ 19 h 23"/>
              <a:gd name="T4" fmla="*/ 11 w 14"/>
              <a:gd name="T5" fmla="*/ 21 h 23"/>
              <a:gd name="T6" fmla="*/ 9 w 14"/>
              <a:gd name="T7" fmla="*/ 23 h 23"/>
              <a:gd name="T8" fmla="*/ 2 w 14"/>
              <a:gd name="T9" fmla="*/ 10 h 23"/>
              <a:gd name="T10" fmla="*/ 0 w 14"/>
              <a:gd name="T11" fmla="*/ 0 h 23"/>
              <a:gd name="T12" fmla="*/ 8 w 14"/>
              <a:gd name="T13" fmla="*/ 4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" h="23">
                <a:moveTo>
                  <a:pt x="8" y="4"/>
                </a:moveTo>
                <a:lnTo>
                  <a:pt x="14" y="19"/>
                </a:lnTo>
                <a:lnTo>
                  <a:pt x="11" y="21"/>
                </a:lnTo>
                <a:lnTo>
                  <a:pt x="9" y="23"/>
                </a:lnTo>
                <a:lnTo>
                  <a:pt x="2" y="10"/>
                </a:lnTo>
                <a:lnTo>
                  <a:pt x="0" y="0"/>
                </a:lnTo>
                <a:lnTo>
                  <a:pt x="8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7" name="Freeform 71">
            <a:extLst>
              <a:ext uri="{FF2B5EF4-FFF2-40B4-BE49-F238E27FC236}">
                <a16:creationId xmlns:a16="http://schemas.microsoft.com/office/drawing/2014/main" id="{36DD878B-5E17-4D3F-B8C2-6C3200C4A7E2}"/>
              </a:ext>
            </a:extLst>
          </p:cNvPr>
          <p:cNvSpPr>
            <a:spLocks/>
          </p:cNvSpPr>
          <p:nvPr/>
        </p:nvSpPr>
        <p:spPr bwMode="gray">
          <a:xfrm>
            <a:off x="7743100" y="3608297"/>
            <a:ext cx="22367" cy="25313"/>
          </a:xfrm>
          <a:custGeom>
            <a:avLst/>
            <a:gdLst>
              <a:gd name="T0" fmla="*/ 13 w 13"/>
              <a:gd name="T1" fmla="*/ 12 h 12"/>
              <a:gd name="T2" fmla="*/ 2 w 13"/>
              <a:gd name="T3" fmla="*/ 6 h 12"/>
              <a:gd name="T4" fmla="*/ 0 w 13"/>
              <a:gd name="T5" fmla="*/ 7 h 12"/>
              <a:gd name="T6" fmla="*/ 1 w 13"/>
              <a:gd name="T7" fmla="*/ 0 h 12"/>
              <a:gd name="T8" fmla="*/ 13 w 13"/>
              <a:gd name="T9" fmla="*/ 9 h 12"/>
              <a:gd name="T10" fmla="*/ 13 w 13"/>
              <a:gd name="T11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" h="12">
                <a:moveTo>
                  <a:pt x="13" y="12"/>
                </a:moveTo>
                <a:lnTo>
                  <a:pt x="2" y="6"/>
                </a:lnTo>
                <a:lnTo>
                  <a:pt x="0" y="7"/>
                </a:lnTo>
                <a:lnTo>
                  <a:pt x="1" y="0"/>
                </a:lnTo>
                <a:lnTo>
                  <a:pt x="13" y="9"/>
                </a:lnTo>
                <a:lnTo>
                  <a:pt x="13" y="1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8" name="Freeform 72">
            <a:extLst>
              <a:ext uri="{FF2B5EF4-FFF2-40B4-BE49-F238E27FC236}">
                <a16:creationId xmlns:a16="http://schemas.microsoft.com/office/drawing/2014/main" id="{0F909478-5AD6-443B-976A-0A5DA4B42DC5}"/>
              </a:ext>
            </a:extLst>
          </p:cNvPr>
          <p:cNvSpPr>
            <a:spLocks/>
          </p:cNvSpPr>
          <p:nvPr/>
        </p:nvSpPr>
        <p:spPr bwMode="gray">
          <a:xfrm>
            <a:off x="7765467" y="3690077"/>
            <a:ext cx="22367" cy="9735"/>
          </a:xfrm>
          <a:custGeom>
            <a:avLst/>
            <a:gdLst>
              <a:gd name="T0" fmla="*/ 12 w 12"/>
              <a:gd name="T1" fmla="*/ 5 h 5"/>
              <a:gd name="T2" fmla="*/ 8 w 12"/>
              <a:gd name="T3" fmla="*/ 0 h 5"/>
              <a:gd name="T4" fmla="*/ 0 w 12"/>
              <a:gd name="T5" fmla="*/ 5 h 5"/>
              <a:gd name="T6" fmla="*/ 12 w 12"/>
              <a:gd name="T7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5">
                <a:moveTo>
                  <a:pt x="12" y="5"/>
                </a:moveTo>
                <a:lnTo>
                  <a:pt x="8" y="0"/>
                </a:lnTo>
                <a:lnTo>
                  <a:pt x="0" y="5"/>
                </a:lnTo>
                <a:lnTo>
                  <a:pt x="12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9" name="Freeform 73">
            <a:extLst>
              <a:ext uri="{FF2B5EF4-FFF2-40B4-BE49-F238E27FC236}">
                <a16:creationId xmlns:a16="http://schemas.microsoft.com/office/drawing/2014/main" id="{4ACFB981-6F48-4DAD-8BF9-7B6D3340E185}"/>
              </a:ext>
            </a:extLst>
          </p:cNvPr>
          <p:cNvSpPr>
            <a:spLocks/>
          </p:cNvSpPr>
          <p:nvPr/>
        </p:nvSpPr>
        <p:spPr bwMode="gray">
          <a:xfrm>
            <a:off x="7753423" y="3647240"/>
            <a:ext cx="15486" cy="64256"/>
          </a:xfrm>
          <a:custGeom>
            <a:avLst/>
            <a:gdLst>
              <a:gd name="T0" fmla="*/ 7 w 7"/>
              <a:gd name="T1" fmla="*/ 0 h 30"/>
              <a:gd name="T2" fmla="*/ 7 w 7"/>
              <a:gd name="T3" fmla="*/ 8 h 30"/>
              <a:gd name="T4" fmla="*/ 3 w 7"/>
              <a:gd name="T5" fmla="*/ 19 h 30"/>
              <a:gd name="T6" fmla="*/ 0 w 7"/>
              <a:gd name="T7" fmla="*/ 30 h 30"/>
              <a:gd name="T8" fmla="*/ 3 w 7"/>
              <a:gd name="T9" fmla="*/ 14 h 30"/>
              <a:gd name="T10" fmla="*/ 7 w 7"/>
              <a:gd name="T11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30">
                <a:moveTo>
                  <a:pt x="7" y="0"/>
                </a:moveTo>
                <a:lnTo>
                  <a:pt x="7" y="8"/>
                </a:lnTo>
                <a:lnTo>
                  <a:pt x="3" y="19"/>
                </a:lnTo>
                <a:lnTo>
                  <a:pt x="0" y="30"/>
                </a:lnTo>
                <a:lnTo>
                  <a:pt x="3" y="14"/>
                </a:lnTo>
                <a:lnTo>
                  <a:pt x="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0" name="Freeform 74">
            <a:extLst>
              <a:ext uri="{FF2B5EF4-FFF2-40B4-BE49-F238E27FC236}">
                <a16:creationId xmlns:a16="http://schemas.microsoft.com/office/drawing/2014/main" id="{8D7AE3E4-9ABC-4B2C-93F5-E2DFA6556899}"/>
              </a:ext>
            </a:extLst>
          </p:cNvPr>
          <p:cNvSpPr>
            <a:spLocks/>
          </p:cNvSpPr>
          <p:nvPr/>
        </p:nvSpPr>
        <p:spPr bwMode="gray">
          <a:xfrm>
            <a:off x="7022186" y="3329853"/>
            <a:ext cx="237438" cy="508209"/>
          </a:xfrm>
          <a:custGeom>
            <a:avLst/>
            <a:gdLst>
              <a:gd name="T0" fmla="*/ 40 w 124"/>
              <a:gd name="T1" fmla="*/ 167 h 234"/>
              <a:gd name="T2" fmla="*/ 47 w 124"/>
              <a:gd name="T3" fmla="*/ 140 h 234"/>
              <a:gd name="T4" fmla="*/ 47 w 124"/>
              <a:gd name="T5" fmla="*/ 113 h 234"/>
              <a:gd name="T6" fmla="*/ 60 w 124"/>
              <a:gd name="T7" fmla="*/ 123 h 234"/>
              <a:gd name="T8" fmla="*/ 85 w 124"/>
              <a:gd name="T9" fmla="*/ 134 h 234"/>
              <a:gd name="T10" fmla="*/ 85 w 124"/>
              <a:gd name="T11" fmla="*/ 128 h 234"/>
              <a:gd name="T12" fmla="*/ 89 w 124"/>
              <a:gd name="T13" fmla="*/ 98 h 234"/>
              <a:gd name="T14" fmla="*/ 119 w 124"/>
              <a:gd name="T15" fmla="*/ 98 h 234"/>
              <a:gd name="T16" fmla="*/ 119 w 124"/>
              <a:gd name="T17" fmla="*/ 75 h 234"/>
              <a:gd name="T18" fmla="*/ 104 w 124"/>
              <a:gd name="T19" fmla="*/ 46 h 234"/>
              <a:gd name="T20" fmla="*/ 80 w 124"/>
              <a:gd name="T21" fmla="*/ 36 h 234"/>
              <a:gd name="T22" fmla="*/ 66 w 124"/>
              <a:gd name="T23" fmla="*/ 36 h 234"/>
              <a:gd name="T24" fmla="*/ 53 w 124"/>
              <a:gd name="T25" fmla="*/ 29 h 234"/>
              <a:gd name="T26" fmla="*/ 41 w 124"/>
              <a:gd name="T27" fmla="*/ 12 h 234"/>
              <a:gd name="T28" fmla="*/ 34 w 124"/>
              <a:gd name="T29" fmla="*/ 0 h 234"/>
              <a:gd name="T30" fmla="*/ 20 w 124"/>
              <a:gd name="T31" fmla="*/ 10 h 234"/>
              <a:gd name="T32" fmla="*/ 4 w 124"/>
              <a:gd name="T33" fmla="*/ 30 h 234"/>
              <a:gd name="T34" fmla="*/ 11 w 124"/>
              <a:gd name="T35" fmla="*/ 47 h 234"/>
              <a:gd name="T36" fmla="*/ 26 w 124"/>
              <a:gd name="T37" fmla="*/ 65 h 234"/>
              <a:gd name="T38" fmla="*/ 22 w 124"/>
              <a:gd name="T39" fmla="*/ 82 h 234"/>
              <a:gd name="T40" fmla="*/ 29 w 124"/>
              <a:gd name="T41" fmla="*/ 101 h 234"/>
              <a:gd name="T42" fmla="*/ 40 w 124"/>
              <a:gd name="T43" fmla="*/ 125 h 234"/>
              <a:gd name="T44" fmla="*/ 38 w 124"/>
              <a:gd name="T45" fmla="*/ 152 h 234"/>
              <a:gd name="T46" fmla="*/ 34 w 124"/>
              <a:gd name="T47" fmla="*/ 165 h 234"/>
              <a:gd name="T48" fmla="*/ 30 w 124"/>
              <a:gd name="T49" fmla="*/ 196 h 234"/>
              <a:gd name="T50" fmla="*/ 40 w 124"/>
              <a:gd name="T51" fmla="*/ 202 h 234"/>
              <a:gd name="T52" fmla="*/ 50 w 124"/>
              <a:gd name="T53" fmla="*/ 215 h 234"/>
              <a:gd name="T54" fmla="*/ 58 w 124"/>
              <a:gd name="T55" fmla="*/ 222 h 234"/>
              <a:gd name="T56" fmla="*/ 70 w 124"/>
              <a:gd name="T57" fmla="*/ 234 h 234"/>
              <a:gd name="T58" fmla="*/ 85 w 124"/>
              <a:gd name="T59" fmla="*/ 227 h 234"/>
              <a:gd name="T60" fmla="*/ 67 w 124"/>
              <a:gd name="T61" fmla="*/ 216 h 234"/>
              <a:gd name="T62" fmla="*/ 56 w 124"/>
              <a:gd name="T63" fmla="*/ 196 h 234"/>
              <a:gd name="T64" fmla="*/ 44 w 124"/>
              <a:gd name="T65" fmla="*/ 180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4" h="234">
                <a:moveTo>
                  <a:pt x="44" y="180"/>
                </a:moveTo>
                <a:lnTo>
                  <a:pt x="40" y="167"/>
                </a:lnTo>
                <a:lnTo>
                  <a:pt x="43" y="153"/>
                </a:lnTo>
                <a:lnTo>
                  <a:pt x="47" y="140"/>
                </a:lnTo>
                <a:lnTo>
                  <a:pt x="47" y="126"/>
                </a:lnTo>
                <a:lnTo>
                  <a:pt x="47" y="113"/>
                </a:lnTo>
                <a:lnTo>
                  <a:pt x="60" y="111"/>
                </a:lnTo>
                <a:lnTo>
                  <a:pt x="60" y="123"/>
                </a:lnTo>
                <a:lnTo>
                  <a:pt x="71" y="124"/>
                </a:lnTo>
                <a:lnTo>
                  <a:pt x="85" y="134"/>
                </a:lnTo>
                <a:lnTo>
                  <a:pt x="91" y="141"/>
                </a:lnTo>
                <a:lnTo>
                  <a:pt x="85" y="128"/>
                </a:lnTo>
                <a:lnTo>
                  <a:pt x="80" y="114"/>
                </a:lnTo>
                <a:lnTo>
                  <a:pt x="89" y="98"/>
                </a:lnTo>
                <a:lnTo>
                  <a:pt x="104" y="98"/>
                </a:lnTo>
                <a:lnTo>
                  <a:pt x="119" y="98"/>
                </a:lnTo>
                <a:lnTo>
                  <a:pt x="124" y="88"/>
                </a:lnTo>
                <a:lnTo>
                  <a:pt x="119" y="75"/>
                </a:lnTo>
                <a:lnTo>
                  <a:pt x="107" y="58"/>
                </a:lnTo>
                <a:lnTo>
                  <a:pt x="104" y="46"/>
                </a:lnTo>
                <a:lnTo>
                  <a:pt x="88" y="32"/>
                </a:lnTo>
                <a:lnTo>
                  <a:pt x="80" y="36"/>
                </a:lnTo>
                <a:lnTo>
                  <a:pt x="74" y="39"/>
                </a:lnTo>
                <a:lnTo>
                  <a:pt x="66" y="36"/>
                </a:lnTo>
                <a:lnTo>
                  <a:pt x="53" y="46"/>
                </a:lnTo>
                <a:lnTo>
                  <a:pt x="53" y="29"/>
                </a:lnTo>
                <a:lnTo>
                  <a:pt x="52" y="12"/>
                </a:lnTo>
                <a:lnTo>
                  <a:pt x="41" y="12"/>
                </a:lnTo>
                <a:lnTo>
                  <a:pt x="38" y="3"/>
                </a:lnTo>
                <a:lnTo>
                  <a:pt x="34" y="0"/>
                </a:lnTo>
                <a:lnTo>
                  <a:pt x="26" y="3"/>
                </a:lnTo>
                <a:lnTo>
                  <a:pt x="20" y="10"/>
                </a:lnTo>
                <a:lnTo>
                  <a:pt x="6" y="12"/>
                </a:lnTo>
                <a:lnTo>
                  <a:pt x="4" y="30"/>
                </a:lnTo>
                <a:lnTo>
                  <a:pt x="0" y="29"/>
                </a:lnTo>
                <a:lnTo>
                  <a:pt x="11" y="47"/>
                </a:lnTo>
                <a:lnTo>
                  <a:pt x="23" y="64"/>
                </a:lnTo>
                <a:lnTo>
                  <a:pt x="26" y="65"/>
                </a:lnTo>
                <a:lnTo>
                  <a:pt x="23" y="75"/>
                </a:lnTo>
                <a:lnTo>
                  <a:pt x="22" y="82"/>
                </a:lnTo>
                <a:lnTo>
                  <a:pt x="22" y="92"/>
                </a:lnTo>
                <a:lnTo>
                  <a:pt x="29" y="101"/>
                </a:lnTo>
                <a:lnTo>
                  <a:pt x="36" y="111"/>
                </a:lnTo>
                <a:lnTo>
                  <a:pt x="40" y="125"/>
                </a:lnTo>
                <a:lnTo>
                  <a:pt x="43" y="141"/>
                </a:lnTo>
                <a:lnTo>
                  <a:pt x="38" y="152"/>
                </a:lnTo>
                <a:lnTo>
                  <a:pt x="34" y="161"/>
                </a:lnTo>
                <a:lnTo>
                  <a:pt x="34" y="165"/>
                </a:lnTo>
                <a:lnTo>
                  <a:pt x="31" y="180"/>
                </a:lnTo>
                <a:lnTo>
                  <a:pt x="30" y="196"/>
                </a:lnTo>
                <a:lnTo>
                  <a:pt x="32" y="194"/>
                </a:lnTo>
                <a:lnTo>
                  <a:pt x="40" y="202"/>
                </a:lnTo>
                <a:lnTo>
                  <a:pt x="47" y="212"/>
                </a:lnTo>
                <a:lnTo>
                  <a:pt x="50" y="215"/>
                </a:lnTo>
                <a:lnTo>
                  <a:pt x="58" y="225"/>
                </a:lnTo>
                <a:lnTo>
                  <a:pt x="58" y="222"/>
                </a:lnTo>
                <a:lnTo>
                  <a:pt x="70" y="227"/>
                </a:lnTo>
                <a:lnTo>
                  <a:pt x="70" y="234"/>
                </a:lnTo>
                <a:lnTo>
                  <a:pt x="79" y="234"/>
                </a:lnTo>
                <a:lnTo>
                  <a:pt x="85" y="227"/>
                </a:lnTo>
                <a:lnTo>
                  <a:pt x="77" y="218"/>
                </a:lnTo>
                <a:lnTo>
                  <a:pt x="67" y="216"/>
                </a:lnTo>
                <a:lnTo>
                  <a:pt x="59" y="208"/>
                </a:lnTo>
                <a:lnTo>
                  <a:pt x="56" y="196"/>
                </a:lnTo>
                <a:lnTo>
                  <a:pt x="52" y="180"/>
                </a:lnTo>
                <a:lnTo>
                  <a:pt x="44" y="180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1" name="Freeform 75">
            <a:extLst>
              <a:ext uri="{FF2B5EF4-FFF2-40B4-BE49-F238E27FC236}">
                <a16:creationId xmlns:a16="http://schemas.microsoft.com/office/drawing/2014/main" id="{A9FC50FB-0FA3-4783-8183-EA8152B2EA0D}"/>
              </a:ext>
            </a:extLst>
          </p:cNvPr>
          <p:cNvSpPr>
            <a:spLocks/>
          </p:cNvSpPr>
          <p:nvPr/>
        </p:nvSpPr>
        <p:spPr bwMode="gray">
          <a:xfrm>
            <a:off x="7128861" y="3230546"/>
            <a:ext cx="237438" cy="508209"/>
          </a:xfrm>
          <a:custGeom>
            <a:avLst/>
            <a:gdLst>
              <a:gd name="T0" fmla="*/ 40 w 124"/>
              <a:gd name="T1" fmla="*/ 44 h 234"/>
              <a:gd name="T2" fmla="*/ 24 w 124"/>
              <a:gd name="T3" fmla="*/ 40 h 234"/>
              <a:gd name="T4" fmla="*/ 12 w 124"/>
              <a:gd name="T5" fmla="*/ 25 h 234"/>
              <a:gd name="T6" fmla="*/ 4 w 124"/>
              <a:gd name="T7" fmla="*/ 10 h 234"/>
              <a:gd name="T8" fmla="*/ 15 w 124"/>
              <a:gd name="T9" fmla="*/ 10 h 234"/>
              <a:gd name="T10" fmla="*/ 23 w 124"/>
              <a:gd name="T11" fmla="*/ 10 h 234"/>
              <a:gd name="T12" fmla="*/ 30 w 124"/>
              <a:gd name="T13" fmla="*/ 9 h 234"/>
              <a:gd name="T14" fmla="*/ 45 w 124"/>
              <a:gd name="T15" fmla="*/ 1 h 234"/>
              <a:gd name="T16" fmla="*/ 64 w 124"/>
              <a:gd name="T17" fmla="*/ 16 h 234"/>
              <a:gd name="T18" fmla="*/ 84 w 124"/>
              <a:gd name="T19" fmla="*/ 27 h 234"/>
              <a:gd name="T20" fmla="*/ 69 w 124"/>
              <a:gd name="T21" fmla="*/ 37 h 234"/>
              <a:gd name="T22" fmla="*/ 64 w 124"/>
              <a:gd name="T23" fmla="*/ 52 h 234"/>
              <a:gd name="T24" fmla="*/ 69 w 124"/>
              <a:gd name="T25" fmla="*/ 81 h 234"/>
              <a:gd name="T26" fmla="*/ 81 w 124"/>
              <a:gd name="T27" fmla="*/ 98 h 234"/>
              <a:gd name="T28" fmla="*/ 101 w 124"/>
              <a:gd name="T29" fmla="*/ 116 h 234"/>
              <a:gd name="T30" fmla="*/ 118 w 124"/>
              <a:gd name="T31" fmla="*/ 148 h 234"/>
              <a:gd name="T32" fmla="*/ 123 w 124"/>
              <a:gd name="T33" fmla="*/ 175 h 234"/>
              <a:gd name="T34" fmla="*/ 122 w 124"/>
              <a:gd name="T35" fmla="*/ 188 h 234"/>
              <a:gd name="T36" fmla="*/ 101 w 124"/>
              <a:gd name="T37" fmla="*/ 205 h 234"/>
              <a:gd name="T38" fmla="*/ 92 w 124"/>
              <a:gd name="T39" fmla="*/ 207 h 234"/>
              <a:gd name="T40" fmla="*/ 89 w 124"/>
              <a:gd name="T41" fmla="*/ 213 h 234"/>
              <a:gd name="T42" fmla="*/ 84 w 124"/>
              <a:gd name="T43" fmla="*/ 220 h 234"/>
              <a:gd name="T44" fmla="*/ 66 w 124"/>
              <a:gd name="T45" fmla="*/ 234 h 234"/>
              <a:gd name="T46" fmla="*/ 58 w 124"/>
              <a:gd name="T47" fmla="*/ 206 h 234"/>
              <a:gd name="T48" fmla="*/ 70 w 124"/>
              <a:gd name="T49" fmla="*/ 199 h 234"/>
              <a:gd name="T50" fmla="*/ 77 w 124"/>
              <a:gd name="T51" fmla="*/ 188 h 234"/>
              <a:gd name="T52" fmla="*/ 98 w 124"/>
              <a:gd name="T53" fmla="*/ 177 h 234"/>
              <a:gd name="T54" fmla="*/ 95 w 124"/>
              <a:gd name="T55" fmla="*/ 152 h 234"/>
              <a:gd name="T56" fmla="*/ 93 w 124"/>
              <a:gd name="T57" fmla="*/ 124 h 234"/>
              <a:gd name="T58" fmla="*/ 89 w 124"/>
              <a:gd name="T59" fmla="*/ 116 h 234"/>
              <a:gd name="T60" fmla="*/ 70 w 124"/>
              <a:gd name="T61" fmla="*/ 97 h 234"/>
              <a:gd name="T62" fmla="*/ 53 w 124"/>
              <a:gd name="T63" fmla="*/ 75 h 234"/>
              <a:gd name="T64" fmla="*/ 38 w 124"/>
              <a:gd name="T65" fmla="*/ 57 h 234"/>
              <a:gd name="T66" fmla="*/ 44 w 124"/>
              <a:gd name="T67" fmla="*/ 49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4" h="234">
                <a:moveTo>
                  <a:pt x="44" y="49"/>
                </a:moveTo>
                <a:lnTo>
                  <a:pt x="40" y="44"/>
                </a:lnTo>
                <a:lnTo>
                  <a:pt x="32" y="37"/>
                </a:lnTo>
                <a:lnTo>
                  <a:pt x="24" y="40"/>
                </a:lnTo>
                <a:lnTo>
                  <a:pt x="15" y="31"/>
                </a:lnTo>
                <a:lnTo>
                  <a:pt x="12" y="25"/>
                </a:lnTo>
                <a:lnTo>
                  <a:pt x="0" y="14"/>
                </a:lnTo>
                <a:lnTo>
                  <a:pt x="4" y="10"/>
                </a:lnTo>
                <a:lnTo>
                  <a:pt x="11" y="13"/>
                </a:lnTo>
                <a:lnTo>
                  <a:pt x="15" y="10"/>
                </a:lnTo>
                <a:lnTo>
                  <a:pt x="20" y="9"/>
                </a:lnTo>
                <a:lnTo>
                  <a:pt x="23" y="10"/>
                </a:lnTo>
                <a:lnTo>
                  <a:pt x="27" y="9"/>
                </a:lnTo>
                <a:lnTo>
                  <a:pt x="30" y="9"/>
                </a:lnTo>
                <a:lnTo>
                  <a:pt x="39" y="0"/>
                </a:lnTo>
                <a:lnTo>
                  <a:pt x="45" y="1"/>
                </a:lnTo>
                <a:lnTo>
                  <a:pt x="63" y="7"/>
                </a:lnTo>
                <a:lnTo>
                  <a:pt x="64" y="16"/>
                </a:lnTo>
                <a:lnTo>
                  <a:pt x="70" y="21"/>
                </a:lnTo>
                <a:lnTo>
                  <a:pt x="84" y="27"/>
                </a:lnTo>
                <a:lnTo>
                  <a:pt x="77" y="33"/>
                </a:lnTo>
                <a:lnTo>
                  <a:pt x="69" y="37"/>
                </a:lnTo>
                <a:lnTo>
                  <a:pt x="69" y="39"/>
                </a:lnTo>
                <a:lnTo>
                  <a:pt x="64" y="52"/>
                </a:lnTo>
                <a:lnTo>
                  <a:pt x="58" y="67"/>
                </a:lnTo>
                <a:lnTo>
                  <a:pt x="69" y="81"/>
                </a:lnTo>
                <a:lnTo>
                  <a:pt x="72" y="88"/>
                </a:lnTo>
                <a:lnTo>
                  <a:pt x="81" y="98"/>
                </a:lnTo>
                <a:lnTo>
                  <a:pt x="90" y="106"/>
                </a:lnTo>
                <a:lnTo>
                  <a:pt x="101" y="116"/>
                </a:lnTo>
                <a:lnTo>
                  <a:pt x="112" y="127"/>
                </a:lnTo>
                <a:lnTo>
                  <a:pt x="118" y="148"/>
                </a:lnTo>
                <a:lnTo>
                  <a:pt x="124" y="170"/>
                </a:lnTo>
                <a:lnTo>
                  <a:pt x="123" y="175"/>
                </a:lnTo>
                <a:lnTo>
                  <a:pt x="123" y="181"/>
                </a:lnTo>
                <a:lnTo>
                  <a:pt x="122" y="188"/>
                </a:lnTo>
                <a:lnTo>
                  <a:pt x="112" y="196"/>
                </a:lnTo>
                <a:lnTo>
                  <a:pt x="101" y="205"/>
                </a:lnTo>
                <a:lnTo>
                  <a:pt x="92" y="202"/>
                </a:lnTo>
                <a:lnTo>
                  <a:pt x="92" y="207"/>
                </a:lnTo>
                <a:lnTo>
                  <a:pt x="92" y="212"/>
                </a:lnTo>
                <a:lnTo>
                  <a:pt x="89" y="213"/>
                </a:lnTo>
                <a:lnTo>
                  <a:pt x="89" y="220"/>
                </a:lnTo>
                <a:lnTo>
                  <a:pt x="84" y="220"/>
                </a:lnTo>
                <a:lnTo>
                  <a:pt x="72" y="232"/>
                </a:lnTo>
                <a:lnTo>
                  <a:pt x="66" y="234"/>
                </a:lnTo>
                <a:lnTo>
                  <a:pt x="68" y="214"/>
                </a:lnTo>
                <a:lnTo>
                  <a:pt x="58" y="206"/>
                </a:lnTo>
                <a:lnTo>
                  <a:pt x="66" y="201"/>
                </a:lnTo>
                <a:lnTo>
                  <a:pt x="70" y="199"/>
                </a:lnTo>
                <a:lnTo>
                  <a:pt x="81" y="200"/>
                </a:lnTo>
                <a:lnTo>
                  <a:pt x="77" y="188"/>
                </a:lnTo>
                <a:lnTo>
                  <a:pt x="84" y="184"/>
                </a:lnTo>
                <a:lnTo>
                  <a:pt x="98" y="177"/>
                </a:lnTo>
                <a:lnTo>
                  <a:pt x="96" y="164"/>
                </a:lnTo>
                <a:lnTo>
                  <a:pt x="95" y="152"/>
                </a:lnTo>
                <a:lnTo>
                  <a:pt x="95" y="138"/>
                </a:lnTo>
                <a:lnTo>
                  <a:pt x="93" y="124"/>
                </a:lnTo>
                <a:lnTo>
                  <a:pt x="89" y="120"/>
                </a:lnTo>
                <a:lnTo>
                  <a:pt x="89" y="116"/>
                </a:lnTo>
                <a:lnTo>
                  <a:pt x="77" y="105"/>
                </a:lnTo>
                <a:lnTo>
                  <a:pt x="70" y="97"/>
                </a:lnTo>
                <a:lnTo>
                  <a:pt x="62" y="86"/>
                </a:lnTo>
                <a:lnTo>
                  <a:pt x="53" y="75"/>
                </a:lnTo>
                <a:lnTo>
                  <a:pt x="35" y="62"/>
                </a:lnTo>
                <a:lnTo>
                  <a:pt x="38" y="57"/>
                </a:lnTo>
                <a:lnTo>
                  <a:pt x="45" y="55"/>
                </a:lnTo>
                <a:lnTo>
                  <a:pt x="44" y="49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2" name="Freeform 76">
            <a:extLst>
              <a:ext uri="{FF2B5EF4-FFF2-40B4-BE49-F238E27FC236}">
                <a16:creationId xmlns:a16="http://schemas.microsoft.com/office/drawing/2014/main" id="{A243658D-62E2-4004-88A3-4F5B15271371}"/>
              </a:ext>
            </a:extLst>
          </p:cNvPr>
          <p:cNvSpPr>
            <a:spLocks/>
          </p:cNvSpPr>
          <p:nvPr/>
        </p:nvSpPr>
        <p:spPr bwMode="gray">
          <a:xfrm>
            <a:off x="5762739" y="3131243"/>
            <a:ext cx="15486" cy="56467"/>
          </a:xfrm>
          <a:custGeom>
            <a:avLst/>
            <a:gdLst>
              <a:gd name="T0" fmla="*/ 5 w 10"/>
              <a:gd name="T1" fmla="*/ 24 h 25"/>
              <a:gd name="T2" fmla="*/ 4 w 10"/>
              <a:gd name="T3" fmla="*/ 25 h 25"/>
              <a:gd name="T4" fmla="*/ 0 w 10"/>
              <a:gd name="T5" fmla="*/ 22 h 25"/>
              <a:gd name="T6" fmla="*/ 0 w 10"/>
              <a:gd name="T7" fmla="*/ 7 h 25"/>
              <a:gd name="T8" fmla="*/ 5 w 10"/>
              <a:gd name="T9" fmla="*/ 0 h 25"/>
              <a:gd name="T10" fmla="*/ 10 w 10"/>
              <a:gd name="T11" fmla="*/ 13 h 25"/>
              <a:gd name="T12" fmla="*/ 5 w 10"/>
              <a:gd name="T13" fmla="*/ 24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" h="25">
                <a:moveTo>
                  <a:pt x="5" y="24"/>
                </a:moveTo>
                <a:lnTo>
                  <a:pt x="4" y="25"/>
                </a:lnTo>
                <a:lnTo>
                  <a:pt x="0" y="22"/>
                </a:lnTo>
                <a:lnTo>
                  <a:pt x="0" y="7"/>
                </a:lnTo>
                <a:lnTo>
                  <a:pt x="5" y="0"/>
                </a:lnTo>
                <a:lnTo>
                  <a:pt x="10" y="13"/>
                </a:lnTo>
                <a:lnTo>
                  <a:pt x="5" y="2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3" name="Freeform 77">
            <a:extLst>
              <a:ext uri="{FF2B5EF4-FFF2-40B4-BE49-F238E27FC236}">
                <a16:creationId xmlns:a16="http://schemas.microsoft.com/office/drawing/2014/main" id="{E02A0687-AAC4-40D2-9086-F40E7D364A67}"/>
              </a:ext>
            </a:extLst>
          </p:cNvPr>
          <p:cNvSpPr>
            <a:spLocks/>
          </p:cNvSpPr>
          <p:nvPr/>
        </p:nvSpPr>
        <p:spPr bwMode="gray">
          <a:xfrm>
            <a:off x="5525303" y="2658082"/>
            <a:ext cx="555739" cy="504315"/>
          </a:xfrm>
          <a:custGeom>
            <a:avLst/>
            <a:gdLst>
              <a:gd name="T0" fmla="*/ 32 w 289"/>
              <a:gd name="T1" fmla="*/ 94 h 232"/>
              <a:gd name="T2" fmla="*/ 36 w 289"/>
              <a:gd name="T3" fmla="*/ 72 h 232"/>
              <a:gd name="T4" fmla="*/ 26 w 289"/>
              <a:gd name="T5" fmla="*/ 58 h 232"/>
              <a:gd name="T6" fmla="*/ 5 w 289"/>
              <a:gd name="T7" fmla="*/ 30 h 232"/>
              <a:gd name="T8" fmla="*/ 0 w 289"/>
              <a:gd name="T9" fmla="*/ 4 h 232"/>
              <a:gd name="T10" fmla="*/ 7 w 289"/>
              <a:gd name="T11" fmla="*/ 1 h 232"/>
              <a:gd name="T12" fmla="*/ 25 w 289"/>
              <a:gd name="T13" fmla="*/ 13 h 232"/>
              <a:gd name="T14" fmla="*/ 49 w 289"/>
              <a:gd name="T15" fmla="*/ 0 h 232"/>
              <a:gd name="T16" fmla="*/ 51 w 289"/>
              <a:gd name="T17" fmla="*/ 12 h 232"/>
              <a:gd name="T18" fmla="*/ 72 w 289"/>
              <a:gd name="T19" fmla="*/ 34 h 232"/>
              <a:gd name="T20" fmla="*/ 99 w 289"/>
              <a:gd name="T21" fmla="*/ 45 h 232"/>
              <a:gd name="T22" fmla="*/ 123 w 289"/>
              <a:gd name="T23" fmla="*/ 46 h 232"/>
              <a:gd name="T24" fmla="*/ 135 w 289"/>
              <a:gd name="T25" fmla="*/ 43 h 232"/>
              <a:gd name="T26" fmla="*/ 138 w 289"/>
              <a:gd name="T27" fmla="*/ 38 h 232"/>
              <a:gd name="T28" fmla="*/ 163 w 289"/>
              <a:gd name="T29" fmla="*/ 26 h 232"/>
              <a:gd name="T30" fmla="*/ 197 w 289"/>
              <a:gd name="T31" fmla="*/ 32 h 232"/>
              <a:gd name="T32" fmla="*/ 221 w 289"/>
              <a:gd name="T33" fmla="*/ 46 h 232"/>
              <a:gd name="T34" fmla="*/ 237 w 289"/>
              <a:gd name="T35" fmla="*/ 66 h 232"/>
              <a:gd name="T36" fmla="*/ 234 w 289"/>
              <a:gd name="T37" fmla="*/ 86 h 232"/>
              <a:gd name="T38" fmla="*/ 239 w 289"/>
              <a:gd name="T39" fmla="*/ 98 h 232"/>
              <a:gd name="T40" fmla="*/ 241 w 289"/>
              <a:gd name="T41" fmla="*/ 115 h 232"/>
              <a:gd name="T42" fmla="*/ 257 w 289"/>
              <a:gd name="T43" fmla="*/ 133 h 232"/>
              <a:gd name="T44" fmla="*/ 249 w 289"/>
              <a:gd name="T45" fmla="*/ 158 h 232"/>
              <a:gd name="T46" fmla="*/ 269 w 289"/>
              <a:gd name="T47" fmla="*/ 180 h 232"/>
              <a:gd name="T48" fmla="*/ 284 w 289"/>
              <a:gd name="T49" fmla="*/ 200 h 232"/>
              <a:gd name="T50" fmla="*/ 289 w 289"/>
              <a:gd name="T51" fmla="*/ 210 h 232"/>
              <a:gd name="T52" fmla="*/ 271 w 289"/>
              <a:gd name="T53" fmla="*/ 220 h 232"/>
              <a:gd name="T54" fmla="*/ 255 w 289"/>
              <a:gd name="T55" fmla="*/ 230 h 232"/>
              <a:gd name="T56" fmla="*/ 224 w 289"/>
              <a:gd name="T57" fmla="*/ 225 h 232"/>
              <a:gd name="T58" fmla="*/ 204 w 289"/>
              <a:gd name="T59" fmla="*/ 212 h 232"/>
              <a:gd name="T60" fmla="*/ 187 w 289"/>
              <a:gd name="T61" fmla="*/ 206 h 232"/>
              <a:gd name="T62" fmla="*/ 155 w 289"/>
              <a:gd name="T63" fmla="*/ 206 h 232"/>
              <a:gd name="T64" fmla="*/ 129 w 289"/>
              <a:gd name="T65" fmla="*/ 190 h 232"/>
              <a:gd name="T66" fmla="*/ 111 w 289"/>
              <a:gd name="T67" fmla="*/ 170 h 232"/>
              <a:gd name="T68" fmla="*/ 93 w 289"/>
              <a:gd name="T69" fmla="*/ 153 h 232"/>
              <a:gd name="T70" fmla="*/ 87 w 289"/>
              <a:gd name="T71" fmla="*/ 147 h 232"/>
              <a:gd name="T72" fmla="*/ 81 w 289"/>
              <a:gd name="T73" fmla="*/ 156 h 232"/>
              <a:gd name="T74" fmla="*/ 72 w 289"/>
              <a:gd name="T75" fmla="*/ 139 h 232"/>
              <a:gd name="T76" fmla="*/ 67 w 289"/>
              <a:gd name="T77" fmla="*/ 127 h 232"/>
              <a:gd name="T78" fmla="*/ 51 w 289"/>
              <a:gd name="T79" fmla="*/ 112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89" h="232">
                <a:moveTo>
                  <a:pt x="39" y="105"/>
                </a:moveTo>
                <a:lnTo>
                  <a:pt x="32" y="94"/>
                </a:lnTo>
                <a:lnTo>
                  <a:pt x="31" y="86"/>
                </a:lnTo>
                <a:lnTo>
                  <a:pt x="36" y="72"/>
                </a:lnTo>
                <a:lnTo>
                  <a:pt x="36" y="63"/>
                </a:lnTo>
                <a:lnTo>
                  <a:pt x="26" y="58"/>
                </a:lnTo>
                <a:lnTo>
                  <a:pt x="13" y="40"/>
                </a:lnTo>
                <a:lnTo>
                  <a:pt x="5" y="30"/>
                </a:lnTo>
                <a:lnTo>
                  <a:pt x="1" y="13"/>
                </a:lnTo>
                <a:lnTo>
                  <a:pt x="0" y="4"/>
                </a:lnTo>
                <a:lnTo>
                  <a:pt x="6" y="0"/>
                </a:lnTo>
                <a:lnTo>
                  <a:pt x="7" y="1"/>
                </a:lnTo>
                <a:lnTo>
                  <a:pt x="9" y="3"/>
                </a:lnTo>
                <a:lnTo>
                  <a:pt x="25" y="13"/>
                </a:lnTo>
                <a:lnTo>
                  <a:pt x="36" y="8"/>
                </a:lnTo>
                <a:lnTo>
                  <a:pt x="49" y="0"/>
                </a:lnTo>
                <a:lnTo>
                  <a:pt x="53" y="8"/>
                </a:lnTo>
                <a:lnTo>
                  <a:pt x="51" y="12"/>
                </a:lnTo>
                <a:lnTo>
                  <a:pt x="63" y="20"/>
                </a:lnTo>
                <a:lnTo>
                  <a:pt x="72" y="34"/>
                </a:lnTo>
                <a:lnTo>
                  <a:pt x="86" y="40"/>
                </a:lnTo>
                <a:lnTo>
                  <a:pt x="99" y="45"/>
                </a:lnTo>
                <a:lnTo>
                  <a:pt x="111" y="49"/>
                </a:lnTo>
                <a:lnTo>
                  <a:pt x="123" y="46"/>
                </a:lnTo>
                <a:lnTo>
                  <a:pt x="133" y="45"/>
                </a:lnTo>
                <a:lnTo>
                  <a:pt x="135" y="43"/>
                </a:lnTo>
                <a:lnTo>
                  <a:pt x="133" y="37"/>
                </a:lnTo>
                <a:lnTo>
                  <a:pt x="138" y="38"/>
                </a:lnTo>
                <a:lnTo>
                  <a:pt x="147" y="27"/>
                </a:lnTo>
                <a:lnTo>
                  <a:pt x="163" y="26"/>
                </a:lnTo>
                <a:lnTo>
                  <a:pt x="175" y="25"/>
                </a:lnTo>
                <a:lnTo>
                  <a:pt x="197" y="32"/>
                </a:lnTo>
                <a:lnTo>
                  <a:pt x="209" y="39"/>
                </a:lnTo>
                <a:lnTo>
                  <a:pt x="221" y="46"/>
                </a:lnTo>
                <a:lnTo>
                  <a:pt x="231" y="49"/>
                </a:lnTo>
                <a:lnTo>
                  <a:pt x="237" y="66"/>
                </a:lnTo>
                <a:lnTo>
                  <a:pt x="235" y="84"/>
                </a:lnTo>
                <a:lnTo>
                  <a:pt x="234" y="86"/>
                </a:lnTo>
                <a:lnTo>
                  <a:pt x="234" y="94"/>
                </a:lnTo>
                <a:lnTo>
                  <a:pt x="239" y="98"/>
                </a:lnTo>
                <a:lnTo>
                  <a:pt x="237" y="102"/>
                </a:lnTo>
                <a:lnTo>
                  <a:pt x="241" y="115"/>
                </a:lnTo>
                <a:lnTo>
                  <a:pt x="243" y="129"/>
                </a:lnTo>
                <a:lnTo>
                  <a:pt x="257" y="133"/>
                </a:lnTo>
                <a:lnTo>
                  <a:pt x="259" y="139"/>
                </a:lnTo>
                <a:lnTo>
                  <a:pt x="249" y="158"/>
                </a:lnTo>
                <a:lnTo>
                  <a:pt x="259" y="169"/>
                </a:lnTo>
                <a:lnTo>
                  <a:pt x="269" y="180"/>
                </a:lnTo>
                <a:lnTo>
                  <a:pt x="279" y="184"/>
                </a:lnTo>
                <a:lnTo>
                  <a:pt x="284" y="200"/>
                </a:lnTo>
                <a:lnTo>
                  <a:pt x="289" y="202"/>
                </a:lnTo>
                <a:lnTo>
                  <a:pt x="289" y="210"/>
                </a:lnTo>
                <a:lnTo>
                  <a:pt x="276" y="214"/>
                </a:lnTo>
                <a:lnTo>
                  <a:pt x="271" y="220"/>
                </a:lnTo>
                <a:lnTo>
                  <a:pt x="270" y="232"/>
                </a:lnTo>
                <a:lnTo>
                  <a:pt x="255" y="230"/>
                </a:lnTo>
                <a:lnTo>
                  <a:pt x="240" y="228"/>
                </a:lnTo>
                <a:lnTo>
                  <a:pt x="224" y="225"/>
                </a:lnTo>
                <a:lnTo>
                  <a:pt x="210" y="223"/>
                </a:lnTo>
                <a:lnTo>
                  <a:pt x="204" y="212"/>
                </a:lnTo>
                <a:lnTo>
                  <a:pt x="198" y="201"/>
                </a:lnTo>
                <a:lnTo>
                  <a:pt x="187" y="206"/>
                </a:lnTo>
                <a:lnTo>
                  <a:pt x="175" y="211"/>
                </a:lnTo>
                <a:lnTo>
                  <a:pt x="155" y="206"/>
                </a:lnTo>
                <a:lnTo>
                  <a:pt x="141" y="198"/>
                </a:lnTo>
                <a:lnTo>
                  <a:pt x="129" y="190"/>
                </a:lnTo>
                <a:lnTo>
                  <a:pt x="119" y="180"/>
                </a:lnTo>
                <a:lnTo>
                  <a:pt x="111" y="170"/>
                </a:lnTo>
                <a:lnTo>
                  <a:pt x="99" y="152"/>
                </a:lnTo>
                <a:lnTo>
                  <a:pt x="93" y="153"/>
                </a:lnTo>
                <a:lnTo>
                  <a:pt x="87" y="150"/>
                </a:lnTo>
                <a:lnTo>
                  <a:pt x="87" y="147"/>
                </a:lnTo>
                <a:lnTo>
                  <a:pt x="83" y="154"/>
                </a:lnTo>
                <a:lnTo>
                  <a:pt x="81" y="156"/>
                </a:lnTo>
                <a:lnTo>
                  <a:pt x="77" y="150"/>
                </a:lnTo>
                <a:lnTo>
                  <a:pt x="72" y="139"/>
                </a:lnTo>
                <a:lnTo>
                  <a:pt x="67" y="139"/>
                </a:lnTo>
                <a:lnTo>
                  <a:pt x="67" y="127"/>
                </a:lnTo>
                <a:lnTo>
                  <a:pt x="62" y="120"/>
                </a:lnTo>
                <a:lnTo>
                  <a:pt x="51" y="112"/>
                </a:lnTo>
                <a:lnTo>
                  <a:pt x="39" y="105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4" name="Freeform 78">
            <a:extLst>
              <a:ext uri="{FF2B5EF4-FFF2-40B4-BE49-F238E27FC236}">
                <a16:creationId xmlns:a16="http://schemas.microsoft.com/office/drawing/2014/main" id="{24534549-95B2-4674-9571-EBE4448B486A}"/>
              </a:ext>
            </a:extLst>
          </p:cNvPr>
          <p:cNvSpPr>
            <a:spLocks/>
          </p:cNvSpPr>
          <p:nvPr/>
        </p:nvSpPr>
        <p:spPr bwMode="gray">
          <a:xfrm>
            <a:off x="5418628" y="2741809"/>
            <a:ext cx="263246" cy="286231"/>
          </a:xfrm>
          <a:custGeom>
            <a:avLst/>
            <a:gdLst>
              <a:gd name="T0" fmla="*/ 90 w 139"/>
              <a:gd name="T1" fmla="*/ 56 h 132"/>
              <a:gd name="T2" fmla="*/ 89 w 139"/>
              <a:gd name="T3" fmla="*/ 48 h 132"/>
              <a:gd name="T4" fmla="*/ 94 w 139"/>
              <a:gd name="T5" fmla="*/ 34 h 132"/>
              <a:gd name="T6" fmla="*/ 94 w 139"/>
              <a:gd name="T7" fmla="*/ 25 h 132"/>
              <a:gd name="T8" fmla="*/ 84 w 139"/>
              <a:gd name="T9" fmla="*/ 20 h 132"/>
              <a:gd name="T10" fmla="*/ 71 w 139"/>
              <a:gd name="T11" fmla="*/ 2 h 132"/>
              <a:gd name="T12" fmla="*/ 64 w 139"/>
              <a:gd name="T13" fmla="*/ 4 h 132"/>
              <a:gd name="T14" fmla="*/ 60 w 139"/>
              <a:gd name="T15" fmla="*/ 0 h 132"/>
              <a:gd name="T16" fmla="*/ 42 w 139"/>
              <a:gd name="T17" fmla="*/ 1 h 132"/>
              <a:gd name="T18" fmla="*/ 39 w 139"/>
              <a:gd name="T19" fmla="*/ 4 h 132"/>
              <a:gd name="T20" fmla="*/ 27 w 139"/>
              <a:gd name="T21" fmla="*/ 16 h 132"/>
              <a:gd name="T22" fmla="*/ 27 w 139"/>
              <a:gd name="T23" fmla="*/ 31 h 132"/>
              <a:gd name="T24" fmla="*/ 28 w 139"/>
              <a:gd name="T25" fmla="*/ 47 h 132"/>
              <a:gd name="T26" fmla="*/ 13 w 139"/>
              <a:gd name="T27" fmla="*/ 55 h 132"/>
              <a:gd name="T28" fmla="*/ 0 w 139"/>
              <a:gd name="T29" fmla="*/ 64 h 132"/>
              <a:gd name="T30" fmla="*/ 9 w 139"/>
              <a:gd name="T31" fmla="*/ 82 h 132"/>
              <a:gd name="T32" fmla="*/ 22 w 139"/>
              <a:gd name="T33" fmla="*/ 88 h 132"/>
              <a:gd name="T34" fmla="*/ 35 w 139"/>
              <a:gd name="T35" fmla="*/ 94 h 132"/>
              <a:gd name="T36" fmla="*/ 48 w 139"/>
              <a:gd name="T37" fmla="*/ 100 h 132"/>
              <a:gd name="T38" fmla="*/ 61 w 139"/>
              <a:gd name="T39" fmla="*/ 106 h 132"/>
              <a:gd name="T40" fmla="*/ 73 w 139"/>
              <a:gd name="T41" fmla="*/ 118 h 132"/>
              <a:gd name="T42" fmla="*/ 88 w 139"/>
              <a:gd name="T43" fmla="*/ 131 h 132"/>
              <a:gd name="T44" fmla="*/ 113 w 139"/>
              <a:gd name="T45" fmla="*/ 132 h 132"/>
              <a:gd name="T46" fmla="*/ 120 w 139"/>
              <a:gd name="T47" fmla="*/ 119 h 132"/>
              <a:gd name="T48" fmla="*/ 131 w 139"/>
              <a:gd name="T49" fmla="*/ 118 h 132"/>
              <a:gd name="T50" fmla="*/ 139 w 139"/>
              <a:gd name="T51" fmla="*/ 118 h 132"/>
              <a:gd name="T52" fmla="*/ 135 w 139"/>
              <a:gd name="T53" fmla="*/ 112 h 132"/>
              <a:gd name="T54" fmla="*/ 130 w 139"/>
              <a:gd name="T55" fmla="*/ 101 h 132"/>
              <a:gd name="T56" fmla="*/ 125 w 139"/>
              <a:gd name="T57" fmla="*/ 101 h 132"/>
              <a:gd name="T58" fmla="*/ 125 w 139"/>
              <a:gd name="T59" fmla="*/ 89 h 132"/>
              <a:gd name="T60" fmla="*/ 120 w 139"/>
              <a:gd name="T61" fmla="*/ 82 h 132"/>
              <a:gd name="T62" fmla="*/ 109 w 139"/>
              <a:gd name="T63" fmla="*/ 74 h 132"/>
              <a:gd name="T64" fmla="*/ 97 w 139"/>
              <a:gd name="T65" fmla="*/ 67 h 132"/>
              <a:gd name="T66" fmla="*/ 90 w 139"/>
              <a:gd name="T67" fmla="*/ 56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9" h="132">
                <a:moveTo>
                  <a:pt x="90" y="56"/>
                </a:moveTo>
                <a:lnTo>
                  <a:pt x="89" y="48"/>
                </a:lnTo>
                <a:lnTo>
                  <a:pt x="94" y="34"/>
                </a:lnTo>
                <a:lnTo>
                  <a:pt x="94" y="25"/>
                </a:lnTo>
                <a:lnTo>
                  <a:pt x="84" y="20"/>
                </a:lnTo>
                <a:lnTo>
                  <a:pt x="71" y="2"/>
                </a:lnTo>
                <a:lnTo>
                  <a:pt x="64" y="4"/>
                </a:lnTo>
                <a:lnTo>
                  <a:pt x="60" y="0"/>
                </a:lnTo>
                <a:lnTo>
                  <a:pt x="42" y="1"/>
                </a:lnTo>
                <a:lnTo>
                  <a:pt x="39" y="4"/>
                </a:lnTo>
                <a:lnTo>
                  <a:pt x="27" y="16"/>
                </a:lnTo>
                <a:lnTo>
                  <a:pt x="27" y="31"/>
                </a:lnTo>
                <a:lnTo>
                  <a:pt x="28" y="47"/>
                </a:lnTo>
                <a:lnTo>
                  <a:pt x="13" y="55"/>
                </a:lnTo>
                <a:lnTo>
                  <a:pt x="0" y="64"/>
                </a:lnTo>
                <a:lnTo>
                  <a:pt x="9" y="82"/>
                </a:lnTo>
                <a:lnTo>
                  <a:pt x="22" y="88"/>
                </a:lnTo>
                <a:lnTo>
                  <a:pt x="35" y="94"/>
                </a:lnTo>
                <a:lnTo>
                  <a:pt x="48" y="100"/>
                </a:lnTo>
                <a:lnTo>
                  <a:pt x="61" y="106"/>
                </a:lnTo>
                <a:lnTo>
                  <a:pt x="73" y="118"/>
                </a:lnTo>
                <a:lnTo>
                  <a:pt x="88" y="131"/>
                </a:lnTo>
                <a:lnTo>
                  <a:pt x="113" y="132"/>
                </a:lnTo>
                <a:lnTo>
                  <a:pt x="120" y="119"/>
                </a:lnTo>
                <a:lnTo>
                  <a:pt x="131" y="118"/>
                </a:lnTo>
                <a:lnTo>
                  <a:pt x="139" y="118"/>
                </a:lnTo>
                <a:lnTo>
                  <a:pt x="135" y="112"/>
                </a:lnTo>
                <a:lnTo>
                  <a:pt x="130" y="101"/>
                </a:lnTo>
                <a:lnTo>
                  <a:pt x="125" y="101"/>
                </a:lnTo>
                <a:lnTo>
                  <a:pt x="125" y="89"/>
                </a:lnTo>
                <a:lnTo>
                  <a:pt x="120" y="82"/>
                </a:lnTo>
                <a:lnTo>
                  <a:pt x="109" y="74"/>
                </a:lnTo>
                <a:lnTo>
                  <a:pt x="97" y="67"/>
                </a:lnTo>
                <a:lnTo>
                  <a:pt x="90" y="5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5" name="Freeform 79">
            <a:extLst>
              <a:ext uri="{FF2B5EF4-FFF2-40B4-BE49-F238E27FC236}">
                <a16:creationId xmlns:a16="http://schemas.microsoft.com/office/drawing/2014/main" id="{E7468B8B-B16E-4B62-AD4E-49C761C94F54}"/>
              </a:ext>
            </a:extLst>
          </p:cNvPr>
          <p:cNvSpPr>
            <a:spLocks/>
          </p:cNvSpPr>
          <p:nvPr/>
        </p:nvSpPr>
        <p:spPr bwMode="gray">
          <a:xfrm>
            <a:off x="5631976" y="2996888"/>
            <a:ext cx="49896" cy="48680"/>
          </a:xfrm>
          <a:custGeom>
            <a:avLst/>
            <a:gdLst>
              <a:gd name="T0" fmla="*/ 22 w 26"/>
              <a:gd name="T1" fmla="*/ 6 h 22"/>
              <a:gd name="T2" fmla="*/ 18 w 26"/>
              <a:gd name="T3" fmla="*/ 7 h 22"/>
              <a:gd name="T4" fmla="*/ 18 w 26"/>
              <a:gd name="T5" fmla="*/ 10 h 22"/>
              <a:gd name="T6" fmla="*/ 26 w 26"/>
              <a:gd name="T7" fmla="*/ 22 h 22"/>
              <a:gd name="T8" fmla="*/ 16 w 26"/>
              <a:gd name="T9" fmla="*/ 20 h 22"/>
              <a:gd name="T10" fmla="*/ 13 w 26"/>
              <a:gd name="T11" fmla="*/ 15 h 22"/>
              <a:gd name="T12" fmla="*/ 0 w 26"/>
              <a:gd name="T13" fmla="*/ 14 h 22"/>
              <a:gd name="T14" fmla="*/ 7 w 26"/>
              <a:gd name="T15" fmla="*/ 1 h 22"/>
              <a:gd name="T16" fmla="*/ 18 w 26"/>
              <a:gd name="T17" fmla="*/ 0 h 22"/>
              <a:gd name="T18" fmla="*/ 22 w 26"/>
              <a:gd name="T19" fmla="*/ 6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22">
                <a:moveTo>
                  <a:pt x="22" y="6"/>
                </a:moveTo>
                <a:lnTo>
                  <a:pt x="18" y="7"/>
                </a:lnTo>
                <a:lnTo>
                  <a:pt x="18" y="10"/>
                </a:lnTo>
                <a:lnTo>
                  <a:pt x="26" y="22"/>
                </a:lnTo>
                <a:lnTo>
                  <a:pt x="16" y="20"/>
                </a:lnTo>
                <a:lnTo>
                  <a:pt x="13" y="15"/>
                </a:lnTo>
                <a:lnTo>
                  <a:pt x="0" y="14"/>
                </a:lnTo>
                <a:lnTo>
                  <a:pt x="7" y="1"/>
                </a:lnTo>
                <a:lnTo>
                  <a:pt x="18" y="0"/>
                </a:lnTo>
                <a:lnTo>
                  <a:pt x="22" y="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6" name="Freeform 80">
            <a:extLst>
              <a:ext uri="{FF2B5EF4-FFF2-40B4-BE49-F238E27FC236}">
                <a16:creationId xmlns:a16="http://schemas.microsoft.com/office/drawing/2014/main" id="{B5F92ABD-BF0B-4800-817B-BD56538A92A9}"/>
              </a:ext>
            </a:extLst>
          </p:cNvPr>
          <p:cNvSpPr>
            <a:spLocks/>
          </p:cNvSpPr>
          <p:nvPr/>
        </p:nvSpPr>
        <p:spPr bwMode="gray">
          <a:xfrm>
            <a:off x="6512902" y="2979363"/>
            <a:ext cx="225391" cy="138250"/>
          </a:xfrm>
          <a:custGeom>
            <a:avLst/>
            <a:gdLst>
              <a:gd name="T0" fmla="*/ 66 w 116"/>
              <a:gd name="T1" fmla="*/ 51 h 64"/>
              <a:gd name="T2" fmla="*/ 48 w 116"/>
              <a:gd name="T3" fmla="*/ 48 h 64"/>
              <a:gd name="T4" fmla="*/ 35 w 116"/>
              <a:gd name="T5" fmla="*/ 45 h 64"/>
              <a:gd name="T6" fmla="*/ 18 w 116"/>
              <a:gd name="T7" fmla="*/ 36 h 64"/>
              <a:gd name="T8" fmla="*/ 0 w 116"/>
              <a:gd name="T9" fmla="*/ 27 h 64"/>
              <a:gd name="T10" fmla="*/ 0 w 116"/>
              <a:gd name="T11" fmla="*/ 17 h 64"/>
              <a:gd name="T12" fmla="*/ 7 w 116"/>
              <a:gd name="T13" fmla="*/ 4 h 64"/>
              <a:gd name="T14" fmla="*/ 8 w 116"/>
              <a:gd name="T15" fmla="*/ 5 h 64"/>
              <a:gd name="T16" fmla="*/ 14 w 116"/>
              <a:gd name="T17" fmla="*/ 0 h 64"/>
              <a:gd name="T18" fmla="*/ 26 w 116"/>
              <a:gd name="T19" fmla="*/ 6 h 64"/>
              <a:gd name="T20" fmla="*/ 44 w 116"/>
              <a:gd name="T21" fmla="*/ 21 h 64"/>
              <a:gd name="T22" fmla="*/ 49 w 116"/>
              <a:gd name="T23" fmla="*/ 18 h 64"/>
              <a:gd name="T24" fmla="*/ 54 w 116"/>
              <a:gd name="T25" fmla="*/ 23 h 64"/>
              <a:gd name="T26" fmla="*/ 67 w 116"/>
              <a:gd name="T27" fmla="*/ 29 h 64"/>
              <a:gd name="T28" fmla="*/ 68 w 116"/>
              <a:gd name="T29" fmla="*/ 33 h 64"/>
              <a:gd name="T30" fmla="*/ 83 w 116"/>
              <a:gd name="T31" fmla="*/ 39 h 64"/>
              <a:gd name="T32" fmla="*/ 95 w 116"/>
              <a:gd name="T33" fmla="*/ 40 h 64"/>
              <a:gd name="T34" fmla="*/ 113 w 116"/>
              <a:gd name="T35" fmla="*/ 41 h 64"/>
              <a:gd name="T36" fmla="*/ 116 w 116"/>
              <a:gd name="T37" fmla="*/ 64 h 64"/>
              <a:gd name="T38" fmla="*/ 101 w 116"/>
              <a:gd name="T39" fmla="*/ 63 h 64"/>
              <a:gd name="T40" fmla="*/ 83 w 116"/>
              <a:gd name="T41" fmla="*/ 62 h 64"/>
              <a:gd name="T42" fmla="*/ 73 w 116"/>
              <a:gd name="T43" fmla="*/ 58 h 64"/>
              <a:gd name="T44" fmla="*/ 66 w 116"/>
              <a:gd name="T45" fmla="*/ 51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16" h="64">
                <a:moveTo>
                  <a:pt x="66" y="51"/>
                </a:moveTo>
                <a:lnTo>
                  <a:pt x="48" y="48"/>
                </a:lnTo>
                <a:lnTo>
                  <a:pt x="35" y="45"/>
                </a:lnTo>
                <a:lnTo>
                  <a:pt x="18" y="36"/>
                </a:lnTo>
                <a:lnTo>
                  <a:pt x="0" y="27"/>
                </a:lnTo>
                <a:lnTo>
                  <a:pt x="0" y="17"/>
                </a:lnTo>
                <a:lnTo>
                  <a:pt x="7" y="4"/>
                </a:lnTo>
                <a:lnTo>
                  <a:pt x="8" y="5"/>
                </a:lnTo>
                <a:lnTo>
                  <a:pt x="14" y="0"/>
                </a:lnTo>
                <a:lnTo>
                  <a:pt x="26" y="6"/>
                </a:lnTo>
                <a:lnTo>
                  <a:pt x="44" y="21"/>
                </a:lnTo>
                <a:lnTo>
                  <a:pt x="49" y="18"/>
                </a:lnTo>
                <a:lnTo>
                  <a:pt x="54" y="23"/>
                </a:lnTo>
                <a:lnTo>
                  <a:pt x="67" y="29"/>
                </a:lnTo>
                <a:lnTo>
                  <a:pt x="68" y="33"/>
                </a:lnTo>
                <a:lnTo>
                  <a:pt x="83" y="39"/>
                </a:lnTo>
                <a:lnTo>
                  <a:pt x="95" y="40"/>
                </a:lnTo>
                <a:lnTo>
                  <a:pt x="113" y="41"/>
                </a:lnTo>
                <a:lnTo>
                  <a:pt x="116" y="64"/>
                </a:lnTo>
                <a:lnTo>
                  <a:pt x="101" y="63"/>
                </a:lnTo>
                <a:lnTo>
                  <a:pt x="83" y="62"/>
                </a:lnTo>
                <a:lnTo>
                  <a:pt x="73" y="58"/>
                </a:lnTo>
                <a:lnTo>
                  <a:pt x="66" y="5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7" name="Freeform 81">
            <a:extLst>
              <a:ext uri="{FF2B5EF4-FFF2-40B4-BE49-F238E27FC236}">
                <a16:creationId xmlns:a16="http://schemas.microsoft.com/office/drawing/2014/main" id="{66367FA4-7A14-4924-BA80-A9E00C710B13}"/>
              </a:ext>
            </a:extLst>
          </p:cNvPr>
          <p:cNvSpPr>
            <a:spLocks/>
          </p:cNvSpPr>
          <p:nvPr/>
        </p:nvSpPr>
        <p:spPr bwMode="gray">
          <a:xfrm>
            <a:off x="6003618" y="2749598"/>
            <a:ext cx="402611" cy="463426"/>
          </a:xfrm>
          <a:custGeom>
            <a:avLst/>
            <a:gdLst>
              <a:gd name="T0" fmla="*/ 92 w 210"/>
              <a:gd name="T1" fmla="*/ 194 h 212"/>
              <a:gd name="T2" fmla="*/ 105 w 210"/>
              <a:gd name="T3" fmla="*/ 209 h 212"/>
              <a:gd name="T4" fmla="*/ 122 w 210"/>
              <a:gd name="T5" fmla="*/ 210 h 212"/>
              <a:gd name="T6" fmla="*/ 134 w 210"/>
              <a:gd name="T7" fmla="*/ 204 h 212"/>
              <a:gd name="T8" fmla="*/ 152 w 210"/>
              <a:gd name="T9" fmla="*/ 203 h 212"/>
              <a:gd name="T10" fmla="*/ 140 w 210"/>
              <a:gd name="T11" fmla="*/ 182 h 212"/>
              <a:gd name="T12" fmla="*/ 126 w 210"/>
              <a:gd name="T13" fmla="*/ 164 h 212"/>
              <a:gd name="T14" fmla="*/ 140 w 210"/>
              <a:gd name="T15" fmla="*/ 146 h 212"/>
              <a:gd name="T16" fmla="*/ 161 w 210"/>
              <a:gd name="T17" fmla="*/ 133 h 212"/>
              <a:gd name="T18" fmla="*/ 177 w 210"/>
              <a:gd name="T19" fmla="*/ 108 h 212"/>
              <a:gd name="T20" fmla="*/ 180 w 210"/>
              <a:gd name="T21" fmla="*/ 85 h 212"/>
              <a:gd name="T22" fmla="*/ 183 w 210"/>
              <a:gd name="T23" fmla="*/ 73 h 212"/>
              <a:gd name="T24" fmla="*/ 172 w 210"/>
              <a:gd name="T25" fmla="*/ 63 h 212"/>
              <a:gd name="T26" fmla="*/ 168 w 210"/>
              <a:gd name="T27" fmla="*/ 50 h 212"/>
              <a:gd name="T28" fmla="*/ 162 w 210"/>
              <a:gd name="T29" fmla="*/ 37 h 212"/>
              <a:gd name="T30" fmla="*/ 197 w 210"/>
              <a:gd name="T31" fmla="*/ 36 h 212"/>
              <a:gd name="T32" fmla="*/ 191 w 210"/>
              <a:gd name="T33" fmla="*/ 19 h 212"/>
              <a:gd name="T34" fmla="*/ 176 w 210"/>
              <a:gd name="T35" fmla="*/ 3 h 212"/>
              <a:gd name="T36" fmla="*/ 143 w 210"/>
              <a:gd name="T37" fmla="*/ 3 h 212"/>
              <a:gd name="T38" fmla="*/ 120 w 210"/>
              <a:gd name="T39" fmla="*/ 17 h 212"/>
              <a:gd name="T40" fmla="*/ 124 w 210"/>
              <a:gd name="T41" fmla="*/ 42 h 212"/>
              <a:gd name="T42" fmla="*/ 110 w 210"/>
              <a:gd name="T43" fmla="*/ 50 h 212"/>
              <a:gd name="T44" fmla="*/ 107 w 210"/>
              <a:gd name="T45" fmla="*/ 68 h 212"/>
              <a:gd name="T46" fmla="*/ 93 w 210"/>
              <a:gd name="T47" fmla="*/ 85 h 212"/>
              <a:gd name="T48" fmla="*/ 76 w 210"/>
              <a:gd name="T49" fmla="*/ 95 h 212"/>
              <a:gd name="T50" fmla="*/ 74 w 210"/>
              <a:gd name="T51" fmla="*/ 115 h 212"/>
              <a:gd name="T52" fmla="*/ 45 w 210"/>
              <a:gd name="T53" fmla="*/ 121 h 212"/>
              <a:gd name="T54" fmla="*/ 12 w 210"/>
              <a:gd name="T55" fmla="*/ 119 h 212"/>
              <a:gd name="T56" fmla="*/ 10 w 210"/>
              <a:gd name="T57" fmla="*/ 126 h 212"/>
              <a:gd name="T58" fmla="*/ 30 w 210"/>
              <a:gd name="T59" fmla="*/ 141 h 212"/>
              <a:gd name="T60" fmla="*/ 40 w 210"/>
              <a:gd name="T61" fmla="*/ 159 h 212"/>
              <a:gd name="T62" fmla="*/ 27 w 210"/>
              <a:gd name="T63" fmla="*/ 171 h 212"/>
              <a:gd name="T64" fmla="*/ 21 w 210"/>
              <a:gd name="T65" fmla="*/ 189 h 212"/>
              <a:gd name="T66" fmla="*/ 47 w 210"/>
              <a:gd name="T67" fmla="*/ 189 h 212"/>
              <a:gd name="T68" fmla="*/ 72 w 210"/>
              <a:gd name="T69" fmla="*/ 187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10" h="212">
                <a:moveTo>
                  <a:pt x="87" y="186"/>
                </a:moveTo>
                <a:lnTo>
                  <a:pt x="92" y="194"/>
                </a:lnTo>
                <a:lnTo>
                  <a:pt x="96" y="197"/>
                </a:lnTo>
                <a:lnTo>
                  <a:pt x="105" y="209"/>
                </a:lnTo>
                <a:lnTo>
                  <a:pt x="114" y="212"/>
                </a:lnTo>
                <a:lnTo>
                  <a:pt x="122" y="210"/>
                </a:lnTo>
                <a:lnTo>
                  <a:pt x="122" y="204"/>
                </a:lnTo>
                <a:lnTo>
                  <a:pt x="134" y="204"/>
                </a:lnTo>
                <a:lnTo>
                  <a:pt x="147" y="203"/>
                </a:lnTo>
                <a:lnTo>
                  <a:pt x="152" y="203"/>
                </a:lnTo>
                <a:lnTo>
                  <a:pt x="146" y="182"/>
                </a:lnTo>
                <a:lnTo>
                  <a:pt x="140" y="182"/>
                </a:lnTo>
                <a:lnTo>
                  <a:pt x="136" y="170"/>
                </a:lnTo>
                <a:lnTo>
                  <a:pt x="126" y="164"/>
                </a:lnTo>
                <a:lnTo>
                  <a:pt x="134" y="145"/>
                </a:lnTo>
                <a:lnTo>
                  <a:pt x="140" y="146"/>
                </a:lnTo>
                <a:lnTo>
                  <a:pt x="153" y="146"/>
                </a:lnTo>
                <a:lnTo>
                  <a:pt x="161" y="133"/>
                </a:lnTo>
                <a:lnTo>
                  <a:pt x="171" y="120"/>
                </a:lnTo>
                <a:lnTo>
                  <a:pt x="177" y="108"/>
                </a:lnTo>
                <a:lnTo>
                  <a:pt x="183" y="97"/>
                </a:lnTo>
                <a:lnTo>
                  <a:pt x="180" y="85"/>
                </a:lnTo>
                <a:lnTo>
                  <a:pt x="189" y="78"/>
                </a:lnTo>
                <a:lnTo>
                  <a:pt x="183" y="73"/>
                </a:lnTo>
                <a:lnTo>
                  <a:pt x="178" y="67"/>
                </a:lnTo>
                <a:lnTo>
                  <a:pt x="172" y="63"/>
                </a:lnTo>
                <a:lnTo>
                  <a:pt x="168" y="55"/>
                </a:lnTo>
                <a:lnTo>
                  <a:pt x="168" y="50"/>
                </a:lnTo>
                <a:lnTo>
                  <a:pt x="161" y="43"/>
                </a:lnTo>
                <a:lnTo>
                  <a:pt x="162" y="37"/>
                </a:lnTo>
                <a:lnTo>
                  <a:pt x="182" y="41"/>
                </a:lnTo>
                <a:lnTo>
                  <a:pt x="197" y="36"/>
                </a:lnTo>
                <a:lnTo>
                  <a:pt x="210" y="24"/>
                </a:lnTo>
                <a:lnTo>
                  <a:pt x="191" y="19"/>
                </a:lnTo>
                <a:lnTo>
                  <a:pt x="182" y="14"/>
                </a:lnTo>
                <a:lnTo>
                  <a:pt x="176" y="3"/>
                </a:lnTo>
                <a:lnTo>
                  <a:pt x="160" y="0"/>
                </a:lnTo>
                <a:lnTo>
                  <a:pt x="143" y="3"/>
                </a:lnTo>
                <a:lnTo>
                  <a:pt x="128" y="7"/>
                </a:lnTo>
                <a:lnTo>
                  <a:pt x="120" y="17"/>
                </a:lnTo>
                <a:lnTo>
                  <a:pt x="128" y="30"/>
                </a:lnTo>
                <a:lnTo>
                  <a:pt x="124" y="42"/>
                </a:lnTo>
                <a:lnTo>
                  <a:pt x="122" y="49"/>
                </a:lnTo>
                <a:lnTo>
                  <a:pt x="110" y="50"/>
                </a:lnTo>
                <a:lnTo>
                  <a:pt x="118" y="59"/>
                </a:lnTo>
                <a:lnTo>
                  <a:pt x="107" y="68"/>
                </a:lnTo>
                <a:lnTo>
                  <a:pt x="106" y="86"/>
                </a:lnTo>
                <a:lnTo>
                  <a:pt x="93" y="85"/>
                </a:lnTo>
                <a:lnTo>
                  <a:pt x="89" y="90"/>
                </a:lnTo>
                <a:lnTo>
                  <a:pt x="76" y="95"/>
                </a:lnTo>
                <a:lnTo>
                  <a:pt x="74" y="108"/>
                </a:lnTo>
                <a:lnTo>
                  <a:pt x="74" y="115"/>
                </a:lnTo>
                <a:lnTo>
                  <a:pt x="59" y="119"/>
                </a:lnTo>
                <a:lnTo>
                  <a:pt x="45" y="121"/>
                </a:lnTo>
                <a:lnTo>
                  <a:pt x="23" y="122"/>
                </a:lnTo>
                <a:lnTo>
                  <a:pt x="12" y="119"/>
                </a:lnTo>
                <a:lnTo>
                  <a:pt x="0" y="115"/>
                </a:lnTo>
                <a:lnTo>
                  <a:pt x="10" y="126"/>
                </a:lnTo>
                <a:lnTo>
                  <a:pt x="20" y="137"/>
                </a:lnTo>
                <a:lnTo>
                  <a:pt x="30" y="141"/>
                </a:lnTo>
                <a:lnTo>
                  <a:pt x="35" y="157"/>
                </a:lnTo>
                <a:lnTo>
                  <a:pt x="40" y="159"/>
                </a:lnTo>
                <a:lnTo>
                  <a:pt x="40" y="167"/>
                </a:lnTo>
                <a:lnTo>
                  <a:pt x="27" y="171"/>
                </a:lnTo>
                <a:lnTo>
                  <a:pt x="22" y="177"/>
                </a:lnTo>
                <a:lnTo>
                  <a:pt x="21" y="189"/>
                </a:lnTo>
                <a:lnTo>
                  <a:pt x="34" y="189"/>
                </a:lnTo>
                <a:lnTo>
                  <a:pt x="47" y="189"/>
                </a:lnTo>
                <a:lnTo>
                  <a:pt x="58" y="188"/>
                </a:lnTo>
                <a:lnTo>
                  <a:pt x="72" y="187"/>
                </a:lnTo>
                <a:lnTo>
                  <a:pt x="87" y="186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8" name="Freeform 82">
            <a:extLst>
              <a:ext uri="{FF2B5EF4-FFF2-40B4-BE49-F238E27FC236}">
                <a16:creationId xmlns:a16="http://schemas.microsoft.com/office/drawing/2014/main" id="{CB135CBB-3308-45F9-92ED-2B3B9BE24C30}"/>
              </a:ext>
            </a:extLst>
          </p:cNvPr>
          <p:cNvSpPr>
            <a:spLocks/>
          </p:cNvSpPr>
          <p:nvPr/>
        </p:nvSpPr>
        <p:spPr bwMode="gray">
          <a:xfrm>
            <a:off x="5062473" y="2940420"/>
            <a:ext cx="297656" cy="342700"/>
          </a:xfrm>
          <a:custGeom>
            <a:avLst/>
            <a:gdLst>
              <a:gd name="T0" fmla="*/ 125 w 156"/>
              <a:gd name="T1" fmla="*/ 58 h 159"/>
              <a:gd name="T2" fmla="*/ 116 w 156"/>
              <a:gd name="T3" fmla="*/ 43 h 159"/>
              <a:gd name="T4" fmla="*/ 107 w 156"/>
              <a:gd name="T5" fmla="*/ 29 h 159"/>
              <a:gd name="T6" fmla="*/ 105 w 156"/>
              <a:gd name="T7" fmla="*/ 30 h 159"/>
              <a:gd name="T8" fmla="*/ 111 w 156"/>
              <a:gd name="T9" fmla="*/ 42 h 159"/>
              <a:gd name="T10" fmla="*/ 117 w 156"/>
              <a:gd name="T11" fmla="*/ 54 h 159"/>
              <a:gd name="T12" fmla="*/ 123 w 156"/>
              <a:gd name="T13" fmla="*/ 66 h 159"/>
              <a:gd name="T14" fmla="*/ 129 w 156"/>
              <a:gd name="T15" fmla="*/ 77 h 159"/>
              <a:gd name="T16" fmla="*/ 135 w 156"/>
              <a:gd name="T17" fmla="*/ 89 h 159"/>
              <a:gd name="T18" fmla="*/ 141 w 156"/>
              <a:gd name="T19" fmla="*/ 101 h 159"/>
              <a:gd name="T20" fmla="*/ 149 w 156"/>
              <a:gd name="T21" fmla="*/ 112 h 159"/>
              <a:gd name="T22" fmla="*/ 156 w 156"/>
              <a:gd name="T23" fmla="*/ 123 h 159"/>
              <a:gd name="T24" fmla="*/ 155 w 156"/>
              <a:gd name="T25" fmla="*/ 124 h 159"/>
              <a:gd name="T26" fmla="*/ 156 w 156"/>
              <a:gd name="T27" fmla="*/ 137 h 159"/>
              <a:gd name="T28" fmla="*/ 152 w 156"/>
              <a:gd name="T29" fmla="*/ 143 h 159"/>
              <a:gd name="T30" fmla="*/ 147 w 156"/>
              <a:gd name="T31" fmla="*/ 142 h 159"/>
              <a:gd name="T32" fmla="*/ 144 w 156"/>
              <a:gd name="T33" fmla="*/ 150 h 159"/>
              <a:gd name="T34" fmla="*/ 137 w 156"/>
              <a:gd name="T35" fmla="*/ 151 h 159"/>
              <a:gd name="T36" fmla="*/ 134 w 156"/>
              <a:gd name="T37" fmla="*/ 159 h 159"/>
              <a:gd name="T38" fmla="*/ 117 w 156"/>
              <a:gd name="T39" fmla="*/ 157 h 159"/>
              <a:gd name="T40" fmla="*/ 99 w 156"/>
              <a:gd name="T41" fmla="*/ 155 h 159"/>
              <a:gd name="T42" fmla="*/ 99 w 156"/>
              <a:gd name="T43" fmla="*/ 151 h 159"/>
              <a:gd name="T44" fmla="*/ 96 w 156"/>
              <a:gd name="T45" fmla="*/ 155 h 159"/>
              <a:gd name="T46" fmla="*/ 86 w 156"/>
              <a:gd name="T47" fmla="*/ 155 h 159"/>
              <a:gd name="T48" fmla="*/ 75 w 156"/>
              <a:gd name="T49" fmla="*/ 155 h 159"/>
              <a:gd name="T50" fmla="*/ 64 w 156"/>
              <a:gd name="T51" fmla="*/ 155 h 159"/>
              <a:gd name="T52" fmla="*/ 53 w 156"/>
              <a:gd name="T53" fmla="*/ 155 h 159"/>
              <a:gd name="T54" fmla="*/ 42 w 156"/>
              <a:gd name="T55" fmla="*/ 155 h 159"/>
              <a:gd name="T56" fmla="*/ 32 w 156"/>
              <a:gd name="T57" fmla="*/ 155 h 159"/>
              <a:gd name="T58" fmla="*/ 21 w 156"/>
              <a:gd name="T59" fmla="*/ 155 h 159"/>
              <a:gd name="T60" fmla="*/ 10 w 156"/>
              <a:gd name="T61" fmla="*/ 155 h 159"/>
              <a:gd name="T62" fmla="*/ 9 w 156"/>
              <a:gd name="T63" fmla="*/ 141 h 159"/>
              <a:gd name="T64" fmla="*/ 8 w 156"/>
              <a:gd name="T65" fmla="*/ 125 h 159"/>
              <a:gd name="T66" fmla="*/ 8 w 156"/>
              <a:gd name="T67" fmla="*/ 109 h 159"/>
              <a:gd name="T68" fmla="*/ 6 w 156"/>
              <a:gd name="T69" fmla="*/ 95 h 159"/>
              <a:gd name="T70" fmla="*/ 5 w 156"/>
              <a:gd name="T71" fmla="*/ 79 h 159"/>
              <a:gd name="T72" fmla="*/ 4 w 156"/>
              <a:gd name="T73" fmla="*/ 65 h 159"/>
              <a:gd name="T74" fmla="*/ 3 w 156"/>
              <a:gd name="T75" fmla="*/ 49 h 159"/>
              <a:gd name="T76" fmla="*/ 2 w 156"/>
              <a:gd name="T77" fmla="*/ 35 h 159"/>
              <a:gd name="T78" fmla="*/ 2 w 156"/>
              <a:gd name="T79" fmla="*/ 22 h 159"/>
              <a:gd name="T80" fmla="*/ 0 w 156"/>
              <a:gd name="T81" fmla="*/ 10 h 159"/>
              <a:gd name="T82" fmla="*/ 3 w 156"/>
              <a:gd name="T83" fmla="*/ 0 h 159"/>
              <a:gd name="T84" fmla="*/ 12 w 156"/>
              <a:gd name="T85" fmla="*/ 0 h 159"/>
              <a:gd name="T86" fmla="*/ 33 w 156"/>
              <a:gd name="T87" fmla="*/ 6 h 159"/>
              <a:gd name="T88" fmla="*/ 54 w 156"/>
              <a:gd name="T89" fmla="*/ 12 h 159"/>
              <a:gd name="T90" fmla="*/ 72 w 156"/>
              <a:gd name="T91" fmla="*/ 6 h 159"/>
              <a:gd name="T92" fmla="*/ 82 w 156"/>
              <a:gd name="T93" fmla="*/ 1 h 159"/>
              <a:gd name="T94" fmla="*/ 78 w 156"/>
              <a:gd name="T95" fmla="*/ 4 h 159"/>
              <a:gd name="T96" fmla="*/ 84 w 156"/>
              <a:gd name="T97" fmla="*/ 1 h 159"/>
              <a:gd name="T98" fmla="*/ 96 w 156"/>
              <a:gd name="T99" fmla="*/ 5 h 159"/>
              <a:gd name="T100" fmla="*/ 100 w 156"/>
              <a:gd name="T101" fmla="*/ 9 h 159"/>
              <a:gd name="T102" fmla="*/ 107 w 156"/>
              <a:gd name="T103" fmla="*/ 10 h 159"/>
              <a:gd name="T104" fmla="*/ 126 w 156"/>
              <a:gd name="T105" fmla="*/ 5 h 159"/>
              <a:gd name="T106" fmla="*/ 132 w 156"/>
              <a:gd name="T107" fmla="*/ 19 h 159"/>
              <a:gd name="T108" fmla="*/ 138 w 156"/>
              <a:gd name="T109" fmla="*/ 35 h 159"/>
              <a:gd name="T110" fmla="*/ 136 w 156"/>
              <a:gd name="T111" fmla="*/ 48 h 159"/>
              <a:gd name="T112" fmla="*/ 132 w 156"/>
              <a:gd name="T113" fmla="*/ 61 h 159"/>
              <a:gd name="T114" fmla="*/ 125 w 156"/>
              <a:gd name="T115" fmla="*/ 58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56" h="159">
                <a:moveTo>
                  <a:pt x="125" y="58"/>
                </a:moveTo>
                <a:lnTo>
                  <a:pt x="116" y="43"/>
                </a:lnTo>
                <a:lnTo>
                  <a:pt x="107" y="29"/>
                </a:lnTo>
                <a:lnTo>
                  <a:pt x="105" y="30"/>
                </a:lnTo>
                <a:lnTo>
                  <a:pt x="111" y="42"/>
                </a:lnTo>
                <a:lnTo>
                  <a:pt x="117" y="54"/>
                </a:lnTo>
                <a:lnTo>
                  <a:pt x="123" y="66"/>
                </a:lnTo>
                <a:lnTo>
                  <a:pt x="129" y="77"/>
                </a:lnTo>
                <a:lnTo>
                  <a:pt x="135" y="89"/>
                </a:lnTo>
                <a:lnTo>
                  <a:pt x="141" y="101"/>
                </a:lnTo>
                <a:lnTo>
                  <a:pt x="149" y="112"/>
                </a:lnTo>
                <a:lnTo>
                  <a:pt x="156" y="123"/>
                </a:lnTo>
                <a:lnTo>
                  <a:pt x="155" y="124"/>
                </a:lnTo>
                <a:lnTo>
                  <a:pt x="156" y="137"/>
                </a:lnTo>
                <a:lnTo>
                  <a:pt x="152" y="143"/>
                </a:lnTo>
                <a:lnTo>
                  <a:pt x="147" y="142"/>
                </a:lnTo>
                <a:lnTo>
                  <a:pt x="144" y="150"/>
                </a:lnTo>
                <a:lnTo>
                  <a:pt x="137" y="151"/>
                </a:lnTo>
                <a:lnTo>
                  <a:pt x="134" y="159"/>
                </a:lnTo>
                <a:lnTo>
                  <a:pt x="117" y="157"/>
                </a:lnTo>
                <a:lnTo>
                  <a:pt x="99" y="155"/>
                </a:lnTo>
                <a:lnTo>
                  <a:pt x="99" y="151"/>
                </a:lnTo>
                <a:lnTo>
                  <a:pt x="96" y="155"/>
                </a:lnTo>
                <a:lnTo>
                  <a:pt x="86" y="155"/>
                </a:lnTo>
                <a:lnTo>
                  <a:pt x="75" y="155"/>
                </a:lnTo>
                <a:lnTo>
                  <a:pt x="64" y="155"/>
                </a:lnTo>
                <a:lnTo>
                  <a:pt x="53" y="155"/>
                </a:lnTo>
                <a:lnTo>
                  <a:pt x="42" y="155"/>
                </a:lnTo>
                <a:lnTo>
                  <a:pt x="32" y="155"/>
                </a:lnTo>
                <a:lnTo>
                  <a:pt x="21" y="155"/>
                </a:lnTo>
                <a:lnTo>
                  <a:pt x="10" y="155"/>
                </a:lnTo>
                <a:lnTo>
                  <a:pt x="9" y="141"/>
                </a:lnTo>
                <a:lnTo>
                  <a:pt x="8" y="125"/>
                </a:lnTo>
                <a:lnTo>
                  <a:pt x="8" y="109"/>
                </a:lnTo>
                <a:lnTo>
                  <a:pt x="6" y="95"/>
                </a:lnTo>
                <a:lnTo>
                  <a:pt x="5" y="79"/>
                </a:lnTo>
                <a:lnTo>
                  <a:pt x="4" y="65"/>
                </a:lnTo>
                <a:lnTo>
                  <a:pt x="3" y="49"/>
                </a:lnTo>
                <a:lnTo>
                  <a:pt x="2" y="35"/>
                </a:lnTo>
                <a:lnTo>
                  <a:pt x="2" y="22"/>
                </a:lnTo>
                <a:lnTo>
                  <a:pt x="0" y="10"/>
                </a:lnTo>
                <a:lnTo>
                  <a:pt x="3" y="0"/>
                </a:lnTo>
                <a:lnTo>
                  <a:pt x="12" y="0"/>
                </a:lnTo>
                <a:lnTo>
                  <a:pt x="33" y="6"/>
                </a:lnTo>
                <a:lnTo>
                  <a:pt x="54" y="12"/>
                </a:lnTo>
                <a:lnTo>
                  <a:pt x="72" y="6"/>
                </a:lnTo>
                <a:lnTo>
                  <a:pt x="82" y="1"/>
                </a:lnTo>
                <a:lnTo>
                  <a:pt x="78" y="4"/>
                </a:lnTo>
                <a:lnTo>
                  <a:pt x="84" y="1"/>
                </a:lnTo>
                <a:lnTo>
                  <a:pt x="96" y="5"/>
                </a:lnTo>
                <a:lnTo>
                  <a:pt x="100" y="9"/>
                </a:lnTo>
                <a:lnTo>
                  <a:pt x="107" y="10"/>
                </a:lnTo>
                <a:lnTo>
                  <a:pt x="126" y="5"/>
                </a:lnTo>
                <a:lnTo>
                  <a:pt x="132" y="19"/>
                </a:lnTo>
                <a:lnTo>
                  <a:pt x="138" y="35"/>
                </a:lnTo>
                <a:lnTo>
                  <a:pt x="136" y="48"/>
                </a:lnTo>
                <a:lnTo>
                  <a:pt x="132" y="61"/>
                </a:lnTo>
                <a:lnTo>
                  <a:pt x="125" y="58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9" name="Freeform 83">
            <a:extLst>
              <a:ext uri="{FF2B5EF4-FFF2-40B4-BE49-F238E27FC236}">
                <a16:creationId xmlns:a16="http://schemas.microsoft.com/office/drawing/2014/main" id="{CCF9D601-69E8-4C7B-B618-C8DE3BB61225}"/>
              </a:ext>
            </a:extLst>
          </p:cNvPr>
          <p:cNvSpPr>
            <a:spLocks/>
          </p:cNvSpPr>
          <p:nvPr/>
        </p:nvSpPr>
        <p:spPr bwMode="gray">
          <a:xfrm>
            <a:off x="6222127" y="2802171"/>
            <a:ext cx="746722" cy="958004"/>
          </a:xfrm>
          <a:custGeom>
            <a:avLst/>
            <a:gdLst>
              <a:gd name="T0" fmla="*/ 68 w 390"/>
              <a:gd name="T1" fmla="*/ 17 h 440"/>
              <a:gd name="T2" fmla="*/ 54 w 390"/>
              <a:gd name="T3" fmla="*/ 26 h 440"/>
              <a:gd name="T4" fmla="*/ 64 w 390"/>
              <a:gd name="T5" fmla="*/ 43 h 440"/>
              <a:gd name="T6" fmla="*/ 66 w 390"/>
              <a:gd name="T7" fmla="*/ 61 h 440"/>
              <a:gd name="T8" fmla="*/ 57 w 390"/>
              <a:gd name="T9" fmla="*/ 96 h 440"/>
              <a:gd name="T10" fmla="*/ 26 w 390"/>
              <a:gd name="T11" fmla="*/ 122 h 440"/>
              <a:gd name="T12" fmla="*/ 22 w 390"/>
              <a:gd name="T13" fmla="*/ 146 h 440"/>
              <a:gd name="T14" fmla="*/ 38 w 390"/>
              <a:gd name="T15" fmla="*/ 179 h 440"/>
              <a:gd name="T16" fmla="*/ 8 w 390"/>
              <a:gd name="T17" fmla="*/ 180 h 440"/>
              <a:gd name="T18" fmla="*/ 2 w 390"/>
              <a:gd name="T19" fmla="*/ 189 h 440"/>
              <a:gd name="T20" fmla="*/ 17 w 390"/>
              <a:gd name="T21" fmla="*/ 204 h 440"/>
              <a:gd name="T22" fmla="*/ 22 w 390"/>
              <a:gd name="T23" fmla="*/ 211 h 440"/>
              <a:gd name="T24" fmla="*/ 40 w 390"/>
              <a:gd name="T25" fmla="*/ 236 h 440"/>
              <a:gd name="T26" fmla="*/ 60 w 390"/>
              <a:gd name="T27" fmla="*/ 213 h 440"/>
              <a:gd name="T28" fmla="*/ 65 w 390"/>
              <a:gd name="T29" fmla="*/ 221 h 440"/>
              <a:gd name="T30" fmla="*/ 70 w 390"/>
              <a:gd name="T31" fmla="*/ 234 h 440"/>
              <a:gd name="T32" fmla="*/ 75 w 390"/>
              <a:gd name="T33" fmla="*/ 265 h 440"/>
              <a:gd name="T34" fmla="*/ 87 w 390"/>
              <a:gd name="T35" fmla="*/ 305 h 440"/>
              <a:gd name="T36" fmla="*/ 102 w 390"/>
              <a:gd name="T37" fmla="*/ 342 h 440"/>
              <a:gd name="T38" fmla="*/ 123 w 390"/>
              <a:gd name="T39" fmla="*/ 387 h 440"/>
              <a:gd name="T40" fmla="*/ 140 w 390"/>
              <a:gd name="T41" fmla="*/ 423 h 440"/>
              <a:gd name="T42" fmla="*/ 162 w 390"/>
              <a:gd name="T43" fmla="*/ 432 h 440"/>
              <a:gd name="T44" fmla="*/ 173 w 390"/>
              <a:gd name="T45" fmla="*/ 416 h 440"/>
              <a:gd name="T46" fmla="*/ 184 w 390"/>
              <a:gd name="T47" fmla="*/ 392 h 440"/>
              <a:gd name="T48" fmla="*/ 188 w 390"/>
              <a:gd name="T49" fmla="*/ 355 h 440"/>
              <a:gd name="T50" fmla="*/ 191 w 390"/>
              <a:gd name="T51" fmla="*/ 317 h 440"/>
              <a:gd name="T52" fmla="*/ 200 w 390"/>
              <a:gd name="T53" fmla="*/ 308 h 440"/>
              <a:gd name="T54" fmla="*/ 226 w 390"/>
              <a:gd name="T55" fmla="*/ 279 h 440"/>
              <a:gd name="T56" fmla="*/ 260 w 390"/>
              <a:gd name="T57" fmla="*/ 249 h 440"/>
              <a:gd name="T58" fmla="*/ 280 w 390"/>
              <a:gd name="T59" fmla="*/ 216 h 440"/>
              <a:gd name="T60" fmla="*/ 292 w 390"/>
              <a:gd name="T61" fmla="*/ 222 h 440"/>
              <a:gd name="T62" fmla="*/ 291 w 390"/>
              <a:gd name="T63" fmla="*/ 206 h 440"/>
              <a:gd name="T64" fmla="*/ 275 w 390"/>
              <a:gd name="T65" fmla="*/ 175 h 440"/>
              <a:gd name="T66" fmla="*/ 273 w 390"/>
              <a:gd name="T67" fmla="*/ 156 h 440"/>
              <a:gd name="T68" fmla="*/ 287 w 390"/>
              <a:gd name="T69" fmla="*/ 152 h 440"/>
              <a:gd name="T70" fmla="*/ 311 w 390"/>
              <a:gd name="T71" fmla="*/ 164 h 440"/>
              <a:gd name="T72" fmla="*/ 330 w 390"/>
              <a:gd name="T73" fmla="*/ 177 h 440"/>
              <a:gd name="T74" fmla="*/ 327 w 390"/>
              <a:gd name="T75" fmla="*/ 201 h 440"/>
              <a:gd name="T76" fmla="*/ 344 w 390"/>
              <a:gd name="T77" fmla="*/ 217 h 440"/>
              <a:gd name="T78" fmla="*/ 350 w 390"/>
              <a:gd name="T79" fmla="*/ 186 h 440"/>
              <a:gd name="T80" fmla="*/ 365 w 390"/>
              <a:gd name="T81" fmla="*/ 159 h 440"/>
              <a:gd name="T82" fmla="*/ 389 w 390"/>
              <a:gd name="T83" fmla="*/ 134 h 440"/>
              <a:gd name="T84" fmla="*/ 390 w 390"/>
              <a:gd name="T85" fmla="*/ 117 h 440"/>
              <a:gd name="T86" fmla="*/ 370 w 390"/>
              <a:gd name="T87" fmla="*/ 103 h 440"/>
              <a:gd name="T88" fmla="*/ 358 w 390"/>
              <a:gd name="T89" fmla="*/ 103 h 440"/>
              <a:gd name="T90" fmla="*/ 327 w 390"/>
              <a:gd name="T91" fmla="*/ 120 h 440"/>
              <a:gd name="T92" fmla="*/ 323 w 390"/>
              <a:gd name="T93" fmla="*/ 138 h 440"/>
              <a:gd name="T94" fmla="*/ 280 w 390"/>
              <a:gd name="T95" fmla="*/ 138 h 440"/>
              <a:gd name="T96" fmla="*/ 266 w 390"/>
              <a:gd name="T97" fmla="*/ 122 h 440"/>
              <a:gd name="T98" fmla="*/ 236 w 390"/>
              <a:gd name="T99" fmla="*/ 143 h 440"/>
              <a:gd name="T100" fmla="*/ 201 w 390"/>
              <a:gd name="T101" fmla="*/ 129 h 440"/>
              <a:gd name="T102" fmla="*/ 153 w 390"/>
              <a:gd name="T103" fmla="*/ 108 h 440"/>
              <a:gd name="T104" fmla="*/ 147 w 390"/>
              <a:gd name="T105" fmla="*/ 77 h 440"/>
              <a:gd name="T106" fmla="*/ 118 w 390"/>
              <a:gd name="T107" fmla="*/ 47 h 440"/>
              <a:gd name="T108" fmla="*/ 119 w 390"/>
              <a:gd name="T109" fmla="*/ 30 h 440"/>
              <a:gd name="T110" fmla="*/ 118 w 390"/>
              <a:gd name="T111" fmla="*/ 20 h 440"/>
              <a:gd name="T112" fmla="*/ 113 w 390"/>
              <a:gd name="T113" fmla="*/ 9 h 440"/>
              <a:gd name="T114" fmla="*/ 100 w 390"/>
              <a:gd name="T115" fmla="*/ 2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90" h="440">
                <a:moveTo>
                  <a:pt x="96" y="0"/>
                </a:moveTo>
                <a:lnTo>
                  <a:pt x="83" y="12"/>
                </a:lnTo>
                <a:lnTo>
                  <a:pt x="68" y="17"/>
                </a:lnTo>
                <a:lnTo>
                  <a:pt x="48" y="13"/>
                </a:lnTo>
                <a:lnTo>
                  <a:pt x="47" y="19"/>
                </a:lnTo>
                <a:lnTo>
                  <a:pt x="54" y="26"/>
                </a:lnTo>
                <a:lnTo>
                  <a:pt x="54" y="31"/>
                </a:lnTo>
                <a:lnTo>
                  <a:pt x="58" y="39"/>
                </a:lnTo>
                <a:lnTo>
                  <a:pt x="64" y="43"/>
                </a:lnTo>
                <a:lnTo>
                  <a:pt x="69" y="49"/>
                </a:lnTo>
                <a:lnTo>
                  <a:pt x="75" y="54"/>
                </a:lnTo>
                <a:lnTo>
                  <a:pt x="66" y="61"/>
                </a:lnTo>
                <a:lnTo>
                  <a:pt x="69" y="73"/>
                </a:lnTo>
                <a:lnTo>
                  <a:pt x="63" y="84"/>
                </a:lnTo>
                <a:lnTo>
                  <a:pt x="57" y="96"/>
                </a:lnTo>
                <a:lnTo>
                  <a:pt x="47" y="109"/>
                </a:lnTo>
                <a:lnTo>
                  <a:pt x="39" y="122"/>
                </a:lnTo>
                <a:lnTo>
                  <a:pt x="26" y="122"/>
                </a:lnTo>
                <a:lnTo>
                  <a:pt x="20" y="121"/>
                </a:lnTo>
                <a:lnTo>
                  <a:pt x="12" y="140"/>
                </a:lnTo>
                <a:lnTo>
                  <a:pt x="22" y="146"/>
                </a:lnTo>
                <a:lnTo>
                  <a:pt x="26" y="158"/>
                </a:lnTo>
                <a:lnTo>
                  <a:pt x="32" y="158"/>
                </a:lnTo>
                <a:lnTo>
                  <a:pt x="38" y="179"/>
                </a:lnTo>
                <a:lnTo>
                  <a:pt x="33" y="179"/>
                </a:lnTo>
                <a:lnTo>
                  <a:pt x="20" y="180"/>
                </a:lnTo>
                <a:lnTo>
                  <a:pt x="8" y="180"/>
                </a:lnTo>
                <a:lnTo>
                  <a:pt x="8" y="186"/>
                </a:lnTo>
                <a:lnTo>
                  <a:pt x="0" y="188"/>
                </a:lnTo>
                <a:lnTo>
                  <a:pt x="2" y="189"/>
                </a:lnTo>
                <a:lnTo>
                  <a:pt x="6" y="188"/>
                </a:lnTo>
                <a:lnTo>
                  <a:pt x="4" y="191"/>
                </a:lnTo>
                <a:lnTo>
                  <a:pt x="17" y="204"/>
                </a:lnTo>
                <a:lnTo>
                  <a:pt x="33" y="200"/>
                </a:lnTo>
                <a:lnTo>
                  <a:pt x="32" y="204"/>
                </a:lnTo>
                <a:lnTo>
                  <a:pt x="22" y="211"/>
                </a:lnTo>
                <a:lnTo>
                  <a:pt x="15" y="210"/>
                </a:lnTo>
                <a:lnTo>
                  <a:pt x="27" y="223"/>
                </a:lnTo>
                <a:lnTo>
                  <a:pt x="40" y="236"/>
                </a:lnTo>
                <a:lnTo>
                  <a:pt x="58" y="231"/>
                </a:lnTo>
                <a:lnTo>
                  <a:pt x="59" y="221"/>
                </a:lnTo>
                <a:lnTo>
                  <a:pt x="60" y="213"/>
                </a:lnTo>
                <a:lnTo>
                  <a:pt x="68" y="213"/>
                </a:lnTo>
                <a:lnTo>
                  <a:pt x="65" y="218"/>
                </a:lnTo>
                <a:lnTo>
                  <a:pt x="65" y="221"/>
                </a:lnTo>
                <a:lnTo>
                  <a:pt x="72" y="221"/>
                </a:lnTo>
                <a:lnTo>
                  <a:pt x="68" y="225"/>
                </a:lnTo>
                <a:lnTo>
                  <a:pt x="70" y="234"/>
                </a:lnTo>
                <a:lnTo>
                  <a:pt x="70" y="245"/>
                </a:lnTo>
                <a:lnTo>
                  <a:pt x="75" y="261"/>
                </a:lnTo>
                <a:lnTo>
                  <a:pt x="75" y="265"/>
                </a:lnTo>
                <a:lnTo>
                  <a:pt x="76" y="269"/>
                </a:lnTo>
                <a:lnTo>
                  <a:pt x="81" y="289"/>
                </a:lnTo>
                <a:lnTo>
                  <a:pt x="87" y="305"/>
                </a:lnTo>
                <a:lnTo>
                  <a:pt x="92" y="320"/>
                </a:lnTo>
                <a:lnTo>
                  <a:pt x="95" y="324"/>
                </a:lnTo>
                <a:lnTo>
                  <a:pt x="102" y="342"/>
                </a:lnTo>
                <a:lnTo>
                  <a:pt x="110" y="361"/>
                </a:lnTo>
                <a:lnTo>
                  <a:pt x="117" y="374"/>
                </a:lnTo>
                <a:lnTo>
                  <a:pt x="123" y="387"/>
                </a:lnTo>
                <a:lnTo>
                  <a:pt x="130" y="399"/>
                </a:lnTo>
                <a:lnTo>
                  <a:pt x="134" y="411"/>
                </a:lnTo>
                <a:lnTo>
                  <a:pt x="140" y="423"/>
                </a:lnTo>
                <a:lnTo>
                  <a:pt x="146" y="435"/>
                </a:lnTo>
                <a:lnTo>
                  <a:pt x="154" y="440"/>
                </a:lnTo>
                <a:lnTo>
                  <a:pt x="162" y="432"/>
                </a:lnTo>
                <a:lnTo>
                  <a:pt x="170" y="423"/>
                </a:lnTo>
                <a:lnTo>
                  <a:pt x="178" y="422"/>
                </a:lnTo>
                <a:lnTo>
                  <a:pt x="173" y="416"/>
                </a:lnTo>
                <a:lnTo>
                  <a:pt x="180" y="404"/>
                </a:lnTo>
                <a:lnTo>
                  <a:pt x="185" y="404"/>
                </a:lnTo>
                <a:lnTo>
                  <a:pt x="184" y="392"/>
                </a:lnTo>
                <a:lnTo>
                  <a:pt x="183" y="380"/>
                </a:lnTo>
                <a:lnTo>
                  <a:pt x="185" y="368"/>
                </a:lnTo>
                <a:lnTo>
                  <a:pt x="188" y="355"/>
                </a:lnTo>
                <a:lnTo>
                  <a:pt x="184" y="341"/>
                </a:lnTo>
                <a:lnTo>
                  <a:pt x="183" y="321"/>
                </a:lnTo>
                <a:lnTo>
                  <a:pt x="191" y="317"/>
                </a:lnTo>
                <a:lnTo>
                  <a:pt x="192" y="314"/>
                </a:lnTo>
                <a:lnTo>
                  <a:pt x="196" y="314"/>
                </a:lnTo>
                <a:lnTo>
                  <a:pt x="200" y="308"/>
                </a:lnTo>
                <a:lnTo>
                  <a:pt x="210" y="303"/>
                </a:lnTo>
                <a:lnTo>
                  <a:pt x="213" y="294"/>
                </a:lnTo>
                <a:lnTo>
                  <a:pt x="226" y="279"/>
                </a:lnTo>
                <a:lnTo>
                  <a:pt x="239" y="266"/>
                </a:lnTo>
                <a:lnTo>
                  <a:pt x="251" y="254"/>
                </a:lnTo>
                <a:lnTo>
                  <a:pt x="260" y="249"/>
                </a:lnTo>
                <a:lnTo>
                  <a:pt x="267" y="237"/>
                </a:lnTo>
                <a:lnTo>
                  <a:pt x="268" y="225"/>
                </a:lnTo>
                <a:lnTo>
                  <a:pt x="280" y="216"/>
                </a:lnTo>
                <a:lnTo>
                  <a:pt x="285" y="223"/>
                </a:lnTo>
                <a:lnTo>
                  <a:pt x="288" y="223"/>
                </a:lnTo>
                <a:lnTo>
                  <a:pt x="292" y="222"/>
                </a:lnTo>
                <a:lnTo>
                  <a:pt x="296" y="223"/>
                </a:lnTo>
                <a:lnTo>
                  <a:pt x="294" y="218"/>
                </a:lnTo>
                <a:lnTo>
                  <a:pt x="291" y="206"/>
                </a:lnTo>
                <a:lnTo>
                  <a:pt x="286" y="193"/>
                </a:lnTo>
                <a:lnTo>
                  <a:pt x="285" y="185"/>
                </a:lnTo>
                <a:lnTo>
                  <a:pt x="275" y="175"/>
                </a:lnTo>
                <a:lnTo>
                  <a:pt x="278" y="169"/>
                </a:lnTo>
                <a:lnTo>
                  <a:pt x="284" y="165"/>
                </a:lnTo>
                <a:lnTo>
                  <a:pt x="273" y="156"/>
                </a:lnTo>
                <a:lnTo>
                  <a:pt x="273" y="144"/>
                </a:lnTo>
                <a:lnTo>
                  <a:pt x="282" y="147"/>
                </a:lnTo>
                <a:lnTo>
                  <a:pt x="287" y="152"/>
                </a:lnTo>
                <a:lnTo>
                  <a:pt x="291" y="150"/>
                </a:lnTo>
                <a:lnTo>
                  <a:pt x="297" y="163"/>
                </a:lnTo>
                <a:lnTo>
                  <a:pt x="311" y="164"/>
                </a:lnTo>
                <a:lnTo>
                  <a:pt x="326" y="165"/>
                </a:lnTo>
                <a:lnTo>
                  <a:pt x="333" y="171"/>
                </a:lnTo>
                <a:lnTo>
                  <a:pt x="330" y="177"/>
                </a:lnTo>
                <a:lnTo>
                  <a:pt x="321" y="185"/>
                </a:lnTo>
                <a:lnTo>
                  <a:pt x="323" y="198"/>
                </a:lnTo>
                <a:lnTo>
                  <a:pt x="327" y="201"/>
                </a:lnTo>
                <a:lnTo>
                  <a:pt x="333" y="189"/>
                </a:lnTo>
                <a:lnTo>
                  <a:pt x="338" y="204"/>
                </a:lnTo>
                <a:lnTo>
                  <a:pt x="344" y="217"/>
                </a:lnTo>
                <a:lnTo>
                  <a:pt x="348" y="217"/>
                </a:lnTo>
                <a:lnTo>
                  <a:pt x="348" y="200"/>
                </a:lnTo>
                <a:lnTo>
                  <a:pt x="350" y="186"/>
                </a:lnTo>
                <a:lnTo>
                  <a:pt x="358" y="186"/>
                </a:lnTo>
                <a:lnTo>
                  <a:pt x="365" y="167"/>
                </a:lnTo>
                <a:lnTo>
                  <a:pt x="365" y="159"/>
                </a:lnTo>
                <a:lnTo>
                  <a:pt x="365" y="146"/>
                </a:lnTo>
                <a:lnTo>
                  <a:pt x="380" y="132"/>
                </a:lnTo>
                <a:lnTo>
                  <a:pt x="389" y="134"/>
                </a:lnTo>
                <a:lnTo>
                  <a:pt x="387" y="129"/>
                </a:lnTo>
                <a:lnTo>
                  <a:pt x="388" y="125"/>
                </a:lnTo>
                <a:lnTo>
                  <a:pt x="390" y="117"/>
                </a:lnTo>
                <a:lnTo>
                  <a:pt x="375" y="111"/>
                </a:lnTo>
                <a:lnTo>
                  <a:pt x="376" y="105"/>
                </a:lnTo>
                <a:lnTo>
                  <a:pt x="370" y="103"/>
                </a:lnTo>
                <a:lnTo>
                  <a:pt x="371" y="101"/>
                </a:lnTo>
                <a:lnTo>
                  <a:pt x="365" y="98"/>
                </a:lnTo>
                <a:lnTo>
                  <a:pt x="358" y="103"/>
                </a:lnTo>
                <a:lnTo>
                  <a:pt x="346" y="102"/>
                </a:lnTo>
                <a:lnTo>
                  <a:pt x="336" y="110"/>
                </a:lnTo>
                <a:lnTo>
                  <a:pt x="327" y="120"/>
                </a:lnTo>
                <a:lnTo>
                  <a:pt x="314" y="125"/>
                </a:lnTo>
                <a:lnTo>
                  <a:pt x="317" y="129"/>
                </a:lnTo>
                <a:lnTo>
                  <a:pt x="323" y="138"/>
                </a:lnTo>
                <a:lnTo>
                  <a:pt x="310" y="139"/>
                </a:lnTo>
                <a:lnTo>
                  <a:pt x="297" y="140"/>
                </a:lnTo>
                <a:lnTo>
                  <a:pt x="280" y="138"/>
                </a:lnTo>
                <a:lnTo>
                  <a:pt x="278" y="132"/>
                </a:lnTo>
                <a:lnTo>
                  <a:pt x="270" y="119"/>
                </a:lnTo>
                <a:lnTo>
                  <a:pt x="266" y="122"/>
                </a:lnTo>
                <a:lnTo>
                  <a:pt x="269" y="145"/>
                </a:lnTo>
                <a:lnTo>
                  <a:pt x="254" y="144"/>
                </a:lnTo>
                <a:lnTo>
                  <a:pt x="236" y="143"/>
                </a:lnTo>
                <a:lnTo>
                  <a:pt x="226" y="139"/>
                </a:lnTo>
                <a:lnTo>
                  <a:pt x="219" y="132"/>
                </a:lnTo>
                <a:lnTo>
                  <a:pt x="201" y="129"/>
                </a:lnTo>
                <a:lnTo>
                  <a:pt x="188" y="126"/>
                </a:lnTo>
                <a:lnTo>
                  <a:pt x="171" y="117"/>
                </a:lnTo>
                <a:lnTo>
                  <a:pt x="153" y="108"/>
                </a:lnTo>
                <a:lnTo>
                  <a:pt x="153" y="98"/>
                </a:lnTo>
                <a:lnTo>
                  <a:pt x="160" y="85"/>
                </a:lnTo>
                <a:lnTo>
                  <a:pt x="147" y="77"/>
                </a:lnTo>
                <a:lnTo>
                  <a:pt x="130" y="67"/>
                </a:lnTo>
                <a:lnTo>
                  <a:pt x="124" y="65"/>
                </a:lnTo>
                <a:lnTo>
                  <a:pt x="118" y="47"/>
                </a:lnTo>
                <a:lnTo>
                  <a:pt x="126" y="48"/>
                </a:lnTo>
                <a:lnTo>
                  <a:pt x="129" y="42"/>
                </a:lnTo>
                <a:lnTo>
                  <a:pt x="119" y="30"/>
                </a:lnTo>
                <a:lnTo>
                  <a:pt x="119" y="24"/>
                </a:lnTo>
                <a:lnTo>
                  <a:pt x="119" y="23"/>
                </a:lnTo>
                <a:lnTo>
                  <a:pt x="118" y="20"/>
                </a:lnTo>
                <a:lnTo>
                  <a:pt x="116" y="18"/>
                </a:lnTo>
                <a:lnTo>
                  <a:pt x="113" y="14"/>
                </a:lnTo>
                <a:lnTo>
                  <a:pt x="113" y="9"/>
                </a:lnTo>
                <a:lnTo>
                  <a:pt x="111" y="6"/>
                </a:lnTo>
                <a:lnTo>
                  <a:pt x="106" y="5"/>
                </a:lnTo>
                <a:lnTo>
                  <a:pt x="100" y="2"/>
                </a:lnTo>
                <a:lnTo>
                  <a:pt x="96" y="0"/>
                </a:lnTo>
                <a:close/>
              </a:path>
            </a:pathLst>
          </a:custGeom>
          <a:solidFill>
            <a:schemeClr val="accent2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0" name="Freeform 84">
            <a:extLst>
              <a:ext uri="{FF2B5EF4-FFF2-40B4-BE49-F238E27FC236}">
                <a16:creationId xmlns:a16="http://schemas.microsoft.com/office/drawing/2014/main" id="{9C478BB7-6CB4-4994-9C94-AEC7233D2ABB}"/>
              </a:ext>
            </a:extLst>
          </p:cNvPr>
          <p:cNvSpPr>
            <a:spLocks/>
          </p:cNvSpPr>
          <p:nvPr/>
        </p:nvSpPr>
        <p:spPr bwMode="gray">
          <a:xfrm>
            <a:off x="5303350" y="2880059"/>
            <a:ext cx="34410" cy="134355"/>
          </a:xfrm>
          <a:custGeom>
            <a:avLst/>
            <a:gdLst>
              <a:gd name="T0" fmla="*/ 12 w 17"/>
              <a:gd name="T1" fmla="*/ 61 h 61"/>
              <a:gd name="T2" fmla="*/ 6 w 17"/>
              <a:gd name="T3" fmla="*/ 45 h 61"/>
              <a:gd name="T4" fmla="*/ 0 w 17"/>
              <a:gd name="T5" fmla="*/ 31 h 61"/>
              <a:gd name="T6" fmla="*/ 5 w 17"/>
              <a:gd name="T7" fmla="*/ 17 h 61"/>
              <a:gd name="T8" fmla="*/ 9 w 17"/>
              <a:gd name="T9" fmla="*/ 2 h 61"/>
              <a:gd name="T10" fmla="*/ 16 w 17"/>
              <a:gd name="T11" fmla="*/ 0 h 61"/>
              <a:gd name="T12" fmla="*/ 17 w 17"/>
              <a:gd name="T13" fmla="*/ 8 h 61"/>
              <a:gd name="T14" fmla="*/ 16 w 17"/>
              <a:gd name="T15" fmla="*/ 21 h 61"/>
              <a:gd name="T16" fmla="*/ 16 w 17"/>
              <a:gd name="T17" fmla="*/ 33 h 61"/>
              <a:gd name="T18" fmla="*/ 15 w 17"/>
              <a:gd name="T19" fmla="*/ 47 h 61"/>
              <a:gd name="T20" fmla="*/ 14 w 17"/>
              <a:gd name="T21" fmla="*/ 60 h 61"/>
              <a:gd name="T22" fmla="*/ 12 w 17"/>
              <a:gd name="T23" fmla="*/ 61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" h="61">
                <a:moveTo>
                  <a:pt x="12" y="61"/>
                </a:moveTo>
                <a:lnTo>
                  <a:pt x="6" y="45"/>
                </a:lnTo>
                <a:lnTo>
                  <a:pt x="0" y="31"/>
                </a:lnTo>
                <a:lnTo>
                  <a:pt x="5" y="17"/>
                </a:lnTo>
                <a:lnTo>
                  <a:pt x="9" y="2"/>
                </a:lnTo>
                <a:lnTo>
                  <a:pt x="16" y="0"/>
                </a:lnTo>
                <a:lnTo>
                  <a:pt x="17" y="8"/>
                </a:lnTo>
                <a:lnTo>
                  <a:pt x="16" y="21"/>
                </a:lnTo>
                <a:lnTo>
                  <a:pt x="16" y="33"/>
                </a:lnTo>
                <a:lnTo>
                  <a:pt x="15" y="47"/>
                </a:lnTo>
                <a:lnTo>
                  <a:pt x="14" y="60"/>
                </a:lnTo>
                <a:lnTo>
                  <a:pt x="12" y="6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1" name="Freeform 85">
            <a:extLst>
              <a:ext uri="{FF2B5EF4-FFF2-40B4-BE49-F238E27FC236}">
                <a16:creationId xmlns:a16="http://schemas.microsoft.com/office/drawing/2014/main" id="{1DAB7D8E-9877-4EEE-9368-2F456AED79BD}"/>
              </a:ext>
            </a:extLst>
          </p:cNvPr>
          <p:cNvSpPr>
            <a:spLocks/>
          </p:cNvSpPr>
          <p:nvPr/>
        </p:nvSpPr>
        <p:spPr bwMode="gray">
          <a:xfrm>
            <a:off x="5329159" y="2880059"/>
            <a:ext cx="104955" cy="142144"/>
          </a:xfrm>
          <a:custGeom>
            <a:avLst/>
            <a:gdLst>
              <a:gd name="T0" fmla="*/ 20 w 54"/>
              <a:gd name="T1" fmla="*/ 16 h 67"/>
              <a:gd name="T2" fmla="*/ 3 w 54"/>
              <a:gd name="T3" fmla="*/ 9 h 67"/>
              <a:gd name="T4" fmla="*/ 2 w 54"/>
              <a:gd name="T5" fmla="*/ 22 h 67"/>
              <a:gd name="T6" fmla="*/ 2 w 54"/>
              <a:gd name="T7" fmla="*/ 34 h 67"/>
              <a:gd name="T8" fmla="*/ 1 w 54"/>
              <a:gd name="T9" fmla="*/ 48 h 67"/>
              <a:gd name="T10" fmla="*/ 0 w 54"/>
              <a:gd name="T11" fmla="*/ 61 h 67"/>
              <a:gd name="T12" fmla="*/ 0 w 54"/>
              <a:gd name="T13" fmla="*/ 63 h 67"/>
              <a:gd name="T14" fmla="*/ 15 w 54"/>
              <a:gd name="T15" fmla="*/ 67 h 67"/>
              <a:gd name="T16" fmla="*/ 24 w 54"/>
              <a:gd name="T17" fmla="*/ 56 h 67"/>
              <a:gd name="T18" fmla="*/ 33 w 54"/>
              <a:gd name="T19" fmla="*/ 54 h 67"/>
              <a:gd name="T20" fmla="*/ 39 w 54"/>
              <a:gd name="T21" fmla="*/ 45 h 67"/>
              <a:gd name="T22" fmla="*/ 24 w 54"/>
              <a:gd name="T23" fmla="*/ 30 h 67"/>
              <a:gd name="T24" fmla="*/ 39 w 54"/>
              <a:gd name="T25" fmla="*/ 24 h 67"/>
              <a:gd name="T26" fmla="*/ 54 w 54"/>
              <a:gd name="T27" fmla="*/ 18 h 67"/>
              <a:gd name="T28" fmla="*/ 45 w 54"/>
              <a:gd name="T29" fmla="*/ 0 h 67"/>
              <a:gd name="T30" fmla="*/ 32 w 54"/>
              <a:gd name="T31" fmla="*/ 8 h 67"/>
              <a:gd name="T32" fmla="*/ 20 w 54"/>
              <a:gd name="T33" fmla="*/ 16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4" h="67">
                <a:moveTo>
                  <a:pt x="20" y="16"/>
                </a:moveTo>
                <a:lnTo>
                  <a:pt x="3" y="9"/>
                </a:lnTo>
                <a:lnTo>
                  <a:pt x="2" y="22"/>
                </a:lnTo>
                <a:lnTo>
                  <a:pt x="2" y="34"/>
                </a:lnTo>
                <a:lnTo>
                  <a:pt x="1" y="48"/>
                </a:lnTo>
                <a:lnTo>
                  <a:pt x="0" y="61"/>
                </a:lnTo>
                <a:lnTo>
                  <a:pt x="0" y="63"/>
                </a:lnTo>
                <a:lnTo>
                  <a:pt x="15" y="67"/>
                </a:lnTo>
                <a:lnTo>
                  <a:pt x="24" y="56"/>
                </a:lnTo>
                <a:lnTo>
                  <a:pt x="33" y="54"/>
                </a:lnTo>
                <a:lnTo>
                  <a:pt x="39" y="45"/>
                </a:lnTo>
                <a:lnTo>
                  <a:pt x="24" y="30"/>
                </a:lnTo>
                <a:lnTo>
                  <a:pt x="39" y="24"/>
                </a:lnTo>
                <a:lnTo>
                  <a:pt x="54" y="18"/>
                </a:lnTo>
                <a:lnTo>
                  <a:pt x="45" y="0"/>
                </a:lnTo>
                <a:lnTo>
                  <a:pt x="32" y="8"/>
                </a:lnTo>
                <a:lnTo>
                  <a:pt x="20" y="1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2" name="Freeform 86">
            <a:extLst>
              <a:ext uri="{FF2B5EF4-FFF2-40B4-BE49-F238E27FC236}">
                <a16:creationId xmlns:a16="http://schemas.microsoft.com/office/drawing/2014/main" id="{77147AC0-E1E0-4F3B-AAD0-056A6B5503E3}"/>
              </a:ext>
            </a:extLst>
          </p:cNvPr>
          <p:cNvSpPr>
            <a:spLocks/>
          </p:cNvSpPr>
          <p:nvPr/>
        </p:nvSpPr>
        <p:spPr bwMode="gray">
          <a:xfrm>
            <a:off x="5804033" y="3170186"/>
            <a:ext cx="203028" cy="290127"/>
          </a:xfrm>
          <a:custGeom>
            <a:avLst/>
            <a:gdLst>
              <a:gd name="T0" fmla="*/ 106 w 106"/>
              <a:gd name="T1" fmla="*/ 41 h 134"/>
              <a:gd name="T2" fmla="*/ 95 w 106"/>
              <a:gd name="T3" fmla="*/ 31 h 134"/>
              <a:gd name="T4" fmla="*/ 84 w 106"/>
              <a:gd name="T5" fmla="*/ 22 h 134"/>
              <a:gd name="T6" fmla="*/ 72 w 106"/>
              <a:gd name="T7" fmla="*/ 17 h 134"/>
              <a:gd name="T8" fmla="*/ 61 w 106"/>
              <a:gd name="T9" fmla="*/ 12 h 134"/>
              <a:gd name="T10" fmla="*/ 54 w 106"/>
              <a:gd name="T11" fmla="*/ 0 h 134"/>
              <a:gd name="T12" fmla="*/ 49 w 106"/>
              <a:gd name="T13" fmla="*/ 4 h 134"/>
              <a:gd name="T14" fmla="*/ 47 w 106"/>
              <a:gd name="T15" fmla="*/ 0 h 134"/>
              <a:gd name="T16" fmla="*/ 49 w 106"/>
              <a:gd name="T17" fmla="*/ 14 h 134"/>
              <a:gd name="T18" fmla="*/ 43 w 106"/>
              <a:gd name="T19" fmla="*/ 17 h 134"/>
              <a:gd name="T20" fmla="*/ 41 w 106"/>
              <a:gd name="T21" fmla="*/ 37 h 134"/>
              <a:gd name="T22" fmla="*/ 48 w 106"/>
              <a:gd name="T23" fmla="*/ 48 h 134"/>
              <a:gd name="T24" fmla="*/ 44 w 106"/>
              <a:gd name="T25" fmla="*/ 65 h 134"/>
              <a:gd name="T26" fmla="*/ 42 w 106"/>
              <a:gd name="T27" fmla="*/ 80 h 134"/>
              <a:gd name="T28" fmla="*/ 31 w 106"/>
              <a:gd name="T29" fmla="*/ 84 h 134"/>
              <a:gd name="T30" fmla="*/ 22 w 106"/>
              <a:gd name="T31" fmla="*/ 89 h 134"/>
              <a:gd name="T32" fmla="*/ 11 w 106"/>
              <a:gd name="T33" fmla="*/ 92 h 134"/>
              <a:gd name="T34" fmla="*/ 1 w 106"/>
              <a:gd name="T35" fmla="*/ 96 h 134"/>
              <a:gd name="T36" fmla="*/ 0 w 106"/>
              <a:gd name="T37" fmla="*/ 103 h 134"/>
              <a:gd name="T38" fmla="*/ 10 w 106"/>
              <a:gd name="T39" fmla="*/ 119 h 134"/>
              <a:gd name="T40" fmla="*/ 19 w 106"/>
              <a:gd name="T41" fmla="*/ 134 h 134"/>
              <a:gd name="T42" fmla="*/ 30 w 106"/>
              <a:gd name="T43" fmla="*/ 132 h 134"/>
              <a:gd name="T44" fmla="*/ 41 w 106"/>
              <a:gd name="T45" fmla="*/ 130 h 134"/>
              <a:gd name="T46" fmla="*/ 49 w 106"/>
              <a:gd name="T47" fmla="*/ 122 h 134"/>
              <a:gd name="T48" fmla="*/ 53 w 106"/>
              <a:gd name="T49" fmla="*/ 114 h 134"/>
              <a:gd name="T50" fmla="*/ 66 w 106"/>
              <a:gd name="T51" fmla="*/ 110 h 134"/>
              <a:gd name="T52" fmla="*/ 71 w 106"/>
              <a:gd name="T53" fmla="*/ 98 h 134"/>
              <a:gd name="T54" fmla="*/ 82 w 106"/>
              <a:gd name="T55" fmla="*/ 94 h 134"/>
              <a:gd name="T56" fmla="*/ 82 w 106"/>
              <a:gd name="T57" fmla="*/ 76 h 134"/>
              <a:gd name="T58" fmla="*/ 86 w 106"/>
              <a:gd name="T59" fmla="*/ 72 h 134"/>
              <a:gd name="T60" fmla="*/ 90 w 106"/>
              <a:gd name="T61" fmla="*/ 72 h 134"/>
              <a:gd name="T62" fmla="*/ 97 w 106"/>
              <a:gd name="T63" fmla="*/ 56 h 134"/>
              <a:gd name="T64" fmla="*/ 106 w 106"/>
              <a:gd name="T65" fmla="*/ 41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" h="134">
                <a:moveTo>
                  <a:pt x="106" y="41"/>
                </a:moveTo>
                <a:lnTo>
                  <a:pt x="95" y="31"/>
                </a:lnTo>
                <a:lnTo>
                  <a:pt x="84" y="22"/>
                </a:lnTo>
                <a:lnTo>
                  <a:pt x="72" y="17"/>
                </a:lnTo>
                <a:lnTo>
                  <a:pt x="61" y="12"/>
                </a:lnTo>
                <a:lnTo>
                  <a:pt x="54" y="0"/>
                </a:lnTo>
                <a:lnTo>
                  <a:pt x="49" y="4"/>
                </a:lnTo>
                <a:lnTo>
                  <a:pt x="47" y="0"/>
                </a:lnTo>
                <a:lnTo>
                  <a:pt x="49" y="14"/>
                </a:lnTo>
                <a:lnTo>
                  <a:pt x="43" y="17"/>
                </a:lnTo>
                <a:lnTo>
                  <a:pt x="41" y="37"/>
                </a:lnTo>
                <a:lnTo>
                  <a:pt x="48" y="48"/>
                </a:lnTo>
                <a:lnTo>
                  <a:pt x="44" y="65"/>
                </a:lnTo>
                <a:lnTo>
                  <a:pt x="42" y="80"/>
                </a:lnTo>
                <a:lnTo>
                  <a:pt x="31" y="84"/>
                </a:lnTo>
                <a:lnTo>
                  <a:pt x="22" y="89"/>
                </a:lnTo>
                <a:lnTo>
                  <a:pt x="11" y="92"/>
                </a:lnTo>
                <a:lnTo>
                  <a:pt x="1" y="96"/>
                </a:lnTo>
                <a:lnTo>
                  <a:pt x="0" y="103"/>
                </a:lnTo>
                <a:lnTo>
                  <a:pt x="10" y="119"/>
                </a:lnTo>
                <a:lnTo>
                  <a:pt x="19" y="134"/>
                </a:lnTo>
                <a:lnTo>
                  <a:pt x="30" y="132"/>
                </a:lnTo>
                <a:lnTo>
                  <a:pt x="41" y="130"/>
                </a:lnTo>
                <a:lnTo>
                  <a:pt x="49" y="122"/>
                </a:lnTo>
                <a:lnTo>
                  <a:pt x="53" y="114"/>
                </a:lnTo>
                <a:lnTo>
                  <a:pt x="66" y="110"/>
                </a:lnTo>
                <a:lnTo>
                  <a:pt x="71" y="98"/>
                </a:lnTo>
                <a:lnTo>
                  <a:pt x="82" y="94"/>
                </a:lnTo>
                <a:lnTo>
                  <a:pt x="82" y="76"/>
                </a:lnTo>
                <a:lnTo>
                  <a:pt x="86" y="72"/>
                </a:lnTo>
                <a:lnTo>
                  <a:pt x="90" y="72"/>
                </a:lnTo>
                <a:lnTo>
                  <a:pt x="97" y="56"/>
                </a:lnTo>
                <a:lnTo>
                  <a:pt x="106" y="4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3" name="Freeform 87">
            <a:extLst>
              <a:ext uri="{FF2B5EF4-FFF2-40B4-BE49-F238E27FC236}">
                <a16:creationId xmlns:a16="http://schemas.microsoft.com/office/drawing/2014/main" id="{E84B929C-CB67-4637-806B-C3C954740944}"/>
              </a:ext>
            </a:extLst>
          </p:cNvPr>
          <p:cNvSpPr>
            <a:spLocks/>
          </p:cNvSpPr>
          <p:nvPr/>
        </p:nvSpPr>
        <p:spPr bwMode="gray">
          <a:xfrm>
            <a:off x="5893502" y="3127349"/>
            <a:ext cx="6882" cy="17526"/>
          </a:xfrm>
          <a:custGeom>
            <a:avLst/>
            <a:gdLst>
              <a:gd name="T0" fmla="*/ 3 w 3"/>
              <a:gd name="T1" fmla="*/ 0 h 8"/>
              <a:gd name="T2" fmla="*/ 0 w 3"/>
              <a:gd name="T3" fmla="*/ 6 h 8"/>
              <a:gd name="T4" fmla="*/ 3 w 3"/>
              <a:gd name="T5" fmla="*/ 8 h 8"/>
              <a:gd name="T6" fmla="*/ 3 w 3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8">
                <a:moveTo>
                  <a:pt x="3" y="0"/>
                </a:moveTo>
                <a:lnTo>
                  <a:pt x="0" y="6"/>
                </a:lnTo>
                <a:lnTo>
                  <a:pt x="3" y="8"/>
                </a:lnTo>
                <a:lnTo>
                  <a:pt x="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4" name="Freeform 88">
            <a:extLst>
              <a:ext uri="{FF2B5EF4-FFF2-40B4-BE49-F238E27FC236}">
                <a16:creationId xmlns:a16="http://schemas.microsoft.com/office/drawing/2014/main" id="{52C60BD1-DD55-4BBF-A8F3-9B86573798B9}"/>
              </a:ext>
            </a:extLst>
          </p:cNvPr>
          <p:cNvSpPr>
            <a:spLocks/>
          </p:cNvSpPr>
          <p:nvPr/>
        </p:nvSpPr>
        <p:spPr bwMode="gray">
          <a:xfrm>
            <a:off x="5325718" y="2919002"/>
            <a:ext cx="571223" cy="580255"/>
          </a:xfrm>
          <a:custGeom>
            <a:avLst/>
            <a:gdLst>
              <a:gd name="T0" fmla="*/ 67 w 299"/>
              <a:gd name="T1" fmla="*/ 160 h 267"/>
              <a:gd name="T2" fmla="*/ 58 w 299"/>
              <a:gd name="T3" fmla="*/ 135 h 267"/>
              <a:gd name="T4" fmla="*/ 40 w 299"/>
              <a:gd name="T5" fmla="*/ 120 h 267"/>
              <a:gd name="T6" fmla="*/ 18 w 299"/>
              <a:gd name="T7" fmla="*/ 85 h 267"/>
              <a:gd name="T8" fmla="*/ 0 w 299"/>
              <a:gd name="T9" fmla="*/ 64 h 267"/>
              <a:gd name="T10" fmla="*/ 18 w 299"/>
              <a:gd name="T11" fmla="*/ 49 h 267"/>
              <a:gd name="T12" fmla="*/ 36 w 299"/>
              <a:gd name="T13" fmla="*/ 36 h 267"/>
              <a:gd name="T14" fmla="*/ 27 w 299"/>
              <a:gd name="T15" fmla="*/ 12 h 267"/>
              <a:gd name="T16" fmla="*/ 57 w 299"/>
              <a:gd name="T17" fmla="*/ 0 h 267"/>
              <a:gd name="T18" fmla="*/ 83 w 299"/>
              <a:gd name="T19" fmla="*/ 12 h 267"/>
              <a:gd name="T20" fmla="*/ 109 w 299"/>
              <a:gd name="T21" fmla="*/ 24 h 267"/>
              <a:gd name="T22" fmla="*/ 136 w 299"/>
              <a:gd name="T23" fmla="*/ 49 h 267"/>
              <a:gd name="T24" fmla="*/ 174 w 299"/>
              <a:gd name="T25" fmla="*/ 51 h 267"/>
              <a:gd name="T26" fmla="*/ 187 w 299"/>
              <a:gd name="T27" fmla="*/ 58 h 267"/>
              <a:gd name="T28" fmla="*/ 202 w 299"/>
              <a:gd name="T29" fmla="*/ 76 h 267"/>
              <a:gd name="T30" fmla="*/ 215 w 299"/>
              <a:gd name="T31" fmla="*/ 98 h 267"/>
              <a:gd name="T32" fmla="*/ 228 w 299"/>
              <a:gd name="T33" fmla="*/ 120 h 267"/>
              <a:gd name="T34" fmla="*/ 233 w 299"/>
              <a:gd name="T35" fmla="*/ 122 h 267"/>
              <a:gd name="T36" fmla="*/ 237 w 299"/>
              <a:gd name="T37" fmla="*/ 127 h 267"/>
              <a:gd name="T38" fmla="*/ 237 w 299"/>
              <a:gd name="T39" fmla="*/ 130 h 267"/>
              <a:gd name="T40" fmla="*/ 246 w 299"/>
              <a:gd name="T41" fmla="*/ 148 h 267"/>
              <a:gd name="T42" fmla="*/ 289 w 299"/>
              <a:gd name="T43" fmla="*/ 156 h 267"/>
              <a:gd name="T44" fmla="*/ 299 w 299"/>
              <a:gd name="T45" fmla="*/ 164 h 267"/>
              <a:gd name="T46" fmla="*/ 293 w 299"/>
              <a:gd name="T47" fmla="*/ 196 h 267"/>
              <a:gd name="T48" fmla="*/ 273 w 299"/>
              <a:gd name="T49" fmla="*/ 205 h 267"/>
              <a:gd name="T50" fmla="*/ 252 w 299"/>
              <a:gd name="T51" fmla="*/ 212 h 267"/>
              <a:gd name="T52" fmla="*/ 229 w 299"/>
              <a:gd name="T53" fmla="*/ 218 h 267"/>
              <a:gd name="T54" fmla="*/ 208 w 299"/>
              <a:gd name="T55" fmla="*/ 224 h 267"/>
              <a:gd name="T56" fmla="*/ 192 w 299"/>
              <a:gd name="T57" fmla="*/ 246 h 267"/>
              <a:gd name="T58" fmla="*/ 177 w 299"/>
              <a:gd name="T59" fmla="*/ 267 h 267"/>
              <a:gd name="T60" fmla="*/ 162 w 299"/>
              <a:gd name="T61" fmla="*/ 244 h 267"/>
              <a:gd name="T62" fmla="*/ 132 w 299"/>
              <a:gd name="T63" fmla="*/ 236 h 267"/>
              <a:gd name="T64" fmla="*/ 125 w 299"/>
              <a:gd name="T65" fmla="*/ 254 h 267"/>
              <a:gd name="T66" fmla="*/ 112 w 299"/>
              <a:gd name="T67" fmla="*/ 231 h 267"/>
              <a:gd name="T68" fmla="*/ 89 w 299"/>
              <a:gd name="T69" fmla="*/ 195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267">
                <a:moveTo>
                  <a:pt x="73" y="182"/>
                </a:moveTo>
                <a:lnTo>
                  <a:pt x="67" y="160"/>
                </a:lnTo>
                <a:lnTo>
                  <a:pt x="63" y="148"/>
                </a:lnTo>
                <a:lnTo>
                  <a:pt x="58" y="135"/>
                </a:lnTo>
                <a:lnTo>
                  <a:pt x="48" y="128"/>
                </a:lnTo>
                <a:lnTo>
                  <a:pt x="40" y="120"/>
                </a:lnTo>
                <a:lnTo>
                  <a:pt x="31" y="103"/>
                </a:lnTo>
                <a:lnTo>
                  <a:pt x="18" y="85"/>
                </a:lnTo>
                <a:lnTo>
                  <a:pt x="4" y="66"/>
                </a:lnTo>
                <a:lnTo>
                  <a:pt x="0" y="64"/>
                </a:lnTo>
                <a:lnTo>
                  <a:pt x="3" y="45"/>
                </a:lnTo>
                <a:lnTo>
                  <a:pt x="18" y="49"/>
                </a:lnTo>
                <a:lnTo>
                  <a:pt x="27" y="38"/>
                </a:lnTo>
                <a:lnTo>
                  <a:pt x="36" y="36"/>
                </a:lnTo>
                <a:lnTo>
                  <a:pt x="42" y="27"/>
                </a:lnTo>
                <a:lnTo>
                  <a:pt x="27" y="12"/>
                </a:lnTo>
                <a:lnTo>
                  <a:pt x="42" y="6"/>
                </a:lnTo>
                <a:lnTo>
                  <a:pt x="57" y="0"/>
                </a:lnTo>
                <a:lnTo>
                  <a:pt x="70" y="6"/>
                </a:lnTo>
                <a:lnTo>
                  <a:pt x="83" y="12"/>
                </a:lnTo>
                <a:lnTo>
                  <a:pt x="96" y="18"/>
                </a:lnTo>
                <a:lnTo>
                  <a:pt x="109" y="24"/>
                </a:lnTo>
                <a:lnTo>
                  <a:pt x="121" y="36"/>
                </a:lnTo>
                <a:lnTo>
                  <a:pt x="136" y="49"/>
                </a:lnTo>
                <a:lnTo>
                  <a:pt x="161" y="50"/>
                </a:lnTo>
                <a:lnTo>
                  <a:pt x="174" y="51"/>
                </a:lnTo>
                <a:lnTo>
                  <a:pt x="177" y="56"/>
                </a:lnTo>
                <a:lnTo>
                  <a:pt x="187" y="58"/>
                </a:lnTo>
                <a:lnTo>
                  <a:pt x="196" y="72"/>
                </a:lnTo>
                <a:lnTo>
                  <a:pt x="202" y="76"/>
                </a:lnTo>
                <a:lnTo>
                  <a:pt x="215" y="88"/>
                </a:lnTo>
                <a:lnTo>
                  <a:pt x="215" y="98"/>
                </a:lnTo>
                <a:lnTo>
                  <a:pt x="222" y="109"/>
                </a:lnTo>
                <a:lnTo>
                  <a:pt x="228" y="120"/>
                </a:lnTo>
                <a:lnTo>
                  <a:pt x="232" y="123"/>
                </a:lnTo>
                <a:lnTo>
                  <a:pt x="233" y="122"/>
                </a:lnTo>
                <a:lnTo>
                  <a:pt x="235" y="122"/>
                </a:lnTo>
                <a:lnTo>
                  <a:pt x="237" y="127"/>
                </a:lnTo>
                <a:lnTo>
                  <a:pt x="238" y="128"/>
                </a:lnTo>
                <a:lnTo>
                  <a:pt x="237" y="130"/>
                </a:lnTo>
                <a:lnTo>
                  <a:pt x="241" y="134"/>
                </a:lnTo>
                <a:lnTo>
                  <a:pt x="246" y="148"/>
                </a:lnTo>
                <a:lnTo>
                  <a:pt x="268" y="152"/>
                </a:lnTo>
                <a:lnTo>
                  <a:pt x="289" y="156"/>
                </a:lnTo>
                <a:lnTo>
                  <a:pt x="292" y="153"/>
                </a:lnTo>
                <a:lnTo>
                  <a:pt x="299" y="164"/>
                </a:lnTo>
                <a:lnTo>
                  <a:pt x="295" y="181"/>
                </a:lnTo>
                <a:lnTo>
                  <a:pt x="293" y="196"/>
                </a:lnTo>
                <a:lnTo>
                  <a:pt x="282" y="200"/>
                </a:lnTo>
                <a:lnTo>
                  <a:pt x="273" y="205"/>
                </a:lnTo>
                <a:lnTo>
                  <a:pt x="262" y="208"/>
                </a:lnTo>
                <a:lnTo>
                  <a:pt x="252" y="212"/>
                </a:lnTo>
                <a:lnTo>
                  <a:pt x="240" y="216"/>
                </a:lnTo>
                <a:lnTo>
                  <a:pt x="229" y="218"/>
                </a:lnTo>
                <a:lnTo>
                  <a:pt x="219" y="222"/>
                </a:lnTo>
                <a:lnTo>
                  <a:pt x="208" y="224"/>
                </a:lnTo>
                <a:lnTo>
                  <a:pt x="199" y="235"/>
                </a:lnTo>
                <a:lnTo>
                  <a:pt x="192" y="246"/>
                </a:lnTo>
                <a:lnTo>
                  <a:pt x="184" y="256"/>
                </a:lnTo>
                <a:lnTo>
                  <a:pt x="177" y="267"/>
                </a:lnTo>
                <a:lnTo>
                  <a:pt x="175" y="250"/>
                </a:lnTo>
                <a:lnTo>
                  <a:pt x="162" y="244"/>
                </a:lnTo>
                <a:lnTo>
                  <a:pt x="149" y="238"/>
                </a:lnTo>
                <a:lnTo>
                  <a:pt x="132" y="236"/>
                </a:lnTo>
                <a:lnTo>
                  <a:pt x="130" y="249"/>
                </a:lnTo>
                <a:lnTo>
                  <a:pt x="125" y="254"/>
                </a:lnTo>
                <a:lnTo>
                  <a:pt x="119" y="243"/>
                </a:lnTo>
                <a:lnTo>
                  <a:pt x="112" y="231"/>
                </a:lnTo>
                <a:lnTo>
                  <a:pt x="100" y="213"/>
                </a:lnTo>
                <a:lnTo>
                  <a:pt x="89" y="195"/>
                </a:lnTo>
                <a:lnTo>
                  <a:pt x="73" y="182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5" name="Freeform 89">
            <a:extLst>
              <a:ext uri="{FF2B5EF4-FFF2-40B4-BE49-F238E27FC236}">
                <a16:creationId xmlns:a16="http://schemas.microsoft.com/office/drawing/2014/main" id="{7861A2DE-A8A1-4385-8A90-6BDADD2CF4BC}"/>
              </a:ext>
            </a:extLst>
          </p:cNvPr>
          <p:cNvSpPr>
            <a:spLocks/>
          </p:cNvSpPr>
          <p:nvPr/>
        </p:nvSpPr>
        <p:spPr bwMode="gray">
          <a:xfrm>
            <a:off x="5778226" y="3140978"/>
            <a:ext cx="129041" cy="116831"/>
          </a:xfrm>
          <a:custGeom>
            <a:avLst/>
            <a:gdLst>
              <a:gd name="T0" fmla="*/ 0 w 68"/>
              <a:gd name="T1" fmla="*/ 28 h 54"/>
              <a:gd name="T2" fmla="*/ 4 w 68"/>
              <a:gd name="T3" fmla="*/ 32 h 54"/>
              <a:gd name="T4" fmla="*/ 9 w 68"/>
              <a:gd name="T5" fmla="*/ 46 h 54"/>
              <a:gd name="T6" fmla="*/ 31 w 68"/>
              <a:gd name="T7" fmla="*/ 50 h 54"/>
              <a:gd name="T8" fmla="*/ 52 w 68"/>
              <a:gd name="T9" fmla="*/ 54 h 54"/>
              <a:gd name="T10" fmla="*/ 55 w 68"/>
              <a:gd name="T11" fmla="*/ 51 h 54"/>
              <a:gd name="T12" fmla="*/ 57 w 68"/>
              <a:gd name="T13" fmla="*/ 31 h 54"/>
              <a:gd name="T14" fmla="*/ 63 w 68"/>
              <a:gd name="T15" fmla="*/ 28 h 54"/>
              <a:gd name="T16" fmla="*/ 61 w 68"/>
              <a:gd name="T17" fmla="*/ 14 h 54"/>
              <a:gd name="T18" fmla="*/ 63 w 68"/>
              <a:gd name="T19" fmla="*/ 18 h 54"/>
              <a:gd name="T20" fmla="*/ 68 w 68"/>
              <a:gd name="T21" fmla="*/ 14 h 54"/>
              <a:gd name="T22" fmla="*/ 64 w 68"/>
              <a:gd name="T23" fmla="*/ 2 h 54"/>
              <a:gd name="T24" fmla="*/ 61 w 68"/>
              <a:gd name="T25" fmla="*/ 0 h 54"/>
              <a:gd name="T26" fmla="*/ 48 w 68"/>
              <a:gd name="T27" fmla="*/ 14 h 54"/>
              <a:gd name="T28" fmla="*/ 36 w 68"/>
              <a:gd name="T29" fmla="*/ 28 h 54"/>
              <a:gd name="T30" fmla="*/ 13 w 68"/>
              <a:gd name="T31" fmla="*/ 30 h 54"/>
              <a:gd name="T32" fmla="*/ 4 w 68"/>
              <a:gd name="T33" fmla="*/ 28 h 54"/>
              <a:gd name="T34" fmla="*/ 1 w 68"/>
              <a:gd name="T35" fmla="*/ 26 h 54"/>
              <a:gd name="T36" fmla="*/ 0 w 68"/>
              <a:gd name="T37" fmla="*/ 28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8" h="54">
                <a:moveTo>
                  <a:pt x="0" y="28"/>
                </a:moveTo>
                <a:lnTo>
                  <a:pt x="4" y="32"/>
                </a:lnTo>
                <a:lnTo>
                  <a:pt x="9" y="46"/>
                </a:lnTo>
                <a:lnTo>
                  <a:pt x="31" y="50"/>
                </a:lnTo>
                <a:lnTo>
                  <a:pt x="52" y="54"/>
                </a:lnTo>
                <a:lnTo>
                  <a:pt x="55" y="51"/>
                </a:lnTo>
                <a:lnTo>
                  <a:pt x="57" y="31"/>
                </a:lnTo>
                <a:lnTo>
                  <a:pt x="63" y="28"/>
                </a:lnTo>
                <a:lnTo>
                  <a:pt x="61" y="14"/>
                </a:lnTo>
                <a:lnTo>
                  <a:pt x="63" y="18"/>
                </a:lnTo>
                <a:lnTo>
                  <a:pt x="68" y="14"/>
                </a:lnTo>
                <a:lnTo>
                  <a:pt x="64" y="2"/>
                </a:lnTo>
                <a:lnTo>
                  <a:pt x="61" y="0"/>
                </a:lnTo>
                <a:lnTo>
                  <a:pt x="48" y="14"/>
                </a:lnTo>
                <a:lnTo>
                  <a:pt x="36" y="28"/>
                </a:lnTo>
                <a:lnTo>
                  <a:pt x="13" y="30"/>
                </a:lnTo>
                <a:lnTo>
                  <a:pt x="4" y="28"/>
                </a:lnTo>
                <a:lnTo>
                  <a:pt x="1" y="26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6" name="Freeform 90">
            <a:extLst>
              <a:ext uri="{FF2B5EF4-FFF2-40B4-BE49-F238E27FC236}">
                <a16:creationId xmlns:a16="http://schemas.microsoft.com/office/drawing/2014/main" id="{37199B02-4547-466E-ABE1-B1470090AC26}"/>
              </a:ext>
            </a:extLst>
          </p:cNvPr>
          <p:cNvSpPr>
            <a:spLocks/>
          </p:cNvSpPr>
          <p:nvPr/>
        </p:nvSpPr>
        <p:spPr bwMode="gray">
          <a:xfrm>
            <a:off x="5563154" y="3378533"/>
            <a:ext cx="280450" cy="220030"/>
          </a:xfrm>
          <a:custGeom>
            <a:avLst/>
            <a:gdLst>
              <a:gd name="T0" fmla="*/ 5 w 145"/>
              <a:gd name="T1" fmla="*/ 37 h 102"/>
              <a:gd name="T2" fmla="*/ 0 w 145"/>
              <a:gd name="T3" fmla="*/ 42 h 102"/>
              <a:gd name="T4" fmla="*/ 0 w 145"/>
              <a:gd name="T5" fmla="*/ 61 h 102"/>
              <a:gd name="T6" fmla="*/ 6 w 145"/>
              <a:gd name="T7" fmla="*/ 82 h 102"/>
              <a:gd name="T8" fmla="*/ 13 w 145"/>
              <a:gd name="T9" fmla="*/ 102 h 102"/>
              <a:gd name="T10" fmla="*/ 31 w 145"/>
              <a:gd name="T11" fmla="*/ 101 h 102"/>
              <a:gd name="T12" fmla="*/ 49 w 145"/>
              <a:gd name="T13" fmla="*/ 90 h 102"/>
              <a:gd name="T14" fmla="*/ 64 w 145"/>
              <a:gd name="T15" fmla="*/ 85 h 102"/>
              <a:gd name="T16" fmla="*/ 78 w 145"/>
              <a:gd name="T17" fmla="*/ 80 h 102"/>
              <a:gd name="T18" fmla="*/ 89 w 145"/>
              <a:gd name="T19" fmla="*/ 76 h 102"/>
              <a:gd name="T20" fmla="*/ 100 w 145"/>
              <a:gd name="T21" fmla="*/ 71 h 102"/>
              <a:gd name="T22" fmla="*/ 110 w 145"/>
              <a:gd name="T23" fmla="*/ 66 h 102"/>
              <a:gd name="T24" fmla="*/ 121 w 145"/>
              <a:gd name="T25" fmla="*/ 60 h 102"/>
              <a:gd name="T26" fmla="*/ 132 w 145"/>
              <a:gd name="T27" fmla="*/ 55 h 102"/>
              <a:gd name="T28" fmla="*/ 132 w 145"/>
              <a:gd name="T29" fmla="*/ 49 h 102"/>
              <a:gd name="T30" fmla="*/ 145 w 145"/>
              <a:gd name="T31" fmla="*/ 38 h 102"/>
              <a:gd name="T32" fmla="*/ 136 w 145"/>
              <a:gd name="T33" fmla="*/ 23 h 102"/>
              <a:gd name="T34" fmla="*/ 126 w 145"/>
              <a:gd name="T35" fmla="*/ 7 h 102"/>
              <a:gd name="T36" fmla="*/ 127 w 145"/>
              <a:gd name="T37" fmla="*/ 0 h 102"/>
              <a:gd name="T38" fmla="*/ 115 w 145"/>
              <a:gd name="T39" fmla="*/ 4 h 102"/>
              <a:gd name="T40" fmla="*/ 104 w 145"/>
              <a:gd name="T41" fmla="*/ 6 h 102"/>
              <a:gd name="T42" fmla="*/ 94 w 145"/>
              <a:gd name="T43" fmla="*/ 10 h 102"/>
              <a:gd name="T44" fmla="*/ 83 w 145"/>
              <a:gd name="T45" fmla="*/ 12 h 102"/>
              <a:gd name="T46" fmla="*/ 74 w 145"/>
              <a:gd name="T47" fmla="*/ 23 h 102"/>
              <a:gd name="T48" fmla="*/ 67 w 145"/>
              <a:gd name="T49" fmla="*/ 34 h 102"/>
              <a:gd name="T50" fmla="*/ 59 w 145"/>
              <a:gd name="T51" fmla="*/ 44 h 102"/>
              <a:gd name="T52" fmla="*/ 52 w 145"/>
              <a:gd name="T53" fmla="*/ 55 h 102"/>
              <a:gd name="T54" fmla="*/ 50 w 145"/>
              <a:gd name="T55" fmla="*/ 38 h 102"/>
              <a:gd name="T56" fmla="*/ 37 w 145"/>
              <a:gd name="T57" fmla="*/ 32 h 102"/>
              <a:gd name="T58" fmla="*/ 24 w 145"/>
              <a:gd name="T59" fmla="*/ 26 h 102"/>
              <a:gd name="T60" fmla="*/ 7 w 145"/>
              <a:gd name="T61" fmla="*/ 24 h 102"/>
              <a:gd name="T62" fmla="*/ 5 w 145"/>
              <a:gd name="T63" fmla="*/ 37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5" h="102">
                <a:moveTo>
                  <a:pt x="5" y="37"/>
                </a:moveTo>
                <a:lnTo>
                  <a:pt x="0" y="42"/>
                </a:lnTo>
                <a:lnTo>
                  <a:pt x="0" y="61"/>
                </a:lnTo>
                <a:lnTo>
                  <a:pt x="6" y="82"/>
                </a:lnTo>
                <a:lnTo>
                  <a:pt x="13" y="102"/>
                </a:lnTo>
                <a:lnTo>
                  <a:pt x="31" y="101"/>
                </a:lnTo>
                <a:lnTo>
                  <a:pt x="49" y="90"/>
                </a:lnTo>
                <a:lnTo>
                  <a:pt x="64" y="85"/>
                </a:lnTo>
                <a:lnTo>
                  <a:pt x="78" y="80"/>
                </a:lnTo>
                <a:lnTo>
                  <a:pt x="89" y="76"/>
                </a:lnTo>
                <a:lnTo>
                  <a:pt x="100" y="71"/>
                </a:lnTo>
                <a:lnTo>
                  <a:pt x="110" y="66"/>
                </a:lnTo>
                <a:lnTo>
                  <a:pt x="121" y="60"/>
                </a:lnTo>
                <a:lnTo>
                  <a:pt x="132" y="55"/>
                </a:lnTo>
                <a:lnTo>
                  <a:pt x="132" y="49"/>
                </a:lnTo>
                <a:lnTo>
                  <a:pt x="145" y="38"/>
                </a:lnTo>
                <a:lnTo>
                  <a:pt x="136" y="23"/>
                </a:lnTo>
                <a:lnTo>
                  <a:pt x="126" y="7"/>
                </a:lnTo>
                <a:lnTo>
                  <a:pt x="127" y="0"/>
                </a:lnTo>
                <a:lnTo>
                  <a:pt x="115" y="4"/>
                </a:lnTo>
                <a:lnTo>
                  <a:pt x="104" y="6"/>
                </a:lnTo>
                <a:lnTo>
                  <a:pt x="94" y="10"/>
                </a:lnTo>
                <a:lnTo>
                  <a:pt x="83" y="12"/>
                </a:lnTo>
                <a:lnTo>
                  <a:pt x="74" y="23"/>
                </a:lnTo>
                <a:lnTo>
                  <a:pt x="67" y="34"/>
                </a:lnTo>
                <a:lnTo>
                  <a:pt x="59" y="44"/>
                </a:lnTo>
                <a:lnTo>
                  <a:pt x="52" y="55"/>
                </a:lnTo>
                <a:lnTo>
                  <a:pt x="50" y="38"/>
                </a:lnTo>
                <a:lnTo>
                  <a:pt x="37" y="32"/>
                </a:lnTo>
                <a:lnTo>
                  <a:pt x="24" y="26"/>
                </a:lnTo>
                <a:lnTo>
                  <a:pt x="7" y="24"/>
                </a:lnTo>
                <a:lnTo>
                  <a:pt x="5" y="3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7" name="Freeform 91">
            <a:extLst>
              <a:ext uri="{FF2B5EF4-FFF2-40B4-BE49-F238E27FC236}">
                <a16:creationId xmlns:a16="http://schemas.microsoft.com/office/drawing/2014/main" id="{64A6D14D-D1AD-43D9-9658-C9052E7F258D}"/>
              </a:ext>
            </a:extLst>
          </p:cNvPr>
          <p:cNvSpPr>
            <a:spLocks/>
          </p:cNvSpPr>
          <p:nvPr/>
        </p:nvSpPr>
        <p:spPr bwMode="gray">
          <a:xfrm>
            <a:off x="6578283" y="3699814"/>
            <a:ext cx="56778" cy="134355"/>
          </a:xfrm>
          <a:custGeom>
            <a:avLst/>
            <a:gdLst>
              <a:gd name="T0" fmla="*/ 7 w 31"/>
              <a:gd name="T1" fmla="*/ 2 h 62"/>
              <a:gd name="T2" fmla="*/ 13 w 31"/>
              <a:gd name="T3" fmla="*/ 10 h 62"/>
              <a:gd name="T4" fmla="*/ 19 w 31"/>
              <a:gd name="T5" fmla="*/ 21 h 62"/>
              <a:gd name="T6" fmla="*/ 25 w 31"/>
              <a:gd name="T7" fmla="*/ 33 h 62"/>
              <a:gd name="T8" fmla="*/ 31 w 31"/>
              <a:gd name="T9" fmla="*/ 45 h 62"/>
              <a:gd name="T10" fmla="*/ 24 w 31"/>
              <a:gd name="T11" fmla="*/ 58 h 62"/>
              <a:gd name="T12" fmla="*/ 10 w 31"/>
              <a:gd name="T13" fmla="*/ 62 h 62"/>
              <a:gd name="T14" fmla="*/ 1 w 31"/>
              <a:gd name="T15" fmla="*/ 42 h 62"/>
              <a:gd name="T16" fmla="*/ 0 w 31"/>
              <a:gd name="T17" fmla="*/ 26 h 62"/>
              <a:gd name="T18" fmla="*/ 1 w 31"/>
              <a:gd name="T19" fmla="*/ 27 h 62"/>
              <a:gd name="T20" fmla="*/ 3 w 31"/>
              <a:gd name="T21" fmla="*/ 15 h 62"/>
              <a:gd name="T22" fmla="*/ 5 w 31"/>
              <a:gd name="T23" fmla="*/ 4 h 62"/>
              <a:gd name="T24" fmla="*/ 6 w 31"/>
              <a:gd name="T25" fmla="*/ 3 h 62"/>
              <a:gd name="T26" fmla="*/ 3 w 31"/>
              <a:gd name="T27" fmla="*/ 0 h 62"/>
              <a:gd name="T28" fmla="*/ 7 w 31"/>
              <a:gd name="T29" fmla="*/ 2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1" h="62">
                <a:moveTo>
                  <a:pt x="7" y="2"/>
                </a:moveTo>
                <a:lnTo>
                  <a:pt x="13" y="10"/>
                </a:lnTo>
                <a:lnTo>
                  <a:pt x="19" y="21"/>
                </a:lnTo>
                <a:lnTo>
                  <a:pt x="25" y="33"/>
                </a:lnTo>
                <a:lnTo>
                  <a:pt x="31" y="45"/>
                </a:lnTo>
                <a:lnTo>
                  <a:pt x="24" y="58"/>
                </a:lnTo>
                <a:lnTo>
                  <a:pt x="10" y="62"/>
                </a:lnTo>
                <a:lnTo>
                  <a:pt x="1" y="42"/>
                </a:lnTo>
                <a:lnTo>
                  <a:pt x="0" y="26"/>
                </a:lnTo>
                <a:lnTo>
                  <a:pt x="1" y="27"/>
                </a:lnTo>
                <a:lnTo>
                  <a:pt x="3" y="15"/>
                </a:lnTo>
                <a:lnTo>
                  <a:pt x="5" y="4"/>
                </a:lnTo>
                <a:lnTo>
                  <a:pt x="6" y="3"/>
                </a:lnTo>
                <a:lnTo>
                  <a:pt x="3" y="0"/>
                </a:lnTo>
                <a:lnTo>
                  <a:pt x="7" y="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8" name="Freeform 92">
            <a:extLst>
              <a:ext uri="{FF2B5EF4-FFF2-40B4-BE49-F238E27FC236}">
                <a16:creationId xmlns:a16="http://schemas.microsoft.com/office/drawing/2014/main" id="{F3F3D9E3-E2FB-46DD-85CF-BD0F019D29CB}"/>
              </a:ext>
            </a:extLst>
          </p:cNvPr>
          <p:cNvSpPr>
            <a:spLocks/>
          </p:cNvSpPr>
          <p:nvPr/>
        </p:nvSpPr>
        <p:spPr bwMode="gray">
          <a:xfrm>
            <a:off x="5200118" y="4075617"/>
            <a:ext cx="53337" cy="60360"/>
          </a:xfrm>
          <a:custGeom>
            <a:avLst/>
            <a:gdLst>
              <a:gd name="T0" fmla="*/ 10 w 28"/>
              <a:gd name="T1" fmla="*/ 6 h 26"/>
              <a:gd name="T2" fmla="*/ 4 w 28"/>
              <a:gd name="T3" fmla="*/ 17 h 26"/>
              <a:gd name="T4" fmla="*/ 0 w 28"/>
              <a:gd name="T5" fmla="*/ 26 h 26"/>
              <a:gd name="T6" fmla="*/ 2 w 28"/>
              <a:gd name="T7" fmla="*/ 26 h 26"/>
              <a:gd name="T8" fmla="*/ 3 w 28"/>
              <a:gd name="T9" fmla="*/ 26 h 26"/>
              <a:gd name="T10" fmla="*/ 15 w 28"/>
              <a:gd name="T11" fmla="*/ 26 h 26"/>
              <a:gd name="T12" fmla="*/ 16 w 28"/>
              <a:gd name="T13" fmla="*/ 20 h 26"/>
              <a:gd name="T14" fmla="*/ 24 w 28"/>
              <a:gd name="T15" fmla="*/ 21 h 26"/>
              <a:gd name="T16" fmla="*/ 28 w 28"/>
              <a:gd name="T17" fmla="*/ 20 h 26"/>
              <a:gd name="T18" fmla="*/ 23 w 28"/>
              <a:gd name="T19" fmla="*/ 0 h 26"/>
              <a:gd name="T20" fmla="*/ 15 w 28"/>
              <a:gd name="T21" fmla="*/ 6 h 26"/>
              <a:gd name="T22" fmla="*/ 10 w 28"/>
              <a:gd name="T23" fmla="*/ 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8" h="26">
                <a:moveTo>
                  <a:pt x="10" y="6"/>
                </a:moveTo>
                <a:lnTo>
                  <a:pt x="4" y="17"/>
                </a:lnTo>
                <a:lnTo>
                  <a:pt x="0" y="26"/>
                </a:lnTo>
                <a:lnTo>
                  <a:pt x="2" y="26"/>
                </a:lnTo>
                <a:lnTo>
                  <a:pt x="3" y="26"/>
                </a:lnTo>
                <a:lnTo>
                  <a:pt x="15" y="26"/>
                </a:lnTo>
                <a:lnTo>
                  <a:pt x="16" y="20"/>
                </a:lnTo>
                <a:lnTo>
                  <a:pt x="24" y="21"/>
                </a:lnTo>
                <a:lnTo>
                  <a:pt x="28" y="20"/>
                </a:lnTo>
                <a:lnTo>
                  <a:pt x="23" y="0"/>
                </a:lnTo>
                <a:lnTo>
                  <a:pt x="15" y="6"/>
                </a:lnTo>
                <a:lnTo>
                  <a:pt x="10" y="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9" name="Freeform 93">
            <a:extLst>
              <a:ext uri="{FF2B5EF4-FFF2-40B4-BE49-F238E27FC236}">
                <a16:creationId xmlns:a16="http://schemas.microsoft.com/office/drawing/2014/main" id="{60603C01-4BE4-4219-9837-8A09E20E39E9}"/>
              </a:ext>
            </a:extLst>
          </p:cNvPr>
          <p:cNvSpPr>
            <a:spLocks/>
          </p:cNvSpPr>
          <p:nvPr/>
        </p:nvSpPr>
        <p:spPr bwMode="gray">
          <a:xfrm>
            <a:off x="6416549" y="3972417"/>
            <a:ext cx="5161" cy="3894"/>
          </a:xfrm>
          <a:custGeom>
            <a:avLst/>
            <a:gdLst>
              <a:gd name="T0" fmla="*/ 1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0" y="1"/>
                </a:lnTo>
                <a:lnTo>
                  <a:pt x="0" y="0"/>
                </a:lnTo>
                <a:lnTo>
                  <a:pt x="1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0" name="Freeform 94">
            <a:extLst>
              <a:ext uri="{FF2B5EF4-FFF2-40B4-BE49-F238E27FC236}">
                <a16:creationId xmlns:a16="http://schemas.microsoft.com/office/drawing/2014/main" id="{2297D706-18B4-441D-8018-DF420E3D093A}"/>
              </a:ext>
            </a:extLst>
          </p:cNvPr>
          <p:cNvSpPr>
            <a:spLocks/>
          </p:cNvSpPr>
          <p:nvPr/>
        </p:nvSpPr>
        <p:spPr bwMode="gray">
          <a:xfrm>
            <a:off x="6421714" y="4054198"/>
            <a:ext cx="3441" cy="3894"/>
          </a:xfrm>
          <a:custGeom>
            <a:avLst/>
            <a:gdLst>
              <a:gd name="T0" fmla="*/ 0 w 2"/>
              <a:gd name="T1" fmla="*/ 0 h 1"/>
              <a:gd name="T2" fmla="*/ 2 w 2"/>
              <a:gd name="T3" fmla="*/ 1 h 1"/>
              <a:gd name="T4" fmla="*/ 1 w 2"/>
              <a:gd name="T5" fmla="*/ 1 h 1"/>
              <a:gd name="T6" fmla="*/ 0 w 2"/>
              <a:gd name="T7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1">
                <a:moveTo>
                  <a:pt x="0" y="0"/>
                </a:moveTo>
                <a:lnTo>
                  <a:pt x="2" y="1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1" name="Freeform 95">
            <a:extLst>
              <a:ext uri="{FF2B5EF4-FFF2-40B4-BE49-F238E27FC236}">
                <a16:creationId xmlns:a16="http://schemas.microsoft.com/office/drawing/2014/main" id="{86BE663D-196E-4CE1-900F-4C8BEE596F7B}"/>
              </a:ext>
            </a:extLst>
          </p:cNvPr>
          <p:cNvSpPr>
            <a:spLocks/>
          </p:cNvSpPr>
          <p:nvPr/>
        </p:nvSpPr>
        <p:spPr bwMode="gray">
          <a:xfrm>
            <a:off x="6416549" y="4036674"/>
            <a:ext cx="5161" cy="5841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1"/>
                </a:lnTo>
                <a:lnTo>
                  <a:pt x="0" y="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2" name="Freeform 96">
            <a:extLst>
              <a:ext uri="{FF2B5EF4-FFF2-40B4-BE49-F238E27FC236}">
                <a16:creationId xmlns:a16="http://schemas.microsoft.com/office/drawing/2014/main" id="{A23F20DD-7568-4717-9968-2AE359758F03}"/>
              </a:ext>
            </a:extLst>
          </p:cNvPr>
          <p:cNvSpPr>
            <a:spLocks/>
          </p:cNvSpPr>
          <p:nvPr/>
        </p:nvSpPr>
        <p:spPr bwMode="gray">
          <a:xfrm>
            <a:off x="6406227" y="4063933"/>
            <a:ext cx="3441" cy="3894"/>
          </a:xfrm>
          <a:custGeom>
            <a:avLst/>
            <a:gdLst>
              <a:gd name="T0" fmla="*/ 1 w 1"/>
              <a:gd name="T1" fmla="*/ 0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3" name="Freeform 97">
            <a:extLst>
              <a:ext uri="{FF2B5EF4-FFF2-40B4-BE49-F238E27FC236}">
                <a16:creationId xmlns:a16="http://schemas.microsoft.com/office/drawing/2014/main" id="{C7B239D6-0095-4858-A33F-7A15AA55E534}"/>
              </a:ext>
            </a:extLst>
          </p:cNvPr>
          <p:cNvSpPr>
            <a:spLocks/>
          </p:cNvSpPr>
          <p:nvPr/>
        </p:nvSpPr>
        <p:spPr bwMode="gray">
          <a:xfrm>
            <a:off x="6409668" y="4071724"/>
            <a:ext cx="3441" cy="3894"/>
          </a:xfrm>
          <a:custGeom>
            <a:avLst/>
            <a:gdLst>
              <a:gd name="T0" fmla="*/ 1 w 1"/>
              <a:gd name="T1" fmla="*/ 1 h 1"/>
              <a:gd name="T2" fmla="*/ 1 w 1"/>
              <a:gd name="T3" fmla="*/ 0 h 1"/>
              <a:gd name="T4" fmla="*/ 0 w 1"/>
              <a:gd name="T5" fmla="*/ 1 h 1"/>
              <a:gd name="T6" fmla="*/ 1 w 1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0"/>
                </a:lnTo>
                <a:lnTo>
                  <a:pt x="0" y="1"/>
                </a:lnTo>
                <a:lnTo>
                  <a:pt x="1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4" name="Freeform 98">
            <a:extLst>
              <a:ext uri="{FF2B5EF4-FFF2-40B4-BE49-F238E27FC236}">
                <a16:creationId xmlns:a16="http://schemas.microsoft.com/office/drawing/2014/main" id="{8B42E178-4374-4822-B8CD-6C182DCC1B79}"/>
              </a:ext>
            </a:extLst>
          </p:cNvPr>
          <p:cNvSpPr>
            <a:spLocks/>
          </p:cNvSpPr>
          <p:nvPr/>
        </p:nvSpPr>
        <p:spPr bwMode="gray">
          <a:xfrm>
            <a:off x="6406227" y="3841957"/>
            <a:ext cx="3441" cy="3894"/>
          </a:xfrm>
          <a:custGeom>
            <a:avLst/>
            <a:gdLst>
              <a:gd name="T0" fmla="*/ 2 w 2"/>
              <a:gd name="T1" fmla="*/ 0 h 1"/>
              <a:gd name="T2" fmla="*/ 0 w 2"/>
              <a:gd name="T3" fmla="*/ 1 h 1"/>
              <a:gd name="T4" fmla="*/ 2 w 2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5" name="Freeform 99">
            <a:extLst>
              <a:ext uri="{FF2B5EF4-FFF2-40B4-BE49-F238E27FC236}">
                <a16:creationId xmlns:a16="http://schemas.microsoft.com/office/drawing/2014/main" id="{CB8B3B4E-421B-4D34-94EF-7F2BE8480CAA}"/>
              </a:ext>
            </a:extLst>
          </p:cNvPr>
          <p:cNvSpPr>
            <a:spLocks/>
          </p:cNvSpPr>
          <p:nvPr/>
        </p:nvSpPr>
        <p:spPr bwMode="gray">
          <a:xfrm>
            <a:off x="6413110" y="4063933"/>
            <a:ext cx="3441" cy="3894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0"/>
                </a:lnTo>
                <a:lnTo>
                  <a:pt x="0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6" name="Freeform 100">
            <a:extLst>
              <a:ext uri="{FF2B5EF4-FFF2-40B4-BE49-F238E27FC236}">
                <a16:creationId xmlns:a16="http://schemas.microsoft.com/office/drawing/2014/main" id="{68A0B506-60CC-4513-B335-63CCFEDE3491}"/>
              </a:ext>
            </a:extLst>
          </p:cNvPr>
          <p:cNvSpPr>
            <a:spLocks/>
          </p:cNvSpPr>
          <p:nvPr/>
        </p:nvSpPr>
        <p:spPr bwMode="gray">
          <a:xfrm>
            <a:off x="6421714" y="3968521"/>
            <a:ext cx="3441" cy="3894"/>
          </a:xfrm>
          <a:custGeom>
            <a:avLst/>
            <a:gdLst>
              <a:gd name="T0" fmla="*/ 1 w 1"/>
              <a:gd name="T1" fmla="*/ 1 h 1"/>
              <a:gd name="T2" fmla="*/ 1 w 1"/>
              <a:gd name="T3" fmla="*/ 0 h 1"/>
              <a:gd name="T4" fmla="*/ 0 w 1"/>
              <a:gd name="T5" fmla="*/ 1 h 1"/>
              <a:gd name="T6" fmla="*/ 1 w 1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0"/>
                </a:lnTo>
                <a:lnTo>
                  <a:pt x="0" y="1"/>
                </a:lnTo>
                <a:lnTo>
                  <a:pt x="1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7" name="Freeform 101">
            <a:extLst>
              <a:ext uri="{FF2B5EF4-FFF2-40B4-BE49-F238E27FC236}">
                <a16:creationId xmlns:a16="http://schemas.microsoft.com/office/drawing/2014/main" id="{CAD202D3-7038-43F6-85BC-1235BE878927}"/>
              </a:ext>
            </a:extLst>
          </p:cNvPr>
          <p:cNvSpPr>
            <a:spLocks/>
          </p:cNvSpPr>
          <p:nvPr/>
        </p:nvSpPr>
        <p:spPr bwMode="gray">
          <a:xfrm>
            <a:off x="6402786" y="3799121"/>
            <a:ext cx="3441" cy="3894"/>
          </a:xfrm>
          <a:custGeom>
            <a:avLst/>
            <a:gdLst>
              <a:gd name="T0" fmla="*/ 0 h 1"/>
              <a:gd name="T1" fmla="*/ 1 h 1"/>
              <a:gd name="T2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8" name="Freeform 102">
            <a:extLst>
              <a:ext uri="{FF2B5EF4-FFF2-40B4-BE49-F238E27FC236}">
                <a16:creationId xmlns:a16="http://schemas.microsoft.com/office/drawing/2014/main" id="{63AE12D7-167B-4E33-9454-A5260BC3F2E5}"/>
              </a:ext>
            </a:extLst>
          </p:cNvPr>
          <p:cNvSpPr>
            <a:spLocks/>
          </p:cNvSpPr>
          <p:nvPr/>
        </p:nvSpPr>
        <p:spPr bwMode="gray">
          <a:xfrm>
            <a:off x="6409668" y="3980206"/>
            <a:ext cx="3441" cy="5841"/>
          </a:xfrm>
          <a:custGeom>
            <a:avLst/>
            <a:gdLst>
              <a:gd name="T0" fmla="*/ 1 w 1"/>
              <a:gd name="T1" fmla="*/ 1 h 3"/>
              <a:gd name="T2" fmla="*/ 0 w 1"/>
              <a:gd name="T3" fmla="*/ 0 h 3"/>
              <a:gd name="T4" fmla="*/ 0 w 1"/>
              <a:gd name="T5" fmla="*/ 3 h 3"/>
              <a:gd name="T6" fmla="*/ 1 w 1"/>
              <a:gd name="T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3">
                <a:moveTo>
                  <a:pt x="1" y="1"/>
                </a:moveTo>
                <a:lnTo>
                  <a:pt x="0" y="0"/>
                </a:lnTo>
                <a:lnTo>
                  <a:pt x="0" y="3"/>
                </a:lnTo>
                <a:lnTo>
                  <a:pt x="1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9" name="Freeform 103">
            <a:extLst>
              <a:ext uri="{FF2B5EF4-FFF2-40B4-BE49-F238E27FC236}">
                <a16:creationId xmlns:a16="http://schemas.microsoft.com/office/drawing/2014/main" id="{A33CE573-6270-45E4-BB5A-74F9C147DF85}"/>
              </a:ext>
            </a:extLst>
          </p:cNvPr>
          <p:cNvSpPr>
            <a:spLocks/>
          </p:cNvSpPr>
          <p:nvPr/>
        </p:nvSpPr>
        <p:spPr bwMode="gray">
          <a:xfrm>
            <a:off x="6416549" y="3958786"/>
            <a:ext cx="5161" cy="3894"/>
          </a:xfrm>
          <a:custGeom>
            <a:avLst/>
            <a:gdLst>
              <a:gd name="T0" fmla="*/ 2 w 2"/>
              <a:gd name="T1" fmla="*/ 1 h 1"/>
              <a:gd name="T2" fmla="*/ 0 w 2"/>
              <a:gd name="T3" fmla="*/ 0 h 1"/>
              <a:gd name="T4" fmla="*/ 0 w 2"/>
              <a:gd name="T5" fmla="*/ 1 h 1"/>
              <a:gd name="T6" fmla="*/ 2 w 2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0" y="0"/>
                </a:lnTo>
                <a:lnTo>
                  <a:pt x="0" y="1"/>
                </a:lnTo>
                <a:lnTo>
                  <a:pt x="2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0" name="Freeform 104">
            <a:extLst>
              <a:ext uri="{FF2B5EF4-FFF2-40B4-BE49-F238E27FC236}">
                <a16:creationId xmlns:a16="http://schemas.microsoft.com/office/drawing/2014/main" id="{D632CB0F-9938-4AE6-AE79-5B16F73CF898}"/>
              </a:ext>
            </a:extLst>
          </p:cNvPr>
          <p:cNvSpPr>
            <a:spLocks/>
          </p:cNvSpPr>
          <p:nvPr/>
        </p:nvSpPr>
        <p:spPr bwMode="gray">
          <a:xfrm>
            <a:off x="6413110" y="3841957"/>
            <a:ext cx="3441" cy="3894"/>
          </a:xfrm>
          <a:custGeom>
            <a:avLst/>
            <a:gdLst>
              <a:gd name="T0" fmla="*/ 0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1" y="0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1" name="Freeform 105">
            <a:extLst>
              <a:ext uri="{FF2B5EF4-FFF2-40B4-BE49-F238E27FC236}">
                <a16:creationId xmlns:a16="http://schemas.microsoft.com/office/drawing/2014/main" id="{E410CD3A-751E-4AF7-85F0-6348F39EB151}"/>
              </a:ext>
            </a:extLst>
          </p:cNvPr>
          <p:cNvSpPr>
            <a:spLocks/>
          </p:cNvSpPr>
          <p:nvPr/>
        </p:nvSpPr>
        <p:spPr bwMode="gray">
          <a:xfrm>
            <a:off x="6397625" y="3806908"/>
            <a:ext cx="8604" cy="5841"/>
          </a:xfrm>
          <a:custGeom>
            <a:avLst/>
            <a:gdLst>
              <a:gd name="T0" fmla="*/ 2 w 2"/>
              <a:gd name="T1" fmla="*/ 1 h 1"/>
              <a:gd name="T2" fmla="*/ 1 w 2"/>
              <a:gd name="T3" fmla="*/ 0 h 1"/>
              <a:gd name="T4" fmla="*/ 0 w 2"/>
              <a:gd name="T5" fmla="*/ 0 h 1"/>
              <a:gd name="T6" fmla="*/ 2 w 2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1" y="0"/>
                </a:lnTo>
                <a:lnTo>
                  <a:pt x="0" y="0"/>
                </a:lnTo>
                <a:lnTo>
                  <a:pt x="2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2" name="Freeform 106">
            <a:extLst>
              <a:ext uri="{FF2B5EF4-FFF2-40B4-BE49-F238E27FC236}">
                <a16:creationId xmlns:a16="http://schemas.microsoft.com/office/drawing/2014/main" id="{3B45263B-5FCE-4847-9A9E-365100C5B633}"/>
              </a:ext>
            </a:extLst>
          </p:cNvPr>
          <p:cNvSpPr>
            <a:spLocks/>
          </p:cNvSpPr>
          <p:nvPr/>
        </p:nvSpPr>
        <p:spPr bwMode="gray">
          <a:xfrm>
            <a:off x="6394184" y="3947102"/>
            <a:ext cx="3441" cy="3894"/>
          </a:xfrm>
          <a:custGeom>
            <a:avLst/>
            <a:gdLst>
              <a:gd name="T0" fmla="*/ 1 w 1"/>
              <a:gd name="T1" fmla="*/ 1 h 1"/>
              <a:gd name="T2" fmla="*/ 1 w 1"/>
              <a:gd name="T3" fmla="*/ 0 h 1"/>
              <a:gd name="T4" fmla="*/ 0 w 1"/>
              <a:gd name="T5" fmla="*/ 0 h 1"/>
              <a:gd name="T6" fmla="*/ 1 w 1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0"/>
                </a:lnTo>
                <a:lnTo>
                  <a:pt x="0" y="0"/>
                </a:lnTo>
                <a:lnTo>
                  <a:pt x="1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3" name="Freeform 107">
            <a:extLst>
              <a:ext uri="{FF2B5EF4-FFF2-40B4-BE49-F238E27FC236}">
                <a16:creationId xmlns:a16="http://schemas.microsoft.com/office/drawing/2014/main" id="{16D31B07-C9D5-402D-BACF-2EE7D5D3167D}"/>
              </a:ext>
            </a:extLst>
          </p:cNvPr>
          <p:cNvSpPr>
            <a:spLocks/>
          </p:cNvSpPr>
          <p:nvPr/>
        </p:nvSpPr>
        <p:spPr bwMode="gray">
          <a:xfrm>
            <a:off x="6397625" y="3795225"/>
            <a:ext cx="5161" cy="3894"/>
          </a:xfrm>
          <a:custGeom>
            <a:avLst/>
            <a:gdLst>
              <a:gd name="T0" fmla="*/ 1 w 1"/>
              <a:gd name="T1" fmla="*/ 1 h 1"/>
              <a:gd name="T2" fmla="*/ 1 w 1"/>
              <a:gd name="T3" fmla="*/ 0 h 1"/>
              <a:gd name="T4" fmla="*/ 0 w 1"/>
              <a:gd name="T5" fmla="*/ 0 h 1"/>
              <a:gd name="T6" fmla="*/ 1 w 1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0"/>
                </a:lnTo>
                <a:lnTo>
                  <a:pt x="0" y="0"/>
                </a:lnTo>
                <a:lnTo>
                  <a:pt x="1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4" name="Freeform 108">
            <a:extLst>
              <a:ext uri="{FF2B5EF4-FFF2-40B4-BE49-F238E27FC236}">
                <a16:creationId xmlns:a16="http://schemas.microsoft.com/office/drawing/2014/main" id="{BB35A48A-DC1F-4ABB-B285-6D365AD4E684}"/>
              </a:ext>
            </a:extLst>
          </p:cNvPr>
          <p:cNvSpPr>
            <a:spLocks/>
          </p:cNvSpPr>
          <p:nvPr/>
        </p:nvSpPr>
        <p:spPr bwMode="gray">
          <a:xfrm>
            <a:off x="6413110" y="3937367"/>
            <a:ext cx="3441" cy="3894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0"/>
                </a:lnTo>
                <a:lnTo>
                  <a:pt x="0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5" name="Freeform 109">
            <a:extLst>
              <a:ext uri="{FF2B5EF4-FFF2-40B4-BE49-F238E27FC236}">
                <a16:creationId xmlns:a16="http://schemas.microsoft.com/office/drawing/2014/main" id="{584BBC40-4210-4711-BA4B-9A44C74BB17C}"/>
              </a:ext>
            </a:extLst>
          </p:cNvPr>
          <p:cNvSpPr>
            <a:spLocks/>
          </p:cNvSpPr>
          <p:nvPr/>
        </p:nvSpPr>
        <p:spPr bwMode="gray">
          <a:xfrm>
            <a:off x="6416549" y="4019150"/>
            <a:ext cx="5161" cy="5841"/>
          </a:xfrm>
          <a:custGeom>
            <a:avLst/>
            <a:gdLst>
              <a:gd name="T0" fmla="*/ 1 w 1"/>
              <a:gd name="T1" fmla="*/ 0 h 2"/>
              <a:gd name="T2" fmla="*/ 1 w 1"/>
              <a:gd name="T3" fmla="*/ 2 h 2"/>
              <a:gd name="T4" fmla="*/ 0 w 1"/>
              <a:gd name="T5" fmla="*/ 2 h 2"/>
              <a:gd name="T6" fmla="*/ 1 w 1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2">
                <a:moveTo>
                  <a:pt x="1" y="0"/>
                </a:moveTo>
                <a:lnTo>
                  <a:pt x="1" y="2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6" name="Freeform 110">
            <a:extLst>
              <a:ext uri="{FF2B5EF4-FFF2-40B4-BE49-F238E27FC236}">
                <a16:creationId xmlns:a16="http://schemas.microsoft.com/office/drawing/2014/main" id="{097C7582-C58E-4C6E-8C7E-195DFECDAB28}"/>
              </a:ext>
            </a:extLst>
          </p:cNvPr>
          <p:cNvSpPr>
            <a:spLocks/>
          </p:cNvSpPr>
          <p:nvPr/>
        </p:nvSpPr>
        <p:spPr bwMode="gray">
          <a:xfrm>
            <a:off x="6397625" y="3799121"/>
            <a:ext cx="5161" cy="3894"/>
          </a:xfrm>
          <a:custGeom>
            <a:avLst/>
            <a:gdLst>
              <a:gd name="T0" fmla="*/ 1 w 1"/>
              <a:gd name="T1" fmla="*/ 0 h 2"/>
              <a:gd name="T2" fmla="*/ 1 w 1"/>
              <a:gd name="T3" fmla="*/ 2 h 2"/>
              <a:gd name="T4" fmla="*/ 0 w 1"/>
              <a:gd name="T5" fmla="*/ 2 h 2"/>
              <a:gd name="T6" fmla="*/ 1 w 1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2">
                <a:moveTo>
                  <a:pt x="1" y="0"/>
                </a:moveTo>
                <a:lnTo>
                  <a:pt x="1" y="2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7" name="Freeform 111">
            <a:extLst>
              <a:ext uri="{FF2B5EF4-FFF2-40B4-BE49-F238E27FC236}">
                <a16:creationId xmlns:a16="http://schemas.microsoft.com/office/drawing/2014/main" id="{6FA6EFD0-5990-4AB3-990C-6B68988D9518}"/>
              </a:ext>
            </a:extLst>
          </p:cNvPr>
          <p:cNvSpPr>
            <a:spLocks/>
          </p:cNvSpPr>
          <p:nvPr/>
        </p:nvSpPr>
        <p:spPr bwMode="gray">
          <a:xfrm>
            <a:off x="6413110" y="3954891"/>
            <a:ext cx="3441" cy="3894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0 w 1"/>
              <a:gd name="T5" fmla="*/ 0 h 1"/>
              <a:gd name="T6" fmla="*/ 1 w 1"/>
              <a:gd name="T7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1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8" name="Freeform 112">
            <a:extLst>
              <a:ext uri="{FF2B5EF4-FFF2-40B4-BE49-F238E27FC236}">
                <a16:creationId xmlns:a16="http://schemas.microsoft.com/office/drawing/2014/main" id="{A8220D04-91D0-42BD-9232-9799BF0FDD88}"/>
              </a:ext>
            </a:extLst>
          </p:cNvPr>
          <p:cNvSpPr>
            <a:spLocks/>
          </p:cNvSpPr>
          <p:nvPr/>
        </p:nvSpPr>
        <p:spPr bwMode="gray">
          <a:xfrm>
            <a:off x="6413110" y="3880900"/>
            <a:ext cx="3441" cy="3894"/>
          </a:xfrm>
          <a:custGeom>
            <a:avLst/>
            <a:gdLst>
              <a:gd name="T0" fmla="*/ 0 h 1"/>
              <a:gd name="T1" fmla="*/ 1 h 1"/>
              <a:gd name="T2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9" name="Freeform 113">
            <a:extLst>
              <a:ext uri="{FF2B5EF4-FFF2-40B4-BE49-F238E27FC236}">
                <a16:creationId xmlns:a16="http://schemas.microsoft.com/office/drawing/2014/main" id="{9BEDFEC8-DFE7-4220-B591-2659C82190A3}"/>
              </a:ext>
            </a:extLst>
          </p:cNvPr>
          <p:cNvSpPr>
            <a:spLocks/>
          </p:cNvSpPr>
          <p:nvPr/>
        </p:nvSpPr>
        <p:spPr bwMode="gray">
          <a:xfrm>
            <a:off x="5919310" y="4202181"/>
            <a:ext cx="3441" cy="3894"/>
          </a:xfrm>
          <a:custGeom>
            <a:avLst/>
            <a:gdLst>
              <a:gd name="T0" fmla="*/ 2 w 2"/>
              <a:gd name="T1" fmla="*/ 3 h 3"/>
              <a:gd name="T2" fmla="*/ 1 w 2"/>
              <a:gd name="T3" fmla="*/ 0 h 3"/>
              <a:gd name="T4" fmla="*/ 0 w 2"/>
              <a:gd name="T5" fmla="*/ 0 h 3"/>
              <a:gd name="T6" fmla="*/ 2 w 2"/>
              <a:gd name="T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3">
                <a:moveTo>
                  <a:pt x="2" y="3"/>
                </a:moveTo>
                <a:lnTo>
                  <a:pt x="1" y="0"/>
                </a:lnTo>
                <a:lnTo>
                  <a:pt x="0" y="0"/>
                </a:lnTo>
                <a:lnTo>
                  <a:pt x="2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0" name="Freeform 114">
            <a:extLst>
              <a:ext uri="{FF2B5EF4-FFF2-40B4-BE49-F238E27FC236}">
                <a16:creationId xmlns:a16="http://schemas.microsoft.com/office/drawing/2014/main" id="{784640B4-6D74-4034-90C8-7D1D2F66A6F0}"/>
              </a:ext>
            </a:extLst>
          </p:cNvPr>
          <p:cNvSpPr>
            <a:spLocks/>
          </p:cNvSpPr>
          <p:nvPr/>
        </p:nvSpPr>
        <p:spPr bwMode="gray">
          <a:xfrm>
            <a:off x="5666390" y="4365742"/>
            <a:ext cx="8604" cy="5841"/>
          </a:xfrm>
          <a:custGeom>
            <a:avLst/>
            <a:gdLst>
              <a:gd name="T0" fmla="*/ 4 w 4"/>
              <a:gd name="T1" fmla="*/ 1 h 1"/>
              <a:gd name="T2" fmla="*/ 4 w 4"/>
              <a:gd name="T3" fmla="*/ 0 h 1"/>
              <a:gd name="T4" fmla="*/ 0 w 4"/>
              <a:gd name="T5" fmla="*/ 1 h 1"/>
              <a:gd name="T6" fmla="*/ 4 w 4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1">
                <a:moveTo>
                  <a:pt x="4" y="1"/>
                </a:moveTo>
                <a:lnTo>
                  <a:pt x="4" y="0"/>
                </a:lnTo>
                <a:lnTo>
                  <a:pt x="0" y="1"/>
                </a:lnTo>
                <a:lnTo>
                  <a:pt x="4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1" name="Freeform 115">
            <a:extLst>
              <a:ext uri="{FF2B5EF4-FFF2-40B4-BE49-F238E27FC236}">
                <a16:creationId xmlns:a16="http://schemas.microsoft.com/office/drawing/2014/main" id="{645B7E69-81B4-41BF-9572-2991451F4851}"/>
              </a:ext>
            </a:extLst>
          </p:cNvPr>
          <p:cNvSpPr>
            <a:spLocks/>
          </p:cNvSpPr>
          <p:nvPr/>
        </p:nvSpPr>
        <p:spPr bwMode="gray">
          <a:xfrm>
            <a:off x="5750696" y="3131243"/>
            <a:ext cx="3441" cy="9735"/>
          </a:xfrm>
          <a:custGeom>
            <a:avLst/>
            <a:gdLst>
              <a:gd name="T0" fmla="*/ 0 w 1"/>
              <a:gd name="T1" fmla="*/ 0 h 4"/>
              <a:gd name="T2" fmla="*/ 0 w 1"/>
              <a:gd name="T3" fmla="*/ 4 h 4"/>
              <a:gd name="T4" fmla="*/ 1 w 1"/>
              <a:gd name="T5" fmla="*/ 1 h 4"/>
              <a:gd name="T6" fmla="*/ 0 w 1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4">
                <a:moveTo>
                  <a:pt x="0" y="0"/>
                </a:moveTo>
                <a:lnTo>
                  <a:pt x="0" y="4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2" name="Freeform 116">
            <a:extLst>
              <a:ext uri="{FF2B5EF4-FFF2-40B4-BE49-F238E27FC236}">
                <a16:creationId xmlns:a16="http://schemas.microsoft.com/office/drawing/2014/main" id="{52C88203-3975-4D64-BD7A-8B26ADE16F5E}"/>
              </a:ext>
            </a:extLst>
          </p:cNvPr>
          <p:cNvSpPr>
            <a:spLocks/>
          </p:cNvSpPr>
          <p:nvPr/>
        </p:nvSpPr>
        <p:spPr bwMode="gray">
          <a:xfrm>
            <a:off x="4782021" y="3222759"/>
            <a:ext cx="280450" cy="554940"/>
          </a:xfrm>
          <a:custGeom>
            <a:avLst/>
            <a:gdLst>
              <a:gd name="T0" fmla="*/ 143 w 145"/>
              <a:gd name="T1" fmla="*/ 65 h 257"/>
              <a:gd name="T2" fmla="*/ 128 w 145"/>
              <a:gd name="T3" fmla="*/ 56 h 257"/>
              <a:gd name="T4" fmla="*/ 115 w 145"/>
              <a:gd name="T5" fmla="*/ 48 h 257"/>
              <a:gd name="T6" fmla="*/ 101 w 145"/>
              <a:gd name="T7" fmla="*/ 41 h 257"/>
              <a:gd name="T8" fmla="*/ 86 w 145"/>
              <a:gd name="T9" fmla="*/ 32 h 257"/>
              <a:gd name="T10" fmla="*/ 72 w 145"/>
              <a:gd name="T11" fmla="*/ 24 h 257"/>
              <a:gd name="T12" fmla="*/ 58 w 145"/>
              <a:gd name="T13" fmla="*/ 16 h 257"/>
              <a:gd name="T14" fmla="*/ 44 w 145"/>
              <a:gd name="T15" fmla="*/ 8 h 257"/>
              <a:gd name="T16" fmla="*/ 30 w 145"/>
              <a:gd name="T17" fmla="*/ 0 h 257"/>
              <a:gd name="T18" fmla="*/ 16 w 145"/>
              <a:gd name="T19" fmla="*/ 8 h 257"/>
              <a:gd name="T20" fmla="*/ 18 w 145"/>
              <a:gd name="T21" fmla="*/ 20 h 257"/>
              <a:gd name="T22" fmla="*/ 19 w 145"/>
              <a:gd name="T23" fmla="*/ 32 h 257"/>
              <a:gd name="T24" fmla="*/ 31 w 145"/>
              <a:gd name="T25" fmla="*/ 50 h 257"/>
              <a:gd name="T26" fmla="*/ 28 w 145"/>
              <a:gd name="T27" fmla="*/ 58 h 257"/>
              <a:gd name="T28" fmla="*/ 28 w 145"/>
              <a:gd name="T29" fmla="*/ 70 h 257"/>
              <a:gd name="T30" fmla="*/ 26 w 145"/>
              <a:gd name="T31" fmla="*/ 82 h 257"/>
              <a:gd name="T32" fmla="*/ 25 w 145"/>
              <a:gd name="T33" fmla="*/ 94 h 257"/>
              <a:gd name="T34" fmla="*/ 25 w 145"/>
              <a:gd name="T35" fmla="*/ 106 h 257"/>
              <a:gd name="T36" fmla="*/ 19 w 145"/>
              <a:gd name="T37" fmla="*/ 115 h 257"/>
              <a:gd name="T38" fmla="*/ 12 w 145"/>
              <a:gd name="T39" fmla="*/ 125 h 257"/>
              <a:gd name="T40" fmla="*/ 6 w 145"/>
              <a:gd name="T41" fmla="*/ 134 h 257"/>
              <a:gd name="T42" fmla="*/ 0 w 145"/>
              <a:gd name="T43" fmla="*/ 144 h 257"/>
              <a:gd name="T44" fmla="*/ 0 w 145"/>
              <a:gd name="T45" fmla="*/ 157 h 257"/>
              <a:gd name="T46" fmla="*/ 6 w 145"/>
              <a:gd name="T47" fmla="*/ 168 h 257"/>
              <a:gd name="T48" fmla="*/ 12 w 145"/>
              <a:gd name="T49" fmla="*/ 168 h 257"/>
              <a:gd name="T50" fmla="*/ 19 w 145"/>
              <a:gd name="T51" fmla="*/ 184 h 257"/>
              <a:gd name="T52" fmla="*/ 20 w 145"/>
              <a:gd name="T53" fmla="*/ 202 h 257"/>
              <a:gd name="T54" fmla="*/ 30 w 145"/>
              <a:gd name="T55" fmla="*/ 217 h 257"/>
              <a:gd name="T56" fmla="*/ 13 w 145"/>
              <a:gd name="T57" fmla="*/ 217 h 257"/>
              <a:gd name="T58" fmla="*/ 6 w 145"/>
              <a:gd name="T59" fmla="*/ 221 h 257"/>
              <a:gd name="T60" fmla="*/ 18 w 145"/>
              <a:gd name="T61" fmla="*/ 236 h 257"/>
              <a:gd name="T62" fmla="*/ 28 w 145"/>
              <a:gd name="T63" fmla="*/ 257 h 257"/>
              <a:gd name="T64" fmla="*/ 41 w 145"/>
              <a:gd name="T65" fmla="*/ 252 h 257"/>
              <a:gd name="T66" fmla="*/ 43 w 145"/>
              <a:gd name="T67" fmla="*/ 254 h 257"/>
              <a:gd name="T68" fmla="*/ 52 w 145"/>
              <a:gd name="T69" fmla="*/ 253 h 257"/>
              <a:gd name="T70" fmla="*/ 71 w 145"/>
              <a:gd name="T71" fmla="*/ 248 h 257"/>
              <a:gd name="T72" fmla="*/ 78 w 145"/>
              <a:gd name="T73" fmla="*/ 241 h 257"/>
              <a:gd name="T74" fmla="*/ 76 w 145"/>
              <a:gd name="T75" fmla="*/ 235 h 257"/>
              <a:gd name="T76" fmla="*/ 96 w 145"/>
              <a:gd name="T77" fmla="*/ 232 h 257"/>
              <a:gd name="T78" fmla="*/ 107 w 145"/>
              <a:gd name="T79" fmla="*/ 218 h 257"/>
              <a:gd name="T80" fmla="*/ 118 w 145"/>
              <a:gd name="T81" fmla="*/ 205 h 257"/>
              <a:gd name="T82" fmla="*/ 131 w 145"/>
              <a:gd name="T83" fmla="*/ 203 h 257"/>
              <a:gd name="T84" fmla="*/ 130 w 145"/>
              <a:gd name="T85" fmla="*/ 193 h 257"/>
              <a:gd name="T86" fmla="*/ 127 w 145"/>
              <a:gd name="T87" fmla="*/ 185 h 257"/>
              <a:gd name="T88" fmla="*/ 121 w 145"/>
              <a:gd name="T89" fmla="*/ 173 h 257"/>
              <a:gd name="T90" fmla="*/ 115 w 145"/>
              <a:gd name="T91" fmla="*/ 172 h 257"/>
              <a:gd name="T92" fmla="*/ 121 w 145"/>
              <a:gd name="T93" fmla="*/ 160 h 257"/>
              <a:gd name="T94" fmla="*/ 122 w 145"/>
              <a:gd name="T95" fmla="*/ 152 h 257"/>
              <a:gd name="T96" fmla="*/ 124 w 145"/>
              <a:gd name="T97" fmla="*/ 149 h 257"/>
              <a:gd name="T98" fmla="*/ 124 w 145"/>
              <a:gd name="T99" fmla="*/ 143 h 257"/>
              <a:gd name="T100" fmla="*/ 131 w 145"/>
              <a:gd name="T101" fmla="*/ 130 h 257"/>
              <a:gd name="T102" fmla="*/ 136 w 145"/>
              <a:gd name="T103" fmla="*/ 126 h 257"/>
              <a:gd name="T104" fmla="*/ 145 w 145"/>
              <a:gd name="T105" fmla="*/ 126 h 257"/>
              <a:gd name="T106" fmla="*/ 145 w 145"/>
              <a:gd name="T107" fmla="*/ 110 h 257"/>
              <a:gd name="T108" fmla="*/ 144 w 145"/>
              <a:gd name="T109" fmla="*/ 95 h 257"/>
              <a:gd name="T110" fmla="*/ 144 w 145"/>
              <a:gd name="T111" fmla="*/ 79 h 257"/>
              <a:gd name="T112" fmla="*/ 143 w 145"/>
              <a:gd name="T113" fmla="*/ 65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5" h="257">
                <a:moveTo>
                  <a:pt x="143" y="65"/>
                </a:moveTo>
                <a:lnTo>
                  <a:pt x="128" y="56"/>
                </a:lnTo>
                <a:lnTo>
                  <a:pt x="115" y="48"/>
                </a:lnTo>
                <a:lnTo>
                  <a:pt x="101" y="41"/>
                </a:lnTo>
                <a:lnTo>
                  <a:pt x="86" y="32"/>
                </a:lnTo>
                <a:lnTo>
                  <a:pt x="72" y="24"/>
                </a:lnTo>
                <a:lnTo>
                  <a:pt x="58" y="16"/>
                </a:lnTo>
                <a:lnTo>
                  <a:pt x="44" y="8"/>
                </a:lnTo>
                <a:lnTo>
                  <a:pt x="30" y="0"/>
                </a:lnTo>
                <a:lnTo>
                  <a:pt x="16" y="8"/>
                </a:lnTo>
                <a:lnTo>
                  <a:pt x="18" y="20"/>
                </a:lnTo>
                <a:lnTo>
                  <a:pt x="19" y="32"/>
                </a:lnTo>
                <a:lnTo>
                  <a:pt x="31" y="50"/>
                </a:lnTo>
                <a:lnTo>
                  <a:pt x="28" y="58"/>
                </a:lnTo>
                <a:lnTo>
                  <a:pt x="28" y="70"/>
                </a:lnTo>
                <a:lnTo>
                  <a:pt x="26" y="82"/>
                </a:lnTo>
                <a:lnTo>
                  <a:pt x="25" y="94"/>
                </a:lnTo>
                <a:lnTo>
                  <a:pt x="25" y="106"/>
                </a:lnTo>
                <a:lnTo>
                  <a:pt x="19" y="115"/>
                </a:lnTo>
                <a:lnTo>
                  <a:pt x="12" y="125"/>
                </a:lnTo>
                <a:lnTo>
                  <a:pt x="6" y="134"/>
                </a:lnTo>
                <a:lnTo>
                  <a:pt x="0" y="144"/>
                </a:lnTo>
                <a:lnTo>
                  <a:pt x="0" y="157"/>
                </a:lnTo>
                <a:lnTo>
                  <a:pt x="6" y="168"/>
                </a:lnTo>
                <a:lnTo>
                  <a:pt x="12" y="168"/>
                </a:lnTo>
                <a:lnTo>
                  <a:pt x="19" y="184"/>
                </a:lnTo>
                <a:lnTo>
                  <a:pt x="20" y="202"/>
                </a:lnTo>
                <a:lnTo>
                  <a:pt x="30" y="217"/>
                </a:lnTo>
                <a:lnTo>
                  <a:pt x="13" y="217"/>
                </a:lnTo>
                <a:lnTo>
                  <a:pt x="6" y="221"/>
                </a:lnTo>
                <a:lnTo>
                  <a:pt x="18" y="236"/>
                </a:lnTo>
                <a:lnTo>
                  <a:pt x="28" y="257"/>
                </a:lnTo>
                <a:lnTo>
                  <a:pt x="41" y="252"/>
                </a:lnTo>
                <a:lnTo>
                  <a:pt x="43" y="254"/>
                </a:lnTo>
                <a:lnTo>
                  <a:pt x="52" y="253"/>
                </a:lnTo>
                <a:lnTo>
                  <a:pt x="71" y="248"/>
                </a:lnTo>
                <a:lnTo>
                  <a:pt x="78" y="241"/>
                </a:lnTo>
                <a:lnTo>
                  <a:pt x="76" y="235"/>
                </a:lnTo>
                <a:lnTo>
                  <a:pt x="96" y="232"/>
                </a:lnTo>
                <a:lnTo>
                  <a:pt x="107" y="218"/>
                </a:lnTo>
                <a:lnTo>
                  <a:pt x="118" y="205"/>
                </a:lnTo>
                <a:lnTo>
                  <a:pt x="131" y="203"/>
                </a:lnTo>
                <a:lnTo>
                  <a:pt x="130" y="193"/>
                </a:lnTo>
                <a:lnTo>
                  <a:pt x="127" y="185"/>
                </a:lnTo>
                <a:lnTo>
                  <a:pt x="121" y="173"/>
                </a:lnTo>
                <a:lnTo>
                  <a:pt x="115" y="172"/>
                </a:lnTo>
                <a:lnTo>
                  <a:pt x="121" y="160"/>
                </a:lnTo>
                <a:lnTo>
                  <a:pt x="122" y="152"/>
                </a:lnTo>
                <a:lnTo>
                  <a:pt x="124" y="149"/>
                </a:lnTo>
                <a:lnTo>
                  <a:pt x="124" y="143"/>
                </a:lnTo>
                <a:lnTo>
                  <a:pt x="131" y="130"/>
                </a:lnTo>
                <a:lnTo>
                  <a:pt x="136" y="126"/>
                </a:lnTo>
                <a:lnTo>
                  <a:pt x="145" y="126"/>
                </a:lnTo>
                <a:lnTo>
                  <a:pt x="145" y="110"/>
                </a:lnTo>
                <a:lnTo>
                  <a:pt x="144" y="95"/>
                </a:lnTo>
                <a:lnTo>
                  <a:pt x="144" y="79"/>
                </a:lnTo>
                <a:lnTo>
                  <a:pt x="143" y="6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3" name="Freeform 117">
            <a:extLst>
              <a:ext uri="{FF2B5EF4-FFF2-40B4-BE49-F238E27FC236}">
                <a16:creationId xmlns:a16="http://schemas.microsoft.com/office/drawing/2014/main" id="{DAB82E9C-9E60-44C3-955E-3B68DD6C0FB8}"/>
              </a:ext>
            </a:extLst>
          </p:cNvPr>
          <p:cNvSpPr>
            <a:spLocks/>
          </p:cNvSpPr>
          <p:nvPr/>
        </p:nvSpPr>
        <p:spPr bwMode="gray">
          <a:xfrm>
            <a:off x="5544229" y="3604404"/>
            <a:ext cx="37851" cy="56467"/>
          </a:xfrm>
          <a:custGeom>
            <a:avLst/>
            <a:gdLst>
              <a:gd name="T0" fmla="*/ 0 w 21"/>
              <a:gd name="T1" fmla="*/ 24 h 26"/>
              <a:gd name="T2" fmla="*/ 17 w 21"/>
              <a:gd name="T3" fmla="*/ 26 h 26"/>
              <a:gd name="T4" fmla="*/ 21 w 21"/>
              <a:gd name="T5" fmla="*/ 17 h 26"/>
              <a:gd name="T6" fmla="*/ 15 w 21"/>
              <a:gd name="T7" fmla="*/ 0 h 26"/>
              <a:gd name="T8" fmla="*/ 10 w 21"/>
              <a:gd name="T9" fmla="*/ 0 h 26"/>
              <a:gd name="T10" fmla="*/ 0 w 21"/>
              <a:gd name="T11" fmla="*/ 24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" h="26">
                <a:moveTo>
                  <a:pt x="0" y="24"/>
                </a:moveTo>
                <a:lnTo>
                  <a:pt x="17" y="26"/>
                </a:lnTo>
                <a:lnTo>
                  <a:pt x="21" y="17"/>
                </a:lnTo>
                <a:lnTo>
                  <a:pt x="15" y="0"/>
                </a:lnTo>
                <a:lnTo>
                  <a:pt x="10" y="0"/>
                </a:lnTo>
                <a:lnTo>
                  <a:pt x="0" y="2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4" name="Freeform 118">
            <a:extLst>
              <a:ext uri="{FF2B5EF4-FFF2-40B4-BE49-F238E27FC236}">
                <a16:creationId xmlns:a16="http://schemas.microsoft.com/office/drawing/2014/main" id="{52F39EDA-63CA-4E41-AE25-78F588FAA900}"/>
              </a:ext>
            </a:extLst>
          </p:cNvPr>
          <p:cNvSpPr>
            <a:spLocks/>
          </p:cNvSpPr>
          <p:nvPr/>
        </p:nvSpPr>
        <p:spPr bwMode="gray">
          <a:xfrm>
            <a:off x="5394540" y="3413581"/>
            <a:ext cx="180659" cy="202504"/>
          </a:xfrm>
          <a:custGeom>
            <a:avLst/>
            <a:gdLst>
              <a:gd name="T0" fmla="*/ 0 w 94"/>
              <a:gd name="T1" fmla="*/ 69 h 92"/>
              <a:gd name="T2" fmla="*/ 2 w 94"/>
              <a:gd name="T3" fmla="*/ 57 h 92"/>
              <a:gd name="T4" fmla="*/ 4 w 94"/>
              <a:gd name="T5" fmla="*/ 36 h 92"/>
              <a:gd name="T6" fmla="*/ 9 w 94"/>
              <a:gd name="T7" fmla="*/ 15 h 92"/>
              <a:gd name="T8" fmla="*/ 17 w 94"/>
              <a:gd name="T9" fmla="*/ 8 h 92"/>
              <a:gd name="T10" fmla="*/ 27 w 94"/>
              <a:gd name="T11" fmla="*/ 2 h 92"/>
              <a:gd name="T12" fmla="*/ 28 w 94"/>
              <a:gd name="T13" fmla="*/ 0 h 92"/>
              <a:gd name="T14" fmla="*/ 33 w 94"/>
              <a:gd name="T15" fmla="*/ 11 h 92"/>
              <a:gd name="T16" fmla="*/ 38 w 94"/>
              <a:gd name="T17" fmla="*/ 23 h 92"/>
              <a:gd name="T18" fmla="*/ 41 w 94"/>
              <a:gd name="T19" fmla="*/ 35 h 92"/>
              <a:gd name="T20" fmla="*/ 46 w 94"/>
              <a:gd name="T21" fmla="*/ 45 h 92"/>
              <a:gd name="T22" fmla="*/ 47 w 94"/>
              <a:gd name="T23" fmla="*/ 42 h 92"/>
              <a:gd name="T24" fmla="*/ 51 w 94"/>
              <a:gd name="T25" fmla="*/ 44 h 92"/>
              <a:gd name="T26" fmla="*/ 63 w 94"/>
              <a:gd name="T27" fmla="*/ 53 h 92"/>
              <a:gd name="T28" fmla="*/ 77 w 94"/>
              <a:gd name="T29" fmla="*/ 68 h 92"/>
              <a:gd name="T30" fmla="*/ 93 w 94"/>
              <a:gd name="T31" fmla="*/ 83 h 92"/>
              <a:gd name="T32" fmla="*/ 94 w 94"/>
              <a:gd name="T33" fmla="*/ 86 h 92"/>
              <a:gd name="T34" fmla="*/ 93 w 94"/>
              <a:gd name="T35" fmla="*/ 87 h 92"/>
              <a:gd name="T36" fmla="*/ 88 w 94"/>
              <a:gd name="T37" fmla="*/ 87 h 92"/>
              <a:gd name="T38" fmla="*/ 81 w 94"/>
              <a:gd name="T39" fmla="*/ 92 h 92"/>
              <a:gd name="T40" fmla="*/ 80 w 94"/>
              <a:gd name="T41" fmla="*/ 87 h 92"/>
              <a:gd name="T42" fmla="*/ 68 w 94"/>
              <a:gd name="T43" fmla="*/ 84 h 92"/>
              <a:gd name="T44" fmla="*/ 59 w 94"/>
              <a:gd name="T45" fmla="*/ 74 h 92"/>
              <a:gd name="T46" fmla="*/ 54 w 94"/>
              <a:gd name="T47" fmla="*/ 68 h 92"/>
              <a:gd name="T48" fmla="*/ 45 w 94"/>
              <a:gd name="T49" fmla="*/ 65 h 92"/>
              <a:gd name="T50" fmla="*/ 38 w 94"/>
              <a:gd name="T51" fmla="*/ 62 h 92"/>
              <a:gd name="T52" fmla="*/ 29 w 94"/>
              <a:gd name="T53" fmla="*/ 63 h 92"/>
              <a:gd name="T54" fmla="*/ 22 w 94"/>
              <a:gd name="T55" fmla="*/ 56 h 92"/>
              <a:gd name="T56" fmla="*/ 20 w 94"/>
              <a:gd name="T57" fmla="*/ 69 h 92"/>
              <a:gd name="T58" fmla="*/ 14 w 94"/>
              <a:gd name="T59" fmla="*/ 63 h 92"/>
              <a:gd name="T60" fmla="*/ 8 w 94"/>
              <a:gd name="T61" fmla="*/ 71 h 92"/>
              <a:gd name="T62" fmla="*/ 0 w 94"/>
              <a:gd name="T63" fmla="*/ 69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4" h="92">
                <a:moveTo>
                  <a:pt x="0" y="69"/>
                </a:moveTo>
                <a:lnTo>
                  <a:pt x="2" y="57"/>
                </a:lnTo>
                <a:lnTo>
                  <a:pt x="4" y="36"/>
                </a:lnTo>
                <a:lnTo>
                  <a:pt x="9" y="15"/>
                </a:lnTo>
                <a:lnTo>
                  <a:pt x="17" y="8"/>
                </a:lnTo>
                <a:lnTo>
                  <a:pt x="27" y="2"/>
                </a:lnTo>
                <a:lnTo>
                  <a:pt x="28" y="0"/>
                </a:lnTo>
                <a:lnTo>
                  <a:pt x="33" y="11"/>
                </a:lnTo>
                <a:lnTo>
                  <a:pt x="38" y="23"/>
                </a:lnTo>
                <a:lnTo>
                  <a:pt x="41" y="35"/>
                </a:lnTo>
                <a:lnTo>
                  <a:pt x="46" y="45"/>
                </a:lnTo>
                <a:lnTo>
                  <a:pt x="47" y="42"/>
                </a:lnTo>
                <a:lnTo>
                  <a:pt x="51" y="44"/>
                </a:lnTo>
                <a:lnTo>
                  <a:pt x="63" y="53"/>
                </a:lnTo>
                <a:lnTo>
                  <a:pt x="77" y="68"/>
                </a:lnTo>
                <a:lnTo>
                  <a:pt x="93" y="83"/>
                </a:lnTo>
                <a:lnTo>
                  <a:pt x="94" y="86"/>
                </a:lnTo>
                <a:lnTo>
                  <a:pt x="93" y="87"/>
                </a:lnTo>
                <a:lnTo>
                  <a:pt x="88" y="87"/>
                </a:lnTo>
                <a:lnTo>
                  <a:pt x="81" y="92"/>
                </a:lnTo>
                <a:lnTo>
                  <a:pt x="80" y="87"/>
                </a:lnTo>
                <a:lnTo>
                  <a:pt x="68" y="84"/>
                </a:lnTo>
                <a:lnTo>
                  <a:pt x="59" y="74"/>
                </a:lnTo>
                <a:lnTo>
                  <a:pt x="54" y="68"/>
                </a:lnTo>
                <a:lnTo>
                  <a:pt x="45" y="65"/>
                </a:lnTo>
                <a:lnTo>
                  <a:pt x="38" y="62"/>
                </a:lnTo>
                <a:lnTo>
                  <a:pt x="29" y="63"/>
                </a:lnTo>
                <a:lnTo>
                  <a:pt x="22" y="56"/>
                </a:lnTo>
                <a:lnTo>
                  <a:pt x="20" y="69"/>
                </a:lnTo>
                <a:lnTo>
                  <a:pt x="14" y="63"/>
                </a:lnTo>
                <a:lnTo>
                  <a:pt x="8" y="71"/>
                </a:lnTo>
                <a:lnTo>
                  <a:pt x="0" y="6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5" name="Freeform 119">
            <a:extLst>
              <a:ext uri="{FF2B5EF4-FFF2-40B4-BE49-F238E27FC236}">
                <a16:creationId xmlns:a16="http://schemas.microsoft.com/office/drawing/2014/main" id="{EABE4854-41E2-4077-A1FC-4FF91B800FE2}"/>
              </a:ext>
            </a:extLst>
          </p:cNvPr>
          <p:cNvSpPr>
            <a:spLocks/>
          </p:cNvSpPr>
          <p:nvPr/>
        </p:nvSpPr>
        <p:spPr bwMode="gray">
          <a:xfrm>
            <a:off x="5310234" y="3538200"/>
            <a:ext cx="406050" cy="381645"/>
          </a:xfrm>
          <a:custGeom>
            <a:avLst/>
            <a:gdLst>
              <a:gd name="T0" fmla="*/ 71 w 211"/>
              <a:gd name="T1" fmla="*/ 173 h 177"/>
              <a:gd name="T2" fmla="*/ 54 w 211"/>
              <a:gd name="T3" fmla="*/ 161 h 177"/>
              <a:gd name="T4" fmla="*/ 42 w 211"/>
              <a:gd name="T5" fmla="*/ 159 h 177"/>
              <a:gd name="T6" fmla="*/ 38 w 211"/>
              <a:gd name="T7" fmla="*/ 147 h 177"/>
              <a:gd name="T8" fmla="*/ 30 w 211"/>
              <a:gd name="T9" fmla="*/ 142 h 177"/>
              <a:gd name="T10" fmla="*/ 24 w 211"/>
              <a:gd name="T11" fmla="*/ 132 h 177"/>
              <a:gd name="T12" fmla="*/ 19 w 211"/>
              <a:gd name="T13" fmla="*/ 121 h 177"/>
              <a:gd name="T14" fmla="*/ 5 w 211"/>
              <a:gd name="T15" fmla="*/ 108 h 177"/>
              <a:gd name="T16" fmla="*/ 0 w 211"/>
              <a:gd name="T17" fmla="*/ 105 h 177"/>
              <a:gd name="T18" fmla="*/ 5 w 211"/>
              <a:gd name="T19" fmla="*/ 97 h 177"/>
              <a:gd name="T20" fmla="*/ 14 w 211"/>
              <a:gd name="T21" fmla="*/ 95 h 177"/>
              <a:gd name="T22" fmla="*/ 17 w 211"/>
              <a:gd name="T23" fmla="*/ 77 h 177"/>
              <a:gd name="T24" fmla="*/ 18 w 211"/>
              <a:gd name="T25" fmla="*/ 59 h 177"/>
              <a:gd name="T26" fmla="*/ 26 w 211"/>
              <a:gd name="T27" fmla="*/ 58 h 177"/>
              <a:gd name="T28" fmla="*/ 30 w 211"/>
              <a:gd name="T29" fmla="*/ 40 h 177"/>
              <a:gd name="T30" fmla="*/ 44 w 211"/>
              <a:gd name="T31" fmla="*/ 13 h 177"/>
              <a:gd name="T32" fmla="*/ 52 w 211"/>
              <a:gd name="T33" fmla="*/ 15 h 177"/>
              <a:gd name="T34" fmla="*/ 58 w 211"/>
              <a:gd name="T35" fmla="*/ 7 h 177"/>
              <a:gd name="T36" fmla="*/ 64 w 211"/>
              <a:gd name="T37" fmla="*/ 13 h 177"/>
              <a:gd name="T38" fmla="*/ 66 w 211"/>
              <a:gd name="T39" fmla="*/ 0 h 177"/>
              <a:gd name="T40" fmla="*/ 73 w 211"/>
              <a:gd name="T41" fmla="*/ 7 h 177"/>
              <a:gd name="T42" fmla="*/ 82 w 211"/>
              <a:gd name="T43" fmla="*/ 6 h 177"/>
              <a:gd name="T44" fmla="*/ 89 w 211"/>
              <a:gd name="T45" fmla="*/ 9 h 177"/>
              <a:gd name="T46" fmla="*/ 98 w 211"/>
              <a:gd name="T47" fmla="*/ 12 h 177"/>
              <a:gd name="T48" fmla="*/ 103 w 211"/>
              <a:gd name="T49" fmla="*/ 18 h 177"/>
              <a:gd name="T50" fmla="*/ 112 w 211"/>
              <a:gd name="T51" fmla="*/ 28 h 177"/>
              <a:gd name="T52" fmla="*/ 124 w 211"/>
              <a:gd name="T53" fmla="*/ 31 h 177"/>
              <a:gd name="T54" fmla="*/ 125 w 211"/>
              <a:gd name="T55" fmla="*/ 36 h 177"/>
              <a:gd name="T56" fmla="*/ 132 w 211"/>
              <a:gd name="T57" fmla="*/ 31 h 177"/>
              <a:gd name="T58" fmla="*/ 122 w 211"/>
              <a:gd name="T59" fmla="*/ 55 h 177"/>
              <a:gd name="T60" fmla="*/ 139 w 211"/>
              <a:gd name="T61" fmla="*/ 57 h 177"/>
              <a:gd name="T62" fmla="*/ 137 w 211"/>
              <a:gd name="T63" fmla="*/ 65 h 177"/>
              <a:gd name="T64" fmla="*/ 146 w 211"/>
              <a:gd name="T65" fmla="*/ 77 h 177"/>
              <a:gd name="T66" fmla="*/ 155 w 211"/>
              <a:gd name="T67" fmla="*/ 88 h 177"/>
              <a:gd name="T68" fmla="*/ 166 w 211"/>
              <a:gd name="T69" fmla="*/ 93 h 177"/>
              <a:gd name="T70" fmla="*/ 176 w 211"/>
              <a:gd name="T71" fmla="*/ 96 h 177"/>
              <a:gd name="T72" fmla="*/ 187 w 211"/>
              <a:gd name="T73" fmla="*/ 100 h 177"/>
              <a:gd name="T74" fmla="*/ 198 w 211"/>
              <a:gd name="T75" fmla="*/ 105 h 177"/>
              <a:gd name="T76" fmla="*/ 211 w 211"/>
              <a:gd name="T77" fmla="*/ 105 h 177"/>
              <a:gd name="T78" fmla="*/ 202 w 211"/>
              <a:gd name="T79" fmla="*/ 117 h 177"/>
              <a:gd name="T80" fmla="*/ 191 w 211"/>
              <a:gd name="T81" fmla="*/ 130 h 177"/>
              <a:gd name="T82" fmla="*/ 180 w 211"/>
              <a:gd name="T83" fmla="*/ 142 h 177"/>
              <a:gd name="T84" fmla="*/ 169 w 211"/>
              <a:gd name="T85" fmla="*/ 154 h 177"/>
              <a:gd name="T86" fmla="*/ 158 w 211"/>
              <a:gd name="T87" fmla="*/ 155 h 177"/>
              <a:gd name="T88" fmla="*/ 148 w 211"/>
              <a:gd name="T89" fmla="*/ 156 h 177"/>
              <a:gd name="T90" fmla="*/ 133 w 211"/>
              <a:gd name="T91" fmla="*/ 166 h 177"/>
              <a:gd name="T92" fmla="*/ 126 w 211"/>
              <a:gd name="T93" fmla="*/ 169 h 177"/>
              <a:gd name="T94" fmla="*/ 113 w 211"/>
              <a:gd name="T95" fmla="*/ 166 h 177"/>
              <a:gd name="T96" fmla="*/ 97 w 211"/>
              <a:gd name="T97" fmla="*/ 171 h 177"/>
              <a:gd name="T98" fmla="*/ 91 w 211"/>
              <a:gd name="T99" fmla="*/ 177 h 177"/>
              <a:gd name="T100" fmla="*/ 71 w 211"/>
              <a:gd name="T101" fmla="*/ 173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11" h="177">
                <a:moveTo>
                  <a:pt x="71" y="173"/>
                </a:moveTo>
                <a:lnTo>
                  <a:pt x="54" y="161"/>
                </a:lnTo>
                <a:lnTo>
                  <a:pt x="42" y="159"/>
                </a:lnTo>
                <a:lnTo>
                  <a:pt x="38" y="147"/>
                </a:lnTo>
                <a:lnTo>
                  <a:pt x="30" y="142"/>
                </a:lnTo>
                <a:lnTo>
                  <a:pt x="24" y="132"/>
                </a:lnTo>
                <a:lnTo>
                  <a:pt x="19" y="121"/>
                </a:lnTo>
                <a:lnTo>
                  <a:pt x="5" y="108"/>
                </a:lnTo>
                <a:lnTo>
                  <a:pt x="0" y="105"/>
                </a:lnTo>
                <a:lnTo>
                  <a:pt x="5" y="97"/>
                </a:lnTo>
                <a:lnTo>
                  <a:pt x="14" y="95"/>
                </a:lnTo>
                <a:lnTo>
                  <a:pt x="17" y="77"/>
                </a:lnTo>
                <a:lnTo>
                  <a:pt x="18" y="59"/>
                </a:lnTo>
                <a:lnTo>
                  <a:pt x="26" y="58"/>
                </a:lnTo>
                <a:lnTo>
                  <a:pt x="30" y="40"/>
                </a:lnTo>
                <a:lnTo>
                  <a:pt x="44" y="13"/>
                </a:lnTo>
                <a:lnTo>
                  <a:pt x="52" y="15"/>
                </a:lnTo>
                <a:lnTo>
                  <a:pt x="58" y="7"/>
                </a:lnTo>
                <a:lnTo>
                  <a:pt x="64" y="13"/>
                </a:lnTo>
                <a:lnTo>
                  <a:pt x="66" y="0"/>
                </a:lnTo>
                <a:lnTo>
                  <a:pt x="73" y="7"/>
                </a:lnTo>
                <a:lnTo>
                  <a:pt x="82" y="6"/>
                </a:lnTo>
                <a:lnTo>
                  <a:pt x="89" y="9"/>
                </a:lnTo>
                <a:lnTo>
                  <a:pt x="98" y="12"/>
                </a:lnTo>
                <a:lnTo>
                  <a:pt x="103" y="18"/>
                </a:lnTo>
                <a:lnTo>
                  <a:pt x="112" y="28"/>
                </a:lnTo>
                <a:lnTo>
                  <a:pt x="124" y="31"/>
                </a:lnTo>
                <a:lnTo>
                  <a:pt x="125" y="36"/>
                </a:lnTo>
                <a:lnTo>
                  <a:pt x="132" y="31"/>
                </a:lnTo>
                <a:lnTo>
                  <a:pt x="122" y="55"/>
                </a:lnTo>
                <a:lnTo>
                  <a:pt x="139" y="57"/>
                </a:lnTo>
                <a:lnTo>
                  <a:pt x="137" y="65"/>
                </a:lnTo>
                <a:lnTo>
                  <a:pt x="146" y="77"/>
                </a:lnTo>
                <a:lnTo>
                  <a:pt x="155" y="88"/>
                </a:lnTo>
                <a:lnTo>
                  <a:pt x="166" y="93"/>
                </a:lnTo>
                <a:lnTo>
                  <a:pt x="176" y="96"/>
                </a:lnTo>
                <a:lnTo>
                  <a:pt x="187" y="100"/>
                </a:lnTo>
                <a:lnTo>
                  <a:pt x="198" y="105"/>
                </a:lnTo>
                <a:lnTo>
                  <a:pt x="211" y="105"/>
                </a:lnTo>
                <a:lnTo>
                  <a:pt x="202" y="117"/>
                </a:lnTo>
                <a:lnTo>
                  <a:pt x="191" y="130"/>
                </a:lnTo>
                <a:lnTo>
                  <a:pt x="180" y="142"/>
                </a:lnTo>
                <a:lnTo>
                  <a:pt x="169" y="154"/>
                </a:lnTo>
                <a:lnTo>
                  <a:pt x="158" y="155"/>
                </a:lnTo>
                <a:lnTo>
                  <a:pt x="148" y="156"/>
                </a:lnTo>
                <a:lnTo>
                  <a:pt x="133" y="166"/>
                </a:lnTo>
                <a:lnTo>
                  <a:pt x="126" y="169"/>
                </a:lnTo>
                <a:lnTo>
                  <a:pt x="113" y="166"/>
                </a:lnTo>
                <a:lnTo>
                  <a:pt x="97" y="171"/>
                </a:lnTo>
                <a:lnTo>
                  <a:pt x="91" y="177"/>
                </a:lnTo>
                <a:lnTo>
                  <a:pt x="71" y="17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6" name="Freeform 120">
            <a:extLst>
              <a:ext uri="{FF2B5EF4-FFF2-40B4-BE49-F238E27FC236}">
                <a16:creationId xmlns:a16="http://schemas.microsoft.com/office/drawing/2014/main" id="{9E522C0E-52BF-418F-A106-3779816DC4AC}"/>
              </a:ext>
            </a:extLst>
          </p:cNvPr>
          <p:cNvSpPr>
            <a:spLocks/>
          </p:cNvSpPr>
          <p:nvPr/>
        </p:nvSpPr>
        <p:spPr bwMode="gray">
          <a:xfrm>
            <a:off x="5528744" y="3625823"/>
            <a:ext cx="271848" cy="471213"/>
          </a:xfrm>
          <a:custGeom>
            <a:avLst/>
            <a:gdLst>
              <a:gd name="T0" fmla="*/ 138 w 143"/>
              <a:gd name="T1" fmla="*/ 30 h 218"/>
              <a:gd name="T2" fmla="*/ 133 w 143"/>
              <a:gd name="T3" fmla="*/ 48 h 218"/>
              <a:gd name="T4" fmla="*/ 124 w 143"/>
              <a:gd name="T5" fmla="*/ 67 h 218"/>
              <a:gd name="T6" fmla="*/ 114 w 143"/>
              <a:gd name="T7" fmla="*/ 86 h 218"/>
              <a:gd name="T8" fmla="*/ 104 w 143"/>
              <a:gd name="T9" fmla="*/ 106 h 218"/>
              <a:gd name="T10" fmla="*/ 95 w 143"/>
              <a:gd name="T11" fmla="*/ 125 h 218"/>
              <a:gd name="T12" fmla="*/ 86 w 143"/>
              <a:gd name="T13" fmla="*/ 133 h 218"/>
              <a:gd name="T14" fmla="*/ 78 w 143"/>
              <a:gd name="T15" fmla="*/ 143 h 218"/>
              <a:gd name="T16" fmla="*/ 70 w 143"/>
              <a:gd name="T17" fmla="*/ 151 h 218"/>
              <a:gd name="T18" fmla="*/ 61 w 143"/>
              <a:gd name="T19" fmla="*/ 160 h 218"/>
              <a:gd name="T20" fmla="*/ 52 w 143"/>
              <a:gd name="T21" fmla="*/ 170 h 218"/>
              <a:gd name="T22" fmla="*/ 41 w 143"/>
              <a:gd name="T23" fmla="*/ 180 h 218"/>
              <a:gd name="T24" fmla="*/ 31 w 143"/>
              <a:gd name="T25" fmla="*/ 190 h 218"/>
              <a:gd name="T26" fmla="*/ 22 w 143"/>
              <a:gd name="T27" fmla="*/ 199 h 218"/>
              <a:gd name="T28" fmla="*/ 14 w 143"/>
              <a:gd name="T29" fmla="*/ 209 h 218"/>
              <a:gd name="T30" fmla="*/ 8 w 143"/>
              <a:gd name="T31" fmla="*/ 218 h 218"/>
              <a:gd name="T32" fmla="*/ 0 w 143"/>
              <a:gd name="T33" fmla="*/ 206 h 218"/>
              <a:gd name="T34" fmla="*/ 0 w 143"/>
              <a:gd name="T35" fmla="*/ 191 h 218"/>
              <a:gd name="T36" fmla="*/ 0 w 143"/>
              <a:gd name="T37" fmla="*/ 176 h 218"/>
              <a:gd name="T38" fmla="*/ 0 w 143"/>
              <a:gd name="T39" fmla="*/ 161 h 218"/>
              <a:gd name="T40" fmla="*/ 0 w 143"/>
              <a:gd name="T41" fmla="*/ 146 h 218"/>
              <a:gd name="T42" fmla="*/ 6 w 143"/>
              <a:gd name="T43" fmla="*/ 137 h 218"/>
              <a:gd name="T44" fmla="*/ 12 w 143"/>
              <a:gd name="T45" fmla="*/ 128 h 218"/>
              <a:gd name="T46" fmla="*/ 19 w 143"/>
              <a:gd name="T47" fmla="*/ 125 h 218"/>
              <a:gd name="T48" fmla="*/ 34 w 143"/>
              <a:gd name="T49" fmla="*/ 115 h 218"/>
              <a:gd name="T50" fmla="*/ 44 w 143"/>
              <a:gd name="T51" fmla="*/ 114 h 218"/>
              <a:gd name="T52" fmla="*/ 55 w 143"/>
              <a:gd name="T53" fmla="*/ 113 h 218"/>
              <a:gd name="T54" fmla="*/ 66 w 143"/>
              <a:gd name="T55" fmla="*/ 101 h 218"/>
              <a:gd name="T56" fmla="*/ 77 w 143"/>
              <a:gd name="T57" fmla="*/ 89 h 218"/>
              <a:gd name="T58" fmla="*/ 88 w 143"/>
              <a:gd name="T59" fmla="*/ 76 h 218"/>
              <a:gd name="T60" fmla="*/ 97 w 143"/>
              <a:gd name="T61" fmla="*/ 64 h 218"/>
              <a:gd name="T62" fmla="*/ 84 w 143"/>
              <a:gd name="T63" fmla="*/ 64 h 218"/>
              <a:gd name="T64" fmla="*/ 73 w 143"/>
              <a:gd name="T65" fmla="*/ 59 h 218"/>
              <a:gd name="T66" fmla="*/ 62 w 143"/>
              <a:gd name="T67" fmla="*/ 55 h 218"/>
              <a:gd name="T68" fmla="*/ 52 w 143"/>
              <a:gd name="T69" fmla="*/ 52 h 218"/>
              <a:gd name="T70" fmla="*/ 41 w 143"/>
              <a:gd name="T71" fmla="*/ 47 h 218"/>
              <a:gd name="T72" fmla="*/ 32 w 143"/>
              <a:gd name="T73" fmla="*/ 36 h 218"/>
              <a:gd name="T74" fmla="*/ 23 w 143"/>
              <a:gd name="T75" fmla="*/ 24 h 218"/>
              <a:gd name="T76" fmla="*/ 25 w 143"/>
              <a:gd name="T77" fmla="*/ 16 h 218"/>
              <a:gd name="T78" fmla="*/ 29 w 143"/>
              <a:gd name="T79" fmla="*/ 7 h 218"/>
              <a:gd name="T80" fmla="*/ 37 w 143"/>
              <a:gd name="T81" fmla="*/ 16 h 218"/>
              <a:gd name="T82" fmla="*/ 46 w 143"/>
              <a:gd name="T83" fmla="*/ 24 h 218"/>
              <a:gd name="T84" fmla="*/ 64 w 143"/>
              <a:gd name="T85" fmla="*/ 18 h 218"/>
              <a:gd name="T86" fmla="*/ 77 w 143"/>
              <a:gd name="T87" fmla="*/ 19 h 218"/>
              <a:gd name="T88" fmla="*/ 90 w 143"/>
              <a:gd name="T89" fmla="*/ 13 h 218"/>
              <a:gd name="T90" fmla="*/ 110 w 143"/>
              <a:gd name="T91" fmla="*/ 8 h 218"/>
              <a:gd name="T92" fmla="*/ 130 w 143"/>
              <a:gd name="T93" fmla="*/ 4 h 218"/>
              <a:gd name="T94" fmla="*/ 137 w 143"/>
              <a:gd name="T95" fmla="*/ 0 h 218"/>
              <a:gd name="T96" fmla="*/ 142 w 143"/>
              <a:gd name="T97" fmla="*/ 5 h 218"/>
              <a:gd name="T98" fmla="*/ 140 w 143"/>
              <a:gd name="T99" fmla="*/ 24 h 218"/>
              <a:gd name="T100" fmla="*/ 143 w 143"/>
              <a:gd name="T101" fmla="*/ 24 h 218"/>
              <a:gd name="T102" fmla="*/ 138 w 143"/>
              <a:gd name="T103" fmla="*/ 30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3" h="218">
                <a:moveTo>
                  <a:pt x="138" y="30"/>
                </a:moveTo>
                <a:lnTo>
                  <a:pt x="133" y="48"/>
                </a:lnTo>
                <a:lnTo>
                  <a:pt x="124" y="67"/>
                </a:lnTo>
                <a:lnTo>
                  <a:pt x="114" y="86"/>
                </a:lnTo>
                <a:lnTo>
                  <a:pt x="104" y="106"/>
                </a:lnTo>
                <a:lnTo>
                  <a:pt x="95" y="125"/>
                </a:lnTo>
                <a:lnTo>
                  <a:pt x="86" y="133"/>
                </a:lnTo>
                <a:lnTo>
                  <a:pt x="78" y="143"/>
                </a:lnTo>
                <a:lnTo>
                  <a:pt x="70" y="151"/>
                </a:lnTo>
                <a:lnTo>
                  <a:pt x="61" y="160"/>
                </a:lnTo>
                <a:lnTo>
                  <a:pt x="52" y="170"/>
                </a:lnTo>
                <a:lnTo>
                  <a:pt x="41" y="180"/>
                </a:lnTo>
                <a:lnTo>
                  <a:pt x="31" y="190"/>
                </a:lnTo>
                <a:lnTo>
                  <a:pt x="22" y="199"/>
                </a:lnTo>
                <a:lnTo>
                  <a:pt x="14" y="209"/>
                </a:lnTo>
                <a:lnTo>
                  <a:pt x="8" y="218"/>
                </a:lnTo>
                <a:lnTo>
                  <a:pt x="0" y="206"/>
                </a:lnTo>
                <a:lnTo>
                  <a:pt x="0" y="191"/>
                </a:lnTo>
                <a:lnTo>
                  <a:pt x="0" y="176"/>
                </a:lnTo>
                <a:lnTo>
                  <a:pt x="0" y="161"/>
                </a:lnTo>
                <a:lnTo>
                  <a:pt x="0" y="146"/>
                </a:lnTo>
                <a:lnTo>
                  <a:pt x="6" y="137"/>
                </a:lnTo>
                <a:lnTo>
                  <a:pt x="12" y="128"/>
                </a:lnTo>
                <a:lnTo>
                  <a:pt x="19" y="125"/>
                </a:lnTo>
                <a:lnTo>
                  <a:pt x="34" y="115"/>
                </a:lnTo>
                <a:lnTo>
                  <a:pt x="44" y="114"/>
                </a:lnTo>
                <a:lnTo>
                  <a:pt x="55" y="113"/>
                </a:lnTo>
                <a:lnTo>
                  <a:pt x="66" y="101"/>
                </a:lnTo>
                <a:lnTo>
                  <a:pt x="77" y="89"/>
                </a:lnTo>
                <a:lnTo>
                  <a:pt x="88" y="76"/>
                </a:lnTo>
                <a:lnTo>
                  <a:pt x="97" y="64"/>
                </a:lnTo>
                <a:lnTo>
                  <a:pt x="84" y="64"/>
                </a:lnTo>
                <a:lnTo>
                  <a:pt x="73" y="59"/>
                </a:lnTo>
                <a:lnTo>
                  <a:pt x="62" y="55"/>
                </a:lnTo>
                <a:lnTo>
                  <a:pt x="52" y="52"/>
                </a:lnTo>
                <a:lnTo>
                  <a:pt x="41" y="47"/>
                </a:lnTo>
                <a:lnTo>
                  <a:pt x="32" y="36"/>
                </a:lnTo>
                <a:lnTo>
                  <a:pt x="23" y="24"/>
                </a:lnTo>
                <a:lnTo>
                  <a:pt x="25" y="16"/>
                </a:lnTo>
                <a:lnTo>
                  <a:pt x="29" y="7"/>
                </a:lnTo>
                <a:lnTo>
                  <a:pt x="37" y="16"/>
                </a:lnTo>
                <a:lnTo>
                  <a:pt x="46" y="24"/>
                </a:lnTo>
                <a:lnTo>
                  <a:pt x="64" y="18"/>
                </a:lnTo>
                <a:lnTo>
                  <a:pt x="77" y="19"/>
                </a:lnTo>
                <a:lnTo>
                  <a:pt x="90" y="13"/>
                </a:lnTo>
                <a:lnTo>
                  <a:pt x="110" y="8"/>
                </a:lnTo>
                <a:lnTo>
                  <a:pt x="130" y="4"/>
                </a:lnTo>
                <a:lnTo>
                  <a:pt x="137" y="0"/>
                </a:lnTo>
                <a:lnTo>
                  <a:pt x="142" y="5"/>
                </a:lnTo>
                <a:lnTo>
                  <a:pt x="140" y="24"/>
                </a:lnTo>
                <a:lnTo>
                  <a:pt x="143" y="24"/>
                </a:lnTo>
                <a:lnTo>
                  <a:pt x="138" y="3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7" name="Freeform 121">
            <a:extLst>
              <a:ext uri="{FF2B5EF4-FFF2-40B4-BE49-F238E27FC236}">
                <a16:creationId xmlns:a16="http://schemas.microsoft.com/office/drawing/2014/main" id="{C0B3AC1C-2948-4D56-AF08-21BE3A4D8CB0}"/>
              </a:ext>
            </a:extLst>
          </p:cNvPr>
          <p:cNvSpPr>
            <a:spLocks/>
          </p:cNvSpPr>
          <p:nvPr/>
        </p:nvSpPr>
        <p:spPr bwMode="gray">
          <a:xfrm>
            <a:off x="5003976" y="3236389"/>
            <a:ext cx="440462" cy="683454"/>
          </a:xfrm>
          <a:custGeom>
            <a:avLst/>
            <a:gdLst>
              <a:gd name="T0" fmla="*/ 28 w 232"/>
              <a:gd name="T1" fmla="*/ 50 h 316"/>
              <a:gd name="T2" fmla="*/ 41 w 232"/>
              <a:gd name="T3" fmla="*/ 35 h 316"/>
              <a:gd name="T4" fmla="*/ 52 w 232"/>
              <a:gd name="T5" fmla="*/ 18 h 316"/>
              <a:gd name="T6" fmla="*/ 73 w 232"/>
              <a:gd name="T7" fmla="*/ 18 h 316"/>
              <a:gd name="T8" fmla="*/ 95 w 232"/>
              <a:gd name="T9" fmla="*/ 18 h 316"/>
              <a:gd name="T10" fmla="*/ 117 w 232"/>
              <a:gd name="T11" fmla="*/ 18 h 316"/>
              <a:gd name="T12" fmla="*/ 130 w 232"/>
              <a:gd name="T13" fmla="*/ 14 h 316"/>
              <a:gd name="T14" fmla="*/ 148 w 232"/>
              <a:gd name="T15" fmla="*/ 20 h 316"/>
              <a:gd name="T16" fmla="*/ 168 w 232"/>
              <a:gd name="T17" fmla="*/ 14 h 316"/>
              <a:gd name="T18" fmla="*/ 178 w 232"/>
              <a:gd name="T19" fmla="*/ 5 h 316"/>
              <a:gd name="T20" fmla="*/ 187 w 232"/>
              <a:gd name="T21" fmla="*/ 0 h 316"/>
              <a:gd name="T22" fmla="*/ 205 w 232"/>
              <a:gd name="T23" fmla="*/ 20 h 316"/>
              <a:gd name="T24" fmla="*/ 214 w 232"/>
              <a:gd name="T25" fmla="*/ 52 h 316"/>
              <a:gd name="T26" fmla="*/ 232 w 232"/>
              <a:gd name="T27" fmla="*/ 85 h 316"/>
              <a:gd name="T28" fmla="*/ 214 w 232"/>
              <a:gd name="T29" fmla="*/ 98 h 316"/>
              <a:gd name="T30" fmla="*/ 207 w 232"/>
              <a:gd name="T31" fmla="*/ 140 h 316"/>
              <a:gd name="T32" fmla="*/ 191 w 232"/>
              <a:gd name="T33" fmla="*/ 179 h 316"/>
              <a:gd name="T34" fmla="*/ 179 w 232"/>
              <a:gd name="T35" fmla="*/ 198 h 316"/>
              <a:gd name="T36" fmla="*/ 175 w 232"/>
              <a:gd name="T37" fmla="*/ 234 h 316"/>
              <a:gd name="T38" fmla="*/ 161 w 232"/>
              <a:gd name="T39" fmla="*/ 244 h 316"/>
              <a:gd name="T40" fmla="*/ 180 w 232"/>
              <a:gd name="T41" fmla="*/ 260 h 316"/>
              <a:gd name="T42" fmla="*/ 191 w 232"/>
              <a:gd name="T43" fmla="*/ 281 h 316"/>
              <a:gd name="T44" fmla="*/ 203 w 232"/>
              <a:gd name="T45" fmla="*/ 298 h 316"/>
              <a:gd name="T46" fmla="*/ 181 w 232"/>
              <a:gd name="T47" fmla="*/ 298 h 316"/>
              <a:gd name="T48" fmla="*/ 168 w 232"/>
              <a:gd name="T49" fmla="*/ 312 h 316"/>
              <a:gd name="T50" fmla="*/ 147 w 232"/>
              <a:gd name="T51" fmla="*/ 314 h 316"/>
              <a:gd name="T52" fmla="*/ 132 w 232"/>
              <a:gd name="T53" fmla="*/ 313 h 316"/>
              <a:gd name="T54" fmla="*/ 121 w 232"/>
              <a:gd name="T55" fmla="*/ 306 h 316"/>
              <a:gd name="T56" fmla="*/ 106 w 232"/>
              <a:gd name="T57" fmla="*/ 301 h 316"/>
              <a:gd name="T58" fmla="*/ 85 w 232"/>
              <a:gd name="T59" fmla="*/ 295 h 316"/>
              <a:gd name="T60" fmla="*/ 81 w 232"/>
              <a:gd name="T61" fmla="*/ 287 h 316"/>
              <a:gd name="T62" fmla="*/ 66 w 232"/>
              <a:gd name="T63" fmla="*/ 268 h 316"/>
              <a:gd name="T64" fmla="*/ 52 w 232"/>
              <a:gd name="T65" fmla="*/ 248 h 316"/>
              <a:gd name="T66" fmla="*/ 36 w 232"/>
              <a:gd name="T67" fmla="*/ 234 h 316"/>
              <a:gd name="T68" fmla="*/ 28 w 232"/>
              <a:gd name="T69" fmla="*/ 216 h 316"/>
              <a:gd name="T70" fmla="*/ 16 w 232"/>
              <a:gd name="T71" fmla="*/ 197 h 316"/>
              <a:gd name="T72" fmla="*/ 12 w 232"/>
              <a:gd name="T73" fmla="*/ 179 h 316"/>
              <a:gd name="T74" fmla="*/ 0 w 232"/>
              <a:gd name="T75" fmla="*/ 166 h 316"/>
              <a:gd name="T76" fmla="*/ 7 w 232"/>
              <a:gd name="T77" fmla="*/ 146 h 316"/>
              <a:gd name="T78" fmla="*/ 9 w 232"/>
              <a:gd name="T79" fmla="*/ 137 h 316"/>
              <a:gd name="T80" fmla="*/ 21 w 232"/>
              <a:gd name="T81" fmla="*/ 120 h 316"/>
              <a:gd name="T82" fmla="*/ 30 w 232"/>
              <a:gd name="T83" fmla="*/ 104 h 316"/>
              <a:gd name="T84" fmla="*/ 29 w 232"/>
              <a:gd name="T85" fmla="*/ 73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32" h="316">
                <a:moveTo>
                  <a:pt x="28" y="59"/>
                </a:moveTo>
                <a:lnTo>
                  <a:pt x="28" y="50"/>
                </a:lnTo>
                <a:lnTo>
                  <a:pt x="42" y="50"/>
                </a:lnTo>
                <a:lnTo>
                  <a:pt x="41" y="35"/>
                </a:lnTo>
                <a:lnTo>
                  <a:pt x="41" y="18"/>
                </a:lnTo>
                <a:lnTo>
                  <a:pt x="52" y="18"/>
                </a:lnTo>
                <a:lnTo>
                  <a:pt x="63" y="18"/>
                </a:lnTo>
                <a:lnTo>
                  <a:pt x="73" y="18"/>
                </a:lnTo>
                <a:lnTo>
                  <a:pt x="84" y="18"/>
                </a:lnTo>
                <a:lnTo>
                  <a:pt x="95" y="18"/>
                </a:lnTo>
                <a:lnTo>
                  <a:pt x="106" y="18"/>
                </a:lnTo>
                <a:lnTo>
                  <a:pt x="117" y="18"/>
                </a:lnTo>
                <a:lnTo>
                  <a:pt x="127" y="18"/>
                </a:lnTo>
                <a:lnTo>
                  <a:pt x="130" y="14"/>
                </a:lnTo>
                <a:lnTo>
                  <a:pt x="130" y="18"/>
                </a:lnTo>
                <a:lnTo>
                  <a:pt x="148" y="20"/>
                </a:lnTo>
                <a:lnTo>
                  <a:pt x="165" y="22"/>
                </a:lnTo>
                <a:lnTo>
                  <a:pt x="168" y="14"/>
                </a:lnTo>
                <a:lnTo>
                  <a:pt x="175" y="13"/>
                </a:lnTo>
                <a:lnTo>
                  <a:pt x="178" y="5"/>
                </a:lnTo>
                <a:lnTo>
                  <a:pt x="183" y="6"/>
                </a:lnTo>
                <a:lnTo>
                  <a:pt x="187" y="0"/>
                </a:lnTo>
                <a:lnTo>
                  <a:pt x="197" y="11"/>
                </a:lnTo>
                <a:lnTo>
                  <a:pt x="205" y="20"/>
                </a:lnTo>
                <a:lnTo>
                  <a:pt x="210" y="32"/>
                </a:lnTo>
                <a:lnTo>
                  <a:pt x="214" y="52"/>
                </a:lnTo>
                <a:lnTo>
                  <a:pt x="219" y="71"/>
                </a:lnTo>
                <a:lnTo>
                  <a:pt x="232" y="85"/>
                </a:lnTo>
                <a:lnTo>
                  <a:pt x="222" y="91"/>
                </a:lnTo>
                <a:lnTo>
                  <a:pt x="214" y="98"/>
                </a:lnTo>
                <a:lnTo>
                  <a:pt x="209" y="119"/>
                </a:lnTo>
                <a:lnTo>
                  <a:pt x="207" y="140"/>
                </a:lnTo>
                <a:lnTo>
                  <a:pt x="205" y="152"/>
                </a:lnTo>
                <a:lnTo>
                  <a:pt x="191" y="179"/>
                </a:lnTo>
                <a:lnTo>
                  <a:pt x="187" y="197"/>
                </a:lnTo>
                <a:lnTo>
                  <a:pt x="179" y="198"/>
                </a:lnTo>
                <a:lnTo>
                  <a:pt x="178" y="216"/>
                </a:lnTo>
                <a:lnTo>
                  <a:pt x="175" y="234"/>
                </a:lnTo>
                <a:lnTo>
                  <a:pt x="166" y="236"/>
                </a:lnTo>
                <a:lnTo>
                  <a:pt x="161" y="244"/>
                </a:lnTo>
                <a:lnTo>
                  <a:pt x="166" y="247"/>
                </a:lnTo>
                <a:lnTo>
                  <a:pt x="180" y="260"/>
                </a:lnTo>
                <a:lnTo>
                  <a:pt x="185" y="271"/>
                </a:lnTo>
                <a:lnTo>
                  <a:pt x="191" y="281"/>
                </a:lnTo>
                <a:lnTo>
                  <a:pt x="199" y="286"/>
                </a:lnTo>
                <a:lnTo>
                  <a:pt x="203" y="298"/>
                </a:lnTo>
                <a:lnTo>
                  <a:pt x="192" y="298"/>
                </a:lnTo>
                <a:lnTo>
                  <a:pt x="181" y="298"/>
                </a:lnTo>
                <a:lnTo>
                  <a:pt x="175" y="304"/>
                </a:lnTo>
                <a:lnTo>
                  <a:pt x="168" y="312"/>
                </a:lnTo>
                <a:lnTo>
                  <a:pt x="153" y="312"/>
                </a:lnTo>
                <a:lnTo>
                  <a:pt x="147" y="314"/>
                </a:lnTo>
                <a:lnTo>
                  <a:pt x="143" y="312"/>
                </a:lnTo>
                <a:lnTo>
                  <a:pt x="132" y="313"/>
                </a:lnTo>
                <a:lnTo>
                  <a:pt x="131" y="316"/>
                </a:lnTo>
                <a:lnTo>
                  <a:pt x="121" y="306"/>
                </a:lnTo>
                <a:lnTo>
                  <a:pt x="111" y="296"/>
                </a:lnTo>
                <a:lnTo>
                  <a:pt x="106" y="301"/>
                </a:lnTo>
                <a:lnTo>
                  <a:pt x="97" y="301"/>
                </a:lnTo>
                <a:lnTo>
                  <a:pt x="85" y="295"/>
                </a:lnTo>
                <a:lnTo>
                  <a:pt x="83" y="292"/>
                </a:lnTo>
                <a:lnTo>
                  <a:pt x="81" y="287"/>
                </a:lnTo>
                <a:lnTo>
                  <a:pt x="72" y="276"/>
                </a:lnTo>
                <a:lnTo>
                  <a:pt x="66" y="268"/>
                </a:lnTo>
                <a:lnTo>
                  <a:pt x="54" y="256"/>
                </a:lnTo>
                <a:lnTo>
                  <a:pt x="52" y="248"/>
                </a:lnTo>
                <a:lnTo>
                  <a:pt x="39" y="239"/>
                </a:lnTo>
                <a:lnTo>
                  <a:pt x="36" y="234"/>
                </a:lnTo>
                <a:lnTo>
                  <a:pt x="25" y="232"/>
                </a:lnTo>
                <a:lnTo>
                  <a:pt x="28" y="216"/>
                </a:lnTo>
                <a:lnTo>
                  <a:pt x="22" y="206"/>
                </a:lnTo>
                <a:lnTo>
                  <a:pt x="16" y="197"/>
                </a:lnTo>
                <a:lnTo>
                  <a:pt x="15" y="187"/>
                </a:lnTo>
                <a:lnTo>
                  <a:pt x="12" y="179"/>
                </a:lnTo>
                <a:lnTo>
                  <a:pt x="6" y="167"/>
                </a:lnTo>
                <a:lnTo>
                  <a:pt x="0" y="166"/>
                </a:lnTo>
                <a:lnTo>
                  <a:pt x="6" y="154"/>
                </a:lnTo>
                <a:lnTo>
                  <a:pt x="7" y="146"/>
                </a:lnTo>
                <a:lnTo>
                  <a:pt x="9" y="143"/>
                </a:lnTo>
                <a:lnTo>
                  <a:pt x="9" y="137"/>
                </a:lnTo>
                <a:lnTo>
                  <a:pt x="16" y="124"/>
                </a:lnTo>
                <a:lnTo>
                  <a:pt x="21" y="120"/>
                </a:lnTo>
                <a:lnTo>
                  <a:pt x="30" y="120"/>
                </a:lnTo>
                <a:lnTo>
                  <a:pt x="30" y="104"/>
                </a:lnTo>
                <a:lnTo>
                  <a:pt x="29" y="89"/>
                </a:lnTo>
                <a:lnTo>
                  <a:pt x="29" y="73"/>
                </a:lnTo>
                <a:lnTo>
                  <a:pt x="28" y="5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8" name="Freeform 122">
            <a:extLst>
              <a:ext uri="{FF2B5EF4-FFF2-40B4-BE49-F238E27FC236}">
                <a16:creationId xmlns:a16="http://schemas.microsoft.com/office/drawing/2014/main" id="{BFAF7A69-8964-4EB0-8F1D-6A2113F1A9E3}"/>
              </a:ext>
            </a:extLst>
          </p:cNvPr>
          <p:cNvSpPr>
            <a:spLocks/>
          </p:cNvSpPr>
          <p:nvPr/>
        </p:nvSpPr>
        <p:spPr bwMode="gray">
          <a:xfrm>
            <a:off x="5203559" y="4124295"/>
            <a:ext cx="49896" cy="73992"/>
          </a:xfrm>
          <a:custGeom>
            <a:avLst/>
            <a:gdLst>
              <a:gd name="T0" fmla="*/ 22 w 26"/>
              <a:gd name="T1" fmla="*/ 10 h 35"/>
              <a:gd name="T2" fmla="*/ 22 w 26"/>
              <a:gd name="T3" fmla="*/ 1 h 35"/>
              <a:gd name="T4" fmla="*/ 14 w 26"/>
              <a:gd name="T5" fmla="*/ 0 h 35"/>
              <a:gd name="T6" fmla="*/ 13 w 26"/>
              <a:gd name="T7" fmla="*/ 6 h 35"/>
              <a:gd name="T8" fmla="*/ 1 w 26"/>
              <a:gd name="T9" fmla="*/ 6 h 35"/>
              <a:gd name="T10" fmla="*/ 0 w 26"/>
              <a:gd name="T11" fmla="*/ 7 h 35"/>
              <a:gd name="T12" fmla="*/ 1 w 26"/>
              <a:gd name="T13" fmla="*/ 9 h 35"/>
              <a:gd name="T14" fmla="*/ 3 w 26"/>
              <a:gd name="T15" fmla="*/ 22 h 35"/>
              <a:gd name="T16" fmla="*/ 6 w 26"/>
              <a:gd name="T17" fmla="*/ 35 h 35"/>
              <a:gd name="T18" fmla="*/ 9 w 26"/>
              <a:gd name="T19" fmla="*/ 35 h 35"/>
              <a:gd name="T20" fmla="*/ 18 w 26"/>
              <a:gd name="T21" fmla="*/ 24 h 35"/>
              <a:gd name="T22" fmla="*/ 26 w 26"/>
              <a:gd name="T23" fmla="*/ 15 h 35"/>
              <a:gd name="T24" fmla="*/ 22 w 26"/>
              <a:gd name="T25" fmla="*/ 1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6" h="35">
                <a:moveTo>
                  <a:pt x="22" y="10"/>
                </a:moveTo>
                <a:lnTo>
                  <a:pt x="22" y="1"/>
                </a:lnTo>
                <a:lnTo>
                  <a:pt x="14" y="0"/>
                </a:lnTo>
                <a:lnTo>
                  <a:pt x="13" y="6"/>
                </a:lnTo>
                <a:lnTo>
                  <a:pt x="1" y="6"/>
                </a:lnTo>
                <a:lnTo>
                  <a:pt x="0" y="7"/>
                </a:lnTo>
                <a:lnTo>
                  <a:pt x="1" y="9"/>
                </a:lnTo>
                <a:lnTo>
                  <a:pt x="3" y="22"/>
                </a:lnTo>
                <a:lnTo>
                  <a:pt x="6" y="35"/>
                </a:lnTo>
                <a:lnTo>
                  <a:pt x="9" y="35"/>
                </a:lnTo>
                <a:lnTo>
                  <a:pt x="18" y="24"/>
                </a:lnTo>
                <a:lnTo>
                  <a:pt x="26" y="15"/>
                </a:lnTo>
                <a:lnTo>
                  <a:pt x="22" y="1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9" name="Freeform 123">
            <a:extLst>
              <a:ext uri="{FF2B5EF4-FFF2-40B4-BE49-F238E27FC236}">
                <a16:creationId xmlns:a16="http://schemas.microsoft.com/office/drawing/2014/main" id="{F8AFE64C-BCF6-4BF3-881E-6D257B458D38}"/>
              </a:ext>
            </a:extLst>
          </p:cNvPr>
          <p:cNvSpPr>
            <a:spLocks/>
          </p:cNvSpPr>
          <p:nvPr/>
        </p:nvSpPr>
        <p:spPr bwMode="gray">
          <a:xfrm>
            <a:off x="4716642" y="3915948"/>
            <a:ext cx="203028" cy="299863"/>
          </a:xfrm>
          <a:custGeom>
            <a:avLst/>
            <a:gdLst>
              <a:gd name="T0" fmla="*/ 20 w 106"/>
              <a:gd name="T1" fmla="*/ 98 h 138"/>
              <a:gd name="T2" fmla="*/ 6 w 106"/>
              <a:gd name="T3" fmla="*/ 99 h 138"/>
              <a:gd name="T4" fmla="*/ 8 w 106"/>
              <a:gd name="T5" fmla="*/ 102 h 138"/>
              <a:gd name="T6" fmla="*/ 9 w 106"/>
              <a:gd name="T7" fmla="*/ 107 h 138"/>
              <a:gd name="T8" fmla="*/ 11 w 106"/>
              <a:gd name="T9" fmla="*/ 114 h 138"/>
              <a:gd name="T10" fmla="*/ 9 w 106"/>
              <a:gd name="T11" fmla="*/ 117 h 138"/>
              <a:gd name="T12" fmla="*/ 5 w 106"/>
              <a:gd name="T13" fmla="*/ 114 h 138"/>
              <a:gd name="T14" fmla="*/ 0 w 106"/>
              <a:gd name="T15" fmla="*/ 122 h 138"/>
              <a:gd name="T16" fmla="*/ 12 w 106"/>
              <a:gd name="T17" fmla="*/ 138 h 138"/>
              <a:gd name="T18" fmla="*/ 22 w 106"/>
              <a:gd name="T19" fmla="*/ 130 h 138"/>
              <a:gd name="T20" fmla="*/ 28 w 106"/>
              <a:gd name="T21" fmla="*/ 132 h 138"/>
              <a:gd name="T22" fmla="*/ 35 w 106"/>
              <a:gd name="T23" fmla="*/ 135 h 138"/>
              <a:gd name="T24" fmla="*/ 39 w 106"/>
              <a:gd name="T25" fmla="*/ 130 h 138"/>
              <a:gd name="T26" fmla="*/ 47 w 106"/>
              <a:gd name="T27" fmla="*/ 129 h 138"/>
              <a:gd name="T28" fmla="*/ 48 w 106"/>
              <a:gd name="T29" fmla="*/ 136 h 138"/>
              <a:gd name="T30" fmla="*/ 59 w 106"/>
              <a:gd name="T31" fmla="*/ 126 h 138"/>
              <a:gd name="T32" fmla="*/ 70 w 106"/>
              <a:gd name="T33" fmla="*/ 116 h 138"/>
              <a:gd name="T34" fmla="*/ 72 w 106"/>
              <a:gd name="T35" fmla="*/ 102 h 138"/>
              <a:gd name="T36" fmla="*/ 75 w 106"/>
              <a:gd name="T37" fmla="*/ 90 h 138"/>
              <a:gd name="T38" fmla="*/ 84 w 106"/>
              <a:gd name="T39" fmla="*/ 77 h 138"/>
              <a:gd name="T40" fmla="*/ 94 w 106"/>
              <a:gd name="T41" fmla="*/ 64 h 138"/>
              <a:gd name="T42" fmla="*/ 96 w 106"/>
              <a:gd name="T43" fmla="*/ 52 h 138"/>
              <a:gd name="T44" fmla="*/ 99 w 106"/>
              <a:gd name="T45" fmla="*/ 40 h 138"/>
              <a:gd name="T46" fmla="*/ 100 w 106"/>
              <a:gd name="T47" fmla="*/ 28 h 138"/>
              <a:gd name="T48" fmla="*/ 102 w 106"/>
              <a:gd name="T49" fmla="*/ 16 h 138"/>
              <a:gd name="T50" fmla="*/ 106 w 106"/>
              <a:gd name="T51" fmla="*/ 2 h 138"/>
              <a:gd name="T52" fmla="*/ 95 w 106"/>
              <a:gd name="T53" fmla="*/ 2 h 138"/>
              <a:gd name="T54" fmla="*/ 84 w 106"/>
              <a:gd name="T55" fmla="*/ 0 h 138"/>
              <a:gd name="T56" fmla="*/ 77 w 106"/>
              <a:gd name="T57" fmla="*/ 5 h 138"/>
              <a:gd name="T58" fmla="*/ 72 w 106"/>
              <a:gd name="T59" fmla="*/ 22 h 138"/>
              <a:gd name="T60" fmla="*/ 69 w 106"/>
              <a:gd name="T61" fmla="*/ 29 h 138"/>
              <a:gd name="T62" fmla="*/ 57 w 106"/>
              <a:gd name="T63" fmla="*/ 27 h 138"/>
              <a:gd name="T64" fmla="*/ 45 w 106"/>
              <a:gd name="T65" fmla="*/ 23 h 138"/>
              <a:gd name="T66" fmla="*/ 30 w 106"/>
              <a:gd name="T67" fmla="*/ 23 h 138"/>
              <a:gd name="T68" fmla="*/ 29 w 106"/>
              <a:gd name="T69" fmla="*/ 39 h 138"/>
              <a:gd name="T70" fmla="*/ 45 w 106"/>
              <a:gd name="T71" fmla="*/ 38 h 138"/>
              <a:gd name="T72" fmla="*/ 46 w 106"/>
              <a:gd name="T73" fmla="*/ 48 h 138"/>
              <a:gd name="T74" fmla="*/ 40 w 106"/>
              <a:gd name="T75" fmla="*/ 57 h 138"/>
              <a:gd name="T76" fmla="*/ 47 w 106"/>
              <a:gd name="T77" fmla="*/ 71 h 138"/>
              <a:gd name="T78" fmla="*/ 44 w 106"/>
              <a:gd name="T79" fmla="*/ 93 h 138"/>
              <a:gd name="T80" fmla="*/ 39 w 106"/>
              <a:gd name="T81" fmla="*/ 98 h 138"/>
              <a:gd name="T82" fmla="*/ 36 w 106"/>
              <a:gd name="T83" fmla="*/ 93 h 138"/>
              <a:gd name="T84" fmla="*/ 29 w 106"/>
              <a:gd name="T85" fmla="*/ 96 h 138"/>
              <a:gd name="T86" fmla="*/ 21 w 106"/>
              <a:gd name="T87" fmla="*/ 87 h 138"/>
              <a:gd name="T88" fmla="*/ 20 w 106"/>
              <a:gd name="T89" fmla="*/ 9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06" h="138">
                <a:moveTo>
                  <a:pt x="20" y="98"/>
                </a:moveTo>
                <a:lnTo>
                  <a:pt x="6" y="99"/>
                </a:lnTo>
                <a:lnTo>
                  <a:pt x="8" y="102"/>
                </a:lnTo>
                <a:lnTo>
                  <a:pt x="9" y="107"/>
                </a:lnTo>
                <a:lnTo>
                  <a:pt x="11" y="114"/>
                </a:lnTo>
                <a:lnTo>
                  <a:pt x="9" y="117"/>
                </a:lnTo>
                <a:lnTo>
                  <a:pt x="5" y="114"/>
                </a:lnTo>
                <a:lnTo>
                  <a:pt x="0" y="122"/>
                </a:lnTo>
                <a:lnTo>
                  <a:pt x="12" y="138"/>
                </a:lnTo>
                <a:lnTo>
                  <a:pt x="22" y="130"/>
                </a:lnTo>
                <a:lnTo>
                  <a:pt x="28" y="132"/>
                </a:lnTo>
                <a:lnTo>
                  <a:pt x="35" y="135"/>
                </a:lnTo>
                <a:lnTo>
                  <a:pt x="39" y="130"/>
                </a:lnTo>
                <a:lnTo>
                  <a:pt x="47" y="129"/>
                </a:lnTo>
                <a:lnTo>
                  <a:pt x="48" y="136"/>
                </a:lnTo>
                <a:lnTo>
                  <a:pt x="59" y="126"/>
                </a:lnTo>
                <a:lnTo>
                  <a:pt x="70" y="116"/>
                </a:lnTo>
                <a:lnTo>
                  <a:pt x="72" y="102"/>
                </a:lnTo>
                <a:lnTo>
                  <a:pt x="75" y="90"/>
                </a:lnTo>
                <a:lnTo>
                  <a:pt x="84" y="77"/>
                </a:lnTo>
                <a:lnTo>
                  <a:pt x="94" y="64"/>
                </a:lnTo>
                <a:lnTo>
                  <a:pt x="96" y="52"/>
                </a:lnTo>
                <a:lnTo>
                  <a:pt x="99" y="40"/>
                </a:lnTo>
                <a:lnTo>
                  <a:pt x="100" y="28"/>
                </a:lnTo>
                <a:lnTo>
                  <a:pt x="102" y="16"/>
                </a:lnTo>
                <a:lnTo>
                  <a:pt x="106" y="2"/>
                </a:lnTo>
                <a:lnTo>
                  <a:pt x="95" y="2"/>
                </a:lnTo>
                <a:lnTo>
                  <a:pt x="84" y="0"/>
                </a:lnTo>
                <a:lnTo>
                  <a:pt x="77" y="5"/>
                </a:lnTo>
                <a:lnTo>
                  <a:pt x="72" y="22"/>
                </a:lnTo>
                <a:lnTo>
                  <a:pt x="69" y="29"/>
                </a:lnTo>
                <a:lnTo>
                  <a:pt x="57" y="27"/>
                </a:lnTo>
                <a:lnTo>
                  <a:pt x="45" y="23"/>
                </a:lnTo>
                <a:lnTo>
                  <a:pt x="30" y="23"/>
                </a:lnTo>
                <a:lnTo>
                  <a:pt x="29" y="39"/>
                </a:lnTo>
                <a:lnTo>
                  <a:pt x="45" y="38"/>
                </a:lnTo>
                <a:lnTo>
                  <a:pt x="46" y="48"/>
                </a:lnTo>
                <a:lnTo>
                  <a:pt x="40" y="57"/>
                </a:lnTo>
                <a:lnTo>
                  <a:pt x="47" y="71"/>
                </a:lnTo>
                <a:lnTo>
                  <a:pt x="44" y="93"/>
                </a:lnTo>
                <a:lnTo>
                  <a:pt x="39" y="98"/>
                </a:lnTo>
                <a:lnTo>
                  <a:pt x="36" y="93"/>
                </a:lnTo>
                <a:lnTo>
                  <a:pt x="29" y="96"/>
                </a:lnTo>
                <a:lnTo>
                  <a:pt x="21" y="87"/>
                </a:lnTo>
                <a:lnTo>
                  <a:pt x="20" y="9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0" name="Freeform 124">
            <a:extLst>
              <a:ext uri="{FF2B5EF4-FFF2-40B4-BE49-F238E27FC236}">
                <a16:creationId xmlns:a16="http://schemas.microsoft.com/office/drawing/2014/main" id="{9F7D4750-D687-4C7B-91E6-62BE1EBAD6F3}"/>
              </a:ext>
            </a:extLst>
          </p:cNvPr>
          <p:cNvSpPr>
            <a:spLocks/>
          </p:cNvSpPr>
          <p:nvPr/>
        </p:nvSpPr>
        <p:spPr bwMode="gray">
          <a:xfrm>
            <a:off x="5337762" y="3880900"/>
            <a:ext cx="213350" cy="325176"/>
          </a:xfrm>
          <a:custGeom>
            <a:avLst/>
            <a:gdLst>
              <a:gd name="T0" fmla="*/ 53 w 113"/>
              <a:gd name="T1" fmla="*/ 122 h 150"/>
              <a:gd name="T2" fmla="*/ 40 w 113"/>
              <a:gd name="T3" fmla="*/ 115 h 150"/>
              <a:gd name="T4" fmla="*/ 27 w 113"/>
              <a:gd name="T5" fmla="*/ 106 h 150"/>
              <a:gd name="T6" fmla="*/ 13 w 113"/>
              <a:gd name="T7" fmla="*/ 98 h 150"/>
              <a:gd name="T8" fmla="*/ 0 w 113"/>
              <a:gd name="T9" fmla="*/ 90 h 150"/>
              <a:gd name="T10" fmla="*/ 0 w 113"/>
              <a:gd name="T11" fmla="*/ 73 h 150"/>
              <a:gd name="T12" fmla="*/ 10 w 113"/>
              <a:gd name="T13" fmla="*/ 56 h 150"/>
              <a:gd name="T14" fmla="*/ 16 w 113"/>
              <a:gd name="T15" fmla="*/ 44 h 150"/>
              <a:gd name="T16" fmla="*/ 12 w 113"/>
              <a:gd name="T17" fmla="*/ 31 h 150"/>
              <a:gd name="T18" fmla="*/ 7 w 113"/>
              <a:gd name="T19" fmla="*/ 19 h 150"/>
              <a:gd name="T20" fmla="*/ 1 w 113"/>
              <a:gd name="T21" fmla="*/ 6 h 150"/>
              <a:gd name="T22" fmla="*/ 7 w 113"/>
              <a:gd name="T23" fmla="*/ 0 h 150"/>
              <a:gd name="T24" fmla="*/ 18 w 113"/>
              <a:gd name="T25" fmla="*/ 0 h 150"/>
              <a:gd name="T26" fmla="*/ 29 w 113"/>
              <a:gd name="T27" fmla="*/ 0 h 150"/>
              <a:gd name="T28" fmla="*/ 41 w 113"/>
              <a:gd name="T29" fmla="*/ 2 h 150"/>
              <a:gd name="T30" fmla="*/ 58 w 113"/>
              <a:gd name="T31" fmla="*/ 14 h 150"/>
              <a:gd name="T32" fmla="*/ 78 w 113"/>
              <a:gd name="T33" fmla="*/ 18 h 150"/>
              <a:gd name="T34" fmla="*/ 84 w 113"/>
              <a:gd name="T35" fmla="*/ 12 h 150"/>
              <a:gd name="T36" fmla="*/ 100 w 113"/>
              <a:gd name="T37" fmla="*/ 7 h 150"/>
              <a:gd name="T38" fmla="*/ 113 w 113"/>
              <a:gd name="T39" fmla="*/ 10 h 150"/>
              <a:gd name="T40" fmla="*/ 107 w 113"/>
              <a:gd name="T41" fmla="*/ 19 h 150"/>
              <a:gd name="T42" fmla="*/ 101 w 113"/>
              <a:gd name="T43" fmla="*/ 28 h 150"/>
              <a:gd name="T44" fmla="*/ 101 w 113"/>
              <a:gd name="T45" fmla="*/ 43 h 150"/>
              <a:gd name="T46" fmla="*/ 101 w 113"/>
              <a:gd name="T47" fmla="*/ 58 h 150"/>
              <a:gd name="T48" fmla="*/ 101 w 113"/>
              <a:gd name="T49" fmla="*/ 73 h 150"/>
              <a:gd name="T50" fmla="*/ 101 w 113"/>
              <a:gd name="T51" fmla="*/ 88 h 150"/>
              <a:gd name="T52" fmla="*/ 109 w 113"/>
              <a:gd name="T53" fmla="*/ 100 h 150"/>
              <a:gd name="T54" fmla="*/ 101 w 113"/>
              <a:gd name="T55" fmla="*/ 105 h 150"/>
              <a:gd name="T56" fmla="*/ 95 w 113"/>
              <a:gd name="T57" fmla="*/ 115 h 150"/>
              <a:gd name="T58" fmla="*/ 89 w 113"/>
              <a:gd name="T59" fmla="*/ 121 h 150"/>
              <a:gd name="T60" fmla="*/ 83 w 113"/>
              <a:gd name="T61" fmla="*/ 134 h 150"/>
              <a:gd name="T62" fmla="*/ 77 w 113"/>
              <a:gd name="T63" fmla="*/ 148 h 150"/>
              <a:gd name="T64" fmla="*/ 75 w 113"/>
              <a:gd name="T65" fmla="*/ 150 h 150"/>
              <a:gd name="T66" fmla="*/ 65 w 113"/>
              <a:gd name="T67" fmla="*/ 139 h 150"/>
              <a:gd name="T68" fmla="*/ 54 w 113"/>
              <a:gd name="T69" fmla="*/ 128 h 150"/>
              <a:gd name="T70" fmla="*/ 53 w 113"/>
              <a:gd name="T71" fmla="*/ 122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13" h="150">
                <a:moveTo>
                  <a:pt x="53" y="122"/>
                </a:moveTo>
                <a:lnTo>
                  <a:pt x="40" y="115"/>
                </a:lnTo>
                <a:lnTo>
                  <a:pt x="27" y="106"/>
                </a:lnTo>
                <a:lnTo>
                  <a:pt x="13" y="98"/>
                </a:lnTo>
                <a:lnTo>
                  <a:pt x="0" y="90"/>
                </a:lnTo>
                <a:lnTo>
                  <a:pt x="0" y="73"/>
                </a:lnTo>
                <a:lnTo>
                  <a:pt x="10" y="56"/>
                </a:lnTo>
                <a:lnTo>
                  <a:pt x="16" y="44"/>
                </a:lnTo>
                <a:lnTo>
                  <a:pt x="12" y="31"/>
                </a:lnTo>
                <a:lnTo>
                  <a:pt x="7" y="19"/>
                </a:lnTo>
                <a:lnTo>
                  <a:pt x="1" y="6"/>
                </a:lnTo>
                <a:lnTo>
                  <a:pt x="7" y="0"/>
                </a:lnTo>
                <a:lnTo>
                  <a:pt x="18" y="0"/>
                </a:lnTo>
                <a:lnTo>
                  <a:pt x="29" y="0"/>
                </a:lnTo>
                <a:lnTo>
                  <a:pt x="41" y="2"/>
                </a:lnTo>
                <a:lnTo>
                  <a:pt x="58" y="14"/>
                </a:lnTo>
                <a:lnTo>
                  <a:pt x="78" y="18"/>
                </a:lnTo>
                <a:lnTo>
                  <a:pt x="84" y="12"/>
                </a:lnTo>
                <a:lnTo>
                  <a:pt x="100" y="7"/>
                </a:lnTo>
                <a:lnTo>
                  <a:pt x="113" y="10"/>
                </a:lnTo>
                <a:lnTo>
                  <a:pt x="107" y="19"/>
                </a:lnTo>
                <a:lnTo>
                  <a:pt x="101" y="28"/>
                </a:lnTo>
                <a:lnTo>
                  <a:pt x="101" y="43"/>
                </a:lnTo>
                <a:lnTo>
                  <a:pt x="101" y="58"/>
                </a:lnTo>
                <a:lnTo>
                  <a:pt x="101" y="73"/>
                </a:lnTo>
                <a:lnTo>
                  <a:pt x="101" y="88"/>
                </a:lnTo>
                <a:lnTo>
                  <a:pt x="109" y="100"/>
                </a:lnTo>
                <a:lnTo>
                  <a:pt x="101" y="105"/>
                </a:lnTo>
                <a:lnTo>
                  <a:pt x="95" y="115"/>
                </a:lnTo>
                <a:lnTo>
                  <a:pt x="89" y="121"/>
                </a:lnTo>
                <a:lnTo>
                  <a:pt x="83" y="134"/>
                </a:lnTo>
                <a:lnTo>
                  <a:pt x="77" y="148"/>
                </a:lnTo>
                <a:lnTo>
                  <a:pt x="75" y="150"/>
                </a:lnTo>
                <a:lnTo>
                  <a:pt x="65" y="139"/>
                </a:lnTo>
                <a:lnTo>
                  <a:pt x="54" y="128"/>
                </a:lnTo>
                <a:lnTo>
                  <a:pt x="53" y="122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1" name="Freeform 130">
            <a:extLst>
              <a:ext uri="{FF2B5EF4-FFF2-40B4-BE49-F238E27FC236}">
                <a16:creationId xmlns:a16="http://schemas.microsoft.com/office/drawing/2014/main" id="{38A78A54-9268-43D8-B440-801456579BBB}"/>
              </a:ext>
            </a:extLst>
          </p:cNvPr>
          <p:cNvSpPr>
            <a:spLocks/>
          </p:cNvSpPr>
          <p:nvPr/>
        </p:nvSpPr>
        <p:spPr bwMode="gray">
          <a:xfrm>
            <a:off x="4487808" y="3565461"/>
            <a:ext cx="321744" cy="325176"/>
          </a:xfrm>
          <a:custGeom>
            <a:avLst/>
            <a:gdLst>
              <a:gd name="T0" fmla="*/ 112 w 168"/>
              <a:gd name="T1" fmla="*/ 108 h 151"/>
              <a:gd name="T2" fmla="*/ 101 w 168"/>
              <a:gd name="T3" fmla="*/ 112 h 151"/>
              <a:gd name="T4" fmla="*/ 94 w 168"/>
              <a:gd name="T5" fmla="*/ 121 h 151"/>
              <a:gd name="T6" fmla="*/ 88 w 168"/>
              <a:gd name="T7" fmla="*/ 130 h 151"/>
              <a:gd name="T8" fmla="*/ 84 w 168"/>
              <a:gd name="T9" fmla="*/ 143 h 151"/>
              <a:gd name="T10" fmla="*/ 80 w 168"/>
              <a:gd name="T11" fmla="*/ 143 h 151"/>
              <a:gd name="T12" fmla="*/ 80 w 168"/>
              <a:gd name="T13" fmla="*/ 148 h 151"/>
              <a:gd name="T14" fmla="*/ 66 w 168"/>
              <a:gd name="T15" fmla="*/ 148 h 151"/>
              <a:gd name="T16" fmla="*/ 64 w 168"/>
              <a:gd name="T17" fmla="*/ 147 h 151"/>
              <a:gd name="T18" fmla="*/ 62 w 168"/>
              <a:gd name="T19" fmla="*/ 148 h 151"/>
              <a:gd name="T20" fmla="*/ 59 w 168"/>
              <a:gd name="T21" fmla="*/ 149 h 151"/>
              <a:gd name="T22" fmla="*/ 58 w 168"/>
              <a:gd name="T23" fmla="*/ 144 h 151"/>
              <a:gd name="T24" fmla="*/ 57 w 168"/>
              <a:gd name="T25" fmla="*/ 151 h 151"/>
              <a:gd name="T26" fmla="*/ 57 w 168"/>
              <a:gd name="T27" fmla="*/ 148 h 151"/>
              <a:gd name="T28" fmla="*/ 56 w 168"/>
              <a:gd name="T29" fmla="*/ 149 h 151"/>
              <a:gd name="T30" fmla="*/ 51 w 168"/>
              <a:gd name="T31" fmla="*/ 149 h 151"/>
              <a:gd name="T32" fmla="*/ 45 w 168"/>
              <a:gd name="T33" fmla="*/ 150 h 151"/>
              <a:gd name="T34" fmla="*/ 39 w 168"/>
              <a:gd name="T35" fmla="*/ 135 h 151"/>
              <a:gd name="T36" fmla="*/ 40 w 168"/>
              <a:gd name="T37" fmla="*/ 133 h 151"/>
              <a:gd name="T38" fmla="*/ 38 w 168"/>
              <a:gd name="T39" fmla="*/ 131 h 151"/>
              <a:gd name="T40" fmla="*/ 39 w 168"/>
              <a:gd name="T41" fmla="*/ 131 h 151"/>
              <a:gd name="T42" fmla="*/ 35 w 168"/>
              <a:gd name="T43" fmla="*/ 127 h 151"/>
              <a:gd name="T44" fmla="*/ 20 w 168"/>
              <a:gd name="T45" fmla="*/ 118 h 151"/>
              <a:gd name="T46" fmla="*/ 12 w 168"/>
              <a:gd name="T47" fmla="*/ 118 h 151"/>
              <a:gd name="T48" fmla="*/ 15 w 168"/>
              <a:gd name="T49" fmla="*/ 115 h 151"/>
              <a:gd name="T50" fmla="*/ 0 w 168"/>
              <a:gd name="T51" fmla="*/ 119 h 151"/>
              <a:gd name="T52" fmla="*/ 2 w 168"/>
              <a:gd name="T53" fmla="*/ 96 h 151"/>
              <a:gd name="T54" fmla="*/ 3 w 168"/>
              <a:gd name="T55" fmla="*/ 75 h 151"/>
              <a:gd name="T56" fmla="*/ 14 w 168"/>
              <a:gd name="T57" fmla="*/ 57 h 151"/>
              <a:gd name="T58" fmla="*/ 15 w 168"/>
              <a:gd name="T59" fmla="*/ 42 h 151"/>
              <a:gd name="T60" fmla="*/ 12 w 168"/>
              <a:gd name="T61" fmla="*/ 34 h 151"/>
              <a:gd name="T62" fmla="*/ 12 w 168"/>
              <a:gd name="T63" fmla="*/ 33 h 151"/>
              <a:gd name="T64" fmla="*/ 14 w 168"/>
              <a:gd name="T65" fmla="*/ 27 h 151"/>
              <a:gd name="T66" fmla="*/ 17 w 168"/>
              <a:gd name="T67" fmla="*/ 16 h 151"/>
              <a:gd name="T68" fmla="*/ 21 w 168"/>
              <a:gd name="T69" fmla="*/ 4 h 151"/>
              <a:gd name="T70" fmla="*/ 34 w 168"/>
              <a:gd name="T71" fmla="*/ 0 h 151"/>
              <a:gd name="T72" fmla="*/ 48 w 168"/>
              <a:gd name="T73" fmla="*/ 1 h 151"/>
              <a:gd name="T74" fmla="*/ 58 w 168"/>
              <a:gd name="T75" fmla="*/ 10 h 151"/>
              <a:gd name="T76" fmla="*/ 72 w 168"/>
              <a:gd name="T77" fmla="*/ 6 h 151"/>
              <a:gd name="T78" fmla="*/ 83 w 168"/>
              <a:gd name="T79" fmla="*/ 11 h 151"/>
              <a:gd name="T80" fmla="*/ 93 w 168"/>
              <a:gd name="T81" fmla="*/ 15 h 151"/>
              <a:gd name="T82" fmla="*/ 110 w 168"/>
              <a:gd name="T83" fmla="*/ 7 h 151"/>
              <a:gd name="T84" fmla="*/ 124 w 168"/>
              <a:gd name="T85" fmla="*/ 9 h 151"/>
              <a:gd name="T86" fmla="*/ 138 w 168"/>
              <a:gd name="T87" fmla="*/ 10 h 151"/>
              <a:gd name="T88" fmla="*/ 154 w 168"/>
              <a:gd name="T89" fmla="*/ 0 h 151"/>
              <a:gd name="T90" fmla="*/ 160 w 168"/>
              <a:gd name="T91" fmla="*/ 11 h 151"/>
              <a:gd name="T92" fmla="*/ 162 w 168"/>
              <a:gd name="T93" fmla="*/ 22 h 151"/>
              <a:gd name="T94" fmla="*/ 168 w 168"/>
              <a:gd name="T95" fmla="*/ 29 h 151"/>
              <a:gd name="T96" fmla="*/ 165 w 168"/>
              <a:gd name="T97" fmla="*/ 37 h 151"/>
              <a:gd name="T98" fmla="*/ 155 w 168"/>
              <a:gd name="T99" fmla="*/ 47 h 151"/>
              <a:gd name="T100" fmla="*/ 150 w 168"/>
              <a:gd name="T101" fmla="*/ 58 h 151"/>
              <a:gd name="T102" fmla="*/ 146 w 168"/>
              <a:gd name="T103" fmla="*/ 70 h 151"/>
              <a:gd name="T104" fmla="*/ 140 w 168"/>
              <a:gd name="T105" fmla="*/ 83 h 151"/>
              <a:gd name="T106" fmla="*/ 135 w 168"/>
              <a:gd name="T107" fmla="*/ 90 h 151"/>
              <a:gd name="T108" fmla="*/ 129 w 168"/>
              <a:gd name="T109" fmla="*/ 105 h 151"/>
              <a:gd name="T110" fmla="*/ 120 w 168"/>
              <a:gd name="T111" fmla="*/ 118 h 151"/>
              <a:gd name="T112" fmla="*/ 112 w 168"/>
              <a:gd name="T113" fmla="*/ 108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8" h="151">
                <a:moveTo>
                  <a:pt x="112" y="108"/>
                </a:moveTo>
                <a:lnTo>
                  <a:pt x="101" y="112"/>
                </a:lnTo>
                <a:lnTo>
                  <a:pt x="94" y="121"/>
                </a:lnTo>
                <a:lnTo>
                  <a:pt x="88" y="130"/>
                </a:lnTo>
                <a:lnTo>
                  <a:pt x="84" y="143"/>
                </a:lnTo>
                <a:lnTo>
                  <a:pt x="80" y="143"/>
                </a:lnTo>
                <a:lnTo>
                  <a:pt x="80" y="148"/>
                </a:lnTo>
                <a:lnTo>
                  <a:pt x="66" y="148"/>
                </a:lnTo>
                <a:lnTo>
                  <a:pt x="64" y="147"/>
                </a:lnTo>
                <a:lnTo>
                  <a:pt x="62" y="148"/>
                </a:lnTo>
                <a:lnTo>
                  <a:pt x="59" y="149"/>
                </a:lnTo>
                <a:lnTo>
                  <a:pt x="58" y="144"/>
                </a:lnTo>
                <a:lnTo>
                  <a:pt x="57" y="151"/>
                </a:lnTo>
                <a:lnTo>
                  <a:pt x="57" y="148"/>
                </a:lnTo>
                <a:lnTo>
                  <a:pt x="56" y="149"/>
                </a:lnTo>
                <a:lnTo>
                  <a:pt x="51" y="149"/>
                </a:lnTo>
                <a:lnTo>
                  <a:pt x="45" y="150"/>
                </a:lnTo>
                <a:lnTo>
                  <a:pt x="39" y="135"/>
                </a:lnTo>
                <a:lnTo>
                  <a:pt x="40" y="133"/>
                </a:lnTo>
                <a:lnTo>
                  <a:pt x="38" y="131"/>
                </a:lnTo>
                <a:lnTo>
                  <a:pt x="39" y="131"/>
                </a:lnTo>
                <a:lnTo>
                  <a:pt x="35" y="127"/>
                </a:lnTo>
                <a:lnTo>
                  <a:pt x="20" y="118"/>
                </a:lnTo>
                <a:lnTo>
                  <a:pt x="12" y="118"/>
                </a:lnTo>
                <a:lnTo>
                  <a:pt x="15" y="115"/>
                </a:lnTo>
                <a:lnTo>
                  <a:pt x="0" y="119"/>
                </a:lnTo>
                <a:lnTo>
                  <a:pt x="2" y="96"/>
                </a:lnTo>
                <a:lnTo>
                  <a:pt x="3" y="75"/>
                </a:lnTo>
                <a:lnTo>
                  <a:pt x="14" y="57"/>
                </a:lnTo>
                <a:lnTo>
                  <a:pt x="15" y="42"/>
                </a:lnTo>
                <a:lnTo>
                  <a:pt x="12" y="34"/>
                </a:lnTo>
                <a:lnTo>
                  <a:pt x="12" y="33"/>
                </a:lnTo>
                <a:lnTo>
                  <a:pt x="14" y="27"/>
                </a:lnTo>
                <a:lnTo>
                  <a:pt x="17" y="16"/>
                </a:lnTo>
                <a:lnTo>
                  <a:pt x="21" y="4"/>
                </a:lnTo>
                <a:lnTo>
                  <a:pt x="34" y="0"/>
                </a:lnTo>
                <a:lnTo>
                  <a:pt x="48" y="1"/>
                </a:lnTo>
                <a:lnTo>
                  <a:pt x="58" y="10"/>
                </a:lnTo>
                <a:lnTo>
                  <a:pt x="72" y="6"/>
                </a:lnTo>
                <a:lnTo>
                  <a:pt x="83" y="11"/>
                </a:lnTo>
                <a:lnTo>
                  <a:pt x="93" y="15"/>
                </a:lnTo>
                <a:lnTo>
                  <a:pt x="110" y="7"/>
                </a:lnTo>
                <a:lnTo>
                  <a:pt x="124" y="9"/>
                </a:lnTo>
                <a:lnTo>
                  <a:pt x="138" y="10"/>
                </a:lnTo>
                <a:lnTo>
                  <a:pt x="154" y="0"/>
                </a:lnTo>
                <a:lnTo>
                  <a:pt x="160" y="11"/>
                </a:lnTo>
                <a:lnTo>
                  <a:pt x="162" y="22"/>
                </a:lnTo>
                <a:lnTo>
                  <a:pt x="168" y="29"/>
                </a:lnTo>
                <a:lnTo>
                  <a:pt x="165" y="37"/>
                </a:lnTo>
                <a:lnTo>
                  <a:pt x="155" y="47"/>
                </a:lnTo>
                <a:lnTo>
                  <a:pt x="150" y="58"/>
                </a:lnTo>
                <a:lnTo>
                  <a:pt x="146" y="70"/>
                </a:lnTo>
                <a:lnTo>
                  <a:pt x="140" y="83"/>
                </a:lnTo>
                <a:lnTo>
                  <a:pt x="135" y="90"/>
                </a:lnTo>
                <a:lnTo>
                  <a:pt x="129" y="105"/>
                </a:lnTo>
                <a:lnTo>
                  <a:pt x="120" y="118"/>
                </a:lnTo>
                <a:lnTo>
                  <a:pt x="112" y="108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2" name="Freeform 131">
            <a:extLst>
              <a:ext uri="{FF2B5EF4-FFF2-40B4-BE49-F238E27FC236}">
                <a16:creationId xmlns:a16="http://schemas.microsoft.com/office/drawing/2014/main" id="{9B0520E4-28D0-4A98-8467-39BD360C3F13}"/>
              </a:ext>
            </a:extLst>
          </p:cNvPr>
          <p:cNvSpPr>
            <a:spLocks/>
          </p:cNvSpPr>
          <p:nvPr/>
        </p:nvSpPr>
        <p:spPr bwMode="gray">
          <a:xfrm>
            <a:off x="4434471" y="3608297"/>
            <a:ext cx="79147" cy="216136"/>
          </a:xfrm>
          <a:custGeom>
            <a:avLst/>
            <a:gdLst>
              <a:gd name="T0" fmla="*/ 2 w 42"/>
              <a:gd name="T1" fmla="*/ 23 h 99"/>
              <a:gd name="T2" fmla="*/ 0 w 42"/>
              <a:gd name="T3" fmla="*/ 29 h 99"/>
              <a:gd name="T4" fmla="*/ 8 w 42"/>
              <a:gd name="T5" fmla="*/ 38 h 99"/>
              <a:gd name="T6" fmla="*/ 11 w 42"/>
              <a:gd name="T7" fmla="*/ 50 h 99"/>
              <a:gd name="T8" fmla="*/ 11 w 42"/>
              <a:gd name="T9" fmla="*/ 63 h 99"/>
              <a:gd name="T10" fmla="*/ 11 w 42"/>
              <a:gd name="T11" fmla="*/ 75 h 99"/>
              <a:gd name="T12" fmla="*/ 12 w 42"/>
              <a:gd name="T13" fmla="*/ 87 h 99"/>
              <a:gd name="T14" fmla="*/ 12 w 42"/>
              <a:gd name="T15" fmla="*/ 99 h 99"/>
              <a:gd name="T16" fmla="*/ 27 w 42"/>
              <a:gd name="T17" fmla="*/ 97 h 99"/>
              <a:gd name="T18" fmla="*/ 29 w 42"/>
              <a:gd name="T19" fmla="*/ 74 h 99"/>
              <a:gd name="T20" fmla="*/ 30 w 42"/>
              <a:gd name="T21" fmla="*/ 53 h 99"/>
              <a:gd name="T22" fmla="*/ 41 w 42"/>
              <a:gd name="T23" fmla="*/ 35 h 99"/>
              <a:gd name="T24" fmla="*/ 42 w 42"/>
              <a:gd name="T25" fmla="*/ 20 h 99"/>
              <a:gd name="T26" fmla="*/ 39 w 42"/>
              <a:gd name="T27" fmla="*/ 12 h 99"/>
              <a:gd name="T28" fmla="*/ 39 w 42"/>
              <a:gd name="T29" fmla="*/ 11 h 99"/>
              <a:gd name="T30" fmla="*/ 27 w 42"/>
              <a:gd name="T31" fmla="*/ 0 h 99"/>
              <a:gd name="T32" fmla="*/ 24 w 42"/>
              <a:gd name="T33" fmla="*/ 6 h 99"/>
              <a:gd name="T34" fmla="*/ 23 w 42"/>
              <a:gd name="T35" fmla="*/ 8 h 99"/>
              <a:gd name="T36" fmla="*/ 23 w 42"/>
              <a:gd name="T37" fmla="*/ 9 h 99"/>
              <a:gd name="T38" fmla="*/ 12 w 42"/>
              <a:gd name="T39" fmla="*/ 15 h 99"/>
              <a:gd name="T40" fmla="*/ 2 w 42"/>
              <a:gd name="T41" fmla="*/ 23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" h="99">
                <a:moveTo>
                  <a:pt x="2" y="23"/>
                </a:moveTo>
                <a:lnTo>
                  <a:pt x="0" y="29"/>
                </a:lnTo>
                <a:lnTo>
                  <a:pt x="8" y="38"/>
                </a:lnTo>
                <a:lnTo>
                  <a:pt x="11" y="50"/>
                </a:lnTo>
                <a:lnTo>
                  <a:pt x="11" y="63"/>
                </a:lnTo>
                <a:lnTo>
                  <a:pt x="11" y="75"/>
                </a:lnTo>
                <a:lnTo>
                  <a:pt x="12" y="87"/>
                </a:lnTo>
                <a:lnTo>
                  <a:pt x="12" y="99"/>
                </a:lnTo>
                <a:lnTo>
                  <a:pt x="27" y="97"/>
                </a:lnTo>
                <a:lnTo>
                  <a:pt x="29" y="74"/>
                </a:lnTo>
                <a:lnTo>
                  <a:pt x="30" y="53"/>
                </a:lnTo>
                <a:lnTo>
                  <a:pt x="41" y="35"/>
                </a:lnTo>
                <a:lnTo>
                  <a:pt x="42" y="20"/>
                </a:lnTo>
                <a:lnTo>
                  <a:pt x="39" y="12"/>
                </a:lnTo>
                <a:lnTo>
                  <a:pt x="39" y="11"/>
                </a:lnTo>
                <a:lnTo>
                  <a:pt x="27" y="0"/>
                </a:lnTo>
                <a:lnTo>
                  <a:pt x="24" y="6"/>
                </a:lnTo>
                <a:lnTo>
                  <a:pt x="23" y="8"/>
                </a:lnTo>
                <a:lnTo>
                  <a:pt x="23" y="9"/>
                </a:lnTo>
                <a:lnTo>
                  <a:pt x="12" y="15"/>
                </a:lnTo>
                <a:lnTo>
                  <a:pt x="2" y="2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3" name="Freeform 132">
            <a:extLst>
              <a:ext uri="{FF2B5EF4-FFF2-40B4-BE49-F238E27FC236}">
                <a16:creationId xmlns:a16="http://schemas.microsoft.com/office/drawing/2014/main" id="{30248763-9A66-48C3-B245-0471A4E2F9FF}"/>
              </a:ext>
            </a:extLst>
          </p:cNvPr>
          <p:cNvSpPr>
            <a:spLocks/>
          </p:cNvSpPr>
          <p:nvPr/>
        </p:nvSpPr>
        <p:spPr bwMode="gray">
          <a:xfrm>
            <a:off x="4265856" y="3516779"/>
            <a:ext cx="213350" cy="194717"/>
          </a:xfrm>
          <a:custGeom>
            <a:avLst/>
            <a:gdLst>
              <a:gd name="T0" fmla="*/ 91 w 112"/>
              <a:gd name="T1" fmla="*/ 66 h 90"/>
              <a:gd name="T2" fmla="*/ 88 w 112"/>
              <a:gd name="T3" fmla="*/ 66 h 90"/>
              <a:gd name="T4" fmla="*/ 76 w 112"/>
              <a:gd name="T5" fmla="*/ 63 h 90"/>
              <a:gd name="T6" fmla="*/ 72 w 112"/>
              <a:gd name="T7" fmla="*/ 64 h 90"/>
              <a:gd name="T8" fmla="*/ 55 w 112"/>
              <a:gd name="T9" fmla="*/ 64 h 90"/>
              <a:gd name="T10" fmla="*/ 38 w 112"/>
              <a:gd name="T11" fmla="*/ 66 h 90"/>
              <a:gd name="T12" fmla="*/ 40 w 112"/>
              <a:gd name="T13" fmla="*/ 78 h 90"/>
              <a:gd name="T14" fmla="*/ 40 w 112"/>
              <a:gd name="T15" fmla="*/ 90 h 90"/>
              <a:gd name="T16" fmla="*/ 28 w 112"/>
              <a:gd name="T17" fmla="*/ 82 h 90"/>
              <a:gd name="T18" fmla="*/ 14 w 112"/>
              <a:gd name="T19" fmla="*/ 86 h 90"/>
              <a:gd name="T20" fmla="*/ 6 w 112"/>
              <a:gd name="T21" fmla="*/ 76 h 90"/>
              <a:gd name="T22" fmla="*/ 0 w 112"/>
              <a:gd name="T23" fmla="*/ 74 h 90"/>
              <a:gd name="T24" fmla="*/ 4 w 112"/>
              <a:gd name="T25" fmla="*/ 54 h 90"/>
              <a:gd name="T26" fmla="*/ 7 w 112"/>
              <a:gd name="T27" fmla="*/ 49 h 90"/>
              <a:gd name="T28" fmla="*/ 16 w 112"/>
              <a:gd name="T29" fmla="*/ 42 h 90"/>
              <a:gd name="T30" fmla="*/ 18 w 112"/>
              <a:gd name="T31" fmla="*/ 36 h 90"/>
              <a:gd name="T32" fmla="*/ 20 w 112"/>
              <a:gd name="T33" fmla="*/ 26 h 90"/>
              <a:gd name="T34" fmla="*/ 30 w 112"/>
              <a:gd name="T35" fmla="*/ 30 h 90"/>
              <a:gd name="T36" fmla="*/ 32 w 112"/>
              <a:gd name="T37" fmla="*/ 24 h 90"/>
              <a:gd name="T38" fmla="*/ 35 w 112"/>
              <a:gd name="T39" fmla="*/ 22 h 90"/>
              <a:gd name="T40" fmla="*/ 41 w 112"/>
              <a:gd name="T41" fmla="*/ 15 h 90"/>
              <a:gd name="T42" fmla="*/ 48 w 112"/>
              <a:gd name="T43" fmla="*/ 14 h 90"/>
              <a:gd name="T44" fmla="*/ 50 w 112"/>
              <a:gd name="T45" fmla="*/ 8 h 90"/>
              <a:gd name="T46" fmla="*/ 68 w 112"/>
              <a:gd name="T47" fmla="*/ 0 h 90"/>
              <a:gd name="T48" fmla="*/ 82 w 112"/>
              <a:gd name="T49" fmla="*/ 1 h 90"/>
              <a:gd name="T50" fmla="*/ 83 w 112"/>
              <a:gd name="T51" fmla="*/ 15 h 90"/>
              <a:gd name="T52" fmla="*/ 95 w 112"/>
              <a:gd name="T53" fmla="*/ 26 h 90"/>
              <a:gd name="T54" fmla="*/ 92 w 112"/>
              <a:gd name="T55" fmla="*/ 27 h 90"/>
              <a:gd name="T56" fmla="*/ 92 w 112"/>
              <a:gd name="T57" fmla="*/ 32 h 90"/>
              <a:gd name="T58" fmla="*/ 101 w 112"/>
              <a:gd name="T59" fmla="*/ 39 h 90"/>
              <a:gd name="T60" fmla="*/ 106 w 112"/>
              <a:gd name="T61" fmla="*/ 38 h 90"/>
              <a:gd name="T62" fmla="*/ 108 w 112"/>
              <a:gd name="T63" fmla="*/ 43 h 90"/>
              <a:gd name="T64" fmla="*/ 112 w 112"/>
              <a:gd name="T65" fmla="*/ 50 h 90"/>
              <a:gd name="T66" fmla="*/ 112 w 112"/>
              <a:gd name="T67" fmla="*/ 51 h 90"/>
              <a:gd name="T68" fmla="*/ 112 w 112"/>
              <a:gd name="T69" fmla="*/ 52 h 90"/>
              <a:gd name="T70" fmla="*/ 101 w 112"/>
              <a:gd name="T71" fmla="*/ 58 h 90"/>
              <a:gd name="T72" fmla="*/ 91 w 112"/>
              <a:gd name="T73" fmla="*/ 66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12" h="90">
                <a:moveTo>
                  <a:pt x="91" y="66"/>
                </a:moveTo>
                <a:lnTo>
                  <a:pt x="88" y="66"/>
                </a:lnTo>
                <a:lnTo>
                  <a:pt x="76" y="63"/>
                </a:lnTo>
                <a:lnTo>
                  <a:pt x="72" y="64"/>
                </a:lnTo>
                <a:lnTo>
                  <a:pt x="55" y="64"/>
                </a:lnTo>
                <a:lnTo>
                  <a:pt x="38" y="66"/>
                </a:lnTo>
                <a:lnTo>
                  <a:pt x="40" y="78"/>
                </a:lnTo>
                <a:lnTo>
                  <a:pt x="40" y="90"/>
                </a:lnTo>
                <a:lnTo>
                  <a:pt x="28" y="82"/>
                </a:lnTo>
                <a:lnTo>
                  <a:pt x="14" y="86"/>
                </a:lnTo>
                <a:lnTo>
                  <a:pt x="6" y="76"/>
                </a:lnTo>
                <a:lnTo>
                  <a:pt x="0" y="74"/>
                </a:lnTo>
                <a:lnTo>
                  <a:pt x="4" y="54"/>
                </a:lnTo>
                <a:lnTo>
                  <a:pt x="7" y="49"/>
                </a:lnTo>
                <a:lnTo>
                  <a:pt x="16" y="42"/>
                </a:lnTo>
                <a:lnTo>
                  <a:pt x="18" y="36"/>
                </a:lnTo>
                <a:lnTo>
                  <a:pt x="20" y="26"/>
                </a:lnTo>
                <a:lnTo>
                  <a:pt x="30" y="30"/>
                </a:lnTo>
                <a:lnTo>
                  <a:pt x="32" y="24"/>
                </a:lnTo>
                <a:lnTo>
                  <a:pt x="35" y="22"/>
                </a:lnTo>
                <a:lnTo>
                  <a:pt x="41" y="15"/>
                </a:lnTo>
                <a:lnTo>
                  <a:pt x="48" y="14"/>
                </a:lnTo>
                <a:lnTo>
                  <a:pt x="50" y="8"/>
                </a:lnTo>
                <a:lnTo>
                  <a:pt x="68" y="0"/>
                </a:lnTo>
                <a:lnTo>
                  <a:pt x="82" y="1"/>
                </a:lnTo>
                <a:lnTo>
                  <a:pt x="83" y="15"/>
                </a:lnTo>
                <a:lnTo>
                  <a:pt x="95" y="26"/>
                </a:lnTo>
                <a:lnTo>
                  <a:pt x="92" y="27"/>
                </a:lnTo>
                <a:lnTo>
                  <a:pt x="92" y="32"/>
                </a:lnTo>
                <a:lnTo>
                  <a:pt x="101" y="39"/>
                </a:lnTo>
                <a:lnTo>
                  <a:pt x="106" y="38"/>
                </a:lnTo>
                <a:lnTo>
                  <a:pt x="108" y="43"/>
                </a:lnTo>
                <a:lnTo>
                  <a:pt x="112" y="50"/>
                </a:lnTo>
                <a:lnTo>
                  <a:pt x="112" y="51"/>
                </a:lnTo>
                <a:lnTo>
                  <a:pt x="112" y="52"/>
                </a:lnTo>
                <a:lnTo>
                  <a:pt x="101" y="58"/>
                </a:lnTo>
                <a:lnTo>
                  <a:pt x="91" y="6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4" name="Freeform 133">
            <a:extLst>
              <a:ext uri="{FF2B5EF4-FFF2-40B4-BE49-F238E27FC236}">
                <a16:creationId xmlns:a16="http://schemas.microsoft.com/office/drawing/2014/main" id="{279D59C4-B995-4502-964F-A2E5E414A97D}"/>
              </a:ext>
            </a:extLst>
          </p:cNvPr>
          <p:cNvSpPr>
            <a:spLocks/>
          </p:cNvSpPr>
          <p:nvPr/>
        </p:nvSpPr>
        <p:spPr bwMode="gray">
          <a:xfrm>
            <a:off x="4647820" y="3586878"/>
            <a:ext cx="206467" cy="393327"/>
          </a:xfrm>
          <a:custGeom>
            <a:avLst/>
            <a:gdLst>
              <a:gd name="T0" fmla="*/ 101 w 109"/>
              <a:gd name="T1" fmla="*/ 49 h 181"/>
              <a:gd name="T2" fmla="*/ 84 w 109"/>
              <a:gd name="T3" fmla="*/ 49 h 181"/>
              <a:gd name="T4" fmla="*/ 77 w 109"/>
              <a:gd name="T5" fmla="*/ 53 h 181"/>
              <a:gd name="T6" fmla="*/ 89 w 109"/>
              <a:gd name="T7" fmla="*/ 68 h 181"/>
              <a:gd name="T8" fmla="*/ 99 w 109"/>
              <a:gd name="T9" fmla="*/ 89 h 181"/>
              <a:gd name="T10" fmla="*/ 91 w 109"/>
              <a:gd name="T11" fmla="*/ 102 h 181"/>
              <a:gd name="T12" fmla="*/ 84 w 109"/>
              <a:gd name="T13" fmla="*/ 115 h 181"/>
              <a:gd name="T14" fmla="*/ 89 w 109"/>
              <a:gd name="T15" fmla="*/ 137 h 181"/>
              <a:gd name="T16" fmla="*/ 97 w 109"/>
              <a:gd name="T17" fmla="*/ 149 h 181"/>
              <a:gd name="T18" fmla="*/ 105 w 109"/>
              <a:gd name="T19" fmla="*/ 160 h 181"/>
              <a:gd name="T20" fmla="*/ 109 w 109"/>
              <a:gd name="T21" fmla="*/ 174 h 181"/>
              <a:gd name="T22" fmla="*/ 106 w 109"/>
              <a:gd name="T23" fmla="*/ 181 h 181"/>
              <a:gd name="T24" fmla="*/ 94 w 109"/>
              <a:gd name="T25" fmla="*/ 179 h 181"/>
              <a:gd name="T26" fmla="*/ 82 w 109"/>
              <a:gd name="T27" fmla="*/ 175 h 181"/>
              <a:gd name="T28" fmla="*/ 67 w 109"/>
              <a:gd name="T29" fmla="*/ 175 h 181"/>
              <a:gd name="T30" fmla="*/ 54 w 109"/>
              <a:gd name="T31" fmla="*/ 175 h 181"/>
              <a:gd name="T32" fmla="*/ 40 w 109"/>
              <a:gd name="T33" fmla="*/ 175 h 181"/>
              <a:gd name="T34" fmla="*/ 29 w 109"/>
              <a:gd name="T35" fmla="*/ 174 h 181"/>
              <a:gd name="T36" fmla="*/ 18 w 109"/>
              <a:gd name="T37" fmla="*/ 173 h 181"/>
              <a:gd name="T38" fmla="*/ 18 w 109"/>
              <a:gd name="T39" fmla="*/ 155 h 181"/>
              <a:gd name="T40" fmla="*/ 17 w 109"/>
              <a:gd name="T41" fmla="*/ 148 h 181"/>
              <a:gd name="T42" fmla="*/ 16 w 109"/>
              <a:gd name="T43" fmla="*/ 145 h 181"/>
              <a:gd name="T44" fmla="*/ 6 w 109"/>
              <a:gd name="T45" fmla="*/ 144 h 181"/>
              <a:gd name="T46" fmla="*/ 3 w 109"/>
              <a:gd name="T47" fmla="*/ 134 h 181"/>
              <a:gd name="T48" fmla="*/ 0 w 109"/>
              <a:gd name="T49" fmla="*/ 136 h 181"/>
              <a:gd name="T50" fmla="*/ 1 w 109"/>
              <a:gd name="T51" fmla="*/ 132 h 181"/>
              <a:gd name="T52" fmla="*/ 5 w 109"/>
              <a:gd name="T53" fmla="*/ 119 h 181"/>
              <a:gd name="T54" fmla="*/ 11 w 109"/>
              <a:gd name="T55" fmla="*/ 110 h 181"/>
              <a:gd name="T56" fmla="*/ 18 w 109"/>
              <a:gd name="T57" fmla="*/ 101 h 181"/>
              <a:gd name="T58" fmla="*/ 29 w 109"/>
              <a:gd name="T59" fmla="*/ 97 h 181"/>
              <a:gd name="T60" fmla="*/ 37 w 109"/>
              <a:gd name="T61" fmla="*/ 107 h 181"/>
              <a:gd name="T62" fmla="*/ 46 w 109"/>
              <a:gd name="T63" fmla="*/ 94 h 181"/>
              <a:gd name="T64" fmla="*/ 52 w 109"/>
              <a:gd name="T65" fmla="*/ 79 h 181"/>
              <a:gd name="T66" fmla="*/ 57 w 109"/>
              <a:gd name="T67" fmla="*/ 72 h 181"/>
              <a:gd name="T68" fmla="*/ 63 w 109"/>
              <a:gd name="T69" fmla="*/ 59 h 181"/>
              <a:gd name="T70" fmla="*/ 67 w 109"/>
              <a:gd name="T71" fmla="*/ 47 h 181"/>
              <a:gd name="T72" fmla="*/ 72 w 109"/>
              <a:gd name="T73" fmla="*/ 36 h 181"/>
              <a:gd name="T74" fmla="*/ 82 w 109"/>
              <a:gd name="T75" fmla="*/ 26 h 181"/>
              <a:gd name="T76" fmla="*/ 85 w 109"/>
              <a:gd name="T77" fmla="*/ 18 h 181"/>
              <a:gd name="T78" fmla="*/ 79 w 109"/>
              <a:gd name="T79" fmla="*/ 11 h 181"/>
              <a:gd name="T80" fmla="*/ 77 w 109"/>
              <a:gd name="T81" fmla="*/ 0 h 181"/>
              <a:gd name="T82" fmla="*/ 83 w 109"/>
              <a:gd name="T83" fmla="*/ 0 h 181"/>
              <a:gd name="T84" fmla="*/ 90 w 109"/>
              <a:gd name="T85" fmla="*/ 16 h 181"/>
              <a:gd name="T86" fmla="*/ 91 w 109"/>
              <a:gd name="T87" fmla="*/ 34 h 181"/>
              <a:gd name="T88" fmla="*/ 101 w 109"/>
              <a:gd name="T89" fmla="*/ 49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09" h="181">
                <a:moveTo>
                  <a:pt x="101" y="49"/>
                </a:moveTo>
                <a:lnTo>
                  <a:pt x="84" y="49"/>
                </a:lnTo>
                <a:lnTo>
                  <a:pt x="77" y="53"/>
                </a:lnTo>
                <a:lnTo>
                  <a:pt x="89" y="68"/>
                </a:lnTo>
                <a:lnTo>
                  <a:pt x="99" y="89"/>
                </a:lnTo>
                <a:lnTo>
                  <a:pt x="91" y="102"/>
                </a:lnTo>
                <a:lnTo>
                  <a:pt x="84" y="115"/>
                </a:lnTo>
                <a:lnTo>
                  <a:pt x="89" y="137"/>
                </a:lnTo>
                <a:lnTo>
                  <a:pt x="97" y="149"/>
                </a:lnTo>
                <a:lnTo>
                  <a:pt x="105" y="160"/>
                </a:lnTo>
                <a:lnTo>
                  <a:pt x="109" y="174"/>
                </a:lnTo>
                <a:lnTo>
                  <a:pt x="106" y="181"/>
                </a:lnTo>
                <a:lnTo>
                  <a:pt x="94" y="179"/>
                </a:lnTo>
                <a:lnTo>
                  <a:pt x="82" y="175"/>
                </a:lnTo>
                <a:lnTo>
                  <a:pt x="67" y="175"/>
                </a:lnTo>
                <a:lnTo>
                  <a:pt x="54" y="175"/>
                </a:lnTo>
                <a:lnTo>
                  <a:pt x="40" y="175"/>
                </a:lnTo>
                <a:lnTo>
                  <a:pt x="29" y="174"/>
                </a:lnTo>
                <a:lnTo>
                  <a:pt x="18" y="173"/>
                </a:lnTo>
                <a:lnTo>
                  <a:pt x="18" y="155"/>
                </a:lnTo>
                <a:lnTo>
                  <a:pt x="17" y="148"/>
                </a:lnTo>
                <a:lnTo>
                  <a:pt x="16" y="145"/>
                </a:lnTo>
                <a:lnTo>
                  <a:pt x="6" y="144"/>
                </a:lnTo>
                <a:lnTo>
                  <a:pt x="3" y="134"/>
                </a:lnTo>
                <a:lnTo>
                  <a:pt x="0" y="136"/>
                </a:lnTo>
                <a:lnTo>
                  <a:pt x="1" y="132"/>
                </a:lnTo>
                <a:lnTo>
                  <a:pt x="5" y="119"/>
                </a:lnTo>
                <a:lnTo>
                  <a:pt x="11" y="110"/>
                </a:lnTo>
                <a:lnTo>
                  <a:pt x="18" y="101"/>
                </a:lnTo>
                <a:lnTo>
                  <a:pt x="29" y="97"/>
                </a:lnTo>
                <a:lnTo>
                  <a:pt x="37" y="107"/>
                </a:lnTo>
                <a:lnTo>
                  <a:pt x="46" y="94"/>
                </a:lnTo>
                <a:lnTo>
                  <a:pt x="52" y="79"/>
                </a:lnTo>
                <a:lnTo>
                  <a:pt x="57" y="72"/>
                </a:lnTo>
                <a:lnTo>
                  <a:pt x="63" y="59"/>
                </a:lnTo>
                <a:lnTo>
                  <a:pt x="67" y="47"/>
                </a:lnTo>
                <a:lnTo>
                  <a:pt x="72" y="36"/>
                </a:lnTo>
                <a:lnTo>
                  <a:pt x="82" y="26"/>
                </a:lnTo>
                <a:lnTo>
                  <a:pt x="85" y="18"/>
                </a:lnTo>
                <a:lnTo>
                  <a:pt x="79" y="11"/>
                </a:lnTo>
                <a:lnTo>
                  <a:pt x="77" y="0"/>
                </a:lnTo>
                <a:lnTo>
                  <a:pt x="83" y="0"/>
                </a:lnTo>
                <a:lnTo>
                  <a:pt x="90" y="16"/>
                </a:lnTo>
                <a:lnTo>
                  <a:pt x="91" y="34"/>
                </a:lnTo>
                <a:lnTo>
                  <a:pt x="101" y="4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5" name="Freeform 134">
            <a:extLst>
              <a:ext uri="{FF2B5EF4-FFF2-40B4-BE49-F238E27FC236}">
                <a16:creationId xmlns:a16="http://schemas.microsoft.com/office/drawing/2014/main" id="{FEB2257F-1503-4B5B-9648-6D7FD7F3CC11}"/>
              </a:ext>
            </a:extLst>
          </p:cNvPr>
          <p:cNvSpPr>
            <a:spLocks/>
          </p:cNvSpPr>
          <p:nvPr/>
        </p:nvSpPr>
        <p:spPr bwMode="gray">
          <a:xfrm>
            <a:off x="4809552" y="3660871"/>
            <a:ext cx="350993" cy="301809"/>
          </a:xfrm>
          <a:custGeom>
            <a:avLst/>
            <a:gdLst>
              <a:gd name="T0" fmla="*/ 65 w 185"/>
              <a:gd name="T1" fmla="*/ 38 h 139"/>
              <a:gd name="T2" fmla="*/ 63 w 185"/>
              <a:gd name="T3" fmla="*/ 32 h 139"/>
              <a:gd name="T4" fmla="*/ 83 w 185"/>
              <a:gd name="T5" fmla="*/ 29 h 139"/>
              <a:gd name="T6" fmla="*/ 94 w 185"/>
              <a:gd name="T7" fmla="*/ 15 h 139"/>
              <a:gd name="T8" fmla="*/ 105 w 185"/>
              <a:gd name="T9" fmla="*/ 2 h 139"/>
              <a:gd name="T10" fmla="*/ 118 w 185"/>
              <a:gd name="T11" fmla="*/ 0 h 139"/>
              <a:gd name="T12" fmla="*/ 124 w 185"/>
              <a:gd name="T13" fmla="*/ 9 h 139"/>
              <a:gd name="T14" fmla="*/ 130 w 185"/>
              <a:gd name="T15" fmla="*/ 19 h 139"/>
              <a:gd name="T16" fmla="*/ 127 w 185"/>
              <a:gd name="T17" fmla="*/ 35 h 139"/>
              <a:gd name="T18" fmla="*/ 138 w 185"/>
              <a:gd name="T19" fmla="*/ 37 h 139"/>
              <a:gd name="T20" fmla="*/ 141 w 185"/>
              <a:gd name="T21" fmla="*/ 42 h 139"/>
              <a:gd name="T22" fmla="*/ 154 w 185"/>
              <a:gd name="T23" fmla="*/ 51 h 139"/>
              <a:gd name="T24" fmla="*/ 156 w 185"/>
              <a:gd name="T25" fmla="*/ 59 h 139"/>
              <a:gd name="T26" fmla="*/ 168 w 185"/>
              <a:gd name="T27" fmla="*/ 71 h 139"/>
              <a:gd name="T28" fmla="*/ 174 w 185"/>
              <a:gd name="T29" fmla="*/ 79 h 139"/>
              <a:gd name="T30" fmla="*/ 183 w 185"/>
              <a:gd name="T31" fmla="*/ 90 h 139"/>
              <a:gd name="T32" fmla="*/ 185 w 185"/>
              <a:gd name="T33" fmla="*/ 95 h 139"/>
              <a:gd name="T34" fmla="*/ 177 w 185"/>
              <a:gd name="T35" fmla="*/ 92 h 139"/>
              <a:gd name="T36" fmla="*/ 166 w 185"/>
              <a:gd name="T37" fmla="*/ 91 h 139"/>
              <a:gd name="T38" fmla="*/ 155 w 185"/>
              <a:gd name="T39" fmla="*/ 90 h 139"/>
              <a:gd name="T40" fmla="*/ 149 w 185"/>
              <a:gd name="T41" fmla="*/ 95 h 139"/>
              <a:gd name="T42" fmla="*/ 139 w 185"/>
              <a:gd name="T43" fmla="*/ 95 h 139"/>
              <a:gd name="T44" fmla="*/ 125 w 185"/>
              <a:gd name="T45" fmla="*/ 99 h 139"/>
              <a:gd name="T46" fmla="*/ 118 w 185"/>
              <a:gd name="T47" fmla="*/ 99 h 139"/>
              <a:gd name="T48" fmla="*/ 112 w 185"/>
              <a:gd name="T49" fmla="*/ 109 h 139"/>
              <a:gd name="T50" fmla="*/ 99 w 185"/>
              <a:gd name="T51" fmla="*/ 104 h 139"/>
              <a:gd name="T52" fmla="*/ 85 w 185"/>
              <a:gd name="T53" fmla="*/ 101 h 139"/>
              <a:gd name="T54" fmla="*/ 71 w 185"/>
              <a:gd name="T55" fmla="*/ 92 h 139"/>
              <a:gd name="T56" fmla="*/ 59 w 185"/>
              <a:gd name="T57" fmla="*/ 107 h 139"/>
              <a:gd name="T58" fmla="*/ 59 w 185"/>
              <a:gd name="T59" fmla="*/ 119 h 139"/>
              <a:gd name="T60" fmla="*/ 48 w 185"/>
              <a:gd name="T61" fmla="*/ 119 h 139"/>
              <a:gd name="T62" fmla="*/ 37 w 185"/>
              <a:gd name="T63" fmla="*/ 117 h 139"/>
              <a:gd name="T64" fmla="*/ 30 w 185"/>
              <a:gd name="T65" fmla="*/ 122 h 139"/>
              <a:gd name="T66" fmla="*/ 25 w 185"/>
              <a:gd name="T67" fmla="*/ 139 h 139"/>
              <a:gd name="T68" fmla="*/ 21 w 185"/>
              <a:gd name="T69" fmla="*/ 125 h 139"/>
              <a:gd name="T70" fmla="*/ 13 w 185"/>
              <a:gd name="T71" fmla="*/ 114 h 139"/>
              <a:gd name="T72" fmla="*/ 5 w 185"/>
              <a:gd name="T73" fmla="*/ 102 h 139"/>
              <a:gd name="T74" fmla="*/ 0 w 185"/>
              <a:gd name="T75" fmla="*/ 80 h 139"/>
              <a:gd name="T76" fmla="*/ 7 w 185"/>
              <a:gd name="T77" fmla="*/ 67 h 139"/>
              <a:gd name="T78" fmla="*/ 15 w 185"/>
              <a:gd name="T79" fmla="*/ 54 h 139"/>
              <a:gd name="T80" fmla="*/ 28 w 185"/>
              <a:gd name="T81" fmla="*/ 49 h 139"/>
              <a:gd name="T82" fmla="*/ 30 w 185"/>
              <a:gd name="T83" fmla="*/ 51 h 139"/>
              <a:gd name="T84" fmla="*/ 39 w 185"/>
              <a:gd name="T85" fmla="*/ 50 h 139"/>
              <a:gd name="T86" fmla="*/ 58 w 185"/>
              <a:gd name="T87" fmla="*/ 45 h 139"/>
              <a:gd name="T88" fmla="*/ 65 w 185"/>
              <a:gd name="T89" fmla="*/ 38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85" h="139">
                <a:moveTo>
                  <a:pt x="65" y="38"/>
                </a:moveTo>
                <a:lnTo>
                  <a:pt x="63" y="32"/>
                </a:lnTo>
                <a:lnTo>
                  <a:pt x="83" y="29"/>
                </a:lnTo>
                <a:lnTo>
                  <a:pt x="94" y="15"/>
                </a:lnTo>
                <a:lnTo>
                  <a:pt x="105" y="2"/>
                </a:lnTo>
                <a:lnTo>
                  <a:pt x="118" y="0"/>
                </a:lnTo>
                <a:lnTo>
                  <a:pt x="124" y="9"/>
                </a:lnTo>
                <a:lnTo>
                  <a:pt x="130" y="19"/>
                </a:lnTo>
                <a:lnTo>
                  <a:pt x="127" y="35"/>
                </a:lnTo>
                <a:lnTo>
                  <a:pt x="138" y="37"/>
                </a:lnTo>
                <a:lnTo>
                  <a:pt x="141" y="42"/>
                </a:lnTo>
                <a:lnTo>
                  <a:pt x="154" y="51"/>
                </a:lnTo>
                <a:lnTo>
                  <a:pt x="156" y="59"/>
                </a:lnTo>
                <a:lnTo>
                  <a:pt x="168" y="71"/>
                </a:lnTo>
                <a:lnTo>
                  <a:pt x="174" y="79"/>
                </a:lnTo>
                <a:lnTo>
                  <a:pt x="183" y="90"/>
                </a:lnTo>
                <a:lnTo>
                  <a:pt x="185" y="95"/>
                </a:lnTo>
                <a:lnTo>
                  <a:pt x="177" y="92"/>
                </a:lnTo>
                <a:lnTo>
                  <a:pt x="166" y="91"/>
                </a:lnTo>
                <a:lnTo>
                  <a:pt x="155" y="90"/>
                </a:lnTo>
                <a:lnTo>
                  <a:pt x="149" y="95"/>
                </a:lnTo>
                <a:lnTo>
                  <a:pt x="139" y="95"/>
                </a:lnTo>
                <a:lnTo>
                  <a:pt x="125" y="99"/>
                </a:lnTo>
                <a:lnTo>
                  <a:pt x="118" y="99"/>
                </a:lnTo>
                <a:lnTo>
                  <a:pt x="112" y="109"/>
                </a:lnTo>
                <a:lnTo>
                  <a:pt x="99" y="104"/>
                </a:lnTo>
                <a:lnTo>
                  <a:pt x="85" y="101"/>
                </a:lnTo>
                <a:lnTo>
                  <a:pt x="71" y="92"/>
                </a:lnTo>
                <a:lnTo>
                  <a:pt x="59" y="107"/>
                </a:lnTo>
                <a:lnTo>
                  <a:pt x="59" y="119"/>
                </a:lnTo>
                <a:lnTo>
                  <a:pt x="48" y="119"/>
                </a:lnTo>
                <a:lnTo>
                  <a:pt x="37" y="117"/>
                </a:lnTo>
                <a:lnTo>
                  <a:pt x="30" y="122"/>
                </a:lnTo>
                <a:lnTo>
                  <a:pt x="25" y="139"/>
                </a:lnTo>
                <a:lnTo>
                  <a:pt x="21" y="125"/>
                </a:lnTo>
                <a:lnTo>
                  <a:pt x="13" y="114"/>
                </a:lnTo>
                <a:lnTo>
                  <a:pt x="5" y="102"/>
                </a:lnTo>
                <a:lnTo>
                  <a:pt x="0" y="80"/>
                </a:lnTo>
                <a:lnTo>
                  <a:pt x="7" y="67"/>
                </a:lnTo>
                <a:lnTo>
                  <a:pt x="15" y="54"/>
                </a:lnTo>
                <a:lnTo>
                  <a:pt x="28" y="49"/>
                </a:lnTo>
                <a:lnTo>
                  <a:pt x="30" y="51"/>
                </a:lnTo>
                <a:lnTo>
                  <a:pt x="39" y="50"/>
                </a:lnTo>
                <a:lnTo>
                  <a:pt x="58" y="45"/>
                </a:lnTo>
                <a:lnTo>
                  <a:pt x="65" y="3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6" name="Freeform 135">
            <a:extLst>
              <a:ext uri="{FF2B5EF4-FFF2-40B4-BE49-F238E27FC236}">
                <a16:creationId xmlns:a16="http://schemas.microsoft.com/office/drawing/2014/main" id="{CBEF722D-11BB-41E4-A1D0-FD440C2F9938}"/>
              </a:ext>
            </a:extLst>
          </p:cNvPr>
          <p:cNvSpPr>
            <a:spLocks/>
          </p:cNvSpPr>
          <p:nvPr/>
        </p:nvSpPr>
        <p:spPr bwMode="gray">
          <a:xfrm>
            <a:off x="3963038" y="3559618"/>
            <a:ext cx="75704" cy="27260"/>
          </a:xfrm>
          <a:custGeom>
            <a:avLst/>
            <a:gdLst>
              <a:gd name="T0" fmla="*/ 2 w 40"/>
              <a:gd name="T1" fmla="*/ 5 h 12"/>
              <a:gd name="T2" fmla="*/ 0 w 40"/>
              <a:gd name="T3" fmla="*/ 12 h 12"/>
              <a:gd name="T4" fmla="*/ 10 w 40"/>
              <a:gd name="T5" fmla="*/ 8 h 12"/>
              <a:gd name="T6" fmla="*/ 22 w 40"/>
              <a:gd name="T7" fmla="*/ 5 h 12"/>
              <a:gd name="T8" fmla="*/ 40 w 40"/>
              <a:gd name="T9" fmla="*/ 8 h 12"/>
              <a:gd name="T10" fmla="*/ 37 w 40"/>
              <a:gd name="T11" fmla="*/ 5 h 12"/>
              <a:gd name="T12" fmla="*/ 20 w 40"/>
              <a:gd name="T13" fmla="*/ 0 h 12"/>
              <a:gd name="T14" fmla="*/ 18 w 40"/>
              <a:gd name="T15" fmla="*/ 4 h 12"/>
              <a:gd name="T16" fmla="*/ 3 w 40"/>
              <a:gd name="T17" fmla="*/ 4 h 12"/>
              <a:gd name="T18" fmla="*/ 3 w 40"/>
              <a:gd name="T19" fmla="*/ 5 h 12"/>
              <a:gd name="T20" fmla="*/ 16 w 40"/>
              <a:gd name="T21" fmla="*/ 5 h 12"/>
              <a:gd name="T22" fmla="*/ 8 w 40"/>
              <a:gd name="T23" fmla="*/ 8 h 12"/>
              <a:gd name="T24" fmla="*/ 2 w 40"/>
              <a:gd name="T25" fmla="*/ 5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0" h="12">
                <a:moveTo>
                  <a:pt x="2" y="5"/>
                </a:moveTo>
                <a:lnTo>
                  <a:pt x="0" y="12"/>
                </a:lnTo>
                <a:lnTo>
                  <a:pt x="10" y="8"/>
                </a:lnTo>
                <a:lnTo>
                  <a:pt x="22" y="5"/>
                </a:lnTo>
                <a:lnTo>
                  <a:pt x="40" y="8"/>
                </a:lnTo>
                <a:lnTo>
                  <a:pt x="37" y="5"/>
                </a:lnTo>
                <a:lnTo>
                  <a:pt x="20" y="0"/>
                </a:lnTo>
                <a:lnTo>
                  <a:pt x="18" y="4"/>
                </a:lnTo>
                <a:lnTo>
                  <a:pt x="3" y="4"/>
                </a:lnTo>
                <a:lnTo>
                  <a:pt x="3" y="5"/>
                </a:lnTo>
                <a:lnTo>
                  <a:pt x="16" y="5"/>
                </a:lnTo>
                <a:lnTo>
                  <a:pt x="8" y="8"/>
                </a:lnTo>
                <a:lnTo>
                  <a:pt x="2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7" name="Freeform 136">
            <a:extLst>
              <a:ext uri="{FF2B5EF4-FFF2-40B4-BE49-F238E27FC236}">
                <a16:creationId xmlns:a16="http://schemas.microsoft.com/office/drawing/2014/main" id="{B6FA6EF0-CC5A-4203-848A-E0B3324C310B}"/>
              </a:ext>
            </a:extLst>
          </p:cNvPr>
          <p:cNvSpPr>
            <a:spLocks/>
          </p:cNvSpPr>
          <p:nvPr/>
        </p:nvSpPr>
        <p:spPr bwMode="gray">
          <a:xfrm>
            <a:off x="4326076" y="3655029"/>
            <a:ext cx="118718" cy="221977"/>
          </a:xfrm>
          <a:custGeom>
            <a:avLst/>
            <a:gdLst>
              <a:gd name="T0" fmla="*/ 56 w 63"/>
              <a:gd name="T1" fmla="*/ 87 h 102"/>
              <a:gd name="T2" fmla="*/ 46 w 63"/>
              <a:gd name="T3" fmla="*/ 90 h 102"/>
              <a:gd name="T4" fmla="*/ 35 w 63"/>
              <a:gd name="T5" fmla="*/ 94 h 102"/>
              <a:gd name="T6" fmla="*/ 26 w 63"/>
              <a:gd name="T7" fmla="*/ 97 h 102"/>
              <a:gd name="T8" fmla="*/ 15 w 63"/>
              <a:gd name="T9" fmla="*/ 102 h 102"/>
              <a:gd name="T10" fmla="*/ 2 w 63"/>
              <a:gd name="T11" fmla="*/ 97 h 102"/>
              <a:gd name="T12" fmla="*/ 6 w 63"/>
              <a:gd name="T13" fmla="*/ 94 h 102"/>
              <a:gd name="T14" fmla="*/ 4 w 63"/>
              <a:gd name="T15" fmla="*/ 82 h 102"/>
              <a:gd name="T16" fmla="*/ 0 w 63"/>
              <a:gd name="T17" fmla="*/ 70 h 102"/>
              <a:gd name="T18" fmla="*/ 5 w 63"/>
              <a:gd name="T19" fmla="*/ 58 h 102"/>
              <a:gd name="T20" fmla="*/ 11 w 63"/>
              <a:gd name="T21" fmla="*/ 47 h 102"/>
              <a:gd name="T22" fmla="*/ 8 w 63"/>
              <a:gd name="T23" fmla="*/ 27 h 102"/>
              <a:gd name="T24" fmla="*/ 8 w 63"/>
              <a:gd name="T25" fmla="*/ 15 h 102"/>
              <a:gd name="T26" fmla="*/ 6 w 63"/>
              <a:gd name="T27" fmla="*/ 3 h 102"/>
              <a:gd name="T28" fmla="*/ 23 w 63"/>
              <a:gd name="T29" fmla="*/ 1 h 102"/>
              <a:gd name="T30" fmla="*/ 40 w 63"/>
              <a:gd name="T31" fmla="*/ 1 h 102"/>
              <a:gd name="T32" fmla="*/ 44 w 63"/>
              <a:gd name="T33" fmla="*/ 0 h 102"/>
              <a:gd name="T34" fmla="*/ 46 w 63"/>
              <a:gd name="T35" fmla="*/ 5 h 102"/>
              <a:gd name="T36" fmla="*/ 52 w 63"/>
              <a:gd name="T37" fmla="*/ 19 h 102"/>
              <a:gd name="T38" fmla="*/ 51 w 63"/>
              <a:gd name="T39" fmla="*/ 27 h 102"/>
              <a:gd name="T40" fmla="*/ 52 w 63"/>
              <a:gd name="T41" fmla="*/ 37 h 102"/>
              <a:gd name="T42" fmla="*/ 54 w 63"/>
              <a:gd name="T43" fmla="*/ 48 h 102"/>
              <a:gd name="T44" fmla="*/ 56 w 63"/>
              <a:gd name="T45" fmla="*/ 60 h 102"/>
              <a:gd name="T46" fmla="*/ 56 w 63"/>
              <a:gd name="T47" fmla="*/ 73 h 102"/>
              <a:gd name="T48" fmla="*/ 63 w 63"/>
              <a:gd name="T49" fmla="*/ 81 h 102"/>
              <a:gd name="T50" fmla="*/ 56 w 63"/>
              <a:gd name="T51" fmla="*/ 87 h 102"/>
              <a:gd name="T52" fmla="*/ 51 w 63"/>
              <a:gd name="T53" fmla="*/ 82 h 102"/>
              <a:gd name="T54" fmla="*/ 56 w 63"/>
              <a:gd name="T55" fmla="*/ 87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63" h="102">
                <a:moveTo>
                  <a:pt x="56" y="87"/>
                </a:moveTo>
                <a:lnTo>
                  <a:pt x="46" y="90"/>
                </a:lnTo>
                <a:lnTo>
                  <a:pt x="35" y="94"/>
                </a:lnTo>
                <a:lnTo>
                  <a:pt x="26" y="97"/>
                </a:lnTo>
                <a:lnTo>
                  <a:pt x="15" y="102"/>
                </a:lnTo>
                <a:lnTo>
                  <a:pt x="2" y="97"/>
                </a:lnTo>
                <a:lnTo>
                  <a:pt x="6" y="94"/>
                </a:lnTo>
                <a:lnTo>
                  <a:pt x="4" y="82"/>
                </a:lnTo>
                <a:lnTo>
                  <a:pt x="0" y="70"/>
                </a:lnTo>
                <a:lnTo>
                  <a:pt x="5" y="58"/>
                </a:lnTo>
                <a:lnTo>
                  <a:pt x="11" y="47"/>
                </a:lnTo>
                <a:lnTo>
                  <a:pt x="8" y="27"/>
                </a:lnTo>
                <a:lnTo>
                  <a:pt x="8" y="15"/>
                </a:lnTo>
                <a:lnTo>
                  <a:pt x="6" y="3"/>
                </a:lnTo>
                <a:lnTo>
                  <a:pt x="23" y="1"/>
                </a:lnTo>
                <a:lnTo>
                  <a:pt x="40" y="1"/>
                </a:lnTo>
                <a:lnTo>
                  <a:pt x="44" y="0"/>
                </a:lnTo>
                <a:lnTo>
                  <a:pt x="46" y="5"/>
                </a:lnTo>
                <a:lnTo>
                  <a:pt x="52" y="19"/>
                </a:lnTo>
                <a:lnTo>
                  <a:pt x="51" y="27"/>
                </a:lnTo>
                <a:lnTo>
                  <a:pt x="52" y="37"/>
                </a:lnTo>
                <a:lnTo>
                  <a:pt x="54" y="48"/>
                </a:lnTo>
                <a:lnTo>
                  <a:pt x="56" y="60"/>
                </a:lnTo>
                <a:lnTo>
                  <a:pt x="56" y="73"/>
                </a:lnTo>
                <a:lnTo>
                  <a:pt x="63" y="81"/>
                </a:lnTo>
                <a:lnTo>
                  <a:pt x="56" y="87"/>
                </a:lnTo>
                <a:lnTo>
                  <a:pt x="51" y="82"/>
                </a:lnTo>
                <a:lnTo>
                  <a:pt x="56" y="8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8" name="Freeform 137">
            <a:extLst>
              <a:ext uri="{FF2B5EF4-FFF2-40B4-BE49-F238E27FC236}">
                <a16:creationId xmlns:a16="http://schemas.microsoft.com/office/drawing/2014/main" id="{90D45162-CEB3-40BC-ACF7-94CE002A1A0D}"/>
              </a:ext>
            </a:extLst>
          </p:cNvPr>
          <p:cNvSpPr>
            <a:spLocks/>
          </p:cNvSpPr>
          <p:nvPr/>
        </p:nvSpPr>
        <p:spPr bwMode="gray">
          <a:xfrm>
            <a:off x="4009493" y="3598563"/>
            <a:ext cx="194424" cy="186928"/>
          </a:xfrm>
          <a:custGeom>
            <a:avLst/>
            <a:gdLst>
              <a:gd name="T0" fmla="*/ 92 w 103"/>
              <a:gd name="T1" fmla="*/ 20 h 86"/>
              <a:gd name="T2" fmla="*/ 91 w 103"/>
              <a:gd name="T3" fmla="*/ 25 h 86"/>
              <a:gd name="T4" fmla="*/ 92 w 103"/>
              <a:gd name="T5" fmla="*/ 26 h 86"/>
              <a:gd name="T6" fmla="*/ 99 w 103"/>
              <a:gd name="T7" fmla="*/ 41 h 86"/>
              <a:gd name="T8" fmla="*/ 98 w 103"/>
              <a:gd name="T9" fmla="*/ 53 h 86"/>
              <a:gd name="T10" fmla="*/ 100 w 103"/>
              <a:gd name="T11" fmla="*/ 55 h 86"/>
              <a:gd name="T12" fmla="*/ 100 w 103"/>
              <a:gd name="T13" fmla="*/ 59 h 86"/>
              <a:gd name="T14" fmla="*/ 103 w 103"/>
              <a:gd name="T15" fmla="*/ 65 h 86"/>
              <a:gd name="T16" fmla="*/ 102 w 103"/>
              <a:gd name="T17" fmla="*/ 68 h 86"/>
              <a:gd name="T18" fmla="*/ 96 w 103"/>
              <a:gd name="T19" fmla="*/ 70 h 86"/>
              <a:gd name="T20" fmla="*/ 98 w 103"/>
              <a:gd name="T21" fmla="*/ 76 h 86"/>
              <a:gd name="T22" fmla="*/ 93 w 103"/>
              <a:gd name="T23" fmla="*/ 82 h 86"/>
              <a:gd name="T24" fmla="*/ 92 w 103"/>
              <a:gd name="T25" fmla="*/ 83 h 86"/>
              <a:gd name="T26" fmla="*/ 88 w 103"/>
              <a:gd name="T27" fmla="*/ 83 h 86"/>
              <a:gd name="T28" fmla="*/ 82 w 103"/>
              <a:gd name="T29" fmla="*/ 86 h 86"/>
              <a:gd name="T30" fmla="*/ 79 w 103"/>
              <a:gd name="T31" fmla="*/ 84 h 86"/>
              <a:gd name="T32" fmla="*/ 75 w 103"/>
              <a:gd name="T33" fmla="*/ 67 h 86"/>
              <a:gd name="T34" fmla="*/ 67 w 103"/>
              <a:gd name="T35" fmla="*/ 67 h 86"/>
              <a:gd name="T36" fmla="*/ 61 w 103"/>
              <a:gd name="T37" fmla="*/ 68 h 86"/>
              <a:gd name="T38" fmla="*/ 62 w 103"/>
              <a:gd name="T39" fmla="*/ 58 h 86"/>
              <a:gd name="T40" fmla="*/ 54 w 103"/>
              <a:gd name="T41" fmla="*/ 43 h 86"/>
              <a:gd name="T42" fmla="*/ 34 w 103"/>
              <a:gd name="T43" fmla="*/ 48 h 86"/>
              <a:gd name="T44" fmla="*/ 24 w 103"/>
              <a:gd name="T45" fmla="*/ 59 h 86"/>
              <a:gd name="T46" fmla="*/ 24 w 103"/>
              <a:gd name="T47" fmla="*/ 54 h 86"/>
              <a:gd name="T48" fmla="*/ 19 w 103"/>
              <a:gd name="T49" fmla="*/ 49 h 86"/>
              <a:gd name="T50" fmla="*/ 18 w 103"/>
              <a:gd name="T51" fmla="*/ 46 h 86"/>
              <a:gd name="T52" fmla="*/ 13 w 103"/>
              <a:gd name="T53" fmla="*/ 42 h 86"/>
              <a:gd name="T54" fmla="*/ 6 w 103"/>
              <a:gd name="T55" fmla="*/ 34 h 86"/>
              <a:gd name="T56" fmla="*/ 6 w 103"/>
              <a:gd name="T57" fmla="*/ 30 h 86"/>
              <a:gd name="T58" fmla="*/ 4 w 103"/>
              <a:gd name="T59" fmla="*/ 31 h 86"/>
              <a:gd name="T60" fmla="*/ 3 w 103"/>
              <a:gd name="T61" fmla="*/ 26 h 86"/>
              <a:gd name="T62" fmla="*/ 0 w 103"/>
              <a:gd name="T63" fmla="*/ 29 h 86"/>
              <a:gd name="T64" fmla="*/ 0 w 103"/>
              <a:gd name="T65" fmla="*/ 28 h 86"/>
              <a:gd name="T66" fmla="*/ 3 w 103"/>
              <a:gd name="T67" fmla="*/ 22 h 86"/>
              <a:gd name="T68" fmla="*/ 16 w 103"/>
              <a:gd name="T69" fmla="*/ 17 h 86"/>
              <a:gd name="T70" fmla="*/ 16 w 103"/>
              <a:gd name="T71" fmla="*/ 7 h 86"/>
              <a:gd name="T72" fmla="*/ 19 w 103"/>
              <a:gd name="T73" fmla="*/ 0 h 86"/>
              <a:gd name="T74" fmla="*/ 31 w 103"/>
              <a:gd name="T75" fmla="*/ 2 h 86"/>
              <a:gd name="T76" fmla="*/ 51 w 103"/>
              <a:gd name="T77" fmla="*/ 5 h 86"/>
              <a:gd name="T78" fmla="*/ 50 w 103"/>
              <a:gd name="T79" fmla="*/ 8 h 86"/>
              <a:gd name="T80" fmla="*/ 58 w 103"/>
              <a:gd name="T81" fmla="*/ 8 h 86"/>
              <a:gd name="T82" fmla="*/ 63 w 103"/>
              <a:gd name="T83" fmla="*/ 11 h 86"/>
              <a:gd name="T84" fmla="*/ 72 w 103"/>
              <a:gd name="T85" fmla="*/ 10 h 86"/>
              <a:gd name="T86" fmla="*/ 80 w 103"/>
              <a:gd name="T87" fmla="*/ 6 h 86"/>
              <a:gd name="T88" fmla="*/ 82 w 103"/>
              <a:gd name="T89" fmla="*/ 4 h 86"/>
              <a:gd name="T90" fmla="*/ 87 w 103"/>
              <a:gd name="T91" fmla="*/ 17 h 86"/>
              <a:gd name="T92" fmla="*/ 92 w 103"/>
              <a:gd name="T93" fmla="*/ 2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3" h="86">
                <a:moveTo>
                  <a:pt x="92" y="20"/>
                </a:moveTo>
                <a:lnTo>
                  <a:pt x="91" y="25"/>
                </a:lnTo>
                <a:lnTo>
                  <a:pt x="92" y="26"/>
                </a:lnTo>
                <a:lnTo>
                  <a:pt x="99" y="41"/>
                </a:lnTo>
                <a:lnTo>
                  <a:pt x="98" y="53"/>
                </a:lnTo>
                <a:lnTo>
                  <a:pt x="100" y="55"/>
                </a:lnTo>
                <a:lnTo>
                  <a:pt x="100" y="59"/>
                </a:lnTo>
                <a:lnTo>
                  <a:pt x="103" y="65"/>
                </a:lnTo>
                <a:lnTo>
                  <a:pt x="102" y="68"/>
                </a:lnTo>
                <a:lnTo>
                  <a:pt x="96" y="70"/>
                </a:lnTo>
                <a:lnTo>
                  <a:pt x="98" y="76"/>
                </a:lnTo>
                <a:lnTo>
                  <a:pt x="93" y="82"/>
                </a:lnTo>
                <a:lnTo>
                  <a:pt x="92" y="83"/>
                </a:lnTo>
                <a:lnTo>
                  <a:pt x="88" y="83"/>
                </a:lnTo>
                <a:lnTo>
                  <a:pt x="82" y="86"/>
                </a:lnTo>
                <a:lnTo>
                  <a:pt x="79" y="84"/>
                </a:lnTo>
                <a:lnTo>
                  <a:pt x="75" y="67"/>
                </a:lnTo>
                <a:lnTo>
                  <a:pt x="67" y="67"/>
                </a:lnTo>
                <a:lnTo>
                  <a:pt x="61" y="68"/>
                </a:lnTo>
                <a:lnTo>
                  <a:pt x="62" y="58"/>
                </a:lnTo>
                <a:lnTo>
                  <a:pt x="54" y="43"/>
                </a:lnTo>
                <a:lnTo>
                  <a:pt x="34" y="48"/>
                </a:lnTo>
                <a:lnTo>
                  <a:pt x="24" y="59"/>
                </a:lnTo>
                <a:lnTo>
                  <a:pt x="24" y="54"/>
                </a:lnTo>
                <a:lnTo>
                  <a:pt x="19" y="49"/>
                </a:lnTo>
                <a:lnTo>
                  <a:pt x="18" y="46"/>
                </a:lnTo>
                <a:lnTo>
                  <a:pt x="13" y="42"/>
                </a:lnTo>
                <a:lnTo>
                  <a:pt x="6" y="34"/>
                </a:lnTo>
                <a:lnTo>
                  <a:pt x="6" y="30"/>
                </a:lnTo>
                <a:lnTo>
                  <a:pt x="4" y="31"/>
                </a:lnTo>
                <a:lnTo>
                  <a:pt x="3" y="26"/>
                </a:lnTo>
                <a:lnTo>
                  <a:pt x="0" y="29"/>
                </a:lnTo>
                <a:lnTo>
                  <a:pt x="0" y="28"/>
                </a:lnTo>
                <a:lnTo>
                  <a:pt x="3" y="22"/>
                </a:lnTo>
                <a:lnTo>
                  <a:pt x="16" y="17"/>
                </a:lnTo>
                <a:lnTo>
                  <a:pt x="16" y="7"/>
                </a:lnTo>
                <a:lnTo>
                  <a:pt x="19" y="0"/>
                </a:lnTo>
                <a:lnTo>
                  <a:pt x="31" y="2"/>
                </a:lnTo>
                <a:lnTo>
                  <a:pt x="51" y="5"/>
                </a:lnTo>
                <a:lnTo>
                  <a:pt x="50" y="8"/>
                </a:lnTo>
                <a:lnTo>
                  <a:pt x="58" y="8"/>
                </a:lnTo>
                <a:lnTo>
                  <a:pt x="63" y="11"/>
                </a:lnTo>
                <a:lnTo>
                  <a:pt x="72" y="10"/>
                </a:lnTo>
                <a:lnTo>
                  <a:pt x="80" y="6"/>
                </a:lnTo>
                <a:lnTo>
                  <a:pt x="82" y="4"/>
                </a:lnTo>
                <a:lnTo>
                  <a:pt x="87" y="17"/>
                </a:lnTo>
                <a:lnTo>
                  <a:pt x="92" y="2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9" name="Freeform 138">
            <a:extLst>
              <a:ext uri="{FF2B5EF4-FFF2-40B4-BE49-F238E27FC236}">
                <a16:creationId xmlns:a16="http://schemas.microsoft.com/office/drawing/2014/main" id="{42E69DE8-DB5E-44C3-98F0-ADB81A16F2A5}"/>
              </a:ext>
            </a:extLst>
          </p:cNvPr>
          <p:cNvSpPr>
            <a:spLocks/>
          </p:cNvSpPr>
          <p:nvPr/>
        </p:nvSpPr>
        <p:spPr bwMode="gray">
          <a:xfrm>
            <a:off x="3963038" y="3598563"/>
            <a:ext cx="80867" cy="62308"/>
          </a:xfrm>
          <a:custGeom>
            <a:avLst/>
            <a:gdLst>
              <a:gd name="T0" fmla="*/ 21 w 43"/>
              <a:gd name="T1" fmla="*/ 17 h 28"/>
              <a:gd name="T2" fmla="*/ 20 w 43"/>
              <a:gd name="T3" fmla="*/ 22 h 28"/>
              <a:gd name="T4" fmla="*/ 22 w 43"/>
              <a:gd name="T5" fmla="*/ 25 h 28"/>
              <a:gd name="T6" fmla="*/ 24 w 43"/>
              <a:gd name="T7" fmla="*/ 28 h 28"/>
              <a:gd name="T8" fmla="*/ 27 w 43"/>
              <a:gd name="T9" fmla="*/ 22 h 28"/>
              <a:gd name="T10" fmla="*/ 40 w 43"/>
              <a:gd name="T11" fmla="*/ 17 h 28"/>
              <a:gd name="T12" fmla="*/ 40 w 43"/>
              <a:gd name="T13" fmla="*/ 7 h 28"/>
              <a:gd name="T14" fmla="*/ 43 w 43"/>
              <a:gd name="T15" fmla="*/ 0 h 28"/>
              <a:gd name="T16" fmla="*/ 31 w 43"/>
              <a:gd name="T17" fmla="*/ 1 h 28"/>
              <a:gd name="T18" fmla="*/ 19 w 43"/>
              <a:gd name="T19" fmla="*/ 2 h 28"/>
              <a:gd name="T20" fmla="*/ 0 w 43"/>
              <a:gd name="T21" fmla="*/ 6 h 28"/>
              <a:gd name="T22" fmla="*/ 7 w 43"/>
              <a:gd name="T23" fmla="*/ 6 h 28"/>
              <a:gd name="T24" fmla="*/ 6 w 43"/>
              <a:gd name="T25" fmla="*/ 10 h 28"/>
              <a:gd name="T26" fmla="*/ 12 w 43"/>
              <a:gd name="T27" fmla="*/ 11 h 28"/>
              <a:gd name="T28" fmla="*/ 12 w 43"/>
              <a:gd name="T29" fmla="*/ 13 h 28"/>
              <a:gd name="T30" fmla="*/ 21 w 43"/>
              <a:gd name="T31" fmla="*/ 12 h 28"/>
              <a:gd name="T32" fmla="*/ 24 w 43"/>
              <a:gd name="T33" fmla="*/ 14 h 28"/>
              <a:gd name="T34" fmla="*/ 16 w 43"/>
              <a:gd name="T35" fmla="*/ 16 h 28"/>
              <a:gd name="T36" fmla="*/ 21 w 43"/>
              <a:gd name="T37" fmla="*/ 17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3" h="28">
                <a:moveTo>
                  <a:pt x="21" y="17"/>
                </a:moveTo>
                <a:lnTo>
                  <a:pt x="20" y="22"/>
                </a:lnTo>
                <a:lnTo>
                  <a:pt x="22" y="25"/>
                </a:lnTo>
                <a:lnTo>
                  <a:pt x="24" y="28"/>
                </a:lnTo>
                <a:lnTo>
                  <a:pt x="27" y="22"/>
                </a:lnTo>
                <a:lnTo>
                  <a:pt x="40" y="17"/>
                </a:lnTo>
                <a:lnTo>
                  <a:pt x="40" y="7"/>
                </a:lnTo>
                <a:lnTo>
                  <a:pt x="43" y="0"/>
                </a:lnTo>
                <a:lnTo>
                  <a:pt x="31" y="1"/>
                </a:lnTo>
                <a:lnTo>
                  <a:pt x="19" y="2"/>
                </a:lnTo>
                <a:lnTo>
                  <a:pt x="0" y="6"/>
                </a:lnTo>
                <a:lnTo>
                  <a:pt x="7" y="6"/>
                </a:lnTo>
                <a:lnTo>
                  <a:pt x="6" y="10"/>
                </a:lnTo>
                <a:lnTo>
                  <a:pt x="12" y="11"/>
                </a:lnTo>
                <a:lnTo>
                  <a:pt x="12" y="13"/>
                </a:lnTo>
                <a:lnTo>
                  <a:pt x="21" y="12"/>
                </a:lnTo>
                <a:lnTo>
                  <a:pt x="24" y="14"/>
                </a:lnTo>
                <a:lnTo>
                  <a:pt x="16" y="16"/>
                </a:lnTo>
                <a:lnTo>
                  <a:pt x="21" y="1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0" name="Freeform 139">
            <a:extLst>
              <a:ext uri="{FF2B5EF4-FFF2-40B4-BE49-F238E27FC236}">
                <a16:creationId xmlns:a16="http://schemas.microsoft.com/office/drawing/2014/main" id="{CEF00D4C-8E40-4751-8908-9B0E9546360E}"/>
              </a:ext>
            </a:extLst>
          </p:cNvPr>
          <p:cNvSpPr>
            <a:spLocks/>
          </p:cNvSpPr>
          <p:nvPr/>
        </p:nvSpPr>
        <p:spPr bwMode="gray">
          <a:xfrm>
            <a:off x="4184990" y="3668658"/>
            <a:ext cx="165173" cy="221977"/>
          </a:xfrm>
          <a:custGeom>
            <a:avLst/>
            <a:gdLst>
              <a:gd name="T0" fmla="*/ 48 w 85"/>
              <a:gd name="T1" fmla="*/ 6 h 102"/>
              <a:gd name="T2" fmla="*/ 42 w 85"/>
              <a:gd name="T3" fmla="*/ 4 h 102"/>
              <a:gd name="T4" fmla="*/ 32 w 85"/>
              <a:gd name="T5" fmla="*/ 6 h 102"/>
              <a:gd name="T6" fmla="*/ 31 w 85"/>
              <a:gd name="T7" fmla="*/ 0 h 102"/>
              <a:gd name="T8" fmla="*/ 25 w 85"/>
              <a:gd name="T9" fmla="*/ 4 h 102"/>
              <a:gd name="T10" fmla="*/ 19 w 85"/>
              <a:gd name="T11" fmla="*/ 8 h 102"/>
              <a:gd name="T12" fmla="*/ 11 w 85"/>
              <a:gd name="T13" fmla="*/ 5 h 102"/>
              <a:gd name="T14" fmla="*/ 7 w 85"/>
              <a:gd name="T15" fmla="*/ 9 h 102"/>
              <a:gd name="T16" fmla="*/ 6 w 85"/>
              <a:gd name="T17" fmla="*/ 21 h 102"/>
              <a:gd name="T18" fmla="*/ 8 w 85"/>
              <a:gd name="T19" fmla="*/ 23 h 102"/>
              <a:gd name="T20" fmla="*/ 8 w 85"/>
              <a:gd name="T21" fmla="*/ 27 h 102"/>
              <a:gd name="T22" fmla="*/ 11 w 85"/>
              <a:gd name="T23" fmla="*/ 33 h 102"/>
              <a:gd name="T24" fmla="*/ 10 w 85"/>
              <a:gd name="T25" fmla="*/ 36 h 102"/>
              <a:gd name="T26" fmla="*/ 4 w 85"/>
              <a:gd name="T27" fmla="*/ 38 h 102"/>
              <a:gd name="T28" fmla="*/ 6 w 85"/>
              <a:gd name="T29" fmla="*/ 44 h 102"/>
              <a:gd name="T30" fmla="*/ 1 w 85"/>
              <a:gd name="T31" fmla="*/ 50 h 102"/>
              <a:gd name="T32" fmla="*/ 0 w 85"/>
              <a:gd name="T33" fmla="*/ 51 h 102"/>
              <a:gd name="T34" fmla="*/ 0 w 85"/>
              <a:gd name="T35" fmla="*/ 65 h 102"/>
              <a:gd name="T36" fmla="*/ 0 w 85"/>
              <a:gd name="T37" fmla="*/ 68 h 102"/>
              <a:gd name="T38" fmla="*/ 10 w 85"/>
              <a:gd name="T39" fmla="*/ 76 h 102"/>
              <a:gd name="T40" fmla="*/ 16 w 85"/>
              <a:gd name="T41" fmla="*/ 82 h 102"/>
              <a:gd name="T42" fmla="*/ 13 w 85"/>
              <a:gd name="T43" fmla="*/ 102 h 102"/>
              <a:gd name="T44" fmla="*/ 31 w 85"/>
              <a:gd name="T45" fmla="*/ 95 h 102"/>
              <a:gd name="T46" fmla="*/ 49 w 85"/>
              <a:gd name="T47" fmla="*/ 89 h 102"/>
              <a:gd name="T48" fmla="*/ 46 w 85"/>
              <a:gd name="T49" fmla="*/ 89 h 102"/>
              <a:gd name="T50" fmla="*/ 64 w 85"/>
              <a:gd name="T51" fmla="*/ 88 h 102"/>
              <a:gd name="T52" fmla="*/ 54 w 85"/>
              <a:gd name="T53" fmla="*/ 88 h 102"/>
              <a:gd name="T54" fmla="*/ 65 w 85"/>
              <a:gd name="T55" fmla="*/ 87 h 102"/>
              <a:gd name="T56" fmla="*/ 74 w 85"/>
              <a:gd name="T57" fmla="*/ 88 h 102"/>
              <a:gd name="T58" fmla="*/ 76 w 85"/>
              <a:gd name="T59" fmla="*/ 90 h 102"/>
              <a:gd name="T60" fmla="*/ 80 w 85"/>
              <a:gd name="T61" fmla="*/ 87 h 102"/>
              <a:gd name="T62" fmla="*/ 78 w 85"/>
              <a:gd name="T63" fmla="*/ 75 h 102"/>
              <a:gd name="T64" fmla="*/ 74 w 85"/>
              <a:gd name="T65" fmla="*/ 63 h 102"/>
              <a:gd name="T66" fmla="*/ 79 w 85"/>
              <a:gd name="T67" fmla="*/ 51 h 102"/>
              <a:gd name="T68" fmla="*/ 85 w 85"/>
              <a:gd name="T69" fmla="*/ 40 h 102"/>
              <a:gd name="T70" fmla="*/ 82 w 85"/>
              <a:gd name="T71" fmla="*/ 20 h 102"/>
              <a:gd name="T72" fmla="*/ 70 w 85"/>
              <a:gd name="T73" fmla="*/ 12 h 102"/>
              <a:gd name="T74" fmla="*/ 56 w 85"/>
              <a:gd name="T75" fmla="*/ 16 h 102"/>
              <a:gd name="T76" fmla="*/ 48 w 85"/>
              <a:gd name="T77" fmla="*/ 6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" h="102">
                <a:moveTo>
                  <a:pt x="48" y="6"/>
                </a:moveTo>
                <a:lnTo>
                  <a:pt x="42" y="4"/>
                </a:lnTo>
                <a:lnTo>
                  <a:pt x="32" y="6"/>
                </a:lnTo>
                <a:lnTo>
                  <a:pt x="31" y="0"/>
                </a:lnTo>
                <a:lnTo>
                  <a:pt x="25" y="4"/>
                </a:lnTo>
                <a:lnTo>
                  <a:pt x="19" y="8"/>
                </a:lnTo>
                <a:lnTo>
                  <a:pt x="11" y="5"/>
                </a:lnTo>
                <a:lnTo>
                  <a:pt x="7" y="9"/>
                </a:lnTo>
                <a:lnTo>
                  <a:pt x="6" y="21"/>
                </a:lnTo>
                <a:lnTo>
                  <a:pt x="8" y="23"/>
                </a:lnTo>
                <a:lnTo>
                  <a:pt x="8" y="27"/>
                </a:lnTo>
                <a:lnTo>
                  <a:pt x="11" y="33"/>
                </a:lnTo>
                <a:lnTo>
                  <a:pt x="10" y="36"/>
                </a:lnTo>
                <a:lnTo>
                  <a:pt x="4" y="38"/>
                </a:lnTo>
                <a:lnTo>
                  <a:pt x="6" y="44"/>
                </a:lnTo>
                <a:lnTo>
                  <a:pt x="1" y="50"/>
                </a:lnTo>
                <a:lnTo>
                  <a:pt x="0" y="51"/>
                </a:lnTo>
                <a:lnTo>
                  <a:pt x="0" y="65"/>
                </a:lnTo>
                <a:lnTo>
                  <a:pt x="0" y="68"/>
                </a:lnTo>
                <a:lnTo>
                  <a:pt x="10" y="76"/>
                </a:lnTo>
                <a:lnTo>
                  <a:pt x="16" y="82"/>
                </a:lnTo>
                <a:lnTo>
                  <a:pt x="13" y="102"/>
                </a:lnTo>
                <a:lnTo>
                  <a:pt x="31" y="95"/>
                </a:lnTo>
                <a:lnTo>
                  <a:pt x="49" y="89"/>
                </a:lnTo>
                <a:lnTo>
                  <a:pt x="46" y="89"/>
                </a:lnTo>
                <a:lnTo>
                  <a:pt x="64" y="88"/>
                </a:lnTo>
                <a:lnTo>
                  <a:pt x="54" y="88"/>
                </a:lnTo>
                <a:lnTo>
                  <a:pt x="65" y="87"/>
                </a:lnTo>
                <a:lnTo>
                  <a:pt x="74" y="88"/>
                </a:lnTo>
                <a:lnTo>
                  <a:pt x="76" y="90"/>
                </a:lnTo>
                <a:lnTo>
                  <a:pt x="80" y="87"/>
                </a:lnTo>
                <a:lnTo>
                  <a:pt x="78" y="75"/>
                </a:lnTo>
                <a:lnTo>
                  <a:pt x="74" y="63"/>
                </a:lnTo>
                <a:lnTo>
                  <a:pt x="79" y="51"/>
                </a:lnTo>
                <a:lnTo>
                  <a:pt x="85" y="40"/>
                </a:lnTo>
                <a:lnTo>
                  <a:pt x="82" y="20"/>
                </a:lnTo>
                <a:lnTo>
                  <a:pt x="70" y="12"/>
                </a:lnTo>
                <a:lnTo>
                  <a:pt x="56" y="16"/>
                </a:lnTo>
                <a:lnTo>
                  <a:pt x="48" y="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1" name="Freeform 140">
            <a:extLst>
              <a:ext uri="{FF2B5EF4-FFF2-40B4-BE49-F238E27FC236}">
                <a16:creationId xmlns:a16="http://schemas.microsoft.com/office/drawing/2014/main" id="{7C13CB54-6E01-4F05-A24F-89D609E91B07}"/>
              </a:ext>
            </a:extLst>
          </p:cNvPr>
          <p:cNvSpPr>
            <a:spLocks/>
          </p:cNvSpPr>
          <p:nvPr/>
        </p:nvSpPr>
        <p:spPr bwMode="gray">
          <a:xfrm>
            <a:off x="4054228" y="3693972"/>
            <a:ext cx="80867" cy="105146"/>
          </a:xfrm>
          <a:custGeom>
            <a:avLst/>
            <a:gdLst>
              <a:gd name="T0" fmla="*/ 43 w 43"/>
              <a:gd name="T1" fmla="*/ 24 h 49"/>
              <a:gd name="T2" fmla="*/ 36 w 43"/>
              <a:gd name="T3" fmla="*/ 35 h 49"/>
              <a:gd name="T4" fmla="*/ 30 w 43"/>
              <a:gd name="T5" fmla="*/ 45 h 49"/>
              <a:gd name="T6" fmla="*/ 25 w 43"/>
              <a:gd name="T7" fmla="*/ 49 h 49"/>
              <a:gd name="T8" fmla="*/ 10 w 43"/>
              <a:gd name="T9" fmla="*/ 42 h 49"/>
              <a:gd name="T10" fmla="*/ 13 w 43"/>
              <a:gd name="T11" fmla="*/ 40 h 49"/>
              <a:gd name="T12" fmla="*/ 10 w 43"/>
              <a:gd name="T13" fmla="*/ 37 h 49"/>
              <a:gd name="T14" fmla="*/ 1 w 43"/>
              <a:gd name="T15" fmla="*/ 27 h 49"/>
              <a:gd name="T16" fmla="*/ 6 w 43"/>
              <a:gd name="T17" fmla="*/ 23 h 49"/>
              <a:gd name="T18" fmla="*/ 1 w 43"/>
              <a:gd name="T19" fmla="*/ 22 h 49"/>
              <a:gd name="T20" fmla="*/ 4 w 43"/>
              <a:gd name="T21" fmla="*/ 18 h 49"/>
              <a:gd name="T22" fmla="*/ 0 w 43"/>
              <a:gd name="T23" fmla="*/ 16 h 49"/>
              <a:gd name="T24" fmla="*/ 10 w 43"/>
              <a:gd name="T25" fmla="*/ 5 h 49"/>
              <a:gd name="T26" fmla="*/ 30 w 43"/>
              <a:gd name="T27" fmla="*/ 0 h 49"/>
              <a:gd name="T28" fmla="*/ 38 w 43"/>
              <a:gd name="T29" fmla="*/ 15 h 49"/>
              <a:gd name="T30" fmla="*/ 37 w 43"/>
              <a:gd name="T31" fmla="*/ 25 h 49"/>
              <a:gd name="T32" fmla="*/ 43 w 43"/>
              <a:gd name="T33" fmla="*/ 24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3" h="49">
                <a:moveTo>
                  <a:pt x="43" y="24"/>
                </a:moveTo>
                <a:lnTo>
                  <a:pt x="36" y="35"/>
                </a:lnTo>
                <a:lnTo>
                  <a:pt x="30" y="45"/>
                </a:lnTo>
                <a:lnTo>
                  <a:pt x="25" y="49"/>
                </a:lnTo>
                <a:lnTo>
                  <a:pt x="10" y="42"/>
                </a:lnTo>
                <a:lnTo>
                  <a:pt x="13" y="40"/>
                </a:lnTo>
                <a:lnTo>
                  <a:pt x="10" y="37"/>
                </a:lnTo>
                <a:lnTo>
                  <a:pt x="1" y="27"/>
                </a:lnTo>
                <a:lnTo>
                  <a:pt x="6" y="23"/>
                </a:lnTo>
                <a:lnTo>
                  <a:pt x="1" y="22"/>
                </a:lnTo>
                <a:lnTo>
                  <a:pt x="4" y="18"/>
                </a:lnTo>
                <a:lnTo>
                  <a:pt x="0" y="16"/>
                </a:lnTo>
                <a:lnTo>
                  <a:pt x="10" y="5"/>
                </a:lnTo>
                <a:lnTo>
                  <a:pt x="30" y="0"/>
                </a:lnTo>
                <a:lnTo>
                  <a:pt x="38" y="15"/>
                </a:lnTo>
                <a:lnTo>
                  <a:pt x="37" y="25"/>
                </a:lnTo>
                <a:lnTo>
                  <a:pt x="43" y="2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2" name="Freeform 141">
            <a:extLst>
              <a:ext uri="{FF2B5EF4-FFF2-40B4-BE49-F238E27FC236}">
                <a16:creationId xmlns:a16="http://schemas.microsoft.com/office/drawing/2014/main" id="{64FAFC21-5314-4B3E-9FB2-59CBEC3B3F94}"/>
              </a:ext>
            </a:extLst>
          </p:cNvPr>
          <p:cNvSpPr>
            <a:spLocks/>
          </p:cNvSpPr>
          <p:nvPr/>
        </p:nvSpPr>
        <p:spPr bwMode="gray">
          <a:xfrm>
            <a:off x="4410383" y="3655029"/>
            <a:ext cx="46455" cy="173298"/>
          </a:xfrm>
          <a:custGeom>
            <a:avLst/>
            <a:gdLst>
              <a:gd name="T0" fmla="*/ 12 w 25"/>
              <a:gd name="T1" fmla="*/ 3 h 81"/>
              <a:gd name="T2" fmla="*/ 0 w 25"/>
              <a:gd name="T3" fmla="*/ 0 h 81"/>
              <a:gd name="T4" fmla="*/ 2 w 25"/>
              <a:gd name="T5" fmla="*/ 5 h 81"/>
              <a:gd name="T6" fmla="*/ 8 w 25"/>
              <a:gd name="T7" fmla="*/ 19 h 81"/>
              <a:gd name="T8" fmla="*/ 7 w 25"/>
              <a:gd name="T9" fmla="*/ 27 h 81"/>
              <a:gd name="T10" fmla="*/ 8 w 25"/>
              <a:gd name="T11" fmla="*/ 37 h 81"/>
              <a:gd name="T12" fmla="*/ 10 w 25"/>
              <a:gd name="T13" fmla="*/ 48 h 81"/>
              <a:gd name="T14" fmla="*/ 12 w 25"/>
              <a:gd name="T15" fmla="*/ 60 h 81"/>
              <a:gd name="T16" fmla="*/ 12 w 25"/>
              <a:gd name="T17" fmla="*/ 73 h 81"/>
              <a:gd name="T18" fmla="*/ 19 w 25"/>
              <a:gd name="T19" fmla="*/ 81 h 81"/>
              <a:gd name="T20" fmla="*/ 25 w 25"/>
              <a:gd name="T21" fmla="*/ 79 h 81"/>
              <a:gd name="T22" fmla="*/ 25 w 25"/>
              <a:gd name="T23" fmla="*/ 67 h 81"/>
              <a:gd name="T24" fmla="*/ 24 w 25"/>
              <a:gd name="T25" fmla="*/ 55 h 81"/>
              <a:gd name="T26" fmla="*/ 24 w 25"/>
              <a:gd name="T27" fmla="*/ 43 h 81"/>
              <a:gd name="T28" fmla="*/ 24 w 25"/>
              <a:gd name="T29" fmla="*/ 30 h 81"/>
              <a:gd name="T30" fmla="*/ 21 w 25"/>
              <a:gd name="T31" fmla="*/ 18 h 81"/>
              <a:gd name="T32" fmla="*/ 13 w 25"/>
              <a:gd name="T33" fmla="*/ 9 h 81"/>
              <a:gd name="T34" fmla="*/ 15 w 25"/>
              <a:gd name="T35" fmla="*/ 3 h 81"/>
              <a:gd name="T36" fmla="*/ 12 w 25"/>
              <a:gd name="T37" fmla="*/ 3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81">
                <a:moveTo>
                  <a:pt x="12" y="3"/>
                </a:moveTo>
                <a:lnTo>
                  <a:pt x="0" y="0"/>
                </a:lnTo>
                <a:lnTo>
                  <a:pt x="2" y="5"/>
                </a:lnTo>
                <a:lnTo>
                  <a:pt x="8" y="19"/>
                </a:lnTo>
                <a:lnTo>
                  <a:pt x="7" y="27"/>
                </a:lnTo>
                <a:lnTo>
                  <a:pt x="8" y="37"/>
                </a:lnTo>
                <a:lnTo>
                  <a:pt x="10" y="48"/>
                </a:lnTo>
                <a:lnTo>
                  <a:pt x="12" y="60"/>
                </a:lnTo>
                <a:lnTo>
                  <a:pt x="12" y="73"/>
                </a:lnTo>
                <a:lnTo>
                  <a:pt x="19" y="81"/>
                </a:lnTo>
                <a:lnTo>
                  <a:pt x="25" y="79"/>
                </a:lnTo>
                <a:lnTo>
                  <a:pt x="25" y="67"/>
                </a:lnTo>
                <a:lnTo>
                  <a:pt x="24" y="55"/>
                </a:lnTo>
                <a:lnTo>
                  <a:pt x="24" y="43"/>
                </a:lnTo>
                <a:lnTo>
                  <a:pt x="24" y="30"/>
                </a:lnTo>
                <a:lnTo>
                  <a:pt x="21" y="18"/>
                </a:lnTo>
                <a:lnTo>
                  <a:pt x="13" y="9"/>
                </a:lnTo>
                <a:lnTo>
                  <a:pt x="15" y="3"/>
                </a:lnTo>
                <a:lnTo>
                  <a:pt x="12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3" name="Freeform 142">
            <a:extLst>
              <a:ext uri="{FF2B5EF4-FFF2-40B4-BE49-F238E27FC236}">
                <a16:creationId xmlns:a16="http://schemas.microsoft.com/office/drawing/2014/main" id="{03933436-3680-4D98-8573-539937A779D3}"/>
              </a:ext>
            </a:extLst>
          </p:cNvPr>
          <p:cNvSpPr>
            <a:spLocks/>
          </p:cNvSpPr>
          <p:nvPr/>
        </p:nvSpPr>
        <p:spPr bwMode="gray">
          <a:xfrm>
            <a:off x="4188429" y="2753492"/>
            <a:ext cx="543696" cy="621146"/>
          </a:xfrm>
          <a:custGeom>
            <a:avLst/>
            <a:gdLst>
              <a:gd name="T0" fmla="*/ 0 w 285"/>
              <a:gd name="T1" fmla="*/ 149 h 286"/>
              <a:gd name="T2" fmla="*/ 13 w 285"/>
              <a:gd name="T3" fmla="*/ 164 h 286"/>
              <a:gd name="T4" fmla="*/ 40 w 285"/>
              <a:gd name="T5" fmla="*/ 182 h 286"/>
              <a:gd name="T6" fmla="*/ 63 w 285"/>
              <a:gd name="T7" fmla="*/ 199 h 286"/>
              <a:gd name="T8" fmla="*/ 83 w 285"/>
              <a:gd name="T9" fmla="*/ 215 h 286"/>
              <a:gd name="T10" fmla="*/ 105 w 285"/>
              <a:gd name="T11" fmla="*/ 232 h 286"/>
              <a:gd name="T12" fmla="*/ 125 w 285"/>
              <a:gd name="T13" fmla="*/ 247 h 286"/>
              <a:gd name="T14" fmla="*/ 136 w 285"/>
              <a:gd name="T15" fmla="*/ 259 h 286"/>
              <a:gd name="T16" fmla="*/ 162 w 285"/>
              <a:gd name="T17" fmla="*/ 274 h 286"/>
              <a:gd name="T18" fmla="*/ 178 w 285"/>
              <a:gd name="T19" fmla="*/ 286 h 286"/>
              <a:gd name="T20" fmla="*/ 201 w 285"/>
              <a:gd name="T21" fmla="*/ 281 h 286"/>
              <a:gd name="T22" fmla="*/ 222 w 285"/>
              <a:gd name="T23" fmla="*/ 259 h 286"/>
              <a:gd name="T24" fmla="*/ 255 w 285"/>
              <a:gd name="T25" fmla="*/ 238 h 286"/>
              <a:gd name="T26" fmla="*/ 285 w 285"/>
              <a:gd name="T27" fmla="*/ 216 h 286"/>
              <a:gd name="T28" fmla="*/ 263 w 285"/>
              <a:gd name="T29" fmla="*/ 200 h 286"/>
              <a:gd name="T30" fmla="*/ 249 w 285"/>
              <a:gd name="T31" fmla="*/ 173 h 286"/>
              <a:gd name="T32" fmla="*/ 255 w 285"/>
              <a:gd name="T33" fmla="*/ 149 h 286"/>
              <a:gd name="T34" fmla="*/ 247 w 285"/>
              <a:gd name="T35" fmla="*/ 112 h 286"/>
              <a:gd name="T36" fmla="*/ 245 w 285"/>
              <a:gd name="T37" fmla="*/ 92 h 286"/>
              <a:gd name="T38" fmla="*/ 231 w 285"/>
              <a:gd name="T39" fmla="*/ 66 h 286"/>
              <a:gd name="T40" fmla="*/ 226 w 285"/>
              <a:gd name="T41" fmla="*/ 38 h 286"/>
              <a:gd name="T42" fmla="*/ 231 w 285"/>
              <a:gd name="T43" fmla="*/ 5 h 286"/>
              <a:gd name="T44" fmla="*/ 213 w 285"/>
              <a:gd name="T45" fmla="*/ 0 h 286"/>
              <a:gd name="T46" fmla="*/ 186 w 285"/>
              <a:gd name="T47" fmla="*/ 2 h 286"/>
              <a:gd name="T48" fmla="*/ 157 w 285"/>
              <a:gd name="T49" fmla="*/ 2 h 286"/>
              <a:gd name="T50" fmla="*/ 121 w 285"/>
              <a:gd name="T51" fmla="*/ 13 h 286"/>
              <a:gd name="T52" fmla="*/ 102 w 285"/>
              <a:gd name="T53" fmla="*/ 23 h 286"/>
              <a:gd name="T54" fmla="*/ 93 w 285"/>
              <a:gd name="T55" fmla="*/ 34 h 286"/>
              <a:gd name="T56" fmla="*/ 96 w 285"/>
              <a:gd name="T57" fmla="*/ 58 h 286"/>
              <a:gd name="T58" fmla="*/ 102 w 285"/>
              <a:gd name="T59" fmla="*/ 76 h 286"/>
              <a:gd name="T60" fmla="*/ 69 w 285"/>
              <a:gd name="T61" fmla="*/ 84 h 286"/>
              <a:gd name="T62" fmla="*/ 59 w 285"/>
              <a:gd name="T63" fmla="*/ 101 h 286"/>
              <a:gd name="T64" fmla="*/ 37 w 285"/>
              <a:gd name="T65" fmla="*/ 113 h 286"/>
              <a:gd name="T66" fmla="*/ 15 w 285"/>
              <a:gd name="T67" fmla="*/ 12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85" h="286">
                <a:moveTo>
                  <a:pt x="3" y="131"/>
                </a:moveTo>
                <a:lnTo>
                  <a:pt x="0" y="149"/>
                </a:lnTo>
                <a:lnTo>
                  <a:pt x="0" y="155"/>
                </a:lnTo>
                <a:lnTo>
                  <a:pt x="13" y="164"/>
                </a:lnTo>
                <a:lnTo>
                  <a:pt x="27" y="174"/>
                </a:lnTo>
                <a:lnTo>
                  <a:pt x="40" y="182"/>
                </a:lnTo>
                <a:lnTo>
                  <a:pt x="53" y="192"/>
                </a:lnTo>
                <a:lnTo>
                  <a:pt x="63" y="199"/>
                </a:lnTo>
                <a:lnTo>
                  <a:pt x="73" y="208"/>
                </a:lnTo>
                <a:lnTo>
                  <a:pt x="83" y="215"/>
                </a:lnTo>
                <a:lnTo>
                  <a:pt x="94" y="223"/>
                </a:lnTo>
                <a:lnTo>
                  <a:pt x="105" y="232"/>
                </a:lnTo>
                <a:lnTo>
                  <a:pt x="114" y="239"/>
                </a:lnTo>
                <a:lnTo>
                  <a:pt x="125" y="247"/>
                </a:lnTo>
                <a:lnTo>
                  <a:pt x="136" y="254"/>
                </a:lnTo>
                <a:lnTo>
                  <a:pt x="136" y="259"/>
                </a:lnTo>
                <a:lnTo>
                  <a:pt x="142" y="265"/>
                </a:lnTo>
                <a:lnTo>
                  <a:pt x="162" y="274"/>
                </a:lnTo>
                <a:lnTo>
                  <a:pt x="162" y="286"/>
                </a:lnTo>
                <a:lnTo>
                  <a:pt x="178" y="286"/>
                </a:lnTo>
                <a:lnTo>
                  <a:pt x="190" y="283"/>
                </a:lnTo>
                <a:lnTo>
                  <a:pt x="201" y="281"/>
                </a:lnTo>
                <a:lnTo>
                  <a:pt x="211" y="270"/>
                </a:lnTo>
                <a:lnTo>
                  <a:pt x="222" y="259"/>
                </a:lnTo>
                <a:lnTo>
                  <a:pt x="239" y="248"/>
                </a:lnTo>
                <a:lnTo>
                  <a:pt x="255" y="238"/>
                </a:lnTo>
                <a:lnTo>
                  <a:pt x="269" y="227"/>
                </a:lnTo>
                <a:lnTo>
                  <a:pt x="285" y="216"/>
                </a:lnTo>
                <a:lnTo>
                  <a:pt x="279" y="203"/>
                </a:lnTo>
                <a:lnTo>
                  <a:pt x="263" y="200"/>
                </a:lnTo>
                <a:lnTo>
                  <a:pt x="257" y="187"/>
                </a:lnTo>
                <a:lnTo>
                  <a:pt x="249" y="173"/>
                </a:lnTo>
                <a:lnTo>
                  <a:pt x="255" y="168"/>
                </a:lnTo>
                <a:lnTo>
                  <a:pt x="255" y="149"/>
                </a:lnTo>
                <a:lnTo>
                  <a:pt x="253" y="131"/>
                </a:lnTo>
                <a:lnTo>
                  <a:pt x="247" y="112"/>
                </a:lnTo>
                <a:lnTo>
                  <a:pt x="249" y="108"/>
                </a:lnTo>
                <a:lnTo>
                  <a:pt x="245" y="92"/>
                </a:lnTo>
                <a:lnTo>
                  <a:pt x="241" y="78"/>
                </a:lnTo>
                <a:lnTo>
                  <a:pt x="231" y="66"/>
                </a:lnTo>
                <a:lnTo>
                  <a:pt x="220" y="50"/>
                </a:lnTo>
                <a:lnTo>
                  <a:pt x="226" y="38"/>
                </a:lnTo>
                <a:lnTo>
                  <a:pt x="232" y="26"/>
                </a:lnTo>
                <a:lnTo>
                  <a:pt x="231" y="5"/>
                </a:lnTo>
                <a:lnTo>
                  <a:pt x="233" y="0"/>
                </a:lnTo>
                <a:lnTo>
                  <a:pt x="213" y="0"/>
                </a:lnTo>
                <a:lnTo>
                  <a:pt x="202" y="0"/>
                </a:lnTo>
                <a:lnTo>
                  <a:pt x="186" y="2"/>
                </a:lnTo>
                <a:lnTo>
                  <a:pt x="172" y="2"/>
                </a:lnTo>
                <a:lnTo>
                  <a:pt x="157" y="2"/>
                </a:lnTo>
                <a:lnTo>
                  <a:pt x="139" y="8"/>
                </a:lnTo>
                <a:lnTo>
                  <a:pt x="121" y="13"/>
                </a:lnTo>
                <a:lnTo>
                  <a:pt x="115" y="17"/>
                </a:lnTo>
                <a:lnTo>
                  <a:pt x="102" y="23"/>
                </a:lnTo>
                <a:lnTo>
                  <a:pt x="89" y="30"/>
                </a:lnTo>
                <a:lnTo>
                  <a:pt x="93" y="34"/>
                </a:lnTo>
                <a:lnTo>
                  <a:pt x="95" y="46"/>
                </a:lnTo>
                <a:lnTo>
                  <a:pt x="96" y="58"/>
                </a:lnTo>
                <a:lnTo>
                  <a:pt x="106" y="71"/>
                </a:lnTo>
                <a:lnTo>
                  <a:pt x="102" y="76"/>
                </a:lnTo>
                <a:lnTo>
                  <a:pt x="88" y="77"/>
                </a:lnTo>
                <a:lnTo>
                  <a:pt x="69" y="84"/>
                </a:lnTo>
                <a:lnTo>
                  <a:pt x="70" y="94"/>
                </a:lnTo>
                <a:lnTo>
                  <a:pt x="59" y="101"/>
                </a:lnTo>
                <a:lnTo>
                  <a:pt x="49" y="108"/>
                </a:lnTo>
                <a:lnTo>
                  <a:pt x="37" y="113"/>
                </a:lnTo>
                <a:lnTo>
                  <a:pt x="25" y="118"/>
                </a:lnTo>
                <a:lnTo>
                  <a:pt x="15" y="124"/>
                </a:lnTo>
                <a:lnTo>
                  <a:pt x="3" y="131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4" name="Freeform 143">
            <a:extLst>
              <a:ext uri="{FF2B5EF4-FFF2-40B4-BE49-F238E27FC236}">
                <a16:creationId xmlns:a16="http://schemas.microsoft.com/office/drawing/2014/main" id="{5E3A24F3-BC83-45ED-B586-0809F79F4542}"/>
              </a:ext>
            </a:extLst>
          </p:cNvPr>
          <p:cNvSpPr>
            <a:spLocks/>
          </p:cNvSpPr>
          <p:nvPr/>
        </p:nvSpPr>
        <p:spPr bwMode="gray">
          <a:xfrm>
            <a:off x="4038742" y="3035831"/>
            <a:ext cx="15486" cy="17526"/>
          </a:xfrm>
          <a:custGeom>
            <a:avLst/>
            <a:gdLst>
              <a:gd name="T0" fmla="*/ 9 w 9"/>
              <a:gd name="T1" fmla="*/ 0 h 8"/>
              <a:gd name="T2" fmla="*/ 8 w 9"/>
              <a:gd name="T3" fmla="*/ 7 h 8"/>
              <a:gd name="T4" fmla="*/ 0 w 9"/>
              <a:gd name="T5" fmla="*/ 8 h 8"/>
              <a:gd name="T6" fmla="*/ 9 w 9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" h="8">
                <a:moveTo>
                  <a:pt x="9" y="0"/>
                </a:moveTo>
                <a:lnTo>
                  <a:pt x="8" y="7"/>
                </a:lnTo>
                <a:lnTo>
                  <a:pt x="0" y="8"/>
                </a:lnTo>
                <a:lnTo>
                  <a:pt x="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5" name="Freeform 144">
            <a:extLst>
              <a:ext uri="{FF2B5EF4-FFF2-40B4-BE49-F238E27FC236}">
                <a16:creationId xmlns:a16="http://schemas.microsoft.com/office/drawing/2014/main" id="{90B11893-D740-493E-9704-2F6B1B33F917}"/>
              </a:ext>
            </a:extLst>
          </p:cNvPr>
          <p:cNvSpPr>
            <a:spLocks/>
          </p:cNvSpPr>
          <p:nvPr/>
        </p:nvSpPr>
        <p:spPr bwMode="gray">
          <a:xfrm>
            <a:off x="3975083" y="3049461"/>
            <a:ext cx="13763" cy="11683"/>
          </a:xfrm>
          <a:custGeom>
            <a:avLst/>
            <a:gdLst>
              <a:gd name="T0" fmla="*/ 7 w 7"/>
              <a:gd name="T1" fmla="*/ 0 h 7"/>
              <a:gd name="T2" fmla="*/ 0 w 7"/>
              <a:gd name="T3" fmla="*/ 7 h 7"/>
              <a:gd name="T4" fmla="*/ 0 w 7"/>
              <a:gd name="T5" fmla="*/ 2 h 7"/>
              <a:gd name="T6" fmla="*/ 7 w 7"/>
              <a:gd name="T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7">
                <a:moveTo>
                  <a:pt x="7" y="0"/>
                </a:moveTo>
                <a:lnTo>
                  <a:pt x="0" y="7"/>
                </a:lnTo>
                <a:lnTo>
                  <a:pt x="0" y="2"/>
                </a:lnTo>
                <a:lnTo>
                  <a:pt x="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6" name="Freeform 145">
            <a:extLst>
              <a:ext uri="{FF2B5EF4-FFF2-40B4-BE49-F238E27FC236}">
                <a16:creationId xmlns:a16="http://schemas.microsoft.com/office/drawing/2014/main" id="{F560D875-B5CF-4F51-BBAD-151493D362A2}"/>
              </a:ext>
            </a:extLst>
          </p:cNvPr>
          <p:cNvSpPr>
            <a:spLocks/>
          </p:cNvSpPr>
          <p:nvPr/>
        </p:nvSpPr>
        <p:spPr bwMode="gray">
          <a:xfrm>
            <a:off x="4000889" y="3061144"/>
            <a:ext cx="8604" cy="9735"/>
          </a:xfrm>
          <a:custGeom>
            <a:avLst/>
            <a:gdLst>
              <a:gd name="T0" fmla="*/ 5 w 5"/>
              <a:gd name="T1" fmla="*/ 0 h 3"/>
              <a:gd name="T2" fmla="*/ 5 w 5"/>
              <a:gd name="T3" fmla="*/ 3 h 3"/>
              <a:gd name="T4" fmla="*/ 0 w 5"/>
              <a:gd name="T5" fmla="*/ 0 h 3"/>
              <a:gd name="T6" fmla="*/ 5 w 5"/>
              <a:gd name="T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3">
                <a:moveTo>
                  <a:pt x="5" y="0"/>
                </a:moveTo>
                <a:lnTo>
                  <a:pt x="5" y="3"/>
                </a:lnTo>
                <a:lnTo>
                  <a:pt x="0" y="0"/>
                </a:lnTo>
                <a:lnTo>
                  <a:pt x="5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7" name="Freeform 146">
            <a:extLst>
              <a:ext uri="{FF2B5EF4-FFF2-40B4-BE49-F238E27FC236}">
                <a16:creationId xmlns:a16="http://schemas.microsoft.com/office/drawing/2014/main" id="{4FC52430-CC32-4233-BC9E-A2BA837450A4}"/>
              </a:ext>
            </a:extLst>
          </p:cNvPr>
          <p:cNvSpPr>
            <a:spLocks/>
          </p:cNvSpPr>
          <p:nvPr/>
        </p:nvSpPr>
        <p:spPr bwMode="gray">
          <a:xfrm>
            <a:off x="4054228" y="3022201"/>
            <a:ext cx="12045" cy="5841"/>
          </a:xfrm>
          <a:custGeom>
            <a:avLst/>
            <a:gdLst>
              <a:gd name="T0" fmla="*/ 3 w 5"/>
              <a:gd name="T1" fmla="*/ 2 h 2"/>
              <a:gd name="T2" fmla="*/ 5 w 5"/>
              <a:gd name="T3" fmla="*/ 0 h 2"/>
              <a:gd name="T4" fmla="*/ 0 w 5"/>
              <a:gd name="T5" fmla="*/ 1 h 2"/>
              <a:gd name="T6" fmla="*/ 3 w 5"/>
              <a:gd name="T7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2">
                <a:moveTo>
                  <a:pt x="3" y="2"/>
                </a:moveTo>
                <a:lnTo>
                  <a:pt x="5" y="0"/>
                </a:lnTo>
                <a:lnTo>
                  <a:pt x="0" y="1"/>
                </a:lnTo>
                <a:lnTo>
                  <a:pt x="3" y="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8" name="Freeform 147">
            <a:extLst>
              <a:ext uri="{FF2B5EF4-FFF2-40B4-BE49-F238E27FC236}">
                <a16:creationId xmlns:a16="http://schemas.microsoft.com/office/drawing/2014/main" id="{AC3A54DC-2F23-4EC1-84C5-A8DFE246BAF0}"/>
              </a:ext>
            </a:extLst>
          </p:cNvPr>
          <p:cNvSpPr>
            <a:spLocks/>
          </p:cNvSpPr>
          <p:nvPr/>
        </p:nvSpPr>
        <p:spPr bwMode="gray">
          <a:xfrm>
            <a:off x="3763453" y="3460313"/>
            <a:ext cx="3441" cy="3894"/>
          </a:xfrm>
          <a:custGeom>
            <a:avLst/>
            <a:gdLst>
              <a:gd name="T0" fmla="*/ 4 w 4"/>
              <a:gd name="T1" fmla="*/ 2 h 2"/>
              <a:gd name="T2" fmla="*/ 1 w 4"/>
              <a:gd name="T3" fmla="*/ 2 h 2"/>
              <a:gd name="T4" fmla="*/ 0 w 4"/>
              <a:gd name="T5" fmla="*/ 0 h 2"/>
              <a:gd name="T6" fmla="*/ 4 w 4"/>
              <a:gd name="T7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1" y="2"/>
                </a:lnTo>
                <a:lnTo>
                  <a:pt x="0" y="0"/>
                </a:lnTo>
                <a:lnTo>
                  <a:pt x="4" y="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39" name="Freeform 148">
            <a:extLst>
              <a:ext uri="{FF2B5EF4-FFF2-40B4-BE49-F238E27FC236}">
                <a16:creationId xmlns:a16="http://schemas.microsoft.com/office/drawing/2014/main" id="{89D08198-39F3-46A6-83B6-8F9EAB90AF22}"/>
              </a:ext>
            </a:extLst>
          </p:cNvPr>
          <p:cNvSpPr>
            <a:spLocks/>
          </p:cNvSpPr>
          <p:nvPr/>
        </p:nvSpPr>
        <p:spPr bwMode="gray">
          <a:xfrm>
            <a:off x="4276180" y="2780752"/>
            <a:ext cx="5161" cy="3894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0"/>
                </a:lnTo>
                <a:lnTo>
                  <a:pt x="0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0" name="Freeform 149">
            <a:extLst>
              <a:ext uri="{FF2B5EF4-FFF2-40B4-BE49-F238E27FC236}">
                <a16:creationId xmlns:a16="http://schemas.microsoft.com/office/drawing/2014/main" id="{7442237B-765E-4E99-A242-8733E5903D95}"/>
              </a:ext>
            </a:extLst>
          </p:cNvPr>
          <p:cNvSpPr>
            <a:spLocks/>
          </p:cNvSpPr>
          <p:nvPr/>
        </p:nvSpPr>
        <p:spPr bwMode="gray">
          <a:xfrm>
            <a:off x="4659863" y="2883953"/>
            <a:ext cx="424976" cy="477055"/>
          </a:xfrm>
          <a:custGeom>
            <a:avLst/>
            <a:gdLst>
              <a:gd name="T0" fmla="*/ 207 w 221"/>
              <a:gd name="T1" fmla="*/ 221 h 221"/>
              <a:gd name="T2" fmla="*/ 207 w 221"/>
              <a:gd name="T3" fmla="*/ 212 h 221"/>
              <a:gd name="T4" fmla="*/ 221 w 221"/>
              <a:gd name="T5" fmla="*/ 212 h 221"/>
              <a:gd name="T6" fmla="*/ 220 w 221"/>
              <a:gd name="T7" fmla="*/ 197 h 221"/>
              <a:gd name="T8" fmla="*/ 220 w 221"/>
              <a:gd name="T9" fmla="*/ 180 h 221"/>
              <a:gd name="T10" fmla="*/ 219 w 221"/>
              <a:gd name="T11" fmla="*/ 166 h 221"/>
              <a:gd name="T12" fmla="*/ 218 w 221"/>
              <a:gd name="T13" fmla="*/ 150 h 221"/>
              <a:gd name="T14" fmla="*/ 218 w 221"/>
              <a:gd name="T15" fmla="*/ 134 h 221"/>
              <a:gd name="T16" fmla="*/ 216 w 221"/>
              <a:gd name="T17" fmla="*/ 120 h 221"/>
              <a:gd name="T18" fmla="*/ 215 w 221"/>
              <a:gd name="T19" fmla="*/ 104 h 221"/>
              <a:gd name="T20" fmla="*/ 214 w 221"/>
              <a:gd name="T21" fmla="*/ 90 h 221"/>
              <a:gd name="T22" fmla="*/ 213 w 221"/>
              <a:gd name="T23" fmla="*/ 74 h 221"/>
              <a:gd name="T24" fmla="*/ 212 w 221"/>
              <a:gd name="T25" fmla="*/ 60 h 221"/>
              <a:gd name="T26" fmla="*/ 212 w 221"/>
              <a:gd name="T27" fmla="*/ 47 h 221"/>
              <a:gd name="T28" fmla="*/ 210 w 221"/>
              <a:gd name="T29" fmla="*/ 35 h 221"/>
              <a:gd name="T30" fmla="*/ 213 w 221"/>
              <a:gd name="T31" fmla="*/ 25 h 221"/>
              <a:gd name="T32" fmla="*/ 206 w 221"/>
              <a:gd name="T33" fmla="*/ 19 h 221"/>
              <a:gd name="T34" fmla="*/ 184 w 221"/>
              <a:gd name="T35" fmla="*/ 14 h 221"/>
              <a:gd name="T36" fmla="*/ 182 w 221"/>
              <a:gd name="T37" fmla="*/ 8 h 221"/>
              <a:gd name="T38" fmla="*/ 164 w 221"/>
              <a:gd name="T39" fmla="*/ 5 h 221"/>
              <a:gd name="T40" fmla="*/ 154 w 221"/>
              <a:gd name="T41" fmla="*/ 11 h 221"/>
              <a:gd name="T42" fmla="*/ 143 w 221"/>
              <a:gd name="T43" fmla="*/ 17 h 221"/>
              <a:gd name="T44" fmla="*/ 144 w 221"/>
              <a:gd name="T45" fmla="*/ 38 h 221"/>
              <a:gd name="T46" fmla="*/ 131 w 221"/>
              <a:gd name="T47" fmla="*/ 47 h 221"/>
              <a:gd name="T48" fmla="*/ 116 w 221"/>
              <a:gd name="T49" fmla="*/ 40 h 221"/>
              <a:gd name="T50" fmla="*/ 100 w 221"/>
              <a:gd name="T51" fmla="*/ 32 h 221"/>
              <a:gd name="T52" fmla="*/ 84 w 221"/>
              <a:gd name="T53" fmla="*/ 28 h 221"/>
              <a:gd name="T54" fmla="*/ 77 w 221"/>
              <a:gd name="T55" fmla="*/ 13 h 221"/>
              <a:gd name="T56" fmla="*/ 63 w 221"/>
              <a:gd name="T57" fmla="*/ 10 h 221"/>
              <a:gd name="T58" fmla="*/ 47 w 221"/>
              <a:gd name="T59" fmla="*/ 6 h 221"/>
              <a:gd name="T60" fmla="*/ 28 w 221"/>
              <a:gd name="T61" fmla="*/ 0 h 221"/>
              <a:gd name="T62" fmla="*/ 27 w 221"/>
              <a:gd name="T63" fmla="*/ 13 h 221"/>
              <a:gd name="T64" fmla="*/ 18 w 221"/>
              <a:gd name="T65" fmla="*/ 22 h 221"/>
              <a:gd name="T66" fmla="*/ 9 w 221"/>
              <a:gd name="T67" fmla="*/ 29 h 221"/>
              <a:gd name="T68" fmla="*/ 9 w 221"/>
              <a:gd name="T69" fmla="*/ 42 h 221"/>
              <a:gd name="T70" fmla="*/ 2 w 221"/>
              <a:gd name="T71" fmla="*/ 48 h 221"/>
              <a:gd name="T72" fmla="*/ 0 w 221"/>
              <a:gd name="T73" fmla="*/ 52 h 221"/>
              <a:gd name="T74" fmla="*/ 6 w 221"/>
              <a:gd name="T75" fmla="*/ 71 h 221"/>
              <a:gd name="T76" fmla="*/ 8 w 221"/>
              <a:gd name="T77" fmla="*/ 89 h 221"/>
              <a:gd name="T78" fmla="*/ 8 w 221"/>
              <a:gd name="T79" fmla="*/ 108 h 221"/>
              <a:gd name="T80" fmla="*/ 2 w 221"/>
              <a:gd name="T81" fmla="*/ 113 h 221"/>
              <a:gd name="T82" fmla="*/ 10 w 221"/>
              <a:gd name="T83" fmla="*/ 127 h 221"/>
              <a:gd name="T84" fmla="*/ 16 w 221"/>
              <a:gd name="T85" fmla="*/ 140 h 221"/>
              <a:gd name="T86" fmla="*/ 32 w 221"/>
              <a:gd name="T87" fmla="*/ 143 h 221"/>
              <a:gd name="T88" fmla="*/ 38 w 221"/>
              <a:gd name="T89" fmla="*/ 156 h 221"/>
              <a:gd name="T90" fmla="*/ 58 w 221"/>
              <a:gd name="T91" fmla="*/ 161 h 221"/>
              <a:gd name="T92" fmla="*/ 70 w 221"/>
              <a:gd name="T93" fmla="*/ 170 h 221"/>
              <a:gd name="T94" fmla="*/ 80 w 221"/>
              <a:gd name="T95" fmla="*/ 164 h 221"/>
              <a:gd name="T96" fmla="*/ 94 w 221"/>
              <a:gd name="T97" fmla="*/ 156 h 221"/>
              <a:gd name="T98" fmla="*/ 108 w 221"/>
              <a:gd name="T99" fmla="*/ 164 h 221"/>
              <a:gd name="T100" fmla="*/ 122 w 221"/>
              <a:gd name="T101" fmla="*/ 172 h 221"/>
              <a:gd name="T102" fmla="*/ 136 w 221"/>
              <a:gd name="T103" fmla="*/ 180 h 221"/>
              <a:gd name="T104" fmla="*/ 150 w 221"/>
              <a:gd name="T105" fmla="*/ 188 h 221"/>
              <a:gd name="T106" fmla="*/ 165 w 221"/>
              <a:gd name="T107" fmla="*/ 197 h 221"/>
              <a:gd name="T108" fmla="*/ 179 w 221"/>
              <a:gd name="T109" fmla="*/ 204 h 221"/>
              <a:gd name="T110" fmla="*/ 192 w 221"/>
              <a:gd name="T111" fmla="*/ 212 h 221"/>
              <a:gd name="T112" fmla="*/ 207 w 221"/>
              <a:gd name="T113" fmla="*/ 221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1" h="221">
                <a:moveTo>
                  <a:pt x="207" y="221"/>
                </a:moveTo>
                <a:lnTo>
                  <a:pt x="207" y="212"/>
                </a:lnTo>
                <a:lnTo>
                  <a:pt x="221" y="212"/>
                </a:lnTo>
                <a:lnTo>
                  <a:pt x="220" y="197"/>
                </a:lnTo>
                <a:lnTo>
                  <a:pt x="220" y="180"/>
                </a:lnTo>
                <a:lnTo>
                  <a:pt x="219" y="166"/>
                </a:lnTo>
                <a:lnTo>
                  <a:pt x="218" y="150"/>
                </a:lnTo>
                <a:lnTo>
                  <a:pt x="218" y="134"/>
                </a:lnTo>
                <a:lnTo>
                  <a:pt x="216" y="120"/>
                </a:lnTo>
                <a:lnTo>
                  <a:pt x="215" y="104"/>
                </a:lnTo>
                <a:lnTo>
                  <a:pt x="214" y="90"/>
                </a:lnTo>
                <a:lnTo>
                  <a:pt x="213" y="74"/>
                </a:lnTo>
                <a:lnTo>
                  <a:pt x="212" y="60"/>
                </a:lnTo>
                <a:lnTo>
                  <a:pt x="212" y="47"/>
                </a:lnTo>
                <a:lnTo>
                  <a:pt x="210" y="35"/>
                </a:lnTo>
                <a:lnTo>
                  <a:pt x="213" y="25"/>
                </a:lnTo>
                <a:lnTo>
                  <a:pt x="206" y="19"/>
                </a:lnTo>
                <a:lnTo>
                  <a:pt x="184" y="14"/>
                </a:lnTo>
                <a:lnTo>
                  <a:pt x="182" y="8"/>
                </a:lnTo>
                <a:lnTo>
                  <a:pt x="164" y="5"/>
                </a:lnTo>
                <a:lnTo>
                  <a:pt x="154" y="11"/>
                </a:lnTo>
                <a:lnTo>
                  <a:pt x="143" y="17"/>
                </a:lnTo>
                <a:lnTo>
                  <a:pt x="144" y="38"/>
                </a:lnTo>
                <a:lnTo>
                  <a:pt x="131" y="47"/>
                </a:lnTo>
                <a:lnTo>
                  <a:pt x="116" y="40"/>
                </a:lnTo>
                <a:lnTo>
                  <a:pt x="100" y="32"/>
                </a:lnTo>
                <a:lnTo>
                  <a:pt x="84" y="28"/>
                </a:lnTo>
                <a:lnTo>
                  <a:pt x="77" y="13"/>
                </a:lnTo>
                <a:lnTo>
                  <a:pt x="63" y="10"/>
                </a:lnTo>
                <a:lnTo>
                  <a:pt x="47" y="6"/>
                </a:lnTo>
                <a:lnTo>
                  <a:pt x="28" y="0"/>
                </a:lnTo>
                <a:lnTo>
                  <a:pt x="27" y="13"/>
                </a:lnTo>
                <a:lnTo>
                  <a:pt x="18" y="22"/>
                </a:lnTo>
                <a:lnTo>
                  <a:pt x="9" y="29"/>
                </a:lnTo>
                <a:lnTo>
                  <a:pt x="9" y="42"/>
                </a:lnTo>
                <a:lnTo>
                  <a:pt x="2" y="48"/>
                </a:lnTo>
                <a:lnTo>
                  <a:pt x="0" y="52"/>
                </a:lnTo>
                <a:lnTo>
                  <a:pt x="6" y="71"/>
                </a:lnTo>
                <a:lnTo>
                  <a:pt x="8" y="89"/>
                </a:lnTo>
                <a:lnTo>
                  <a:pt x="8" y="108"/>
                </a:lnTo>
                <a:lnTo>
                  <a:pt x="2" y="113"/>
                </a:lnTo>
                <a:lnTo>
                  <a:pt x="10" y="127"/>
                </a:lnTo>
                <a:lnTo>
                  <a:pt x="16" y="140"/>
                </a:lnTo>
                <a:lnTo>
                  <a:pt x="32" y="143"/>
                </a:lnTo>
                <a:lnTo>
                  <a:pt x="38" y="156"/>
                </a:lnTo>
                <a:lnTo>
                  <a:pt x="58" y="161"/>
                </a:lnTo>
                <a:lnTo>
                  <a:pt x="70" y="170"/>
                </a:lnTo>
                <a:lnTo>
                  <a:pt x="80" y="164"/>
                </a:lnTo>
                <a:lnTo>
                  <a:pt x="94" y="156"/>
                </a:lnTo>
                <a:lnTo>
                  <a:pt x="108" y="164"/>
                </a:lnTo>
                <a:lnTo>
                  <a:pt x="122" y="172"/>
                </a:lnTo>
                <a:lnTo>
                  <a:pt x="136" y="180"/>
                </a:lnTo>
                <a:lnTo>
                  <a:pt x="150" y="188"/>
                </a:lnTo>
                <a:lnTo>
                  <a:pt x="165" y="197"/>
                </a:lnTo>
                <a:lnTo>
                  <a:pt x="179" y="204"/>
                </a:lnTo>
                <a:lnTo>
                  <a:pt x="192" y="212"/>
                </a:lnTo>
                <a:lnTo>
                  <a:pt x="207" y="22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1" name="Freeform 150">
            <a:extLst>
              <a:ext uri="{FF2B5EF4-FFF2-40B4-BE49-F238E27FC236}">
                <a16:creationId xmlns:a16="http://schemas.microsoft.com/office/drawing/2014/main" id="{D5BC7DC6-4656-47D7-8CF2-0DAED4F83BCA}"/>
              </a:ext>
            </a:extLst>
          </p:cNvPr>
          <p:cNvSpPr>
            <a:spLocks/>
          </p:cNvSpPr>
          <p:nvPr/>
        </p:nvSpPr>
        <p:spPr bwMode="gray">
          <a:xfrm>
            <a:off x="4085197" y="3170186"/>
            <a:ext cx="440462" cy="515997"/>
          </a:xfrm>
          <a:custGeom>
            <a:avLst/>
            <a:gdLst>
              <a:gd name="T0" fmla="*/ 52 w 232"/>
              <a:gd name="T1" fmla="*/ 223 h 239"/>
              <a:gd name="T2" fmla="*/ 60 w 232"/>
              <a:gd name="T3" fmla="*/ 239 h 239"/>
              <a:gd name="T4" fmla="*/ 72 w 232"/>
              <a:gd name="T5" fmla="*/ 238 h 239"/>
              <a:gd name="T6" fmla="*/ 84 w 232"/>
              <a:gd name="T7" fmla="*/ 230 h 239"/>
              <a:gd name="T8" fmla="*/ 95 w 232"/>
              <a:gd name="T9" fmla="*/ 234 h 239"/>
              <a:gd name="T10" fmla="*/ 102 w 232"/>
              <a:gd name="T11" fmla="*/ 209 h 239"/>
              <a:gd name="T12" fmla="*/ 113 w 232"/>
              <a:gd name="T13" fmla="*/ 196 h 239"/>
              <a:gd name="T14" fmla="*/ 125 w 232"/>
              <a:gd name="T15" fmla="*/ 190 h 239"/>
              <a:gd name="T16" fmla="*/ 130 w 232"/>
              <a:gd name="T17" fmla="*/ 182 h 239"/>
              <a:gd name="T18" fmla="*/ 143 w 232"/>
              <a:gd name="T19" fmla="*/ 174 h 239"/>
              <a:gd name="T20" fmla="*/ 163 w 232"/>
              <a:gd name="T21" fmla="*/ 160 h 239"/>
              <a:gd name="T22" fmla="*/ 179 w 232"/>
              <a:gd name="T23" fmla="*/ 161 h 239"/>
              <a:gd name="T24" fmla="*/ 207 w 232"/>
              <a:gd name="T25" fmla="*/ 156 h 239"/>
              <a:gd name="T26" fmla="*/ 229 w 232"/>
              <a:gd name="T27" fmla="*/ 140 h 239"/>
              <a:gd name="T28" fmla="*/ 231 w 232"/>
              <a:gd name="T29" fmla="*/ 118 h 239"/>
              <a:gd name="T30" fmla="*/ 232 w 232"/>
              <a:gd name="T31" fmla="*/ 94 h 239"/>
              <a:gd name="T32" fmla="*/ 216 w 232"/>
              <a:gd name="T33" fmla="*/ 82 h 239"/>
              <a:gd name="T34" fmla="*/ 190 w 232"/>
              <a:gd name="T35" fmla="*/ 67 h 239"/>
              <a:gd name="T36" fmla="*/ 179 w 232"/>
              <a:gd name="T37" fmla="*/ 55 h 239"/>
              <a:gd name="T38" fmla="*/ 159 w 232"/>
              <a:gd name="T39" fmla="*/ 40 h 239"/>
              <a:gd name="T40" fmla="*/ 137 w 232"/>
              <a:gd name="T41" fmla="*/ 23 h 239"/>
              <a:gd name="T42" fmla="*/ 117 w 232"/>
              <a:gd name="T43" fmla="*/ 7 h 239"/>
              <a:gd name="T44" fmla="*/ 94 w 232"/>
              <a:gd name="T45" fmla="*/ 0 h 239"/>
              <a:gd name="T46" fmla="*/ 83 w 232"/>
              <a:gd name="T47" fmla="*/ 17 h 239"/>
              <a:gd name="T48" fmla="*/ 87 w 232"/>
              <a:gd name="T49" fmla="*/ 52 h 239"/>
              <a:gd name="T50" fmla="*/ 90 w 232"/>
              <a:gd name="T51" fmla="*/ 85 h 239"/>
              <a:gd name="T52" fmla="*/ 93 w 232"/>
              <a:gd name="T53" fmla="*/ 120 h 239"/>
              <a:gd name="T54" fmla="*/ 99 w 232"/>
              <a:gd name="T55" fmla="*/ 139 h 239"/>
              <a:gd name="T56" fmla="*/ 82 w 232"/>
              <a:gd name="T57" fmla="*/ 152 h 239"/>
              <a:gd name="T58" fmla="*/ 55 w 232"/>
              <a:gd name="T59" fmla="*/ 152 h 239"/>
              <a:gd name="T60" fmla="*/ 40 w 232"/>
              <a:gd name="T61" fmla="*/ 151 h 239"/>
              <a:gd name="T62" fmla="*/ 18 w 232"/>
              <a:gd name="T63" fmla="*/ 157 h 239"/>
              <a:gd name="T64" fmla="*/ 4 w 232"/>
              <a:gd name="T65" fmla="*/ 166 h 239"/>
              <a:gd name="T66" fmla="*/ 5 w 232"/>
              <a:gd name="T67" fmla="*/ 180 h 239"/>
              <a:gd name="T68" fmla="*/ 12 w 232"/>
              <a:gd name="T69" fmla="*/ 203 h 239"/>
              <a:gd name="T70" fmla="*/ 19 w 232"/>
              <a:gd name="T71" fmla="*/ 206 h 239"/>
              <a:gd name="T72" fmla="*/ 33 w 232"/>
              <a:gd name="T73" fmla="*/ 208 h 239"/>
              <a:gd name="T74" fmla="*/ 43 w 232"/>
              <a:gd name="T75" fmla="*/ 202 h 239"/>
              <a:gd name="T76" fmla="*/ 53 w 232"/>
              <a:gd name="T77" fmla="*/ 218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32" h="239">
                <a:moveTo>
                  <a:pt x="53" y="218"/>
                </a:moveTo>
                <a:lnTo>
                  <a:pt x="52" y="223"/>
                </a:lnTo>
                <a:lnTo>
                  <a:pt x="53" y="224"/>
                </a:lnTo>
                <a:lnTo>
                  <a:pt x="60" y="239"/>
                </a:lnTo>
                <a:lnTo>
                  <a:pt x="64" y="235"/>
                </a:lnTo>
                <a:lnTo>
                  <a:pt x="72" y="238"/>
                </a:lnTo>
                <a:lnTo>
                  <a:pt x="78" y="234"/>
                </a:lnTo>
                <a:lnTo>
                  <a:pt x="84" y="230"/>
                </a:lnTo>
                <a:lnTo>
                  <a:pt x="85" y="236"/>
                </a:lnTo>
                <a:lnTo>
                  <a:pt x="95" y="234"/>
                </a:lnTo>
                <a:lnTo>
                  <a:pt x="99" y="214"/>
                </a:lnTo>
                <a:lnTo>
                  <a:pt x="102" y="209"/>
                </a:lnTo>
                <a:lnTo>
                  <a:pt x="111" y="202"/>
                </a:lnTo>
                <a:lnTo>
                  <a:pt x="113" y="196"/>
                </a:lnTo>
                <a:lnTo>
                  <a:pt x="115" y="186"/>
                </a:lnTo>
                <a:lnTo>
                  <a:pt x="125" y="190"/>
                </a:lnTo>
                <a:lnTo>
                  <a:pt x="127" y="184"/>
                </a:lnTo>
                <a:lnTo>
                  <a:pt x="130" y="182"/>
                </a:lnTo>
                <a:lnTo>
                  <a:pt x="136" y="175"/>
                </a:lnTo>
                <a:lnTo>
                  <a:pt x="143" y="174"/>
                </a:lnTo>
                <a:lnTo>
                  <a:pt x="145" y="168"/>
                </a:lnTo>
                <a:lnTo>
                  <a:pt x="163" y="160"/>
                </a:lnTo>
                <a:lnTo>
                  <a:pt x="177" y="161"/>
                </a:lnTo>
                <a:lnTo>
                  <a:pt x="179" y="161"/>
                </a:lnTo>
                <a:lnTo>
                  <a:pt x="191" y="156"/>
                </a:lnTo>
                <a:lnTo>
                  <a:pt x="207" y="156"/>
                </a:lnTo>
                <a:lnTo>
                  <a:pt x="222" y="155"/>
                </a:lnTo>
                <a:lnTo>
                  <a:pt x="229" y="140"/>
                </a:lnTo>
                <a:lnTo>
                  <a:pt x="231" y="130"/>
                </a:lnTo>
                <a:lnTo>
                  <a:pt x="231" y="118"/>
                </a:lnTo>
                <a:lnTo>
                  <a:pt x="232" y="106"/>
                </a:lnTo>
                <a:lnTo>
                  <a:pt x="232" y="94"/>
                </a:lnTo>
                <a:lnTo>
                  <a:pt x="216" y="94"/>
                </a:lnTo>
                <a:lnTo>
                  <a:pt x="216" y="82"/>
                </a:lnTo>
                <a:lnTo>
                  <a:pt x="196" y="73"/>
                </a:lnTo>
                <a:lnTo>
                  <a:pt x="190" y="67"/>
                </a:lnTo>
                <a:lnTo>
                  <a:pt x="190" y="62"/>
                </a:lnTo>
                <a:lnTo>
                  <a:pt x="179" y="55"/>
                </a:lnTo>
                <a:lnTo>
                  <a:pt x="168" y="47"/>
                </a:lnTo>
                <a:lnTo>
                  <a:pt x="159" y="40"/>
                </a:lnTo>
                <a:lnTo>
                  <a:pt x="148" y="31"/>
                </a:lnTo>
                <a:lnTo>
                  <a:pt x="137" y="23"/>
                </a:lnTo>
                <a:lnTo>
                  <a:pt x="127" y="16"/>
                </a:lnTo>
                <a:lnTo>
                  <a:pt x="117" y="7"/>
                </a:lnTo>
                <a:lnTo>
                  <a:pt x="107" y="0"/>
                </a:lnTo>
                <a:lnTo>
                  <a:pt x="94" y="0"/>
                </a:lnTo>
                <a:lnTo>
                  <a:pt x="82" y="0"/>
                </a:lnTo>
                <a:lnTo>
                  <a:pt x="83" y="17"/>
                </a:lnTo>
                <a:lnTo>
                  <a:pt x="85" y="34"/>
                </a:lnTo>
                <a:lnTo>
                  <a:pt x="87" y="52"/>
                </a:lnTo>
                <a:lnTo>
                  <a:pt x="88" y="68"/>
                </a:lnTo>
                <a:lnTo>
                  <a:pt x="90" y="85"/>
                </a:lnTo>
                <a:lnTo>
                  <a:pt x="91" y="102"/>
                </a:lnTo>
                <a:lnTo>
                  <a:pt x="93" y="120"/>
                </a:lnTo>
                <a:lnTo>
                  <a:pt x="95" y="137"/>
                </a:lnTo>
                <a:lnTo>
                  <a:pt x="99" y="139"/>
                </a:lnTo>
                <a:lnTo>
                  <a:pt x="96" y="152"/>
                </a:lnTo>
                <a:lnTo>
                  <a:pt x="82" y="152"/>
                </a:lnTo>
                <a:lnTo>
                  <a:pt x="69" y="152"/>
                </a:lnTo>
                <a:lnTo>
                  <a:pt x="55" y="152"/>
                </a:lnTo>
                <a:lnTo>
                  <a:pt x="42" y="152"/>
                </a:lnTo>
                <a:lnTo>
                  <a:pt x="40" y="151"/>
                </a:lnTo>
                <a:lnTo>
                  <a:pt x="21" y="156"/>
                </a:lnTo>
                <a:lnTo>
                  <a:pt x="18" y="157"/>
                </a:lnTo>
                <a:lnTo>
                  <a:pt x="10" y="152"/>
                </a:lnTo>
                <a:lnTo>
                  <a:pt x="4" y="166"/>
                </a:lnTo>
                <a:lnTo>
                  <a:pt x="0" y="164"/>
                </a:lnTo>
                <a:lnTo>
                  <a:pt x="5" y="180"/>
                </a:lnTo>
                <a:lnTo>
                  <a:pt x="9" y="187"/>
                </a:lnTo>
                <a:lnTo>
                  <a:pt x="12" y="203"/>
                </a:lnTo>
                <a:lnTo>
                  <a:pt x="11" y="206"/>
                </a:lnTo>
                <a:lnTo>
                  <a:pt x="19" y="206"/>
                </a:lnTo>
                <a:lnTo>
                  <a:pt x="24" y="209"/>
                </a:lnTo>
                <a:lnTo>
                  <a:pt x="33" y="208"/>
                </a:lnTo>
                <a:lnTo>
                  <a:pt x="41" y="204"/>
                </a:lnTo>
                <a:lnTo>
                  <a:pt x="43" y="202"/>
                </a:lnTo>
                <a:lnTo>
                  <a:pt x="48" y="215"/>
                </a:lnTo>
                <a:lnTo>
                  <a:pt x="53" y="21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2" name="Freeform 151">
            <a:extLst>
              <a:ext uri="{FF2B5EF4-FFF2-40B4-BE49-F238E27FC236}">
                <a16:creationId xmlns:a16="http://schemas.microsoft.com/office/drawing/2014/main" id="{476531FF-961A-431E-A873-03A25E9D6D38}"/>
              </a:ext>
            </a:extLst>
          </p:cNvPr>
          <p:cNvSpPr>
            <a:spLocks/>
          </p:cNvSpPr>
          <p:nvPr/>
        </p:nvSpPr>
        <p:spPr bwMode="gray">
          <a:xfrm>
            <a:off x="4778581" y="2788541"/>
            <a:ext cx="6882" cy="3894"/>
          </a:xfrm>
          <a:custGeom>
            <a:avLst/>
            <a:gdLst>
              <a:gd name="T0" fmla="*/ 3 w 3"/>
              <a:gd name="T1" fmla="*/ 1 h 2"/>
              <a:gd name="T2" fmla="*/ 2 w 3"/>
              <a:gd name="T3" fmla="*/ 2 h 2"/>
              <a:gd name="T4" fmla="*/ 0 w 3"/>
              <a:gd name="T5" fmla="*/ 0 h 2"/>
              <a:gd name="T6" fmla="*/ 3 w 3"/>
              <a:gd name="T7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2">
                <a:moveTo>
                  <a:pt x="3" y="1"/>
                </a:moveTo>
                <a:lnTo>
                  <a:pt x="2" y="2"/>
                </a:lnTo>
                <a:lnTo>
                  <a:pt x="0" y="0"/>
                </a:lnTo>
                <a:lnTo>
                  <a:pt x="3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3" name="Freeform 152">
            <a:extLst>
              <a:ext uri="{FF2B5EF4-FFF2-40B4-BE49-F238E27FC236}">
                <a16:creationId xmlns:a16="http://schemas.microsoft.com/office/drawing/2014/main" id="{AECAE581-6AEE-4ADB-A44E-2D24240FB318}"/>
              </a:ext>
            </a:extLst>
          </p:cNvPr>
          <p:cNvSpPr>
            <a:spLocks/>
          </p:cNvSpPr>
          <p:nvPr/>
        </p:nvSpPr>
        <p:spPr bwMode="gray">
          <a:xfrm>
            <a:off x="3959597" y="3088404"/>
            <a:ext cx="328626" cy="442007"/>
          </a:xfrm>
          <a:custGeom>
            <a:avLst/>
            <a:gdLst>
              <a:gd name="T0" fmla="*/ 9 w 172"/>
              <a:gd name="T1" fmla="*/ 174 h 203"/>
              <a:gd name="T2" fmla="*/ 6 w 172"/>
              <a:gd name="T3" fmla="*/ 181 h 203"/>
              <a:gd name="T4" fmla="*/ 10 w 172"/>
              <a:gd name="T5" fmla="*/ 162 h 203"/>
              <a:gd name="T6" fmla="*/ 14 w 172"/>
              <a:gd name="T7" fmla="*/ 143 h 203"/>
              <a:gd name="T8" fmla="*/ 9 w 172"/>
              <a:gd name="T9" fmla="*/ 127 h 203"/>
              <a:gd name="T10" fmla="*/ 10 w 172"/>
              <a:gd name="T11" fmla="*/ 110 h 203"/>
              <a:gd name="T12" fmla="*/ 2 w 172"/>
              <a:gd name="T13" fmla="*/ 101 h 203"/>
              <a:gd name="T14" fmla="*/ 0 w 172"/>
              <a:gd name="T15" fmla="*/ 105 h 203"/>
              <a:gd name="T16" fmla="*/ 2 w 172"/>
              <a:gd name="T17" fmla="*/ 96 h 203"/>
              <a:gd name="T18" fmla="*/ 16 w 172"/>
              <a:gd name="T19" fmla="*/ 96 h 203"/>
              <a:gd name="T20" fmla="*/ 29 w 172"/>
              <a:gd name="T21" fmla="*/ 96 h 203"/>
              <a:gd name="T22" fmla="*/ 44 w 172"/>
              <a:gd name="T23" fmla="*/ 96 h 203"/>
              <a:gd name="T24" fmla="*/ 57 w 172"/>
              <a:gd name="T25" fmla="*/ 96 h 203"/>
              <a:gd name="T26" fmla="*/ 57 w 172"/>
              <a:gd name="T27" fmla="*/ 83 h 203"/>
              <a:gd name="T28" fmla="*/ 58 w 172"/>
              <a:gd name="T29" fmla="*/ 68 h 203"/>
              <a:gd name="T30" fmla="*/ 71 w 172"/>
              <a:gd name="T31" fmla="*/ 62 h 203"/>
              <a:gd name="T32" fmla="*/ 72 w 172"/>
              <a:gd name="T33" fmla="*/ 42 h 203"/>
              <a:gd name="T34" fmla="*/ 72 w 172"/>
              <a:gd name="T35" fmla="*/ 20 h 203"/>
              <a:gd name="T36" fmla="*/ 84 w 172"/>
              <a:gd name="T37" fmla="*/ 20 h 203"/>
              <a:gd name="T38" fmla="*/ 95 w 172"/>
              <a:gd name="T39" fmla="*/ 20 h 203"/>
              <a:gd name="T40" fmla="*/ 107 w 172"/>
              <a:gd name="T41" fmla="*/ 20 h 203"/>
              <a:gd name="T42" fmla="*/ 118 w 172"/>
              <a:gd name="T43" fmla="*/ 20 h 203"/>
              <a:gd name="T44" fmla="*/ 119 w 172"/>
              <a:gd name="T45" fmla="*/ 0 h 203"/>
              <a:gd name="T46" fmla="*/ 132 w 172"/>
              <a:gd name="T47" fmla="*/ 9 h 203"/>
              <a:gd name="T48" fmla="*/ 146 w 172"/>
              <a:gd name="T49" fmla="*/ 19 h 203"/>
              <a:gd name="T50" fmla="*/ 159 w 172"/>
              <a:gd name="T51" fmla="*/ 27 h 203"/>
              <a:gd name="T52" fmla="*/ 172 w 172"/>
              <a:gd name="T53" fmla="*/ 37 h 203"/>
              <a:gd name="T54" fmla="*/ 159 w 172"/>
              <a:gd name="T55" fmla="*/ 37 h 203"/>
              <a:gd name="T56" fmla="*/ 147 w 172"/>
              <a:gd name="T57" fmla="*/ 37 h 203"/>
              <a:gd name="T58" fmla="*/ 148 w 172"/>
              <a:gd name="T59" fmla="*/ 54 h 203"/>
              <a:gd name="T60" fmla="*/ 150 w 172"/>
              <a:gd name="T61" fmla="*/ 71 h 203"/>
              <a:gd name="T62" fmla="*/ 152 w 172"/>
              <a:gd name="T63" fmla="*/ 89 h 203"/>
              <a:gd name="T64" fmla="*/ 153 w 172"/>
              <a:gd name="T65" fmla="*/ 105 h 203"/>
              <a:gd name="T66" fmla="*/ 155 w 172"/>
              <a:gd name="T67" fmla="*/ 122 h 203"/>
              <a:gd name="T68" fmla="*/ 156 w 172"/>
              <a:gd name="T69" fmla="*/ 139 h 203"/>
              <a:gd name="T70" fmla="*/ 158 w 172"/>
              <a:gd name="T71" fmla="*/ 157 h 203"/>
              <a:gd name="T72" fmla="*/ 160 w 172"/>
              <a:gd name="T73" fmla="*/ 174 h 203"/>
              <a:gd name="T74" fmla="*/ 164 w 172"/>
              <a:gd name="T75" fmla="*/ 176 h 203"/>
              <a:gd name="T76" fmla="*/ 161 w 172"/>
              <a:gd name="T77" fmla="*/ 189 h 203"/>
              <a:gd name="T78" fmla="*/ 147 w 172"/>
              <a:gd name="T79" fmla="*/ 189 h 203"/>
              <a:gd name="T80" fmla="*/ 134 w 172"/>
              <a:gd name="T81" fmla="*/ 189 h 203"/>
              <a:gd name="T82" fmla="*/ 120 w 172"/>
              <a:gd name="T83" fmla="*/ 189 h 203"/>
              <a:gd name="T84" fmla="*/ 107 w 172"/>
              <a:gd name="T85" fmla="*/ 189 h 203"/>
              <a:gd name="T86" fmla="*/ 105 w 172"/>
              <a:gd name="T87" fmla="*/ 188 h 203"/>
              <a:gd name="T88" fmla="*/ 86 w 172"/>
              <a:gd name="T89" fmla="*/ 193 h 203"/>
              <a:gd name="T90" fmla="*/ 83 w 172"/>
              <a:gd name="T91" fmla="*/ 194 h 203"/>
              <a:gd name="T92" fmla="*/ 75 w 172"/>
              <a:gd name="T93" fmla="*/ 189 h 203"/>
              <a:gd name="T94" fmla="*/ 69 w 172"/>
              <a:gd name="T95" fmla="*/ 203 h 203"/>
              <a:gd name="T96" fmla="*/ 65 w 172"/>
              <a:gd name="T97" fmla="*/ 201 h 203"/>
              <a:gd name="T98" fmla="*/ 56 w 172"/>
              <a:gd name="T99" fmla="*/ 191 h 203"/>
              <a:gd name="T100" fmla="*/ 45 w 172"/>
              <a:gd name="T101" fmla="*/ 180 h 203"/>
              <a:gd name="T102" fmla="*/ 32 w 172"/>
              <a:gd name="T103" fmla="*/ 171 h 203"/>
              <a:gd name="T104" fmla="*/ 21 w 172"/>
              <a:gd name="T105" fmla="*/ 173 h 203"/>
              <a:gd name="T106" fmla="*/ 9 w 172"/>
              <a:gd name="T107" fmla="*/ 174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72" h="203">
                <a:moveTo>
                  <a:pt x="9" y="174"/>
                </a:moveTo>
                <a:lnTo>
                  <a:pt x="6" y="181"/>
                </a:lnTo>
                <a:lnTo>
                  <a:pt x="10" y="162"/>
                </a:lnTo>
                <a:lnTo>
                  <a:pt x="14" y="143"/>
                </a:lnTo>
                <a:lnTo>
                  <a:pt x="9" y="127"/>
                </a:lnTo>
                <a:lnTo>
                  <a:pt x="10" y="110"/>
                </a:lnTo>
                <a:lnTo>
                  <a:pt x="2" y="101"/>
                </a:lnTo>
                <a:lnTo>
                  <a:pt x="0" y="105"/>
                </a:lnTo>
                <a:lnTo>
                  <a:pt x="2" y="96"/>
                </a:lnTo>
                <a:lnTo>
                  <a:pt x="16" y="96"/>
                </a:lnTo>
                <a:lnTo>
                  <a:pt x="29" y="96"/>
                </a:lnTo>
                <a:lnTo>
                  <a:pt x="44" y="96"/>
                </a:lnTo>
                <a:lnTo>
                  <a:pt x="57" y="96"/>
                </a:lnTo>
                <a:lnTo>
                  <a:pt x="57" y="83"/>
                </a:lnTo>
                <a:lnTo>
                  <a:pt x="58" y="68"/>
                </a:lnTo>
                <a:lnTo>
                  <a:pt x="71" y="62"/>
                </a:lnTo>
                <a:lnTo>
                  <a:pt x="72" y="42"/>
                </a:lnTo>
                <a:lnTo>
                  <a:pt x="72" y="20"/>
                </a:lnTo>
                <a:lnTo>
                  <a:pt x="84" y="20"/>
                </a:lnTo>
                <a:lnTo>
                  <a:pt x="95" y="20"/>
                </a:lnTo>
                <a:lnTo>
                  <a:pt x="107" y="20"/>
                </a:lnTo>
                <a:lnTo>
                  <a:pt x="118" y="20"/>
                </a:lnTo>
                <a:lnTo>
                  <a:pt x="119" y="0"/>
                </a:lnTo>
                <a:lnTo>
                  <a:pt x="132" y="9"/>
                </a:lnTo>
                <a:lnTo>
                  <a:pt x="146" y="19"/>
                </a:lnTo>
                <a:lnTo>
                  <a:pt x="159" y="27"/>
                </a:lnTo>
                <a:lnTo>
                  <a:pt x="172" y="37"/>
                </a:lnTo>
                <a:lnTo>
                  <a:pt x="159" y="37"/>
                </a:lnTo>
                <a:lnTo>
                  <a:pt x="147" y="37"/>
                </a:lnTo>
                <a:lnTo>
                  <a:pt x="148" y="54"/>
                </a:lnTo>
                <a:lnTo>
                  <a:pt x="150" y="71"/>
                </a:lnTo>
                <a:lnTo>
                  <a:pt x="152" y="89"/>
                </a:lnTo>
                <a:lnTo>
                  <a:pt x="153" y="105"/>
                </a:lnTo>
                <a:lnTo>
                  <a:pt x="155" y="122"/>
                </a:lnTo>
                <a:lnTo>
                  <a:pt x="156" y="139"/>
                </a:lnTo>
                <a:lnTo>
                  <a:pt x="158" y="157"/>
                </a:lnTo>
                <a:lnTo>
                  <a:pt x="160" y="174"/>
                </a:lnTo>
                <a:lnTo>
                  <a:pt x="164" y="176"/>
                </a:lnTo>
                <a:lnTo>
                  <a:pt x="161" y="189"/>
                </a:lnTo>
                <a:lnTo>
                  <a:pt x="147" y="189"/>
                </a:lnTo>
                <a:lnTo>
                  <a:pt x="134" y="189"/>
                </a:lnTo>
                <a:lnTo>
                  <a:pt x="120" y="189"/>
                </a:lnTo>
                <a:lnTo>
                  <a:pt x="107" y="189"/>
                </a:lnTo>
                <a:lnTo>
                  <a:pt x="105" y="188"/>
                </a:lnTo>
                <a:lnTo>
                  <a:pt x="86" y="193"/>
                </a:lnTo>
                <a:lnTo>
                  <a:pt x="83" y="194"/>
                </a:lnTo>
                <a:lnTo>
                  <a:pt x="75" y="189"/>
                </a:lnTo>
                <a:lnTo>
                  <a:pt x="69" y="203"/>
                </a:lnTo>
                <a:lnTo>
                  <a:pt x="65" y="201"/>
                </a:lnTo>
                <a:lnTo>
                  <a:pt x="56" y="191"/>
                </a:lnTo>
                <a:lnTo>
                  <a:pt x="45" y="180"/>
                </a:lnTo>
                <a:lnTo>
                  <a:pt x="32" y="171"/>
                </a:lnTo>
                <a:lnTo>
                  <a:pt x="21" y="173"/>
                </a:lnTo>
                <a:lnTo>
                  <a:pt x="9" y="17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4" name="Freeform 153">
            <a:extLst>
              <a:ext uri="{FF2B5EF4-FFF2-40B4-BE49-F238E27FC236}">
                <a16:creationId xmlns:a16="http://schemas.microsoft.com/office/drawing/2014/main" id="{E28E8F11-F7CD-4E79-87CF-CDE1ED00F694}"/>
              </a:ext>
            </a:extLst>
          </p:cNvPr>
          <p:cNvSpPr>
            <a:spLocks/>
          </p:cNvSpPr>
          <p:nvPr/>
        </p:nvSpPr>
        <p:spPr bwMode="gray">
          <a:xfrm>
            <a:off x="4066270" y="2788541"/>
            <a:ext cx="321744" cy="286231"/>
          </a:xfrm>
          <a:custGeom>
            <a:avLst/>
            <a:gdLst>
              <a:gd name="T0" fmla="*/ 86 w 168"/>
              <a:gd name="T1" fmla="*/ 32 h 132"/>
              <a:gd name="T2" fmla="*/ 74 w 168"/>
              <a:gd name="T3" fmla="*/ 41 h 132"/>
              <a:gd name="T4" fmla="*/ 61 w 168"/>
              <a:gd name="T5" fmla="*/ 48 h 132"/>
              <a:gd name="T6" fmla="*/ 55 w 168"/>
              <a:gd name="T7" fmla="*/ 61 h 132"/>
              <a:gd name="T8" fmla="*/ 48 w 168"/>
              <a:gd name="T9" fmla="*/ 73 h 132"/>
              <a:gd name="T10" fmla="*/ 49 w 168"/>
              <a:gd name="T11" fmla="*/ 87 h 132"/>
              <a:gd name="T12" fmla="*/ 43 w 168"/>
              <a:gd name="T13" fmla="*/ 99 h 132"/>
              <a:gd name="T14" fmla="*/ 37 w 168"/>
              <a:gd name="T15" fmla="*/ 110 h 132"/>
              <a:gd name="T16" fmla="*/ 26 w 168"/>
              <a:gd name="T17" fmla="*/ 117 h 132"/>
              <a:gd name="T18" fmla="*/ 15 w 168"/>
              <a:gd name="T19" fmla="*/ 126 h 132"/>
              <a:gd name="T20" fmla="*/ 0 w 168"/>
              <a:gd name="T21" fmla="*/ 132 h 132"/>
              <a:gd name="T22" fmla="*/ 15 w 168"/>
              <a:gd name="T23" fmla="*/ 132 h 132"/>
              <a:gd name="T24" fmla="*/ 31 w 168"/>
              <a:gd name="T25" fmla="*/ 132 h 132"/>
              <a:gd name="T26" fmla="*/ 47 w 168"/>
              <a:gd name="T27" fmla="*/ 132 h 132"/>
              <a:gd name="T28" fmla="*/ 62 w 168"/>
              <a:gd name="T29" fmla="*/ 132 h 132"/>
              <a:gd name="T30" fmla="*/ 65 w 168"/>
              <a:gd name="T31" fmla="*/ 114 h 132"/>
              <a:gd name="T32" fmla="*/ 77 w 168"/>
              <a:gd name="T33" fmla="*/ 107 h 132"/>
              <a:gd name="T34" fmla="*/ 87 w 168"/>
              <a:gd name="T35" fmla="*/ 101 h 132"/>
              <a:gd name="T36" fmla="*/ 99 w 168"/>
              <a:gd name="T37" fmla="*/ 96 h 132"/>
              <a:gd name="T38" fmla="*/ 111 w 168"/>
              <a:gd name="T39" fmla="*/ 91 h 132"/>
              <a:gd name="T40" fmla="*/ 121 w 168"/>
              <a:gd name="T41" fmla="*/ 84 h 132"/>
              <a:gd name="T42" fmla="*/ 132 w 168"/>
              <a:gd name="T43" fmla="*/ 77 h 132"/>
              <a:gd name="T44" fmla="*/ 131 w 168"/>
              <a:gd name="T45" fmla="*/ 67 h 132"/>
              <a:gd name="T46" fmla="*/ 150 w 168"/>
              <a:gd name="T47" fmla="*/ 60 h 132"/>
              <a:gd name="T48" fmla="*/ 164 w 168"/>
              <a:gd name="T49" fmla="*/ 59 h 132"/>
              <a:gd name="T50" fmla="*/ 168 w 168"/>
              <a:gd name="T51" fmla="*/ 54 h 132"/>
              <a:gd name="T52" fmla="*/ 158 w 168"/>
              <a:gd name="T53" fmla="*/ 41 h 132"/>
              <a:gd name="T54" fmla="*/ 157 w 168"/>
              <a:gd name="T55" fmla="*/ 29 h 132"/>
              <a:gd name="T56" fmla="*/ 155 w 168"/>
              <a:gd name="T57" fmla="*/ 17 h 132"/>
              <a:gd name="T58" fmla="*/ 151 w 168"/>
              <a:gd name="T59" fmla="*/ 13 h 132"/>
              <a:gd name="T60" fmla="*/ 143 w 168"/>
              <a:gd name="T61" fmla="*/ 9 h 132"/>
              <a:gd name="T62" fmla="*/ 139 w 168"/>
              <a:gd name="T63" fmla="*/ 11 h 132"/>
              <a:gd name="T64" fmla="*/ 115 w 168"/>
              <a:gd name="T65" fmla="*/ 9 h 132"/>
              <a:gd name="T66" fmla="*/ 108 w 168"/>
              <a:gd name="T67" fmla="*/ 0 h 132"/>
              <a:gd name="T68" fmla="*/ 101 w 168"/>
              <a:gd name="T69" fmla="*/ 6 h 132"/>
              <a:gd name="T70" fmla="*/ 93 w 168"/>
              <a:gd name="T71" fmla="*/ 19 h 132"/>
              <a:gd name="T72" fmla="*/ 86 w 168"/>
              <a:gd name="T73" fmla="*/ 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68" h="132">
                <a:moveTo>
                  <a:pt x="86" y="32"/>
                </a:moveTo>
                <a:lnTo>
                  <a:pt x="74" y="41"/>
                </a:lnTo>
                <a:lnTo>
                  <a:pt x="61" y="48"/>
                </a:lnTo>
                <a:lnTo>
                  <a:pt x="55" y="61"/>
                </a:lnTo>
                <a:lnTo>
                  <a:pt x="48" y="73"/>
                </a:lnTo>
                <a:lnTo>
                  <a:pt x="49" y="87"/>
                </a:lnTo>
                <a:lnTo>
                  <a:pt x="43" y="99"/>
                </a:lnTo>
                <a:lnTo>
                  <a:pt x="37" y="110"/>
                </a:lnTo>
                <a:lnTo>
                  <a:pt x="26" y="117"/>
                </a:lnTo>
                <a:lnTo>
                  <a:pt x="15" y="126"/>
                </a:lnTo>
                <a:lnTo>
                  <a:pt x="0" y="132"/>
                </a:lnTo>
                <a:lnTo>
                  <a:pt x="15" y="132"/>
                </a:lnTo>
                <a:lnTo>
                  <a:pt x="31" y="132"/>
                </a:lnTo>
                <a:lnTo>
                  <a:pt x="47" y="132"/>
                </a:lnTo>
                <a:lnTo>
                  <a:pt x="62" y="132"/>
                </a:lnTo>
                <a:lnTo>
                  <a:pt x="65" y="114"/>
                </a:lnTo>
                <a:lnTo>
                  <a:pt x="77" y="107"/>
                </a:lnTo>
                <a:lnTo>
                  <a:pt x="87" y="101"/>
                </a:lnTo>
                <a:lnTo>
                  <a:pt x="99" y="96"/>
                </a:lnTo>
                <a:lnTo>
                  <a:pt x="111" y="91"/>
                </a:lnTo>
                <a:lnTo>
                  <a:pt x="121" y="84"/>
                </a:lnTo>
                <a:lnTo>
                  <a:pt x="132" y="77"/>
                </a:lnTo>
                <a:lnTo>
                  <a:pt x="131" y="67"/>
                </a:lnTo>
                <a:lnTo>
                  <a:pt x="150" y="60"/>
                </a:lnTo>
                <a:lnTo>
                  <a:pt x="164" y="59"/>
                </a:lnTo>
                <a:lnTo>
                  <a:pt x="168" y="54"/>
                </a:lnTo>
                <a:lnTo>
                  <a:pt x="158" y="41"/>
                </a:lnTo>
                <a:lnTo>
                  <a:pt x="157" y="29"/>
                </a:lnTo>
                <a:lnTo>
                  <a:pt x="155" y="17"/>
                </a:lnTo>
                <a:lnTo>
                  <a:pt x="151" y="13"/>
                </a:lnTo>
                <a:lnTo>
                  <a:pt x="143" y="9"/>
                </a:lnTo>
                <a:lnTo>
                  <a:pt x="139" y="11"/>
                </a:lnTo>
                <a:lnTo>
                  <a:pt x="115" y="9"/>
                </a:lnTo>
                <a:lnTo>
                  <a:pt x="108" y="0"/>
                </a:lnTo>
                <a:lnTo>
                  <a:pt x="101" y="6"/>
                </a:lnTo>
                <a:lnTo>
                  <a:pt x="93" y="19"/>
                </a:lnTo>
                <a:lnTo>
                  <a:pt x="86" y="32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5" name="Freeform 154">
            <a:extLst>
              <a:ext uri="{FF2B5EF4-FFF2-40B4-BE49-F238E27FC236}">
                <a16:creationId xmlns:a16="http://schemas.microsoft.com/office/drawing/2014/main" id="{7AB7A6A0-FCE8-4BAB-B043-2552BC37D19E}"/>
              </a:ext>
            </a:extLst>
          </p:cNvPr>
          <p:cNvSpPr>
            <a:spLocks/>
          </p:cNvSpPr>
          <p:nvPr/>
        </p:nvSpPr>
        <p:spPr bwMode="gray">
          <a:xfrm>
            <a:off x="4422426" y="3222759"/>
            <a:ext cx="421537" cy="410853"/>
          </a:xfrm>
          <a:custGeom>
            <a:avLst/>
            <a:gdLst>
              <a:gd name="T0" fmla="*/ 24 w 219"/>
              <a:gd name="T1" fmla="*/ 174 h 190"/>
              <a:gd name="T2" fmla="*/ 19 w 219"/>
              <a:gd name="T3" fmla="*/ 175 h 190"/>
              <a:gd name="T4" fmla="*/ 10 w 219"/>
              <a:gd name="T5" fmla="*/ 168 h 190"/>
              <a:gd name="T6" fmla="*/ 10 w 219"/>
              <a:gd name="T7" fmla="*/ 163 h 190"/>
              <a:gd name="T8" fmla="*/ 13 w 219"/>
              <a:gd name="T9" fmla="*/ 162 h 190"/>
              <a:gd name="T10" fmla="*/ 1 w 219"/>
              <a:gd name="T11" fmla="*/ 151 h 190"/>
              <a:gd name="T12" fmla="*/ 0 w 219"/>
              <a:gd name="T13" fmla="*/ 137 h 190"/>
              <a:gd name="T14" fmla="*/ 2 w 219"/>
              <a:gd name="T15" fmla="*/ 137 h 190"/>
              <a:gd name="T16" fmla="*/ 14 w 219"/>
              <a:gd name="T17" fmla="*/ 132 h 190"/>
              <a:gd name="T18" fmla="*/ 30 w 219"/>
              <a:gd name="T19" fmla="*/ 132 h 190"/>
              <a:gd name="T20" fmla="*/ 45 w 219"/>
              <a:gd name="T21" fmla="*/ 131 h 190"/>
              <a:gd name="T22" fmla="*/ 52 w 219"/>
              <a:gd name="T23" fmla="*/ 116 h 190"/>
              <a:gd name="T24" fmla="*/ 54 w 219"/>
              <a:gd name="T25" fmla="*/ 106 h 190"/>
              <a:gd name="T26" fmla="*/ 54 w 219"/>
              <a:gd name="T27" fmla="*/ 94 h 190"/>
              <a:gd name="T28" fmla="*/ 55 w 219"/>
              <a:gd name="T29" fmla="*/ 82 h 190"/>
              <a:gd name="T30" fmla="*/ 55 w 219"/>
              <a:gd name="T31" fmla="*/ 70 h 190"/>
              <a:gd name="T32" fmla="*/ 67 w 219"/>
              <a:gd name="T33" fmla="*/ 67 h 190"/>
              <a:gd name="T34" fmla="*/ 78 w 219"/>
              <a:gd name="T35" fmla="*/ 65 h 190"/>
              <a:gd name="T36" fmla="*/ 88 w 219"/>
              <a:gd name="T37" fmla="*/ 54 h 190"/>
              <a:gd name="T38" fmla="*/ 99 w 219"/>
              <a:gd name="T39" fmla="*/ 43 h 190"/>
              <a:gd name="T40" fmla="*/ 116 w 219"/>
              <a:gd name="T41" fmla="*/ 32 h 190"/>
              <a:gd name="T42" fmla="*/ 132 w 219"/>
              <a:gd name="T43" fmla="*/ 22 h 190"/>
              <a:gd name="T44" fmla="*/ 146 w 219"/>
              <a:gd name="T45" fmla="*/ 11 h 190"/>
              <a:gd name="T46" fmla="*/ 162 w 219"/>
              <a:gd name="T47" fmla="*/ 0 h 190"/>
              <a:gd name="T48" fmla="*/ 182 w 219"/>
              <a:gd name="T49" fmla="*/ 5 h 190"/>
              <a:gd name="T50" fmla="*/ 194 w 219"/>
              <a:gd name="T51" fmla="*/ 14 h 190"/>
              <a:gd name="T52" fmla="*/ 204 w 219"/>
              <a:gd name="T53" fmla="*/ 8 h 190"/>
              <a:gd name="T54" fmla="*/ 206 w 219"/>
              <a:gd name="T55" fmla="*/ 20 h 190"/>
              <a:gd name="T56" fmla="*/ 207 w 219"/>
              <a:gd name="T57" fmla="*/ 32 h 190"/>
              <a:gd name="T58" fmla="*/ 219 w 219"/>
              <a:gd name="T59" fmla="*/ 50 h 190"/>
              <a:gd name="T60" fmla="*/ 216 w 219"/>
              <a:gd name="T61" fmla="*/ 58 h 190"/>
              <a:gd name="T62" fmla="*/ 216 w 219"/>
              <a:gd name="T63" fmla="*/ 70 h 190"/>
              <a:gd name="T64" fmla="*/ 214 w 219"/>
              <a:gd name="T65" fmla="*/ 82 h 190"/>
              <a:gd name="T66" fmla="*/ 213 w 219"/>
              <a:gd name="T67" fmla="*/ 94 h 190"/>
              <a:gd name="T68" fmla="*/ 213 w 219"/>
              <a:gd name="T69" fmla="*/ 106 h 190"/>
              <a:gd name="T70" fmla="*/ 207 w 219"/>
              <a:gd name="T71" fmla="*/ 115 h 190"/>
              <a:gd name="T72" fmla="*/ 200 w 219"/>
              <a:gd name="T73" fmla="*/ 125 h 190"/>
              <a:gd name="T74" fmla="*/ 194 w 219"/>
              <a:gd name="T75" fmla="*/ 134 h 190"/>
              <a:gd name="T76" fmla="*/ 188 w 219"/>
              <a:gd name="T77" fmla="*/ 144 h 190"/>
              <a:gd name="T78" fmla="*/ 188 w 219"/>
              <a:gd name="T79" fmla="*/ 157 h 190"/>
              <a:gd name="T80" fmla="*/ 172 w 219"/>
              <a:gd name="T81" fmla="*/ 167 h 190"/>
              <a:gd name="T82" fmla="*/ 158 w 219"/>
              <a:gd name="T83" fmla="*/ 166 h 190"/>
              <a:gd name="T84" fmla="*/ 144 w 219"/>
              <a:gd name="T85" fmla="*/ 164 h 190"/>
              <a:gd name="T86" fmla="*/ 127 w 219"/>
              <a:gd name="T87" fmla="*/ 172 h 190"/>
              <a:gd name="T88" fmla="*/ 117 w 219"/>
              <a:gd name="T89" fmla="*/ 168 h 190"/>
              <a:gd name="T90" fmla="*/ 106 w 219"/>
              <a:gd name="T91" fmla="*/ 163 h 190"/>
              <a:gd name="T92" fmla="*/ 92 w 219"/>
              <a:gd name="T93" fmla="*/ 167 h 190"/>
              <a:gd name="T94" fmla="*/ 82 w 219"/>
              <a:gd name="T95" fmla="*/ 158 h 190"/>
              <a:gd name="T96" fmla="*/ 68 w 219"/>
              <a:gd name="T97" fmla="*/ 157 h 190"/>
              <a:gd name="T98" fmla="*/ 55 w 219"/>
              <a:gd name="T99" fmla="*/ 161 h 190"/>
              <a:gd name="T100" fmla="*/ 51 w 219"/>
              <a:gd name="T101" fmla="*/ 173 h 190"/>
              <a:gd name="T102" fmla="*/ 48 w 219"/>
              <a:gd name="T103" fmla="*/ 184 h 190"/>
              <a:gd name="T104" fmla="*/ 46 w 219"/>
              <a:gd name="T105" fmla="*/ 190 h 190"/>
              <a:gd name="T106" fmla="*/ 34 w 219"/>
              <a:gd name="T107" fmla="*/ 179 h 190"/>
              <a:gd name="T108" fmla="*/ 31 w 219"/>
              <a:gd name="T109" fmla="*/ 185 h 190"/>
              <a:gd name="T110" fmla="*/ 30 w 219"/>
              <a:gd name="T111" fmla="*/ 187 h 190"/>
              <a:gd name="T112" fmla="*/ 30 w 219"/>
              <a:gd name="T113" fmla="*/ 186 h 190"/>
              <a:gd name="T114" fmla="*/ 26 w 219"/>
              <a:gd name="T115" fmla="*/ 179 h 190"/>
              <a:gd name="T116" fmla="*/ 24 w 219"/>
              <a:gd name="T117" fmla="*/ 174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9" h="190">
                <a:moveTo>
                  <a:pt x="24" y="174"/>
                </a:moveTo>
                <a:lnTo>
                  <a:pt x="19" y="175"/>
                </a:lnTo>
                <a:lnTo>
                  <a:pt x="10" y="168"/>
                </a:lnTo>
                <a:lnTo>
                  <a:pt x="10" y="163"/>
                </a:lnTo>
                <a:lnTo>
                  <a:pt x="13" y="162"/>
                </a:lnTo>
                <a:lnTo>
                  <a:pt x="1" y="151"/>
                </a:lnTo>
                <a:lnTo>
                  <a:pt x="0" y="137"/>
                </a:lnTo>
                <a:lnTo>
                  <a:pt x="2" y="137"/>
                </a:lnTo>
                <a:lnTo>
                  <a:pt x="14" y="132"/>
                </a:lnTo>
                <a:lnTo>
                  <a:pt x="30" y="132"/>
                </a:lnTo>
                <a:lnTo>
                  <a:pt x="45" y="131"/>
                </a:lnTo>
                <a:lnTo>
                  <a:pt x="52" y="116"/>
                </a:lnTo>
                <a:lnTo>
                  <a:pt x="54" y="106"/>
                </a:lnTo>
                <a:lnTo>
                  <a:pt x="54" y="94"/>
                </a:lnTo>
                <a:lnTo>
                  <a:pt x="55" y="82"/>
                </a:lnTo>
                <a:lnTo>
                  <a:pt x="55" y="70"/>
                </a:lnTo>
                <a:lnTo>
                  <a:pt x="67" y="67"/>
                </a:lnTo>
                <a:lnTo>
                  <a:pt x="78" y="65"/>
                </a:lnTo>
                <a:lnTo>
                  <a:pt x="88" y="54"/>
                </a:lnTo>
                <a:lnTo>
                  <a:pt x="99" y="43"/>
                </a:lnTo>
                <a:lnTo>
                  <a:pt x="116" y="32"/>
                </a:lnTo>
                <a:lnTo>
                  <a:pt x="132" y="22"/>
                </a:lnTo>
                <a:lnTo>
                  <a:pt x="146" y="11"/>
                </a:lnTo>
                <a:lnTo>
                  <a:pt x="162" y="0"/>
                </a:lnTo>
                <a:lnTo>
                  <a:pt x="182" y="5"/>
                </a:lnTo>
                <a:lnTo>
                  <a:pt x="194" y="14"/>
                </a:lnTo>
                <a:lnTo>
                  <a:pt x="204" y="8"/>
                </a:lnTo>
                <a:lnTo>
                  <a:pt x="206" y="20"/>
                </a:lnTo>
                <a:lnTo>
                  <a:pt x="207" y="32"/>
                </a:lnTo>
                <a:lnTo>
                  <a:pt x="219" y="50"/>
                </a:lnTo>
                <a:lnTo>
                  <a:pt x="216" y="58"/>
                </a:lnTo>
                <a:lnTo>
                  <a:pt x="216" y="70"/>
                </a:lnTo>
                <a:lnTo>
                  <a:pt x="214" y="82"/>
                </a:lnTo>
                <a:lnTo>
                  <a:pt x="213" y="94"/>
                </a:lnTo>
                <a:lnTo>
                  <a:pt x="213" y="106"/>
                </a:lnTo>
                <a:lnTo>
                  <a:pt x="207" y="115"/>
                </a:lnTo>
                <a:lnTo>
                  <a:pt x="200" y="125"/>
                </a:lnTo>
                <a:lnTo>
                  <a:pt x="194" y="134"/>
                </a:lnTo>
                <a:lnTo>
                  <a:pt x="188" y="144"/>
                </a:lnTo>
                <a:lnTo>
                  <a:pt x="188" y="157"/>
                </a:lnTo>
                <a:lnTo>
                  <a:pt x="172" y="167"/>
                </a:lnTo>
                <a:lnTo>
                  <a:pt x="158" y="166"/>
                </a:lnTo>
                <a:lnTo>
                  <a:pt x="144" y="164"/>
                </a:lnTo>
                <a:lnTo>
                  <a:pt x="127" y="172"/>
                </a:lnTo>
                <a:lnTo>
                  <a:pt x="117" y="168"/>
                </a:lnTo>
                <a:lnTo>
                  <a:pt x="106" y="163"/>
                </a:lnTo>
                <a:lnTo>
                  <a:pt x="92" y="167"/>
                </a:lnTo>
                <a:lnTo>
                  <a:pt x="82" y="158"/>
                </a:lnTo>
                <a:lnTo>
                  <a:pt x="68" y="157"/>
                </a:lnTo>
                <a:lnTo>
                  <a:pt x="55" y="161"/>
                </a:lnTo>
                <a:lnTo>
                  <a:pt x="51" y="173"/>
                </a:lnTo>
                <a:lnTo>
                  <a:pt x="48" y="184"/>
                </a:lnTo>
                <a:lnTo>
                  <a:pt x="46" y="190"/>
                </a:lnTo>
                <a:lnTo>
                  <a:pt x="34" y="179"/>
                </a:lnTo>
                <a:lnTo>
                  <a:pt x="31" y="185"/>
                </a:lnTo>
                <a:lnTo>
                  <a:pt x="30" y="187"/>
                </a:lnTo>
                <a:lnTo>
                  <a:pt x="30" y="186"/>
                </a:lnTo>
                <a:lnTo>
                  <a:pt x="26" y="179"/>
                </a:lnTo>
                <a:lnTo>
                  <a:pt x="24" y="17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6" name="Freeform 155">
            <a:extLst>
              <a:ext uri="{FF2B5EF4-FFF2-40B4-BE49-F238E27FC236}">
                <a16:creationId xmlns:a16="http://schemas.microsoft.com/office/drawing/2014/main" id="{06CF7758-0E41-48CC-9D54-2E859867FF47}"/>
              </a:ext>
            </a:extLst>
          </p:cNvPr>
          <p:cNvSpPr>
            <a:spLocks/>
          </p:cNvSpPr>
          <p:nvPr/>
        </p:nvSpPr>
        <p:spPr bwMode="gray">
          <a:xfrm>
            <a:off x="3947552" y="3460313"/>
            <a:ext cx="160014" cy="151878"/>
          </a:xfrm>
          <a:custGeom>
            <a:avLst/>
            <a:gdLst>
              <a:gd name="T0" fmla="*/ 16 w 84"/>
              <a:gd name="T1" fmla="*/ 3 h 70"/>
              <a:gd name="T2" fmla="*/ 13 w 84"/>
              <a:gd name="T3" fmla="*/ 10 h 70"/>
              <a:gd name="T4" fmla="*/ 6 w 84"/>
              <a:gd name="T5" fmla="*/ 21 h 70"/>
              <a:gd name="T6" fmla="*/ 0 w 84"/>
              <a:gd name="T7" fmla="*/ 32 h 70"/>
              <a:gd name="T8" fmla="*/ 9 w 84"/>
              <a:gd name="T9" fmla="*/ 44 h 70"/>
              <a:gd name="T10" fmla="*/ 12 w 84"/>
              <a:gd name="T11" fmla="*/ 40 h 70"/>
              <a:gd name="T12" fmla="*/ 10 w 84"/>
              <a:gd name="T13" fmla="*/ 44 h 70"/>
              <a:gd name="T14" fmla="*/ 12 w 84"/>
              <a:gd name="T15" fmla="*/ 45 h 70"/>
              <a:gd name="T16" fmla="*/ 12 w 84"/>
              <a:gd name="T17" fmla="*/ 50 h 70"/>
              <a:gd name="T18" fmla="*/ 27 w 84"/>
              <a:gd name="T19" fmla="*/ 50 h 70"/>
              <a:gd name="T20" fmla="*/ 29 w 84"/>
              <a:gd name="T21" fmla="*/ 46 h 70"/>
              <a:gd name="T22" fmla="*/ 46 w 84"/>
              <a:gd name="T23" fmla="*/ 51 h 70"/>
              <a:gd name="T24" fmla="*/ 49 w 84"/>
              <a:gd name="T25" fmla="*/ 54 h 70"/>
              <a:gd name="T26" fmla="*/ 31 w 84"/>
              <a:gd name="T27" fmla="*/ 51 h 70"/>
              <a:gd name="T28" fmla="*/ 19 w 84"/>
              <a:gd name="T29" fmla="*/ 54 h 70"/>
              <a:gd name="T30" fmla="*/ 9 w 84"/>
              <a:gd name="T31" fmla="*/ 58 h 70"/>
              <a:gd name="T32" fmla="*/ 10 w 84"/>
              <a:gd name="T33" fmla="*/ 65 h 70"/>
              <a:gd name="T34" fmla="*/ 21 w 84"/>
              <a:gd name="T35" fmla="*/ 63 h 70"/>
              <a:gd name="T36" fmla="*/ 27 w 84"/>
              <a:gd name="T37" fmla="*/ 62 h 70"/>
              <a:gd name="T38" fmla="*/ 25 w 84"/>
              <a:gd name="T39" fmla="*/ 64 h 70"/>
              <a:gd name="T40" fmla="*/ 12 w 84"/>
              <a:gd name="T41" fmla="*/ 65 h 70"/>
              <a:gd name="T42" fmla="*/ 9 w 84"/>
              <a:gd name="T43" fmla="*/ 70 h 70"/>
              <a:gd name="T44" fmla="*/ 28 w 84"/>
              <a:gd name="T45" fmla="*/ 66 h 70"/>
              <a:gd name="T46" fmla="*/ 40 w 84"/>
              <a:gd name="T47" fmla="*/ 65 h 70"/>
              <a:gd name="T48" fmla="*/ 52 w 84"/>
              <a:gd name="T49" fmla="*/ 64 h 70"/>
              <a:gd name="T50" fmla="*/ 64 w 84"/>
              <a:gd name="T51" fmla="*/ 66 h 70"/>
              <a:gd name="T52" fmla="*/ 84 w 84"/>
              <a:gd name="T53" fmla="*/ 69 h 70"/>
              <a:gd name="T54" fmla="*/ 81 w 84"/>
              <a:gd name="T55" fmla="*/ 53 h 70"/>
              <a:gd name="T56" fmla="*/ 77 w 84"/>
              <a:gd name="T57" fmla="*/ 46 h 70"/>
              <a:gd name="T58" fmla="*/ 72 w 84"/>
              <a:gd name="T59" fmla="*/ 30 h 70"/>
              <a:gd name="T60" fmla="*/ 63 w 84"/>
              <a:gd name="T61" fmla="*/ 20 h 70"/>
              <a:gd name="T62" fmla="*/ 52 w 84"/>
              <a:gd name="T63" fmla="*/ 9 h 70"/>
              <a:gd name="T64" fmla="*/ 39 w 84"/>
              <a:gd name="T65" fmla="*/ 0 h 70"/>
              <a:gd name="T66" fmla="*/ 28 w 84"/>
              <a:gd name="T67" fmla="*/ 2 h 70"/>
              <a:gd name="T68" fmla="*/ 16 w 84"/>
              <a:gd name="T69" fmla="*/ 3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4" h="70">
                <a:moveTo>
                  <a:pt x="16" y="3"/>
                </a:moveTo>
                <a:lnTo>
                  <a:pt x="13" y="10"/>
                </a:lnTo>
                <a:lnTo>
                  <a:pt x="6" y="21"/>
                </a:lnTo>
                <a:lnTo>
                  <a:pt x="0" y="32"/>
                </a:lnTo>
                <a:lnTo>
                  <a:pt x="9" y="44"/>
                </a:lnTo>
                <a:lnTo>
                  <a:pt x="12" y="40"/>
                </a:lnTo>
                <a:lnTo>
                  <a:pt x="10" y="44"/>
                </a:lnTo>
                <a:lnTo>
                  <a:pt x="12" y="45"/>
                </a:lnTo>
                <a:lnTo>
                  <a:pt x="12" y="50"/>
                </a:lnTo>
                <a:lnTo>
                  <a:pt x="27" y="50"/>
                </a:lnTo>
                <a:lnTo>
                  <a:pt x="29" y="46"/>
                </a:lnTo>
                <a:lnTo>
                  <a:pt x="46" y="51"/>
                </a:lnTo>
                <a:lnTo>
                  <a:pt x="49" y="54"/>
                </a:lnTo>
                <a:lnTo>
                  <a:pt x="31" y="51"/>
                </a:lnTo>
                <a:lnTo>
                  <a:pt x="19" y="54"/>
                </a:lnTo>
                <a:lnTo>
                  <a:pt x="9" y="58"/>
                </a:lnTo>
                <a:lnTo>
                  <a:pt x="10" y="65"/>
                </a:lnTo>
                <a:lnTo>
                  <a:pt x="21" y="63"/>
                </a:lnTo>
                <a:lnTo>
                  <a:pt x="27" y="62"/>
                </a:lnTo>
                <a:lnTo>
                  <a:pt x="25" y="64"/>
                </a:lnTo>
                <a:lnTo>
                  <a:pt x="12" y="65"/>
                </a:lnTo>
                <a:lnTo>
                  <a:pt x="9" y="70"/>
                </a:lnTo>
                <a:lnTo>
                  <a:pt x="28" y="66"/>
                </a:lnTo>
                <a:lnTo>
                  <a:pt x="40" y="65"/>
                </a:lnTo>
                <a:lnTo>
                  <a:pt x="52" y="64"/>
                </a:lnTo>
                <a:lnTo>
                  <a:pt x="64" y="66"/>
                </a:lnTo>
                <a:lnTo>
                  <a:pt x="84" y="69"/>
                </a:lnTo>
                <a:lnTo>
                  <a:pt x="81" y="53"/>
                </a:lnTo>
                <a:lnTo>
                  <a:pt x="77" y="46"/>
                </a:lnTo>
                <a:lnTo>
                  <a:pt x="72" y="30"/>
                </a:lnTo>
                <a:lnTo>
                  <a:pt x="63" y="20"/>
                </a:lnTo>
                <a:lnTo>
                  <a:pt x="52" y="9"/>
                </a:lnTo>
                <a:lnTo>
                  <a:pt x="39" y="0"/>
                </a:lnTo>
                <a:lnTo>
                  <a:pt x="28" y="2"/>
                </a:lnTo>
                <a:lnTo>
                  <a:pt x="16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7" name="Freeform 156">
            <a:extLst>
              <a:ext uri="{FF2B5EF4-FFF2-40B4-BE49-F238E27FC236}">
                <a16:creationId xmlns:a16="http://schemas.microsoft.com/office/drawing/2014/main" id="{25EBC419-448E-473B-8873-4118FC199E0E}"/>
              </a:ext>
            </a:extLst>
          </p:cNvPr>
          <p:cNvSpPr>
            <a:spLocks/>
          </p:cNvSpPr>
          <p:nvPr/>
        </p:nvSpPr>
        <p:spPr bwMode="gray">
          <a:xfrm>
            <a:off x="4606526" y="2745705"/>
            <a:ext cx="106675" cy="243397"/>
          </a:xfrm>
          <a:custGeom>
            <a:avLst/>
            <a:gdLst>
              <a:gd name="T0" fmla="*/ 36 w 55"/>
              <a:gd name="T1" fmla="*/ 107 h 113"/>
              <a:gd name="T2" fmla="*/ 29 w 55"/>
              <a:gd name="T3" fmla="*/ 113 h 113"/>
              <a:gd name="T4" fmla="*/ 25 w 55"/>
              <a:gd name="T5" fmla="*/ 97 h 113"/>
              <a:gd name="T6" fmla="*/ 21 w 55"/>
              <a:gd name="T7" fmla="*/ 83 h 113"/>
              <a:gd name="T8" fmla="*/ 11 w 55"/>
              <a:gd name="T9" fmla="*/ 71 h 113"/>
              <a:gd name="T10" fmla="*/ 0 w 55"/>
              <a:gd name="T11" fmla="*/ 55 h 113"/>
              <a:gd name="T12" fmla="*/ 6 w 55"/>
              <a:gd name="T13" fmla="*/ 43 h 113"/>
              <a:gd name="T14" fmla="*/ 12 w 55"/>
              <a:gd name="T15" fmla="*/ 31 h 113"/>
              <a:gd name="T16" fmla="*/ 11 w 55"/>
              <a:gd name="T17" fmla="*/ 10 h 113"/>
              <a:gd name="T18" fmla="*/ 13 w 55"/>
              <a:gd name="T19" fmla="*/ 5 h 113"/>
              <a:gd name="T20" fmla="*/ 29 w 55"/>
              <a:gd name="T21" fmla="*/ 0 h 113"/>
              <a:gd name="T22" fmla="*/ 33 w 55"/>
              <a:gd name="T23" fmla="*/ 4 h 113"/>
              <a:gd name="T24" fmla="*/ 37 w 55"/>
              <a:gd name="T25" fmla="*/ 9 h 113"/>
              <a:gd name="T26" fmla="*/ 45 w 55"/>
              <a:gd name="T27" fmla="*/ 4 h 113"/>
              <a:gd name="T28" fmla="*/ 39 w 55"/>
              <a:gd name="T29" fmla="*/ 21 h 113"/>
              <a:gd name="T30" fmla="*/ 48 w 55"/>
              <a:gd name="T31" fmla="*/ 33 h 113"/>
              <a:gd name="T32" fmla="*/ 41 w 55"/>
              <a:gd name="T33" fmla="*/ 42 h 113"/>
              <a:gd name="T34" fmla="*/ 33 w 55"/>
              <a:gd name="T35" fmla="*/ 52 h 113"/>
              <a:gd name="T36" fmla="*/ 45 w 55"/>
              <a:gd name="T37" fmla="*/ 59 h 113"/>
              <a:gd name="T38" fmla="*/ 55 w 55"/>
              <a:gd name="T39" fmla="*/ 65 h 113"/>
              <a:gd name="T40" fmla="*/ 54 w 55"/>
              <a:gd name="T41" fmla="*/ 78 h 113"/>
              <a:gd name="T42" fmla="*/ 45 w 55"/>
              <a:gd name="T43" fmla="*/ 87 h 113"/>
              <a:gd name="T44" fmla="*/ 36 w 55"/>
              <a:gd name="T45" fmla="*/ 94 h 113"/>
              <a:gd name="T46" fmla="*/ 36 w 55"/>
              <a:gd name="T47" fmla="*/ 107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55" h="113">
                <a:moveTo>
                  <a:pt x="36" y="107"/>
                </a:moveTo>
                <a:lnTo>
                  <a:pt x="29" y="113"/>
                </a:lnTo>
                <a:lnTo>
                  <a:pt x="25" y="97"/>
                </a:lnTo>
                <a:lnTo>
                  <a:pt x="21" y="83"/>
                </a:lnTo>
                <a:lnTo>
                  <a:pt x="11" y="71"/>
                </a:lnTo>
                <a:lnTo>
                  <a:pt x="0" y="55"/>
                </a:lnTo>
                <a:lnTo>
                  <a:pt x="6" y="43"/>
                </a:lnTo>
                <a:lnTo>
                  <a:pt x="12" y="31"/>
                </a:lnTo>
                <a:lnTo>
                  <a:pt x="11" y="10"/>
                </a:lnTo>
                <a:lnTo>
                  <a:pt x="13" y="5"/>
                </a:lnTo>
                <a:lnTo>
                  <a:pt x="29" y="0"/>
                </a:lnTo>
                <a:lnTo>
                  <a:pt x="33" y="4"/>
                </a:lnTo>
                <a:lnTo>
                  <a:pt x="37" y="9"/>
                </a:lnTo>
                <a:lnTo>
                  <a:pt x="45" y="4"/>
                </a:lnTo>
                <a:lnTo>
                  <a:pt x="39" y="21"/>
                </a:lnTo>
                <a:lnTo>
                  <a:pt x="48" y="33"/>
                </a:lnTo>
                <a:lnTo>
                  <a:pt x="41" y="42"/>
                </a:lnTo>
                <a:lnTo>
                  <a:pt x="33" y="52"/>
                </a:lnTo>
                <a:lnTo>
                  <a:pt x="45" y="59"/>
                </a:lnTo>
                <a:lnTo>
                  <a:pt x="55" y="65"/>
                </a:lnTo>
                <a:lnTo>
                  <a:pt x="54" y="78"/>
                </a:lnTo>
                <a:lnTo>
                  <a:pt x="45" y="87"/>
                </a:lnTo>
                <a:lnTo>
                  <a:pt x="36" y="94"/>
                </a:lnTo>
                <a:lnTo>
                  <a:pt x="36" y="10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8" name="Freeform 157">
            <a:extLst>
              <a:ext uri="{FF2B5EF4-FFF2-40B4-BE49-F238E27FC236}">
                <a16:creationId xmlns:a16="http://schemas.microsoft.com/office/drawing/2014/main" id="{76170D6A-9104-43F1-847B-48645CDEED5C}"/>
              </a:ext>
            </a:extLst>
          </p:cNvPr>
          <p:cNvSpPr>
            <a:spLocks/>
          </p:cNvSpPr>
          <p:nvPr/>
        </p:nvSpPr>
        <p:spPr bwMode="gray">
          <a:xfrm>
            <a:off x="4100682" y="3746546"/>
            <a:ext cx="115277" cy="144091"/>
          </a:xfrm>
          <a:custGeom>
            <a:avLst/>
            <a:gdLst>
              <a:gd name="T0" fmla="*/ 56 w 59"/>
              <a:gd name="T1" fmla="*/ 67 h 67"/>
              <a:gd name="T2" fmla="*/ 42 w 59"/>
              <a:gd name="T3" fmla="*/ 58 h 67"/>
              <a:gd name="T4" fmla="*/ 27 w 59"/>
              <a:gd name="T5" fmla="*/ 49 h 67"/>
              <a:gd name="T6" fmla="*/ 13 w 59"/>
              <a:gd name="T7" fmla="*/ 37 h 67"/>
              <a:gd name="T8" fmla="*/ 0 w 59"/>
              <a:gd name="T9" fmla="*/ 25 h 67"/>
              <a:gd name="T10" fmla="*/ 5 w 59"/>
              <a:gd name="T11" fmla="*/ 21 h 67"/>
              <a:gd name="T12" fmla="*/ 11 w 59"/>
              <a:gd name="T13" fmla="*/ 11 h 67"/>
              <a:gd name="T14" fmla="*/ 18 w 59"/>
              <a:gd name="T15" fmla="*/ 0 h 67"/>
              <a:gd name="T16" fmla="*/ 26 w 59"/>
              <a:gd name="T17" fmla="*/ 0 h 67"/>
              <a:gd name="T18" fmla="*/ 30 w 59"/>
              <a:gd name="T19" fmla="*/ 17 h 67"/>
              <a:gd name="T20" fmla="*/ 33 w 59"/>
              <a:gd name="T21" fmla="*/ 19 h 67"/>
              <a:gd name="T22" fmla="*/ 39 w 59"/>
              <a:gd name="T23" fmla="*/ 16 h 67"/>
              <a:gd name="T24" fmla="*/ 43 w 59"/>
              <a:gd name="T25" fmla="*/ 16 h 67"/>
              <a:gd name="T26" fmla="*/ 43 w 59"/>
              <a:gd name="T27" fmla="*/ 30 h 67"/>
              <a:gd name="T28" fmla="*/ 43 w 59"/>
              <a:gd name="T29" fmla="*/ 33 h 67"/>
              <a:gd name="T30" fmla="*/ 53 w 59"/>
              <a:gd name="T31" fmla="*/ 41 h 67"/>
              <a:gd name="T32" fmla="*/ 59 w 59"/>
              <a:gd name="T33" fmla="*/ 47 h 67"/>
              <a:gd name="T34" fmla="*/ 56 w 59"/>
              <a:gd name="T35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9" h="67">
                <a:moveTo>
                  <a:pt x="56" y="67"/>
                </a:moveTo>
                <a:lnTo>
                  <a:pt x="42" y="58"/>
                </a:lnTo>
                <a:lnTo>
                  <a:pt x="27" y="49"/>
                </a:lnTo>
                <a:lnTo>
                  <a:pt x="13" y="37"/>
                </a:lnTo>
                <a:lnTo>
                  <a:pt x="0" y="25"/>
                </a:lnTo>
                <a:lnTo>
                  <a:pt x="5" y="21"/>
                </a:lnTo>
                <a:lnTo>
                  <a:pt x="11" y="11"/>
                </a:lnTo>
                <a:lnTo>
                  <a:pt x="18" y="0"/>
                </a:lnTo>
                <a:lnTo>
                  <a:pt x="26" y="0"/>
                </a:lnTo>
                <a:lnTo>
                  <a:pt x="30" y="17"/>
                </a:lnTo>
                <a:lnTo>
                  <a:pt x="33" y="19"/>
                </a:lnTo>
                <a:lnTo>
                  <a:pt x="39" y="16"/>
                </a:lnTo>
                <a:lnTo>
                  <a:pt x="43" y="16"/>
                </a:lnTo>
                <a:lnTo>
                  <a:pt x="43" y="30"/>
                </a:lnTo>
                <a:lnTo>
                  <a:pt x="43" y="33"/>
                </a:lnTo>
                <a:lnTo>
                  <a:pt x="53" y="41"/>
                </a:lnTo>
                <a:lnTo>
                  <a:pt x="59" y="47"/>
                </a:lnTo>
                <a:lnTo>
                  <a:pt x="56" y="6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49" name="Freeform 158">
            <a:extLst>
              <a:ext uri="{FF2B5EF4-FFF2-40B4-BE49-F238E27FC236}">
                <a16:creationId xmlns:a16="http://schemas.microsoft.com/office/drawing/2014/main" id="{AEEB6406-DFB6-4449-8E56-2F9DE9686C57}"/>
              </a:ext>
            </a:extLst>
          </p:cNvPr>
          <p:cNvSpPr>
            <a:spLocks/>
          </p:cNvSpPr>
          <p:nvPr/>
        </p:nvSpPr>
        <p:spPr bwMode="gray">
          <a:xfrm>
            <a:off x="2166778" y="3707603"/>
            <a:ext cx="84308" cy="81779"/>
          </a:xfrm>
          <a:custGeom>
            <a:avLst/>
            <a:gdLst>
              <a:gd name="T0" fmla="*/ 0 w 45"/>
              <a:gd name="T1" fmla="*/ 24 h 38"/>
              <a:gd name="T2" fmla="*/ 2 w 45"/>
              <a:gd name="T3" fmla="*/ 12 h 38"/>
              <a:gd name="T4" fmla="*/ 0 w 45"/>
              <a:gd name="T5" fmla="*/ 2 h 38"/>
              <a:gd name="T6" fmla="*/ 6 w 45"/>
              <a:gd name="T7" fmla="*/ 0 h 38"/>
              <a:gd name="T8" fmla="*/ 10 w 45"/>
              <a:gd name="T9" fmla="*/ 6 h 38"/>
              <a:gd name="T10" fmla="*/ 16 w 45"/>
              <a:gd name="T11" fmla="*/ 9 h 38"/>
              <a:gd name="T12" fmla="*/ 21 w 45"/>
              <a:gd name="T13" fmla="*/ 12 h 38"/>
              <a:gd name="T14" fmla="*/ 40 w 45"/>
              <a:gd name="T15" fmla="*/ 6 h 38"/>
              <a:gd name="T16" fmla="*/ 42 w 45"/>
              <a:gd name="T17" fmla="*/ 8 h 38"/>
              <a:gd name="T18" fmla="*/ 45 w 45"/>
              <a:gd name="T19" fmla="*/ 12 h 38"/>
              <a:gd name="T20" fmla="*/ 35 w 45"/>
              <a:gd name="T21" fmla="*/ 22 h 38"/>
              <a:gd name="T22" fmla="*/ 41 w 45"/>
              <a:gd name="T23" fmla="*/ 33 h 38"/>
              <a:gd name="T24" fmla="*/ 28 w 45"/>
              <a:gd name="T25" fmla="*/ 38 h 38"/>
              <a:gd name="T26" fmla="*/ 27 w 45"/>
              <a:gd name="T27" fmla="*/ 28 h 38"/>
              <a:gd name="T28" fmla="*/ 24 w 45"/>
              <a:gd name="T29" fmla="*/ 32 h 38"/>
              <a:gd name="T30" fmla="*/ 17 w 45"/>
              <a:gd name="T31" fmla="*/ 24 h 38"/>
              <a:gd name="T32" fmla="*/ 4 w 45"/>
              <a:gd name="T33" fmla="*/ 21 h 38"/>
              <a:gd name="T34" fmla="*/ 0 w 45"/>
              <a:gd name="T35" fmla="*/ 24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5" h="38">
                <a:moveTo>
                  <a:pt x="0" y="24"/>
                </a:moveTo>
                <a:lnTo>
                  <a:pt x="2" y="12"/>
                </a:lnTo>
                <a:lnTo>
                  <a:pt x="0" y="2"/>
                </a:lnTo>
                <a:lnTo>
                  <a:pt x="6" y="0"/>
                </a:lnTo>
                <a:lnTo>
                  <a:pt x="10" y="6"/>
                </a:lnTo>
                <a:lnTo>
                  <a:pt x="16" y="9"/>
                </a:lnTo>
                <a:lnTo>
                  <a:pt x="21" y="12"/>
                </a:lnTo>
                <a:lnTo>
                  <a:pt x="40" y="6"/>
                </a:lnTo>
                <a:lnTo>
                  <a:pt x="42" y="8"/>
                </a:lnTo>
                <a:lnTo>
                  <a:pt x="45" y="12"/>
                </a:lnTo>
                <a:lnTo>
                  <a:pt x="35" y="22"/>
                </a:lnTo>
                <a:lnTo>
                  <a:pt x="41" y="33"/>
                </a:lnTo>
                <a:lnTo>
                  <a:pt x="28" y="38"/>
                </a:lnTo>
                <a:lnTo>
                  <a:pt x="27" y="28"/>
                </a:lnTo>
                <a:lnTo>
                  <a:pt x="24" y="32"/>
                </a:lnTo>
                <a:lnTo>
                  <a:pt x="17" y="24"/>
                </a:lnTo>
                <a:lnTo>
                  <a:pt x="4" y="21"/>
                </a:lnTo>
                <a:lnTo>
                  <a:pt x="0" y="2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50" name="Freeform 159">
            <a:extLst>
              <a:ext uri="{FF2B5EF4-FFF2-40B4-BE49-F238E27FC236}">
                <a16:creationId xmlns:a16="http://schemas.microsoft.com/office/drawing/2014/main" id="{6BF5675C-C848-4EF8-81FD-8712AAC57CA2}"/>
              </a:ext>
            </a:extLst>
          </p:cNvPr>
          <p:cNvSpPr>
            <a:spLocks/>
          </p:cNvSpPr>
          <p:nvPr/>
        </p:nvSpPr>
        <p:spPr bwMode="gray">
          <a:xfrm>
            <a:off x="2254525" y="3711496"/>
            <a:ext cx="65381" cy="77886"/>
          </a:xfrm>
          <a:custGeom>
            <a:avLst/>
            <a:gdLst>
              <a:gd name="T0" fmla="*/ 19 w 34"/>
              <a:gd name="T1" fmla="*/ 19 h 36"/>
              <a:gd name="T2" fmla="*/ 25 w 34"/>
              <a:gd name="T3" fmla="*/ 20 h 36"/>
              <a:gd name="T4" fmla="*/ 23 w 34"/>
              <a:gd name="T5" fmla="*/ 16 h 36"/>
              <a:gd name="T6" fmla="*/ 18 w 34"/>
              <a:gd name="T7" fmla="*/ 16 h 36"/>
              <a:gd name="T8" fmla="*/ 14 w 34"/>
              <a:gd name="T9" fmla="*/ 12 h 36"/>
              <a:gd name="T10" fmla="*/ 5 w 34"/>
              <a:gd name="T11" fmla="*/ 7 h 36"/>
              <a:gd name="T12" fmla="*/ 1 w 34"/>
              <a:gd name="T13" fmla="*/ 3 h 36"/>
              <a:gd name="T14" fmla="*/ 0 w 34"/>
              <a:gd name="T15" fmla="*/ 0 h 36"/>
              <a:gd name="T16" fmla="*/ 14 w 34"/>
              <a:gd name="T17" fmla="*/ 1 h 36"/>
              <a:gd name="T18" fmla="*/ 24 w 34"/>
              <a:gd name="T19" fmla="*/ 7 h 36"/>
              <a:gd name="T20" fmla="*/ 34 w 34"/>
              <a:gd name="T21" fmla="*/ 13 h 36"/>
              <a:gd name="T22" fmla="*/ 34 w 34"/>
              <a:gd name="T23" fmla="*/ 25 h 36"/>
              <a:gd name="T24" fmla="*/ 28 w 34"/>
              <a:gd name="T25" fmla="*/ 28 h 36"/>
              <a:gd name="T26" fmla="*/ 25 w 34"/>
              <a:gd name="T27" fmla="*/ 36 h 36"/>
              <a:gd name="T28" fmla="*/ 22 w 34"/>
              <a:gd name="T29" fmla="*/ 31 h 36"/>
              <a:gd name="T30" fmla="*/ 19 w 34"/>
              <a:gd name="T31" fmla="*/ 1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4" h="36">
                <a:moveTo>
                  <a:pt x="19" y="19"/>
                </a:moveTo>
                <a:lnTo>
                  <a:pt x="25" y="20"/>
                </a:lnTo>
                <a:lnTo>
                  <a:pt x="23" y="16"/>
                </a:lnTo>
                <a:lnTo>
                  <a:pt x="18" y="16"/>
                </a:lnTo>
                <a:lnTo>
                  <a:pt x="14" y="12"/>
                </a:lnTo>
                <a:lnTo>
                  <a:pt x="5" y="7"/>
                </a:lnTo>
                <a:lnTo>
                  <a:pt x="1" y="3"/>
                </a:lnTo>
                <a:lnTo>
                  <a:pt x="0" y="0"/>
                </a:lnTo>
                <a:lnTo>
                  <a:pt x="14" y="1"/>
                </a:lnTo>
                <a:lnTo>
                  <a:pt x="24" y="7"/>
                </a:lnTo>
                <a:lnTo>
                  <a:pt x="34" y="13"/>
                </a:lnTo>
                <a:lnTo>
                  <a:pt x="34" y="25"/>
                </a:lnTo>
                <a:lnTo>
                  <a:pt x="28" y="28"/>
                </a:lnTo>
                <a:lnTo>
                  <a:pt x="25" y="36"/>
                </a:lnTo>
                <a:lnTo>
                  <a:pt x="22" y="31"/>
                </a:lnTo>
                <a:lnTo>
                  <a:pt x="19" y="1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51" name="Freeform 160">
            <a:extLst>
              <a:ext uri="{FF2B5EF4-FFF2-40B4-BE49-F238E27FC236}">
                <a16:creationId xmlns:a16="http://schemas.microsoft.com/office/drawing/2014/main" id="{EA70BD70-5BB8-4E69-9045-A7B0AD2F3447}"/>
              </a:ext>
            </a:extLst>
          </p:cNvPr>
          <p:cNvSpPr>
            <a:spLocks/>
          </p:cNvSpPr>
          <p:nvPr/>
        </p:nvSpPr>
        <p:spPr bwMode="gray">
          <a:xfrm>
            <a:off x="2928984" y="3841957"/>
            <a:ext cx="80867" cy="126566"/>
          </a:xfrm>
          <a:custGeom>
            <a:avLst/>
            <a:gdLst>
              <a:gd name="T0" fmla="*/ 32 w 42"/>
              <a:gd name="T1" fmla="*/ 15 h 57"/>
              <a:gd name="T2" fmla="*/ 19 w 42"/>
              <a:gd name="T3" fmla="*/ 3 h 57"/>
              <a:gd name="T4" fmla="*/ 9 w 42"/>
              <a:gd name="T5" fmla="*/ 0 h 57"/>
              <a:gd name="T6" fmla="*/ 7 w 42"/>
              <a:gd name="T7" fmla="*/ 6 h 57"/>
              <a:gd name="T8" fmla="*/ 2 w 42"/>
              <a:gd name="T9" fmla="*/ 19 h 57"/>
              <a:gd name="T10" fmla="*/ 8 w 42"/>
              <a:gd name="T11" fmla="*/ 39 h 57"/>
              <a:gd name="T12" fmla="*/ 0 w 42"/>
              <a:gd name="T13" fmla="*/ 55 h 57"/>
              <a:gd name="T14" fmla="*/ 9 w 42"/>
              <a:gd name="T15" fmla="*/ 56 h 57"/>
              <a:gd name="T16" fmla="*/ 23 w 42"/>
              <a:gd name="T17" fmla="*/ 57 h 57"/>
              <a:gd name="T18" fmla="*/ 32 w 42"/>
              <a:gd name="T19" fmla="*/ 42 h 57"/>
              <a:gd name="T20" fmla="*/ 42 w 42"/>
              <a:gd name="T21" fmla="*/ 27 h 57"/>
              <a:gd name="T22" fmla="*/ 38 w 42"/>
              <a:gd name="T23" fmla="*/ 18 h 57"/>
              <a:gd name="T24" fmla="*/ 38 w 42"/>
              <a:gd name="T25" fmla="*/ 21 h 57"/>
              <a:gd name="T26" fmla="*/ 32 w 42"/>
              <a:gd name="T27" fmla="*/ 1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2" h="57">
                <a:moveTo>
                  <a:pt x="32" y="15"/>
                </a:moveTo>
                <a:lnTo>
                  <a:pt x="19" y="3"/>
                </a:lnTo>
                <a:lnTo>
                  <a:pt x="9" y="0"/>
                </a:lnTo>
                <a:lnTo>
                  <a:pt x="7" y="6"/>
                </a:lnTo>
                <a:lnTo>
                  <a:pt x="2" y="19"/>
                </a:lnTo>
                <a:lnTo>
                  <a:pt x="8" y="39"/>
                </a:lnTo>
                <a:lnTo>
                  <a:pt x="0" y="55"/>
                </a:lnTo>
                <a:lnTo>
                  <a:pt x="9" y="56"/>
                </a:lnTo>
                <a:lnTo>
                  <a:pt x="23" y="57"/>
                </a:lnTo>
                <a:lnTo>
                  <a:pt x="32" y="42"/>
                </a:lnTo>
                <a:lnTo>
                  <a:pt x="42" y="27"/>
                </a:lnTo>
                <a:lnTo>
                  <a:pt x="38" y="18"/>
                </a:lnTo>
                <a:lnTo>
                  <a:pt x="38" y="21"/>
                </a:lnTo>
                <a:lnTo>
                  <a:pt x="32" y="1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52" name="Freeform 161">
            <a:extLst>
              <a:ext uri="{FF2B5EF4-FFF2-40B4-BE49-F238E27FC236}">
                <a16:creationId xmlns:a16="http://schemas.microsoft.com/office/drawing/2014/main" id="{5FB28063-1D94-4DB3-AD18-400B7BA32FCF}"/>
              </a:ext>
            </a:extLst>
          </p:cNvPr>
          <p:cNvSpPr>
            <a:spLocks/>
          </p:cNvSpPr>
          <p:nvPr/>
        </p:nvSpPr>
        <p:spPr bwMode="gray">
          <a:xfrm>
            <a:off x="2270010" y="3612191"/>
            <a:ext cx="325187" cy="576360"/>
          </a:xfrm>
          <a:custGeom>
            <a:avLst/>
            <a:gdLst>
              <a:gd name="T0" fmla="*/ 67 w 172"/>
              <a:gd name="T1" fmla="*/ 24 h 266"/>
              <a:gd name="T2" fmla="*/ 61 w 172"/>
              <a:gd name="T3" fmla="*/ 22 h 266"/>
              <a:gd name="T4" fmla="*/ 49 w 172"/>
              <a:gd name="T5" fmla="*/ 47 h 266"/>
              <a:gd name="T6" fmla="*/ 31 w 172"/>
              <a:gd name="T7" fmla="*/ 71 h 266"/>
              <a:gd name="T8" fmla="*/ 27 w 172"/>
              <a:gd name="T9" fmla="*/ 59 h 266"/>
              <a:gd name="T10" fmla="*/ 21 w 172"/>
              <a:gd name="T11" fmla="*/ 74 h 266"/>
              <a:gd name="T12" fmla="*/ 22 w 172"/>
              <a:gd name="T13" fmla="*/ 89 h 266"/>
              <a:gd name="T14" fmla="*/ 22 w 172"/>
              <a:gd name="T15" fmla="*/ 110 h 266"/>
              <a:gd name="T16" fmla="*/ 24 w 172"/>
              <a:gd name="T17" fmla="*/ 134 h 266"/>
              <a:gd name="T18" fmla="*/ 17 w 172"/>
              <a:gd name="T19" fmla="*/ 154 h 266"/>
              <a:gd name="T20" fmla="*/ 5 w 172"/>
              <a:gd name="T21" fmla="*/ 167 h 266"/>
              <a:gd name="T22" fmla="*/ 1 w 172"/>
              <a:gd name="T23" fmla="*/ 175 h 266"/>
              <a:gd name="T24" fmla="*/ 22 w 172"/>
              <a:gd name="T25" fmla="*/ 192 h 266"/>
              <a:gd name="T26" fmla="*/ 52 w 172"/>
              <a:gd name="T27" fmla="*/ 199 h 266"/>
              <a:gd name="T28" fmla="*/ 60 w 172"/>
              <a:gd name="T29" fmla="*/ 206 h 266"/>
              <a:gd name="T30" fmla="*/ 79 w 172"/>
              <a:gd name="T31" fmla="*/ 227 h 266"/>
              <a:gd name="T32" fmla="*/ 100 w 172"/>
              <a:gd name="T33" fmla="*/ 235 h 266"/>
              <a:gd name="T34" fmla="*/ 125 w 172"/>
              <a:gd name="T35" fmla="*/ 240 h 266"/>
              <a:gd name="T36" fmla="*/ 129 w 172"/>
              <a:gd name="T37" fmla="*/ 266 h 266"/>
              <a:gd name="T38" fmla="*/ 135 w 172"/>
              <a:gd name="T39" fmla="*/ 221 h 266"/>
              <a:gd name="T40" fmla="*/ 126 w 172"/>
              <a:gd name="T41" fmla="*/ 188 h 266"/>
              <a:gd name="T42" fmla="*/ 138 w 172"/>
              <a:gd name="T43" fmla="*/ 185 h 266"/>
              <a:gd name="T44" fmla="*/ 129 w 172"/>
              <a:gd name="T45" fmla="*/ 170 h 266"/>
              <a:gd name="T46" fmla="*/ 154 w 172"/>
              <a:gd name="T47" fmla="*/ 170 h 266"/>
              <a:gd name="T48" fmla="*/ 155 w 172"/>
              <a:gd name="T49" fmla="*/ 169 h 266"/>
              <a:gd name="T50" fmla="*/ 168 w 172"/>
              <a:gd name="T51" fmla="*/ 178 h 266"/>
              <a:gd name="T52" fmla="*/ 168 w 172"/>
              <a:gd name="T53" fmla="*/ 166 h 266"/>
              <a:gd name="T54" fmla="*/ 165 w 172"/>
              <a:gd name="T55" fmla="*/ 145 h 266"/>
              <a:gd name="T56" fmla="*/ 161 w 172"/>
              <a:gd name="T57" fmla="*/ 112 h 266"/>
              <a:gd name="T58" fmla="*/ 153 w 172"/>
              <a:gd name="T59" fmla="*/ 100 h 266"/>
              <a:gd name="T60" fmla="*/ 127 w 172"/>
              <a:gd name="T61" fmla="*/ 85 h 266"/>
              <a:gd name="T62" fmla="*/ 106 w 172"/>
              <a:gd name="T63" fmla="*/ 85 h 266"/>
              <a:gd name="T64" fmla="*/ 96 w 172"/>
              <a:gd name="T65" fmla="*/ 68 h 266"/>
              <a:gd name="T66" fmla="*/ 83 w 172"/>
              <a:gd name="T67" fmla="*/ 50 h 266"/>
              <a:gd name="T68" fmla="*/ 97 w 172"/>
              <a:gd name="T69" fmla="*/ 24 h 266"/>
              <a:gd name="T70" fmla="*/ 114 w 172"/>
              <a:gd name="T71" fmla="*/ 7 h 266"/>
              <a:gd name="T72" fmla="*/ 107 w 172"/>
              <a:gd name="T73" fmla="*/ 0 h 266"/>
              <a:gd name="T74" fmla="*/ 81 w 172"/>
              <a:gd name="T75" fmla="*/ 17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72" h="266">
                <a:moveTo>
                  <a:pt x="72" y="17"/>
                </a:moveTo>
                <a:lnTo>
                  <a:pt x="67" y="24"/>
                </a:lnTo>
                <a:lnTo>
                  <a:pt x="70" y="22"/>
                </a:lnTo>
                <a:lnTo>
                  <a:pt x="61" y="22"/>
                </a:lnTo>
                <a:lnTo>
                  <a:pt x="51" y="35"/>
                </a:lnTo>
                <a:lnTo>
                  <a:pt x="49" y="47"/>
                </a:lnTo>
                <a:lnTo>
                  <a:pt x="34" y="61"/>
                </a:lnTo>
                <a:lnTo>
                  <a:pt x="31" y="71"/>
                </a:lnTo>
                <a:lnTo>
                  <a:pt x="29" y="62"/>
                </a:lnTo>
                <a:lnTo>
                  <a:pt x="27" y="59"/>
                </a:lnTo>
                <a:lnTo>
                  <a:pt x="27" y="71"/>
                </a:lnTo>
                <a:lnTo>
                  <a:pt x="21" y="74"/>
                </a:lnTo>
                <a:lnTo>
                  <a:pt x="18" y="82"/>
                </a:lnTo>
                <a:lnTo>
                  <a:pt x="22" y="89"/>
                </a:lnTo>
                <a:lnTo>
                  <a:pt x="25" y="103"/>
                </a:lnTo>
                <a:lnTo>
                  <a:pt x="22" y="110"/>
                </a:lnTo>
                <a:lnTo>
                  <a:pt x="23" y="122"/>
                </a:lnTo>
                <a:lnTo>
                  <a:pt x="24" y="134"/>
                </a:lnTo>
                <a:lnTo>
                  <a:pt x="25" y="136"/>
                </a:lnTo>
                <a:lnTo>
                  <a:pt x="17" y="154"/>
                </a:lnTo>
                <a:lnTo>
                  <a:pt x="7" y="157"/>
                </a:lnTo>
                <a:lnTo>
                  <a:pt x="5" y="167"/>
                </a:lnTo>
                <a:lnTo>
                  <a:pt x="0" y="169"/>
                </a:lnTo>
                <a:lnTo>
                  <a:pt x="1" y="175"/>
                </a:lnTo>
                <a:lnTo>
                  <a:pt x="13" y="184"/>
                </a:lnTo>
                <a:lnTo>
                  <a:pt x="22" y="192"/>
                </a:lnTo>
                <a:lnTo>
                  <a:pt x="36" y="192"/>
                </a:lnTo>
                <a:lnTo>
                  <a:pt x="52" y="199"/>
                </a:lnTo>
                <a:lnTo>
                  <a:pt x="53" y="198"/>
                </a:lnTo>
                <a:lnTo>
                  <a:pt x="60" y="206"/>
                </a:lnTo>
                <a:lnTo>
                  <a:pt x="69" y="215"/>
                </a:lnTo>
                <a:lnTo>
                  <a:pt x="79" y="227"/>
                </a:lnTo>
                <a:lnTo>
                  <a:pt x="82" y="234"/>
                </a:lnTo>
                <a:lnTo>
                  <a:pt x="100" y="235"/>
                </a:lnTo>
                <a:lnTo>
                  <a:pt x="111" y="235"/>
                </a:lnTo>
                <a:lnTo>
                  <a:pt x="125" y="240"/>
                </a:lnTo>
                <a:lnTo>
                  <a:pt x="119" y="259"/>
                </a:lnTo>
                <a:lnTo>
                  <a:pt x="129" y="266"/>
                </a:lnTo>
                <a:lnTo>
                  <a:pt x="132" y="244"/>
                </a:lnTo>
                <a:lnTo>
                  <a:pt x="135" y="221"/>
                </a:lnTo>
                <a:lnTo>
                  <a:pt x="129" y="204"/>
                </a:lnTo>
                <a:lnTo>
                  <a:pt x="126" y="188"/>
                </a:lnTo>
                <a:lnTo>
                  <a:pt x="136" y="188"/>
                </a:lnTo>
                <a:lnTo>
                  <a:pt x="138" y="185"/>
                </a:lnTo>
                <a:lnTo>
                  <a:pt x="131" y="181"/>
                </a:lnTo>
                <a:lnTo>
                  <a:pt x="129" y="170"/>
                </a:lnTo>
                <a:lnTo>
                  <a:pt x="142" y="170"/>
                </a:lnTo>
                <a:lnTo>
                  <a:pt x="154" y="170"/>
                </a:lnTo>
                <a:lnTo>
                  <a:pt x="151" y="168"/>
                </a:lnTo>
                <a:lnTo>
                  <a:pt x="155" y="169"/>
                </a:lnTo>
                <a:lnTo>
                  <a:pt x="163" y="164"/>
                </a:lnTo>
                <a:lnTo>
                  <a:pt x="168" y="178"/>
                </a:lnTo>
                <a:lnTo>
                  <a:pt x="172" y="179"/>
                </a:lnTo>
                <a:lnTo>
                  <a:pt x="168" y="166"/>
                </a:lnTo>
                <a:lnTo>
                  <a:pt x="160" y="152"/>
                </a:lnTo>
                <a:lnTo>
                  <a:pt x="165" y="145"/>
                </a:lnTo>
                <a:lnTo>
                  <a:pt x="159" y="125"/>
                </a:lnTo>
                <a:lnTo>
                  <a:pt x="161" y="112"/>
                </a:lnTo>
                <a:lnTo>
                  <a:pt x="165" y="98"/>
                </a:lnTo>
                <a:lnTo>
                  <a:pt x="153" y="100"/>
                </a:lnTo>
                <a:lnTo>
                  <a:pt x="141" y="100"/>
                </a:lnTo>
                <a:lnTo>
                  <a:pt x="127" y="85"/>
                </a:lnTo>
                <a:lnTo>
                  <a:pt x="117" y="85"/>
                </a:lnTo>
                <a:lnTo>
                  <a:pt x="106" y="85"/>
                </a:lnTo>
                <a:lnTo>
                  <a:pt x="95" y="79"/>
                </a:lnTo>
                <a:lnTo>
                  <a:pt x="96" y="68"/>
                </a:lnTo>
                <a:lnTo>
                  <a:pt x="89" y="50"/>
                </a:lnTo>
                <a:lnTo>
                  <a:pt x="83" y="50"/>
                </a:lnTo>
                <a:lnTo>
                  <a:pt x="89" y="37"/>
                </a:lnTo>
                <a:lnTo>
                  <a:pt x="97" y="24"/>
                </a:lnTo>
                <a:lnTo>
                  <a:pt x="105" y="11"/>
                </a:lnTo>
                <a:lnTo>
                  <a:pt x="114" y="7"/>
                </a:lnTo>
                <a:lnTo>
                  <a:pt x="115" y="0"/>
                </a:lnTo>
                <a:lnTo>
                  <a:pt x="107" y="0"/>
                </a:lnTo>
                <a:lnTo>
                  <a:pt x="94" y="8"/>
                </a:lnTo>
                <a:lnTo>
                  <a:pt x="81" y="17"/>
                </a:lnTo>
                <a:lnTo>
                  <a:pt x="72" y="1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53" name="Freeform 162">
            <a:extLst>
              <a:ext uri="{FF2B5EF4-FFF2-40B4-BE49-F238E27FC236}">
                <a16:creationId xmlns:a16="http://schemas.microsoft.com/office/drawing/2014/main" id="{1A8AE5CD-DCDA-45B4-B2EF-97438676E854}"/>
              </a:ext>
            </a:extLst>
          </p:cNvPr>
          <p:cNvSpPr>
            <a:spLocks/>
          </p:cNvSpPr>
          <p:nvPr/>
        </p:nvSpPr>
        <p:spPr bwMode="gray">
          <a:xfrm>
            <a:off x="2748325" y="3746546"/>
            <a:ext cx="130763" cy="247290"/>
          </a:xfrm>
          <a:custGeom>
            <a:avLst/>
            <a:gdLst>
              <a:gd name="T0" fmla="*/ 55 w 68"/>
              <a:gd name="T1" fmla="*/ 83 h 115"/>
              <a:gd name="T2" fmla="*/ 48 w 68"/>
              <a:gd name="T3" fmla="*/ 75 h 115"/>
              <a:gd name="T4" fmla="*/ 49 w 68"/>
              <a:gd name="T5" fmla="*/ 60 h 115"/>
              <a:gd name="T6" fmla="*/ 55 w 68"/>
              <a:gd name="T7" fmla="*/ 57 h 115"/>
              <a:gd name="T8" fmla="*/ 58 w 68"/>
              <a:gd name="T9" fmla="*/ 49 h 115"/>
              <a:gd name="T10" fmla="*/ 58 w 68"/>
              <a:gd name="T11" fmla="*/ 36 h 115"/>
              <a:gd name="T12" fmla="*/ 42 w 68"/>
              <a:gd name="T13" fmla="*/ 27 h 115"/>
              <a:gd name="T14" fmla="*/ 40 w 68"/>
              <a:gd name="T15" fmla="*/ 33 h 115"/>
              <a:gd name="T16" fmla="*/ 41 w 68"/>
              <a:gd name="T17" fmla="*/ 17 h 115"/>
              <a:gd name="T18" fmla="*/ 32 w 68"/>
              <a:gd name="T19" fmla="*/ 10 h 115"/>
              <a:gd name="T20" fmla="*/ 24 w 68"/>
              <a:gd name="T21" fmla="*/ 3 h 115"/>
              <a:gd name="T22" fmla="*/ 28 w 68"/>
              <a:gd name="T23" fmla="*/ 5 h 115"/>
              <a:gd name="T24" fmla="*/ 20 w 68"/>
              <a:gd name="T25" fmla="*/ 0 h 115"/>
              <a:gd name="T26" fmla="*/ 23 w 68"/>
              <a:gd name="T27" fmla="*/ 4 h 115"/>
              <a:gd name="T28" fmla="*/ 10 w 68"/>
              <a:gd name="T29" fmla="*/ 16 h 115"/>
              <a:gd name="T30" fmla="*/ 16 w 68"/>
              <a:gd name="T31" fmla="*/ 23 h 115"/>
              <a:gd name="T32" fmla="*/ 6 w 68"/>
              <a:gd name="T33" fmla="*/ 29 h 115"/>
              <a:gd name="T34" fmla="*/ 0 w 68"/>
              <a:gd name="T35" fmla="*/ 41 h 115"/>
              <a:gd name="T36" fmla="*/ 8 w 68"/>
              <a:gd name="T37" fmla="*/ 53 h 115"/>
              <a:gd name="T38" fmla="*/ 17 w 68"/>
              <a:gd name="T39" fmla="*/ 53 h 115"/>
              <a:gd name="T40" fmla="*/ 18 w 68"/>
              <a:gd name="T41" fmla="*/ 61 h 115"/>
              <a:gd name="T42" fmla="*/ 24 w 68"/>
              <a:gd name="T43" fmla="*/ 70 h 115"/>
              <a:gd name="T44" fmla="*/ 20 w 68"/>
              <a:gd name="T45" fmla="*/ 84 h 115"/>
              <a:gd name="T46" fmla="*/ 22 w 68"/>
              <a:gd name="T47" fmla="*/ 103 h 115"/>
              <a:gd name="T48" fmla="*/ 31 w 68"/>
              <a:gd name="T49" fmla="*/ 115 h 115"/>
              <a:gd name="T50" fmla="*/ 40 w 68"/>
              <a:gd name="T51" fmla="*/ 115 h 115"/>
              <a:gd name="T52" fmla="*/ 54 w 68"/>
              <a:gd name="T53" fmla="*/ 108 h 115"/>
              <a:gd name="T54" fmla="*/ 68 w 68"/>
              <a:gd name="T55" fmla="*/ 106 h 115"/>
              <a:gd name="T56" fmla="*/ 61 w 68"/>
              <a:gd name="T57" fmla="*/ 94 h 115"/>
              <a:gd name="T58" fmla="*/ 55 w 68"/>
              <a:gd name="T59" fmla="*/ 83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" h="115">
                <a:moveTo>
                  <a:pt x="55" y="83"/>
                </a:moveTo>
                <a:lnTo>
                  <a:pt x="48" y="75"/>
                </a:lnTo>
                <a:lnTo>
                  <a:pt x="49" y="60"/>
                </a:lnTo>
                <a:lnTo>
                  <a:pt x="55" y="57"/>
                </a:lnTo>
                <a:lnTo>
                  <a:pt x="58" y="49"/>
                </a:lnTo>
                <a:lnTo>
                  <a:pt x="58" y="36"/>
                </a:lnTo>
                <a:lnTo>
                  <a:pt x="42" y="27"/>
                </a:lnTo>
                <a:lnTo>
                  <a:pt x="40" y="33"/>
                </a:lnTo>
                <a:lnTo>
                  <a:pt x="41" y="17"/>
                </a:lnTo>
                <a:lnTo>
                  <a:pt x="32" y="10"/>
                </a:lnTo>
                <a:lnTo>
                  <a:pt x="24" y="3"/>
                </a:lnTo>
                <a:lnTo>
                  <a:pt x="28" y="5"/>
                </a:lnTo>
                <a:lnTo>
                  <a:pt x="20" y="0"/>
                </a:lnTo>
                <a:lnTo>
                  <a:pt x="23" y="4"/>
                </a:lnTo>
                <a:lnTo>
                  <a:pt x="10" y="16"/>
                </a:lnTo>
                <a:lnTo>
                  <a:pt x="16" y="23"/>
                </a:lnTo>
                <a:lnTo>
                  <a:pt x="6" y="29"/>
                </a:lnTo>
                <a:lnTo>
                  <a:pt x="0" y="41"/>
                </a:lnTo>
                <a:lnTo>
                  <a:pt x="8" y="53"/>
                </a:lnTo>
                <a:lnTo>
                  <a:pt x="17" y="53"/>
                </a:lnTo>
                <a:lnTo>
                  <a:pt x="18" y="61"/>
                </a:lnTo>
                <a:lnTo>
                  <a:pt x="24" y="70"/>
                </a:lnTo>
                <a:lnTo>
                  <a:pt x="20" y="84"/>
                </a:lnTo>
                <a:lnTo>
                  <a:pt x="22" y="103"/>
                </a:lnTo>
                <a:lnTo>
                  <a:pt x="31" y="115"/>
                </a:lnTo>
                <a:lnTo>
                  <a:pt x="40" y="115"/>
                </a:lnTo>
                <a:lnTo>
                  <a:pt x="54" y="108"/>
                </a:lnTo>
                <a:lnTo>
                  <a:pt x="68" y="106"/>
                </a:lnTo>
                <a:lnTo>
                  <a:pt x="61" y="94"/>
                </a:lnTo>
                <a:lnTo>
                  <a:pt x="55" y="8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54" name="Freeform 163">
            <a:extLst>
              <a:ext uri="{FF2B5EF4-FFF2-40B4-BE49-F238E27FC236}">
                <a16:creationId xmlns:a16="http://schemas.microsoft.com/office/drawing/2014/main" id="{7D456616-6E0D-4DCA-8C66-7C89A97D26FF}"/>
              </a:ext>
            </a:extLst>
          </p:cNvPr>
          <p:cNvSpPr>
            <a:spLocks/>
          </p:cNvSpPr>
          <p:nvPr/>
        </p:nvSpPr>
        <p:spPr bwMode="gray">
          <a:xfrm>
            <a:off x="2841235" y="3838062"/>
            <a:ext cx="106675" cy="138250"/>
          </a:xfrm>
          <a:custGeom>
            <a:avLst/>
            <a:gdLst>
              <a:gd name="T0" fmla="*/ 7 w 55"/>
              <a:gd name="T1" fmla="*/ 41 h 65"/>
              <a:gd name="T2" fmla="*/ 0 w 55"/>
              <a:gd name="T3" fmla="*/ 33 h 65"/>
              <a:gd name="T4" fmla="*/ 1 w 55"/>
              <a:gd name="T5" fmla="*/ 18 h 65"/>
              <a:gd name="T6" fmla="*/ 7 w 55"/>
              <a:gd name="T7" fmla="*/ 15 h 65"/>
              <a:gd name="T8" fmla="*/ 10 w 55"/>
              <a:gd name="T9" fmla="*/ 7 h 65"/>
              <a:gd name="T10" fmla="*/ 13 w 55"/>
              <a:gd name="T11" fmla="*/ 0 h 65"/>
              <a:gd name="T12" fmla="*/ 29 w 55"/>
              <a:gd name="T13" fmla="*/ 1 h 65"/>
              <a:gd name="T14" fmla="*/ 42 w 55"/>
              <a:gd name="T15" fmla="*/ 1 h 65"/>
              <a:gd name="T16" fmla="*/ 42 w 55"/>
              <a:gd name="T17" fmla="*/ 0 h 65"/>
              <a:gd name="T18" fmla="*/ 55 w 55"/>
              <a:gd name="T19" fmla="*/ 1 h 65"/>
              <a:gd name="T20" fmla="*/ 54 w 55"/>
              <a:gd name="T21" fmla="*/ 9 h 65"/>
              <a:gd name="T22" fmla="*/ 49 w 55"/>
              <a:gd name="T23" fmla="*/ 22 h 65"/>
              <a:gd name="T24" fmla="*/ 55 w 55"/>
              <a:gd name="T25" fmla="*/ 42 h 65"/>
              <a:gd name="T26" fmla="*/ 47 w 55"/>
              <a:gd name="T27" fmla="*/ 58 h 65"/>
              <a:gd name="T28" fmla="*/ 38 w 55"/>
              <a:gd name="T29" fmla="*/ 54 h 65"/>
              <a:gd name="T30" fmla="*/ 25 w 55"/>
              <a:gd name="T31" fmla="*/ 58 h 65"/>
              <a:gd name="T32" fmla="*/ 26 w 55"/>
              <a:gd name="T33" fmla="*/ 65 h 65"/>
              <a:gd name="T34" fmla="*/ 20 w 55"/>
              <a:gd name="T35" fmla="*/ 64 h 65"/>
              <a:gd name="T36" fmla="*/ 13 w 55"/>
              <a:gd name="T37" fmla="*/ 52 h 65"/>
              <a:gd name="T38" fmla="*/ 7 w 55"/>
              <a:gd name="T39" fmla="*/ 41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5" h="65">
                <a:moveTo>
                  <a:pt x="7" y="41"/>
                </a:moveTo>
                <a:lnTo>
                  <a:pt x="0" y="33"/>
                </a:lnTo>
                <a:lnTo>
                  <a:pt x="1" y="18"/>
                </a:lnTo>
                <a:lnTo>
                  <a:pt x="7" y="15"/>
                </a:lnTo>
                <a:lnTo>
                  <a:pt x="10" y="7"/>
                </a:lnTo>
                <a:lnTo>
                  <a:pt x="13" y="0"/>
                </a:lnTo>
                <a:lnTo>
                  <a:pt x="29" y="1"/>
                </a:lnTo>
                <a:lnTo>
                  <a:pt x="42" y="1"/>
                </a:lnTo>
                <a:lnTo>
                  <a:pt x="42" y="0"/>
                </a:lnTo>
                <a:lnTo>
                  <a:pt x="55" y="1"/>
                </a:lnTo>
                <a:lnTo>
                  <a:pt x="54" y="9"/>
                </a:lnTo>
                <a:lnTo>
                  <a:pt x="49" y="22"/>
                </a:lnTo>
                <a:lnTo>
                  <a:pt x="55" y="42"/>
                </a:lnTo>
                <a:lnTo>
                  <a:pt x="47" y="58"/>
                </a:lnTo>
                <a:lnTo>
                  <a:pt x="38" y="54"/>
                </a:lnTo>
                <a:lnTo>
                  <a:pt x="25" y="58"/>
                </a:lnTo>
                <a:lnTo>
                  <a:pt x="26" y="65"/>
                </a:lnTo>
                <a:lnTo>
                  <a:pt x="20" y="64"/>
                </a:lnTo>
                <a:lnTo>
                  <a:pt x="13" y="52"/>
                </a:lnTo>
                <a:lnTo>
                  <a:pt x="7" y="4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55" name="Freeform 164">
            <a:extLst>
              <a:ext uri="{FF2B5EF4-FFF2-40B4-BE49-F238E27FC236}">
                <a16:creationId xmlns:a16="http://schemas.microsoft.com/office/drawing/2014/main" id="{1A1EAC0F-7C0E-4B13-A51E-4AB2E3F80AA5}"/>
              </a:ext>
            </a:extLst>
          </p:cNvPr>
          <p:cNvSpPr>
            <a:spLocks/>
          </p:cNvSpPr>
          <p:nvPr/>
        </p:nvSpPr>
        <p:spPr bwMode="gray">
          <a:xfrm>
            <a:off x="2741442" y="3668658"/>
            <a:ext cx="22367" cy="21419"/>
          </a:xfrm>
          <a:custGeom>
            <a:avLst/>
            <a:gdLst>
              <a:gd name="T0" fmla="*/ 4 w 12"/>
              <a:gd name="T1" fmla="*/ 0 h 11"/>
              <a:gd name="T2" fmla="*/ 12 w 12"/>
              <a:gd name="T3" fmla="*/ 0 h 11"/>
              <a:gd name="T4" fmla="*/ 9 w 12"/>
              <a:gd name="T5" fmla="*/ 11 h 11"/>
              <a:gd name="T6" fmla="*/ 0 w 12"/>
              <a:gd name="T7" fmla="*/ 10 h 11"/>
              <a:gd name="T8" fmla="*/ 5 w 12"/>
              <a:gd name="T9" fmla="*/ 4 h 11"/>
              <a:gd name="T10" fmla="*/ 4 w 12"/>
              <a:gd name="T11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" h="11">
                <a:moveTo>
                  <a:pt x="4" y="0"/>
                </a:moveTo>
                <a:lnTo>
                  <a:pt x="12" y="0"/>
                </a:lnTo>
                <a:lnTo>
                  <a:pt x="9" y="11"/>
                </a:lnTo>
                <a:lnTo>
                  <a:pt x="0" y="10"/>
                </a:lnTo>
                <a:lnTo>
                  <a:pt x="5" y="4"/>
                </a:lnTo>
                <a:lnTo>
                  <a:pt x="4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56" name="Freeform 165">
            <a:extLst>
              <a:ext uri="{FF2B5EF4-FFF2-40B4-BE49-F238E27FC236}">
                <a16:creationId xmlns:a16="http://schemas.microsoft.com/office/drawing/2014/main" id="{834A8D47-9C72-4DD9-9CBD-BB18B19F0346}"/>
              </a:ext>
            </a:extLst>
          </p:cNvPr>
          <p:cNvSpPr>
            <a:spLocks/>
          </p:cNvSpPr>
          <p:nvPr/>
        </p:nvSpPr>
        <p:spPr bwMode="gray">
          <a:xfrm>
            <a:off x="2426581" y="3616086"/>
            <a:ext cx="364758" cy="399169"/>
          </a:xfrm>
          <a:custGeom>
            <a:avLst/>
            <a:gdLst>
              <a:gd name="T0" fmla="*/ 158 w 191"/>
              <a:gd name="T1" fmla="*/ 38 h 184"/>
              <a:gd name="T2" fmla="*/ 149 w 191"/>
              <a:gd name="T3" fmla="*/ 34 h 184"/>
              <a:gd name="T4" fmla="*/ 148 w 191"/>
              <a:gd name="T5" fmla="*/ 29 h 184"/>
              <a:gd name="T6" fmla="*/ 148 w 191"/>
              <a:gd name="T7" fmla="*/ 24 h 184"/>
              <a:gd name="T8" fmla="*/ 137 w 191"/>
              <a:gd name="T9" fmla="*/ 27 h 184"/>
              <a:gd name="T10" fmla="*/ 103 w 191"/>
              <a:gd name="T11" fmla="*/ 27 h 184"/>
              <a:gd name="T12" fmla="*/ 77 w 191"/>
              <a:gd name="T13" fmla="*/ 27 h 184"/>
              <a:gd name="T14" fmla="*/ 56 w 191"/>
              <a:gd name="T15" fmla="*/ 11 h 184"/>
              <a:gd name="T16" fmla="*/ 47 w 191"/>
              <a:gd name="T17" fmla="*/ 6 h 184"/>
              <a:gd name="T18" fmla="*/ 50 w 191"/>
              <a:gd name="T19" fmla="*/ 11 h 184"/>
              <a:gd name="T20" fmla="*/ 29 w 191"/>
              <a:gd name="T21" fmla="*/ 22 h 184"/>
              <a:gd name="T22" fmla="*/ 26 w 191"/>
              <a:gd name="T23" fmla="*/ 51 h 184"/>
              <a:gd name="T24" fmla="*/ 26 w 191"/>
              <a:gd name="T25" fmla="*/ 26 h 184"/>
              <a:gd name="T26" fmla="*/ 31 w 191"/>
              <a:gd name="T27" fmla="*/ 5 h 184"/>
              <a:gd name="T28" fmla="*/ 14 w 191"/>
              <a:gd name="T29" fmla="*/ 22 h 184"/>
              <a:gd name="T30" fmla="*/ 0 w 191"/>
              <a:gd name="T31" fmla="*/ 48 h 184"/>
              <a:gd name="T32" fmla="*/ 13 w 191"/>
              <a:gd name="T33" fmla="*/ 66 h 184"/>
              <a:gd name="T34" fmla="*/ 23 w 191"/>
              <a:gd name="T35" fmla="*/ 83 h 184"/>
              <a:gd name="T36" fmla="*/ 44 w 191"/>
              <a:gd name="T37" fmla="*/ 83 h 184"/>
              <a:gd name="T38" fmla="*/ 70 w 191"/>
              <a:gd name="T39" fmla="*/ 98 h 184"/>
              <a:gd name="T40" fmla="*/ 78 w 191"/>
              <a:gd name="T41" fmla="*/ 110 h 184"/>
              <a:gd name="T42" fmla="*/ 82 w 191"/>
              <a:gd name="T43" fmla="*/ 143 h 184"/>
              <a:gd name="T44" fmla="*/ 85 w 191"/>
              <a:gd name="T45" fmla="*/ 164 h 184"/>
              <a:gd name="T46" fmla="*/ 100 w 191"/>
              <a:gd name="T47" fmla="*/ 183 h 184"/>
              <a:gd name="T48" fmla="*/ 109 w 191"/>
              <a:gd name="T49" fmla="*/ 184 h 184"/>
              <a:gd name="T50" fmla="*/ 136 w 191"/>
              <a:gd name="T51" fmla="*/ 161 h 184"/>
              <a:gd name="T52" fmla="*/ 130 w 191"/>
              <a:gd name="T53" fmla="*/ 154 h 184"/>
              <a:gd name="T54" fmla="*/ 121 w 191"/>
              <a:gd name="T55" fmla="*/ 128 h 184"/>
              <a:gd name="T56" fmla="*/ 148 w 191"/>
              <a:gd name="T57" fmla="*/ 137 h 184"/>
              <a:gd name="T58" fmla="*/ 162 w 191"/>
              <a:gd name="T59" fmla="*/ 126 h 184"/>
              <a:gd name="T60" fmla="*/ 178 w 191"/>
              <a:gd name="T61" fmla="*/ 113 h 184"/>
              <a:gd name="T62" fmla="*/ 168 w 191"/>
              <a:gd name="T63" fmla="*/ 100 h 184"/>
              <a:gd name="T64" fmla="*/ 184 w 191"/>
              <a:gd name="T65" fmla="*/ 82 h 184"/>
              <a:gd name="T66" fmla="*/ 191 w 191"/>
              <a:gd name="T67" fmla="*/ 63 h 184"/>
              <a:gd name="T68" fmla="*/ 175 w 191"/>
              <a:gd name="T69" fmla="*/ 58 h 184"/>
              <a:gd name="T70" fmla="*/ 169 w 191"/>
              <a:gd name="T71" fmla="*/ 57 h 184"/>
              <a:gd name="T72" fmla="*/ 178 w 191"/>
              <a:gd name="T73" fmla="*/ 47 h 184"/>
              <a:gd name="T74" fmla="*/ 163 w 191"/>
              <a:gd name="T75" fmla="*/ 40 h 184"/>
              <a:gd name="T76" fmla="*/ 158 w 191"/>
              <a:gd name="T77" fmla="*/ 40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1" h="184">
                <a:moveTo>
                  <a:pt x="158" y="40"/>
                </a:moveTo>
                <a:lnTo>
                  <a:pt x="158" y="38"/>
                </a:lnTo>
                <a:lnTo>
                  <a:pt x="155" y="34"/>
                </a:lnTo>
                <a:lnTo>
                  <a:pt x="149" y="34"/>
                </a:lnTo>
                <a:lnTo>
                  <a:pt x="152" y="34"/>
                </a:lnTo>
                <a:lnTo>
                  <a:pt x="148" y="29"/>
                </a:lnTo>
                <a:lnTo>
                  <a:pt x="162" y="24"/>
                </a:lnTo>
                <a:lnTo>
                  <a:pt x="148" y="24"/>
                </a:lnTo>
                <a:lnTo>
                  <a:pt x="132" y="26"/>
                </a:lnTo>
                <a:lnTo>
                  <a:pt x="137" y="27"/>
                </a:lnTo>
                <a:lnTo>
                  <a:pt x="122" y="34"/>
                </a:lnTo>
                <a:lnTo>
                  <a:pt x="103" y="27"/>
                </a:lnTo>
                <a:lnTo>
                  <a:pt x="90" y="27"/>
                </a:lnTo>
                <a:lnTo>
                  <a:pt x="77" y="27"/>
                </a:lnTo>
                <a:lnTo>
                  <a:pt x="72" y="17"/>
                </a:lnTo>
                <a:lnTo>
                  <a:pt x="56" y="11"/>
                </a:lnTo>
                <a:lnTo>
                  <a:pt x="50" y="0"/>
                </a:lnTo>
                <a:lnTo>
                  <a:pt x="47" y="6"/>
                </a:lnTo>
                <a:lnTo>
                  <a:pt x="54" y="11"/>
                </a:lnTo>
                <a:lnTo>
                  <a:pt x="50" y="11"/>
                </a:lnTo>
                <a:lnTo>
                  <a:pt x="31" y="20"/>
                </a:lnTo>
                <a:lnTo>
                  <a:pt x="29" y="22"/>
                </a:lnTo>
                <a:lnTo>
                  <a:pt x="32" y="42"/>
                </a:lnTo>
                <a:lnTo>
                  <a:pt x="26" y="51"/>
                </a:lnTo>
                <a:lnTo>
                  <a:pt x="18" y="40"/>
                </a:lnTo>
                <a:lnTo>
                  <a:pt x="26" y="26"/>
                </a:lnTo>
                <a:lnTo>
                  <a:pt x="22" y="12"/>
                </a:lnTo>
                <a:lnTo>
                  <a:pt x="31" y="5"/>
                </a:lnTo>
                <a:lnTo>
                  <a:pt x="22" y="9"/>
                </a:lnTo>
                <a:lnTo>
                  <a:pt x="14" y="22"/>
                </a:lnTo>
                <a:lnTo>
                  <a:pt x="6" y="35"/>
                </a:lnTo>
                <a:lnTo>
                  <a:pt x="0" y="48"/>
                </a:lnTo>
                <a:lnTo>
                  <a:pt x="6" y="48"/>
                </a:lnTo>
                <a:lnTo>
                  <a:pt x="13" y="66"/>
                </a:lnTo>
                <a:lnTo>
                  <a:pt x="12" y="77"/>
                </a:lnTo>
                <a:lnTo>
                  <a:pt x="23" y="83"/>
                </a:lnTo>
                <a:lnTo>
                  <a:pt x="34" y="83"/>
                </a:lnTo>
                <a:lnTo>
                  <a:pt x="44" y="83"/>
                </a:lnTo>
                <a:lnTo>
                  <a:pt x="58" y="98"/>
                </a:lnTo>
                <a:lnTo>
                  <a:pt x="70" y="98"/>
                </a:lnTo>
                <a:lnTo>
                  <a:pt x="82" y="96"/>
                </a:lnTo>
                <a:lnTo>
                  <a:pt x="78" y="110"/>
                </a:lnTo>
                <a:lnTo>
                  <a:pt x="76" y="123"/>
                </a:lnTo>
                <a:lnTo>
                  <a:pt x="82" y="143"/>
                </a:lnTo>
                <a:lnTo>
                  <a:pt x="77" y="150"/>
                </a:lnTo>
                <a:lnTo>
                  <a:pt x="85" y="164"/>
                </a:lnTo>
                <a:lnTo>
                  <a:pt x="89" y="177"/>
                </a:lnTo>
                <a:lnTo>
                  <a:pt x="100" y="183"/>
                </a:lnTo>
                <a:lnTo>
                  <a:pt x="108" y="183"/>
                </a:lnTo>
                <a:lnTo>
                  <a:pt x="109" y="184"/>
                </a:lnTo>
                <a:lnTo>
                  <a:pt x="124" y="173"/>
                </a:lnTo>
                <a:lnTo>
                  <a:pt x="136" y="161"/>
                </a:lnTo>
                <a:lnTo>
                  <a:pt x="138" y="158"/>
                </a:lnTo>
                <a:lnTo>
                  <a:pt x="130" y="154"/>
                </a:lnTo>
                <a:lnTo>
                  <a:pt x="125" y="136"/>
                </a:lnTo>
                <a:lnTo>
                  <a:pt x="121" y="128"/>
                </a:lnTo>
                <a:lnTo>
                  <a:pt x="134" y="132"/>
                </a:lnTo>
                <a:lnTo>
                  <a:pt x="148" y="137"/>
                </a:lnTo>
                <a:lnTo>
                  <a:pt x="150" y="131"/>
                </a:lnTo>
                <a:lnTo>
                  <a:pt x="162" y="126"/>
                </a:lnTo>
                <a:lnTo>
                  <a:pt x="174" y="122"/>
                </a:lnTo>
                <a:lnTo>
                  <a:pt x="178" y="113"/>
                </a:lnTo>
                <a:lnTo>
                  <a:pt x="176" y="112"/>
                </a:lnTo>
                <a:lnTo>
                  <a:pt x="168" y="100"/>
                </a:lnTo>
                <a:lnTo>
                  <a:pt x="174" y="88"/>
                </a:lnTo>
                <a:lnTo>
                  <a:pt x="184" y="82"/>
                </a:lnTo>
                <a:lnTo>
                  <a:pt x="178" y="75"/>
                </a:lnTo>
                <a:lnTo>
                  <a:pt x="191" y="63"/>
                </a:lnTo>
                <a:lnTo>
                  <a:pt x="188" y="59"/>
                </a:lnTo>
                <a:lnTo>
                  <a:pt x="175" y="58"/>
                </a:lnTo>
                <a:lnTo>
                  <a:pt x="166" y="58"/>
                </a:lnTo>
                <a:lnTo>
                  <a:pt x="169" y="57"/>
                </a:lnTo>
                <a:lnTo>
                  <a:pt x="174" y="50"/>
                </a:lnTo>
                <a:lnTo>
                  <a:pt x="178" y="47"/>
                </a:lnTo>
                <a:lnTo>
                  <a:pt x="169" y="39"/>
                </a:lnTo>
                <a:lnTo>
                  <a:pt x="163" y="40"/>
                </a:lnTo>
                <a:lnTo>
                  <a:pt x="158" y="36"/>
                </a:lnTo>
                <a:lnTo>
                  <a:pt x="158" y="4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57" name="Freeform 166">
            <a:extLst>
              <a:ext uri="{FF2B5EF4-FFF2-40B4-BE49-F238E27FC236}">
                <a16:creationId xmlns:a16="http://schemas.microsoft.com/office/drawing/2014/main" id="{163473F6-B3F1-4251-BBBA-BA9A5B294D7A}"/>
              </a:ext>
            </a:extLst>
          </p:cNvPr>
          <p:cNvSpPr>
            <a:spLocks/>
          </p:cNvSpPr>
          <p:nvPr/>
        </p:nvSpPr>
        <p:spPr bwMode="gray">
          <a:xfrm>
            <a:off x="2676062" y="3655029"/>
            <a:ext cx="12045" cy="5841"/>
          </a:xfrm>
          <a:custGeom>
            <a:avLst/>
            <a:gdLst>
              <a:gd name="T0" fmla="*/ 7 w 7"/>
              <a:gd name="T1" fmla="*/ 2 h 2"/>
              <a:gd name="T2" fmla="*/ 0 w 7"/>
              <a:gd name="T3" fmla="*/ 0 h 2"/>
              <a:gd name="T4" fmla="*/ 7 w 7"/>
              <a:gd name="T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2">
                <a:moveTo>
                  <a:pt x="7" y="2"/>
                </a:moveTo>
                <a:lnTo>
                  <a:pt x="0" y="0"/>
                </a:lnTo>
                <a:lnTo>
                  <a:pt x="7" y="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58" name="Freeform 167">
            <a:extLst>
              <a:ext uri="{FF2B5EF4-FFF2-40B4-BE49-F238E27FC236}">
                <a16:creationId xmlns:a16="http://schemas.microsoft.com/office/drawing/2014/main" id="{3CC98F59-B474-4383-941B-815CBE069BD0}"/>
              </a:ext>
            </a:extLst>
          </p:cNvPr>
          <p:cNvSpPr>
            <a:spLocks/>
          </p:cNvSpPr>
          <p:nvPr/>
        </p:nvSpPr>
        <p:spPr bwMode="gray">
          <a:xfrm>
            <a:off x="2154733" y="3236389"/>
            <a:ext cx="280450" cy="110988"/>
          </a:xfrm>
          <a:custGeom>
            <a:avLst/>
            <a:gdLst>
              <a:gd name="T0" fmla="*/ 102 w 146"/>
              <a:gd name="T1" fmla="*/ 20 h 52"/>
              <a:gd name="T2" fmla="*/ 104 w 146"/>
              <a:gd name="T3" fmla="*/ 22 h 52"/>
              <a:gd name="T4" fmla="*/ 89 w 146"/>
              <a:gd name="T5" fmla="*/ 14 h 52"/>
              <a:gd name="T6" fmla="*/ 75 w 146"/>
              <a:gd name="T7" fmla="*/ 7 h 52"/>
              <a:gd name="T8" fmla="*/ 64 w 146"/>
              <a:gd name="T9" fmla="*/ 2 h 52"/>
              <a:gd name="T10" fmla="*/ 53 w 146"/>
              <a:gd name="T11" fmla="*/ 0 h 52"/>
              <a:gd name="T12" fmla="*/ 48 w 146"/>
              <a:gd name="T13" fmla="*/ 0 h 52"/>
              <a:gd name="T14" fmla="*/ 32 w 146"/>
              <a:gd name="T15" fmla="*/ 2 h 52"/>
              <a:gd name="T16" fmla="*/ 15 w 146"/>
              <a:gd name="T17" fmla="*/ 6 h 52"/>
              <a:gd name="T18" fmla="*/ 8 w 146"/>
              <a:gd name="T19" fmla="*/ 17 h 52"/>
              <a:gd name="T20" fmla="*/ 0 w 146"/>
              <a:gd name="T21" fmla="*/ 22 h 52"/>
              <a:gd name="T22" fmla="*/ 5 w 146"/>
              <a:gd name="T23" fmla="*/ 19 h 52"/>
              <a:gd name="T24" fmla="*/ 17 w 146"/>
              <a:gd name="T25" fmla="*/ 14 h 52"/>
              <a:gd name="T26" fmla="*/ 28 w 146"/>
              <a:gd name="T27" fmla="*/ 10 h 52"/>
              <a:gd name="T28" fmla="*/ 46 w 146"/>
              <a:gd name="T29" fmla="*/ 8 h 52"/>
              <a:gd name="T30" fmla="*/ 39 w 146"/>
              <a:gd name="T31" fmla="*/ 11 h 52"/>
              <a:gd name="T32" fmla="*/ 52 w 146"/>
              <a:gd name="T33" fmla="*/ 14 h 52"/>
              <a:gd name="T34" fmla="*/ 59 w 146"/>
              <a:gd name="T35" fmla="*/ 17 h 52"/>
              <a:gd name="T36" fmla="*/ 64 w 146"/>
              <a:gd name="T37" fmla="*/ 19 h 52"/>
              <a:gd name="T38" fmla="*/ 83 w 146"/>
              <a:gd name="T39" fmla="*/ 24 h 52"/>
              <a:gd name="T40" fmla="*/ 87 w 146"/>
              <a:gd name="T41" fmla="*/ 34 h 52"/>
              <a:gd name="T42" fmla="*/ 104 w 146"/>
              <a:gd name="T43" fmla="*/ 42 h 52"/>
              <a:gd name="T44" fmla="*/ 96 w 146"/>
              <a:gd name="T45" fmla="*/ 52 h 52"/>
              <a:gd name="T46" fmla="*/ 110 w 146"/>
              <a:gd name="T47" fmla="*/ 52 h 52"/>
              <a:gd name="T48" fmla="*/ 123 w 146"/>
              <a:gd name="T49" fmla="*/ 52 h 52"/>
              <a:gd name="T50" fmla="*/ 135 w 146"/>
              <a:gd name="T51" fmla="*/ 49 h 52"/>
              <a:gd name="T52" fmla="*/ 146 w 146"/>
              <a:gd name="T53" fmla="*/ 47 h 52"/>
              <a:gd name="T54" fmla="*/ 136 w 146"/>
              <a:gd name="T55" fmla="*/ 42 h 52"/>
              <a:gd name="T56" fmla="*/ 125 w 146"/>
              <a:gd name="T57" fmla="*/ 37 h 52"/>
              <a:gd name="T58" fmla="*/ 125 w 146"/>
              <a:gd name="T59" fmla="*/ 32 h 52"/>
              <a:gd name="T60" fmla="*/ 114 w 146"/>
              <a:gd name="T61" fmla="*/ 29 h 52"/>
              <a:gd name="T62" fmla="*/ 105 w 146"/>
              <a:gd name="T63" fmla="*/ 24 h 52"/>
              <a:gd name="T64" fmla="*/ 102 w 146"/>
              <a:gd name="T65" fmla="*/ 2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6" h="52">
                <a:moveTo>
                  <a:pt x="102" y="20"/>
                </a:moveTo>
                <a:lnTo>
                  <a:pt x="104" y="22"/>
                </a:lnTo>
                <a:lnTo>
                  <a:pt x="89" y="14"/>
                </a:lnTo>
                <a:lnTo>
                  <a:pt x="75" y="7"/>
                </a:lnTo>
                <a:lnTo>
                  <a:pt x="64" y="2"/>
                </a:lnTo>
                <a:lnTo>
                  <a:pt x="53" y="0"/>
                </a:lnTo>
                <a:lnTo>
                  <a:pt x="48" y="0"/>
                </a:lnTo>
                <a:lnTo>
                  <a:pt x="32" y="2"/>
                </a:lnTo>
                <a:lnTo>
                  <a:pt x="15" y="6"/>
                </a:lnTo>
                <a:lnTo>
                  <a:pt x="8" y="17"/>
                </a:lnTo>
                <a:lnTo>
                  <a:pt x="0" y="22"/>
                </a:lnTo>
                <a:lnTo>
                  <a:pt x="5" y="19"/>
                </a:lnTo>
                <a:lnTo>
                  <a:pt x="17" y="14"/>
                </a:lnTo>
                <a:lnTo>
                  <a:pt x="28" y="10"/>
                </a:lnTo>
                <a:lnTo>
                  <a:pt x="46" y="8"/>
                </a:lnTo>
                <a:lnTo>
                  <a:pt x="39" y="11"/>
                </a:lnTo>
                <a:lnTo>
                  <a:pt x="52" y="14"/>
                </a:lnTo>
                <a:lnTo>
                  <a:pt x="59" y="17"/>
                </a:lnTo>
                <a:lnTo>
                  <a:pt x="64" y="19"/>
                </a:lnTo>
                <a:lnTo>
                  <a:pt x="83" y="24"/>
                </a:lnTo>
                <a:lnTo>
                  <a:pt x="87" y="34"/>
                </a:lnTo>
                <a:lnTo>
                  <a:pt x="104" y="42"/>
                </a:lnTo>
                <a:lnTo>
                  <a:pt x="96" y="52"/>
                </a:lnTo>
                <a:lnTo>
                  <a:pt x="110" y="52"/>
                </a:lnTo>
                <a:lnTo>
                  <a:pt x="123" y="52"/>
                </a:lnTo>
                <a:lnTo>
                  <a:pt x="135" y="49"/>
                </a:lnTo>
                <a:lnTo>
                  <a:pt x="146" y="47"/>
                </a:lnTo>
                <a:lnTo>
                  <a:pt x="136" y="42"/>
                </a:lnTo>
                <a:lnTo>
                  <a:pt x="125" y="37"/>
                </a:lnTo>
                <a:lnTo>
                  <a:pt x="125" y="32"/>
                </a:lnTo>
                <a:lnTo>
                  <a:pt x="114" y="29"/>
                </a:lnTo>
                <a:lnTo>
                  <a:pt x="105" y="24"/>
                </a:lnTo>
                <a:lnTo>
                  <a:pt x="102" y="2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59" name="Freeform 168">
            <a:extLst>
              <a:ext uri="{FF2B5EF4-FFF2-40B4-BE49-F238E27FC236}">
                <a16:creationId xmlns:a16="http://schemas.microsoft.com/office/drawing/2014/main" id="{8B114EBE-C47E-4188-B115-BD47269D0B17}"/>
              </a:ext>
            </a:extLst>
          </p:cNvPr>
          <p:cNvSpPr>
            <a:spLocks/>
          </p:cNvSpPr>
          <p:nvPr/>
        </p:nvSpPr>
        <p:spPr bwMode="gray">
          <a:xfrm>
            <a:off x="2201188" y="3279226"/>
            <a:ext cx="15486" cy="11683"/>
          </a:xfrm>
          <a:custGeom>
            <a:avLst/>
            <a:gdLst>
              <a:gd name="T0" fmla="*/ 0 w 8"/>
              <a:gd name="T1" fmla="*/ 6 h 6"/>
              <a:gd name="T2" fmla="*/ 8 w 8"/>
              <a:gd name="T3" fmla="*/ 6 h 6"/>
              <a:gd name="T4" fmla="*/ 3 w 8"/>
              <a:gd name="T5" fmla="*/ 0 h 6"/>
              <a:gd name="T6" fmla="*/ 0 w 8"/>
              <a:gd name="T7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6">
                <a:moveTo>
                  <a:pt x="0" y="6"/>
                </a:moveTo>
                <a:lnTo>
                  <a:pt x="8" y="6"/>
                </a:lnTo>
                <a:lnTo>
                  <a:pt x="3" y="0"/>
                </a:lnTo>
                <a:lnTo>
                  <a:pt x="0" y="6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0" name="Freeform 169">
            <a:extLst>
              <a:ext uri="{FF2B5EF4-FFF2-40B4-BE49-F238E27FC236}">
                <a16:creationId xmlns:a16="http://schemas.microsoft.com/office/drawing/2014/main" id="{F6A32E65-D6A8-42DC-8E09-7E3C38002F09}"/>
              </a:ext>
            </a:extLst>
          </p:cNvPr>
          <p:cNvSpPr>
            <a:spLocks/>
          </p:cNvSpPr>
          <p:nvPr/>
        </p:nvSpPr>
        <p:spPr bwMode="gray">
          <a:xfrm>
            <a:off x="2235600" y="3364901"/>
            <a:ext cx="12045" cy="5841"/>
          </a:xfrm>
          <a:custGeom>
            <a:avLst/>
            <a:gdLst>
              <a:gd name="T0" fmla="*/ 5 w 5"/>
              <a:gd name="T1" fmla="*/ 1 h 2"/>
              <a:gd name="T2" fmla="*/ 4 w 5"/>
              <a:gd name="T3" fmla="*/ 1 h 2"/>
              <a:gd name="T4" fmla="*/ 3 w 5"/>
              <a:gd name="T5" fmla="*/ 1 h 2"/>
              <a:gd name="T6" fmla="*/ 3 w 5"/>
              <a:gd name="T7" fmla="*/ 0 h 2"/>
              <a:gd name="T8" fmla="*/ 3 w 5"/>
              <a:gd name="T9" fmla="*/ 1 h 2"/>
              <a:gd name="T10" fmla="*/ 2 w 5"/>
              <a:gd name="T11" fmla="*/ 1 h 2"/>
              <a:gd name="T12" fmla="*/ 2 w 5"/>
              <a:gd name="T13" fmla="*/ 0 h 2"/>
              <a:gd name="T14" fmla="*/ 0 w 5"/>
              <a:gd name="T15" fmla="*/ 0 h 2"/>
              <a:gd name="T16" fmla="*/ 2 w 5"/>
              <a:gd name="T17" fmla="*/ 0 h 2"/>
              <a:gd name="T18" fmla="*/ 2 w 5"/>
              <a:gd name="T19" fmla="*/ 1 h 2"/>
              <a:gd name="T20" fmla="*/ 0 w 5"/>
              <a:gd name="T21" fmla="*/ 1 h 2"/>
              <a:gd name="T22" fmla="*/ 0 w 5"/>
              <a:gd name="T23" fmla="*/ 2 h 2"/>
              <a:gd name="T24" fmla="*/ 2 w 5"/>
              <a:gd name="T25" fmla="*/ 2 h 2"/>
              <a:gd name="T26" fmla="*/ 3 w 5"/>
              <a:gd name="T27" fmla="*/ 2 h 2"/>
              <a:gd name="T28" fmla="*/ 3 w 5"/>
              <a:gd name="T29" fmla="*/ 1 h 2"/>
              <a:gd name="T30" fmla="*/ 4 w 5"/>
              <a:gd name="T31" fmla="*/ 1 h 2"/>
              <a:gd name="T32" fmla="*/ 5 w 5"/>
              <a:gd name="T33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" h="2">
                <a:moveTo>
                  <a:pt x="5" y="1"/>
                </a:moveTo>
                <a:lnTo>
                  <a:pt x="4" y="1"/>
                </a:lnTo>
                <a:lnTo>
                  <a:pt x="3" y="1"/>
                </a:lnTo>
                <a:lnTo>
                  <a:pt x="3" y="0"/>
                </a:lnTo>
                <a:lnTo>
                  <a:pt x="3" y="1"/>
                </a:lnTo>
                <a:lnTo>
                  <a:pt x="2" y="1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2" y="1"/>
                </a:lnTo>
                <a:lnTo>
                  <a:pt x="0" y="1"/>
                </a:lnTo>
                <a:lnTo>
                  <a:pt x="0" y="2"/>
                </a:lnTo>
                <a:lnTo>
                  <a:pt x="2" y="2"/>
                </a:lnTo>
                <a:lnTo>
                  <a:pt x="3" y="2"/>
                </a:lnTo>
                <a:lnTo>
                  <a:pt x="3" y="1"/>
                </a:lnTo>
                <a:lnTo>
                  <a:pt x="4" y="1"/>
                </a:lnTo>
                <a:lnTo>
                  <a:pt x="5" y="1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1" name="Freeform 170">
            <a:extLst>
              <a:ext uri="{FF2B5EF4-FFF2-40B4-BE49-F238E27FC236}">
                <a16:creationId xmlns:a16="http://schemas.microsoft.com/office/drawing/2014/main" id="{0B2C11EA-AB79-4708-876F-0443CBE242DA}"/>
              </a:ext>
            </a:extLst>
          </p:cNvPr>
          <p:cNvSpPr>
            <a:spLocks/>
          </p:cNvSpPr>
          <p:nvPr/>
        </p:nvSpPr>
        <p:spPr bwMode="gray">
          <a:xfrm>
            <a:off x="2282055" y="3353220"/>
            <a:ext cx="3441" cy="3894"/>
          </a:xfrm>
          <a:custGeom>
            <a:avLst/>
            <a:gdLst>
              <a:gd name="T0" fmla="*/ 1 w 1"/>
              <a:gd name="T1" fmla="*/ 0 h 1"/>
              <a:gd name="T2" fmla="*/ 0 w 1"/>
              <a:gd name="T3" fmla="*/ 1 h 1"/>
              <a:gd name="T4" fmla="*/ 1 w 1"/>
              <a:gd name="T5" fmla="*/ 1 h 1"/>
              <a:gd name="T6" fmla="*/ 1 w 1"/>
              <a:gd name="T7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0" y="1"/>
                </a:lnTo>
                <a:lnTo>
                  <a:pt x="1" y="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2" name="Freeform 171">
            <a:extLst>
              <a:ext uri="{FF2B5EF4-FFF2-40B4-BE49-F238E27FC236}">
                <a16:creationId xmlns:a16="http://schemas.microsoft.com/office/drawing/2014/main" id="{8296460E-25E2-4D23-B9B8-3E6DFFDC78D3}"/>
              </a:ext>
            </a:extLst>
          </p:cNvPr>
          <p:cNvSpPr>
            <a:spLocks/>
          </p:cNvSpPr>
          <p:nvPr/>
        </p:nvSpPr>
        <p:spPr bwMode="gray">
          <a:xfrm>
            <a:off x="2273451" y="3357114"/>
            <a:ext cx="5161" cy="3894"/>
          </a:xfrm>
          <a:custGeom>
            <a:avLst/>
            <a:gdLst>
              <a:gd name="T0" fmla="*/ 2 w 2"/>
              <a:gd name="T1" fmla="*/ 0 h 1"/>
              <a:gd name="T2" fmla="*/ 1 w 2"/>
              <a:gd name="T3" fmla="*/ 0 h 1"/>
              <a:gd name="T4" fmla="*/ 0 w 2"/>
              <a:gd name="T5" fmla="*/ 0 h 1"/>
              <a:gd name="T6" fmla="*/ 0 w 2"/>
              <a:gd name="T7" fmla="*/ 1 h 1"/>
              <a:gd name="T8" fmla="*/ 0 w 2"/>
              <a:gd name="T9" fmla="*/ 0 h 1"/>
              <a:gd name="T10" fmla="*/ 1 w 2"/>
              <a:gd name="T11" fmla="*/ 0 h 1"/>
              <a:gd name="T12" fmla="*/ 2 w 2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2" y="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3" name="Freeform 172">
            <a:extLst>
              <a:ext uri="{FF2B5EF4-FFF2-40B4-BE49-F238E27FC236}">
                <a16:creationId xmlns:a16="http://schemas.microsoft.com/office/drawing/2014/main" id="{8496244C-CB1F-4EFC-AB91-7282C613E5EE}"/>
              </a:ext>
            </a:extLst>
          </p:cNvPr>
          <p:cNvSpPr>
            <a:spLocks/>
          </p:cNvSpPr>
          <p:nvPr/>
        </p:nvSpPr>
        <p:spPr bwMode="gray">
          <a:xfrm>
            <a:off x="2684664" y="3399950"/>
            <a:ext cx="3441" cy="3894"/>
          </a:xfrm>
          <a:custGeom>
            <a:avLst/>
            <a:gdLst>
              <a:gd name="T0" fmla="*/ 1 w 1"/>
              <a:gd name="T1" fmla="*/ 0 h 1"/>
              <a:gd name="T2" fmla="*/ 0 w 1"/>
              <a:gd name="T3" fmla="*/ 0 h 1"/>
              <a:gd name="T4" fmla="*/ 0 w 1"/>
              <a:gd name="T5" fmla="*/ 1 h 1"/>
              <a:gd name="T6" fmla="*/ 0 w 1"/>
              <a:gd name="T7" fmla="*/ 0 h 1"/>
              <a:gd name="T8" fmla="*/ 1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0" y="0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4" name="Freeform 173">
            <a:extLst>
              <a:ext uri="{FF2B5EF4-FFF2-40B4-BE49-F238E27FC236}">
                <a16:creationId xmlns:a16="http://schemas.microsoft.com/office/drawing/2014/main" id="{3A39EC82-5570-4CDE-AFE6-02871D33CA09}"/>
              </a:ext>
            </a:extLst>
          </p:cNvPr>
          <p:cNvSpPr>
            <a:spLocks/>
          </p:cNvSpPr>
          <p:nvPr/>
        </p:nvSpPr>
        <p:spPr bwMode="gray">
          <a:xfrm>
            <a:off x="2691546" y="3386320"/>
            <a:ext cx="3441" cy="5841"/>
          </a:xfrm>
          <a:custGeom>
            <a:avLst/>
            <a:gdLst>
              <a:gd name="T0" fmla="*/ 1 w 1"/>
              <a:gd name="T1" fmla="*/ 0 w 1"/>
              <a:gd name="T2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5" name="Freeform 174">
            <a:extLst>
              <a:ext uri="{FF2B5EF4-FFF2-40B4-BE49-F238E27FC236}">
                <a16:creationId xmlns:a16="http://schemas.microsoft.com/office/drawing/2014/main" id="{4F0ED3E4-9C5E-4D65-8E01-8E85B8C70FD3}"/>
              </a:ext>
            </a:extLst>
          </p:cNvPr>
          <p:cNvSpPr>
            <a:spLocks/>
          </p:cNvSpPr>
          <p:nvPr/>
        </p:nvSpPr>
        <p:spPr bwMode="gray">
          <a:xfrm>
            <a:off x="2688105" y="3396057"/>
            <a:ext cx="3441" cy="3894"/>
          </a:xfrm>
          <a:custGeom>
            <a:avLst/>
            <a:gdLst>
              <a:gd name="T0" fmla="*/ 1 w 1"/>
              <a:gd name="T1" fmla="*/ 0 h 2"/>
              <a:gd name="T2" fmla="*/ 0 w 1"/>
              <a:gd name="T3" fmla="*/ 0 h 2"/>
              <a:gd name="T4" fmla="*/ 0 w 1"/>
              <a:gd name="T5" fmla="*/ 2 h 2"/>
              <a:gd name="T6" fmla="*/ 0 w 1"/>
              <a:gd name="T7" fmla="*/ 0 h 2"/>
              <a:gd name="T8" fmla="*/ 1 w 1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2">
                <a:moveTo>
                  <a:pt x="1" y="0"/>
                </a:move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6" name="Freeform 175">
            <a:extLst>
              <a:ext uri="{FF2B5EF4-FFF2-40B4-BE49-F238E27FC236}">
                <a16:creationId xmlns:a16="http://schemas.microsoft.com/office/drawing/2014/main" id="{9CFB3D87-C68E-46B5-AFE8-77E1580349D0}"/>
              </a:ext>
            </a:extLst>
          </p:cNvPr>
          <p:cNvSpPr>
            <a:spLocks/>
          </p:cNvSpPr>
          <p:nvPr/>
        </p:nvSpPr>
        <p:spPr bwMode="gray">
          <a:xfrm>
            <a:off x="2684664" y="3399950"/>
            <a:ext cx="3441" cy="3894"/>
          </a:xfrm>
          <a:custGeom>
            <a:avLst/>
            <a:gdLst>
              <a:gd name="T0" fmla="*/ 0 h 1"/>
              <a:gd name="T1" fmla="*/ 1 h 1"/>
              <a:gd name="T2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7" name="Freeform 176">
            <a:extLst>
              <a:ext uri="{FF2B5EF4-FFF2-40B4-BE49-F238E27FC236}">
                <a16:creationId xmlns:a16="http://schemas.microsoft.com/office/drawing/2014/main" id="{B9505B83-08BE-446B-8070-BB7106C1C352}"/>
              </a:ext>
            </a:extLst>
          </p:cNvPr>
          <p:cNvSpPr>
            <a:spLocks/>
          </p:cNvSpPr>
          <p:nvPr/>
        </p:nvSpPr>
        <p:spPr bwMode="gray">
          <a:xfrm>
            <a:off x="2488520" y="3347379"/>
            <a:ext cx="96351" cy="77886"/>
          </a:xfrm>
          <a:custGeom>
            <a:avLst/>
            <a:gdLst>
              <a:gd name="T0" fmla="*/ 4 w 51"/>
              <a:gd name="T1" fmla="*/ 2 h 36"/>
              <a:gd name="T2" fmla="*/ 2 w 51"/>
              <a:gd name="T3" fmla="*/ 14 h 36"/>
              <a:gd name="T4" fmla="*/ 0 w 51"/>
              <a:gd name="T5" fmla="*/ 19 h 36"/>
              <a:gd name="T6" fmla="*/ 2 w 51"/>
              <a:gd name="T7" fmla="*/ 29 h 36"/>
              <a:gd name="T8" fmla="*/ 5 w 51"/>
              <a:gd name="T9" fmla="*/ 36 h 36"/>
              <a:gd name="T10" fmla="*/ 11 w 51"/>
              <a:gd name="T11" fmla="*/ 27 h 36"/>
              <a:gd name="T12" fmla="*/ 18 w 51"/>
              <a:gd name="T13" fmla="*/ 24 h 36"/>
              <a:gd name="T14" fmla="*/ 26 w 51"/>
              <a:gd name="T15" fmla="*/ 24 h 36"/>
              <a:gd name="T16" fmla="*/ 44 w 51"/>
              <a:gd name="T17" fmla="*/ 25 h 36"/>
              <a:gd name="T18" fmla="*/ 51 w 51"/>
              <a:gd name="T19" fmla="*/ 19 h 36"/>
              <a:gd name="T20" fmla="*/ 34 w 51"/>
              <a:gd name="T21" fmla="*/ 12 h 36"/>
              <a:gd name="T22" fmla="*/ 38 w 51"/>
              <a:gd name="T23" fmla="*/ 8 h 36"/>
              <a:gd name="T24" fmla="*/ 30 w 51"/>
              <a:gd name="T25" fmla="*/ 5 h 36"/>
              <a:gd name="T26" fmla="*/ 11 w 51"/>
              <a:gd name="T27" fmla="*/ 0 h 36"/>
              <a:gd name="T28" fmla="*/ 4 w 51"/>
              <a:gd name="T29" fmla="*/ 2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1" h="36">
                <a:moveTo>
                  <a:pt x="4" y="2"/>
                </a:moveTo>
                <a:lnTo>
                  <a:pt x="2" y="14"/>
                </a:lnTo>
                <a:lnTo>
                  <a:pt x="0" y="19"/>
                </a:lnTo>
                <a:lnTo>
                  <a:pt x="2" y="29"/>
                </a:lnTo>
                <a:lnTo>
                  <a:pt x="5" y="36"/>
                </a:lnTo>
                <a:lnTo>
                  <a:pt x="11" y="27"/>
                </a:lnTo>
                <a:lnTo>
                  <a:pt x="18" y="24"/>
                </a:lnTo>
                <a:lnTo>
                  <a:pt x="26" y="24"/>
                </a:lnTo>
                <a:lnTo>
                  <a:pt x="44" y="25"/>
                </a:lnTo>
                <a:lnTo>
                  <a:pt x="51" y="19"/>
                </a:lnTo>
                <a:lnTo>
                  <a:pt x="34" y="12"/>
                </a:lnTo>
                <a:lnTo>
                  <a:pt x="38" y="8"/>
                </a:lnTo>
                <a:lnTo>
                  <a:pt x="30" y="5"/>
                </a:lnTo>
                <a:lnTo>
                  <a:pt x="11" y="0"/>
                </a:lnTo>
                <a:lnTo>
                  <a:pt x="4" y="2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8" name="Freeform 177">
            <a:extLst>
              <a:ext uri="{FF2B5EF4-FFF2-40B4-BE49-F238E27FC236}">
                <a16:creationId xmlns:a16="http://schemas.microsoft.com/office/drawing/2014/main" id="{214CB494-3DD4-4F9D-A47F-AD9A24E02F2A}"/>
              </a:ext>
            </a:extLst>
          </p:cNvPr>
          <p:cNvSpPr>
            <a:spLocks/>
          </p:cNvSpPr>
          <p:nvPr/>
        </p:nvSpPr>
        <p:spPr bwMode="gray">
          <a:xfrm>
            <a:off x="2419700" y="3347379"/>
            <a:ext cx="75704" cy="66203"/>
          </a:xfrm>
          <a:custGeom>
            <a:avLst/>
            <a:gdLst>
              <a:gd name="T0" fmla="*/ 40 w 40"/>
              <a:gd name="T1" fmla="*/ 2 h 29"/>
              <a:gd name="T2" fmla="*/ 38 w 40"/>
              <a:gd name="T3" fmla="*/ 14 h 29"/>
              <a:gd name="T4" fmla="*/ 36 w 40"/>
              <a:gd name="T5" fmla="*/ 19 h 29"/>
              <a:gd name="T6" fmla="*/ 38 w 40"/>
              <a:gd name="T7" fmla="*/ 29 h 29"/>
              <a:gd name="T8" fmla="*/ 23 w 40"/>
              <a:gd name="T9" fmla="*/ 27 h 29"/>
              <a:gd name="T10" fmla="*/ 9 w 40"/>
              <a:gd name="T11" fmla="*/ 27 h 29"/>
              <a:gd name="T12" fmla="*/ 0 w 40"/>
              <a:gd name="T13" fmla="*/ 23 h 29"/>
              <a:gd name="T14" fmla="*/ 8 w 40"/>
              <a:gd name="T15" fmla="*/ 20 h 29"/>
              <a:gd name="T16" fmla="*/ 18 w 40"/>
              <a:gd name="T17" fmla="*/ 20 h 29"/>
              <a:gd name="T18" fmla="*/ 30 w 40"/>
              <a:gd name="T19" fmla="*/ 21 h 29"/>
              <a:gd name="T20" fmla="*/ 26 w 40"/>
              <a:gd name="T21" fmla="*/ 9 h 29"/>
              <a:gd name="T22" fmla="*/ 20 w 40"/>
              <a:gd name="T23" fmla="*/ 3 h 29"/>
              <a:gd name="T24" fmla="*/ 18 w 40"/>
              <a:gd name="T25" fmla="*/ 0 h 29"/>
              <a:gd name="T26" fmla="*/ 32 w 40"/>
              <a:gd name="T27" fmla="*/ 1 h 29"/>
              <a:gd name="T28" fmla="*/ 40 w 40"/>
              <a:gd name="T29" fmla="*/ 2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0" h="29">
                <a:moveTo>
                  <a:pt x="40" y="2"/>
                </a:moveTo>
                <a:lnTo>
                  <a:pt x="38" y="14"/>
                </a:lnTo>
                <a:lnTo>
                  <a:pt x="36" y="19"/>
                </a:lnTo>
                <a:lnTo>
                  <a:pt x="38" y="29"/>
                </a:lnTo>
                <a:lnTo>
                  <a:pt x="23" y="27"/>
                </a:lnTo>
                <a:lnTo>
                  <a:pt x="9" y="27"/>
                </a:lnTo>
                <a:lnTo>
                  <a:pt x="0" y="23"/>
                </a:lnTo>
                <a:lnTo>
                  <a:pt x="8" y="20"/>
                </a:lnTo>
                <a:lnTo>
                  <a:pt x="18" y="20"/>
                </a:lnTo>
                <a:lnTo>
                  <a:pt x="30" y="21"/>
                </a:lnTo>
                <a:lnTo>
                  <a:pt x="26" y="9"/>
                </a:lnTo>
                <a:lnTo>
                  <a:pt x="20" y="3"/>
                </a:lnTo>
                <a:lnTo>
                  <a:pt x="18" y="0"/>
                </a:lnTo>
                <a:lnTo>
                  <a:pt x="32" y="1"/>
                </a:lnTo>
                <a:lnTo>
                  <a:pt x="40" y="2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69" name="Freeform 178">
            <a:extLst>
              <a:ext uri="{FF2B5EF4-FFF2-40B4-BE49-F238E27FC236}">
                <a16:creationId xmlns:a16="http://schemas.microsoft.com/office/drawing/2014/main" id="{E3EDAB89-E36D-417C-99C2-3A1D8F747010}"/>
              </a:ext>
            </a:extLst>
          </p:cNvPr>
          <p:cNvSpPr>
            <a:spLocks/>
          </p:cNvSpPr>
          <p:nvPr/>
        </p:nvSpPr>
        <p:spPr bwMode="gray">
          <a:xfrm>
            <a:off x="2488520" y="3279226"/>
            <a:ext cx="3441" cy="3894"/>
          </a:xfrm>
          <a:custGeom>
            <a:avLst/>
            <a:gdLst>
              <a:gd name="T0" fmla="*/ 2 w 3"/>
              <a:gd name="T1" fmla="*/ 2 h 2"/>
              <a:gd name="T2" fmla="*/ 0 w 3"/>
              <a:gd name="T3" fmla="*/ 2 h 2"/>
              <a:gd name="T4" fmla="*/ 0 w 3"/>
              <a:gd name="T5" fmla="*/ 0 h 2"/>
              <a:gd name="T6" fmla="*/ 3 w 3"/>
              <a:gd name="T7" fmla="*/ 2 h 2"/>
              <a:gd name="T8" fmla="*/ 2 w 3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2" y="2"/>
                </a:moveTo>
                <a:lnTo>
                  <a:pt x="0" y="2"/>
                </a:lnTo>
                <a:lnTo>
                  <a:pt x="0" y="0"/>
                </a:lnTo>
                <a:lnTo>
                  <a:pt x="3" y="2"/>
                </a:lnTo>
                <a:lnTo>
                  <a:pt x="2" y="2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0" name="Freeform 179">
            <a:extLst>
              <a:ext uri="{FF2B5EF4-FFF2-40B4-BE49-F238E27FC236}">
                <a16:creationId xmlns:a16="http://schemas.microsoft.com/office/drawing/2014/main" id="{30D2FE81-B13F-4795-8BC6-F9B8D1DFC334}"/>
              </a:ext>
            </a:extLst>
          </p:cNvPr>
          <p:cNvSpPr>
            <a:spLocks/>
          </p:cNvSpPr>
          <p:nvPr/>
        </p:nvSpPr>
        <p:spPr bwMode="gray">
          <a:xfrm>
            <a:off x="2500565" y="3283119"/>
            <a:ext cx="6882" cy="3894"/>
          </a:xfrm>
          <a:custGeom>
            <a:avLst/>
            <a:gdLst>
              <a:gd name="T0" fmla="*/ 4 w 4"/>
              <a:gd name="T1" fmla="*/ 0 w 4"/>
              <a:gd name="T2" fmla="*/ 3 w 4"/>
              <a:gd name="T3" fmla="*/ 4 w 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4">
                <a:moveTo>
                  <a:pt x="4" y="0"/>
                </a:moveTo>
                <a:lnTo>
                  <a:pt x="0" y="0"/>
                </a:lnTo>
                <a:lnTo>
                  <a:pt x="3" y="0"/>
                </a:lnTo>
                <a:lnTo>
                  <a:pt x="4" y="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1" name="Freeform 180">
            <a:extLst>
              <a:ext uri="{FF2B5EF4-FFF2-40B4-BE49-F238E27FC236}">
                <a16:creationId xmlns:a16="http://schemas.microsoft.com/office/drawing/2014/main" id="{21CB0D40-B9FC-45FE-AA4A-1001BFC098D2}"/>
              </a:ext>
            </a:extLst>
          </p:cNvPr>
          <p:cNvSpPr>
            <a:spLocks/>
          </p:cNvSpPr>
          <p:nvPr/>
        </p:nvSpPr>
        <p:spPr bwMode="gray">
          <a:xfrm>
            <a:off x="2768972" y="3551831"/>
            <a:ext cx="6882" cy="13630"/>
          </a:xfrm>
          <a:custGeom>
            <a:avLst/>
            <a:gdLst>
              <a:gd name="T0" fmla="*/ 2 w 3"/>
              <a:gd name="T1" fmla="*/ 5 h 5"/>
              <a:gd name="T2" fmla="*/ 0 w 3"/>
              <a:gd name="T3" fmla="*/ 3 h 5"/>
              <a:gd name="T4" fmla="*/ 3 w 3"/>
              <a:gd name="T5" fmla="*/ 0 h 5"/>
              <a:gd name="T6" fmla="*/ 2 w 3"/>
              <a:gd name="T7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5">
                <a:moveTo>
                  <a:pt x="2" y="5"/>
                </a:moveTo>
                <a:lnTo>
                  <a:pt x="0" y="3"/>
                </a:lnTo>
                <a:lnTo>
                  <a:pt x="3" y="0"/>
                </a:lnTo>
                <a:lnTo>
                  <a:pt x="2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2" name="Freeform 181">
            <a:extLst>
              <a:ext uri="{FF2B5EF4-FFF2-40B4-BE49-F238E27FC236}">
                <a16:creationId xmlns:a16="http://schemas.microsoft.com/office/drawing/2014/main" id="{D9DC8E10-B82C-4813-A88A-C78014CA652F}"/>
              </a:ext>
            </a:extLst>
          </p:cNvPr>
          <p:cNvSpPr>
            <a:spLocks/>
          </p:cNvSpPr>
          <p:nvPr/>
        </p:nvSpPr>
        <p:spPr bwMode="gray">
          <a:xfrm>
            <a:off x="2091072" y="3655029"/>
            <a:ext cx="87749" cy="105146"/>
          </a:xfrm>
          <a:custGeom>
            <a:avLst/>
            <a:gdLst>
              <a:gd name="T0" fmla="*/ 10 w 46"/>
              <a:gd name="T1" fmla="*/ 24 h 48"/>
              <a:gd name="T2" fmla="*/ 0 w 46"/>
              <a:gd name="T3" fmla="*/ 11 h 48"/>
              <a:gd name="T4" fmla="*/ 2 w 46"/>
              <a:gd name="T5" fmla="*/ 4 h 48"/>
              <a:gd name="T6" fmla="*/ 2 w 46"/>
              <a:gd name="T7" fmla="*/ 2 h 48"/>
              <a:gd name="T8" fmla="*/ 3 w 46"/>
              <a:gd name="T9" fmla="*/ 0 h 48"/>
              <a:gd name="T10" fmla="*/ 24 w 46"/>
              <a:gd name="T11" fmla="*/ 4 h 48"/>
              <a:gd name="T12" fmla="*/ 32 w 46"/>
              <a:gd name="T13" fmla="*/ 3 h 48"/>
              <a:gd name="T14" fmla="*/ 39 w 46"/>
              <a:gd name="T15" fmla="*/ 14 h 48"/>
              <a:gd name="T16" fmla="*/ 46 w 46"/>
              <a:gd name="T17" fmla="*/ 24 h 48"/>
              <a:gd name="T18" fmla="*/ 40 w 46"/>
              <a:gd name="T19" fmla="*/ 26 h 48"/>
              <a:gd name="T20" fmla="*/ 42 w 46"/>
              <a:gd name="T21" fmla="*/ 36 h 48"/>
              <a:gd name="T22" fmla="*/ 40 w 46"/>
              <a:gd name="T23" fmla="*/ 48 h 48"/>
              <a:gd name="T24" fmla="*/ 33 w 46"/>
              <a:gd name="T25" fmla="*/ 38 h 48"/>
              <a:gd name="T26" fmla="*/ 33 w 46"/>
              <a:gd name="T27" fmla="*/ 42 h 48"/>
              <a:gd name="T28" fmla="*/ 31 w 46"/>
              <a:gd name="T29" fmla="*/ 38 h 48"/>
              <a:gd name="T30" fmla="*/ 26 w 46"/>
              <a:gd name="T31" fmla="*/ 28 h 48"/>
              <a:gd name="T32" fmla="*/ 16 w 46"/>
              <a:gd name="T33" fmla="*/ 21 h 48"/>
              <a:gd name="T34" fmla="*/ 9 w 46"/>
              <a:gd name="T35" fmla="*/ 14 h 48"/>
              <a:gd name="T36" fmla="*/ 12 w 46"/>
              <a:gd name="T37" fmla="*/ 22 h 48"/>
              <a:gd name="T38" fmla="*/ 10 w 46"/>
              <a:gd name="T39" fmla="*/ 24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6" h="48">
                <a:moveTo>
                  <a:pt x="10" y="24"/>
                </a:moveTo>
                <a:lnTo>
                  <a:pt x="0" y="11"/>
                </a:lnTo>
                <a:lnTo>
                  <a:pt x="2" y="4"/>
                </a:lnTo>
                <a:lnTo>
                  <a:pt x="2" y="2"/>
                </a:lnTo>
                <a:lnTo>
                  <a:pt x="3" y="0"/>
                </a:lnTo>
                <a:lnTo>
                  <a:pt x="24" y="4"/>
                </a:lnTo>
                <a:lnTo>
                  <a:pt x="32" y="3"/>
                </a:lnTo>
                <a:lnTo>
                  <a:pt x="39" y="14"/>
                </a:lnTo>
                <a:lnTo>
                  <a:pt x="46" y="24"/>
                </a:lnTo>
                <a:lnTo>
                  <a:pt x="40" y="26"/>
                </a:lnTo>
                <a:lnTo>
                  <a:pt x="42" y="36"/>
                </a:lnTo>
                <a:lnTo>
                  <a:pt x="40" y="48"/>
                </a:lnTo>
                <a:lnTo>
                  <a:pt x="33" y="38"/>
                </a:lnTo>
                <a:lnTo>
                  <a:pt x="33" y="42"/>
                </a:lnTo>
                <a:lnTo>
                  <a:pt x="31" y="38"/>
                </a:lnTo>
                <a:lnTo>
                  <a:pt x="26" y="28"/>
                </a:lnTo>
                <a:lnTo>
                  <a:pt x="16" y="21"/>
                </a:lnTo>
                <a:lnTo>
                  <a:pt x="9" y="14"/>
                </a:lnTo>
                <a:lnTo>
                  <a:pt x="12" y="22"/>
                </a:lnTo>
                <a:lnTo>
                  <a:pt x="10" y="2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3" name="Freeform 182">
            <a:extLst>
              <a:ext uri="{FF2B5EF4-FFF2-40B4-BE49-F238E27FC236}">
                <a16:creationId xmlns:a16="http://schemas.microsoft.com/office/drawing/2014/main" id="{9D0125C4-AB89-44B9-B4DD-9E1307E89E1A}"/>
              </a:ext>
            </a:extLst>
          </p:cNvPr>
          <p:cNvSpPr>
            <a:spLocks/>
          </p:cNvSpPr>
          <p:nvPr/>
        </p:nvSpPr>
        <p:spPr bwMode="gray">
          <a:xfrm>
            <a:off x="2522932" y="3604404"/>
            <a:ext cx="3441" cy="3894"/>
          </a:xfrm>
          <a:custGeom>
            <a:avLst/>
            <a:gdLst>
              <a:gd name="T0" fmla="*/ 0 w 3"/>
              <a:gd name="T1" fmla="*/ 0 h 4"/>
              <a:gd name="T2" fmla="*/ 3 w 3"/>
              <a:gd name="T3" fmla="*/ 4 h 4"/>
              <a:gd name="T4" fmla="*/ 0 w 3"/>
              <a:gd name="T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3" y="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4" name="Freeform 183">
            <a:extLst>
              <a:ext uri="{FF2B5EF4-FFF2-40B4-BE49-F238E27FC236}">
                <a16:creationId xmlns:a16="http://schemas.microsoft.com/office/drawing/2014/main" id="{FF25D2D0-67EA-4932-9E0D-E9A92615BF0D}"/>
              </a:ext>
            </a:extLst>
          </p:cNvPr>
          <p:cNvSpPr>
            <a:spLocks/>
          </p:cNvSpPr>
          <p:nvPr/>
        </p:nvSpPr>
        <p:spPr bwMode="gray">
          <a:xfrm>
            <a:off x="2806825" y="3577143"/>
            <a:ext cx="3441" cy="9735"/>
          </a:xfrm>
          <a:custGeom>
            <a:avLst/>
            <a:gdLst>
              <a:gd name="T0" fmla="*/ 2 w 2"/>
              <a:gd name="T1" fmla="*/ 4 h 5"/>
              <a:gd name="T2" fmla="*/ 0 w 2"/>
              <a:gd name="T3" fmla="*/ 5 h 5"/>
              <a:gd name="T4" fmla="*/ 0 w 2"/>
              <a:gd name="T5" fmla="*/ 0 h 5"/>
              <a:gd name="T6" fmla="*/ 2 w 2"/>
              <a:gd name="T7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5">
                <a:moveTo>
                  <a:pt x="2" y="4"/>
                </a:moveTo>
                <a:lnTo>
                  <a:pt x="0" y="5"/>
                </a:lnTo>
                <a:lnTo>
                  <a:pt x="0" y="0"/>
                </a:lnTo>
                <a:lnTo>
                  <a:pt x="2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5" name="Freeform 184">
            <a:extLst>
              <a:ext uri="{FF2B5EF4-FFF2-40B4-BE49-F238E27FC236}">
                <a16:creationId xmlns:a16="http://schemas.microsoft.com/office/drawing/2014/main" id="{E040F854-1332-4CA9-B8D6-F1C7C9FEF394}"/>
              </a:ext>
            </a:extLst>
          </p:cNvPr>
          <p:cNvSpPr>
            <a:spLocks/>
          </p:cNvSpPr>
          <p:nvPr/>
        </p:nvSpPr>
        <p:spPr bwMode="gray">
          <a:xfrm>
            <a:off x="2760368" y="3499256"/>
            <a:ext cx="3441" cy="13630"/>
          </a:xfrm>
          <a:custGeom>
            <a:avLst/>
            <a:gdLst>
              <a:gd name="T0" fmla="*/ 2 w 2"/>
              <a:gd name="T1" fmla="*/ 5 h 6"/>
              <a:gd name="T2" fmla="*/ 1 w 2"/>
              <a:gd name="T3" fmla="*/ 6 h 6"/>
              <a:gd name="T4" fmla="*/ 0 w 2"/>
              <a:gd name="T5" fmla="*/ 0 h 6"/>
              <a:gd name="T6" fmla="*/ 2 w 2"/>
              <a:gd name="T7" fmla="*/ 0 h 6"/>
              <a:gd name="T8" fmla="*/ 2 w 2"/>
              <a:gd name="T9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6">
                <a:moveTo>
                  <a:pt x="2" y="5"/>
                </a:moveTo>
                <a:lnTo>
                  <a:pt x="1" y="6"/>
                </a:lnTo>
                <a:lnTo>
                  <a:pt x="0" y="0"/>
                </a:lnTo>
                <a:lnTo>
                  <a:pt x="2" y="0"/>
                </a:lnTo>
                <a:lnTo>
                  <a:pt x="2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6" name="Freeform 185">
            <a:extLst>
              <a:ext uri="{FF2B5EF4-FFF2-40B4-BE49-F238E27FC236}">
                <a16:creationId xmlns:a16="http://schemas.microsoft.com/office/drawing/2014/main" id="{D8E20AAB-FCDA-4DFF-B18D-014E87E883DA}"/>
              </a:ext>
            </a:extLst>
          </p:cNvPr>
          <p:cNvSpPr>
            <a:spLocks/>
          </p:cNvSpPr>
          <p:nvPr/>
        </p:nvSpPr>
        <p:spPr bwMode="gray">
          <a:xfrm>
            <a:off x="1986119" y="3538200"/>
            <a:ext cx="58500" cy="44784"/>
          </a:xfrm>
          <a:custGeom>
            <a:avLst/>
            <a:gdLst>
              <a:gd name="T0" fmla="*/ 31 w 31"/>
              <a:gd name="T1" fmla="*/ 16 h 21"/>
              <a:gd name="T2" fmla="*/ 27 w 31"/>
              <a:gd name="T3" fmla="*/ 21 h 21"/>
              <a:gd name="T4" fmla="*/ 20 w 31"/>
              <a:gd name="T5" fmla="*/ 18 h 21"/>
              <a:gd name="T6" fmla="*/ 9 w 31"/>
              <a:gd name="T7" fmla="*/ 15 h 21"/>
              <a:gd name="T8" fmla="*/ 0 w 31"/>
              <a:gd name="T9" fmla="*/ 11 h 21"/>
              <a:gd name="T10" fmla="*/ 10 w 31"/>
              <a:gd name="T11" fmla="*/ 0 h 21"/>
              <a:gd name="T12" fmla="*/ 19 w 31"/>
              <a:gd name="T13" fmla="*/ 6 h 21"/>
              <a:gd name="T14" fmla="*/ 31 w 31"/>
              <a:gd name="T15" fmla="*/ 9 h 21"/>
              <a:gd name="T16" fmla="*/ 31 w 31"/>
              <a:gd name="T17" fmla="*/ 16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" h="21">
                <a:moveTo>
                  <a:pt x="31" y="16"/>
                </a:moveTo>
                <a:lnTo>
                  <a:pt x="27" y="21"/>
                </a:lnTo>
                <a:lnTo>
                  <a:pt x="20" y="18"/>
                </a:lnTo>
                <a:lnTo>
                  <a:pt x="9" y="15"/>
                </a:lnTo>
                <a:lnTo>
                  <a:pt x="0" y="11"/>
                </a:lnTo>
                <a:lnTo>
                  <a:pt x="10" y="0"/>
                </a:lnTo>
                <a:lnTo>
                  <a:pt x="19" y="6"/>
                </a:lnTo>
                <a:lnTo>
                  <a:pt x="31" y="9"/>
                </a:lnTo>
                <a:lnTo>
                  <a:pt x="31" y="1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7" name="Freeform 186">
            <a:extLst>
              <a:ext uri="{FF2B5EF4-FFF2-40B4-BE49-F238E27FC236}">
                <a16:creationId xmlns:a16="http://schemas.microsoft.com/office/drawing/2014/main" id="{61E75823-5F72-4CFC-BC3A-9D87747295AB}"/>
              </a:ext>
            </a:extLst>
          </p:cNvPr>
          <p:cNvSpPr>
            <a:spLocks/>
          </p:cNvSpPr>
          <p:nvPr/>
        </p:nvSpPr>
        <p:spPr bwMode="gray">
          <a:xfrm>
            <a:off x="2744884" y="3616086"/>
            <a:ext cx="8604" cy="5841"/>
          </a:xfrm>
          <a:custGeom>
            <a:avLst/>
            <a:gdLst>
              <a:gd name="T0" fmla="*/ 3 w 3"/>
              <a:gd name="T1" fmla="*/ 1 h 4"/>
              <a:gd name="T2" fmla="*/ 3 w 3"/>
              <a:gd name="T3" fmla="*/ 0 h 4"/>
              <a:gd name="T4" fmla="*/ 2 w 3"/>
              <a:gd name="T5" fmla="*/ 0 h 4"/>
              <a:gd name="T6" fmla="*/ 2 w 3"/>
              <a:gd name="T7" fmla="*/ 1 h 4"/>
              <a:gd name="T8" fmla="*/ 1 w 3"/>
              <a:gd name="T9" fmla="*/ 1 h 4"/>
              <a:gd name="T10" fmla="*/ 1 w 3"/>
              <a:gd name="T11" fmla="*/ 3 h 4"/>
              <a:gd name="T12" fmla="*/ 1 w 3"/>
              <a:gd name="T13" fmla="*/ 4 h 4"/>
              <a:gd name="T14" fmla="*/ 0 w 3"/>
              <a:gd name="T15" fmla="*/ 4 h 4"/>
              <a:gd name="T16" fmla="*/ 1 w 3"/>
              <a:gd name="T17" fmla="*/ 4 h 4"/>
              <a:gd name="T18" fmla="*/ 2 w 3"/>
              <a:gd name="T19" fmla="*/ 4 h 4"/>
              <a:gd name="T20" fmla="*/ 2 w 3"/>
              <a:gd name="T21" fmla="*/ 3 h 4"/>
              <a:gd name="T22" fmla="*/ 3 w 3"/>
              <a:gd name="T23" fmla="*/ 3 h 4"/>
              <a:gd name="T24" fmla="*/ 2 w 3"/>
              <a:gd name="T25" fmla="*/ 3 h 4"/>
              <a:gd name="T26" fmla="*/ 3 w 3"/>
              <a:gd name="T27" fmla="*/ 3 h 4"/>
              <a:gd name="T28" fmla="*/ 3 w 3"/>
              <a:gd name="T29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" h="4">
                <a:moveTo>
                  <a:pt x="3" y="1"/>
                </a:moveTo>
                <a:lnTo>
                  <a:pt x="3" y="0"/>
                </a:lnTo>
                <a:lnTo>
                  <a:pt x="2" y="0"/>
                </a:lnTo>
                <a:lnTo>
                  <a:pt x="2" y="1"/>
                </a:lnTo>
                <a:lnTo>
                  <a:pt x="1" y="1"/>
                </a:lnTo>
                <a:lnTo>
                  <a:pt x="1" y="3"/>
                </a:lnTo>
                <a:lnTo>
                  <a:pt x="1" y="4"/>
                </a:lnTo>
                <a:lnTo>
                  <a:pt x="0" y="4"/>
                </a:lnTo>
                <a:lnTo>
                  <a:pt x="1" y="4"/>
                </a:lnTo>
                <a:lnTo>
                  <a:pt x="2" y="4"/>
                </a:lnTo>
                <a:lnTo>
                  <a:pt x="2" y="3"/>
                </a:lnTo>
                <a:lnTo>
                  <a:pt x="3" y="3"/>
                </a:lnTo>
                <a:lnTo>
                  <a:pt x="2" y="3"/>
                </a:lnTo>
                <a:lnTo>
                  <a:pt x="3" y="3"/>
                </a:lnTo>
                <a:lnTo>
                  <a:pt x="3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8" name="Freeform 187">
            <a:extLst>
              <a:ext uri="{FF2B5EF4-FFF2-40B4-BE49-F238E27FC236}">
                <a16:creationId xmlns:a16="http://schemas.microsoft.com/office/drawing/2014/main" id="{574BF21F-3CF9-4259-BEFD-565C4605E8EB}"/>
              </a:ext>
            </a:extLst>
          </p:cNvPr>
          <p:cNvSpPr>
            <a:spLocks/>
          </p:cNvSpPr>
          <p:nvPr/>
        </p:nvSpPr>
        <p:spPr bwMode="gray">
          <a:xfrm>
            <a:off x="2006766" y="3487573"/>
            <a:ext cx="172055" cy="103199"/>
          </a:xfrm>
          <a:custGeom>
            <a:avLst/>
            <a:gdLst>
              <a:gd name="T0" fmla="*/ 48 w 89"/>
              <a:gd name="T1" fmla="*/ 32 h 47"/>
              <a:gd name="T2" fmla="*/ 42 w 89"/>
              <a:gd name="T3" fmla="*/ 34 h 47"/>
              <a:gd name="T4" fmla="*/ 36 w 89"/>
              <a:gd name="T5" fmla="*/ 38 h 47"/>
              <a:gd name="T6" fmla="*/ 30 w 89"/>
              <a:gd name="T7" fmla="*/ 47 h 47"/>
              <a:gd name="T8" fmla="*/ 28 w 89"/>
              <a:gd name="T9" fmla="*/ 47 h 47"/>
              <a:gd name="T10" fmla="*/ 26 w 89"/>
              <a:gd name="T11" fmla="*/ 41 h 47"/>
              <a:gd name="T12" fmla="*/ 21 w 89"/>
              <a:gd name="T13" fmla="*/ 40 h 47"/>
              <a:gd name="T14" fmla="*/ 21 w 89"/>
              <a:gd name="T15" fmla="*/ 33 h 47"/>
              <a:gd name="T16" fmla="*/ 9 w 89"/>
              <a:gd name="T17" fmla="*/ 30 h 47"/>
              <a:gd name="T18" fmla="*/ 0 w 89"/>
              <a:gd name="T19" fmla="*/ 24 h 47"/>
              <a:gd name="T20" fmla="*/ 9 w 89"/>
              <a:gd name="T21" fmla="*/ 11 h 47"/>
              <a:gd name="T22" fmla="*/ 18 w 89"/>
              <a:gd name="T23" fmla="*/ 3 h 47"/>
              <a:gd name="T24" fmla="*/ 21 w 89"/>
              <a:gd name="T25" fmla="*/ 3 h 47"/>
              <a:gd name="T26" fmla="*/ 34 w 89"/>
              <a:gd name="T27" fmla="*/ 2 h 47"/>
              <a:gd name="T28" fmla="*/ 47 w 89"/>
              <a:gd name="T29" fmla="*/ 0 h 47"/>
              <a:gd name="T30" fmla="*/ 59 w 89"/>
              <a:gd name="T31" fmla="*/ 0 h 47"/>
              <a:gd name="T32" fmla="*/ 70 w 89"/>
              <a:gd name="T33" fmla="*/ 2 h 47"/>
              <a:gd name="T34" fmla="*/ 80 w 89"/>
              <a:gd name="T35" fmla="*/ 8 h 47"/>
              <a:gd name="T36" fmla="*/ 77 w 89"/>
              <a:gd name="T37" fmla="*/ 6 h 47"/>
              <a:gd name="T38" fmla="*/ 78 w 89"/>
              <a:gd name="T39" fmla="*/ 10 h 47"/>
              <a:gd name="T40" fmla="*/ 83 w 89"/>
              <a:gd name="T41" fmla="*/ 10 h 47"/>
              <a:gd name="T42" fmla="*/ 89 w 89"/>
              <a:gd name="T43" fmla="*/ 15 h 47"/>
              <a:gd name="T44" fmla="*/ 77 w 89"/>
              <a:gd name="T45" fmla="*/ 17 h 47"/>
              <a:gd name="T46" fmla="*/ 65 w 89"/>
              <a:gd name="T47" fmla="*/ 18 h 47"/>
              <a:gd name="T48" fmla="*/ 48 w 89"/>
              <a:gd name="T49" fmla="*/ 32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9" h="47">
                <a:moveTo>
                  <a:pt x="48" y="32"/>
                </a:moveTo>
                <a:lnTo>
                  <a:pt x="42" y="34"/>
                </a:lnTo>
                <a:lnTo>
                  <a:pt x="36" y="38"/>
                </a:lnTo>
                <a:lnTo>
                  <a:pt x="30" y="47"/>
                </a:lnTo>
                <a:lnTo>
                  <a:pt x="28" y="47"/>
                </a:lnTo>
                <a:lnTo>
                  <a:pt x="26" y="41"/>
                </a:lnTo>
                <a:lnTo>
                  <a:pt x="21" y="40"/>
                </a:lnTo>
                <a:lnTo>
                  <a:pt x="21" y="33"/>
                </a:lnTo>
                <a:lnTo>
                  <a:pt x="9" y="30"/>
                </a:lnTo>
                <a:lnTo>
                  <a:pt x="0" y="24"/>
                </a:lnTo>
                <a:lnTo>
                  <a:pt x="9" y="11"/>
                </a:lnTo>
                <a:lnTo>
                  <a:pt x="18" y="3"/>
                </a:lnTo>
                <a:lnTo>
                  <a:pt x="21" y="3"/>
                </a:lnTo>
                <a:lnTo>
                  <a:pt x="34" y="2"/>
                </a:lnTo>
                <a:lnTo>
                  <a:pt x="47" y="0"/>
                </a:lnTo>
                <a:lnTo>
                  <a:pt x="59" y="0"/>
                </a:lnTo>
                <a:lnTo>
                  <a:pt x="70" y="2"/>
                </a:lnTo>
                <a:lnTo>
                  <a:pt x="80" y="8"/>
                </a:lnTo>
                <a:lnTo>
                  <a:pt x="77" y="6"/>
                </a:lnTo>
                <a:lnTo>
                  <a:pt x="78" y="10"/>
                </a:lnTo>
                <a:lnTo>
                  <a:pt x="83" y="10"/>
                </a:lnTo>
                <a:lnTo>
                  <a:pt x="89" y="15"/>
                </a:lnTo>
                <a:lnTo>
                  <a:pt x="77" y="17"/>
                </a:lnTo>
                <a:lnTo>
                  <a:pt x="65" y="18"/>
                </a:lnTo>
                <a:lnTo>
                  <a:pt x="48" y="3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79" name="Freeform 188">
            <a:extLst>
              <a:ext uri="{FF2B5EF4-FFF2-40B4-BE49-F238E27FC236}">
                <a16:creationId xmlns:a16="http://schemas.microsoft.com/office/drawing/2014/main" id="{AA18AE49-5350-4821-B6FC-E3B784100169}"/>
              </a:ext>
            </a:extLst>
          </p:cNvPr>
          <p:cNvSpPr>
            <a:spLocks/>
          </p:cNvSpPr>
          <p:nvPr/>
        </p:nvSpPr>
        <p:spPr bwMode="gray">
          <a:xfrm>
            <a:off x="2763811" y="3526518"/>
            <a:ext cx="12045" cy="11683"/>
          </a:xfrm>
          <a:custGeom>
            <a:avLst/>
            <a:gdLst>
              <a:gd name="T0" fmla="*/ 6 w 6"/>
              <a:gd name="T1" fmla="*/ 5 h 6"/>
              <a:gd name="T2" fmla="*/ 0 w 6"/>
              <a:gd name="T3" fmla="*/ 0 h 6"/>
              <a:gd name="T4" fmla="*/ 6 w 6"/>
              <a:gd name="T5" fmla="*/ 6 h 6"/>
              <a:gd name="T6" fmla="*/ 6 w 6"/>
              <a:gd name="T7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6">
                <a:moveTo>
                  <a:pt x="6" y="5"/>
                </a:moveTo>
                <a:lnTo>
                  <a:pt x="0" y="0"/>
                </a:lnTo>
                <a:lnTo>
                  <a:pt x="6" y="6"/>
                </a:lnTo>
                <a:lnTo>
                  <a:pt x="6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0" name="Freeform 189">
            <a:extLst>
              <a:ext uri="{FF2B5EF4-FFF2-40B4-BE49-F238E27FC236}">
                <a16:creationId xmlns:a16="http://schemas.microsoft.com/office/drawing/2014/main" id="{BC683C89-262B-40B1-80C5-2372D7E55F68}"/>
              </a:ext>
            </a:extLst>
          </p:cNvPr>
          <p:cNvSpPr>
            <a:spLocks/>
          </p:cNvSpPr>
          <p:nvPr/>
        </p:nvSpPr>
        <p:spPr bwMode="gray">
          <a:xfrm>
            <a:off x="2048060" y="3516779"/>
            <a:ext cx="130763" cy="147985"/>
          </a:xfrm>
          <a:custGeom>
            <a:avLst/>
            <a:gdLst>
              <a:gd name="T0" fmla="*/ 26 w 67"/>
              <a:gd name="T1" fmla="*/ 17 h 67"/>
              <a:gd name="T2" fmla="*/ 20 w 67"/>
              <a:gd name="T3" fmla="*/ 19 h 67"/>
              <a:gd name="T4" fmla="*/ 14 w 67"/>
              <a:gd name="T5" fmla="*/ 23 h 67"/>
              <a:gd name="T6" fmla="*/ 8 w 67"/>
              <a:gd name="T7" fmla="*/ 32 h 67"/>
              <a:gd name="T8" fmla="*/ 6 w 67"/>
              <a:gd name="T9" fmla="*/ 32 h 67"/>
              <a:gd name="T10" fmla="*/ 0 w 67"/>
              <a:gd name="T11" fmla="*/ 33 h 67"/>
              <a:gd name="T12" fmla="*/ 13 w 67"/>
              <a:gd name="T13" fmla="*/ 48 h 67"/>
              <a:gd name="T14" fmla="*/ 25 w 67"/>
              <a:gd name="T15" fmla="*/ 63 h 67"/>
              <a:gd name="T16" fmla="*/ 46 w 67"/>
              <a:gd name="T17" fmla="*/ 67 h 67"/>
              <a:gd name="T18" fmla="*/ 54 w 67"/>
              <a:gd name="T19" fmla="*/ 66 h 67"/>
              <a:gd name="T20" fmla="*/ 54 w 67"/>
              <a:gd name="T21" fmla="*/ 55 h 67"/>
              <a:gd name="T22" fmla="*/ 55 w 67"/>
              <a:gd name="T23" fmla="*/ 47 h 67"/>
              <a:gd name="T24" fmla="*/ 58 w 67"/>
              <a:gd name="T25" fmla="*/ 37 h 67"/>
              <a:gd name="T26" fmla="*/ 59 w 67"/>
              <a:gd name="T27" fmla="*/ 41 h 67"/>
              <a:gd name="T28" fmla="*/ 61 w 67"/>
              <a:gd name="T29" fmla="*/ 27 h 67"/>
              <a:gd name="T30" fmla="*/ 62 w 67"/>
              <a:gd name="T31" fmla="*/ 15 h 67"/>
              <a:gd name="T32" fmla="*/ 62 w 67"/>
              <a:gd name="T33" fmla="*/ 3 h 67"/>
              <a:gd name="T34" fmla="*/ 67 w 67"/>
              <a:gd name="T35" fmla="*/ 0 h 67"/>
              <a:gd name="T36" fmla="*/ 55 w 67"/>
              <a:gd name="T37" fmla="*/ 2 h 67"/>
              <a:gd name="T38" fmla="*/ 43 w 67"/>
              <a:gd name="T39" fmla="*/ 3 h 67"/>
              <a:gd name="T40" fmla="*/ 26 w 67"/>
              <a:gd name="T41" fmla="*/ 1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7" h="67">
                <a:moveTo>
                  <a:pt x="26" y="17"/>
                </a:moveTo>
                <a:lnTo>
                  <a:pt x="20" y="19"/>
                </a:lnTo>
                <a:lnTo>
                  <a:pt x="14" y="23"/>
                </a:lnTo>
                <a:lnTo>
                  <a:pt x="8" y="32"/>
                </a:lnTo>
                <a:lnTo>
                  <a:pt x="6" y="32"/>
                </a:lnTo>
                <a:lnTo>
                  <a:pt x="0" y="33"/>
                </a:lnTo>
                <a:lnTo>
                  <a:pt x="13" y="48"/>
                </a:lnTo>
                <a:lnTo>
                  <a:pt x="25" y="63"/>
                </a:lnTo>
                <a:lnTo>
                  <a:pt x="46" y="67"/>
                </a:lnTo>
                <a:lnTo>
                  <a:pt x="54" y="66"/>
                </a:lnTo>
                <a:lnTo>
                  <a:pt x="54" y="55"/>
                </a:lnTo>
                <a:lnTo>
                  <a:pt x="55" y="47"/>
                </a:lnTo>
                <a:lnTo>
                  <a:pt x="58" y="37"/>
                </a:lnTo>
                <a:lnTo>
                  <a:pt x="59" y="41"/>
                </a:lnTo>
                <a:lnTo>
                  <a:pt x="61" y="27"/>
                </a:lnTo>
                <a:lnTo>
                  <a:pt x="62" y="15"/>
                </a:lnTo>
                <a:lnTo>
                  <a:pt x="62" y="3"/>
                </a:lnTo>
                <a:lnTo>
                  <a:pt x="67" y="0"/>
                </a:lnTo>
                <a:lnTo>
                  <a:pt x="55" y="2"/>
                </a:lnTo>
                <a:lnTo>
                  <a:pt x="43" y="3"/>
                </a:lnTo>
                <a:lnTo>
                  <a:pt x="26" y="1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1" name="Freeform 190">
            <a:extLst>
              <a:ext uri="{FF2B5EF4-FFF2-40B4-BE49-F238E27FC236}">
                <a16:creationId xmlns:a16="http://schemas.microsoft.com/office/drawing/2014/main" id="{3F89EFAD-2063-4F34-9EAC-12FC23BC59BF}"/>
              </a:ext>
            </a:extLst>
          </p:cNvPr>
          <p:cNvSpPr>
            <a:spLocks/>
          </p:cNvSpPr>
          <p:nvPr/>
        </p:nvSpPr>
        <p:spPr bwMode="gray">
          <a:xfrm>
            <a:off x="2763811" y="3577143"/>
            <a:ext cx="5161" cy="5841"/>
          </a:xfrm>
          <a:custGeom>
            <a:avLst/>
            <a:gdLst>
              <a:gd name="T0" fmla="*/ 1 w 1"/>
              <a:gd name="T1" fmla="*/ 4 h 4"/>
              <a:gd name="T2" fmla="*/ 1 w 1"/>
              <a:gd name="T3" fmla="*/ 0 h 4"/>
              <a:gd name="T4" fmla="*/ 0 w 1"/>
              <a:gd name="T5" fmla="*/ 1 h 4"/>
              <a:gd name="T6" fmla="*/ 1 w 1"/>
              <a:gd name="T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4">
                <a:moveTo>
                  <a:pt x="1" y="4"/>
                </a:moveTo>
                <a:lnTo>
                  <a:pt x="1" y="0"/>
                </a:lnTo>
                <a:lnTo>
                  <a:pt x="0" y="1"/>
                </a:lnTo>
                <a:lnTo>
                  <a:pt x="1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2" name="Freeform 191">
            <a:extLst>
              <a:ext uri="{FF2B5EF4-FFF2-40B4-BE49-F238E27FC236}">
                <a16:creationId xmlns:a16="http://schemas.microsoft.com/office/drawing/2014/main" id="{76AD39BE-B80A-498A-98C9-C4C5D702C69C}"/>
              </a:ext>
            </a:extLst>
          </p:cNvPr>
          <p:cNvSpPr>
            <a:spLocks/>
          </p:cNvSpPr>
          <p:nvPr/>
        </p:nvSpPr>
        <p:spPr bwMode="gray">
          <a:xfrm>
            <a:off x="2732841" y="3442789"/>
            <a:ext cx="5161" cy="5841"/>
          </a:xfrm>
          <a:custGeom>
            <a:avLst/>
            <a:gdLst>
              <a:gd name="T0" fmla="*/ 0 w 1"/>
              <a:gd name="T1" fmla="*/ 1 h 1"/>
              <a:gd name="T2" fmla="*/ 0 w 1"/>
              <a:gd name="T3" fmla="*/ 0 h 1"/>
              <a:gd name="T4" fmla="*/ 1 w 1"/>
              <a:gd name="T5" fmla="*/ 0 h 1"/>
              <a:gd name="T6" fmla="*/ 0 w 1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0"/>
                </a:lnTo>
                <a:lnTo>
                  <a:pt x="1" y="0"/>
                </a:lnTo>
                <a:lnTo>
                  <a:pt x="0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3" name="Freeform 192">
            <a:extLst>
              <a:ext uri="{FF2B5EF4-FFF2-40B4-BE49-F238E27FC236}">
                <a16:creationId xmlns:a16="http://schemas.microsoft.com/office/drawing/2014/main" id="{73F8AFA5-266E-4139-B7E1-EBE93F0CA217}"/>
              </a:ext>
            </a:extLst>
          </p:cNvPr>
          <p:cNvSpPr>
            <a:spLocks/>
          </p:cNvSpPr>
          <p:nvPr/>
        </p:nvSpPr>
        <p:spPr bwMode="gray">
          <a:xfrm>
            <a:off x="2729401" y="3435000"/>
            <a:ext cx="3441" cy="3894"/>
          </a:xfrm>
          <a:custGeom>
            <a:avLst/>
            <a:gdLst>
              <a:gd name="T0" fmla="*/ 4 w 4"/>
              <a:gd name="T1" fmla="*/ 3 h 3"/>
              <a:gd name="T2" fmla="*/ 0 w 4"/>
              <a:gd name="T3" fmla="*/ 0 h 3"/>
              <a:gd name="T4" fmla="*/ 3 w 4"/>
              <a:gd name="T5" fmla="*/ 3 h 3"/>
              <a:gd name="T6" fmla="*/ 4 w 4"/>
              <a:gd name="T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3">
                <a:moveTo>
                  <a:pt x="4" y="3"/>
                </a:moveTo>
                <a:lnTo>
                  <a:pt x="0" y="0"/>
                </a:lnTo>
                <a:lnTo>
                  <a:pt x="3" y="3"/>
                </a:lnTo>
                <a:lnTo>
                  <a:pt x="4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4" name="Freeform 193">
            <a:extLst>
              <a:ext uri="{FF2B5EF4-FFF2-40B4-BE49-F238E27FC236}">
                <a16:creationId xmlns:a16="http://schemas.microsoft.com/office/drawing/2014/main" id="{8D3ED86E-F698-454E-ABE5-AA680A183B42}"/>
              </a:ext>
            </a:extLst>
          </p:cNvPr>
          <p:cNvSpPr>
            <a:spLocks/>
          </p:cNvSpPr>
          <p:nvPr/>
        </p:nvSpPr>
        <p:spPr bwMode="gray">
          <a:xfrm>
            <a:off x="2753487" y="3473943"/>
            <a:ext cx="6882" cy="7789"/>
          </a:xfrm>
          <a:custGeom>
            <a:avLst/>
            <a:gdLst>
              <a:gd name="T0" fmla="*/ 3 w 4"/>
              <a:gd name="T1" fmla="*/ 0 h 4"/>
              <a:gd name="T2" fmla="*/ 4 w 4"/>
              <a:gd name="T3" fmla="*/ 0 h 4"/>
              <a:gd name="T4" fmla="*/ 0 w 4"/>
              <a:gd name="T5" fmla="*/ 4 h 4"/>
              <a:gd name="T6" fmla="*/ 3 w 4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4">
                <a:moveTo>
                  <a:pt x="3" y="0"/>
                </a:moveTo>
                <a:lnTo>
                  <a:pt x="4" y="0"/>
                </a:lnTo>
                <a:lnTo>
                  <a:pt x="0" y="4"/>
                </a:lnTo>
                <a:lnTo>
                  <a:pt x="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5" name="Freeform 194">
            <a:extLst>
              <a:ext uri="{FF2B5EF4-FFF2-40B4-BE49-F238E27FC236}">
                <a16:creationId xmlns:a16="http://schemas.microsoft.com/office/drawing/2014/main" id="{D4063339-9774-48C6-8792-DB8B2B469CDD}"/>
              </a:ext>
            </a:extLst>
          </p:cNvPr>
          <p:cNvSpPr>
            <a:spLocks/>
          </p:cNvSpPr>
          <p:nvPr/>
        </p:nvSpPr>
        <p:spPr bwMode="gray">
          <a:xfrm>
            <a:off x="2722517" y="3403846"/>
            <a:ext cx="6882" cy="5841"/>
          </a:xfrm>
          <a:custGeom>
            <a:avLst/>
            <a:gdLst>
              <a:gd name="T0" fmla="*/ 3 w 3"/>
              <a:gd name="T1" fmla="*/ 0 h 2"/>
              <a:gd name="T2" fmla="*/ 2 w 3"/>
              <a:gd name="T3" fmla="*/ 0 h 2"/>
              <a:gd name="T4" fmla="*/ 2 w 3"/>
              <a:gd name="T5" fmla="*/ 1 h 2"/>
              <a:gd name="T6" fmla="*/ 1 w 3"/>
              <a:gd name="T7" fmla="*/ 1 h 2"/>
              <a:gd name="T8" fmla="*/ 0 w 3"/>
              <a:gd name="T9" fmla="*/ 1 h 2"/>
              <a:gd name="T10" fmla="*/ 0 w 3"/>
              <a:gd name="T11" fmla="*/ 2 h 2"/>
              <a:gd name="T12" fmla="*/ 0 w 3"/>
              <a:gd name="T13" fmla="*/ 1 h 2"/>
              <a:gd name="T14" fmla="*/ 0 w 3"/>
              <a:gd name="T15" fmla="*/ 2 h 2"/>
              <a:gd name="T16" fmla="*/ 1 w 3"/>
              <a:gd name="T17" fmla="*/ 2 h 2"/>
              <a:gd name="T18" fmla="*/ 1 w 3"/>
              <a:gd name="T19" fmla="*/ 1 h 2"/>
              <a:gd name="T20" fmla="*/ 2 w 3"/>
              <a:gd name="T21" fmla="*/ 1 h 2"/>
              <a:gd name="T22" fmla="*/ 3 w 3"/>
              <a:gd name="T23" fmla="*/ 1 h 2"/>
              <a:gd name="T24" fmla="*/ 3 w 3"/>
              <a:gd name="T2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" h="2">
                <a:moveTo>
                  <a:pt x="3" y="0"/>
                </a:moveTo>
                <a:lnTo>
                  <a:pt x="2" y="0"/>
                </a:lnTo>
                <a:lnTo>
                  <a:pt x="2" y="1"/>
                </a:lnTo>
                <a:lnTo>
                  <a:pt x="1" y="1"/>
                </a:lnTo>
                <a:lnTo>
                  <a:pt x="0" y="1"/>
                </a:lnTo>
                <a:lnTo>
                  <a:pt x="0" y="2"/>
                </a:lnTo>
                <a:lnTo>
                  <a:pt x="0" y="1"/>
                </a:lnTo>
                <a:lnTo>
                  <a:pt x="0" y="2"/>
                </a:lnTo>
                <a:lnTo>
                  <a:pt x="1" y="2"/>
                </a:lnTo>
                <a:lnTo>
                  <a:pt x="1" y="1"/>
                </a:lnTo>
                <a:lnTo>
                  <a:pt x="2" y="1"/>
                </a:lnTo>
                <a:lnTo>
                  <a:pt x="3" y="1"/>
                </a:lnTo>
                <a:lnTo>
                  <a:pt x="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6" name="Freeform 195">
            <a:extLst>
              <a:ext uri="{FF2B5EF4-FFF2-40B4-BE49-F238E27FC236}">
                <a16:creationId xmlns:a16="http://schemas.microsoft.com/office/drawing/2014/main" id="{0A08A4DC-877A-4856-AEE4-0C8ABE133B46}"/>
              </a:ext>
            </a:extLst>
          </p:cNvPr>
          <p:cNvSpPr>
            <a:spLocks/>
          </p:cNvSpPr>
          <p:nvPr/>
        </p:nvSpPr>
        <p:spPr bwMode="gray">
          <a:xfrm>
            <a:off x="2753487" y="3442789"/>
            <a:ext cx="6882" cy="5841"/>
          </a:xfrm>
          <a:custGeom>
            <a:avLst/>
            <a:gdLst>
              <a:gd name="T0" fmla="*/ 2 w 4"/>
              <a:gd name="T1" fmla="*/ 0 h 2"/>
              <a:gd name="T2" fmla="*/ 2 w 4"/>
              <a:gd name="T3" fmla="*/ 1 h 2"/>
              <a:gd name="T4" fmla="*/ 0 w 4"/>
              <a:gd name="T5" fmla="*/ 2 h 2"/>
              <a:gd name="T6" fmla="*/ 4 w 4"/>
              <a:gd name="T7" fmla="*/ 2 h 2"/>
              <a:gd name="T8" fmla="*/ 2 w 4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2">
                <a:moveTo>
                  <a:pt x="2" y="0"/>
                </a:moveTo>
                <a:lnTo>
                  <a:pt x="2" y="1"/>
                </a:lnTo>
                <a:lnTo>
                  <a:pt x="0" y="2"/>
                </a:lnTo>
                <a:lnTo>
                  <a:pt x="4" y="2"/>
                </a:lnTo>
                <a:lnTo>
                  <a:pt x="2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7" name="Freeform 196">
            <a:extLst>
              <a:ext uri="{FF2B5EF4-FFF2-40B4-BE49-F238E27FC236}">
                <a16:creationId xmlns:a16="http://schemas.microsoft.com/office/drawing/2014/main" id="{88E4E2DE-F998-4845-B467-5B0FA9D80CF2}"/>
              </a:ext>
            </a:extLst>
          </p:cNvPr>
          <p:cNvSpPr>
            <a:spLocks/>
          </p:cNvSpPr>
          <p:nvPr/>
        </p:nvSpPr>
        <p:spPr bwMode="gray">
          <a:xfrm>
            <a:off x="2756929" y="3425263"/>
            <a:ext cx="3441" cy="5841"/>
          </a:xfrm>
          <a:custGeom>
            <a:avLst/>
            <a:gdLst>
              <a:gd name="T0" fmla="*/ 1 w 1"/>
              <a:gd name="T1" fmla="*/ 1 h 2"/>
              <a:gd name="T2" fmla="*/ 1 w 1"/>
              <a:gd name="T3" fmla="*/ 2 h 2"/>
              <a:gd name="T4" fmla="*/ 0 w 1"/>
              <a:gd name="T5" fmla="*/ 0 h 2"/>
              <a:gd name="T6" fmla="*/ 1 w 1"/>
              <a:gd name="T7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2">
                <a:moveTo>
                  <a:pt x="1" y="1"/>
                </a:moveTo>
                <a:lnTo>
                  <a:pt x="1" y="2"/>
                </a:lnTo>
                <a:lnTo>
                  <a:pt x="0" y="0"/>
                </a:lnTo>
                <a:lnTo>
                  <a:pt x="1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8" name="Freeform 197">
            <a:extLst>
              <a:ext uri="{FF2B5EF4-FFF2-40B4-BE49-F238E27FC236}">
                <a16:creationId xmlns:a16="http://schemas.microsoft.com/office/drawing/2014/main" id="{1F8322BB-BC00-4129-9020-57981265ECDC}"/>
              </a:ext>
            </a:extLst>
          </p:cNvPr>
          <p:cNvSpPr>
            <a:spLocks/>
          </p:cNvSpPr>
          <p:nvPr/>
        </p:nvSpPr>
        <p:spPr bwMode="gray">
          <a:xfrm>
            <a:off x="2017089" y="3396057"/>
            <a:ext cx="34410" cy="91516"/>
          </a:xfrm>
          <a:custGeom>
            <a:avLst/>
            <a:gdLst>
              <a:gd name="T0" fmla="*/ 11 w 19"/>
              <a:gd name="T1" fmla="*/ 34 h 42"/>
              <a:gd name="T2" fmla="*/ 4 w 19"/>
              <a:gd name="T3" fmla="*/ 42 h 42"/>
              <a:gd name="T4" fmla="*/ 0 w 19"/>
              <a:gd name="T5" fmla="*/ 42 h 42"/>
              <a:gd name="T6" fmla="*/ 3 w 19"/>
              <a:gd name="T7" fmla="*/ 27 h 42"/>
              <a:gd name="T8" fmla="*/ 5 w 19"/>
              <a:gd name="T9" fmla="*/ 11 h 42"/>
              <a:gd name="T10" fmla="*/ 18 w 19"/>
              <a:gd name="T11" fmla="*/ 0 h 42"/>
              <a:gd name="T12" fmla="*/ 19 w 19"/>
              <a:gd name="T13" fmla="*/ 3 h 42"/>
              <a:gd name="T14" fmla="*/ 16 w 19"/>
              <a:gd name="T15" fmla="*/ 18 h 42"/>
              <a:gd name="T16" fmla="*/ 11 w 19"/>
              <a:gd name="T17" fmla="*/ 34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" h="42">
                <a:moveTo>
                  <a:pt x="11" y="34"/>
                </a:moveTo>
                <a:lnTo>
                  <a:pt x="4" y="42"/>
                </a:lnTo>
                <a:lnTo>
                  <a:pt x="0" y="42"/>
                </a:lnTo>
                <a:lnTo>
                  <a:pt x="3" y="27"/>
                </a:lnTo>
                <a:lnTo>
                  <a:pt x="5" y="11"/>
                </a:lnTo>
                <a:lnTo>
                  <a:pt x="18" y="0"/>
                </a:lnTo>
                <a:lnTo>
                  <a:pt x="19" y="3"/>
                </a:lnTo>
                <a:lnTo>
                  <a:pt x="16" y="18"/>
                </a:lnTo>
                <a:lnTo>
                  <a:pt x="11" y="3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9" name="Freeform 198">
            <a:extLst>
              <a:ext uri="{FF2B5EF4-FFF2-40B4-BE49-F238E27FC236}">
                <a16:creationId xmlns:a16="http://schemas.microsoft.com/office/drawing/2014/main" id="{53A7E327-1637-4CE8-B21F-84152D42E986}"/>
              </a:ext>
            </a:extLst>
          </p:cNvPr>
          <p:cNvSpPr>
            <a:spLocks/>
          </p:cNvSpPr>
          <p:nvPr/>
        </p:nvSpPr>
        <p:spPr bwMode="gray">
          <a:xfrm>
            <a:off x="1929342" y="3421370"/>
            <a:ext cx="111836" cy="144091"/>
          </a:xfrm>
          <a:custGeom>
            <a:avLst/>
            <a:gdLst>
              <a:gd name="T0" fmla="*/ 6 w 58"/>
              <a:gd name="T1" fmla="*/ 58 h 66"/>
              <a:gd name="T2" fmla="*/ 0 w 58"/>
              <a:gd name="T3" fmla="*/ 53 h 66"/>
              <a:gd name="T4" fmla="*/ 2 w 58"/>
              <a:gd name="T5" fmla="*/ 41 h 66"/>
              <a:gd name="T6" fmla="*/ 10 w 58"/>
              <a:gd name="T7" fmla="*/ 29 h 66"/>
              <a:gd name="T8" fmla="*/ 28 w 58"/>
              <a:gd name="T9" fmla="*/ 25 h 66"/>
              <a:gd name="T10" fmla="*/ 19 w 58"/>
              <a:gd name="T11" fmla="*/ 11 h 66"/>
              <a:gd name="T12" fmla="*/ 22 w 58"/>
              <a:gd name="T13" fmla="*/ 10 h 66"/>
              <a:gd name="T14" fmla="*/ 24 w 58"/>
              <a:gd name="T15" fmla="*/ 0 h 66"/>
              <a:gd name="T16" fmla="*/ 37 w 58"/>
              <a:gd name="T17" fmla="*/ 0 h 66"/>
              <a:gd name="T18" fmla="*/ 50 w 58"/>
              <a:gd name="T19" fmla="*/ 0 h 66"/>
              <a:gd name="T20" fmla="*/ 48 w 58"/>
              <a:gd name="T21" fmla="*/ 16 h 66"/>
              <a:gd name="T22" fmla="*/ 45 w 58"/>
              <a:gd name="T23" fmla="*/ 31 h 66"/>
              <a:gd name="T24" fmla="*/ 49 w 58"/>
              <a:gd name="T25" fmla="*/ 31 h 66"/>
              <a:gd name="T26" fmla="*/ 55 w 58"/>
              <a:gd name="T27" fmla="*/ 33 h 66"/>
              <a:gd name="T28" fmla="*/ 58 w 58"/>
              <a:gd name="T29" fmla="*/ 34 h 66"/>
              <a:gd name="T30" fmla="*/ 49 w 58"/>
              <a:gd name="T31" fmla="*/ 42 h 66"/>
              <a:gd name="T32" fmla="*/ 40 w 58"/>
              <a:gd name="T33" fmla="*/ 55 h 66"/>
              <a:gd name="T34" fmla="*/ 30 w 58"/>
              <a:gd name="T35" fmla="*/ 66 h 66"/>
              <a:gd name="T36" fmla="*/ 18 w 58"/>
              <a:gd name="T37" fmla="*/ 63 h 66"/>
              <a:gd name="T38" fmla="*/ 6 w 58"/>
              <a:gd name="T39" fmla="*/ 58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8" h="66">
                <a:moveTo>
                  <a:pt x="6" y="58"/>
                </a:moveTo>
                <a:lnTo>
                  <a:pt x="0" y="53"/>
                </a:lnTo>
                <a:lnTo>
                  <a:pt x="2" y="41"/>
                </a:lnTo>
                <a:lnTo>
                  <a:pt x="10" y="29"/>
                </a:lnTo>
                <a:lnTo>
                  <a:pt x="28" y="25"/>
                </a:lnTo>
                <a:lnTo>
                  <a:pt x="19" y="11"/>
                </a:lnTo>
                <a:lnTo>
                  <a:pt x="22" y="10"/>
                </a:lnTo>
                <a:lnTo>
                  <a:pt x="24" y="0"/>
                </a:lnTo>
                <a:lnTo>
                  <a:pt x="37" y="0"/>
                </a:lnTo>
                <a:lnTo>
                  <a:pt x="50" y="0"/>
                </a:lnTo>
                <a:lnTo>
                  <a:pt x="48" y="16"/>
                </a:lnTo>
                <a:lnTo>
                  <a:pt x="45" y="31"/>
                </a:lnTo>
                <a:lnTo>
                  <a:pt x="49" y="31"/>
                </a:lnTo>
                <a:lnTo>
                  <a:pt x="55" y="33"/>
                </a:lnTo>
                <a:lnTo>
                  <a:pt x="58" y="34"/>
                </a:lnTo>
                <a:lnTo>
                  <a:pt x="49" y="42"/>
                </a:lnTo>
                <a:lnTo>
                  <a:pt x="40" y="55"/>
                </a:lnTo>
                <a:lnTo>
                  <a:pt x="30" y="66"/>
                </a:lnTo>
                <a:lnTo>
                  <a:pt x="18" y="63"/>
                </a:lnTo>
                <a:lnTo>
                  <a:pt x="6" y="5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0" name="Freeform 199">
            <a:extLst>
              <a:ext uri="{FF2B5EF4-FFF2-40B4-BE49-F238E27FC236}">
                <a16:creationId xmlns:a16="http://schemas.microsoft.com/office/drawing/2014/main" id="{7FCEF11B-9397-4414-A257-FC0E86095E0B}"/>
              </a:ext>
            </a:extLst>
          </p:cNvPr>
          <p:cNvSpPr>
            <a:spLocks/>
          </p:cNvSpPr>
          <p:nvPr/>
        </p:nvSpPr>
        <p:spPr bwMode="gray">
          <a:xfrm>
            <a:off x="2316465" y="3396057"/>
            <a:ext cx="56778" cy="25313"/>
          </a:xfrm>
          <a:custGeom>
            <a:avLst/>
            <a:gdLst>
              <a:gd name="T0" fmla="*/ 12 w 30"/>
              <a:gd name="T1" fmla="*/ 0 h 11"/>
              <a:gd name="T2" fmla="*/ 0 w 30"/>
              <a:gd name="T3" fmla="*/ 5 h 11"/>
              <a:gd name="T4" fmla="*/ 17 w 30"/>
              <a:gd name="T5" fmla="*/ 11 h 11"/>
              <a:gd name="T6" fmla="*/ 30 w 30"/>
              <a:gd name="T7" fmla="*/ 10 h 11"/>
              <a:gd name="T8" fmla="*/ 12 w 30"/>
              <a:gd name="T9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11">
                <a:moveTo>
                  <a:pt x="12" y="0"/>
                </a:moveTo>
                <a:lnTo>
                  <a:pt x="0" y="5"/>
                </a:lnTo>
                <a:lnTo>
                  <a:pt x="17" y="11"/>
                </a:lnTo>
                <a:lnTo>
                  <a:pt x="30" y="10"/>
                </a:lnTo>
                <a:lnTo>
                  <a:pt x="12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1" name="Freeform 200">
            <a:extLst>
              <a:ext uri="{FF2B5EF4-FFF2-40B4-BE49-F238E27FC236}">
                <a16:creationId xmlns:a16="http://schemas.microsoft.com/office/drawing/2014/main" id="{77CD3247-498C-447D-9B82-537D8868EA10}"/>
              </a:ext>
            </a:extLst>
          </p:cNvPr>
          <p:cNvSpPr>
            <a:spLocks/>
          </p:cNvSpPr>
          <p:nvPr/>
        </p:nvSpPr>
        <p:spPr bwMode="gray">
          <a:xfrm>
            <a:off x="2614122" y="3396057"/>
            <a:ext cx="43014" cy="17526"/>
          </a:xfrm>
          <a:custGeom>
            <a:avLst/>
            <a:gdLst>
              <a:gd name="T0" fmla="*/ 22 w 22"/>
              <a:gd name="T1" fmla="*/ 5 h 9"/>
              <a:gd name="T2" fmla="*/ 21 w 22"/>
              <a:gd name="T3" fmla="*/ 5 h 9"/>
              <a:gd name="T4" fmla="*/ 5 w 22"/>
              <a:gd name="T5" fmla="*/ 9 h 9"/>
              <a:gd name="T6" fmla="*/ 0 w 22"/>
              <a:gd name="T7" fmla="*/ 6 h 9"/>
              <a:gd name="T8" fmla="*/ 2 w 22"/>
              <a:gd name="T9" fmla="*/ 0 h 9"/>
              <a:gd name="T10" fmla="*/ 22 w 22"/>
              <a:gd name="T11" fmla="*/ 5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" h="9">
                <a:moveTo>
                  <a:pt x="22" y="5"/>
                </a:moveTo>
                <a:lnTo>
                  <a:pt x="21" y="5"/>
                </a:lnTo>
                <a:lnTo>
                  <a:pt x="5" y="9"/>
                </a:lnTo>
                <a:lnTo>
                  <a:pt x="0" y="6"/>
                </a:lnTo>
                <a:lnTo>
                  <a:pt x="2" y="0"/>
                </a:lnTo>
                <a:lnTo>
                  <a:pt x="22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2" name="Freeform 201">
            <a:extLst>
              <a:ext uri="{FF2B5EF4-FFF2-40B4-BE49-F238E27FC236}">
                <a16:creationId xmlns:a16="http://schemas.microsoft.com/office/drawing/2014/main" id="{24B0C6FF-BC7A-4BE3-BF86-315FC4580348}"/>
              </a:ext>
            </a:extLst>
          </p:cNvPr>
          <p:cNvSpPr>
            <a:spLocks/>
          </p:cNvSpPr>
          <p:nvPr/>
        </p:nvSpPr>
        <p:spPr bwMode="gray">
          <a:xfrm>
            <a:off x="2676062" y="3421370"/>
            <a:ext cx="8604" cy="3894"/>
          </a:xfrm>
          <a:custGeom>
            <a:avLst/>
            <a:gdLst>
              <a:gd name="T0" fmla="*/ 4 w 4"/>
              <a:gd name="T1" fmla="*/ 1 h 3"/>
              <a:gd name="T2" fmla="*/ 1 w 4"/>
              <a:gd name="T3" fmla="*/ 0 h 3"/>
              <a:gd name="T4" fmla="*/ 0 w 4"/>
              <a:gd name="T5" fmla="*/ 3 h 3"/>
              <a:gd name="T6" fmla="*/ 4 w 4"/>
              <a:gd name="T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3">
                <a:moveTo>
                  <a:pt x="4" y="1"/>
                </a:moveTo>
                <a:lnTo>
                  <a:pt x="1" y="0"/>
                </a:lnTo>
                <a:lnTo>
                  <a:pt x="0" y="3"/>
                </a:lnTo>
                <a:lnTo>
                  <a:pt x="4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3" name="Freeform 202">
            <a:extLst>
              <a:ext uri="{FF2B5EF4-FFF2-40B4-BE49-F238E27FC236}">
                <a16:creationId xmlns:a16="http://schemas.microsoft.com/office/drawing/2014/main" id="{0E2944B2-6B9B-4BDB-A2E7-6893FA95895E}"/>
              </a:ext>
            </a:extLst>
          </p:cNvPr>
          <p:cNvSpPr>
            <a:spLocks/>
          </p:cNvSpPr>
          <p:nvPr/>
        </p:nvSpPr>
        <p:spPr bwMode="gray">
          <a:xfrm>
            <a:off x="1385646" y="2901479"/>
            <a:ext cx="715751" cy="632828"/>
          </a:xfrm>
          <a:custGeom>
            <a:avLst/>
            <a:gdLst>
              <a:gd name="T0" fmla="*/ 48 w 376"/>
              <a:gd name="T1" fmla="*/ 141 h 292"/>
              <a:gd name="T2" fmla="*/ 31 w 376"/>
              <a:gd name="T3" fmla="*/ 102 h 292"/>
              <a:gd name="T4" fmla="*/ 12 w 376"/>
              <a:gd name="T5" fmla="*/ 86 h 292"/>
              <a:gd name="T6" fmla="*/ 19 w 376"/>
              <a:gd name="T7" fmla="*/ 64 h 292"/>
              <a:gd name="T8" fmla="*/ 3 w 376"/>
              <a:gd name="T9" fmla="*/ 23 h 292"/>
              <a:gd name="T10" fmla="*/ 33 w 376"/>
              <a:gd name="T11" fmla="*/ 0 h 292"/>
              <a:gd name="T12" fmla="*/ 65 w 376"/>
              <a:gd name="T13" fmla="*/ 17 h 292"/>
              <a:gd name="T14" fmla="*/ 114 w 376"/>
              <a:gd name="T15" fmla="*/ 22 h 292"/>
              <a:gd name="T16" fmla="*/ 151 w 376"/>
              <a:gd name="T17" fmla="*/ 30 h 292"/>
              <a:gd name="T18" fmla="*/ 172 w 376"/>
              <a:gd name="T19" fmla="*/ 59 h 292"/>
              <a:gd name="T20" fmla="*/ 207 w 376"/>
              <a:gd name="T21" fmla="*/ 64 h 292"/>
              <a:gd name="T22" fmla="*/ 227 w 376"/>
              <a:gd name="T23" fmla="*/ 105 h 292"/>
              <a:gd name="T24" fmla="*/ 227 w 376"/>
              <a:gd name="T25" fmla="*/ 152 h 292"/>
              <a:gd name="T26" fmla="*/ 234 w 376"/>
              <a:gd name="T27" fmla="*/ 203 h 292"/>
              <a:gd name="T28" fmla="*/ 245 w 376"/>
              <a:gd name="T29" fmla="*/ 225 h 292"/>
              <a:gd name="T30" fmla="*/ 287 w 376"/>
              <a:gd name="T31" fmla="*/ 227 h 292"/>
              <a:gd name="T32" fmla="*/ 307 w 376"/>
              <a:gd name="T33" fmla="*/ 225 h 292"/>
              <a:gd name="T34" fmla="*/ 324 w 376"/>
              <a:gd name="T35" fmla="*/ 191 h 292"/>
              <a:gd name="T36" fmla="*/ 365 w 376"/>
              <a:gd name="T37" fmla="*/ 180 h 292"/>
              <a:gd name="T38" fmla="*/ 376 w 376"/>
              <a:gd name="T39" fmla="*/ 186 h 292"/>
              <a:gd name="T40" fmla="*/ 360 w 376"/>
              <a:gd name="T41" fmla="*/ 214 h 292"/>
              <a:gd name="T42" fmla="*/ 351 w 376"/>
              <a:gd name="T43" fmla="*/ 225 h 292"/>
              <a:gd name="T44" fmla="*/ 322 w 376"/>
              <a:gd name="T45" fmla="*/ 239 h 292"/>
              <a:gd name="T46" fmla="*/ 304 w 376"/>
              <a:gd name="T47" fmla="*/ 250 h 292"/>
              <a:gd name="T48" fmla="*/ 287 w 376"/>
              <a:gd name="T49" fmla="*/ 280 h 292"/>
              <a:gd name="T50" fmla="*/ 258 w 376"/>
              <a:gd name="T51" fmla="*/ 264 h 292"/>
              <a:gd name="T52" fmla="*/ 249 w 376"/>
              <a:gd name="T53" fmla="*/ 264 h 292"/>
              <a:gd name="T54" fmla="*/ 225 w 376"/>
              <a:gd name="T55" fmla="*/ 273 h 292"/>
              <a:gd name="T56" fmla="*/ 178 w 376"/>
              <a:gd name="T57" fmla="*/ 251 h 292"/>
              <a:gd name="T58" fmla="*/ 143 w 376"/>
              <a:gd name="T59" fmla="*/ 232 h 292"/>
              <a:gd name="T60" fmla="*/ 113 w 376"/>
              <a:gd name="T61" fmla="*/ 208 h 292"/>
              <a:gd name="T62" fmla="*/ 114 w 376"/>
              <a:gd name="T63" fmla="*/ 190 h 292"/>
              <a:gd name="T64" fmla="*/ 108 w 376"/>
              <a:gd name="T65" fmla="*/ 155 h 292"/>
              <a:gd name="T66" fmla="*/ 95 w 376"/>
              <a:gd name="T67" fmla="*/ 134 h 292"/>
              <a:gd name="T68" fmla="*/ 89 w 376"/>
              <a:gd name="T69" fmla="*/ 123 h 292"/>
              <a:gd name="T70" fmla="*/ 75 w 376"/>
              <a:gd name="T71" fmla="*/ 112 h 292"/>
              <a:gd name="T72" fmla="*/ 65 w 376"/>
              <a:gd name="T73" fmla="*/ 81 h 292"/>
              <a:gd name="T74" fmla="*/ 51 w 376"/>
              <a:gd name="T75" fmla="*/ 57 h 292"/>
              <a:gd name="T76" fmla="*/ 36 w 376"/>
              <a:gd name="T77" fmla="*/ 20 h 292"/>
              <a:gd name="T78" fmla="*/ 22 w 376"/>
              <a:gd name="T79" fmla="*/ 47 h 292"/>
              <a:gd name="T80" fmla="*/ 41 w 376"/>
              <a:gd name="T81" fmla="*/ 84 h 292"/>
              <a:gd name="T82" fmla="*/ 48 w 376"/>
              <a:gd name="T83" fmla="*/ 113 h 292"/>
              <a:gd name="T84" fmla="*/ 63 w 376"/>
              <a:gd name="T85" fmla="*/ 144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76" h="292">
                <a:moveTo>
                  <a:pt x="65" y="153"/>
                </a:moveTo>
                <a:lnTo>
                  <a:pt x="55" y="156"/>
                </a:lnTo>
                <a:lnTo>
                  <a:pt x="48" y="141"/>
                </a:lnTo>
                <a:lnTo>
                  <a:pt x="34" y="128"/>
                </a:lnTo>
                <a:lnTo>
                  <a:pt x="36" y="114"/>
                </a:lnTo>
                <a:lnTo>
                  <a:pt x="31" y="102"/>
                </a:lnTo>
                <a:lnTo>
                  <a:pt x="27" y="94"/>
                </a:lnTo>
                <a:lnTo>
                  <a:pt x="18" y="93"/>
                </a:lnTo>
                <a:lnTo>
                  <a:pt x="12" y="86"/>
                </a:lnTo>
                <a:lnTo>
                  <a:pt x="5" y="78"/>
                </a:lnTo>
                <a:lnTo>
                  <a:pt x="17" y="80"/>
                </a:lnTo>
                <a:lnTo>
                  <a:pt x="19" y="64"/>
                </a:lnTo>
                <a:lnTo>
                  <a:pt x="12" y="53"/>
                </a:lnTo>
                <a:lnTo>
                  <a:pt x="4" y="42"/>
                </a:lnTo>
                <a:lnTo>
                  <a:pt x="3" y="23"/>
                </a:lnTo>
                <a:lnTo>
                  <a:pt x="0" y="3"/>
                </a:lnTo>
                <a:lnTo>
                  <a:pt x="17" y="2"/>
                </a:lnTo>
                <a:lnTo>
                  <a:pt x="33" y="0"/>
                </a:lnTo>
                <a:lnTo>
                  <a:pt x="43" y="6"/>
                </a:lnTo>
                <a:lnTo>
                  <a:pt x="54" y="11"/>
                </a:lnTo>
                <a:lnTo>
                  <a:pt x="65" y="17"/>
                </a:lnTo>
                <a:lnTo>
                  <a:pt x="76" y="22"/>
                </a:lnTo>
                <a:lnTo>
                  <a:pt x="95" y="22"/>
                </a:lnTo>
                <a:lnTo>
                  <a:pt x="114" y="22"/>
                </a:lnTo>
                <a:lnTo>
                  <a:pt x="117" y="15"/>
                </a:lnTo>
                <a:lnTo>
                  <a:pt x="139" y="15"/>
                </a:lnTo>
                <a:lnTo>
                  <a:pt x="151" y="30"/>
                </a:lnTo>
                <a:lnTo>
                  <a:pt x="155" y="46"/>
                </a:lnTo>
                <a:lnTo>
                  <a:pt x="163" y="53"/>
                </a:lnTo>
                <a:lnTo>
                  <a:pt x="172" y="59"/>
                </a:lnTo>
                <a:lnTo>
                  <a:pt x="181" y="47"/>
                </a:lnTo>
                <a:lnTo>
                  <a:pt x="201" y="50"/>
                </a:lnTo>
                <a:lnTo>
                  <a:pt x="207" y="64"/>
                </a:lnTo>
                <a:lnTo>
                  <a:pt x="214" y="80"/>
                </a:lnTo>
                <a:lnTo>
                  <a:pt x="219" y="98"/>
                </a:lnTo>
                <a:lnTo>
                  <a:pt x="227" y="105"/>
                </a:lnTo>
                <a:lnTo>
                  <a:pt x="244" y="108"/>
                </a:lnTo>
                <a:lnTo>
                  <a:pt x="235" y="130"/>
                </a:lnTo>
                <a:lnTo>
                  <a:pt x="227" y="152"/>
                </a:lnTo>
                <a:lnTo>
                  <a:pt x="225" y="173"/>
                </a:lnTo>
                <a:lnTo>
                  <a:pt x="229" y="188"/>
                </a:lnTo>
                <a:lnTo>
                  <a:pt x="234" y="203"/>
                </a:lnTo>
                <a:lnTo>
                  <a:pt x="239" y="213"/>
                </a:lnTo>
                <a:lnTo>
                  <a:pt x="243" y="224"/>
                </a:lnTo>
                <a:lnTo>
                  <a:pt x="245" y="225"/>
                </a:lnTo>
                <a:lnTo>
                  <a:pt x="259" y="232"/>
                </a:lnTo>
                <a:lnTo>
                  <a:pt x="271" y="231"/>
                </a:lnTo>
                <a:lnTo>
                  <a:pt x="287" y="227"/>
                </a:lnTo>
                <a:lnTo>
                  <a:pt x="297" y="227"/>
                </a:lnTo>
                <a:lnTo>
                  <a:pt x="303" y="228"/>
                </a:lnTo>
                <a:lnTo>
                  <a:pt x="307" y="225"/>
                </a:lnTo>
                <a:lnTo>
                  <a:pt x="306" y="222"/>
                </a:lnTo>
                <a:lnTo>
                  <a:pt x="317" y="210"/>
                </a:lnTo>
                <a:lnTo>
                  <a:pt x="324" y="191"/>
                </a:lnTo>
                <a:lnTo>
                  <a:pt x="339" y="183"/>
                </a:lnTo>
                <a:lnTo>
                  <a:pt x="352" y="182"/>
                </a:lnTo>
                <a:lnTo>
                  <a:pt x="365" y="180"/>
                </a:lnTo>
                <a:lnTo>
                  <a:pt x="369" y="179"/>
                </a:lnTo>
                <a:lnTo>
                  <a:pt x="375" y="183"/>
                </a:lnTo>
                <a:lnTo>
                  <a:pt x="376" y="186"/>
                </a:lnTo>
                <a:lnTo>
                  <a:pt x="363" y="206"/>
                </a:lnTo>
                <a:lnTo>
                  <a:pt x="360" y="212"/>
                </a:lnTo>
                <a:lnTo>
                  <a:pt x="360" y="214"/>
                </a:lnTo>
                <a:lnTo>
                  <a:pt x="360" y="215"/>
                </a:lnTo>
                <a:lnTo>
                  <a:pt x="353" y="231"/>
                </a:lnTo>
                <a:lnTo>
                  <a:pt x="351" y="225"/>
                </a:lnTo>
                <a:lnTo>
                  <a:pt x="348" y="228"/>
                </a:lnTo>
                <a:lnTo>
                  <a:pt x="335" y="239"/>
                </a:lnTo>
                <a:lnTo>
                  <a:pt x="322" y="239"/>
                </a:lnTo>
                <a:lnTo>
                  <a:pt x="309" y="239"/>
                </a:lnTo>
                <a:lnTo>
                  <a:pt x="307" y="249"/>
                </a:lnTo>
                <a:lnTo>
                  <a:pt x="304" y="250"/>
                </a:lnTo>
                <a:lnTo>
                  <a:pt x="313" y="264"/>
                </a:lnTo>
                <a:lnTo>
                  <a:pt x="295" y="268"/>
                </a:lnTo>
                <a:lnTo>
                  <a:pt x="287" y="280"/>
                </a:lnTo>
                <a:lnTo>
                  <a:pt x="285" y="292"/>
                </a:lnTo>
                <a:lnTo>
                  <a:pt x="271" y="278"/>
                </a:lnTo>
                <a:lnTo>
                  <a:pt x="258" y="264"/>
                </a:lnTo>
                <a:lnTo>
                  <a:pt x="263" y="269"/>
                </a:lnTo>
                <a:lnTo>
                  <a:pt x="256" y="264"/>
                </a:lnTo>
                <a:lnTo>
                  <a:pt x="249" y="264"/>
                </a:lnTo>
                <a:lnTo>
                  <a:pt x="251" y="266"/>
                </a:lnTo>
                <a:lnTo>
                  <a:pt x="238" y="269"/>
                </a:lnTo>
                <a:lnTo>
                  <a:pt x="225" y="273"/>
                </a:lnTo>
                <a:lnTo>
                  <a:pt x="209" y="266"/>
                </a:lnTo>
                <a:lnTo>
                  <a:pt x="193" y="258"/>
                </a:lnTo>
                <a:lnTo>
                  <a:pt x="178" y="251"/>
                </a:lnTo>
                <a:lnTo>
                  <a:pt x="162" y="244"/>
                </a:lnTo>
                <a:lnTo>
                  <a:pt x="153" y="238"/>
                </a:lnTo>
                <a:lnTo>
                  <a:pt x="143" y="232"/>
                </a:lnTo>
                <a:lnTo>
                  <a:pt x="132" y="227"/>
                </a:lnTo>
                <a:lnTo>
                  <a:pt x="123" y="218"/>
                </a:lnTo>
                <a:lnTo>
                  <a:pt x="113" y="208"/>
                </a:lnTo>
                <a:lnTo>
                  <a:pt x="111" y="196"/>
                </a:lnTo>
                <a:lnTo>
                  <a:pt x="117" y="194"/>
                </a:lnTo>
                <a:lnTo>
                  <a:pt x="114" y="190"/>
                </a:lnTo>
                <a:lnTo>
                  <a:pt x="118" y="180"/>
                </a:lnTo>
                <a:lnTo>
                  <a:pt x="113" y="167"/>
                </a:lnTo>
                <a:lnTo>
                  <a:pt x="108" y="155"/>
                </a:lnTo>
                <a:lnTo>
                  <a:pt x="100" y="143"/>
                </a:lnTo>
                <a:lnTo>
                  <a:pt x="91" y="132"/>
                </a:lnTo>
                <a:lnTo>
                  <a:pt x="95" y="134"/>
                </a:lnTo>
                <a:lnTo>
                  <a:pt x="90" y="125"/>
                </a:lnTo>
                <a:lnTo>
                  <a:pt x="87" y="123"/>
                </a:lnTo>
                <a:lnTo>
                  <a:pt x="89" y="123"/>
                </a:lnTo>
                <a:lnTo>
                  <a:pt x="78" y="117"/>
                </a:lnTo>
                <a:lnTo>
                  <a:pt x="81" y="113"/>
                </a:lnTo>
                <a:lnTo>
                  <a:pt x="75" y="112"/>
                </a:lnTo>
                <a:lnTo>
                  <a:pt x="79" y="102"/>
                </a:lnTo>
                <a:lnTo>
                  <a:pt x="73" y="98"/>
                </a:lnTo>
                <a:lnTo>
                  <a:pt x="65" y="81"/>
                </a:lnTo>
                <a:lnTo>
                  <a:pt x="65" y="77"/>
                </a:lnTo>
                <a:lnTo>
                  <a:pt x="55" y="70"/>
                </a:lnTo>
                <a:lnTo>
                  <a:pt x="51" y="57"/>
                </a:lnTo>
                <a:lnTo>
                  <a:pt x="46" y="42"/>
                </a:lnTo>
                <a:lnTo>
                  <a:pt x="46" y="23"/>
                </a:lnTo>
                <a:lnTo>
                  <a:pt x="36" y="20"/>
                </a:lnTo>
                <a:lnTo>
                  <a:pt x="27" y="12"/>
                </a:lnTo>
                <a:lnTo>
                  <a:pt x="24" y="29"/>
                </a:lnTo>
                <a:lnTo>
                  <a:pt x="22" y="47"/>
                </a:lnTo>
                <a:lnTo>
                  <a:pt x="29" y="60"/>
                </a:lnTo>
                <a:lnTo>
                  <a:pt x="37" y="74"/>
                </a:lnTo>
                <a:lnTo>
                  <a:pt x="41" y="84"/>
                </a:lnTo>
                <a:lnTo>
                  <a:pt x="45" y="96"/>
                </a:lnTo>
                <a:lnTo>
                  <a:pt x="46" y="95"/>
                </a:lnTo>
                <a:lnTo>
                  <a:pt x="48" y="113"/>
                </a:lnTo>
                <a:lnTo>
                  <a:pt x="52" y="132"/>
                </a:lnTo>
                <a:lnTo>
                  <a:pt x="57" y="136"/>
                </a:lnTo>
                <a:lnTo>
                  <a:pt x="63" y="144"/>
                </a:lnTo>
                <a:lnTo>
                  <a:pt x="65" y="153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4" name="Freeform 203">
            <a:extLst>
              <a:ext uri="{FF2B5EF4-FFF2-40B4-BE49-F238E27FC236}">
                <a16:creationId xmlns:a16="http://schemas.microsoft.com/office/drawing/2014/main" id="{20A07AA0-199F-4F8D-A8ED-4AFA48DE73B5}"/>
              </a:ext>
            </a:extLst>
          </p:cNvPr>
          <p:cNvSpPr>
            <a:spLocks/>
          </p:cNvSpPr>
          <p:nvPr/>
        </p:nvSpPr>
        <p:spPr bwMode="gray">
          <a:xfrm>
            <a:off x="2342274" y="3162397"/>
            <a:ext cx="12045" cy="29206"/>
          </a:xfrm>
          <a:custGeom>
            <a:avLst/>
            <a:gdLst>
              <a:gd name="T0" fmla="*/ 7 w 7"/>
              <a:gd name="T1" fmla="*/ 12 h 14"/>
              <a:gd name="T2" fmla="*/ 3 w 7"/>
              <a:gd name="T3" fmla="*/ 0 h 14"/>
              <a:gd name="T4" fmla="*/ 0 w 7"/>
              <a:gd name="T5" fmla="*/ 11 h 14"/>
              <a:gd name="T6" fmla="*/ 1 w 7"/>
              <a:gd name="T7" fmla="*/ 14 h 14"/>
              <a:gd name="T8" fmla="*/ 7 w 7"/>
              <a:gd name="T9" fmla="*/ 12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14">
                <a:moveTo>
                  <a:pt x="7" y="12"/>
                </a:moveTo>
                <a:lnTo>
                  <a:pt x="3" y="0"/>
                </a:lnTo>
                <a:lnTo>
                  <a:pt x="0" y="11"/>
                </a:lnTo>
                <a:lnTo>
                  <a:pt x="1" y="14"/>
                </a:lnTo>
                <a:lnTo>
                  <a:pt x="7" y="12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5" name="Freeform 204">
            <a:extLst>
              <a:ext uri="{FF2B5EF4-FFF2-40B4-BE49-F238E27FC236}">
                <a16:creationId xmlns:a16="http://schemas.microsoft.com/office/drawing/2014/main" id="{C56C8B37-3558-4DAE-B02D-842748C770B6}"/>
              </a:ext>
            </a:extLst>
          </p:cNvPr>
          <p:cNvSpPr>
            <a:spLocks/>
          </p:cNvSpPr>
          <p:nvPr/>
        </p:nvSpPr>
        <p:spPr bwMode="gray">
          <a:xfrm>
            <a:off x="2366361" y="3102037"/>
            <a:ext cx="18926" cy="35048"/>
          </a:xfrm>
          <a:custGeom>
            <a:avLst/>
            <a:gdLst>
              <a:gd name="T0" fmla="*/ 4 w 9"/>
              <a:gd name="T1" fmla="*/ 15 h 15"/>
              <a:gd name="T2" fmla="*/ 7 w 9"/>
              <a:gd name="T3" fmla="*/ 8 h 15"/>
              <a:gd name="T4" fmla="*/ 0 w 9"/>
              <a:gd name="T5" fmla="*/ 0 h 15"/>
              <a:gd name="T6" fmla="*/ 9 w 9"/>
              <a:gd name="T7" fmla="*/ 9 h 15"/>
              <a:gd name="T8" fmla="*/ 4 w 9"/>
              <a:gd name="T9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15">
                <a:moveTo>
                  <a:pt x="4" y="15"/>
                </a:moveTo>
                <a:lnTo>
                  <a:pt x="7" y="8"/>
                </a:lnTo>
                <a:lnTo>
                  <a:pt x="0" y="0"/>
                </a:lnTo>
                <a:lnTo>
                  <a:pt x="9" y="9"/>
                </a:lnTo>
                <a:lnTo>
                  <a:pt x="4" y="15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6" name="Freeform 205">
            <a:extLst>
              <a:ext uri="{FF2B5EF4-FFF2-40B4-BE49-F238E27FC236}">
                <a16:creationId xmlns:a16="http://schemas.microsoft.com/office/drawing/2014/main" id="{7D676678-392C-4CF0-AD9C-053007FFC836}"/>
              </a:ext>
            </a:extLst>
          </p:cNvPr>
          <p:cNvSpPr>
            <a:spLocks/>
          </p:cNvSpPr>
          <p:nvPr/>
        </p:nvSpPr>
        <p:spPr bwMode="gray">
          <a:xfrm>
            <a:off x="2388729" y="3152662"/>
            <a:ext cx="12045" cy="27260"/>
          </a:xfrm>
          <a:custGeom>
            <a:avLst/>
            <a:gdLst>
              <a:gd name="T0" fmla="*/ 3 w 6"/>
              <a:gd name="T1" fmla="*/ 11 h 11"/>
              <a:gd name="T2" fmla="*/ 6 w 6"/>
              <a:gd name="T3" fmla="*/ 6 h 11"/>
              <a:gd name="T4" fmla="*/ 0 w 6"/>
              <a:gd name="T5" fmla="*/ 0 h 11"/>
              <a:gd name="T6" fmla="*/ 3 w 6"/>
              <a:gd name="T7" fmla="*/ 3 h 11"/>
              <a:gd name="T8" fmla="*/ 6 w 6"/>
              <a:gd name="T9" fmla="*/ 6 h 11"/>
              <a:gd name="T10" fmla="*/ 3 w 6"/>
              <a:gd name="T11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" h="11">
                <a:moveTo>
                  <a:pt x="3" y="11"/>
                </a:moveTo>
                <a:lnTo>
                  <a:pt x="6" y="6"/>
                </a:lnTo>
                <a:lnTo>
                  <a:pt x="0" y="0"/>
                </a:lnTo>
                <a:lnTo>
                  <a:pt x="3" y="3"/>
                </a:lnTo>
                <a:lnTo>
                  <a:pt x="6" y="6"/>
                </a:lnTo>
                <a:lnTo>
                  <a:pt x="3" y="11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7" name="Freeform 206">
            <a:extLst>
              <a:ext uri="{FF2B5EF4-FFF2-40B4-BE49-F238E27FC236}">
                <a16:creationId xmlns:a16="http://schemas.microsoft.com/office/drawing/2014/main" id="{1663D47A-DD2C-4D1A-B91D-8CAB5E5CF5FC}"/>
              </a:ext>
            </a:extLst>
          </p:cNvPr>
          <p:cNvSpPr>
            <a:spLocks/>
          </p:cNvSpPr>
          <p:nvPr/>
        </p:nvSpPr>
        <p:spPr bwMode="gray">
          <a:xfrm>
            <a:off x="2454110" y="3296752"/>
            <a:ext cx="15486" cy="13630"/>
          </a:xfrm>
          <a:custGeom>
            <a:avLst/>
            <a:gdLst>
              <a:gd name="T0" fmla="*/ 9 w 9"/>
              <a:gd name="T1" fmla="*/ 0 h 6"/>
              <a:gd name="T2" fmla="*/ 9 w 9"/>
              <a:gd name="T3" fmla="*/ 2 h 6"/>
              <a:gd name="T4" fmla="*/ 0 w 9"/>
              <a:gd name="T5" fmla="*/ 6 h 6"/>
              <a:gd name="T6" fmla="*/ 9 w 9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" h="6">
                <a:moveTo>
                  <a:pt x="9" y="0"/>
                </a:moveTo>
                <a:lnTo>
                  <a:pt x="9" y="2"/>
                </a:lnTo>
                <a:lnTo>
                  <a:pt x="0" y="6"/>
                </a:lnTo>
                <a:lnTo>
                  <a:pt x="9" y="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8" name="Freeform 207">
            <a:extLst>
              <a:ext uri="{FF2B5EF4-FFF2-40B4-BE49-F238E27FC236}">
                <a16:creationId xmlns:a16="http://schemas.microsoft.com/office/drawing/2014/main" id="{02EE8388-F356-4770-AEE6-ACCC5B781295}"/>
              </a:ext>
            </a:extLst>
          </p:cNvPr>
          <p:cNvSpPr>
            <a:spLocks/>
          </p:cNvSpPr>
          <p:nvPr/>
        </p:nvSpPr>
        <p:spPr bwMode="gray">
          <a:xfrm>
            <a:off x="2442065" y="3253913"/>
            <a:ext cx="12045" cy="11683"/>
          </a:xfrm>
          <a:custGeom>
            <a:avLst/>
            <a:gdLst>
              <a:gd name="T0" fmla="*/ 6 w 6"/>
              <a:gd name="T1" fmla="*/ 2 h 5"/>
              <a:gd name="T2" fmla="*/ 3 w 6"/>
              <a:gd name="T3" fmla="*/ 0 h 5"/>
              <a:gd name="T4" fmla="*/ 0 w 6"/>
              <a:gd name="T5" fmla="*/ 5 h 5"/>
              <a:gd name="T6" fmla="*/ 6 w 6"/>
              <a:gd name="T7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5">
                <a:moveTo>
                  <a:pt x="6" y="2"/>
                </a:moveTo>
                <a:lnTo>
                  <a:pt x="3" y="0"/>
                </a:lnTo>
                <a:lnTo>
                  <a:pt x="0" y="5"/>
                </a:lnTo>
                <a:lnTo>
                  <a:pt x="6" y="2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9" name="Freeform 208">
            <a:extLst>
              <a:ext uri="{FF2B5EF4-FFF2-40B4-BE49-F238E27FC236}">
                <a16:creationId xmlns:a16="http://schemas.microsoft.com/office/drawing/2014/main" id="{2ADF9791-2BED-45DD-8F68-72EA581A56F0}"/>
              </a:ext>
            </a:extLst>
          </p:cNvPr>
          <p:cNvSpPr>
            <a:spLocks/>
          </p:cNvSpPr>
          <p:nvPr/>
        </p:nvSpPr>
        <p:spPr bwMode="gray">
          <a:xfrm>
            <a:off x="2331951" y="3109824"/>
            <a:ext cx="30969" cy="3894"/>
          </a:xfrm>
          <a:custGeom>
            <a:avLst/>
            <a:gdLst>
              <a:gd name="T0" fmla="*/ 6 w 15"/>
              <a:gd name="T1" fmla="*/ 0 h 2"/>
              <a:gd name="T2" fmla="*/ 15 w 15"/>
              <a:gd name="T3" fmla="*/ 2 h 2"/>
              <a:gd name="T4" fmla="*/ 9 w 15"/>
              <a:gd name="T5" fmla="*/ 2 h 2"/>
              <a:gd name="T6" fmla="*/ 0 w 15"/>
              <a:gd name="T7" fmla="*/ 0 h 2"/>
              <a:gd name="T8" fmla="*/ 6 w 15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2">
                <a:moveTo>
                  <a:pt x="6" y="0"/>
                </a:moveTo>
                <a:lnTo>
                  <a:pt x="15" y="2"/>
                </a:lnTo>
                <a:lnTo>
                  <a:pt x="9" y="2"/>
                </a:lnTo>
                <a:lnTo>
                  <a:pt x="0" y="0"/>
                </a:lnTo>
                <a:lnTo>
                  <a:pt x="6" y="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0" name="Freeform 209">
            <a:extLst>
              <a:ext uri="{FF2B5EF4-FFF2-40B4-BE49-F238E27FC236}">
                <a16:creationId xmlns:a16="http://schemas.microsoft.com/office/drawing/2014/main" id="{1FAE6F6A-AA43-4365-A401-D39FE7E6F5CA}"/>
              </a:ext>
            </a:extLst>
          </p:cNvPr>
          <p:cNvSpPr>
            <a:spLocks/>
          </p:cNvSpPr>
          <p:nvPr/>
        </p:nvSpPr>
        <p:spPr bwMode="gray">
          <a:xfrm>
            <a:off x="2350877" y="3201340"/>
            <a:ext cx="6882" cy="13630"/>
          </a:xfrm>
          <a:custGeom>
            <a:avLst/>
            <a:gdLst>
              <a:gd name="T0" fmla="*/ 4 w 4"/>
              <a:gd name="T1" fmla="*/ 4 h 6"/>
              <a:gd name="T2" fmla="*/ 3 w 4"/>
              <a:gd name="T3" fmla="*/ 1 h 6"/>
              <a:gd name="T4" fmla="*/ 0 w 4"/>
              <a:gd name="T5" fmla="*/ 0 h 6"/>
              <a:gd name="T6" fmla="*/ 3 w 4"/>
              <a:gd name="T7" fmla="*/ 6 h 6"/>
              <a:gd name="T8" fmla="*/ 4 w 4"/>
              <a:gd name="T9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6">
                <a:moveTo>
                  <a:pt x="4" y="4"/>
                </a:moveTo>
                <a:lnTo>
                  <a:pt x="3" y="1"/>
                </a:lnTo>
                <a:lnTo>
                  <a:pt x="0" y="0"/>
                </a:lnTo>
                <a:lnTo>
                  <a:pt x="3" y="6"/>
                </a:lnTo>
                <a:lnTo>
                  <a:pt x="4" y="4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1" name="Freeform 210">
            <a:extLst>
              <a:ext uri="{FF2B5EF4-FFF2-40B4-BE49-F238E27FC236}">
                <a16:creationId xmlns:a16="http://schemas.microsoft.com/office/drawing/2014/main" id="{B477A86A-27F7-488D-A29C-59AFF526143E}"/>
              </a:ext>
            </a:extLst>
          </p:cNvPr>
          <p:cNvSpPr>
            <a:spLocks/>
          </p:cNvSpPr>
          <p:nvPr/>
        </p:nvSpPr>
        <p:spPr bwMode="gray">
          <a:xfrm>
            <a:off x="5946838" y="4739600"/>
            <a:ext cx="10324" cy="13630"/>
          </a:xfrm>
          <a:custGeom>
            <a:avLst/>
            <a:gdLst>
              <a:gd name="T0" fmla="*/ 6 w 7"/>
              <a:gd name="T1" fmla="*/ 0 h 6"/>
              <a:gd name="T2" fmla="*/ 0 w 7"/>
              <a:gd name="T3" fmla="*/ 6 h 6"/>
              <a:gd name="T4" fmla="*/ 7 w 7"/>
              <a:gd name="T5" fmla="*/ 2 h 6"/>
              <a:gd name="T6" fmla="*/ 6 w 7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6">
                <a:moveTo>
                  <a:pt x="6" y="0"/>
                </a:moveTo>
                <a:lnTo>
                  <a:pt x="0" y="6"/>
                </a:lnTo>
                <a:lnTo>
                  <a:pt x="7" y="2"/>
                </a:lnTo>
                <a:lnTo>
                  <a:pt x="6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2" name="Freeform 211">
            <a:extLst>
              <a:ext uri="{FF2B5EF4-FFF2-40B4-BE49-F238E27FC236}">
                <a16:creationId xmlns:a16="http://schemas.microsoft.com/office/drawing/2014/main" id="{8ACCB71A-FAC0-4D03-A190-69BCD3460648}"/>
              </a:ext>
            </a:extLst>
          </p:cNvPr>
          <p:cNvSpPr>
            <a:spLocks/>
          </p:cNvSpPr>
          <p:nvPr/>
        </p:nvSpPr>
        <p:spPr bwMode="gray">
          <a:xfrm>
            <a:off x="7374899" y="4418315"/>
            <a:ext cx="1078789" cy="983317"/>
          </a:xfrm>
          <a:custGeom>
            <a:avLst/>
            <a:gdLst>
              <a:gd name="T0" fmla="*/ 319 w 565"/>
              <a:gd name="T1" fmla="*/ 10 h 454"/>
              <a:gd name="T2" fmla="*/ 324 w 565"/>
              <a:gd name="T3" fmla="*/ 22 h 454"/>
              <a:gd name="T4" fmla="*/ 298 w 565"/>
              <a:gd name="T5" fmla="*/ 29 h 454"/>
              <a:gd name="T6" fmla="*/ 288 w 565"/>
              <a:gd name="T7" fmla="*/ 42 h 454"/>
              <a:gd name="T8" fmla="*/ 282 w 565"/>
              <a:gd name="T9" fmla="*/ 64 h 454"/>
              <a:gd name="T10" fmla="*/ 271 w 565"/>
              <a:gd name="T11" fmla="*/ 68 h 454"/>
              <a:gd name="T12" fmla="*/ 252 w 565"/>
              <a:gd name="T13" fmla="*/ 76 h 454"/>
              <a:gd name="T14" fmla="*/ 241 w 565"/>
              <a:gd name="T15" fmla="*/ 50 h 454"/>
              <a:gd name="T16" fmla="*/ 228 w 565"/>
              <a:gd name="T17" fmla="*/ 53 h 454"/>
              <a:gd name="T18" fmla="*/ 216 w 565"/>
              <a:gd name="T19" fmla="*/ 70 h 454"/>
              <a:gd name="T20" fmla="*/ 202 w 565"/>
              <a:gd name="T21" fmla="*/ 80 h 454"/>
              <a:gd name="T22" fmla="*/ 201 w 565"/>
              <a:gd name="T23" fmla="*/ 89 h 454"/>
              <a:gd name="T24" fmla="*/ 190 w 565"/>
              <a:gd name="T25" fmla="*/ 88 h 454"/>
              <a:gd name="T26" fmla="*/ 187 w 565"/>
              <a:gd name="T27" fmla="*/ 114 h 454"/>
              <a:gd name="T28" fmla="*/ 165 w 565"/>
              <a:gd name="T29" fmla="*/ 108 h 454"/>
              <a:gd name="T30" fmla="*/ 129 w 565"/>
              <a:gd name="T31" fmla="*/ 146 h 454"/>
              <a:gd name="T32" fmla="*/ 84 w 565"/>
              <a:gd name="T33" fmla="*/ 156 h 454"/>
              <a:gd name="T34" fmla="*/ 39 w 565"/>
              <a:gd name="T35" fmla="*/ 176 h 454"/>
              <a:gd name="T36" fmla="*/ 26 w 565"/>
              <a:gd name="T37" fmla="*/ 235 h 454"/>
              <a:gd name="T38" fmla="*/ 19 w 565"/>
              <a:gd name="T39" fmla="*/ 238 h 454"/>
              <a:gd name="T40" fmla="*/ 16 w 565"/>
              <a:gd name="T41" fmla="*/ 262 h 454"/>
              <a:gd name="T42" fmla="*/ 21 w 565"/>
              <a:gd name="T43" fmla="*/ 316 h 454"/>
              <a:gd name="T44" fmla="*/ 7 w 565"/>
              <a:gd name="T45" fmla="*/ 367 h 454"/>
              <a:gd name="T46" fmla="*/ 19 w 565"/>
              <a:gd name="T47" fmla="*/ 390 h 454"/>
              <a:gd name="T48" fmla="*/ 64 w 565"/>
              <a:gd name="T49" fmla="*/ 373 h 454"/>
              <a:gd name="T50" fmla="*/ 127 w 565"/>
              <a:gd name="T51" fmla="*/ 359 h 454"/>
              <a:gd name="T52" fmla="*/ 196 w 565"/>
              <a:gd name="T53" fmla="*/ 338 h 454"/>
              <a:gd name="T54" fmla="*/ 260 w 565"/>
              <a:gd name="T55" fmla="*/ 343 h 454"/>
              <a:gd name="T56" fmla="*/ 268 w 565"/>
              <a:gd name="T57" fmla="*/ 370 h 454"/>
              <a:gd name="T58" fmla="*/ 277 w 565"/>
              <a:gd name="T59" fmla="*/ 385 h 454"/>
              <a:gd name="T60" fmla="*/ 312 w 565"/>
              <a:gd name="T61" fmla="*/ 362 h 454"/>
              <a:gd name="T62" fmla="*/ 296 w 565"/>
              <a:gd name="T63" fmla="*/ 392 h 454"/>
              <a:gd name="T64" fmla="*/ 308 w 565"/>
              <a:gd name="T65" fmla="*/ 397 h 454"/>
              <a:gd name="T66" fmla="*/ 309 w 565"/>
              <a:gd name="T67" fmla="*/ 437 h 454"/>
              <a:gd name="T68" fmla="*/ 362 w 565"/>
              <a:gd name="T69" fmla="*/ 442 h 454"/>
              <a:gd name="T70" fmla="*/ 367 w 565"/>
              <a:gd name="T71" fmla="*/ 444 h 454"/>
              <a:gd name="T72" fmla="*/ 382 w 565"/>
              <a:gd name="T73" fmla="*/ 449 h 454"/>
              <a:gd name="T74" fmla="*/ 444 w 565"/>
              <a:gd name="T75" fmla="*/ 420 h 454"/>
              <a:gd name="T76" fmla="*/ 492 w 565"/>
              <a:gd name="T77" fmla="*/ 366 h 454"/>
              <a:gd name="T78" fmla="*/ 536 w 565"/>
              <a:gd name="T79" fmla="*/ 319 h 454"/>
              <a:gd name="T80" fmla="*/ 558 w 565"/>
              <a:gd name="T81" fmla="*/ 266 h 454"/>
              <a:gd name="T82" fmla="*/ 558 w 565"/>
              <a:gd name="T83" fmla="*/ 222 h 454"/>
              <a:gd name="T84" fmla="*/ 544 w 565"/>
              <a:gd name="T85" fmla="*/ 188 h 454"/>
              <a:gd name="T86" fmla="*/ 531 w 565"/>
              <a:gd name="T87" fmla="*/ 172 h 454"/>
              <a:gd name="T88" fmla="*/ 514 w 565"/>
              <a:gd name="T89" fmla="*/ 140 h 454"/>
              <a:gd name="T90" fmla="*/ 496 w 565"/>
              <a:gd name="T91" fmla="*/ 86 h 454"/>
              <a:gd name="T92" fmla="*/ 477 w 565"/>
              <a:gd name="T93" fmla="*/ 58 h 454"/>
              <a:gd name="T94" fmla="*/ 470 w 565"/>
              <a:gd name="T95" fmla="*/ 11 h 454"/>
              <a:gd name="T96" fmla="*/ 456 w 565"/>
              <a:gd name="T97" fmla="*/ 19 h 454"/>
              <a:gd name="T98" fmla="*/ 450 w 565"/>
              <a:gd name="T99" fmla="*/ 37 h 454"/>
              <a:gd name="T100" fmla="*/ 445 w 565"/>
              <a:gd name="T101" fmla="*/ 71 h 454"/>
              <a:gd name="T102" fmla="*/ 404 w 565"/>
              <a:gd name="T103" fmla="*/ 102 h 454"/>
              <a:gd name="T104" fmla="*/ 358 w 565"/>
              <a:gd name="T105" fmla="*/ 62 h 454"/>
              <a:gd name="T106" fmla="*/ 379 w 565"/>
              <a:gd name="T107" fmla="*/ 34 h 454"/>
              <a:gd name="T108" fmla="*/ 372 w 565"/>
              <a:gd name="T109" fmla="*/ 23 h 454"/>
              <a:gd name="T110" fmla="*/ 348 w 565"/>
              <a:gd name="T111" fmla="*/ 2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65" h="454">
                <a:moveTo>
                  <a:pt x="331" y="10"/>
                </a:moveTo>
                <a:lnTo>
                  <a:pt x="325" y="8"/>
                </a:lnTo>
                <a:lnTo>
                  <a:pt x="321" y="7"/>
                </a:lnTo>
                <a:lnTo>
                  <a:pt x="319" y="10"/>
                </a:lnTo>
                <a:lnTo>
                  <a:pt x="315" y="8"/>
                </a:lnTo>
                <a:lnTo>
                  <a:pt x="321" y="11"/>
                </a:lnTo>
                <a:lnTo>
                  <a:pt x="326" y="14"/>
                </a:lnTo>
                <a:lnTo>
                  <a:pt x="324" y="22"/>
                </a:lnTo>
                <a:lnTo>
                  <a:pt x="320" y="23"/>
                </a:lnTo>
                <a:lnTo>
                  <a:pt x="307" y="22"/>
                </a:lnTo>
                <a:lnTo>
                  <a:pt x="302" y="24"/>
                </a:lnTo>
                <a:lnTo>
                  <a:pt x="298" y="29"/>
                </a:lnTo>
                <a:lnTo>
                  <a:pt x="296" y="26"/>
                </a:lnTo>
                <a:lnTo>
                  <a:pt x="294" y="30"/>
                </a:lnTo>
                <a:lnTo>
                  <a:pt x="289" y="38"/>
                </a:lnTo>
                <a:lnTo>
                  <a:pt x="288" y="42"/>
                </a:lnTo>
                <a:lnTo>
                  <a:pt x="282" y="47"/>
                </a:lnTo>
                <a:lnTo>
                  <a:pt x="276" y="59"/>
                </a:lnTo>
                <a:lnTo>
                  <a:pt x="279" y="61"/>
                </a:lnTo>
                <a:lnTo>
                  <a:pt x="282" y="64"/>
                </a:lnTo>
                <a:lnTo>
                  <a:pt x="277" y="68"/>
                </a:lnTo>
                <a:lnTo>
                  <a:pt x="283" y="74"/>
                </a:lnTo>
                <a:lnTo>
                  <a:pt x="272" y="66"/>
                </a:lnTo>
                <a:lnTo>
                  <a:pt x="271" y="68"/>
                </a:lnTo>
                <a:lnTo>
                  <a:pt x="260" y="65"/>
                </a:lnTo>
                <a:lnTo>
                  <a:pt x="258" y="73"/>
                </a:lnTo>
                <a:lnTo>
                  <a:pt x="255" y="73"/>
                </a:lnTo>
                <a:lnTo>
                  <a:pt x="252" y="76"/>
                </a:lnTo>
                <a:lnTo>
                  <a:pt x="253" y="71"/>
                </a:lnTo>
                <a:lnTo>
                  <a:pt x="256" y="61"/>
                </a:lnTo>
                <a:lnTo>
                  <a:pt x="242" y="47"/>
                </a:lnTo>
                <a:lnTo>
                  <a:pt x="241" y="50"/>
                </a:lnTo>
                <a:lnTo>
                  <a:pt x="235" y="53"/>
                </a:lnTo>
                <a:lnTo>
                  <a:pt x="234" y="50"/>
                </a:lnTo>
                <a:lnTo>
                  <a:pt x="231" y="53"/>
                </a:lnTo>
                <a:lnTo>
                  <a:pt x="228" y="53"/>
                </a:lnTo>
                <a:lnTo>
                  <a:pt x="225" y="61"/>
                </a:lnTo>
                <a:lnTo>
                  <a:pt x="223" y="56"/>
                </a:lnTo>
                <a:lnTo>
                  <a:pt x="216" y="65"/>
                </a:lnTo>
                <a:lnTo>
                  <a:pt x="216" y="70"/>
                </a:lnTo>
                <a:lnTo>
                  <a:pt x="210" y="68"/>
                </a:lnTo>
                <a:lnTo>
                  <a:pt x="213" y="76"/>
                </a:lnTo>
                <a:lnTo>
                  <a:pt x="206" y="73"/>
                </a:lnTo>
                <a:lnTo>
                  <a:pt x="202" y="80"/>
                </a:lnTo>
                <a:lnTo>
                  <a:pt x="204" y="80"/>
                </a:lnTo>
                <a:lnTo>
                  <a:pt x="205" y="80"/>
                </a:lnTo>
                <a:lnTo>
                  <a:pt x="201" y="84"/>
                </a:lnTo>
                <a:lnTo>
                  <a:pt x="201" y="89"/>
                </a:lnTo>
                <a:lnTo>
                  <a:pt x="205" y="89"/>
                </a:lnTo>
                <a:lnTo>
                  <a:pt x="196" y="89"/>
                </a:lnTo>
                <a:lnTo>
                  <a:pt x="193" y="89"/>
                </a:lnTo>
                <a:lnTo>
                  <a:pt x="190" y="88"/>
                </a:lnTo>
                <a:lnTo>
                  <a:pt x="188" y="91"/>
                </a:lnTo>
                <a:lnTo>
                  <a:pt x="190" y="98"/>
                </a:lnTo>
                <a:lnTo>
                  <a:pt x="187" y="101"/>
                </a:lnTo>
                <a:lnTo>
                  <a:pt x="187" y="114"/>
                </a:lnTo>
                <a:lnTo>
                  <a:pt x="183" y="102"/>
                </a:lnTo>
                <a:lnTo>
                  <a:pt x="178" y="90"/>
                </a:lnTo>
                <a:lnTo>
                  <a:pt x="174" y="95"/>
                </a:lnTo>
                <a:lnTo>
                  <a:pt x="165" y="108"/>
                </a:lnTo>
                <a:lnTo>
                  <a:pt x="164" y="119"/>
                </a:lnTo>
                <a:lnTo>
                  <a:pt x="151" y="133"/>
                </a:lnTo>
                <a:lnTo>
                  <a:pt x="140" y="140"/>
                </a:lnTo>
                <a:lnTo>
                  <a:pt x="129" y="146"/>
                </a:lnTo>
                <a:lnTo>
                  <a:pt x="112" y="150"/>
                </a:lnTo>
                <a:lnTo>
                  <a:pt x="100" y="154"/>
                </a:lnTo>
                <a:lnTo>
                  <a:pt x="87" y="158"/>
                </a:lnTo>
                <a:lnTo>
                  <a:pt x="84" y="156"/>
                </a:lnTo>
                <a:lnTo>
                  <a:pt x="64" y="169"/>
                </a:lnTo>
                <a:lnTo>
                  <a:pt x="45" y="182"/>
                </a:lnTo>
                <a:lnTo>
                  <a:pt x="39" y="187"/>
                </a:lnTo>
                <a:lnTo>
                  <a:pt x="39" y="176"/>
                </a:lnTo>
                <a:lnTo>
                  <a:pt x="33" y="192"/>
                </a:lnTo>
                <a:lnTo>
                  <a:pt x="26" y="210"/>
                </a:lnTo>
                <a:lnTo>
                  <a:pt x="25" y="224"/>
                </a:lnTo>
                <a:lnTo>
                  <a:pt x="26" y="235"/>
                </a:lnTo>
                <a:lnTo>
                  <a:pt x="27" y="247"/>
                </a:lnTo>
                <a:lnTo>
                  <a:pt x="24" y="250"/>
                </a:lnTo>
                <a:lnTo>
                  <a:pt x="24" y="245"/>
                </a:lnTo>
                <a:lnTo>
                  <a:pt x="19" y="238"/>
                </a:lnTo>
                <a:lnTo>
                  <a:pt x="20" y="254"/>
                </a:lnTo>
                <a:lnTo>
                  <a:pt x="16" y="247"/>
                </a:lnTo>
                <a:lnTo>
                  <a:pt x="15" y="246"/>
                </a:lnTo>
                <a:lnTo>
                  <a:pt x="16" y="262"/>
                </a:lnTo>
                <a:lnTo>
                  <a:pt x="19" y="276"/>
                </a:lnTo>
                <a:lnTo>
                  <a:pt x="21" y="290"/>
                </a:lnTo>
                <a:lnTo>
                  <a:pt x="22" y="304"/>
                </a:lnTo>
                <a:lnTo>
                  <a:pt x="21" y="316"/>
                </a:lnTo>
                <a:lnTo>
                  <a:pt x="20" y="328"/>
                </a:lnTo>
                <a:lnTo>
                  <a:pt x="19" y="340"/>
                </a:lnTo>
                <a:lnTo>
                  <a:pt x="18" y="350"/>
                </a:lnTo>
                <a:lnTo>
                  <a:pt x="7" y="367"/>
                </a:lnTo>
                <a:lnTo>
                  <a:pt x="1" y="368"/>
                </a:lnTo>
                <a:lnTo>
                  <a:pt x="0" y="378"/>
                </a:lnTo>
                <a:lnTo>
                  <a:pt x="9" y="384"/>
                </a:lnTo>
                <a:lnTo>
                  <a:pt x="19" y="390"/>
                </a:lnTo>
                <a:lnTo>
                  <a:pt x="37" y="389"/>
                </a:lnTo>
                <a:lnTo>
                  <a:pt x="54" y="382"/>
                </a:lnTo>
                <a:lnTo>
                  <a:pt x="56" y="379"/>
                </a:lnTo>
                <a:lnTo>
                  <a:pt x="64" y="373"/>
                </a:lnTo>
                <a:lnTo>
                  <a:pt x="80" y="373"/>
                </a:lnTo>
                <a:lnTo>
                  <a:pt x="96" y="373"/>
                </a:lnTo>
                <a:lnTo>
                  <a:pt x="114" y="372"/>
                </a:lnTo>
                <a:lnTo>
                  <a:pt x="127" y="359"/>
                </a:lnTo>
                <a:lnTo>
                  <a:pt x="145" y="353"/>
                </a:lnTo>
                <a:lnTo>
                  <a:pt x="163" y="346"/>
                </a:lnTo>
                <a:lnTo>
                  <a:pt x="180" y="342"/>
                </a:lnTo>
                <a:lnTo>
                  <a:pt x="196" y="338"/>
                </a:lnTo>
                <a:lnTo>
                  <a:pt x="214" y="336"/>
                </a:lnTo>
                <a:lnTo>
                  <a:pt x="231" y="334"/>
                </a:lnTo>
                <a:lnTo>
                  <a:pt x="241" y="337"/>
                </a:lnTo>
                <a:lnTo>
                  <a:pt x="260" y="343"/>
                </a:lnTo>
                <a:lnTo>
                  <a:pt x="264" y="348"/>
                </a:lnTo>
                <a:lnTo>
                  <a:pt x="265" y="353"/>
                </a:lnTo>
                <a:lnTo>
                  <a:pt x="267" y="359"/>
                </a:lnTo>
                <a:lnTo>
                  <a:pt x="268" y="370"/>
                </a:lnTo>
                <a:lnTo>
                  <a:pt x="271" y="380"/>
                </a:lnTo>
                <a:lnTo>
                  <a:pt x="267" y="380"/>
                </a:lnTo>
                <a:lnTo>
                  <a:pt x="273" y="388"/>
                </a:lnTo>
                <a:lnTo>
                  <a:pt x="277" y="385"/>
                </a:lnTo>
                <a:lnTo>
                  <a:pt x="292" y="371"/>
                </a:lnTo>
                <a:lnTo>
                  <a:pt x="309" y="358"/>
                </a:lnTo>
                <a:lnTo>
                  <a:pt x="315" y="350"/>
                </a:lnTo>
                <a:lnTo>
                  <a:pt x="312" y="362"/>
                </a:lnTo>
                <a:lnTo>
                  <a:pt x="302" y="374"/>
                </a:lnTo>
                <a:lnTo>
                  <a:pt x="292" y="388"/>
                </a:lnTo>
                <a:lnTo>
                  <a:pt x="285" y="392"/>
                </a:lnTo>
                <a:lnTo>
                  <a:pt x="296" y="392"/>
                </a:lnTo>
                <a:lnTo>
                  <a:pt x="307" y="377"/>
                </a:lnTo>
                <a:lnTo>
                  <a:pt x="312" y="385"/>
                </a:lnTo>
                <a:lnTo>
                  <a:pt x="300" y="397"/>
                </a:lnTo>
                <a:lnTo>
                  <a:pt x="308" y="397"/>
                </a:lnTo>
                <a:lnTo>
                  <a:pt x="310" y="398"/>
                </a:lnTo>
                <a:lnTo>
                  <a:pt x="314" y="406"/>
                </a:lnTo>
                <a:lnTo>
                  <a:pt x="308" y="420"/>
                </a:lnTo>
                <a:lnTo>
                  <a:pt x="309" y="437"/>
                </a:lnTo>
                <a:lnTo>
                  <a:pt x="322" y="442"/>
                </a:lnTo>
                <a:lnTo>
                  <a:pt x="332" y="445"/>
                </a:lnTo>
                <a:lnTo>
                  <a:pt x="342" y="449"/>
                </a:lnTo>
                <a:lnTo>
                  <a:pt x="362" y="442"/>
                </a:lnTo>
                <a:lnTo>
                  <a:pt x="361" y="439"/>
                </a:lnTo>
                <a:lnTo>
                  <a:pt x="369" y="436"/>
                </a:lnTo>
                <a:lnTo>
                  <a:pt x="364" y="443"/>
                </a:lnTo>
                <a:lnTo>
                  <a:pt x="367" y="444"/>
                </a:lnTo>
                <a:lnTo>
                  <a:pt x="373" y="444"/>
                </a:lnTo>
                <a:lnTo>
                  <a:pt x="375" y="451"/>
                </a:lnTo>
                <a:lnTo>
                  <a:pt x="378" y="454"/>
                </a:lnTo>
                <a:lnTo>
                  <a:pt x="382" y="449"/>
                </a:lnTo>
                <a:lnTo>
                  <a:pt x="408" y="436"/>
                </a:lnTo>
                <a:lnTo>
                  <a:pt x="421" y="434"/>
                </a:lnTo>
                <a:lnTo>
                  <a:pt x="438" y="430"/>
                </a:lnTo>
                <a:lnTo>
                  <a:pt x="444" y="420"/>
                </a:lnTo>
                <a:lnTo>
                  <a:pt x="459" y="404"/>
                </a:lnTo>
                <a:lnTo>
                  <a:pt x="474" y="388"/>
                </a:lnTo>
                <a:lnTo>
                  <a:pt x="487" y="371"/>
                </a:lnTo>
                <a:lnTo>
                  <a:pt x="492" y="366"/>
                </a:lnTo>
                <a:lnTo>
                  <a:pt x="508" y="353"/>
                </a:lnTo>
                <a:lnTo>
                  <a:pt x="514" y="349"/>
                </a:lnTo>
                <a:lnTo>
                  <a:pt x="525" y="334"/>
                </a:lnTo>
                <a:lnTo>
                  <a:pt x="536" y="319"/>
                </a:lnTo>
                <a:lnTo>
                  <a:pt x="547" y="304"/>
                </a:lnTo>
                <a:lnTo>
                  <a:pt x="556" y="289"/>
                </a:lnTo>
                <a:lnTo>
                  <a:pt x="556" y="278"/>
                </a:lnTo>
                <a:lnTo>
                  <a:pt x="558" y="266"/>
                </a:lnTo>
                <a:lnTo>
                  <a:pt x="561" y="254"/>
                </a:lnTo>
                <a:lnTo>
                  <a:pt x="565" y="241"/>
                </a:lnTo>
                <a:lnTo>
                  <a:pt x="562" y="232"/>
                </a:lnTo>
                <a:lnTo>
                  <a:pt x="558" y="222"/>
                </a:lnTo>
                <a:lnTo>
                  <a:pt x="553" y="214"/>
                </a:lnTo>
                <a:lnTo>
                  <a:pt x="543" y="204"/>
                </a:lnTo>
                <a:lnTo>
                  <a:pt x="547" y="185"/>
                </a:lnTo>
                <a:lnTo>
                  <a:pt x="544" y="188"/>
                </a:lnTo>
                <a:lnTo>
                  <a:pt x="538" y="182"/>
                </a:lnTo>
                <a:lnTo>
                  <a:pt x="536" y="190"/>
                </a:lnTo>
                <a:lnTo>
                  <a:pt x="532" y="185"/>
                </a:lnTo>
                <a:lnTo>
                  <a:pt x="531" y="172"/>
                </a:lnTo>
                <a:lnTo>
                  <a:pt x="526" y="160"/>
                </a:lnTo>
                <a:lnTo>
                  <a:pt x="528" y="155"/>
                </a:lnTo>
                <a:lnTo>
                  <a:pt x="524" y="150"/>
                </a:lnTo>
                <a:lnTo>
                  <a:pt x="514" y="140"/>
                </a:lnTo>
                <a:lnTo>
                  <a:pt x="499" y="128"/>
                </a:lnTo>
                <a:lnTo>
                  <a:pt x="499" y="113"/>
                </a:lnTo>
                <a:lnTo>
                  <a:pt x="499" y="98"/>
                </a:lnTo>
                <a:lnTo>
                  <a:pt x="496" y="86"/>
                </a:lnTo>
                <a:lnTo>
                  <a:pt x="498" y="71"/>
                </a:lnTo>
                <a:lnTo>
                  <a:pt x="495" y="65"/>
                </a:lnTo>
                <a:lnTo>
                  <a:pt x="487" y="55"/>
                </a:lnTo>
                <a:lnTo>
                  <a:pt x="477" y="58"/>
                </a:lnTo>
                <a:lnTo>
                  <a:pt x="476" y="46"/>
                </a:lnTo>
                <a:lnTo>
                  <a:pt x="475" y="35"/>
                </a:lnTo>
                <a:lnTo>
                  <a:pt x="474" y="20"/>
                </a:lnTo>
                <a:lnTo>
                  <a:pt x="470" y="11"/>
                </a:lnTo>
                <a:lnTo>
                  <a:pt x="468" y="4"/>
                </a:lnTo>
                <a:lnTo>
                  <a:pt x="466" y="0"/>
                </a:lnTo>
                <a:lnTo>
                  <a:pt x="459" y="13"/>
                </a:lnTo>
                <a:lnTo>
                  <a:pt x="456" y="19"/>
                </a:lnTo>
                <a:lnTo>
                  <a:pt x="452" y="29"/>
                </a:lnTo>
                <a:lnTo>
                  <a:pt x="454" y="30"/>
                </a:lnTo>
                <a:lnTo>
                  <a:pt x="454" y="31"/>
                </a:lnTo>
                <a:lnTo>
                  <a:pt x="450" y="37"/>
                </a:lnTo>
                <a:lnTo>
                  <a:pt x="450" y="44"/>
                </a:lnTo>
                <a:lnTo>
                  <a:pt x="447" y="44"/>
                </a:lnTo>
                <a:lnTo>
                  <a:pt x="446" y="58"/>
                </a:lnTo>
                <a:lnTo>
                  <a:pt x="445" y="71"/>
                </a:lnTo>
                <a:lnTo>
                  <a:pt x="434" y="89"/>
                </a:lnTo>
                <a:lnTo>
                  <a:pt x="424" y="108"/>
                </a:lnTo>
                <a:lnTo>
                  <a:pt x="414" y="109"/>
                </a:lnTo>
                <a:lnTo>
                  <a:pt x="404" y="102"/>
                </a:lnTo>
                <a:lnTo>
                  <a:pt x="390" y="91"/>
                </a:lnTo>
                <a:lnTo>
                  <a:pt x="375" y="82"/>
                </a:lnTo>
                <a:lnTo>
                  <a:pt x="367" y="72"/>
                </a:lnTo>
                <a:lnTo>
                  <a:pt x="358" y="62"/>
                </a:lnTo>
                <a:lnTo>
                  <a:pt x="368" y="48"/>
                </a:lnTo>
                <a:lnTo>
                  <a:pt x="373" y="38"/>
                </a:lnTo>
                <a:lnTo>
                  <a:pt x="375" y="40"/>
                </a:lnTo>
                <a:lnTo>
                  <a:pt x="379" y="34"/>
                </a:lnTo>
                <a:lnTo>
                  <a:pt x="385" y="25"/>
                </a:lnTo>
                <a:lnTo>
                  <a:pt x="379" y="19"/>
                </a:lnTo>
                <a:lnTo>
                  <a:pt x="373" y="26"/>
                </a:lnTo>
                <a:lnTo>
                  <a:pt x="372" y="23"/>
                </a:lnTo>
                <a:lnTo>
                  <a:pt x="368" y="23"/>
                </a:lnTo>
                <a:lnTo>
                  <a:pt x="369" y="20"/>
                </a:lnTo>
                <a:lnTo>
                  <a:pt x="357" y="23"/>
                </a:lnTo>
                <a:lnTo>
                  <a:pt x="348" y="20"/>
                </a:lnTo>
                <a:lnTo>
                  <a:pt x="340" y="17"/>
                </a:lnTo>
                <a:lnTo>
                  <a:pt x="331" y="10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3" name="Freeform 212">
            <a:extLst>
              <a:ext uri="{FF2B5EF4-FFF2-40B4-BE49-F238E27FC236}">
                <a16:creationId xmlns:a16="http://schemas.microsoft.com/office/drawing/2014/main" id="{9B068C10-50DD-4809-B822-0D48131C5968}"/>
              </a:ext>
            </a:extLst>
          </p:cNvPr>
          <p:cNvSpPr>
            <a:spLocks/>
          </p:cNvSpPr>
          <p:nvPr/>
        </p:nvSpPr>
        <p:spPr bwMode="gray">
          <a:xfrm>
            <a:off x="8006346" y="5463944"/>
            <a:ext cx="103232" cy="95410"/>
          </a:xfrm>
          <a:custGeom>
            <a:avLst/>
            <a:gdLst>
              <a:gd name="T0" fmla="*/ 21 w 54"/>
              <a:gd name="T1" fmla="*/ 35 h 46"/>
              <a:gd name="T2" fmla="*/ 6 w 54"/>
              <a:gd name="T3" fmla="*/ 46 h 46"/>
              <a:gd name="T4" fmla="*/ 0 w 54"/>
              <a:gd name="T5" fmla="*/ 41 h 46"/>
              <a:gd name="T6" fmla="*/ 0 w 54"/>
              <a:gd name="T7" fmla="*/ 27 h 46"/>
              <a:gd name="T8" fmla="*/ 2 w 54"/>
              <a:gd name="T9" fmla="*/ 24 h 46"/>
              <a:gd name="T10" fmla="*/ 3 w 54"/>
              <a:gd name="T11" fmla="*/ 25 h 46"/>
              <a:gd name="T12" fmla="*/ 6 w 54"/>
              <a:gd name="T13" fmla="*/ 15 h 46"/>
              <a:gd name="T14" fmla="*/ 7 w 54"/>
              <a:gd name="T15" fmla="*/ 3 h 46"/>
              <a:gd name="T16" fmla="*/ 11 w 54"/>
              <a:gd name="T17" fmla="*/ 0 h 46"/>
              <a:gd name="T18" fmla="*/ 23 w 54"/>
              <a:gd name="T19" fmla="*/ 5 h 46"/>
              <a:gd name="T20" fmla="*/ 33 w 54"/>
              <a:gd name="T21" fmla="*/ 10 h 46"/>
              <a:gd name="T22" fmla="*/ 37 w 54"/>
              <a:gd name="T23" fmla="*/ 4 h 46"/>
              <a:gd name="T24" fmla="*/ 54 w 54"/>
              <a:gd name="T25" fmla="*/ 3 h 46"/>
              <a:gd name="T26" fmla="*/ 42 w 54"/>
              <a:gd name="T27" fmla="*/ 23 h 46"/>
              <a:gd name="T28" fmla="*/ 39 w 54"/>
              <a:gd name="T29" fmla="*/ 22 h 46"/>
              <a:gd name="T30" fmla="*/ 24 w 54"/>
              <a:gd name="T31" fmla="*/ 39 h 46"/>
              <a:gd name="T32" fmla="*/ 26 w 54"/>
              <a:gd name="T33" fmla="*/ 36 h 46"/>
              <a:gd name="T34" fmla="*/ 23 w 54"/>
              <a:gd name="T35" fmla="*/ 35 h 46"/>
              <a:gd name="T36" fmla="*/ 21 w 54"/>
              <a:gd name="T37" fmla="*/ 35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4" h="46">
                <a:moveTo>
                  <a:pt x="21" y="35"/>
                </a:moveTo>
                <a:lnTo>
                  <a:pt x="6" y="46"/>
                </a:lnTo>
                <a:lnTo>
                  <a:pt x="0" y="41"/>
                </a:lnTo>
                <a:lnTo>
                  <a:pt x="0" y="27"/>
                </a:lnTo>
                <a:lnTo>
                  <a:pt x="2" y="24"/>
                </a:lnTo>
                <a:lnTo>
                  <a:pt x="3" y="25"/>
                </a:lnTo>
                <a:lnTo>
                  <a:pt x="6" y="15"/>
                </a:lnTo>
                <a:lnTo>
                  <a:pt x="7" y="3"/>
                </a:lnTo>
                <a:lnTo>
                  <a:pt x="11" y="0"/>
                </a:lnTo>
                <a:lnTo>
                  <a:pt x="23" y="5"/>
                </a:lnTo>
                <a:lnTo>
                  <a:pt x="33" y="10"/>
                </a:lnTo>
                <a:lnTo>
                  <a:pt x="37" y="4"/>
                </a:lnTo>
                <a:lnTo>
                  <a:pt x="54" y="3"/>
                </a:lnTo>
                <a:lnTo>
                  <a:pt x="42" y="23"/>
                </a:lnTo>
                <a:lnTo>
                  <a:pt x="39" y="22"/>
                </a:lnTo>
                <a:lnTo>
                  <a:pt x="24" y="39"/>
                </a:lnTo>
                <a:lnTo>
                  <a:pt x="26" y="36"/>
                </a:lnTo>
                <a:lnTo>
                  <a:pt x="23" y="35"/>
                </a:lnTo>
                <a:lnTo>
                  <a:pt x="21" y="35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4" name="Freeform 216">
            <a:extLst>
              <a:ext uri="{FF2B5EF4-FFF2-40B4-BE49-F238E27FC236}">
                <a16:creationId xmlns:a16="http://schemas.microsoft.com/office/drawing/2014/main" id="{63906253-DAFA-466A-B559-F6C95E896184}"/>
              </a:ext>
            </a:extLst>
          </p:cNvPr>
          <p:cNvSpPr>
            <a:spLocks/>
          </p:cNvSpPr>
          <p:nvPr/>
        </p:nvSpPr>
        <p:spPr bwMode="gray">
          <a:xfrm>
            <a:off x="8450247" y="5454207"/>
            <a:ext cx="302818" cy="208347"/>
          </a:xfrm>
          <a:custGeom>
            <a:avLst/>
            <a:gdLst>
              <a:gd name="T0" fmla="*/ 103 w 160"/>
              <a:gd name="T1" fmla="*/ 52 h 97"/>
              <a:gd name="T2" fmla="*/ 99 w 160"/>
              <a:gd name="T3" fmla="*/ 43 h 97"/>
              <a:gd name="T4" fmla="*/ 97 w 160"/>
              <a:gd name="T5" fmla="*/ 42 h 97"/>
              <a:gd name="T6" fmla="*/ 94 w 160"/>
              <a:gd name="T7" fmla="*/ 44 h 97"/>
              <a:gd name="T8" fmla="*/ 99 w 160"/>
              <a:gd name="T9" fmla="*/ 54 h 97"/>
              <a:gd name="T10" fmla="*/ 88 w 160"/>
              <a:gd name="T11" fmla="*/ 56 h 97"/>
              <a:gd name="T12" fmla="*/ 81 w 160"/>
              <a:gd name="T13" fmla="*/ 57 h 97"/>
              <a:gd name="T14" fmla="*/ 78 w 160"/>
              <a:gd name="T15" fmla="*/ 63 h 97"/>
              <a:gd name="T16" fmla="*/ 73 w 160"/>
              <a:gd name="T17" fmla="*/ 69 h 97"/>
              <a:gd name="T18" fmla="*/ 72 w 160"/>
              <a:gd name="T19" fmla="*/ 70 h 97"/>
              <a:gd name="T20" fmla="*/ 54 w 160"/>
              <a:gd name="T21" fmla="*/ 84 h 97"/>
              <a:gd name="T22" fmla="*/ 23 w 160"/>
              <a:gd name="T23" fmla="*/ 97 h 97"/>
              <a:gd name="T24" fmla="*/ 17 w 160"/>
              <a:gd name="T25" fmla="*/ 94 h 97"/>
              <a:gd name="T26" fmla="*/ 6 w 160"/>
              <a:gd name="T27" fmla="*/ 91 h 97"/>
              <a:gd name="T28" fmla="*/ 1 w 160"/>
              <a:gd name="T29" fmla="*/ 88 h 97"/>
              <a:gd name="T30" fmla="*/ 3 w 160"/>
              <a:gd name="T31" fmla="*/ 87 h 97"/>
              <a:gd name="T32" fmla="*/ 0 w 160"/>
              <a:gd name="T33" fmla="*/ 86 h 97"/>
              <a:gd name="T34" fmla="*/ 7 w 160"/>
              <a:gd name="T35" fmla="*/ 81 h 97"/>
              <a:gd name="T36" fmla="*/ 11 w 160"/>
              <a:gd name="T37" fmla="*/ 79 h 97"/>
              <a:gd name="T38" fmla="*/ 15 w 160"/>
              <a:gd name="T39" fmla="*/ 76 h 97"/>
              <a:gd name="T40" fmla="*/ 16 w 160"/>
              <a:gd name="T41" fmla="*/ 76 h 97"/>
              <a:gd name="T42" fmla="*/ 22 w 160"/>
              <a:gd name="T43" fmla="*/ 70 h 97"/>
              <a:gd name="T44" fmla="*/ 27 w 160"/>
              <a:gd name="T45" fmla="*/ 68 h 97"/>
              <a:gd name="T46" fmla="*/ 35 w 160"/>
              <a:gd name="T47" fmla="*/ 64 h 97"/>
              <a:gd name="T48" fmla="*/ 53 w 160"/>
              <a:gd name="T49" fmla="*/ 55 h 97"/>
              <a:gd name="T50" fmla="*/ 60 w 160"/>
              <a:gd name="T51" fmla="*/ 54 h 97"/>
              <a:gd name="T52" fmla="*/ 85 w 160"/>
              <a:gd name="T53" fmla="*/ 42 h 97"/>
              <a:gd name="T54" fmla="*/ 96 w 160"/>
              <a:gd name="T55" fmla="*/ 37 h 97"/>
              <a:gd name="T56" fmla="*/ 112 w 160"/>
              <a:gd name="T57" fmla="*/ 27 h 97"/>
              <a:gd name="T58" fmla="*/ 108 w 160"/>
              <a:gd name="T59" fmla="*/ 27 h 97"/>
              <a:gd name="T60" fmla="*/ 119 w 160"/>
              <a:gd name="T61" fmla="*/ 19 h 97"/>
              <a:gd name="T62" fmla="*/ 144 w 160"/>
              <a:gd name="T63" fmla="*/ 1 h 97"/>
              <a:gd name="T64" fmla="*/ 151 w 160"/>
              <a:gd name="T65" fmla="*/ 0 h 97"/>
              <a:gd name="T66" fmla="*/ 145 w 160"/>
              <a:gd name="T67" fmla="*/ 3 h 97"/>
              <a:gd name="T68" fmla="*/ 144 w 160"/>
              <a:gd name="T69" fmla="*/ 10 h 97"/>
              <a:gd name="T70" fmla="*/ 157 w 160"/>
              <a:gd name="T71" fmla="*/ 6 h 97"/>
              <a:gd name="T72" fmla="*/ 155 w 160"/>
              <a:gd name="T73" fmla="*/ 9 h 97"/>
              <a:gd name="T74" fmla="*/ 156 w 160"/>
              <a:gd name="T75" fmla="*/ 10 h 97"/>
              <a:gd name="T76" fmla="*/ 160 w 160"/>
              <a:gd name="T77" fmla="*/ 10 h 97"/>
              <a:gd name="T78" fmla="*/ 153 w 160"/>
              <a:gd name="T79" fmla="*/ 18 h 97"/>
              <a:gd name="T80" fmla="*/ 136 w 160"/>
              <a:gd name="T81" fmla="*/ 30 h 97"/>
              <a:gd name="T82" fmla="*/ 119 w 160"/>
              <a:gd name="T83" fmla="*/ 40 h 97"/>
              <a:gd name="T84" fmla="*/ 111 w 160"/>
              <a:gd name="T85" fmla="*/ 43 h 97"/>
              <a:gd name="T86" fmla="*/ 111 w 160"/>
              <a:gd name="T87" fmla="*/ 46 h 97"/>
              <a:gd name="T88" fmla="*/ 105 w 160"/>
              <a:gd name="T89" fmla="*/ 45 h 97"/>
              <a:gd name="T90" fmla="*/ 109 w 160"/>
              <a:gd name="T91" fmla="*/ 49 h 97"/>
              <a:gd name="T92" fmla="*/ 111 w 160"/>
              <a:gd name="T93" fmla="*/ 52 h 97"/>
              <a:gd name="T94" fmla="*/ 103 w 160"/>
              <a:gd name="T95" fmla="*/ 52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" h="97">
                <a:moveTo>
                  <a:pt x="103" y="52"/>
                </a:moveTo>
                <a:lnTo>
                  <a:pt x="99" y="43"/>
                </a:lnTo>
                <a:lnTo>
                  <a:pt x="97" y="42"/>
                </a:lnTo>
                <a:lnTo>
                  <a:pt x="94" y="44"/>
                </a:lnTo>
                <a:lnTo>
                  <a:pt x="99" y="54"/>
                </a:lnTo>
                <a:lnTo>
                  <a:pt x="88" y="56"/>
                </a:lnTo>
                <a:lnTo>
                  <a:pt x="81" y="57"/>
                </a:lnTo>
                <a:lnTo>
                  <a:pt x="78" y="63"/>
                </a:lnTo>
                <a:lnTo>
                  <a:pt x="73" y="69"/>
                </a:lnTo>
                <a:lnTo>
                  <a:pt x="72" y="70"/>
                </a:lnTo>
                <a:lnTo>
                  <a:pt x="54" y="84"/>
                </a:lnTo>
                <a:lnTo>
                  <a:pt x="23" y="97"/>
                </a:lnTo>
                <a:lnTo>
                  <a:pt x="17" y="94"/>
                </a:lnTo>
                <a:lnTo>
                  <a:pt x="6" y="91"/>
                </a:lnTo>
                <a:lnTo>
                  <a:pt x="1" y="88"/>
                </a:lnTo>
                <a:lnTo>
                  <a:pt x="3" y="87"/>
                </a:lnTo>
                <a:lnTo>
                  <a:pt x="0" y="86"/>
                </a:lnTo>
                <a:lnTo>
                  <a:pt x="7" y="81"/>
                </a:lnTo>
                <a:lnTo>
                  <a:pt x="11" y="79"/>
                </a:lnTo>
                <a:lnTo>
                  <a:pt x="15" y="76"/>
                </a:lnTo>
                <a:lnTo>
                  <a:pt x="16" y="76"/>
                </a:lnTo>
                <a:lnTo>
                  <a:pt x="22" y="70"/>
                </a:lnTo>
                <a:lnTo>
                  <a:pt x="27" y="68"/>
                </a:lnTo>
                <a:lnTo>
                  <a:pt x="35" y="64"/>
                </a:lnTo>
                <a:lnTo>
                  <a:pt x="53" y="55"/>
                </a:lnTo>
                <a:lnTo>
                  <a:pt x="60" y="54"/>
                </a:lnTo>
                <a:lnTo>
                  <a:pt x="85" y="42"/>
                </a:lnTo>
                <a:lnTo>
                  <a:pt x="96" y="37"/>
                </a:lnTo>
                <a:lnTo>
                  <a:pt x="112" y="27"/>
                </a:lnTo>
                <a:lnTo>
                  <a:pt x="108" y="27"/>
                </a:lnTo>
                <a:lnTo>
                  <a:pt x="119" y="19"/>
                </a:lnTo>
                <a:lnTo>
                  <a:pt x="144" y="1"/>
                </a:lnTo>
                <a:lnTo>
                  <a:pt x="151" y="0"/>
                </a:lnTo>
                <a:lnTo>
                  <a:pt x="145" y="3"/>
                </a:lnTo>
                <a:lnTo>
                  <a:pt x="144" y="10"/>
                </a:lnTo>
                <a:lnTo>
                  <a:pt x="157" y="6"/>
                </a:lnTo>
                <a:lnTo>
                  <a:pt x="155" y="9"/>
                </a:lnTo>
                <a:lnTo>
                  <a:pt x="156" y="10"/>
                </a:lnTo>
                <a:lnTo>
                  <a:pt x="160" y="10"/>
                </a:lnTo>
                <a:lnTo>
                  <a:pt x="153" y="18"/>
                </a:lnTo>
                <a:lnTo>
                  <a:pt x="136" y="30"/>
                </a:lnTo>
                <a:lnTo>
                  <a:pt x="119" y="40"/>
                </a:lnTo>
                <a:lnTo>
                  <a:pt x="111" y="43"/>
                </a:lnTo>
                <a:lnTo>
                  <a:pt x="111" y="46"/>
                </a:lnTo>
                <a:lnTo>
                  <a:pt x="105" y="45"/>
                </a:lnTo>
                <a:lnTo>
                  <a:pt x="109" y="49"/>
                </a:lnTo>
                <a:lnTo>
                  <a:pt x="111" y="52"/>
                </a:lnTo>
                <a:lnTo>
                  <a:pt x="103" y="52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5" name="Freeform 217">
            <a:extLst>
              <a:ext uri="{FF2B5EF4-FFF2-40B4-BE49-F238E27FC236}">
                <a16:creationId xmlns:a16="http://schemas.microsoft.com/office/drawing/2014/main" id="{FAF2CDE6-C394-47CB-84B6-17880D6FB479}"/>
              </a:ext>
            </a:extLst>
          </p:cNvPr>
          <p:cNvSpPr>
            <a:spLocks/>
          </p:cNvSpPr>
          <p:nvPr/>
        </p:nvSpPr>
        <p:spPr bwMode="gray">
          <a:xfrm>
            <a:off x="8759948" y="5241967"/>
            <a:ext cx="177218" cy="247290"/>
          </a:xfrm>
          <a:custGeom>
            <a:avLst/>
            <a:gdLst>
              <a:gd name="T0" fmla="*/ 12 w 93"/>
              <a:gd name="T1" fmla="*/ 77 h 114"/>
              <a:gd name="T2" fmla="*/ 17 w 93"/>
              <a:gd name="T3" fmla="*/ 84 h 114"/>
              <a:gd name="T4" fmla="*/ 21 w 93"/>
              <a:gd name="T5" fmla="*/ 93 h 114"/>
              <a:gd name="T6" fmla="*/ 0 w 93"/>
              <a:gd name="T7" fmla="*/ 111 h 114"/>
              <a:gd name="T8" fmla="*/ 5 w 93"/>
              <a:gd name="T9" fmla="*/ 114 h 114"/>
              <a:gd name="T10" fmla="*/ 24 w 93"/>
              <a:gd name="T11" fmla="*/ 104 h 114"/>
              <a:gd name="T12" fmla="*/ 44 w 93"/>
              <a:gd name="T13" fmla="*/ 92 h 114"/>
              <a:gd name="T14" fmla="*/ 53 w 93"/>
              <a:gd name="T15" fmla="*/ 78 h 114"/>
              <a:gd name="T16" fmla="*/ 68 w 93"/>
              <a:gd name="T17" fmla="*/ 75 h 114"/>
              <a:gd name="T18" fmla="*/ 75 w 93"/>
              <a:gd name="T19" fmla="*/ 68 h 114"/>
              <a:gd name="T20" fmla="*/ 93 w 93"/>
              <a:gd name="T21" fmla="*/ 52 h 114"/>
              <a:gd name="T22" fmla="*/ 90 w 93"/>
              <a:gd name="T23" fmla="*/ 51 h 114"/>
              <a:gd name="T24" fmla="*/ 75 w 93"/>
              <a:gd name="T25" fmla="*/ 57 h 114"/>
              <a:gd name="T26" fmla="*/ 60 w 93"/>
              <a:gd name="T27" fmla="*/ 50 h 114"/>
              <a:gd name="T28" fmla="*/ 65 w 93"/>
              <a:gd name="T29" fmla="*/ 33 h 114"/>
              <a:gd name="T30" fmla="*/ 59 w 93"/>
              <a:gd name="T31" fmla="*/ 42 h 114"/>
              <a:gd name="T32" fmla="*/ 52 w 93"/>
              <a:gd name="T33" fmla="*/ 39 h 114"/>
              <a:gd name="T34" fmla="*/ 54 w 93"/>
              <a:gd name="T35" fmla="*/ 33 h 114"/>
              <a:gd name="T36" fmla="*/ 58 w 93"/>
              <a:gd name="T37" fmla="*/ 21 h 114"/>
              <a:gd name="T38" fmla="*/ 62 w 93"/>
              <a:gd name="T39" fmla="*/ 15 h 114"/>
              <a:gd name="T40" fmla="*/ 59 w 93"/>
              <a:gd name="T41" fmla="*/ 14 h 114"/>
              <a:gd name="T42" fmla="*/ 53 w 93"/>
              <a:gd name="T43" fmla="*/ 6 h 114"/>
              <a:gd name="T44" fmla="*/ 50 w 93"/>
              <a:gd name="T45" fmla="*/ 2 h 114"/>
              <a:gd name="T46" fmla="*/ 50 w 93"/>
              <a:gd name="T47" fmla="*/ 0 h 114"/>
              <a:gd name="T48" fmla="*/ 47 w 93"/>
              <a:gd name="T49" fmla="*/ 11 h 114"/>
              <a:gd name="T50" fmla="*/ 50 w 93"/>
              <a:gd name="T51" fmla="*/ 16 h 114"/>
              <a:gd name="T52" fmla="*/ 47 w 93"/>
              <a:gd name="T53" fmla="*/ 30 h 114"/>
              <a:gd name="T54" fmla="*/ 48 w 93"/>
              <a:gd name="T55" fmla="*/ 24 h 114"/>
              <a:gd name="T56" fmla="*/ 51 w 93"/>
              <a:gd name="T57" fmla="*/ 28 h 114"/>
              <a:gd name="T58" fmla="*/ 51 w 93"/>
              <a:gd name="T59" fmla="*/ 30 h 114"/>
              <a:gd name="T60" fmla="*/ 48 w 93"/>
              <a:gd name="T61" fmla="*/ 34 h 114"/>
              <a:gd name="T62" fmla="*/ 46 w 93"/>
              <a:gd name="T63" fmla="*/ 41 h 114"/>
              <a:gd name="T64" fmla="*/ 51 w 93"/>
              <a:gd name="T65" fmla="*/ 40 h 114"/>
              <a:gd name="T66" fmla="*/ 47 w 93"/>
              <a:gd name="T67" fmla="*/ 44 h 114"/>
              <a:gd name="T68" fmla="*/ 44 w 93"/>
              <a:gd name="T69" fmla="*/ 51 h 114"/>
              <a:gd name="T70" fmla="*/ 30 w 93"/>
              <a:gd name="T71" fmla="*/ 69 h 114"/>
              <a:gd name="T72" fmla="*/ 12 w 93"/>
              <a:gd name="T73" fmla="*/ 77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3" h="114">
                <a:moveTo>
                  <a:pt x="12" y="77"/>
                </a:moveTo>
                <a:lnTo>
                  <a:pt x="17" y="84"/>
                </a:lnTo>
                <a:lnTo>
                  <a:pt x="21" y="93"/>
                </a:lnTo>
                <a:lnTo>
                  <a:pt x="0" y="111"/>
                </a:lnTo>
                <a:lnTo>
                  <a:pt x="5" y="114"/>
                </a:lnTo>
                <a:lnTo>
                  <a:pt x="24" y="104"/>
                </a:lnTo>
                <a:lnTo>
                  <a:pt x="44" y="92"/>
                </a:lnTo>
                <a:lnTo>
                  <a:pt x="53" y="78"/>
                </a:lnTo>
                <a:lnTo>
                  <a:pt x="68" y="75"/>
                </a:lnTo>
                <a:lnTo>
                  <a:pt x="75" y="68"/>
                </a:lnTo>
                <a:lnTo>
                  <a:pt x="93" y="52"/>
                </a:lnTo>
                <a:lnTo>
                  <a:pt x="90" y="51"/>
                </a:lnTo>
                <a:lnTo>
                  <a:pt x="75" y="57"/>
                </a:lnTo>
                <a:lnTo>
                  <a:pt x="60" y="50"/>
                </a:lnTo>
                <a:lnTo>
                  <a:pt x="65" y="33"/>
                </a:lnTo>
                <a:lnTo>
                  <a:pt x="59" y="42"/>
                </a:lnTo>
                <a:lnTo>
                  <a:pt x="52" y="39"/>
                </a:lnTo>
                <a:lnTo>
                  <a:pt x="54" y="33"/>
                </a:lnTo>
                <a:lnTo>
                  <a:pt x="58" y="21"/>
                </a:lnTo>
                <a:lnTo>
                  <a:pt x="62" y="15"/>
                </a:lnTo>
                <a:lnTo>
                  <a:pt x="59" y="14"/>
                </a:lnTo>
                <a:lnTo>
                  <a:pt x="53" y="6"/>
                </a:lnTo>
                <a:lnTo>
                  <a:pt x="50" y="2"/>
                </a:lnTo>
                <a:lnTo>
                  <a:pt x="50" y="0"/>
                </a:lnTo>
                <a:lnTo>
                  <a:pt x="47" y="11"/>
                </a:lnTo>
                <a:lnTo>
                  <a:pt x="50" y="16"/>
                </a:lnTo>
                <a:lnTo>
                  <a:pt x="47" y="30"/>
                </a:lnTo>
                <a:lnTo>
                  <a:pt x="48" y="24"/>
                </a:lnTo>
                <a:lnTo>
                  <a:pt x="51" y="28"/>
                </a:lnTo>
                <a:lnTo>
                  <a:pt x="51" y="30"/>
                </a:lnTo>
                <a:lnTo>
                  <a:pt x="48" y="34"/>
                </a:lnTo>
                <a:lnTo>
                  <a:pt x="46" y="41"/>
                </a:lnTo>
                <a:lnTo>
                  <a:pt x="51" y="40"/>
                </a:lnTo>
                <a:lnTo>
                  <a:pt x="47" y="44"/>
                </a:lnTo>
                <a:lnTo>
                  <a:pt x="44" y="51"/>
                </a:lnTo>
                <a:lnTo>
                  <a:pt x="30" y="69"/>
                </a:lnTo>
                <a:lnTo>
                  <a:pt x="12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6" name="Freeform 218">
            <a:extLst>
              <a:ext uri="{FF2B5EF4-FFF2-40B4-BE49-F238E27FC236}">
                <a16:creationId xmlns:a16="http://schemas.microsoft.com/office/drawing/2014/main" id="{68419284-8AC0-462E-B890-8F9CB998E038}"/>
              </a:ext>
            </a:extLst>
          </p:cNvPr>
          <p:cNvSpPr>
            <a:spLocks/>
          </p:cNvSpPr>
          <p:nvPr/>
        </p:nvSpPr>
        <p:spPr bwMode="gray">
          <a:xfrm>
            <a:off x="8446806" y="5670344"/>
            <a:ext cx="18926" cy="13630"/>
          </a:xfrm>
          <a:custGeom>
            <a:avLst/>
            <a:gdLst>
              <a:gd name="T0" fmla="*/ 10 w 10"/>
              <a:gd name="T1" fmla="*/ 3 h 6"/>
              <a:gd name="T2" fmla="*/ 10 w 10"/>
              <a:gd name="T3" fmla="*/ 1 h 6"/>
              <a:gd name="T4" fmla="*/ 5 w 10"/>
              <a:gd name="T5" fmla="*/ 0 h 6"/>
              <a:gd name="T6" fmla="*/ 0 w 10"/>
              <a:gd name="T7" fmla="*/ 6 h 6"/>
              <a:gd name="T8" fmla="*/ 10 w 10"/>
              <a:gd name="T9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6">
                <a:moveTo>
                  <a:pt x="10" y="3"/>
                </a:moveTo>
                <a:lnTo>
                  <a:pt x="10" y="1"/>
                </a:lnTo>
                <a:lnTo>
                  <a:pt x="5" y="0"/>
                </a:lnTo>
                <a:lnTo>
                  <a:pt x="0" y="6"/>
                </a:lnTo>
                <a:lnTo>
                  <a:pt x="10" y="3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7" name="Freeform 219">
            <a:extLst>
              <a:ext uri="{FF2B5EF4-FFF2-40B4-BE49-F238E27FC236}">
                <a16:creationId xmlns:a16="http://schemas.microsoft.com/office/drawing/2014/main" id="{4B6F90A9-0059-4D53-A892-E02B39F20650}"/>
              </a:ext>
            </a:extLst>
          </p:cNvPr>
          <p:cNvSpPr>
            <a:spLocks/>
          </p:cNvSpPr>
          <p:nvPr/>
        </p:nvSpPr>
        <p:spPr bwMode="gray">
          <a:xfrm>
            <a:off x="5888340" y="4770754"/>
            <a:ext cx="15486" cy="11683"/>
          </a:xfrm>
          <a:custGeom>
            <a:avLst/>
            <a:gdLst>
              <a:gd name="T0" fmla="*/ 3 w 8"/>
              <a:gd name="T1" fmla="*/ 0 h 6"/>
              <a:gd name="T2" fmla="*/ 0 w 8"/>
              <a:gd name="T3" fmla="*/ 6 h 6"/>
              <a:gd name="T4" fmla="*/ 8 w 8"/>
              <a:gd name="T5" fmla="*/ 5 h 6"/>
              <a:gd name="T6" fmla="*/ 3 w 8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6">
                <a:moveTo>
                  <a:pt x="3" y="0"/>
                </a:moveTo>
                <a:lnTo>
                  <a:pt x="0" y="6"/>
                </a:lnTo>
                <a:lnTo>
                  <a:pt x="8" y="5"/>
                </a:lnTo>
                <a:lnTo>
                  <a:pt x="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8" name="Freeform 233">
            <a:extLst>
              <a:ext uri="{FF2B5EF4-FFF2-40B4-BE49-F238E27FC236}">
                <a16:creationId xmlns:a16="http://schemas.microsoft.com/office/drawing/2014/main" id="{868EC987-1137-4160-8B8B-E7E410ECE46C}"/>
              </a:ext>
            </a:extLst>
          </p:cNvPr>
          <p:cNvSpPr>
            <a:spLocks/>
          </p:cNvSpPr>
          <p:nvPr/>
        </p:nvSpPr>
        <p:spPr bwMode="gray">
          <a:xfrm>
            <a:off x="3028776" y="5818327"/>
            <a:ext cx="37851" cy="35048"/>
          </a:xfrm>
          <a:custGeom>
            <a:avLst/>
            <a:gdLst>
              <a:gd name="T0" fmla="*/ 21 w 21"/>
              <a:gd name="T1" fmla="*/ 6 h 15"/>
              <a:gd name="T2" fmla="*/ 17 w 21"/>
              <a:gd name="T3" fmla="*/ 3 h 15"/>
              <a:gd name="T4" fmla="*/ 12 w 21"/>
              <a:gd name="T5" fmla="*/ 3 h 15"/>
              <a:gd name="T6" fmla="*/ 11 w 21"/>
              <a:gd name="T7" fmla="*/ 2 h 15"/>
              <a:gd name="T8" fmla="*/ 5 w 21"/>
              <a:gd name="T9" fmla="*/ 0 h 15"/>
              <a:gd name="T10" fmla="*/ 4 w 21"/>
              <a:gd name="T11" fmla="*/ 6 h 15"/>
              <a:gd name="T12" fmla="*/ 0 w 21"/>
              <a:gd name="T13" fmla="*/ 11 h 15"/>
              <a:gd name="T14" fmla="*/ 5 w 21"/>
              <a:gd name="T15" fmla="*/ 15 h 15"/>
              <a:gd name="T16" fmla="*/ 8 w 21"/>
              <a:gd name="T17" fmla="*/ 13 h 15"/>
              <a:gd name="T18" fmla="*/ 10 w 21"/>
              <a:gd name="T19" fmla="*/ 12 h 15"/>
              <a:gd name="T20" fmla="*/ 10 w 21"/>
              <a:gd name="T21" fmla="*/ 11 h 15"/>
              <a:gd name="T22" fmla="*/ 21 w 21"/>
              <a:gd name="T23" fmla="*/ 6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1" h="15">
                <a:moveTo>
                  <a:pt x="21" y="6"/>
                </a:moveTo>
                <a:lnTo>
                  <a:pt x="17" y="3"/>
                </a:lnTo>
                <a:lnTo>
                  <a:pt x="12" y="3"/>
                </a:lnTo>
                <a:lnTo>
                  <a:pt x="11" y="2"/>
                </a:lnTo>
                <a:lnTo>
                  <a:pt x="5" y="0"/>
                </a:lnTo>
                <a:lnTo>
                  <a:pt x="4" y="6"/>
                </a:lnTo>
                <a:lnTo>
                  <a:pt x="0" y="11"/>
                </a:lnTo>
                <a:lnTo>
                  <a:pt x="5" y="15"/>
                </a:lnTo>
                <a:lnTo>
                  <a:pt x="8" y="13"/>
                </a:lnTo>
                <a:lnTo>
                  <a:pt x="10" y="12"/>
                </a:lnTo>
                <a:lnTo>
                  <a:pt x="10" y="11"/>
                </a:lnTo>
                <a:lnTo>
                  <a:pt x="21" y="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9" name="Freeform 234">
            <a:extLst>
              <a:ext uri="{FF2B5EF4-FFF2-40B4-BE49-F238E27FC236}">
                <a16:creationId xmlns:a16="http://schemas.microsoft.com/office/drawing/2014/main" id="{33A79D75-72D9-4666-A117-DD6F77D8B673}"/>
              </a:ext>
            </a:extLst>
          </p:cNvPr>
          <p:cNvSpPr>
            <a:spLocks/>
          </p:cNvSpPr>
          <p:nvPr/>
        </p:nvSpPr>
        <p:spPr bwMode="gray">
          <a:xfrm>
            <a:off x="3001247" y="5828063"/>
            <a:ext cx="30969" cy="21419"/>
          </a:xfrm>
          <a:custGeom>
            <a:avLst/>
            <a:gdLst>
              <a:gd name="T0" fmla="*/ 4 w 16"/>
              <a:gd name="T1" fmla="*/ 4 h 11"/>
              <a:gd name="T2" fmla="*/ 1 w 16"/>
              <a:gd name="T3" fmla="*/ 0 h 11"/>
              <a:gd name="T4" fmla="*/ 16 w 16"/>
              <a:gd name="T5" fmla="*/ 0 h 11"/>
              <a:gd name="T6" fmla="*/ 8 w 16"/>
              <a:gd name="T7" fmla="*/ 9 h 11"/>
              <a:gd name="T8" fmla="*/ 0 w 16"/>
              <a:gd name="T9" fmla="*/ 11 h 11"/>
              <a:gd name="T10" fmla="*/ 5 w 16"/>
              <a:gd name="T11" fmla="*/ 6 h 11"/>
              <a:gd name="T12" fmla="*/ 2 w 16"/>
              <a:gd name="T13" fmla="*/ 5 h 11"/>
              <a:gd name="T14" fmla="*/ 4 w 16"/>
              <a:gd name="T15" fmla="*/ 4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6" h="11">
                <a:moveTo>
                  <a:pt x="4" y="4"/>
                </a:moveTo>
                <a:lnTo>
                  <a:pt x="1" y="0"/>
                </a:lnTo>
                <a:lnTo>
                  <a:pt x="16" y="0"/>
                </a:lnTo>
                <a:lnTo>
                  <a:pt x="8" y="9"/>
                </a:lnTo>
                <a:lnTo>
                  <a:pt x="0" y="11"/>
                </a:lnTo>
                <a:lnTo>
                  <a:pt x="5" y="6"/>
                </a:lnTo>
                <a:lnTo>
                  <a:pt x="2" y="5"/>
                </a:lnTo>
                <a:lnTo>
                  <a:pt x="4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0" name="Freeform 235">
            <a:extLst>
              <a:ext uri="{FF2B5EF4-FFF2-40B4-BE49-F238E27FC236}">
                <a16:creationId xmlns:a16="http://schemas.microsoft.com/office/drawing/2014/main" id="{E0C886F0-1747-47E0-B8F9-B4A435B6508D}"/>
              </a:ext>
            </a:extLst>
          </p:cNvPr>
          <p:cNvSpPr>
            <a:spLocks/>
          </p:cNvSpPr>
          <p:nvPr/>
        </p:nvSpPr>
        <p:spPr bwMode="gray">
          <a:xfrm>
            <a:off x="4728685" y="4636399"/>
            <a:ext cx="363036" cy="410853"/>
          </a:xfrm>
          <a:custGeom>
            <a:avLst/>
            <a:gdLst>
              <a:gd name="T0" fmla="*/ 112 w 190"/>
              <a:gd name="T1" fmla="*/ 124 h 190"/>
              <a:gd name="T2" fmla="*/ 113 w 190"/>
              <a:gd name="T3" fmla="*/ 102 h 190"/>
              <a:gd name="T4" fmla="*/ 114 w 190"/>
              <a:gd name="T5" fmla="*/ 80 h 190"/>
              <a:gd name="T6" fmla="*/ 128 w 190"/>
              <a:gd name="T7" fmla="*/ 80 h 190"/>
              <a:gd name="T8" fmla="*/ 129 w 190"/>
              <a:gd name="T9" fmla="*/ 66 h 190"/>
              <a:gd name="T10" fmla="*/ 129 w 190"/>
              <a:gd name="T11" fmla="*/ 50 h 190"/>
              <a:gd name="T12" fmla="*/ 129 w 190"/>
              <a:gd name="T13" fmla="*/ 36 h 190"/>
              <a:gd name="T14" fmla="*/ 130 w 190"/>
              <a:gd name="T15" fmla="*/ 21 h 190"/>
              <a:gd name="T16" fmla="*/ 146 w 190"/>
              <a:gd name="T17" fmla="*/ 19 h 190"/>
              <a:gd name="T18" fmla="*/ 162 w 190"/>
              <a:gd name="T19" fmla="*/ 16 h 190"/>
              <a:gd name="T20" fmla="*/ 167 w 190"/>
              <a:gd name="T21" fmla="*/ 22 h 190"/>
              <a:gd name="T22" fmla="*/ 179 w 190"/>
              <a:gd name="T23" fmla="*/ 16 h 190"/>
              <a:gd name="T24" fmla="*/ 190 w 190"/>
              <a:gd name="T25" fmla="*/ 13 h 190"/>
              <a:gd name="T26" fmla="*/ 174 w 190"/>
              <a:gd name="T27" fmla="*/ 8 h 190"/>
              <a:gd name="T28" fmla="*/ 165 w 190"/>
              <a:gd name="T29" fmla="*/ 9 h 190"/>
              <a:gd name="T30" fmla="*/ 143 w 190"/>
              <a:gd name="T31" fmla="*/ 12 h 190"/>
              <a:gd name="T32" fmla="*/ 123 w 190"/>
              <a:gd name="T33" fmla="*/ 15 h 190"/>
              <a:gd name="T34" fmla="*/ 110 w 190"/>
              <a:gd name="T35" fmla="*/ 12 h 190"/>
              <a:gd name="T36" fmla="*/ 96 w 190"/>
              <a:gd name="T37" fmla="*/ 9 h 190"/>
              <a:gd name="T38" fmla="*/ 94 w 190"/>
              <a:gd name="T39" fmla="*/ 6 h 190"/>
              <a:gd name="T40" fmla="*/ 77 w 190"/>
              <a:gd name="T41" fmla="*/ 6 h 190"/>
              <a:gd name="T42" fmla="*/ 62 w 190"/>
              <a:gd name="T43" fmla="*/ 4 h 190"/>
              <a:gd name="T44" fmla="*/ 45 w 190"/>
              <a:gd name="T45" fmla="*/ 4 h 190"/>
              <a:gd name="T46" fmla="*/ 29 w 190"/>
              <a:gd name="T47" fmla="*/ 3 h 190"/>
              <a:gd name="T48" fmla="*/ 18 w 190"/>
              <a:gd name="T49" fmla="*/ 0 h 190"/>
              <a:gd name="T50" fmla="*/ 0 w 190"/>
              <a:gd name="T51" fmla="*/ 3 h 190"/>
              <a:gd name="T52" fmla="*/ 0 w 190"/>
              <a:gd name="T53" fmla="*/ 13 h 190"/>
              <a:gd name="T54" fmla="*/ 10 w 190"/>
              <a:gd name="T55" fmla="*/ 32 h 190"/>
              <a:gd name="T56" fmla="*/ 20 w 190"/>
              <a:gd name="T57" fmla="*/ 51 h 190"/>
              <a:gd name="T58" fmla="*/ 28 w 190"/>
              <a:gd name="T59" fmla="*/ 72 h 190"/>
              <a:gd name="T60" fmla="*/ 38 w 190"/>
              <a:gd name="T61" fmla="*/ 91 h 190"/>
              <a:gd name="T62" fmla="*/ 40 w 190"/>
              <a:gd name="T63" fmla="*/ 99 h 190"/>
              <a:gd name="T64" fmla="*/ 36 w 190"/>
              <a:gd name="T65" fmla="*/ 98 h 190"/>
              <a:gd name="T66" fmla="*/ 39 w 190"/>
              <a:gd name="T67" fmla="*/ 115 h 190"/>
              <a:gd name="T68" fmla="*/ 41 w 190"/>
              <a:gd name="T69" fmla="*/ 130 h 190"/>
              <a:gd name="T70" fmla="*/ 44 w 190"/>
              <a:gd name="T71" fmla="*/ 147 h 190"/>
              <a:gd name="T72" fmla="*/ 46 w 190"/>
              <a:gd name="T73" fmla="*/ 164 h 190"/>
              <a:gd name="T74" fmla="*/ 53 w 190"/>
              <a:gd name="T75" fmla="*/ 175 h 190"/>
              <a:gd name="T76" fmla="*/ 62 w 190"/>
              <a:gd name="T77" fmla="*/ 186 h 190"/>
              <a:gd name="T78" fmla="*/ 70 w 190"/>
              <a:gd name="T79" fmla="*/ 177 h 190"/>
              <a:gd name="T80" fmla="*/ 74 w 190"/>
              <a:gd name="T81" fmla="*/ 187 h 190"/>
              <a:gd name="T82" fmla="*/ 95 w 190"/>
              <a:gd name="T83" fmla="*/ 190 h 190"/>
              <a:gd name="T84" fmla="*/ 107 w 190"/>
              <a:gd name="T85" fmla="*/ 184 h 190"/>
              <a:gd name="T86" fmla="*/ 108 w 190"/>
              <a:gd name="T87" fmla="*/ 170 h 190"/>
              <a:gd name="T88" fmla="*/ 110 w 190"/>
              <a:gd name="T89" fmla="*/ 154 h 190"/>
              <a:gd name="T90" fmla="*/ 111 w 190"/>
              <a:gd name="T91" fmla="*/ 139 h 190"/>
              <a:gd name="T92" fmla="*/ 112 w 190"/>
              <a:gd name="T93" fmla="*/ 124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90" h="190">
                <a:moveTo>
                  <a:pt x="112" y="124"/>
                </a:moveTo>
                <a:lnTo>
                  <a:pt x="113" y="102"/>
                </a:lnTo>
                <a:lnTo>
                  <a:pt x="114" y="80"/>
                </a:lnTo>
                <a:lnTo>
                  <a:pt x="128" y="80"/>
                </a:lnTo>
                <a:lnTo>
                  <a:pt x="129" y="66"/>
                </a:lnTo>
                <a:lnTo>
                  <a:pt x="129" y="50"/>
                </a:lnTo>
                <a:lnTo>
                  <a:pt x="129" y="36"/>
                </a:lnTo>
                <a:lnTo>
                  <a:pt x="130" y="21"/>
                </a:lnTo>
                <a:lnTo>
                  <a:pt x="146" y="19"/>
                </a:lnTo>
                <a:lnTo>
                  <a:pt x="162" y="16"/>
                </a:lnTo>
                <a:lnTo>
                  <a:pt x="167" y="22"/>
                </a:lnTo>
                <a:lnTo>
                  <a:pt x="179" y="16"/>
                </a:lnTo>
                <a:lnTo>
                  <a:pt x="190" y="13"/>
                </a:lnTo>
                <a:lnTo>
                  <a:pt x="174" y="8"/>
                </a:lnTo>
                <a:lnTo>
                  <a:pt x="165" y="9"/>
                </a:lnTo>
                <a:lnTo>
                  <a:pt x="143" y="12"/>
                </a:lnTo>
                <a:lnTo>
                  <a:pt x="123" y="15"/>
                </a:lnTo>
                <a:lnTo>
                  <a:pt x="110" y="12"/>
                </a:lnTo>
                <a:lnTo>
                  <a:pt x="96" y="9"/>
                </a:lnTo>
                <a:lnTo>
                  <a:pt x="94" y="6"/>
                </a:lnTo>
                <a:lnTo>
                  <a:pt x="77" y="6"/>
                </a:lnTo>
                <a:lnTo>
                  <a:pt x="62" y="4"/>
                </a:lnTo>
                <a:lnTo>
                  <a:pt x="45" y="4"/>
                </a:lnTo>
                <a:lnTo>
                  <a:pt x="29" y="3"/>
                </a:lnTo>
                <a:lnTo>
                  <a:pt x="18" y="0"/>
                </a:lnTo>
                <a:lnTo>
                  <a:pt x="0" y="3"/>
                </a:lnTo>
                <a:lnTo>
                  <a:pt x="0" y="13"/>
                </a:lnTo>
                <a:lnTo>
                  <a:pt x="10" y="32"/>
                </a:lnTo>
                <a:lnTo>
                  <a:pt x="20" y="51"/>
                </a:lnTo>
                <a:lnTo>
                  <a:pt x="28" y="72"/>
                </a:lnTo>
                <a:lnTo>
                  <a:pt x="38" y="91"/>
                </a:lnTo>
                <a:lnTo>
                  <a:pt x="40" y="99"/>
                </a:lnTo>
                <a:lnTo>
                  <a:pt x="36" y="98"/>
                </a:lnTo>
                <a:lnTo>
                  <a:pt x="39" y="115"/>
                </a:lnTo>
                <a:lnTo>
                  <a:pt x="41" y="130"/>
                </a:lnTo>
                <a:lnTo>
                  <a:pt x="44" y="147"/>
                </a:lnTo>
                <a:lnTo>
                  <a:pt x="46" y="164"/>
                </a:lnTo>
                <a:lnTo>
                  <a:pt x="53" y="175"/>
                </a:lnTo>
                <a:lnTo>
                  <a:pt x="62" y="186"/>
                </a:lnTo>
                <a:lnTo>
                  <a:pt x="70" y="177"/>
                </a:lnTo>
                <a:lnTo>
                  <a:pt x="74" y="187"/>
                </a:lnTo>
                <a:lnTo>
                  <a:pt x="95" y="190"/>
                </a:lnTo>
                <a:lnTo>
                  <a:pt x="107" y="184"/>
                </a:lnTo>
                <a:lnTo>
                  <a:pt x="108" y="170"/>
                </a:lnTo>
                <a:lnTo>
                  <a:pt x="110" y="154"/>
                </a:lnTo>
                <a:lnTo>
                  <a:pt x="111" y="139"/>
                </a:lnTo>
                <a:lnTo>
                  <a:pt x="112" y="12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1" name="Freeform 236">
            <a:extLst>
              <a:ext uri="{FF2B5EF4-FFF2-40B4-BE49-F238E27FC236}">
                <a16:creationId xmlns:a16="http://schemas.microsoft.com/office/drawing/2014/main" id="{26298964-A20B-4E8A-BFFA-FB87DD64F531}"/>
              </a:ext>
            </a:extLst>
          </p:cNvPr>
          <p:cNvSpPr>
            <a:spLocks/>
          </p:cNvSpPr>
          <p:nvPr/>
        </p:nvSpPr>
        <p:spPr bwMode="gray">
          <a:xfrm>
            <a:off x="2534977" y="4383268"/>
            <a:ext cx="337228" cy="455635"/>
          </a:xfrm>
          <a:custGeom>
            <a:avLst/>
            <a:gdLst>
              <a:gd name="T0" fmla="*/ 119 w 178"/>
              <a:gd name="T1" fmla="*/ 166 h 210"/>
              <a:gd name="T2" fmla="*/ 115 w 178"/>
              <a:gd name="T3" fmla="*/ 184 h 210"/>
              <a:gd name="T4" fmla="*/ 113 w 178"/>
              <a:gd name="T5" fmla="*/ 201 h 210"/>
              <a:gd name="T6" fmla="*/ 109 w 178"/>
              <a:gd name="T7" fmla="*/ 197 h 210"/>
              <a:gd name="T8" fmla="*/ 94 w 178"/>
              <a:gd name="T9" fmla="*/ 199 h 210"/>
              <a:gd name="T10" fmla="*/ 89 w 178"/>
              <a:gd name="T11" fmla="*/ 209 h 210"/>
              <a:gd name="T12" fmla="*/ 82 w 178"/>
              <a:gd name="T13" fmla="*/ 199 h 210"/>
              <a:gd name="T14" fmla="*/ 65 w 178"/>
              <a:gd name="T15" fmla="*/ 196 h 210"/>
              <a:gd name="T16" fmla="*/ 61 w 178"/>
              <a:gd name="T17" fmla="*/ 193 h 210"/>
              <a:gd name="T18" fmla="*/ 51 w 178"/>
              <a:gd name="T19" fmla="*/ 210 h 210"/>
              <a:gd name="T20" fmla="*/ 41 w 178"/>
              <a:gd name="T21" fmla="*/ 209 h 210"/>
              <a:gd name="T22" fmla="*/ 35 w 178"/>
              <a:gd name="T23" fmla="*/ 195 h 210"/>
              <a:gd name="T24" fmla="*/ 29 w 178"/>
              <a:gd name="T25" fmla="*/ 180 h 210"/>
              <a:gd name="T26" fmla="*/ 25 w 178"/>
              <a:gd name="T27" fmla="*/ 166 h 210"/>
              <a:gd name="T28" fmla="*/ 25 w 178"/>
              <a:gd name="T29" fmla="*/ 154 h 210"/>
              <a:gd name="T30" fmla="*/ 18 w 178"/>
              <a:gd name="T31" fmla="*/ 143 h 210"/>
              <a:gd name="T32" fmla="*/ 13 w 178"/>
              <a:gd name="T33" fmla="*/ 132 h 210"/>
              <a:gd name="T34" fmla="*/ 10 w 178"/>
              <a:gd name="T35" fmla="*/ 125 h 210"/>
              <a:gd name="T36" fmla="*/ 10 w 178"/>
              <a:gd name="T37" fmla="*/ 118 h 210"/>
              <a:gd name="T38" fmla="*/ 16 w 178"/>
              <a:gd name="T39" fmla="*/ 105 h 210"/>
              <a:gd name="T40" fmla="*/ 11 w 178"/>
              <a:gd name="T41" fmla="*/ 103 h 210"/>
              <a:gd name="T42" fmla="*/ 10 w 178"/>
              <a:gd name="T43" fmla="*/ 90 h 210"/>
              <a:gd name="T44" fmla="*/ 10 w 178"/>
              <a:gd name="T45" fmla="*/ 76 h 210"/>
              <a:gd name="T46" fmla="*/ 12 w 178"/>
              <a:gd name="T47" fmla="*/ 67 h 210"/>
              <a:gd name="T48" fmla="*/ 12 w 178"/>
              <a:gd name="T49" fmla="*/ 48 h 210"/>
              <a:gd name="T50" fmla="*/ 15 w 178"/>
              <a:gd name="T51" fmla="*/ 45 h 210"/>
              <a:gd name="T52" fmla="*/ 7 w 178"/>
              <a:gd name="T53" fmla="*/ 31 h 210"/>
              <a:gd name="T54" fmla="*/ 0 w 178"/>
              <a:gd name="T55" fmla="*/ 19 h 210"/>
              <a:gd name="T56" fmla="*/ 18 w 178"/>
              <a:gd name="T57" fmla="*/ 19 h 210"/>
              <a:gd name="T58" fmla="*/ 25 w 178"/>
              <a:gd name="T59" fmla="*/ 15 h 210"/>
              <a:gd name="T60" fmla="*/ 36 w 178"/>
              <a:gd name="T61" fmla="*/ 7 h 210"/>
              <a:gd name="T62" fmla="*/ 48 w 178"/>
              <a:gd name="T63" fmla="*/ 0 h 210"/>
              <a:gd name="T64" fmla="*/ 59 w 178"/>
              <a:gd name="T65" fmla="*/ 1 h 210"/>
              <a:gd name="T66" fmla="*/ 60 w 178"/>
              <a:gd name="T67" fmla="*/ 15 h 210"/>
              <a:gd name="T68" fmla="*/ 63 w 178"/>
              <a:gd name="T69" fmla="*/ 28 h 210"/>
              <a:gd name="T70" fmla="*/ 73 w 178"/>
              <a:gd name="T71" fmla="*/ 40 h 210"/>
              <a:gd name="T72" fmla="*/ 83 w 178"/>
              <a:gd name="T73" fmla="*/ 43 h 210"/>
              <a:gd name="T74" fmla="*/ 96 w 178"/>
              <a:gd name="T75" fmla="*/ 49 h 210"/>
              <a:gd name="T76" fmla="*/ 112 w 178"/>
              <a:gd name="T77" fmla="*/ 60 h 210"/>
              <a:gd name="T78" fmla="*/ 127 w 178"/>
              <a:gd name="T79" fmla="*/ 63 h 210"/>
              <a:gd name="T80" fmla="*/ 132 w 178"/>
              <a:gd name="T81" fmla="*/ 70 h 210"/>
              <a:gd name="T82" fmla="*/ 133 w 178"/>
              <a:gd name="T83" fmla="*/ 85 h 210"/>
              <a:gd name="T84" fmla="*/ 131 w 178"/>
              <a:gd name="T85" fmla="*/ 85 h 210"/>
              <a:gd name="T86" fmla="*/ 137 w 178"/>
              <a:gd name="T87" fmla="*/ 93 h 210"/>
              <a:gd name="T88" fmla="*/ 138 w 178"/>
              <a:gd name="T89" fmla="*/ 105 h 210"/>
              <a:gd name="T90" fmla="*/ 151 w 178"/>
              <a:gd name="T91" fmla="*/ 106 h 210"/>
              <a:gd name="T92" fmla="*/ 165 w 178"/>
              <a:gd name="T93" fmla="*/ 107 h 210"/>
              <a:gd name="T94" fmla="*/ 166 w 178"/>
              <a:gd name="T95" fmla="*/ 121 h 210"/>
              <a:gd name="T96" fmla="*/ 175 w 178"/>
              <a:gd name="T97" fmla="*/ 130 h 210"/>
              <a:gd name="T98" fmla="*/ 178 w 178"/>
              <a:gd name="T99" fmla="*/ 136 h 210"/>
              <a:gd name="T100" fmla="*/ 174 w 178"/>
              <a:gd name="T101" fmla="*/ 148 h 210"/>
              <a:gd name="T102" fmla="*/ 172 w 178"/>
              <a:gd name="T103" fmla="*/ 161 h 210"/>
              <a:gd name="T104" fmla="*/ 174 w 178"/>
              <a:gd name="T105" fmla="*/ 166 h 210"/>
              <a:gd name="T106" fmla="*/ 172 w 178"/>
              <a:gd name="T107" fmla="*/ 167 h 210"/>
              <a:gd name="T108" fmla="*/ 172 w 178"/>
              <a:gd name="T109" fmla="*/ 165 h 210"/>
              <a:gd name="T110" fmla="*/ 157 w 178"/>
              <a:gd name="T111" fmla="*/ 154 h 210"/>
              <a:gd name="T112" fmla="*/ 139 w 178"/>
              <a:gd name="T113" fmla="*/ 156 h 210"/>
              <a:gd name="T114" fmla="*/ 121 w 178"/>
              <a:gd name="T115" fmla="*/ 159 h 210"/>
              <a:gd name="T116" fmla="*/ 119 w 178"/>
              <a:gd name="T117" fmla="*/ 166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78" h="210">
                <a:moveTo>
                  <a:pt x="119" y="166"/>
                </a:moveTo>
                <a:lnTo>
                  <a:pt x="115" y="184"/>
                </a:lnTo>
                <a:lnTo>
                  <a:pt x="113" y="201"/>
                </a:lnTo>
                <a:lnTo>
                  <a:pt x="109" y="197"/>
                </a:lnTo>
                <a:lnTo>
                  <a:pt x="94" y="199"/>
                </a:lnTo>
                <a:lnTo>
                  <a:pt x="89" y="209"/>
                </a:lnTo>
                <a:lnTo>
                  <a:pt x="82" y="199"/>
                </a:lnTo>
                <a:lnTo>
                  <a:pt x="65" y="196"/>
                </a:lnTo>
                <a:lnTo>
                  <a:pt x="61" y="193"/>
                </a:lnTo>
                <a:lnTo>
                  <a:pt x="51" y="210"/>
                </a:lnTo>
                <a:lnTo>
                  <a:pt x="41" y="209"/>
                </a:lnTo>
                <a:lnTo>
                  <a:pt x="35" y="195"/>
                </a:lnTo>
                <a:lnTo>
                  <a:pt x="29" y="180"/>
                </a:lnTo>
                <a:lnTo>
                  <a:pt x="25" y="166"/>
                </a:lnTo>
                <a:lnTo>
                  <a:pt x="25" y="154"/>
                </a:lnTo>
                <a:lnTo>
                  <a:pt x="18" y="143"/>
                </a:lnTo>
                <a:lnTo>
                  <a:pt x="13" y="132"/>
                </a:lnTo>
                <a:lnTo>
                  <a:pt x="10" y="125"/>
                </a:lnTo>
                <a:lnTo>
                  <a:pt x="10" y="118"/>
                </a:lnTo>
                <a:lnTo>
                  <a:pt x="16" y="105"/>
                </a:lnTo>
                <a:lnTo>
                  <a:pt x="11" y="103"/>
                </a:lnTo>
                <a:lnTo>
                  <a:pt x="10" y="90"/>
                </a:lnTo>
                <a:lnTo>
                  <a:pt x="10" y="76"/>
                </a:lnTo>
                <a:lnTo>
                  <a:pt x="12" y="67"/>
                </a:lnTo>
                <a:lnTo>
                  <a:pt x="12" y="48"/>
                </a:lnTo>
                <a:lnTo>
                  <a:pt x="15" y="45"/>
                </a:lnTo>
                <a:lnTo>
                  <a:pt x="7" y="31"/>
                </a:lnTo>
                <a:lnTo>
                  <a:pt x="0" y="19"/>
                </a:lnTo>
                <a:lnTo>
                  <a:pt x="18" y="19"/>
                </a:lnTo>
                <a:lnTo>
                  <a:pt x="25" y="15"/>
                </a:lnTo>
                <a:lnTo>
                  <a:pt x="36" y="7"/>
                </a:lnTo>
                <a:lnTo>
                  <a:pt x="48" y="0"/>
                </a:lnTo>
                <a:lnTo>
                  <a:pt x="59" y="1"/>
                </a:lnTo>
                <a:lnTo>
                  <a:pt x="60" y="15"/>
                </a:lnTo>
                <a:lnTo>
                  <a:pt x="63" y="28"/>
                </a:lnTo>
                <a:lnTo>
                  <a:pt x="73" y="40"/>
                </a:lnTo>
                <a:lnTo>
                  <a:pt x="83" y="43"/>
                </a:lnTo>
                <a:lnTo>
                  <a:pt x="96" y="49"/>
                </a:lnTo>
                <a:lnTo>
                  <a:pt x="112" y="60"/>
                </a:lnTo>
                <a:lnTo>
                  <a:pt x="127" y="63"/>
                </a:lnTo>
                <a:lnTo>
                  <a:pt x="132" y="70"/>
                </a:lnTo>
                <a:lnTo>
                  <a:pt x="133" y="85"/>
                </a:lnTo>
                <a:lnTo>
                  <a:pt x="131" y="85"/>
                </a:lnTo>
                <a:lnTo>
                  <a:pt x="137" y="93"/>
                </a:lnTo>
                <a:lnTo>
                  <a:pt x="138" y="105"/>
                </a:lnTo>
                <a:lnTo>
                  <a:pt x="151" y="106"/>
                </a:lnTo>
                <a:lnTo>
                  <a:pt x="165" y="107"/>
                </a:lnTo>
                <a:lnTo>
                  <a:pt x="166" y="121"/>
                </a:lnTo>
                <a:lnTo>
                  <a:pt x="175" y="130"/>
                </a:lnTo>
                <a:lnTo>
                  <a:pt x="178" y="136"/>
                </a:lnTo>
                <a:lnTo>
                  <a:pt x="174" y="148"/>
                </a:lnTo>
                <a:lnTo>
                  <a:pt x="172" y="161"/>
                </a:lnTo>
                <a:lnTo>
                  <a:pt x="174" y="166"/>
                </a:lnTo>
                <a:lnTo>
                  <a:pt x="172" y="167"/>
                </a:lnTo>
                <a:lnTo>
                  <a:pt x="172" y="165"/>
                </a:lnTo>
                <a:lnTo>
                  <a:pt x="157" y="154"/>
                </a:lnTo>
                <a:lnTo>
                  <a:pt x="139" y="156"/>
                </a:lnTo>
                <a:lnTo>
                  <a:pt x="121" y="159"/>
                </a:lnTo>
                <a:lnTo>
                  <a:pt x="119" y="16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2" name="Freeform 237">
            <a:extLst>
              <a:ext uri="{FF2B5EF4-FFF2-40B4-BE49-F238E27FC236}">
                <a16:creationId xmlns:a16="http://schemas.microsoft.com/office/drawing/2014/main" id="{C803F7DE-B201-4D37-91FB-B1E1F55DFB3E}"/>
              </a:ext>
            </a:extLst>
          </p:cNvPr>
          <p:cNvSpPr>
            <a:spLocks/>
          </p:cNvSpPr>
          <p:nvPr/>
        </p:nvSpPr>
        <p:spPr bwMode="gray">
          <a:xfrm>
            <a:off x="4943754" y="4661712"/>
            <a:ext cx="247760" cy="311546"/>
          </a:xfrm>
          <a:custGeom>
            <a:avLst/>
            <a:gdLst>
              <a:gd name="T0" fmla="*/ 0 w 131"/>
              <a:gd name="T1" fmla="*/ 111 h 144"/>
              <a:gd name="T2" fmla="*/ 1 w 131"/>
              <a:gd name="T3" fmla="*/ 89 h 144"/>
              <a:gd name="T4" fmla="*/ 2 w 131"/>
              <a:gd name="T5" fmla="*/ 67 h 144"/>
              <a:gd name="T6" fmla="*/ 16 w 131"/>
              <a:gd name="T7" fmla="*/ 67 h 144"/>
              <a:gd name="T8" fmla="*/ 17 w 131"/>
              <a:gd name="T9" fmla="*/ 53 h 144"/>
              <a:gd name="T10" fmla="*/ 17 w 131"/>
              <a:gd name="T11" fmla="*/ 37 h 144"/>
              <a:gd name="T12" fmla="*/ 17 w 131"/>
              <a:gd name="T13" fmla="*/ 23 h 144"/>
              <a:gd name="T14" fmla="*/ 18 w 131"/>
              <a:gd name="T15" fmla="*/ 8 h 144"/>
              <a:gd name="T16" fmla="*/ 34 w 131"/>
              <a:gd name="T17" fmla="*/ 6 h 144"/>
              <a:gd name="T18" fmla="*/ 50 w 131"/>
              <a:gd name="T19" fmla="*/ 3 h 144"/>
              <a:gd name="T20" fmla="*/ 55 w 131"/>
              <a:gd name="T21" fmla="*/ 9 h 144"/>
              <a:gd name="T22" fmla="*/ 67 w 131"/>
              <a:gd name="T23" fmla="*/ 3 h 144"/>
              <a:gd name="T24" fmla="*/ 78 w 131"/>
              <a:gd name="T25" fmla="*/ 0 h 144"/>
              <a:gd name="T26" fmla="*/ 86 w 131"/>
              <a:gd name="T27" fmla="*/ 15 h 144"/>
              <a:gd name="T28" fmla="*/ 94 w 131"/>
              <a:gd name="T29" fmla="*/ 31 h 144"/>
              <a:gd name="T30" fmla="*/ 104 w 131"/>
              <a:gd name="T31" fmla="*/ 38 h 144"/>
              <a:gd name="T32" fmla="*/ 107 w 131"/>
              <a:gd name="T33" fmla="*/ 42 h 144"/>
              <a:gd name="T34" fmla="*/ 110 w 131"/>
              <a:gd name="T35" fmla="*/ 47 h 144"/>
              <a:gd name="T36" fmla="*/ 115 w 131"/>
              <a:gd name="T37" fmla="*/ 60 h 144"/>
              <a:gd name="T38" fmla="*/ 127 w 131"/>
              <a:gd name="T39" fmla="*/ 66 h 144"/>
              <a:gd name="T40" fmla="*/ 131 w 131"/>
              <a:gd name="T41" fmla="*/ 68 h 144"/>
              <a:gd name="T42" fmla="*/ 131 w 131"/>
              <a:gd name="T43" fmla="*/ 69 h 144"/>
              <a:gd name="T44" fmla="*/ 112 w 131"/>
              <a:gd name="T45" fmla="*/ 83 h 144"/>
              <a:gd name="T46" fmla="*/ 97 w 131"/>
              <a:gd name="T47" fmla="*/ 95 h 144"/>
              <a:gd name="T48" fmla="*/ 90 w 131"/>
              <a:gd name="T49" fmla="*/ 109 h 144"/>
              <a:gd name="T50" fmla="*/ 82 w 131"/>
              <a:gd name="T51" fmla="*/ 114 h 144"/>
              <a:gd name="T52" fmla="*/ 73 w 131"/>
              <a:gd name="T53" fmla="*/ 127 h 144"/>
              <a:gd name="T54" fmla="*/ 53 w 131"/>
              <a:gd name="T55" fmla="*/ 125 h 144"/>
              <a:gd name="T56" fmla="*/ 42 w 131"/>
              <a:gd name="T57" fmla="*/ 120 h 144"/>
              <a:gd name="T58" fmla="*/ 35 w 131"/>
              <a:gd name="T59" fmla="*/ 131 h 144"/>
              <a:gd name="T60" fmla="*/ 28 w 131"/>
              <a:gd name="T61" fmla="*/ 141 h 144"/>
              <a:gd name="T62" fmla="*/ 12 w 131"/>
              <a:gd name="T63" fmla="*/ 144 h 144"/>
              <a:gd name="T64" fmla="*/ 7 w 131"/>
              <a:gd name="T65" fmla="*/ 143 h 144"/>
              <a:gd name="T66" fmla="*/ 10 w 131"/>
              <a:gd name="T67" fmla="*/ 127 h 144"/>
              <a:gd name="T68" fmla="*/ 0 w 131"/>
              <a:gd name="T69" fmla="*/ 111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1" h="144">
                <a:moveTo>
                  <a:pt x="0" y="111"/>
                </a:moveTo>
                <a:lnTo>
                  <a:pt x="1" y="89"/>
                </a:lnTo>
                <a:lnTo>
                  <a:pt x="2" y="67"/>
                </a:lnTo>
                <a:lnTo>
                  <a:pt x="16" y="67"/>
                </a:lnTo>
                <a:lnTo>
                  <a:pt x="17" y="53"/>
                </a:lnTo>
                <a:lnTo>
                  <a:pt x="17" y="37"/>
                </a:lnTo>
                <a:lnTo>
                  <a:pt x="17" y="23"/>
                </a:lnTo>
                <a:lnTo>
                  <a:pt x="18" y="8"/>
                </a:lnTo>
                <a:lnTo>
                  <a:pt x="34" y="6"/>
                </a:lnTo>
                <a:lnTo>
                  <a:pt x="50" y="3"/>
                </a:lnTo>
                <a:lnTo>
                  <a:pt x="55" y="9"/>
                </a:lnTo>
                <a:lnTo>
                  <a:pt x="67" y="3"/>
                </a:lnTo>
                <a:lnTo>
                  <a:pt x="78" y="0"/>
                </a:lnTo>
                <a:lnTo>
                  <a:pt x="86" y="15"/>
                </a:lnTo>
                <a:lnTo>
                  <a:pt x="94" y="31"/>
                </a:lnTo>
                <a:lnTo>
                  <a:pt x="104" y="38"/>
                </a:lnTo>
                <a:lnTo>
                  <a:pt x="107" y="42"/>
                </a:lnTo>
                <a:lnTo>
                  <a:pt x="110" y="47"/>
                </a:lnTo>
                <a:lnTo>
                  <a:pt x="115" y="60"/>
                </a:lnTo>
                <a:lnTo>
                  <a:pt x="127" y="66"/>
                </a:lnTo>
                <a:lnTo>
                  <a:pt x="131" y="68"/>
                </a:lnTo>
                <a:lnTo>
                  <a:pt x="131" y="69"/>
                </a:lnTo>
                <a:lnTo>
                  <a:pt x="112" y="83"/>
                </a:lnTo>
                <a:lnTo>
                  <a:pt x="97" y="95"/>
                </a:lnTo>
                <a:lnTo>
                  <a:pt x="90" y="109"/>
                </a:lnTo>
                <a:lnTo>
                  <a:pt x="82" y="114"/>
                </a:lnTo>
                <a:lnTo>
                  <a:pt x="73" y="127"/>
                </a:lnTo>
                <a:lnTo>
                  <a:pt x="53" y="125"/>
                </a:lnTo>
                <a:lnTo>
                  <a:pt x="42" y="120"/>
                </a:lnTo>
                <a:lnTo>
                  <a:pt x="35" y="131"/>
                </a:lnTo>
                <a:lnTo>
                  <a:pt x="28" y="141"/>
                </a:lnTo>
                <a:lnTo>
                  <a:pt x="12" y="144"/>
                </a:lnTo>
                <a:lnTo>
                  <a:pt x="7" y="143"/>
                </a:lnTo>
                <a:lnTo>
                  <a:pt x="10" y="127"/>
                </a:lnTo>
                <a:lnTo>
                  <a:pt x="0" y="11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3" name="Freeform 238">
            <a:extLst>
              <a:ext uri="{FF2B5EF4-FFF2-40B4-BE49-F238E27FC236}">
                <a16:creationId xmlns:a16="http://schemas.microsoft.com/office/drawing/2014/main" id="{D308DBDD-37C4-4B7B-97DE-894FA31596F9}"/>
              </a:ext>
            </a:extLst>
          </p:cNvPr>
          <p:cNvSpPr>
            <a:spLocks/>
          </p:cNvSpPr>
          <p:nvPr/>
        </p:nvSpPr>
        <p:spPr bwMode="gray">
          <a:xfrm>
            <a:off x="5582080" y="4439736"/>
            <a:ext cx="8604" cy="17526"/>
          </a:xfrm>
          <a:custGeom>
            <a:avLst/>
            <a:gdLst>
              <a:gd name="T0" fmla="*/ 2 w 2"/>
              <a:gd name="T1" fmla="*/ 8 h 8"/>
              <a:gd name="T2" fmla="*/ 2 w 2"/>
              <a:gd name="T3" fmla="*/ 6 h 8"/>
              <a:gd name="T4" fmla="*/ 0 w 2"/>
              <a:gd name="T5" fmla="*/ 0 h 8"/>
              <a:gd name="T6" fmla="*/ 2 w 2"/>
              <a:gd name="T7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8">
                <a:moveTo>
                  <a:pt x="2" y="8"/>
                </a:moveTo>
                <a:lnTo>
                  <a:pt x="2" y="6"/>
                </a:lnTo>
                <a:lnTo>
                  <a:pt x="0" y="0"/>
                </a:lnTo>
                <a:lnTo>
                  <a:pt x="2" y="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4" name="Freeform 239">
            <a:extLst>
              <a:ext uri="{FF2B5EF4-FFF2-40B4-BE49-F238E27FC236}">
                <a16:creationId xmlns:a16="http://schemas.microsoft.com/office/drawing/2014/main" id="{73B6BAD7-C723-46CB-9605-212E93C40405}"/>
              </a:ext>
            </a:extLst>
          </p:cNvPr>
          <p:cNvSpPr>
            <a:spLocks/>
          </p:cNvSpPr>
          <p:nvPr/>
        </p:nvSpPr>
        <p:spPr bwMode="gray">
          <a:xfrm>
            <a:off x="5122694" y="5039461"/>
            <a:ext cx="58500" cy="68149"/>
          </a:xfrm>
          <a:custGeom>
            <a:avLst/>
            <a:gdLst>
              <a:gd name="T0" fmla="*/ 13 w 31"/>
              <a:gd name="T1" fmla="*/ 3 h 31"/>
              <a:gd name="T2" fmla="*/ 0 w 31"/>
              <a:gd name="T3" fmla="*/ 18 h 31"/>
              <a:gd name="T4" fmla="*/ 9 w 31"/>
              <a:gd name="T5" fmla="*/ 31 h 31"/>
              <a:gd name="T6" fmla="*/ 15 w 31"/>
              <a:gd name="T7" fmla="*/ 27 h 31"/>
              <a:gd name="T8" fmla="*/ 28 w 31"/>
              <a:gd name="T9" fmla="*/ 17 h 31"/>
              <a:gd name="T10" fmla="*/ 31 w 31"/>
              <a:gd name="T11" fmla="*/ 7 h 31"/>
              <a:gd name="T12" fmla="*/ 19 w 31"/>
              <a:gd name="T13" fmla="*/ 0 h 31"/>
              <a:gd name="T14" fmla="*/ 13 w 31"/>
              <a:gd name="T15" fmla="*/ 3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1" h="31">
                <a:moveTo>
                  <a:pt x="13" y="3"/>
                </a:moveTo>
                <a:lnTo>
                  <a:pt x="0" y="18"/>
                </a:lnTo>
                <a:lnTo>
                  <a:pt x="9" y="31"/>
                </a:lnTo>
                <a:lnTo>
                  <a:pt x="15" y="27"/>
                </a:lnTo>
                <a:lnTo>
                  <a:pt x="28" y="17"/>
                </a:lnTo>
                <a:lnTo>
                  <a:pt x="31" y="7"/>
                </a:lnTo>
                <a:lnTo>
                  <a:pt x="19" y="0"/>
                </a:lnTo>
                <a:lnTo>
                  <a:pt x="13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5" name="Freeform 240">
            <a:extLst>
              <a:ext uri="{FF2B5EF4-FFF2-40B4-BE49-F238E27FC236}">
                <a16:creationId xmlns:a16="http://schemas.microsoft.com/office/drawing/2014/main" id="{E50470E9-8FB3-4775-ABFC-8D8060AFBFC1}"/>
              </a:ext>
            </a:extLst>
          </p:cNvPr>
          <p:cNvSpPr>
            <a:spLocks/>
          </p:cNvSpPr>
          <p:nvPr/>
        </p:nvSpPr>
        <p:spPr bwMode="gray">
          <a:xfrm>
            <a:off x="5566595" y="4463103"/>
            <a:ext cx="206467" cy="467320"/>
          </a:xfrm>
          <a:custGeom>
            <a:avLst/>
            <a:gdLst>
              <a:gd name="T0" fmla="*/ 39 w 108"/>
              <a:gd name="T1" fmla="*/ 62 h 216"/>
              <a:gd name="T2" fmla="*/ 34 w 108"/>
              <a:gd name="T3" fmla="*/ 63 h 216"/>
              <a:gd name="T4" fmla="*/ 21 w 108"/>
              <a:gd name="T5" fmla="*/ 69 h 216"/>
              <a:gd name="T6" fmla="*/ 17 w 108"/>
              <a:gd name="T7" fmla="*/ 82 h 216"/>
              <a:gd name="T8" fmla="*/ 14 w 108"/>
              <a:gd name="T9" fmla="*/ 95 h 216"/>
              <a:gd name="T10" fmla="*/ 16 w 108"/>
              <a:gd name="T11" fmla="*/ 111 h 216"/>
              <a:gd name="T12" fmla="*/ 18 w 108"/>
              <a:gd name="T13" fmla="*/ 128 h 216"/>
              <a:gd name="T14" fmla="*/ 11 w 108"/>
              <a:gd name="T15" fmla="*/ 138 h 216"/>
              <a:gd name="T16" fmla="*/ 4 w 108"/>
              <a:gd name="T17" fmla="*/ 149 h 216"/>
              <a:gd name="T18" fmla="*/ 0 w 108"/>
              <a:gd name="T19" fmla="*/ 171 h 216"/>
              <a:gd name="T20" fmla="*/ 3 w 108"/>
              <a:gd name="T21" fmla="*/ 189 h 216"/>
              <a:gd name="T22" fmla="*/ 8 w 108"/>
              <a:gd name="T23" fmla="*/ 209 h 216"/>
              <a:gd name="T24" fmla="*/ 27 w 108"/>
              <a:gd name="T25" fmla="*/ 216 h 216"/>
              <a:gd name="T26" fmla="*/ 39 w 108"/>
              <a:gd name="T27" fmla="*/ 210 h 216"/>
              <a:gd name="T28" fmla="*/ 51 w 108"/>
              <a:gd name="T29" fmla="*/ 204 h 216"/>
              <a:gd name="T30" fmla="*/ 56 w 108"/>
              <a:gd name="T31" fmla="*/ 190 h 216"/>
              <a:gd name="T32" fmla="*/ 62 w 108"/>
              <a:gd name="T33" fmla="*/ 176 h 216"/>
              <a:gd name="T34" fmla="*/ 66 w 108"/>
              <a:gd name="T35" fmla="*/ 160 h 216"/>
              <a:gd name="T36" fmla="*/ 71 w 108"/>
              <a:gd name="T37" fmla="*/ 146 h 216"/>
              <a:gd name="T38" fmla="*/ 76 w 108"/>
              <a:gd name="T39" fmla="*/ 131 h 216"/>
              <a:gd name="T40" fmla="*/ 81 w 108"/>
              <a:gd name="T41" fmla="*/ 117 h 216"/>
              <a:gd name="T42" fmla="*/ 87 w 108"/>
              <a:gd name="T43" fmla="*/ 102 h 216"/>
              <a:gd name="T44" fmla="*/ 92 w 108"/>
              <a:gd name="T45" fmla="*/ 87 h 216"/>
              <a:gd name="T46" fmla="*/ 96 w 108"/>
              <a:gd name="T47" fmla="*/ 77 h 216"/>
              <a:gd name="T48" fmla="*/ 96 w 108"/>
              <a:gd name="T49" fmla="*/ 54 h 216"/>
              <a:gd name="T50" fmla="*/ 105 w 108"/>
              <a:gd name="T51" fmla="*/ 62 h 216"/>
              <a:gd name="T52" fmla="*/ 108 w 108"/>
              <a:gd name="T53" fmla="*/ 52 h 216"/>
              <a:gd name="T54" fmla="*/ 104 w 108"/>
              <a:gd name="T55" fmla="*/ 32 h 216"/>
              <a:gd name="T56" fmla="*/ 99 w 108"/>
              <a:gd name="T57" fmla="*/ 12 h 216"/>
              <a:gd name="T58" fmla="*/ 94 w 108"/>
              <a:gd name="T59" fmla="*/ 0 h 216"/>
              <a:gd name="T60" fmla="*/ 92 w 108"/>
              <a:gd name="T61" fmla="*/ 0 h 216"/>
              <a:gd name="T62" fmla="*/ 87 w 108"/>
              <a:gd name="T63" fmla="*/ 5 h 216"/>
              <a:gd name="T64" fmla="*/ 84 w 108"/>
              <a:gd name="T65" fmla="*/ 22 h 216"/>
              <a:gd name="T66" fmla="*/ 80 w 108"/>
              <a:gd name="T67" fmla="*/ 24 h 216"/>
              <a:gd name="T68" fmla="*/ 77 w 108"/>
              <a:gd name="T69" fmla="*/ 27 h 216"/>
              <a:gd name="T70" fmla="*/ 72 w 108"/>
              <a:gd name="T71" fmla="*/ 24 h 216"/>
              <a:gd name="T72" fmla="*/ 74 w 108"/>
              <a:gd name="T73" fmla="*/ 34 h 216"/>
              <a:gd name="T74" fmla="*/ 71 w 108"/>
              <a:gd name="T75" fmla="*/ 40 h 216"/>
              <a:gd name="T76" fmla="*/ 72 w 108"/>
              <a:gd name="T77" fmla="*/ 42 h 216"/>
              <a:gd name="T78" fmla="*/ 65 w 108"/>
              <a:gd name="T79" fmla="*/ 47 h 216"/>
              <a:gd name="T80" fmla="*/ 65 w 108"/>
              <a:gd name="T81" fmla="*/ 42 h 216"/>
              <a:gd name="T82" fmla="*/ 60 w 108"/>
              <a:gd name="T83" fmla="*/ 53 h 216"/>
              <a:gd name="T84" fmla="*/ 59 w 108"/>
              <a:gd name="T85" fmla="*/ 53 h 216"/>
              <a:gd name="T86" fmla="*/ 56 w 108"/>
              <a:gd name="T87" fmla="*/ 52 h 216"/>
              <a:gd name="T88" fmla="*/ 50 w 108"/>
              <a:gd name="T89" fmla="*/ 60 h 216"/>
              <a:gd name="T90" fmla="*/ 39 w 108"/>
              <a:gd name="T91" fmla="*/ 62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8" h="216">
                <a:moveTo>
                  <a:pt x="39" y="62"/>
                </a:moveTo>
                <a:lnTo>
                  <a:pt x="34" y="63"/>
                </a:lnTo>
                <a:lnTo>
                  <a:pt x="21" y="69"/>
                </a:lnTo>
                <a:lnTo>
                  <a:pt x="17" y="82"/>
                </a:lnTo>
                <a:lnTo>
                  <a:pt x="14" y="95"/>
                </a:lnTo>
                <a:lnTo>
                  <a:pt x="16" y="111"/>
                </a:lnTo>
                <a:lnTo>
                  <a:pt x="18" y="128"/>
                </a:lnTo>
                <a:lnTo>
                  <a:pt x="11" y="138"/>
                </a:lnTo>
                <a:lnTo>
                  <a:pt x="4" y="149"/>
                </a:lnTo>
                <a:lnTo>
                  <a:pt x="0" y="171"/>
                </a:lnTo>
                <a:lnTo>
                  <a:pt x="3" y="189"/>
                </a:lnTo>
                <a:lnTo>
                  <a:pt x="8" y="209"/>
                </a:lnTo>
                <a:lnTo>
                  <a:pt x="27" y="216"/>
                </a:lnTo>
                <a:lnTo>
                  <a:pt x="39" y="210"/>
                </a:lnTo>
                <a:lnTo>
                  <a:pt x="51" y="204"/>
                </a:lnTo>
                <a:lnTo>
                  <a:pt x="56" y="190"/>
                </a:lnTo>
                <a:lnTo>
                  <a:pt x="62" y="176"/>
                </a:lnTo>
                <a:lnTo>
                  <a:pt x="66" y="160"/>
                </a:lnTo>
                <a:lnTo>
                  <a:pt x="71" y="146"/>
                </a:lnTo>
                <a:lnTo>
                  <a:pt x="76" y="131"/>
                </a:lnTo>
                <a:lnTo>
                  <a:pt x="81" y="117"/>
                </a:lnTo>
                <a:lnTo>
                  <a:pt x="87" y="102"/>
                </a:lnTo>
                <a:lnTo>
                  <a:pt x="92" y="87"/>
                </a:lnTo>
                <a:lnTo>
                  <a:pt x="96" y="77"/>
                </a:lnTo>
                <a:lnTo>
                  <a:pt x="96" y="54"/>
                </a:lnTo>
                <a:lnTo>
                  <a:pt x="105" y="62"/>
                </a:lnTo>
                <a:lnTo>
                  <a:pt x="108" y="52"/>
                </a:lnTo>
                <a:lnTo>
                  <a:pt x="104" y="32"/>
                </a:lnTo>
                <a:lnTo>
                  <a:pt x="99" y="12"/>
                </a:lnTo>
                <a:lnTo>
                  <a:pt x="94" y="0"/>
                </a:lnTo>
                <a:lnTo>
                  <a:pt x="92" y="0"/>
                </a:lnTo>
                <a:lnTo>
                  <a:pt x="87" y="5"/>
                </a:lnTo>
                <a:lnTo>
                  <a:pt x="84" y="22"/>
                </a:lnTo>
                <a:lnTo>
                  <a:pt x="80" y="24"/>
                </a:lnTo>
                <a:lnTo>
                  <a:pt x="77" y="27"/>
                </a:lnTo>
                <a:lnTo>
                  <a:pt x="72" y="24"/>
                </a:lnTo>
                <a:lnTo>
                  <a:pt x="74" y="34"/>
                </a:lnTo>
                <a:lnTo>
                  <a:pt x="71" y="40"/>
                </a:lnTo>
                <a:lnTo>
                  <a:pt x="72" y="42"/>
                </a:lnTo>
                <a:lnTo>
                  <a:pt x="65" y="47"/>
                </a:lnTo>
                <a:lnTo>
                  <a:pt x="65" y="42"/>
                </a:lnTo>
                <a:lnTo>
                  <a:pt x="60" y="53"/>
                </a:lnTo>
                <a:lnTo>
                  <a:pt x="59" y="53"/>
                </a:lnTo>
                <a:lnTo>
                  <a:pt x="56" y="52"/>
                </a:lnTo>
                <a:lnTo>
                  <a:pt x="50" y="60"/>
                </a:lnTo>
                <a:lnTo>
                  <a:pt x="39" y="6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6" name="Freeform 241">
            <a:extLst>
              <a:ext uri="{FF2B5EF4-FFF2-40B4-BE49-F238E27FC236}">
                <a16:creationId xmlns:a16="http://schemas.microsoft.com/office/drawing/2014/main" id="{3E2C7FA6-9EC0-4A04-B094-E44FDE7DE67B}"/>
              </a:ext>
            </a:extLst>
          </p:cNvPr>
          <p:cNvSpPr>
            <a:spLocks/>
          </p:cNvSpPr>
          <p:nvPr/>
        </p:nvSpPr>
        <p:spPr bwMode="gray">
          <a:xfrm>
            <a:off x="5294748" y="4371585"/>
            <a:ext cx="87749" cy="268709"/>
          </a:xfrm>
          <a:custGeom>
            <a:avLst/>
            <a:gdLst>
              <a:gd name="T0" fmla="*/ 25 w 44"/>
              <a:gd name="T1" fmla="*/ 88 h 125"/>
              <a:gd name="T2" fmla="*/ 20 w 44"/>
              <a:gd name="T3" fmla="*/ 103 h 125"/>
              <a:gd name="T4" fmla="*/ 27 w 44"/>
              <a:gd name="T5" fmla="*/ 114 h 125"/>
              <a:gd name="T6" fmla="*/ 33 w 44"/>
              <a:gd name="T7" fmla="*/ 125 h 125"/>
              <a:gd name="T8" fmla="*/ 32 w 44"/>
              <a:gd name="T9" fmla="*/ 115 h 125"/>
              <a:gd name="T10" fmla="*/ 39 w 44"/>
              <a:gd name="T11" fmla="*/ 108 h 125"/>
              <a:gd name="T12" fmla="*/ 42 w 44"/>
              <a:gd name="T13" fmla="*/ 96 h 125"/>
              <a:gd name="T14" fmla="*/ 44 w 44"/>
              <a:gd name="T15" fmla="*/ 84 h 125"/>
              <a:gd name="T16" fmla="*/ 36 w 44"/>
              <a:gd name="T17" fmla="*/ 76 h 125"/>
              <a:gd name="T18" fmla="*/ 27 w 44"/>
              <a:gd name="T19" fmla="*/ 66 h 125"/>
              <a:gd name="T20" fmla="*/ 25 w 44"/>
              <a:gd name="T21" fmla="*/ 51 h 125"/>
              <a:gd name="T22" fmla="*/ 27 w 44"/>
              <a:gd name="T23" fmla="*/ 39 h 125"/>
              <a:gd name="T24" fmla="*/ 32 w 44"/>
              <a:gd name="T25" fmla="*/ 35 h 125"/>
              <a:gd name="T26" fmla="*/ 29 w 44"/>
              <a:gd name="T27" fmla="*/ 23 h 125"/>
              <a:gd name="T28" fmla="*/ 25 w 44"/>
              <a:gd name="T29" fmla="*/ 5 h 125"/>
              <a:gd name="T30" fmla="*/ 19 w 44"/>
              <a:gd name="T31" fmla="*/ 3 h 125"/>
              <a:gd name="T32" fmla="*/ 5 w 44"/>
              <a:gd name="T33" fmla="*/ 0 h 125"/>
              <a:gd name="T34" fmla="*/ 6 w 44"/>
              <a:gd name="T35" fmla="*/ 4 h 125"/>
              <a:gd name="T36" fmla="*/ 14 w 44"/>
              <a:gd name="T37" fmla="*/ 17 h 125"/>
              <a:gd name="T38" fmla="*/ 11 w 44"/>
              <a:gd name="T39" fmla="*/ 23 h 125"/>
              <a:gd name="T40" fmla="*/ 11 w 44"/>
              <a:gd name="T41" fmla="*/ 35 h 125"/>
              <a:gd name="T42" fmla="*/ 9 w 44"/>
              <a:gd name="T43" fmla="*/ 48 h 125"/>
              <a:gd name="T44" fmla="*/ 8 w 44"/>
              <a:gd name="T45" fmla="*/ 52 h 125"/>
              <a:gd name="T46" fmla="*/ 0 w 44"/>
              <a:gd name="T47" fmla="*/ 67 h 125"/>
              <a:gd name="T48" fmla="*/ 7 w 44"/>
              <a:gd name="T49" fmla="*/ 75 h 125"/>
              <a:gd name="T50" fmla="*/ 11 w 44"/>
              <a:gd name="T51" fmla="*/ 81 h 125"/>
              <a:gd name="T52" fmla="*/ 20 w 44"/>
              <a:gd name="T53" fmla="*/ 82 h 125"/>
              <a:gd name="T54" fmla="*/ 25 w 44"/>
              <a:gd name="T55" fmla="*/ 88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44" h="125">
                <a:moveTo>
                  <a:pt x="25" y="88"/>
                </a:moveTo>
                <a:lnTo>
                  <a:pt x="20" y="103"/>
                </a:lnTo>
                <a:lnTo>
                  <a:pt x="27" y="114"/>
                </a:lnTo>
                <a:lnTo>
                  <a:pt x="33" y="125"/>
                </a:lnTo>
                <a:lnTo>
                  <a:pt x="32" y="115"/>
                </a:lnTo>
                <a:lnTo>
                  <a:pt x="39" y="108"/>
                </a:lnTo>
                <a:lnTo>
                  <a:pt x="42" y="96"/>
                </a:lnTo>
                <a:lnTo>
                  <a:pt x="44" y="84"/>
                </a:lnTo>
                <a:lnTo>
                  <a:pt x="36" y="76"/>
                </a:lnTo>
                <a:lnTo>
                  <a:pt x="27" y="66"/>
                </a:lnTo>
                <a:lnTo>
                  <a:pt x="25" y="51"/>
                </a:lnTo>
                <a:lnTo>
                  <a:pt x="27" y="39"/>
                </a:lnTo>
                <a:lnTo>
                  <a:pt x="32" y="35"/>
                </a:lnTo>
                <a:lnTo>
                  <a:pt x="29" y="23"/>
                </a:lnTo>
                <a:lnTo>
                  <a:pt x="25" y="5"/>
                </a:lnTo>
                <a:lnTo>
                  <a:pt x="19" y="3"/>
                </a:lnTo>
                <a:lnTo>
                  <a:pt x="5" y="0"/>
                </a:lnTo>
                <a:lnTo>
                  <a:pt x="6" y="4"/>
                </a:lnTo>
                <a:lnTo>
                  <a:pt x="14" y="17"/>
                </a:lnTo>
                <a:lnTo>
                  <a:pt x="11" y="23"/>
                </a:lnTo>
                <a:lnTo>
                  <a:pt x="11" y="35"/>
                </a:lnTo>
                <a:lnTo>
                  <a:pt x="9" y="48"/>
                </a:lnTo>
                <a:lnTo>
                  <a:pt x="8" y="52"/>
                </a:lnTo>
                <a:lnTo>
                  <a:pt x="0" y="67"/>
                </a:lnTo>
                <a:lnTo>
                  <a:pt x="7" y="75"/>
                </a:lnTo>
                <a:lnTo>
                  <a:pt x="11" y="81"/>
                </a:lnTo>
                <a:lnTo>
                  <a:pt x="20" y="82"/>
                </a:lnTo>
                <a:lnTo>
                  <a:pt x="25" y="8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7" name="Freeform 242">
            <a:extLst>
              <a:ext uri="{FF2B5EF4-FFF2-40B4-BE49-F238E27FC236}">
                <a16:creationId xmlns:a16="http://schemas.microsoft.com/office/drawing/2014/main" id="{F881E328-6D2E-4086-BD08-1604DEC555BF}"/>
              </a:ext>
            </a:extLst>
          </p:cNvPr>
          <p:cNvSpPr>
            <a:spLocks/>
          </p:cNvSpPr>
          <p:nvPr/>
        </p:nvSpPr>
        <p:spPr bwMode="gray">
          <a:xfrm>
            <a:off x="5225926" y="4410528"/>
            <a:ext cx="287332" cy="566623"/>
          </a:xfrm>
          <a:custGeom>
            <a:avLst/>
            <a:gdLst>
              <a:gd name="T0" fmla="*/ 60 w 149"/>
              <a:gd name="T1" fmla="*/ 154 h 263"/>
              <a:gd name="T2" fmla="*/ 66 w 149"/>
              <a:gd name="T3" fmla="*/ 148 h 263"/>
              <a:gd name="T4" fmla="*/ 91 w 149"/>
              <a:gd name="T5" fmla="*/ 121 h 263"/>
              <a:gd name="T6" fmla="*/ 116 w 149"/>
              <a:gd name="T7" fmla="*/ 106 h 263"/>
              <a:gd name="T8" fmla="*/ 145 w 149"/>
              <a:gd name="T9" fmla="*/ 76 h 263"/>
              <a:gd name="T10" fmla="*/ 147 w 149"/>
              <a:gd name="T11" fmla="*/ 64 h 263"/>
              <a:gd name="T12" fmla="*/ 147 w 149"/>
              <a:gd name="T13" fmla="*/ 33 h 263"/>
              <a:gd name="T14" fmla="*/ 147 w 149"/>
              <a:gd name="T15" fmla="*/ 0 h 263"/>
              <a:gd name="T16" fmla="*/ 132 w 149"/>
              <a:gd name="T17" fmla="*/ 7 h 263"/>
              <a:gd name="T18" fmla="*/ 109 w 149"/>
              <a:gd name="T19" fmla="*/ 15 h 263"/>
              <a:gd name="T20" fmla="*/ 83 w 149"/>
              <a:gd name="T21" fmla="*/ 16 h 263"/>
              <a:gd name="T22" fmla="*/ 68 w 149"/>
              <a:gd name="T23" fmla="*/ 17 h 263"/>
              <a:gd name="T24" fmla="*/ 61 w 149"/>
              <a:gd name="T25" fmla="*/ 33 h 263"/>
              <a:gd name="T26" fmla="*/ 72 w 149"/>
              <a:gd name="T27" fmla="*/ 58 h 263"/>
              <a:gd name="T28" fmla="*/ 78 w 149"/>
              <a:gd name="T29" fmla="*/ 78 h 263"/>
              <a:gd name="T30" fmla="*/ 68 w 149"/>
              <a:gd name="T31" fmla="*/ 97 h 263"/>
              <a:gd name="T32" fmla="*/ 63 w 149"/>
              <a:gd name="T33" fmla="*/ 96 h 263"/>
              <a:gd name="T34" fmla="*/ 61 w 149"/>
              <a:gd name="T35" fmla="*/ 70 h 263"/>
              <a:gd name="T36" fmla="*/ 47 w 149"/>
              <a:gd name="T37" fmla="*/ 63 h 263"/>
              <a:gd name="T38" fmla="*/ 32 w 149"/>
              <a:gd name="T39" fmla="*/ 61 h 263"/>
              <a:gd name="T40" fmla="*/ 11 w 149"/>
              <a:gd name="T41" fmla="*/ 70 h 263"/>
              <a:gd name="T42" fmla="*/ 2 w 149"/>
              <a:gd name="T43" fmla="*/ 83 h 263"/>
              <a:gd name="T44" fmla="*/ 9 w 149"/>
              <a:gd name="T45" fmla="*/ 88 h 263"/>
              <a:gd name="T46" fmla="*/ 37 w 149"/>
              <a:gd name="T47" fmla="*/ 100 h 263"/>
              <a:gd name="T48" fmla="*/ 33 w 149"/>
              <a:gd name="T49" fmla="*/ 133 h 263"/>
              <a:gd name="T50" fmla="*/ 30 w 149"/>
              <a:gd name="T51" fmla="*/ 161 h 263"/>
              <a:gd name="T52" fmla="*/ 19 w 149"/>
              <a:gd name="T53" fmla="*/ 183 h 263"/>
              <a:gd name="T54" fmla="*/ 13 w 149"/>
              <a:gd name="T55" fmla="*/ 203 h 263"/>
              <a:gd name="T56" fmla="*/ 15 w 149"/>
              <a:gd name="T57" fmla="*/ 232 h 263"/>
              <a:gd name="T58" fmla="*/ 17 w 149"/>
              <a:gd name="T59" fmla="*/ 263 h 263"/>
              <a:gd name="T60" fmla="*/ 27 w 149"/>
              <a:gd name="T61" fmla="*/ 252 h 263"/>
              <a:gd name="T62" fmla="*/ 41 w 149"/>
              <a:gd name="T63" fmla="*/ 235 h 263"/>
              <a:gd name="T64" fmla="*/ 65 w 149"/>
              <a:gd name="T65" fmla="*/ 221 h 263"/>
              <a:gd name="T66" fmla="*/ 67 w 149"/>
              <a:gd name="T67" fmla="*/ 201 h 263"/>
              <a:gd name="T68" fmla="*/ 66 w 149"/>
              <a:gd name="T69" fmla="*/ 191 h 263"/>
              <a:gd name="T70" fmla="*/ 61 w 149"/>
              <a:gd name="T71" fmla="*/ 163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9" h="263">
                <a:moveTo>
                  <a:pt x="61" y="163"/>
                </a:moveTo>
                <a:lnTo>
                  <a:pt x="60" y="154"/>
                </a:lnTo>
                <a:lnTo>
                  <a:pt x="59" y="149"/>
                </a:lnTo>
                <a:lnTo>
                  <a:pt x="66" y="148"/>
                </a:lnTo>
                <a:lnTo>
                  <a:pt x="81" y="135"/>
                </a:lnTo>
                <a:lnTo>
                  <a:pt x="91" y="121"/>
                </a:lnTo>
                <a:lnTo>
                  <a:pt x="104" y="113"/>
                </a:lnTo>
                <a:lnTo>
                  <a:pt x="116" y="106"/>
                </a:lnTo>
                <a:lnTo>
                  <a:pt x="134" y="95"/>
                </a:lnTo>
                <a:lnTo>
                  <a:pt x="145" y="76"/>
                </a:lnTo>
                <a:lnTo>
                  <a:pt x="149" y="63"/>
                </a:lnTo>
                <a:lnTo>
                  <a:pt x="147" y="64"/>
                </a:lnTo>
                <a:lnTo>
                  <a:pt x="145" y="40"/>
                </a:lnTo>
                <a:lnTo>
                  <a:pt x="147" y="33"/>
                </a:lnTo>
                <a:lnTo>
                  <a:pt x="147" y="10"/>
                </a:lnTo>
                <a:lnTo>
                  <a:pt x="147" y="0"/>
                </a:lnTo>
                <a:lnTo>
                  <a:pt x="146" y="0"/>
                </a:lnTo>
                <a:lnTo>
                  <a:pt x="132" y="7"/>
                </a:lnTo>
                <a:lnTo>
                  <a:pt x="117" y="15"/>
                </a:lnTo>
                <a:lnTo>
                  <a:pt x="109" y="15"/>
                </a:lnTo>
                <a:lnTo>
                  <a:pt x="99" y="18"/>
                </a:lnTo>
                <a:lnTo>
                  <a:pt x="83" y="16"/>
                </a:lnTo>
                <a:lnTo>
                  <a:pt x="75" y="17"/>
                </a:lnTo>
                <a:lnTo>
                  <a:pt x="68" y="17"/>
                </a:lnTo>
                <a:lnTo>
                  <a:pt x="63" y="21"/>
                </a:lnTo>
                <a:lnTo>
                  <a:pt x="61" y="33"/>
                </a:lnTo>
                <a:lnTo>
                  <a:pt x="63" y="48"/>
                </a:lnTo>
                <a:lnTo>
                  <a:pt x="72" y="58"/>
                </a:lnTo>
                <a:lnTo>
                  <a:pt x="80" y="66"/>
                </a:lnTo>
                <a:lnTo>
                  <a:pt x="78" y="78"/>
                </a:lnTo>
                <a:lnTo>
                  <a:pt x="75" y="90"/>
                </a:lnTo>
                <a:lnTo>
                  <a:pt x="68" y="97"/>
                </a:lnTo>
                <a:lnTo>
                  <a:pt x="69" y="107"/>
                </a:lnTo>
                <a:lnTo>
                  <a:pt x="63" y="96"/>
                </a:lnTo>
                <a:lnTo>
                  <a:pt x="56" y="85"/>
                </a:lnTo>
                <a:lnTo>
                  <a:pt x="61" y="70"/>
                </a:lnTo>
                <a:lnTo>
                  <a:pt x="56" y="64"/>
                </a:lnTo>
                <a:lnTo>
                  <a:pt x="47" y="63"/>
                </a:lnTo>
                <a:lnTo>
                  <a:pt x="43" y="57"/>
                </a:lnTo>
                <a:lnTo>
                  <a:pt x="32" y="61"/>
                </a:lnTo>
                <a:lnTo>
                  <a:pt x="21" y="65"/>
                </a:lnTo>
                <a:lnTo>
                  <a:pt x="11" y="70"/>
                </a:lnTo>
                <a:lnTo>
                  <a:pt x="0" y="73"/>
                </a:lnTo>
                <a:lnTo>
                  <a:pt x="2" y="83"/>
                </a:lnTo>
                <a:lnTo>
                  <a:pt x="2" y="89"/>
                </a:lnTo>
                <a:lnTo>
                  <a:pt x="9" y="88"/>
                </a:lnTo>
                <a:lnTo>
                  <a:pt x="23" y="94"/>
                </a:lnTo>
                <a:lnTo>
                  <a:pt x="37" y="100"/>
                </a:lnTo>
                <a:lnTo>
                  <a:pt x="37" y="119"/>
                </a:lnTo>
                <a:lnTo>
                  <a:pt x="33" y="133"/>
                </a:lnTo>
                <a:lnTo>
                  <a:pt x="36" y="148"/>
                </a:lnTo>
                <a:lnTo>
                  <a:pt x="30" y="161"/>
                </a:lnTo>
                <a:lnTo>
                  <a:pt x="27" y="174"/>
                </a:lnTo>
                <a:lnTo>
                  <a:pt x="19" y="183"/>
                </a:lnTo>
                <a:lnTo>
                  <a:pt x="9" y="191"/>
                </a:lnTo>
                <a:lnTo>
                  <a:pt x="13" y="203"/>
                </a:lnTo>
                <a:lnTo>
                  <a:pt x="15" y="215"/>
                </a:lnTo>
                <a:lnTo>
                  <a:pt x="15" y="232"/>
                </a:lnTo>
                <a:lnTo>
                  <a:pt x="15" y="249"/>
                </a:lnTo>
                <a:lnTo>
                  <a:pt x="17" y="263"/>
                </a:lnTo>
                <a:lnTo>
                  <a:pt x="27" y="263"/>
                </a:lnTo>
                <a:lnTo>
                  <a:pt x="27" y="252"/>
                </a:lnTo>
                <a:lnTo>
                  <a:pt x="25" y="249"/>
                </a:lnTo>
                <a:lnTo>
                  <a:pt x="41" y="235"/>
                </a:lnTo>
                <a:lnTo>
                  <a:pt x="53" y="228"/>
                </a:lnTo>
                <a:lnTo>
                  <a:pt x="65" y="221"/>
                </a:lnTo>
                <a:lnTo>
                  <a:pt x="65" y="215"/>
                </a:lnTo>
                <a:lnTo>
                  <a:pt x="67" y="201"/>
                </a:lnTo>
                <a:lnTo>
                  <a:pt x="68" y="186"/>
                </a:lnTo>
                <a:lnTo>
                  <a:pt x="66" y="191"/>
                </a:lnTo>
                <a:lnTo>
                  <a:pt x="63" y="178"/>
                </a:lnTo>
                <a:lnTo>
                  <a:pt x="61" y="163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8" name="Freeform 243">
            <a:extLst>
              <a:ext uri="{FF2B5EF4-FFF2-40B4-BE49-F238E27FC236}">
                <a16:creationId xmlns:a16="http://schemas.microsoft.com/office/drawing/2014/main" id="{9FF03DDA-FF32-4418-BC9C-ABD6721E86FF}"/>
              </a:ext>
            </a:extLst>
          </p:cNvPr>
          <p:cNvSpPr>
            <a:spLocks/>
          </p:cNvSpPr>
          <p:nvPr/>
        </p:nvSpPr>
        <p:spPr bwMode="gray">
          <a:xfrm>
            <a:off x="4847403" y="4813590"/>
            <a:ext cx="431860" cy="442007"/>
          </a:xfrm>
          <a:custGeom>
            <a:avLst/>
            <a:gdLst>
              <a:gd name="T0" fmla="*/ 49 w 226"/>
              <a:gd name="T1" fmla="*/ 57 h 203"/>
              <a:gd name="T2" fmla="*/ 46 w 226"/>
              <a:gd name="T3" fmla="*/ 88 h 203"/>
              <a:gd name="T4" fmla="*/ 33 w 226"/>
              <a:gd name="T5" fmla="*/ 108 h 203"/>
              <a:gd name="T6" fmla="*/ 8 w 226"/>
              <a:gd name="T7" fmla="*/ 95 h 203"/>
              <a:gd name="T8" fmla="*/ 6 w 226"/>
              <a:gd name="T9" fmla="*/ 119 h 203"/>
              <a:gd name="T10" fmla="*/ 16 w 226"/>
              <a:gd name="T11" fmla="*/ 148 h 203"/>
              <a:gd name="T12" fmla="*/ 16 w 226"/>
              <a:gd name="T13" fmla="*/ 171 h 203"/>
              <a:gd name="T14" fmla="*/ 22 w 226"/>
              <a:gd name="T15" fmla="*/ 195 h 203"/>
              <a:gd name="T16" fmla="*/ 33 w 226"/>
              <a:gd name="T17" fmla="*/ 198 h 203"/>
              <a:gd name="T18" fmla="*/ 57 w 226"/>
              <a:gd name="T19" fmla="*/ 198 h 203"/>
              <a:gd name="T20" fmla="*/ 86 w 226"/>
              <a:gd name="T21" fmla="*/ 192 h 203"/>
              <a:gd name="T22" fmla="*/ 118 w 226"/>
              <a:gd name="T23" fmla="*/ 190 h 203"/>
              <a:gd name="T24" fmla="*/ 142 w 226"/>
              <a:gd name="T25" fmla="*/ 178 h 203"/>
              <a:gd name="T26" fmla="*/ 166 w 226"/>
              <a:gd name="T27" fmla="*/ 160 h 203"/>
              <a:gd name="T28" fmla="*/ 183 w 226"/>
              <a:gd name="T29" fmla="*/ 142 h 203"/>
              <a:gd name="T30" fmla="*/ 202 w 226"/>
              <a:gd name="T31" fmla="*/ 119 h 203"/>
              <a:gd name="T32" fmla="*/ 220 w 226"/>
              <a:gd name="T33" fmla="*/ 92 h 203"/>
              <a:gd name="T34" fmla="*/ 216 w 226"/>
              <a:gd name="T35" fmla="*/ 76 h 203"/>
              <a:gd name="T36" fmla="*/ 200 w 226"/>
              <a:gd name="T37" fmla="*/ 77 h 203"/>
              <a:gd name="T38" fmla="*/ 207 w 226"/>
              <a:gd name="T39" fmla="*/ 58 h 203"/>
              <a:gd name="T40" fmla="*/ 214 w 226"/>
              <a:gd name="T41" fmla="*/ 45 h 203"/>
              <a:gd name="T42" fmla="*/ 212 w 226"/>
              <a:gd name="T43" fmla="*/ 16 h 203"/>
              <a:gd name="T44" fmla="*/ 195 w 226"/>
              <a:gd name="T45" fmla="*/ 3 h 203"/>
              <a:gd name="T46" fmla="*/ 181 w 226"/>
              <a:gd name="T47" fmla="*/ 0 h 203"/>
              <a:gd name="T48" fmla="*/ 147 w 226"/>
              <a:gd name="T49" fmla="*/ 26 h 203"/>
              <a:gd name="T50" fmla="*/ 132 w 226"/>
              <a:gd name="T51" fmla="*/ 45 h 203"/>
              <a:gd name="T52" fmla="*/ 103 w 226"/>
              <a:gd name="T53" fmla="*/ 56 h 203"/>
              <a:gd name="T54" fmla="*/ 85 w 226"/>
              <a:gd name="T55" fmla="*/ 62 h 203"/>
              <a:gd name="T56" fmla="*/ 62 w 226"/>
              <a:gd name="T57" fmla="*/ 75 h 203"/>
              <a:gd name="T58" fmla="*/ 60 w 226"/>
              <a:gd name="T59" fmla="*/ 58 h 203"/>
              <a:gd name="T60" fmla="*/ 157 w 226"/>
              <a:gd name="T61" fmla="*/ 108 h 203"/>
              <a:gd name="T62" fmla="*/ 153 w 226"/>
              <a:gd name="T63" fmla="*/ 136 h 203"/>
              <a:gd name="T64" fmla="*/ 172 w 226"/>
              <a:gd name="T65" fmla="*/ 122 h 203"/>
              <a:gd name="T66" fmla="*/ 163 w 226"/>
              <a:gd name="T67" fmla="*/ 105 h 203"/>
              <a:gd name="T68" fmla="*/ 50 w 226"/>
              <a:gd name="T69" fmla="*/ 42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26" h="203">
                <a:moveTo>
                  <a:pt x="50" y="42"/>
                </a:moveTo>
                <a:lnTo>
                  <a:pt x="49" y="57"/>
                </a:lnTo>
                <a:lnTo>
                  <a:pt x="48" y="72"/>
                </a:lnTo>
                <a:lnTo>
                  <a:pt x="46" y="88"/>
                </a:lnTo>
                <a:lnTo>
                  <a:pt x="45" y="102"/>
                </a:lnTo>
                <a:lnTo>
                  <a:pt x="33" y="108"/>
                </a:lnTo>
                <a:lnTo>
                  <a:pt x="12" y="105"/>
                </a:lnTo>
                <a:lnTo>
                  <a:pt x="8" y="95"/>
                </a:lnTo>
                <a:lnTo>
                  <a:pt x="0" y="104"/>
                </a:lnTo>
                <a:lnTo>
                  <a:pt x="6" y="119"/>
                </a:lnTo>
                <a:lnTo>
                  <a:pt x="12" y="134"/>
                </a:lnTo>
                <a:lnTo>
                  <a:pt x="16" y="148"/>
                </a:lnTo>
                <a:lnTo>
                  <a:pt x="22" y="164"/>
                </a:lnTo>
                <a:lnTo>
                  <a:pt x="16" y="171"/>
                </a:lnTo>
                <a:lnTo>
                  <a:pt x="19" y="178"/>
                </a:lnTo>
                <a:lnTo>
                  <a:pt x="22" y="195"/>
                </a:lnTo>
                <a:lnTo>
                  <a:pt x="27" y="194"/>
                </a:lnTo>
                <a:lnTo>
                  <a:pt x="33" y="198"/>
                </a:lnTo>
                <a:lnTo>
                  <a:pt x="43" y="203"/>
                </a:lnTo>
                <a:lnTo>
                  <a:pt x="57" y="198"/>
                </a:lnTo>
                <a:lnTo>
                  <a:pt x="72" y="194"/>
                </a:lnTo>
                <a:lnTo>
                  <a:pt x="86" y="192"/>
                </a:lnTo>
                <a:lnTo>
                  <a:pt x="100" y="192"/>
                </a:lnTo>
                <a:lnTo>
                  <a:pt x="118" y="190"/>
                </a:lnTo>
                <a:lnTo>
                  <a:pt x="128" y="188"/>
                </a:lnTo>
                <a:lnTo>
                  <a:pt x="142" y="178"/>
                </a:lnTo>
                <a:lnTo>
                  <a:pt x="157" y="170"/>
                </a:lnTo>
                <a:lnTo>
                  <a:pt x="166" y="160"/>
                </a:lnTo>
                <a:lnTo>
                  <a:pt x="175" y="150"/>
                </a:lnTo>
                <a:lnTo>
                  <a:pt x="183" y="142"/>
                </a:lnTo>
                <a:lnTo>
                  <a:pt x="193" y="132"/>
                </a:lnTo>
                <a:lnTo>
                  <a:pt x="202" y="119"/>
                </a:lnTo>
                <a:lnTo>
                  <a:pt x="213" y="107"/>
                </a:lnTo>
                <a:lnTo>
                  <a:pt x="220" y="92"/>
                </a:lnTo>
                <a:lnTo>
                  <a:pt x="226" y="76"/>
                </a:lnTo>
                <a:lnTo>
                  <a:pt x="216" y="76"/>
                </a:lnTo>
                <a:lnTo>
                  <a:pt x="213" y="83"/>
                </a:lnTo>
                <a:lnTo>
                  <a:pt x="200" y="77"/>
                </a:lnTo>
                <a:lnTo>
                  <a:pt x="201" y="66"/>
                </a:lnTo>
                <a:lnTo>
                  <a:pt x="207" y="58"/>
                </a:lnTo>
                <a:lnTo>
                  <a:pt x="214" y="62"/>
                </a:lnTo>
                <a:lnTo>
                  <a:pt x="214" y="45"/>
                </a:lnTo>
                <a:lnTo>
                  <a:pt x="214" y="28"/>
                </a:lnTo>
                <a:lnTo>
                  <a:pt x="212" y="16"/>
                </a:lnTo>
                <a:lnTo>
                  <a:pt x="208" y="4"/>
                </a:lnTo>
                <a:lnTo>
                  <a:pt x="195" y="3"/>
                </a:lnTo>
                <a:lnTo>
                  <a:pt x="182" y="0"/>
                </a:lnTo>
                <a:lnTo>
                  <a:pt x="181" y="0"/>
                </a:lnTo>
                <a:lnTo>
                  <a:pt x="162" y="14"/>
                </a:lnTo>
                <a:lnTo>
                  <a:pt x="147" y="26"/>
                </a:lnTo>
                <a:lnTo>
                  <a:pt x="140" y="40"/>
                </a:lnTo>
                <a:lnTo>
                  <a:pt x="132" y="45"/>
                </a:lnTo>
                <a:lnTo>
                  <a:pt x="123" y="58"/>
                </a:lnTo>
                <a:lnTo>
                  <a:pt x="103" y="56"/>
                </a:lnTo>
                <a:lnTo>
                  <a:pt x="92" y="51"/>
                </a:lnTo>
                <a:lnTo>
                  <a:pt x="85" y="62"/>
                </a:lnTo>
                <a:lnTo>
                  <a:pt x="78" y="72"/>
                </a:lnTo>
                <a:lnTo>
                  <a:pt x="62" y="75"/>
                </a:lnTo>
                <a:lnTo>
                  <a:pt x="57" y="74"/>
                </a:lnTo>
                <a:lnTo>
                  <a:pt x="60" y="58"/>
                </a:lnTo>
                <a:lnTo>
                  <a:pt x="50" y="42"/>
                </a:lnTo>
                <a:lnTo>
                  <a:pt x="157" y="108"/>
                </a:lnTo>
                <a:lnTo>
                  <a:pt x="144" y="123"/>
                </a:lnTo>
                <a:lnTo>
                  <a:pt x="153" y="136"/>
                </a:lnTo>
                <a:lnTo>
                  <a:pt x="159" y="132"/>
                </a:lnTo>
                <a:lnTo>
                  <a:pt x="172" y="122"/>
                </a:lnTo>
                <a:lnTo>
                  <a:pt x="175" y="112"/>
                </a:lnTo>
                <a:lnTo>
                  <a:pt x="163" y="105"/>
                </a:lnTo>
                <a:lnTo>
                  <a:pt x="157" y="108"/>
                </a:lnTo>
                <a:lnTo>
                  <a:pt x="50" y="4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9" name="Freeform 244">
            <a:extLst>
              <a:ext uri="{FF2B5EF4-FFF2-40B4-BE49-F238E27FC236}">
                <a16:creationId xmlns:a16="http://schemas.microsoft.com/office/drawing/2014/main" id="{4407B8C3-8B91-45B5-9DB8-135B21597B11}"/>
              </a:ext>
            </a:extLst>
          </p:cNvPr>
          <p:cNvSpPr>
            <a:spLocks/>
          </p:cNvSpPr>
          <p:nvPr/>
        </p:nvSpPr>
        <p:spPr bwMode="gray">
          <a:xfrm>
            <a:off x="4847403" y="4813590"/>
            <a:ext cx="431860" cy="442007"/>
          </a:xfrm>
          <a:custGeom>
            <a:avLst/>
            <a:gdLst>
              <a:gd name="T0" fmla="*/ 50 w 226"/>
              <a:gd name="T1" fmla="*/ 42 h 203"/>
              <a:gd name="T2" fmla="*/ 49 w 226"/>
              <a:gd name="T3" fmla="*/ 57 h 203"/>
              <a:gd name="T4" fmla="*/ 48 w 226"/>
              <a:gd name="T5" fmla="*/ 72 h 203"/>
              <a:gd name="T6" fmla="*/ 46 w 226"/>
              <a:gd name="T7" fmla="*/ 88 h 203"/>
              <a:gd name="T8" fmla="*/ 45 w 226"/>
              <a:gd name="T9" fmla="*/ 102 h 203"/>
              <a:gd name="T10" fmla="*/ 33 w 226"/>
              <a:gd name="T11" fmla="*/ 108 h 203"/>
              <a:gd name="T12" fmla="*/ 12 w 226"/>
              <a:gd name="T13" fmla="*/ 105 h 203"/>
              <a:gd name="T14" fmla="*/ 8 w 226"/>
              <a:gd name="T15" fmla="*/ 95 h 203"/>
              <a:gd name="T16" fmla="*/ 0 w 226"/>
              <a:gd name="T17" fmla="*/ 104 h 203"/>
              <a:gd name="T18" fmla="*/ 6 w 226"/>
              <a:gd name="T19" fmla="*/ 119 h 203"/>
              <a:gd name="T20" fmla="*/ 12 w 226"/>
              <a:gd name="T21" fmla="*/ 134 h 203"/>
              <a:gd name="T22" fmla="*/ 16 w 226"/>
              <a:gd name="T23" fmla="*/ 148 h 203"/>
              <a:gd name="T24" fmla="*/ 22 w 226"/>
              <a:gd name="T25" fmla="*/ 164 h 203"/>
              <a:gd name="T26" fmla="*/ 16 w 226"/>
              <a:gd name="T27" fmla="*/ 171 h 203"/>
              <a:gd name="T28" fmla="*/ 19 w 226"/>
              <a:gd name="T29" fmla="*/ 178 h 203"/>
              <a:gd name="T30" fmla="*/ 22 w 226"/>
              <a:gd name="T31" fmla="*/ 195 h 203"/>
              <a:gd name="T32" fmla="*/ 27 w 226"/>
              <a:gd name="T33" fmla="*/ 194 h 203"/>
              <a:gd name="T34" fmla="*/ 33 w 226"/>
              <a:gd name="T35" fmla="*/ 198 h 203"/>
              <a:gd name="T36" fmla="*/ 43 w 226"/>
              <a:gd name="T37" fmla="*/ 203 h 203"/>
              <a:gd name="T38" fmla="*/ 57 w 226"/>
              <a:gd name="T39" fmla="*/ 198 h 203"/>
              <a:gd name="T40" fmla="*/ 72 w 226"/>
              <a:gd name="T41" fmla="*/ 194 h 203"/>
              <a:gd name="T42" fmla="*/ 86 w 226"/>
              <a:gd name="T43" fmla="*/ 192 h 203"/>
              <a:gd name="T44" fmla="*/ 100 w 226"/>
              <a:gd name="T45" fmla="*/ 192 h 203"/>
              <a:gd name="T46" fmla="*/ 118 w 226"/>
              <a:gd name="T47" fmla="*/ 190 h 203"/>
              <a:gd name="T48" fmla="*/ 128 w 226"/>
              <a:gd name="T49" fmla="*/ 188 h 203"/>
              <a:gd name="T50" fmla="*/ 142 w 226"/>
              <a:gd name="T51" fmla="*/ 178 h 203"/>
              <a:gd name="T52" fmla="*/ 157 w 226"/>
              <a:gd name="T53" fmla="*/ 170 h 203"/>
              <a:gd name="T54" fmla="*/ 166 w 226"/>
              <a:gd name="T55" fmla="*/ 160 h 203"/>
              <a:gd name="T56" fmla="*/ 175 w 226"/>
              <a:gd name="T57" fmla="*/ 150 h 203"/>
              <a:gd name="T58" fmla="*/ 183 w 226"/>
              <a:gd name="T59" fmla="*/ 142 h 203"/>
              <a:gd name="T60" fmla="*/ 193 w 226"/>
              <a:gd name="T61" fmla="*/ 132 h 203"/>
              <a:gd name="T62" fmla="*/ 202 w 226"/>
              <a:gd name="T63" fmla="*/ 119 h 203"/>
              <a:gd name="T64" fmla="*/ 213 w 226"/>
              <a:gd name="T65" fmla="*/ 107 h 203"/>
              <a:gd name="T66" fmla="*/ 220 w 226"/>
              <a:gd name="T67" fmla="*/ 92 h 203"/>
              <a:gd name="T68" fmla="*/ 226 w 226"/>
              <a:gd name="T69" fmla="*/ 76 h 203"/>
              <a:gd name="T70" fmla="*/ 216 w 226"/>
              <a:gd name="T71" fmla="*/ 76 h 203"/>
              <a:gd name="T72" fmla="*/ 213 w 226"/>
              <a:gd name="T73" fmla="*/ 83 h 203"/>
              <a:gd name="T74" fmla="*/ 200 w 226"/>
              <a:gd name="T75" fmla="*/ 77 h 203"/>
              <a:gd name="T76" fmla="*/ 201 w 226"/>
              <a:gd name="T77" fmla="*/ 66 h 203"/>
              <a:gd name="T78" fmla="*/ 207 w 226"/>
              <a:gd name="T79" fmla="*/ 58 h 203"/>
              <a:gd name="T80" fmla="*/ 214 w 226"/>
              <a:gd name="T81" fmla="*/ 62 h 203"/>
              <a:gd name="T82" fmla="*/ 214 w 226"/>
              <a:gd name="T83" fmla="*/ 45 h 203"/>
              <a:gd name="T84" fmla="*/ 214 w 226"/>
              <a:gd name="T85" fmla="*/ 28 h 203"/>
              <a:gd name="T86" fmla="*/ 212 w 226"/>
              <a:gd name="T87" fmla="*/ 16 h 203"/>
              <a:gd name="T88" fmla="*/ 208 w 226"/>
              <a:gd name="T89" fmla="*/ 4 h 203"/>
              <a:gd name="T90" fmla="*/ 195 w 226"/>
              <a:gd name="T91" fmla="*/ 3 h 203"/>
              <a:gd name="T92" fmla="*/ 182 w 226"/>
              <a:gd name="T93" fmla="*/ 0 h 203"/>
              <a:gd name="T94" fmla="*/ 181 w 226"/>
              <a:gd name="T95" fmla="*/ 0 h 203"/>
              <a:gd name="T96" fmla="*/ 162 w 226"/>
              <a:gd name="T97" fmla="*/ 14 h 203"/>
              <a:gd name="T98" fmla="*/ 147 w 226"/>
              <a:gd name="T99" fmla="*/ 26 h 203"/>
              <a:gd name="T100" fmla="*/ 140 w 226"/>
              <a:gd name="T101" fmla="*/ 40 h 203"/>
              <a:gd name="T102" fmla="*/ 132 w 226"/>
              <a:gd name="T103" fmla="*/ 45 h 203"/>
              <a:gd name="T104" fmla="*/ 123 w 226"/>
              <a:gd name="T105" fmla="*/ 58 h 203"/>
              <a:gd name="T106" fmla="*/ 103 w 226"/>
              <a:gd name="T107" fmla="*/ 56 h 203"/>
              <a:gd name="T108" fmla="*/ 92 w 226"/>
              <a:gd name="T109" fmla="*/ 51 h 203"/>
              <a:gd name="T110" fmla="*/ 85 w 226"/>
              <a:gd name="T111" fmla="*/ 62 h 203"/>
              <a:gd name="T112" fmla="*/ 78 w 226"/>
              <a:gd name="T113" fmla="*/ 72 h 203"/>
              <a:gd name="T114" fmla="*/ 62 w 226"/>
              <a:gd name="T115" fmla="*/ 75 h 203"/>
              <a:gd name="T116" fmla="*/ 57 w 226"/>
              <a:gd name="T117" fmla="*/ 74 h 203"/>
              <a:gd name="T118" fmla="*/ 60 w 226"/>
              <a:gd name="T119" fmla="*/ 58 h 203"/>
              <a:gd name="T120" fmla="*/ 50 w 226"/>
              <a:gd name="T121" fmla="*/ 42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26" h="203">
                <a:moveTo>
                  <a:pt x="50" y="42"/>
                </a:moveTo>
                <a:lnTo>
                  <a:pt x="49" y="57"/>
                </a:lnTo>
                <a:lnTo>
                  <a:pt x="48" y="72"/>
                </a:lnTo>
                <a:lnTo>
                  <a:pt x="46" y="88"/>
                </a:lnTo>
                <a:lnTo>
                  <a:pt x="45" y="102"/>
                </a:lnTo>
                <a:lnTo>
                  <a:pt x="33" y="108"/>
                </a:lnTo>
                <a:lnTo>
                  <a:pt x="12" y="105"/>
                </a:lnTo>
                <a:lnTo>
                  <a:pt x="8" y="95"/>
                </a:lnTo>
                <a:lnTo>
                  <a:pt x="0" y="104"/>
                </a:lnTo>
                <a:lnTo>
                  <a:pt x="6" y="119"/>
                </a:lnTo>
                <a:lnTo>
                  <a:pt x="12" y="134"/>
                </a:lnTo>
                <a:lnTo>
                  <a:pt x="16" y="148"/>
                </a:lnTo>
                <a:lnTo>
                  <a:pt x="22" y="164"/>
                </a:lnTo>
                <a:lnTo>
                  <a:pt x="16" y="171"/>
                </a:lnTo>
                <a:lnTo>
                  <a:pt x="19" y="178"/>
                </a:lnTo>
                <a:lnTo>
                  <a:pt x="22" y="195"/>
                </a:lnTo>
                <a:lnTo>
                  <a:pt x="27" y="194"/>
                </a:lnTo>
                <a:lnTo>
                  <a:pt x="33" y="198"/>
                </a:lnTo>
                <a:lnTo>
                  <a:pt x="43" y="203"/>
                </a:lnTo>
                <a:lnTo>
                  <a:pt x="57" y="198"/>
                </a:lnTo>
                <a:lnTo>
                  <a:pt x="72" y="194"/>
                </a:lnTo>
                <a:lnTo>
                  <a:pt x="86" y="192"/>
                </a:lnTo>
                <a:lnTo>
                  <a:pt x="100" y="192"/>
                </a:lnTo>
                <a:lnTo>
                  <a:pt x="118" y="190"/>
                </a:lnTo>
                <a:lnTo>
                  <a:pt x="128" y="188"/>
                </a:lnTo>
                <a:lnTo>
                  <a:pt x="142" y="178"/>
                </a:lnTo>
                <a:lnTo>
                  <a:pt x="157" y="170"/>
                </a:lnTo>
                <a:lnTo>
                  <a:pt x="166" y="160"/>
                </a:lnTo>
                <a:lnTo>
                  <a:pt x="175" y="150"/>
                </a:lnTo>
                <a:lnTo>
                  <a:pt x="183" y="142"/>
                </a:lnTo>
                <a:lnTo>
                  <a:pt x="193" y="132"/>
                </a:lnTo>
                <a:lnTo>
                  <a:pt x="202" y="119"/>
                </a:lnTo>
                <a:lnTo>
                  <a:pt x="213" y="107"/>
                </a:lnTo>
                <a:lnTo>
                  <a:pt x="220" y="92"/>
                </a:lnTo>
                <a:lnTo>
                  <a:pt x="226" y="76"/>
                </a:lnTo>
                <a:lnTo>
                  <a:pt x="216" y="76"/>
                </a:lnTo>
                <a:lnTo>
                  <a:pt x="213" y="83"/>
                </a:lnTo>
                <a:lnTo>
                  <a:pt x="200" y="77"/>
                </a:lnTo>
                <a:lnTo>
                  <a:pt x="201" y="66"/>
                </a:lnTo>
                <a:lnTo>
                  <a:pt x="207" y="58"/>
                </a:lnTo>
                <a:lnTo>
                  <a:pt x="214" y="62"/>
                </a:lnTo>
                <a:lnTo>
                  <a:pt x="214" y="45"/>
                </a:lnTo>
                <a:lnTo>
                  <a:pt x="214" y="28"/>
                </a:lnTo>
                <a:lnTo>
                  <a:pt x="212" y="16"/>
                </a:lnTo>
                <a:lnTo>
                  <a:pt x="208" y="4"/>
                </a:lnTo>
                <a:lnTo>
                  <a:pt x="195" y="3"/>
                </a:lnTo>
                <a:lnTo>
                  <a:pt x="182" y="0"/>
                </a:lnTo>
                <a:lnTo>
                  <a:pt x="181" y="0"/>
                </a:lnTo>
                <a:lnTo>
                  <a:pt x="162" y="14"/>
                </a:lnTo>
                <a:lnTo>
                  <a:pt x="147" y="26"/>
                </a:lnTo>
                <a:lnTo>
                  <a:pt x="140" y="40"/>
                </a:lnTo>
                <a:lnTo>
                  <a:pt x="132" y="45"/>
                </a:lnTo>
                <a:lnTo>
                  <a:pt x="123" y="58"/>
                </a:lnTo>
                <a:lnTo>
                  <a:pt x="103" y="56"/>
                </a:lnTo>
                <a:lnTo>
                  <a:pt x="92" y="51"/>
                </a:lnTo>
                <a:lnTo>
                  <a:pt x="85" y="62"/>
                </a:lnTo>
                <a:lnTo>
                  <a:pt x="78" y="72"/>
                </a:lnTo>
                <a:lnTo>
                  <a:pt x="62" y="75"/>
                </a:lnTo>
                <a:lnTo>
                  <a:pt x="57" y="74"/>
                </a:lnTo>
                <a:lnTo>
                  <a:pt x="60" y="58"/>
                </a:lnTo>
                <a:lnTo>
                  <a:pt x="50" y="42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0" name="Freeform 245">
            <a:extLst>
              <a:ext uri="{FF2B5EF4-FFF2-40B4-BE49-F238E27FC236}">
                <a16:creationId xmlns:a16="http://schemas.microsoft.com/office/drawing/2014/main" id="{773DF39B-E0AB-4AD7-A424-4F9FDB3FB04B}"/>
              </a:ext>
            </a:extLst>
          </p:cNvPr>
          <p:cNvSpPr>
            <a:spLocks/>
          </p:cNvSpPr>
          <p:nvPr/>
        </p:nvSpPr>
        <p:spPr bwMode="gray">
          <a:xfrm>
            <a:off x="5122694" y="5039461"/>
            <a:ext cx="58500" cy="68149"/>
          </a:xfrm>
          <a:custGeom>
            <a:avLst/>
            <a:gdLst>
              <a:gd name="T0" fmla="*/ 13 w 31"/>
              <a:gd name="T1" fmla="*/ 3 h 31"/>
              <a:gd name="T2" fmla="*/ 0 w 31"/>
              <a:gd name="T3" fmla="*/ 18 h 31"/>
              <a:gd name="T4" fmla="*/ 9 w 31"/>
              <a:gd name="T5" fmla="*/ 31 h 31"/>
              <a:gd name="T6" fmla="*/ 15 w 31"/>
              <a:gd name="T7" fmla="*/ 27 h 31"/>
              <a:gd name="T8" fmla="*/ 28 w 31"/>
              <a:gd name="T9" fmla="*/ 17 h 31"/>
              <a:gd name="T10" fmla="*/ 31 w 31"/>
              <a:gd name="T11" fmla="*/ 7 h 31"/>
              <a:gd name="T12" fmla="*/ 19 w 31"/>
              <a:gd name="T13" fmla="*/ 0 h 31"/>
              <a:gd name="T14" fmla="*/ 13 w 31"/>
              <a:gd name="T15" fmla="*/ 3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1" h="31">
                <a:moveTo>
                  <a:pt x="13" y="3"/>
                </a:moveTo>
                <a:lnTo>
                  <a:pt x="0" y="18"/>
                </a:lnTo>
                <a:lnTo>
                  <a:pt x="9" y="31"/>
                </a:lnTo>
                <a:lnTo>
                  <a:pt x="15" y="27"/>
                </a:lnTo>
                <a:lnTo>
                  <a:pt x="28" y="17"/>
                </a:lnTo>
                <a:lnTo>
                  <a:pt x="31" y="7"/>
                </a:lnTo>
                <a:lnTo>
                  <a:pt x="19" y="0"/>
                </a:lnTo>
                <a:lnTo>
                  <a:pt x="13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1" name="Freeform 246">
            <a:extLst>
              <a:ext uri="{FF2B5EF4-FFF2-40B4-BE49-F238E27FC236}">
                <a16:creationId xmlns:a16="http://schemas.microsoft.com/office/drawing/2014/main" id="{ACDAB626-22F8-44C8-87E9-1185BE4BE364}"/>
              </a:ext>
            </a:extLst>
          </p:cNvPr>
          <p:cNvSpPr>
            <a:spLocks/>
          </p:cNvSpPr>
          <p:nvPr/>
        </p:nvSpPr>
        <p:spPr bwMode="gray">
          <a:xfrm>
            <a:off x="4797507" y="4831116"/>
            <a:ext cx="6882" cy="21419"/>
          </a:xfrm>
          <a:custGeom>
            <a:avLst/>
            <a:gdLst>
              <a:gd name="T0" fmla="*/ 4 w 4"/>
              <a:gd name="T1" fmla="*/ 8 h 8"/>
              <a:gd name="T2" fmla="*/ 0 w 4"/>
              <a:gd name="T3" fmla="*/ 7 h 8"/>
              <a:gd name="T4" fmla="*/ 2 w 4"/>
              <a:gd name="T5" fmla="*/ 0 h 8"/>
              <a:gd name="T6" fmla="*/ 4 w 4"/>
              <a:gd name="T7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8">
                <a:moveTo>
                  <a:pt x="4" y="8"/>
                </a:moveTo>
                <a:lnTo>
                  <a:pt x="0" y="7"/>
                </a:lnTo>
                <a:lnTo>
                  <a:pt x="2" y="0"/>
                </a:lnTo>
                <a:lnTo>
                  <a:pt x="4" y="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2" name="Freeform 247">
            <a:extLst>
              <a:ext uri="{FF2B5EF4-FFF2-40B4-BE49-F238E27FC236}">
                <a16:creationId xmlns:a16="http://schemas.microsoft.com/office/drawing/2014/main" id="{24DCA3C0-FF1D-4706-8346-AB96FA9B21BA}"/>
              </a:ext>
            </a:extLst>
          </p:cNvPr>
          <p:cNvSpPr>
            <a:spLocks/>
          </p:cNvSpPr>
          <p:nvPr/>
        </p:nvSpPr>
        <p:spPr bwMode="gray">
          <a:xfrm>
            <a:off x="5229367" y="4938210"/>
            <a:ext cx="30969" cy="56467"/>
          </a:xfrm>
          <a:custGeom>
            <a:avLst/>
            <a:gdLst>
              <a:gd name="T0" fmla="*/ 7 w 16"/>
              <a:gd name="T1" fmla="*/ 0 h 25"/>
              <a:gd name="T2" fmla="*/ 1 w 16"/>
              <a:gd name="T3" fmla="*/ 8 h 25"/>
              <a:gd name="T4" fmla="*/ 0 w 16"/>
              <a:gd name="T5" fmla="*/ 19 h 25"/>
              <a:gd name="T6" fmla="*/ 13 w 16"/>
              <a:gd name="T7" fmla="*/ 25 h 25"/>
              <a:gd name="T8" fmla="*/ 16 w 16"/>
              <a:gd name="T9" fmla="*/ 18 h 25"/>
              <a:gd name="T10" fmla="*/ 14 w 16"/>
              <a:gd name="T11" fmla="*/ 4 h 25"/>
              <a:gd name="T12" fmla="*/ 7 w 16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" h="25">
                <a:moveTo>
                  <a:pt x="7" y="0"/>
                </a:moveTo>
                <a:lnTo>
                  <a:pt x="1" y="8"/>
                </a:lnTo>
                <a:lnTo>
                  <a:pt x="0" y="19"/>
                </a:lnTo>
                <a:lnTo>
                  <a:pt x="13" y="25"/>
                </a:lnTo>
                <a:lnTo>
                  <a:pt x="16" y="18"/>
                </a:lnTo>
                <a:lnTo>
                  <a:pt x="14" y="4"/>
                </a:lnTo>
                <a:lnTo>
                  <a:pt x="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3" name="Freeform 248">
            <a:extLst>
              <a:ext uri="{FF2B5EF4-FFF2-40B4-BE49-F238E27FC236}">
                <a16:creationId xmlns:a16="http://schemas.microsoft.com/office/drawing/2014/main" id="{6725C9D5-E574-4DB6-A8A7-FAB0376C48C8}"/>
              </a:ext>
            </a:extLst>
          </p:cNvPr>
          <p:cNvSpPr>
            <a:spLocks/>
          </p:cNvSpPr>
          <p:nvPr/>
        </p:nvSpPr>
        <p:spPr bwMode="gray">
          <a:xfrm>
            <a:off x="4728685" y="4245021"/>
            <a:ext cx="333789" cy="424481"/>
          </a:xfrm>
          <a:custGeom>
            <a:avLst/>
            <a:gdLst>
              <a:gd name="T0" fmla="*/ 174 w 174"/>
              <a:gd name="T1" fmla="*/ 113 h 194"/>
              <a:gd name="T2" fmla="*/ 160 w 174"/>
              <a:gd name="T3" fmla="*/ 114 h 194"/>
              <a:gd name="T4" fmla="*/ 146 w 174"/>
              <a:gd name="T5" fmla="*/ 114 h 194"/>
              <a:gd name="T6" fmla="*/ 146 w 174"/>
              <a:gd name="T7" fmla="*/ 127 h 194"/>
              <a:gd name="T8" fmla="*/ 146 w 174"/>
              <a:gd name="T9" fmla="*/ 139 h 194"/>
              <a:gd name="T10" fmla="*/ 146 w 174"/>
              <a:gd name="T11" fmla="*/ 152 h 194"/>
              <a:gd name="T12" fmla="*/ 144 w 174"/>
              <a:gd name="T13" fmla="*/ 165 h 194"/>
              <a:gd name="T14" fmla="*/ 155 w 174"/>
              <a:gd name="T15" fmla="*/ 177 h 194"/>
              <a:gd name="T16" fmla="*/ 165 w 174"/>
              <a:gd name="T17" fmla="*/ 188 h 194"/>
              <a:gd name="T18" fmla="*/ 143 w 174"/>
              <a:gd name="T19" fmla="*/ 191 h 194"/>
              <a:gd name="T20" fmla="*/ 123 w 174"/>
              <a:gd name="T21" fmla="*/ 194 h 194"/>
              <a:gd name="T22" fmla="*/ 110 w 174"/>
              <a:gd name="T23" fmla="*/ 191 h 194"/>
              <a:gd name="T24" fmla="*/ 96 w 174"/>
              <a:gd name="T25" fmla="*/ 188 h 194"/>
              <a:gd name="T26" fmla="*/ 94 w 174"/>
              <a:gd name="T27" fmla="*/ 185 h 194"/>
              <a:gd name="T28" fmla="*/ 77 w 174"/>
              <a:gd name="T29" fmla="*/ 185 h 194"/>
              <a:gd name="T30" fmla="*/ 62 w 174"/>
              <a:gd name="T31" fmla="*/ 183 h 194"/>
              <a:gd name="T32" fmla="*/ 45 w 174"/>
              <a:gd name="T33" fmla="*/ 183 h 194"/>
              <a:gd name="T34" fmla="*/ 29 w 174"/>
              <a:gd name="T35" fmla="*/ 182 h 194"/>
              <a:gd name="T36" fmla="*/ 18 w 174"/>
              <a:gd name="T37" fmla="*/ 179 h 194"/>
              <a:gd name="T38" fmla="*/ 0 w 174"/>
              <a:gd name="T39" fmla="*/ 182 h 194"/>
              <a:gd name="T40" fmla="*/ 2 w 174"/>
              <a:gd name="T41" fmla="*/ 170 h 194"/>
              <a:gd name="T42" fmla="*/ 4 w 174"/>
              <a:gd name="T43" fmla="*/ 157 h 194"/>
              <a:gd name="T44" fmla="*/ 10 w 174"/>
              <a:gd name="T45" fmla="*/ 137 h 194"/>
              <a:gd name="T46" fmla="*/ 16 w 174"/>
              <a:gd name="T47" fmla="*/ 116 h 194"/>
              <a:gd name="T48" fmla="*/ 23 w 174"/>
              <a:gd name="T49" fmla="*/ 105 h 194"/>
              <a:gd name="T50" fmla="*/ 30 w 174"/>
              <a:gd name="T51" fmla="*/ 95 h 194"/>
              <a:gd name="T52" fmla="*/ 28 w 174"/>
              <a:gd name="T53" fmla="*/ 74 h 194"/>
              <a:gd name="T54" fmla="*/ 24 w 174"/>
              <a:gd name="T55" fmla="*/ 61 h 194"/>
              <a:gd name="T56" fmla="*/ 21 w 174"/>
              <a:gd name="T57" fmla="*/ 49 h 194"/>
              <a:gd name="T58" fmla="*/ 26 w 174"/>
              <a:gd name="T59" fmla="*/ 41 h 194"/>
              <a:gd name="T60" fmla="*/ 18 w 174"/>
              <a:gd name="T61" fmla="*/ 23 h 194"/>
              <a:gd name="T62" fmla="*/ 11 w 174"/>
              <a:gd name="T63" fmla="*/ 3 h 194"/>
              <a:gd name="T64" fmla="*/ 23 w 174"/>
              <a:gd name="T65" fmla="*/ 0 h 194"/>
              <a:gd name="T66" fmla="*/ 35 w 174"/>
              <a:gd name="T67" fmla="*/ 0 h 194"/>
              <a:gd name="T68" fmla="*/ 47 w 174"/>
              <a:gd name="T69" fmla="*/ 0 h 194"/>
              <a:gd name="T70" fmla="*/ 59 w 174"/>
              <a:gd name="T71" fmla="*/ 1 h 194"/>
              <a:gd name="T72" fmla="*/ 71 w 174"/>
              <a:gd name="T73" fmla="*/ 1 h 194"/>
              <a:gd name="T74" fmla="*/ 77 w 174"/>
              <a:gd name="T75" fmla="*/ 17 h 194"/>
              <a:gd name="T76" fmla="*/ 83 w 174"/>
              <a:gd name="T77" fmla="*/ 31 h 194"/>
              <a:gd name="T78" fmla="*/ 93 w 174"/>
              <a:gd name="T79" fmla="*/ 36 h 194"/>
              <a:gd name="T80" fmla="*/ 110 w 174"/>
              <a:gd name="T81" fmla="*/ 32 h 194"/>
              <a:gd name="T82" fmla="*/ 113 w 174"/>
              <a:gd name="T83" fmla="*/ 18 h 194"/>
              <a:gd name="T84" fmla="*/ 128 w 174"/>
              <a:gd name="T85" fmla="*/ 19 h 194"/>
              <a:gd name="T86" fmla="*/ 126 w 174"/>
              <a:gd name="T87" fmla="*/ 23 h 194"/>
              <a:gd name="T88" fmla="*/ 146 w 174"/>
              <a:gd name="T89" fmla="*/ 25 h 194"/>
              <a:gd name="T90" fmla="*/ 146 w 174"/>
              <a:gd name="T91" fmla="*/ 43 h 194"/>
              <a:gd name="T92" fmla="*/ 147 w 174"/>
              <a:gd name="T93" fmla="*/ 62 h 194"/>
              <a:gd name="T94" fmla="*/ 152 w 174"/>
              <a:gd name="T95" fmla="*/ 79 h 194"/>
              <a:gd name="T96" fmla="*/ 152 w 174"/>
              <a:gd name="T97" fmla="*/ 85 h 194"/>
              <a:gd name="T98" fmla="*/ 164 w 174"/>
              <a:gd name="T99" fmla="*/ 83 h 194"/>
              <a:gd name="T100" fmla="*/ 174 w 174"/>
              <a:gd name="T101" fmla="*/ 80 h 194"/>
              <a:gd name="T102" fmla="*/ 174 w 174"/>
              <a:gd name="T103" fmla="*/ 97 h 194"/>
              <a:gd name="T104" fmla="*/ 174 w 174"/>
              <a:gd name="T105" fmla="*/ 113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4" h="194">
                <a:moveTo>
                  <a:pt x="174" y="113"/>
                </a:moveTo>
                <a:lnTo>
                  <a:pt x="160" y="114"/>
                </a:lnTo>
                <a:lnTo>
                  <a:pt x="146" y="114"/>
                </a:lnTo>
                <a:lnTo>
                  <a:pt x="146" y="127"/>
                </a:lnTo>
                <a:lnTo>
                  <a:pt x="146" y="139"/>
                </a:lnTo>
                <a:lnTo>
                  <a:pt x="146" y="152"/>
                </a:lnTo>
                <a:lnTo>
                  <a:pt x="144" y="165"/>
                </a:lnTo>
                <a:lnTo>
                  <a:pt x="155" y="177"/>
                </a:lnTo>
                <a:lnTo>
                  <a:pt x="165" y="188"/>
                </a:lnTo>
                <a:lnTo>
                  <a:pt x="143" y="191"/>
                </a:lnTo>
                <a:lnTo>
                  <a:pt x="123" y="194"/>
                </a:lnTo>
                <a:lnTo>
                  <a:pt x="110" y="191"/>
                </a:lnTo>
                <a:lnTo>
                  <a:pt x="96" y="188"/>
                </a:lnTo>
                <a:lnTo>
                  <a:pt x="94" y="185"/>
                </a:lnTo>
                <a:lnTo>
                  <a:pt x="77" y="185"/>
                </a:lnTo>
                <a:lnTo>
                  <a:pt x="62" y="183"/>
                </a:lnTo>
                <a:lnTo>
                  <a:pt x="45" y="183"/>
                </a:lnTo>
                <a:lnTo>
                  <a:pt x="29" y="182"/>
                </a:lnTo>
                <a:lnTo>
                  <a:pt x="18" y="179"/>
                </a:lnTo>
                <a:lnTo>
                  <a:pt x="0" y="182"/>
                </a:lnTo>
                <a:lnTo>
                  <a:pt x="2" y="170"/>
                </a:lnTo>
                <a:lnTo>
                  <a:pt x="4" y="157"/>
                </a:lnTo>
                <a:lnTo>
                  <a:pt x="10" y="137"/>
                </a:lnTo>
                <a:lnTo>
                  <a:pt x="16" y="116"/>
                </a:lnTo>
                <a:lnTo>
                  <a:pt x="23" y="105"/>
                </a:lnTo>
                <a:lnTo>
                  <a:pt x="30" y="95"/>
                </a:lnTo>
                <a:lnTo>
                  <a:pt x="28" y="74"/>
                </a:lnTo>
                <a:lnTo>
                  <a:pt x="24" y="61"/>
                </a:lnTo>
                <a:lnTo>
                  <a:pt x="21" y="49"/>
                </a:lnTo>
                <a:lnTo>
                  <a:pt x="26" y="41"/>
                </a:lnTo>
                <a:lnTo>
                  <a:pt x="18" y="23"/>
                </a:lnTo>
                <a:lnTo>
                  <a:pt x="11" y="3"/>
                </a:lnTo>
                <a:lnTo>
                  <a:pt x="23" y="0"/>
                </a:lnTo>
                <a:lnTo>
                  <a:pt x="35" y="0"/>
                </a:lnTo>
                <a:lnTo>
                  <a:pt x="47" y="0"/>
                </a:lnTo>
                <a:lnTo>
                  <a:pt x="59" y="1"/>
                </a:lnTo>
                <a:lnTo>
                  <a:pt x="71" y="1"/>
                </a:lnTo>
                <a:lnTo>
                  <a:pt x="77" y="17"/>
                </a:lnTo>
                <a:lnTo>
                  <a:pt x="83" y="31"/>
                </a:lnTo>
                <a:lnTo>
                  <a:pt x="93" y="36"/>
                </a:lnTo>
                <a:lnTo>
                  <a:pt x="110" y="32"/>
                </a:lnTo>
                <a:lnTo>
                  <a:pt x="113" y="18"/>
                </a:lnTo>
                <a:lnTo>
                  <a:pt x="128" y="19"/>
                </a:lnTo>
                <a:lnTo>
                  <a:pt x="126" y="23"/>
                </a:lnTo>
                <a:lnTo>
                  <a:pt x="146" y="25"/>
                </a:lnTo>
                <a:lnTo>
                  <a:pt x="146" y="43"/>
                </a:lnTo>
                <a:lnTo>
                  <a:pt x="147" y="62"/>
                </a:lnTo>
                <a:lnTo>
                  <a:pt x="152" y="79"/>
                </a:lnTo>
                <a:lnTo>
                  <a:pt x="152" y="85"/>
                </a:lnTo>
                <a:lnTo>
                  <a:pt x="164" y="83"/>
                </a:lnTo>
                <a:lnTo>
                  <a:pt x="174" y="80"/>
                </a:lnTo>
                <a:lnTo>
                  <a:pt x="174" y="97"/>
                </a:lnTo>
                <a:lnTo>
                  <a:pt x="174" y="113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4" name="Freeform 249">
            <a:extLst>
              <a:ext uri="{FF2B5EF4-FFF2-40B4-BE49-F238E27FC236}">
                <a16:creationId xmlns:a16="http://schemas.microsoft.com/office/drawing/2014/main" id="{DF6C8AE0-F9F8-4CC1-A158-BC22BC7650BB}"/>
              </a:ext>
            </a:extLst>
          </p:cNvPr>
          <p:cNvSpPr>
            <a:spLocks/>
          </p:cNvSpPr>
          <p:nvPr/>
        </p:nvSpPr>
        <p:spPr bwMode="gray">
          <a:xfrm>
            <a:off x="4740730" y="4198285"/>
            <a:ext cx="29251" cy="46732"/>
          </a:xfrm>
          <a:custGeom>
            <a:avLst/>
            <a:gdLst>
              <a:gd name="T0" fmla="*/ 3 w 16"/>
              <a:gd name="T1" fmla="*/ 22 h 22"/>
              <a:gd name="T2" fmla="*/ 0 w 16"/>
              <a:gd name="T3" fmla="*/ 8 h 22"/>
              <a:gd name="T4" fmla="*/ 10 w 16"/>
              <a:gd name="T5" fmla="*/ 0 h 22"/>
              <a:gd name="T6" fmla="*/ 16 w 16"/>
              <a:gd name="T7" fmla="*/ 2 h 22"/>
              <a:gd name="T8" fmla="*/ 9 w 16"/>
              <a:gd name="T9" fmla="*/ 7 h 22"/>
              <a:gd name="T10" fmla="*/ 8 w 16"/>
              <a:gd name="T11" fmla="*/ 20 h 22"/>
              <a:gd name="T12" fmla="*/ 3 w 16"/>
              <a:gd name="T13" fmla="*/ 2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" h="22">
                <a:moveTo>
                  <a:pt x="3" y="22"/>
                </a:moveTo>
                <a:lnTo>
                  <a:pt x="0" y="8"/>
                </a:lnTo>
                <a:lnTo>
                  <a:pt x="10" y="0"/>
                </a:lnTo>
                <a:lnTo>
                  <a:pt x="16" y="2"/>
                </a:lnTo>
                <a:lnTo>
                  <a:pt x="9" y="7"/>
                </a:lnTo>
                <a:lnTo>
                  <a:pt x="8" y="20"/>
                </a:lnTo>
                <a:lnTo>
                  <a:pt x="3" y="2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5" name="Freeform 250">
            <a:extLst>
              <a:ext uri="{FF2B5EF4-FFF2-40B4-BE49-F238E27FC236}">
                <a16:creationId xmlns:a16="http://schemas.microsoft.com/office/drawing/2014/main" id="{98301B41-CCB6-41CF-A52A-7E8F25D8965C}"/>
              </a:ext>
            </a:extLst>
          </p:cNvPr>
          <p:cNvSpPr>
            <a:spLocks/>
          </p:cNvSpPr>
          <p:nvPr/>
        </p:nvSpPr>
        <p:spPr bwMode="gray">
          <a:xfrm>
            <a:off x="2383664" y="3859481"/>
            <a:ext cx="1058142" cy="1357173"/>
          </a:xfrm>
          <a:custGeom>
            <a:avLst/>
            <a:gdLst>
              <a:gd name="T0" fmla="*/ 415 w 553"/>
              <a:gd name="T1" fmla="*/ 122 h 626"/>
              <a:gd name="T2" fmla="*/ 408 w 553"/>
              <a:gd name="T3" fmla="*/ 109 h 626"/>
              <a:gd name="T4" fmla="*/ 390 w 553"/>
              <a:gd name="T5" fmla="*/ 101 h 626"/>
              <a:gd name="T6" fmla="*/ 372 w 553"/>
              <a:gd name="T7" fmla="*/ 96 h 626"/>
              <a:gd name="T8" fmla="*/ 351 w 553"/>
              <a:gd name="T9" fmla="*/ 112 h 626"/>
              <a:gd name="T10" fmla="*/ 333 w 553"/>
              <a:gd name="T11" fmla="*/ 115 h 626"/>
              <a:gd name="T12" fmla="*/ 304 w 553"/>
              <a:gd name="T13" fmla="*/ 110 h 626"/>
              <a:gd name="T14" fmla="*/ 328 w 553"/>
              <a:gd name="T15" fmla="*/ 74 h 626"/>
              <a:gd name="T16" fmla="*/ 324 w 553"/>
              <a:gd name="T17" fmla="*/ 36 h 626"/>
              <a:gd name="T18" fmla="*/ 315 w 553"/>
              <a:gd name="T19" fmla="*/ 18 h 626"/>
              <a:gd name="T20" fmla="*/ 294 w 553"/>
              <a:gd name="T21" fmla="*/ 49 h 626"/>
              <a:gd name="T22" fmla="*/ 249 w 553"/>
              <a:gd name="T23" fmla="*/ 47 h 626"/>
              <a:gd name="T24" fmla="*/ 216 w 553"/>
              <a:gd name="T25" fmla="*/ 62 h 626"/>
              <a:gd name="T26" fmla="*/ 200 w 553"/>
              <a:gd name="T27" fmla="*/ 17 h 626"/>
              <a:gd name="T28" fmla="*/ 186 w 553"/>
              <a:gd name="T29" fmla="*/ 1 h 626"/>
              <a:gd name="T30" fmla="*/ 156 w 553"/>
              <a:gd name="T31" fmla="*/ 25 h 626"/>
              <a:gd name="T32" fmla="*/ 138 w 553"/>
              <a:gd name="T33" fmla="*/ 42 h 626"/>
              <a:gd name="T34" fmla="*/ 117 w 553"/>
              <a:gd name="T35" fmla="*/ 72 h 626"/>
              <a:gd name="T36" fmla="*/ 93 w 553"/>
              <a:gd name="T37" fmla="*/ 64 h 626"/>
              <a:gd name="T38" fmla="*/ 79 w 553"/>
              <a:gd name="T39" fmla="*/ 56 h 626"/>
              <a:gd name="T40" fmla="*/ 63 w 553"/>
              <a:gd name="T41" fmla="*/ 71 h 626"/>
              <a:gd name="T42" fmla="*/ 60 w 553"/>
              <a:gd name="T43" fmla="*/ 107 h 626"/>
              <a:gd name="T44" fmla="*/ 37 w 553"/>
              <a:gd name="T45" fmla="*/ 155 h 626"/>
              <a:gd name="T46" fmla="*/ 7 w 553"/>
              <a:gd name="T47" fmla="*/ 190 h 626"/>
              <a:gd name="T48" fmla="*/ 12 w 553"/>
              <a:gd name="T49" fmla="*/ 234 h 626"/>
              <a:gd name="T50" fmla="*/ 46 w 553"/>
              <a:gd name="T51" fmla="*/ 238 h 626"/>
              <a:gd name="T52" fmla="*/ 81 w 553"/>
              <a:gd name="T53" fmla="*/ 260 h 626"/>
              <a:gd name="T54" fmla="*/ 122 w 553"/>
              <a:gd name="T55" fmla="*/ 242 h 626"/>
              <a:gd name="T56" fmla="*/ 146 w 553"/>
              <a:gd name="T57" fmla="*/ 284 h 626"/>
              <a:gd name="T58" fmla="*/ 195 w 553"/>
              <a:gd name="T59" fmla="*/ 311 h 626"/>
              <a:gd name="T60" fmla="*/ 201 w 553"/>
              <a:gd name="T61" fmla="*/ 346 h 626"/>
              <a:gd name="T62" fmla="*/ 238 w 553"/>
              <a:gd name="T63" fmla="*/ 371 h 626"/>
              <a:gd name="T64" fmla="*/ 237 w 553"/>
              <a:gd name="T65" fmla="*/ 407 h 626"/>
              <a:gd name="T66" fmla="*/ 260 w 553"/>
              <a:gd name="T67" fmla="*/ 442 h 626"/>
              <a:gd name="T68" fmla="*/ 285 w 553"/>
              <a:gd name="T69" fmla="*/ 469 h 626"/>
              <a:gd name="T70" fmla="*/ 301 w 553"/>
              <a:gd name="T71" fmla="*/ 496 h 626"/>
              <a:gd name="T72" fmla="*/ 283 w 553"/>
              <a:gd name="T73" fmla="*/ 541 h 626"/>
              <a:gd name="T74" fmla="*/ 261 w 553"/>
              <a:gd name="T75" fmla="*/ 570 h 626"/>
              <a:gd name="T76" fmla="*/ 297 w 553"/>
              <a:gd name="T77" fmla="*/ 587 h 626"/>
              <a:gd name="T78" fmla="*/ 328 w 553"/>
              <a:gd name="T79" fmla="*/ 626 h 626"/>
              <a:gd name="T80" fmla="*/ 343 w 553"/>
              <a:gd name="T81" fmla="*/ 587 h 626"/>
              <a:gd name="T82" fmla="*/ 357 w 553"/>
              <a:gd name="T83" fmla="*/ 572 h 626"/>
              <a:gd name="T84" fmla="*/ 343 w 553"/>
              <a:gd name="T85" fmla="*/ 600 h 626"/>
              <a:gd name="T86" fmla="*/ 373 w 553"/>
              <a:gd name="T87" fmla="*/ 547 h 626"/>
              <a:gd name="T88" fmla="*/ 378 w 553"/>
              <a:gd name="T89" fmla="*/ 515 h 626"/>
              <a:gd name="T90" fmla="*/ 374 w 553"/>
              <a:gd name="T91" fmla="*/ 493 h 626"/>
              <a:gd name="T92" fmla="*/ 416 w 553"/>
              <a:gd name="T93" fmla="*/ 466 h 626"/>
              <a:gd name="T94" fmla="*/ 436 w 553"/>
              <a:gd name="T95" fmla="*/ 455 h 626"/>
              <a:gd name="T96" fmla="*/ 468 w 553"/>
              <a:gd name="T97" fmla="*/ 442 h 626"/>
              <a:gd name="T98" fmla="*/ 492 w 553"/>
              <a:gd name="T99" fmla="*/ 395 h 626"/>
              <a:gd name="T100" fmla="*/ 499 w 553"/>
              <a:gd name="T101" fmla="*/ 334 h 626"/>
              <a:gd name="T102" fmla="*/ 498 w 553"/>
              <a:gd name="T103" fmla="*/ 290 h 626"/>
              <a:gd name="T104" fmla="*/ 518 w 553"/>
              <a:gd name="T105" fmla="*/ 268 h 626"/>
              <a:gd name="T106" fmla="*/ 538 w 553"/>
              <a:gd name="T107" fmla="*/ 240 h 626"/>
              <a:gd name="T108" fmla="*/ 541 w 553"/>
              <a:gd name="T109" fmla="*/ 167 h 626"/>
              <a:gd name="T110" fmla="*/ 488 w 553"/>
              <a:gd name="T111" fmla="*/ 136 h 626"/>
              <a:gd name="T112" fmla="*/ 429 w 553"/>
              <a:gd name="T113" fmla="*/ 125 h 6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53" h="626">
                <a:moveTo>
                  <a:pt x="420" y="122"/>
                </a:moveTo>
                <a:lnTo>
                  <a:pt x="417" y="125"/>
                </a:lnTo>
                <a:lnTo>
                  <a:pt x="411" y="136"/>
                </a:lnTo>
                <a:lnTo>
                  <a:pt x="415" y="122"/>
                </a:lnTo>
                <a:lnTo>
                  <a:pt x="414" y="120"/>
                </a:lnTo>
                <a:lnTo>
                  <a:pt x="411" y="121"/>
                </a:lnTo>
                <a:lnTo>
                  <a:pt x="412" y="114"/>
                </a:lnTo>
                <a:lnTo>
                  <a:pt x="408" y="109"/>
                </a:lnTo>
                <a:lnTo>
                  <a:pt x="403" y="109"/>
                </a:lnTo>
                <a:lnTo>
                  <a:pt x="400" y="107"/>
                </a:lnTo>
                <a:lnTo>
                  <a:pt x="396" y="104"/>
                </a:lnTo>
                <a:lnTo>
                  <a:pt x="390" y="101"/>
                </a:lnTo>
                <a:lnTo>
                  <a:pt x="384" y="100"/>
                </a:lnTo>
                <a:lnTo>
                  <a:pt x="379" y="98"/>
                </a:lnTo>
                <a:lnTo>
                  <a:pt x="372" y="94"/>
                </a:lnTo>
                <a:lnTo>
                  <a:pt x="372" y="96"/>
                </a:lnTo>
                <a:lnTo>
                  <a:pt x="362" y="97"/>
                </a:lnTo>
                <a:lnTo>
                  <a:pt x="357" y="108"/>
                </a:lnTo>
                <a:lnTo>
                  <a:pt x="357" y="109"/>
                </a:lnTo>
                <a:lnTo>
                  <a:pt x="351" y="112"/>
                </a:lnTo>
                <a:lnTo>
                  <a:pt x="342" y="126"/>
                </a:lnTo>
                <a:lnTo>
                  <a:pt x="343" y="114"/>
                </a:lnTo>
                <a:lnTo>
                  <a:pt x="338" y="118"/>
                </a:lnTo>
                <a:lnTo>
                  <a:pt x="333" y="115"/>
                </a:lnTo>
                <a:lnTo>
                  <a:pt x="328" y="115"/>
                </a:lnTo>
                <a:lnTo>
                  <a:pt x="324" y="100"/>
                </a:lnTo>
                <a:lnTo>
                  <a:pt x="314" y="104"/>
                </a:lnTo>
                <a:lnTo>
                  <a:pt x="304" y="110"/>
                </a:lnTo>
                <a:lnTo>
                  <a:pt x="300" y="109"/>
                </a:lnTo>
                <a:lnTo>
                  <a:pt x="310" y="102"/>
                </a:lnTo>
                <a:lnTo>
                  <a:pt x="319" y="85"/>
                </a:lnTo>
                <a:lnTo>
                  <a:pt x="328" y="74"/>
                </a:lnTo>
                <a:lnTo>
                  <a:pt x="337" y="64"/>
                </a:lnTo>
                <a:lnTo>
                  <a:pt x="333" y="55"/>
                </a:lnTo>
                <a:lnTo>
                  <a:pt x="326" y="49"/>
                </a:lnTo>
                <a:lnTo>
                  <a:pt x="324" y="36"/>
                </a:lnTo>
                <a:lnTo>
                  <a:pt x="320" y="22"/>
                </a:lnTo>
                <a:lnTo>
                  <a:pt x="320" y="23"/>
                </a:lnTo>
                <a:lnTo>
                  <a:pt x="314" y="16"/>
                </a:lnTo>
                <a:lnTo>
                  <a:pt x="315" y="18"/>
                </a:lnTo>
                <a:lnTo>
                  <a:pt x="313" y="18"/>
                </a:lnTo>
                <a:lnTo>
                  <a:pt x="313" y="19"/>
                </a:lnTo>
                <a:lnTo>
                  <a:pt x="303" y="34"/>
                </a:lnTo>
                <a:lnTo>
                  <a:pt x="294" y="49"/>
                </a:lnTo>
                <a:lnTo>
                  <a:pt x="280" y="48"/>
                </a:lnTo>
                <a:lnTo>
                  <a:pt x="271" y="47"/>
                </a:lnTo>
                <a:lnTo>
                  <a:pt x="262" y="43"/>
                </a:lnTo>
                <a:lnTo>
                  <a:pt x="249" y="47"/>
                </a:lnTo>
                <a:lnTo>
                  <a:pt x="250" y="54"/>
                </a:lnTo>
                <a:lnTo>
                  <a:pt x="244" y="53"/>
                </a:lnTo>
                <a:lnTo>
                  <a:pt x="230" y="55"/>
                </a:lnTo>
                <a:lnTo>
                  <a:pt x="216" y="62"/>
                </a:lnTo>
                <a:lnTo>
                  <a:pt x="207" y="62"/>
                </a:lnTo>
                <a:lnTo>
                  <a:pt x="198" y="50"/>
                </a:lnTo>
                <a:lnTo>
                  <a:pt x="196" y="31"/>
                </a:lnTo>
                <a:lnTo>
                  <a:pt x="200" y="17"/>
                </a:lnTo>
                <a:lnTo>
                  <a:pt x="194" y="8"/>
                </a:lnTo>
                <a:lnTo>
                  <a:pt x="193" y="0"/>
                </a:lnTo>
                <a:lnTo>
                  <a:pt x="184" y="0"/>
                </a:lnTo>
                <a:lnTo>
                  <a:pt x="186" y="1"/>
                </a:lnTo>
                <a:lnTo>
                  <a:pt x="182" y="10"/>
                </a:lnTo>
                <a:lnTo>
                  <a:pt x="170" y="14"/>
                </a:lnTo>
                <a:lnTo>
                  <a:pt x="158" y="19"/>
                </a:lnTo>
                <a:lnTo>
                  <a:pt x="156" y="25"/>
                </a:lnTo>
                <a:lnTo>
                  <a:pt x="142" y="20"/>
                </a:lnTo>
                <a:lnTo>
                  <a:pt x="129" y="16"/>
                </a:lnTo>
                <a:lnTo>
                  <a:pt x="133" y="24"/>
                </a:lnTo>
                <a:lnTo>
                  <a:pt x="138" y="42"/>
                </a:lnTo>
                <a:lnTo>
                  <a:pt x="146" y="46"/>
                </a:lnTo>
                <a:lnTo>
                  <a:pt x="144" y="49"/>
                </a:lnTo>
                <a:lnTo>
                  <a:pt x="132" y="61"/>
                </a:lnTo>
                <a:lnTo>
                  <a:pt x="117" y="72"/>
                </a:lnTo>
                <a:lnTo>
                  <a:pt x="116" y="71"/>
                </a:lnTo>
                <a:lnTo>
                  <a:pt x="108" y="71"/>
                </a:lnTo>
                <a:lnTo>
                  <a:pt x="97" y="65"/>
                </a:lnTo>
                <a:lnTo>
                  <a:pt x="93" y="64"/>
                </a:lnTo>
                <a:lnTo>
                  <a:pt x="88" y="50"/>
                </a:lnTo>
                <a:lnTo>
                  <a:pt x="80" y="55"/>
                </a:lnTo>
                <a:lnTo>
                  <a:pt x="76" y="54"/>
                </a:lnTo>
                <a:lnTo>
                  <a:pt x="79" y="56"/>
                </a:lnTo>
                <a:lnTo>
                  <a:pt x="67" y="56"/>
                </a:lnTo>
                <a:lnTo>
                  <a:pt x="54" y="56"/>
                </a:lnTo>
                <a:lnTo>
                  <a:pt x="56" y="67"/>
                </a:lnTo>
                <a:lnTo>
                  <a:pt x="63" y="71"/>
                </a:lnTo>
                <a:lnTo>
                  <a:pt x="61" y="74"/>
                </a:lnTo>
                <a:lnTo>
                  <a:pt x="51" y="74"/>
                </a:lnTo>
                <a:lnTo>
                  <a:pt x="54" y="90"/>
                </a:lnTo>
                <a:lnTo>
                  <a:pt x="60" y="107"/>
                </a:lnTo>
                <a:lnTo>
                  <a:pt x="57" y="130"/>
                </a:lnTo>
                <a:lnTo>
                  <a:pt x="54" y="152"/>
                </a:lnTo>
                <a:lnTo>
                  <a:pt x="49" y="151"/>
                </a:lnTo>
                <a:lnTo>
                  <a:pt x="37" y="155"/>
                </a:lnTo>
                <a:lnTo>
                  <a:pt x="25" y="160"/>
                </a:lnTo>
                <a:lnTo>
                  <a:pt x="14" y="166"/>
                </a:lnTo>
                <a:lnTo>
                  <a:pt x="10" y="178"/>
                </a:lnTo>
                <a:lnTo>
                  <a:pt x="7" y="190"/>
                </a:lnTo>
                <a:lnTo>
                  <a:pt x="0" y="203"/>
                </a:lnTo>
                <a:lnTo>
                  <a:pt x="6" y="215"/>
                </a:lnTo>
                <a:lnTo>
                  <a:pt x="12" y="227"/>
                </a:lnTo>
                <a:lnTo>
                  <a:pt x="12" y="234"/>
                </a:lnTo>
                <a:lnTo>
                  <a:pt x="18" y="235"/>
                </a:lnTo>
                <a:lnTo>
                  <a:pt x="25" y="242"/>
                </a:lnTo>
                <a:lnTo>
                  <a:pt x="37" y="245"/>
                </a:lnTo>
                <a:lnTo>
                  <a:pt x="46" y="238"/>
                </a:lnTo>
                <a:lnTo>
                  <a:pt x="48" y="250"/>
                </a:lnTo>
                <a:lnTo>
                  <a:pt x="49" y="262"/>
                </a:lnTo>
                <a:lnTo>
                  <a:pt x="63" y="260"/>
                </a:lnTo>
                <a:lnTo>
                  <a:pt x="81" y="260"/>
                </a:lnTo>
                <a:lnTo>
                  <a:pt x="88" y="256"/>
                </a:lnTo>
                <a:lnTo>
                  <a:pt x="99" y="248"/>
                </a:lnTo>
                <a:lnTo>
                  <a:pt x="111" y="241"/>
                </a:lnTo>
                <a:lnTo>
                  <a:pt x="122" y="242"/>
                </a:lnTo>
                <a:lnTo>
                  <a:pt x="123" y="256"/>
                </a:lnTo>
                <a:lnTo>
                  <a:pt x="126" y="269"/>
                </a:lnTo>
                <a:lnTo>
                  <a:pt x="136" y="281"/>
                </a:lnTo>
                <a:lnTo>
                  <a:pt x="146" y="284"/>
                </a:lnTo>
                <a:lnTo>
                  <a:pt x="159" y="290"/>
                </a:lnTo>
                <a:lnTo>
                  <a:pt x="175" y="301"/>
                </a:lnTo>
                <a:lnTo>
                  <a:pt x="190" y="304"/>
                </a:lnTo>
                <a:lnTo>
                  <a:pt x="195" y="311"/>
                </a:lnTo>
                <a:lnTo>
                  <a:pt x="196" y="326"/>
                </a:lnTo>
                <a:lnTo>
                  <a:pt x="194" y="326"/>
                </a:lnTo>
                <a:lnTo>
                  <a:pt x="200" y="334"/>
                </a:lnTo>
                <a:lnTo>
                  <a:pt x="201" y="346"/>
                </a:lnTo>
                <a:lnTo>
                  <a:pt x="214" y="347"/>
                </a:lnTo>
                <a:lnTo>
                  <a:pt x="228" y="348"/>
                </a:lnTo>
                <a:lnTo>
                  <a:pt x="229" y="362"/>
                </a:lnTo>
                <a:lnTo>
                  <a:pt x="238" y="371"/>
                </a:lnTo>
                <a:lnTo>
                  <a:pt x="241" y="377"/>
                </a:lnTo>
                <a:lnTo>
                  <a:pt x="237" y="389"/>
                </a:lnTo>
                <a:lnTo>
                  <a:pt x="235" y="402"/>
                </a:lnTo>
                <a:lnTo>
                  <a:pt x="237" y="407"/>
                </a:lnTo>
                <a:lnTo>
                  <a:pt x="235" y="408"/>
                </a:lnTo>
                <a:lnTo>
                  <a:pt x="237" y="415"/>
                </a:lnTo>
                <a:lnTo>
                  <a:pt x="240" y="438"/>
                </a:lnTo>
                <a:lnTo>
                  <a:pt x="260" y="442"/>
                </a:lnTo>
                <a:lnTo>
                  <a:pt x="270" y="443"/>
                </a:lnTo>
                <a:lnTo>
                  <a:pt x="274" y="456"/>
                </a:lnTo>
                <a:lnTo>
                  <a:pt x="278" y="469"/>
                </a:lnTo>
                <a:lnTo>
                  <a:pt x="285" y="469"/>
                </a:lnTo>
                <a:lnTo>
                  <a:pt x="294" y="469"/>
                </a:lnTo>
                <a:lnTo>
                  <a:pt x="292" y="482"/>
                </a:lnTo>
                <a:lnTo>
                  <a:pt x="292" y="496"/>
                </a:lnTo>
                <a:lnTo>
                  <a:pt x="301" y="496"/>
                </a:lnTo>
                <a:lnTo>
                  <a:pt x="308" y="516"/>
                </a:lnTo>
                <a:lnTo>
                  <a:pt x="298" y="524"/>
                </a:lnTo>
                <a:lnTo>
                  <a:pt x="290" y="532"/>
                </a:lnTo>
                <a:lnTo>
                  <a:pt x="283" y="541"/>
                </a:lnTo>
                <a:lnTo>
                  <a:pt x="276" y="551"/>
                </a:lnTo>
                <a:lnTo>
                  <a:pt x="267" y="560"/>
                </a:lnTo>
                <a:lnTo>
                  <a:pt x="260" y="570"/>
                </a:lnTo>
                <a:lnTo>
                  <a:pt x="261" y="570"/>
                </a:lnTo>
                <a:lnTo>
                  <a:pt x="268" y="569"/>
                </a:lnTo>
                <a:lnTo>
                  <a:pt x="285" y="582"/>
                </a:lnTo>
                <a:lnTo>
                  <a:pt x="289" y="582"/>
                </a:lnTo>
                <a:lnTo>
                  <a:pt x="297" y="587"/>
                </a:lnTo>
                <a:lnTo>
                  <a:pt x="312" y="598"/>
                </a:lnTo>
                <a:lnTo>
                  <a:pt x="326" y="608"/>
                </a:lnTo>
                <a:lnTo>
                  <a:pt x="325" y="616"/>
                </a:lnTo>
                <a:lnTo>
                  <a:pt x="328" y="626"/>
                </a:lnTo>
                <a:lnTo>
                  <a:pt x="333" y="617"/>
                </a:lnTo>
                <a:lnTo>
                  <a:pt x="338" y="607"/>
                </a:lnTo>
                <a:lnTo>
                  <a:pt x="339" y="596"/>
                </a:lnTo>
                <a:lnTo>
                  <a:pt x="343" y="587"/>
                </a:lnTo>
                <a:lnTo>
                  <a:pt x="349" y="580"/>
                </a:lnTo>
                <a:lnTo>
                  <a:pt x="348" y="570"/>
                </a:lnTo>
                <a:lnTo>
                  <a:pt x="354" y="571"/>
                </a:lnTo>
                <a:lnTo>
                  <a:pt x="357" y="572"/>
                </a:lnTo>
                <a:lnTo>
                  <a:pt x="351" y="584"/>
                </a:lnTo>
                <a:lnTo>
                  <a:pt x="345" y="595"/>
                </a:lnTo>
                <a:lnTo>
                  <a:pt x="342" y="599"/>
                </a:lnTo>
                <a:lnTo>
                  <a:pt x="343" y="600"/>
                </a:lnTo>
                <a:lnTo>
                  <a:pt x="351" y="587"/>
                </a:lnTo>
                <a:lnTo>
                  <a:pt x="361" y="574"/>
                </a:lnTo>
                <a:lnTo>
                  <a:pt x="367" y="560"/>
                </a:lnTo>
                <a:lnTo>
                  <a:pt x="373" y="547"/>
                </a:lnTo>
                <a:lnTo>
                  <a:pt x="376" y="541"/>
                </a:lnTo>
                <a:lnTo>
                  <a:pt x="378" y="540"/>
                </a:lnTo>
                <a:lnTo>
                  <a:pt x="378" y="528"/>
                </a:lnTo>
                <a:lnTo>
                  <a:pt x="378" y="515"/>
                </a:lnTo>
                <a:lnTo>
                  <a:pt x="374" y="505"/>
                </a:lnTo>
                <a:lnTo>
                  <a:pt x="374" y="500"/>
                </a:lnTo>
                <a:lnTo>
                  <a:pt x="376" y="494"/>
                </a:lnTo>
                <a:lnTo>
                  <a:pt x="374" y="493"/>
                </a:lnTo>
                <a:lnTo>
                  <a:pt x="380" y="492"/>
                </a:lnTo>
                <a:lnTo>
                  <a:pt x="392" y="480"/>
                </a:lnTo>
                <a:lnTo>
                  <a:pt x="405" y="469"/>
                </a:lnTo>
                <a:lnTo>
                  <a:pt x="416" y="466"/>
                </a:lnTo>
                <a:lnTo>
                  <a:pt x="427" y="457"/>
                </a:lnTo>
                <a:lnTo>
                  <a:pt x="432" y="454"/>
                </a:lnTo>
                <a:lnTo>
                  <a:pt x="441" y="455"/>
                </a:lnTo>
                <a:lnTo>
                  <a:pt x="436" y="455"/>
                </a:lnTo>
                <a:lnTo>
                  <a:pt x="446" y="451"/>
                </a:lnTo>
                <a:lnTo>
                  <a:pt x="448" y="451"/>
                </a:lnTo>
                <a:lnTo>
                  <a:pt x="464" y="451"/>
                </a:lnTo>
                <a:lnTo>
                  <a:pt x="468" y="442"/>
                </a:lnTo>
                <a:lnTo>
                  <a:pt x="476" y="437"/>
                </a:lnTo>
                <a:lnTo>
                  <a:pt x="478" y="419"/>
                </a:lnTo>
                <a:lnTo>
                  <a:pt x="484" y="407"/>
                </a:lnTo>
                <a:lnTo>
                  <a:pt x="492" y="395"/>
                </a:lnTo>
                <a:lnTo>
                  <a:pt x="494" y="373"/>
                </a:lnTo>
                <a:lnTo>
                  <a:pt x="498" y="365"/>
                </a:lnTo>
                <a:lnTo>
                  <a:pt x="498" y="349"/>
                </a:lnTo>
                <a:lnTo>
                  <a:pt x="499" y="334"/>
                </a:lnTo>
                <a:lnTo>
                  <a:pt x="498" y="322"/>
                </a:lnTo>
                <a:lnTo>
                  <a:pt x="498" y="310"/>
                </a:lnTo>
                <a:lnTo>
                  <a:pt x="496" y="305"/>
                </a:lnTo>
                <a:lnTo>
                  <a:pt x="498" y="290"/>
                </a:lnTo>
                <a:lnTo>
                  <a:pt x="502" y="288"/>
                </a:lnTo>
                <a:lnTo>
                  <a:pt x="504" y="293"/>
                </a:lnTo>
                <a:lnTo>
                  <a:pt x="511" y="281"/>
                </a:lnTo>
                <a:lnTo>
                  <a:pt x="518" y="268"/>
                </a:lnTo>
                <a:lnTo>
                  <a:pt x="518" y="266"/>
                </a:lnTo>
                <a:lnTo>
                  <a:pt x="522" y="263"/>
                </a:lnTo>
                <a:lnTo>
                  <a:pt x="530" y="251"/>
                </a:lnTo>
                <a:lnTo>
                  <a:pt x="538" y="240"/>
                </a:lnTo>
                <a:lnTo>
                  <a:pt x="550" y="222"/>
                </a:lnTo>
                <a:lnTo>
                  <a:pt x="553" y="199"/>
                </a:lnTo>
                <a:lnTo>
                  <a:pt x="547" y="182"/>
                </a:lnTo>
                <a:lnTo>
                  <a:pt x="541" y="167"/>
                </a:lnTo>
                <a:lnTo>
                  <a:pt x="530" y="164"/>
                </a:lnTo>
                <a:lnTo>
                  <a:pt x="518" y="162"/>
                </a:lnTo>
                <a:lnTo>
                  <a:pt x="502" y="149"/>
                </a:lnTo>
                <a:lnTo>
                  <a:pt x="488" y="136"/>
                </a:lnTo>
                <a:lnTo>
                  <a:pt x="468" y="130"/>
                </a:lnTo>
                <a:lnTo>
                  <a:pt x="454" y="130"/>
                </a:lnTo>
                <a:lnTo>
                  <a:pt x="441" y="127"/>
                </a:lnTo>
                <a:lnTo>
                  <a:pt x="429" y="125"/>
                </a:lnTo>
                <a:lnTo>
                  <a:pt x="418" y="127"/>
                </a:lnTo>
                <a:lnTo>
                  <a:pt x="420" y="122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6" name="Freeform 251">
            <a:extLst>
              <a:ext uri="{FF2B5EF4-FFF2-40B4-BE49-F238E27FC236}">
                <a16:creationId xmlns:a16="http://schemas.microsoft.com/office/drawing/2014/main" id="{01DE5F38-27AE-45CB-9AF0-8493D0F2316A}"/>
              </a:ext>
            </a:extLst>
          </p:cNvPr>
          <p:cNvSpPr>
            <a:spLocks/>
          </p:cNvSpPr>
          <p:nvPr/>
        </p:nvSpPr>
        <p:spPr bwMode="gray">
          <a:xfrm>
            <a:off x="3032216" y="4046409"/>
            <a:ext cx="65381" cy="60360"/>
          </a:xfrm>
          <a:custGeom>
            <a:avLst/>
            <a:gdLst>
              <a:gd name="T0" fmla="*/ 18 w 33"/>
              <a:gd name="T1" fmla="*/ 27 h 29"/>
              <a:gd name="T2" fmla="*/ 15 w 33"/>
              <a:gd name="T3" fmla="*/ 28 h 29"/>
              <a:gd name="T4" fmla="*/ 7 w 33"/>
              <a:gd name="T5" fmla="*/ 24 h 29"/>
              <a:gd name="T6" fmla="*/ 5 w 33"/>
              <a:gd name="T7" fmla="*/ 29 h 29"/>
              <a:gd name="T8" fmla="*/ 0 w 33"/>
              <a:gd name="T9" fmla="*/ 17 h 29"/>
              <a:gd name="T10" fmla="*/ 2 w 33"/>
              <a:gd name="T11" fmla="*/ 16 h 29"/>
              <a:gd name="T12" fmla="*/ 1 w 33"/>
              <a:gd name="T13" fmla="*/ 10 h 29"/>
              <a:gd name="T14" fmla="*/ 6 w 33"/>
              <a:gd name="T15" fmla="*/ 0 h 29"/>
              <a:gd name="T16" fmla="*/ 20 w 33"/>
              <a:gd name="T17" fmla="*/ 3 h 29"/>
              <a:gd name="T18" fmla="*/ 33 w 33"/>
              <a:gd name="T19" fmla="*/ 5 h 29"/>
              <a:gd name="T20" fmla="*/ 27 w 33"/>
              <a:gd name="T21" fmla="*/ 18 h 29"/>
              <a:gd name="T22" fmla="*/ 26 w 33"/>
              <a:gd name="T23" fmla="*/ 19 h 29"/>
              <a:gd name="T24" fmla="*/ 25 w 33"/>
              <a:gd name="T25" fmla="*/ 24 h 29"/>
              <a:gd name="T26" fmla="*/ 23 w 33"/>
              <a:gd name="T27" fmla="*/ 24 h 29"/>
              <a:gd name="T28" fmla="*/ 18 w 33"/>
              <a:gd name="T29" fmla="*/ 27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" h="29">
                <a:moveTo>
                  <a:pt x="18" y="27"/>
                </a:moveTo>
                <a:lnTo>
                  <a:pt x="15" y="28"/>
                </a:lnTo>
                <a:lnTo>
                  <a:pt x="7" y="24"/>
                </a:lnTo>
                <a:lnTo>
                  <a:pt x="5" y="29"/>
                </a:lnTo>
                <a:lnTo>
                  <a:pt x="0" y="17"/>
                </a:lnTo>
                <a:lnTo>
                  <a:pt x="2" y="16"/>
                </a:lnTo>
                <a:lnTo>
                  <a:pt x="1" y="10"/>
                </a:lnTo>
                <a:lnTo>
                  <a:pt x="6" y="0"/>
                </a:lnTo>
                <a:lnTo>
                  <a:pt x="20" y="3"/>
                </a:lnTo>
                <a:lnTo>
                  <a:pt x="33" y="5"/>
                </a:lnTo>
                <a:lnTo>
                  <a:pt x="27" y="18"/>
                </a:lnTo>
                <a:lnTo>
                  <a:pt x="26" y="19"/>
                </a:lnTo>
                <a:lnTo>
                  <a:pt x="25" y="24"/>
                </a:lnTo>
                <a:lnTo>
                  <a:pt x="23" y="24"/>
                </a:lnTo>
                <a:lnTo>
                  <a:pt x="18" y="2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7" name="Freeform 252">
            <a:extLst>
              <a:ext uri="{FF2B5EF4-FFF2-40B4-BE49-F238E27FC236}">
                <a16:creationId xmlns:a16="http://schemas.microsoft.com/office/drawing/2014/main" id="{91D1A94A-43EB-40E0-A4E7-2C009D170D58}"/>
              </a:ext>
            </a:extLst>
          </p:cNvPr>
          <p:cNvSpPr>
            <a:spLocks/>
          </p:cNvSpPr>
          <p:nvPr/>
        </p:nvSpPr>
        <p:spPr bwMode="gray">
          <a:xfrm>
            <a:off x="4671907" y="3958786"/>
            <a:ext cx="48175" cy="48680"/>
          </a:xfrm>
          <a:custGeom>
            <a:avLst/>
            <a:gdLst>
              <a:gd name="T0" fmla="*/ 5 w 27"/>
              <a:gd name="T1" fmla="*/ 21 h 21"/>
              <a:gd name="T2" fmla="*/ 0 w 27"/>
              <a:gd name="T3" fmla="*/ 19 h 21"/>
              <a:gd name="T4" fmla="*/ 2 w 27"/>
              <a:gd name="T5" fmla="*/ 13 h 21"/>
              <a:gd name="T6" fmla="*/ 5 w 27"/>
              <a:gd name="T7" fmla="*/ 0 h 21"/>
              <a:gd name="T8" fmla="*/ 16 w 27"/>
              <a:gd name="T9" fmla="*/ 1 h 21"/>
              <a:gd name="T10" fmla="*/ 27 w 27"/>
              <a:gd name="T11" fmla="*/ 2 h 21"/>
              <a:gd name="T12" fmla="*/ 27 w 27"/>
              <a:gd name="T13" fmla="*/ 21 h 21"/>
              <a:gd name="T14" fmla="*/ 16 w 27"/>
              <a:gd name="T15" fmla="*/ 21 h 21"/>
              <a:gd name="T16" fmla="*/ 5 w 27"/>
              <a:gd name="T17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7" h="21">
                <a:moveTo>
                  <a:pt x="5" y="21"/>
                </a:moveTo>
                <a:lnTo>
                  <a:pt x="0" y="19"/>
                </a:lnTo>
                <a:lnTo>
                  <a:pt x="2" y="13"/>
                </a:lnTo>
                <a:lnTo>
                  <a:pt x="5" y="0"/>
                </a:lnTo>
                <a:lnTo>
                  <a:pt x="16" y="1"/>
                </a:lnTo>
                <a:lnTo>
                  <a:pt x="27" y="2"/>
                </a:lnTo>
                <a:lnTo>
                  <a:pt x="27" y="21"/>
                </a:lnTo>
                <a:lnTo>
                  <a:pt x="16" y="21"/>
                </a:lnTo>
                <a:lnTo>
                  <a:pt x="5" y="2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8" name="Freeform 253">
            <a:extLst>
              <a:ext uri="{FF2B5EF4-FFF2-40B4-BE49-F238E27FC236}">
                <a16:creationId xmlns:a16="http://schemas.microsoft.com/office/drawing/2014/main" id="{83625AD8-5B31-4542-9071-D03A9C80165D}"/>
              </a:ext>
            </a:extLst>
          </p:cNvPr>
          <p:cNvSpPr>
            <a:spLocks/>
          </p:cNvSpPr>
          <p:nvPr/>
        </p:nvSpPr>
        <p:spPr bwMode="gray">
          <a:xfrm>
            <a:off x="4647820" y="3912054"/>
            <a:ext cx="12045" cy="17526"/>
          </a:xfrm>
          <a:custGeom>
            <a:avLst/>
            <a:gdLst>
              <a:gd name="T0" fmla="*/ 6 w 6"/>
              <a:gd name="T1" fmla="*/ 0 h 7"/>
              <a:gd name="T2" fmla="*/ 4 w 6"/>
              <a:gd name="T3" fmla="*/ 0 h 7"/>
              <a:gd name="T4" fmla="*/ 0 w 6"/>
              <a:gd name="T5" fmla="*/ 7 h 7"/>
              <a:gd name="T6" fmla="*/ 6 w 6"/>
              <a:gd name="T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7">
                <a:moveTo>
                  <a:pt x="6" y="0"/>
                </a:moveTo>
                <a:lnTo>
                  <a:pt x="4" y="0"/>
                </a:lnTo>
                <a:lnTo>
                  <a:pt x="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9" name="Freeform 254">
            <a:extLst>
              <a:ext uri="{FF2B5EF4-FFF2-40B4-BE49-F238E27FC236}">
                <a16:creationId xmlns:a16="http://schemas.microsoft.com/office/drawing/2014/main" id="{52A682DE-79CA-477F-9912-0133ACE4D0C7}"/>
              </a:ext>
            </a:extLst>
          </p:cNvPr>
          <p:cNvSpPr>
            <a:spLocks/>
          </p:cNvSpPr>
          <p:nvPr/>
        </p:nvSpPr>
        <p:spPr bwMode="gray">
          <a:xfrm>
            <a:off x="4651260" y="3968521"/>
            <a:ext cx="158291" cy="212241"/>
          </a:xfrm>
          <a:custGeom>
            <a:avLst/>
            <a:gdLst>
              <a:gd name="T0" fmla="*/ 14 w 80"/>
              <a:gd name="T1" fmla="*/ 18 h 99"/>
              <a:gd name="T2" fmla="*/ 12 w 80"/>
              <a:gd name="T3" fmla="*/ 25 h 99"/>
              <a:gd name="T4" fmla="*/ 7 w 80"/>
              <a:gd name="T5" fmla="*/ 25 h 99"/>
              <a:gd name="T6" fmla="*/ 17 w 80"/>
              <a:gd name="T7" fmla="*/ 33 h 99"/>
              <a:gd name="T8" fmla="*/ 8 w 80"/>
              <a:gd name="T9" fmla="*/ 31 h 99"/>
              <a:gd name="T10" fmla="*/ 3 w 80"/>
              <a:gd name="T11" fmla="*/ 47 h 99"/>
              <a:gd name="T12" fmla="*/ 0 w 80"/>
              <a:gd name="T13" fmla="*/ 47 h 99"/>
              <a:gd name="T14" fmla="*/ 6 w 80"/>
              <a:gd name="T15" fmla="*/ 58 h 99"/>
              <a:gd name="T16" fmla="*/ 8 w 80"/>
              <a:gd name="T17" fmla="*/ 60 h 99"/>
              <a:gd name="T18" fmla="*/ 3 w 80"/>
              <a:gd name="T19" fmla="*/ 57 h 99"/>
              <a:gd name="T20" fmla="*/ 11 w 80"/>
              <a:gd name="T21" fmla="*/ 66 h 99"/>
              <a:gd name="T22" fmla="*/ 8 w 80"/>
              <a:gd name="T23" fmla="*/ 66 h 99"/>
              <a:gd name="T24" fmla="*/ 17 w 80"/>
              <a:gd name="T25" fmla="*/ 76 h 99"/>
              <a:gd name="T26" fmla="*/ 15 w 80"/>
              <a:gd name="T27" fmla="*/ 76 h 99"/>
              <a:gd name="T28" fmla="*/ 24 w 80"/>
              <a:gd name="T29" fmla="*/ 87 h 99"/>
              <a:gd name="T30" fmla="*/ 33 w 80"/>
              <a:gd name="T31" fmla="*/ 99 h 99"/>
              <a:gd name="T32" fmla="*/ 38 w 80"/>
              <a:gd name="T33" fmla="*/ 91 h 99"/>
              <a:gd name="T34" fmla="*/ 42 w 80"/>
              <a:gd name="T35" fmla="*/ 94 h 99"/>
              <a:gd name="T36" fmla="*/ 44 w 80"/>
              <a:gd name="T37" fmla="*/ 91 h 99"/>
              <a:gd name="T38" fmla="*/ 42 w 80"/>
              <a:gd name="T39" fmla="*/ 84 h 99"/>
              <a:gd name="T40" fmla="*/ 41 w 80"/>
              <a:gd name="T41" fmla="*/ 79 h 99"/>
              <a:gd name="T42" fmla="*/ 39 w 80"/>
              <a:gd name="T43" fmla="*/ 76 h 99"/>
              <a:gd name="T44" fmla="*/ 53 w 80"/>
              <a:gd name="T45" fmla="*/ 75 h 99"/>
              <a:gd name="T46" fmla="*/ 54 w 80"/>
              <a:gd name="T47" fmla="*/ 64 h 99"/>
              <a:gd name="T48" fmla="*/ 62 w 80"/>
              <a:gd name="T49" fmla="*/ 73 h 99"/>
              <a:gd name="T50" fmla="*/ 69 w 80"/>
              <a:gd name="T51" fmla="*/ 70 h 99"/>
              <a:gd name="T52" fmla="*/ 72 w 80"/>
              <a:gd name="T53" fmla="*/ 75 h 99"/>
              <a:gd name="T54" fmla="*/ 77 w 80"/>
              <a:gd name="T55" fmla="*/ 70 h 99"/>
              <a:gd name="T56" fmla="*/ 80 w 80"/>
              <a:gd name="T57" fmla="*/ 48 h 99"/>
              <a:gd name="T58" fmla="*/ 73 w 80"/>
              <a:gd name="T59" fmla="*/ 34 h 99"/>
              <a:gd name="T60" fmla="*/ 79 w 80"/>
              <a:gd name="T61" fmla="*/ 25 h 99"/>
              <a:gd name="T62" fmla="*/ 78 w 80"/>
              <a:gd name="T63" fmla="*/ 15 h 99"/>
              <a:gd name="T64" fmla="*/ 62 w 80"/>
              <a:gd name="T65" fmla="*/ 16 h 99"/>
              <a:gd name="T66" fmla="*/ 63 w 80"/>
              <a:gd name="T67" fmla="*/ 0 h 99"/>
              <a:gd name="T68" fmla="*/ 50 w 80"/>
              <a:gd name="T69" fmla="*/ 0 h 99"/>
              <a:gd name="T70" fmla="*/ 36 w 80"/>
              <a:gd name="T71" fmla="*/ 0 h 99"/>
              <a:gd name="T72" fmla="*/ 36 w 80"/>
              <a:gd name="T73" fmla="*/ 19 h 99"/>
              <a:gd name="T74" fmla="*/ 25 w 80"/>
              <a:gd name="T75" fmla="*/ 19 h 99"/>
              <a:gd name="T76" fmla="*/ 14 w 80"/>
              <a:gd name="T77" fmla="*/ 19 h 99"/>
              <a:gd name="T78" fmla="*/ 14 w 80"/>
              <a:gd name="T79" fmla="*/ 18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80" h="99">
                <a:moveTo>
                  <a:pt x="14" y="18"/>
                </a:moveTo>
                <a:lnTo>
                  <a:pt x="12" y="25"/>
                </a:lnTo>
                <a:lnTo>
                  <a:pt x="7" y="25"/>
                </a:lnTo>
                <a:lnTo>
                  <a:pt x="17" y="33"/>
                </a:lnTo>
                <a:lnTo>
                  <a:pt x="8" y="31"/>
                </a:lnTo>
                <a:lnTo>
                  <a:pt x="3" y="47"/>
                </a:lnTo>
                <a:lnTo>
                  <a:pt x="0" y="47"/>
                </a:lnTo>
                <a:lnTo>
                  <a:pt x="6" y="58"/>
                </a:lnTo>
                <a:lnTo>
                  <a:pt x="8" y="60"/>
                </a:lnTo>
                <a:lnTo>
                  <a:pt x="3" y="57"/>
                </a:lnTo>
                <a:lnTo>
                  <a:pt x="11" y="66"/>
                </a:lnTo>
                <a:lnTo>
                  <a:pt x="8" y="66"/>
                </a:lnTo>
                <a:lnTo>
                  <a:pt x="17" y="76"/>
                </a:lnTo>
                <a:lnTo>
                  <a:pt x="15" y="76"/>
                </a:lnTo>
                <a:lnTo>
                  <a:pt x="24" y="87"/>
                </a:lnTo>
                <a:lnTo>
                  <a:pt x="33" y="99"/>
                </a:lnTo>
                <a:lnTo>
                  <a:pt x="38" y="91"/>
                </a:lnTo>
                <a:lnTo>
                  <a:pt x="42" y="94"/>
                </a:lnTo>
                <a:lnTo>
                  <a:pt x="44" y="91"/>
                </a:lnTo>
                <a:lnTo>
                  <a:pt x="42" y="84"/>
                </a:lnTo>
                <a:lnTo>
                  <a:pt x="41" y="79"/>
                </a:lnTo>
                <a:lnTo>
                  <a:pt x="39" y="76"/>
                </a:lnTo>
                <a:lnTo>
                  <a:pt x="53" y="75"/>
                </a:lnTo>
                <a:lnTo>
                  <a:pt x="54" y="64"/>
                </a:lnTo>
                <a:lnTo>
                  <a:pt x="62" y="73"/>
                </a:lnTo>
                <a:lnTo>
                  <a:pt x="69" y="70"/>
                </a:lnTo>
                <a:lnTo>
                  <a:pt x="72" y="75"/>
                </a:lnTo>
                <a:lnTo>
                  <a:pt x="77" y="70"/>
                </a:lnTo>
                <a:lnTo>
                  <a:pt x="80" y="48"/>
                </a:lnTo>
                <a:lnTo>
                  <a:pt x="73" y="34"/>
                </a:lnTo>
                <a:lnTo>
                  <a:pt x="79" y="25"/>
                </a:lnTo>
                <a:lnTo>
                  <a:pt x="78" y="15"/>
                </a:lnTo>
                <a:lnTo>
                  <a:pt x="62" y="16"/>
                </a:lnTo>
                <a:lnTo>
                  <a:pt x="63" y="0"/>
                </a:lnTo>
                <a:lnTo>
                  <a:pt x="50" y="0"/>
                </a:lnTo>
                <a:lnTo>
                  <a:pt x="36" y="0"/>
                </a:lnTo>
                <a:lnTo>
                  <a:pt x="36" y="19"/>
                </a:lnTo>
                <a:lnTo>
                  <a:pt x="25" y="19"/>
                </a:lnTo>
                <a:lnTo>
                  <a:pt x="14" y="19"/>
                </a:lnTo>
                <a:lnTo>
                  <a:pt x="14" y="1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0" name="Freeform 255">
            <a:extLst>
              <a:ext uri="{FF2B5EF4-FFF2-40B4-BE49-F238E27FC236}">
                <a16:creationId xmlns:a16="http://schemas.microsoft.com/office/drawing/2014/main" id="{5D8F0641-10CD-4225-AB61-1B4D6853C936}"/>
              </a:ext>
            </a:extLst>
          </p:cNvPr>
          <p:cNvSpPr>
            <a:spLocks/>
          </p:cNvSpPr>
          <p:nvPr/>
        </p:nvSpPr>
        <p:spPr bwMode="gray">
          <a:xfrm>
            <a:off x="2748325" y="4714287"/>
            <a:ext cx="227114" cy="284285"/>
          </a:xfrm>
          <a:custGeom>
            <a:avLst/>
            <a:gdLst>
              <a:gd name="T0" fmla="*/ 6 w 118"/>
              <a:gd name="T1" fmla="*/ 12 h 131"/>
              <a:gd name="T2" fmla="*/ 2 w 118"/>
              <a:gd name="T3" fmla="*/ 30 h 131"/>
              <a:gd name="T4" fmla="*/ 0 w 118"/>
              <a:gd name="T5" fmla="*/ 47 h 131"/>
              <a:gd name="T6" fmla="*/ 13 w 118"/>
              <a:gd name="T7" fmla="*/ 60 h 131"/>
              <a:gd name="T8" fmla="*/ 28 w 118"/>
              <a:gd name="T9" fmla="*/ 73 h 131"/>
              <a:gd name="T10" fmla="*/ 38 w 118"/>
              <a:gd name="T11" fmla="*/ 78 h 131"/>
              <a:gd name="T12" fmla="*/ 50 w 118"/>
              <a:gd name="T13" fmla="*/ 84 h 131"/>
              <a:gd name="T14" fmla="*/ 62 w 118"/>
              <a:gd name="T15" fmla="*/ 91 h 131"/>
              <a:gd name="T16" fmla="*/ 76 w 118"/>
              <a:gd name="T17" fmla="*/ 98 h 131"/>
              <a:gd name="T18" fmla="*/ 70 w 118"/>
              <a:gd name="T19" fmla="*/ 114 h 131"/>
              <a:gd name="T20" fmla="*/ 65 w 118"/>
              <a:gd name="T21" fmla="*/ 128 h 131"/>
              <a:gd name="T22" fmla="*/ 82 w 118"/>
              <a:gd name="T23" fmla="*/ 129 h 131"/>
              <a:gd name="T24" fmla="*/ 97 w 118"/>
              <a:gd name="T25" fmla="*/ 131 h 131"/>
              <a:gd name="T26" fmla="*/ 107 w 118"/>
              <a:gd name="T27" fmla="*/ 127 h 131"/>
              <a:gd name="T28" fmla="*/ 118 w 118"/>
              <a:gd name="T29" fmla="*/ 110 h 131"/>
              <a:gd name="T30" fmla="*/ 116 w 118"/>
              <a:gd name="T31" fmla="*/ 101 h 131"/>
              <a:gd name="T32" fmla="*/ 116 w 118"/>
              <a:gd name="T33" fmla="*/ 87 h 131"/>
              <a:gd name="T34" fmla="*/ 118 w 118"/>
              <a:gd name="T35" fmla="*/ 74 h 131"/>
              <a:gd name="T36" fmla="*/ 109 w 118"/>
              <a:gd name="T37" fmla="*/ 74 h 131"/>
              <a:gd name="T38" fmla="*/ 102 w 118"/>
              <a:gd name="T39" fmla="*/ 74 h 131"/>
              <a:gd name="T40" fmla="*/ 98 w 118"/>
              <a:gd name="T41" fmla="*/ 61 h 131"/>
              <a:gd name="T42" fmla="*/ 94 w 118"/>
              <a:gd name="T43" fmla="*/ 48 h 131"/>
              <a:gd name="T44" fmla="*/ 84 w 118"/>
              <a:gd name="T45" fmla="*/ 47 h 131"/>
              <a:gd name="T46" fmla="*/ 64 w 118"/>
              <a:gd name="T47" fmla="*/ 43 h 131"/>
              <a:gd name="T48" fmla="*/ 61 w 118"/>
              <a:gd name="T49" fmla="*/ 20 h 131"/>
              <a:gd name="T50" fmla="*/ 59 w 118"/>
              <a:gd name="T51" fmla="*/ 13 h 131"/>
              <a:gd name="T52" fmla="*/ 59 w 118"/>
              <a:gd name="T53" fmla="*/ 11 h 131"/>
              <a:gd name="T54" fmla="*/ 44 w 118"/>
              <a:gd name="T55" fmla="*/ 0 h 131"/>
              <a:gd name="T56" fmla="*/ 26 w 118"/>
              <a:gd name="T57" fmla="*/ 2 h 131"/>
              <a:gd name="T58" fmla="*/ 8 w 118"/>
              <a:gd name="T59" fmla="*/ 5 h 131"/>
              <a:gd name="T60" fmla="*/ 6 w 118"/>
              <a:gd name="T61" fmla="*/ 12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18" h="131">
                <a:moveTo>
                  <a:pt x="6" y="12"/>
                </a:moveTo>
                <a:lnTo>
                  <a:pt x="2" y="30"/>
                </a:lnTo>
                <a:lnTo>
                  <a:pt x="0" y="47"/>
                </a:lnTo>
                <a:lnTo>
                  <a:pt x="13" y="60"/>
                </a:lnTo>
                <a:lnTo>
                  <a:pt x="28" y="73"/>
                </a:lnTo>
                <a:lnTo>
                  <a:pt x="38" y="78"/>
                </a:lnTo>
                <a:lnTo>
                  <a:pt x="50" y="84"/>
                </a:lnTo>
                <a:lnTo>
                  <a:pt x="62" y="91"/>
                </a:lnTo>
                <a:lnTo>
                  <a:pt x="76" y="98"/>
                </a:lnTo>
                <a:lnTo>
                  <a:pt x="70" y="114"/>
                </a:lnTo>
                <a:lnTo>
                  <a:pt x="65" y="128"/>
                </a:lnTo>
                <a:lnTo>
                  <a:pt x="82" y="129"/>
                </a:lnTo>
                <a:lnTo>
                  <a:pt x="97" y="131"/>
                </a:lnTo>
                <a:lnTo>
                  <a:pt x="107" y="127"/>
                </a:lnTo>
                <a:lnTo>
                  <a:pt x="118" y="110"/>
                </a:lnTo>
                <a:lnTo>
                  <a:pt x="116" y="101"/>
                </a:lnTo>
                <a:lnTo>
                  <a:pt x="116" y="87"/>
                </a:lnTo>
                <a:lnTo>
                  <a:pt x="118" y="74"/>
                </a:lnTo>
                <a:lnTo>
                  <a:pt x="109" y="74"/>
                </a:lnTo>
                <a:lnTo>
                  <a:pt x="102" y="74"/>
                </a:lnTo>
                <a:lnTo>
                  <a:pt x="98" y="61"/>
                </a:lnTo>
                <a:lnTo>
                  <a:pt x="94" y="48"/>
                </a:lnTo>
                <a:lnTo>
                  <a:pt x="84" y="47"/>
                </a:lnTo>
                <a:lnTo>
                  <a:pt x="64" y="43"/>
                </a:lnTo>
                <a:lnTo>
                  <a:pt x="61" y="20"/>
                </a:lnTo>
                <a:lnTo>
                  <a:pt x="59" y="13"/>
                </a:lnTo>
                <a:lnTo>
                  <a:pt x="59" y="11"/>
                </a:lnTo>
                <a:lnTo>
                  <a:pt x="44" y="0"/>
                </a:lnTo>
                <a:lnTo>
                  <a:pt x="26" y="2"/>
                </a:lnTo>
                <a:lnTo>
                  <a:pt x="8" y="5"/>
                </a:lnTo>
                <a:lnTo>
                  <a:pt x="6" y="1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1" name="Freeform 256">
            <a:extLst>
              <a:ext uri="{FF2B5EF4-FFF2-40B4-BE49-F238E27FC236}">
                <a16:creationId xmlns:a16="http://schemas.microsoft.com/office/drawing/2014/main" id="{2041AA6B-0459-4ED8-B1CC-F25E65CB4089}"/>
              </a:ext>
            </a:extLst>
          </p:cNvPr>
          <p:cNvSpPr>
            <a:spLocks/>
          </p:cNvSpPr>
          <p:nvPr/>
        </p:nvSpPr>
        <p:spPr bwMode="gray">
          <a:xfrm>
            <a:off x="4591040" y="4028885"/>
            <a:ext cx="6882" cy="13630"/>
          </a:xfrm>
          <a:custGeom>
            <a:avLst/>
            <a:gdLst>
              <a:gd name="T0" fmla="*/ 4 w 4"/>
              <a:gd name="T1" fmla="*/ 1 h 6"/>
              <a:gd name="T2" fmla="*/ 2 w 4"/>
              <a:gd name="T3" fmla="*/ 6 h 6"/>
              <a:gd name="T4" fmla="*/ 0 w 4"/>
              <a:gd name="T5" fmla="*/ 2 h 6"/>
              <a:gd name="T6" fmla="*/ 2 w 4"/>
              <a:gd name="T7" fmla="*/ 0 h 6"/>
              <a:gd name="T8" fmla="*/ 4 w 4"/>
              <a:gd name="T9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6">
                <a:moveTo>
                  <a:pt x="4" y="1"/>
                </a:moveTo>
                <a:lnTo>
                  <a:pt x="2" y="6"/>
                </a:lnTo>
                <a:lnTo>
                  <a:pt x="0" y="2"/>
                </a:lnTo>
                <a:lnTo>
                  <a:pt x="2" y="0"/>
                </a:lnTo>
                <a:lnTo>
                  <a:pt x="4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2" name="Freeform 257">
            <a:extLst>
              <a:ext uri="{FF2B5EF4-FFF2-40B4-BE49-F238E27FC236}">
                <a16:creationId xmlns:a16="http://schemas.microsoft.com/office/drawing/2014/main" id="{719E9086-EED4-4654-A29E-844A7CEF4571}"/>
              </a:ext>
            </a:extLst>
          </p:cNvPr>
          <p:cNvSpPr>
            <a:spLocks/>
          </p:cNvSpPr>
          <p:nvPr/>
        </p:nvSpPr>
        <p:spPr bwMode="gray">
          <a:xfrm>
            <a:off x="4613408" y="3986049"/>
            <a:ext cx="3441" cy="3894"/>
          </a:xfrm>
          <a:custGeom>
            <a:avLst/>
            <a:gdLst>
              <a:gd name="T0" fmla="*/ 0 w 2"/>
              <a:gd name="T1" fmla="*/ 1 h 1"/>
              <a:gd name="T2" fmla="*/ 0 w 2"/>
              <a:gd name="T3" fmla="*/ 0 h 1"/>
              <a:gd name="T4" fmla="*/ 2 w 2"/>
              <a:gd name="T5" fmla="*/ 0 h 1"/>
              <a:gd name="T6" fmla="*/ 0 w 2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1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0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3" name="Freeform 258">
            <a:extLst>
              <a:ext uri="{FF2B5EF4-FFF2-40B4-BE49-F238E27FC236}">
                <a16:creationId xmlns:a16="http://schemas.microsoft.com/office/drawing/2014/main" id="{4F80DA30-136D-415A-BABB-403F42B0B26A}"/>
              </a:ext>
            </a:extLst>
          </p:cNvPr>
          <p:cNvSpPr>
            <a:spLocks/>
          </p:cNvSpPr>
          <p:nvPr/>
        </p:nvSpPr>
        <p:spPr bwMode="gray">
          <a:xfrm>
            <a:off x="5215602" y="4075617"/>
            <a:ext cx="294214" cy="373856"/>
          </a:xfrm>
          <a:custGeom>
            <a:avLst/>
            <a:gdLst>
              <a:gd name="T0" fmla="*/ 117 w 153"/>
              <a:gd name="T1" fmla="*/ 38 h 171"/>
              <a:gd name="T2" fmla="*/ 116 w 153"/>
              <a:gd name="T3" fmla="*/ 32 h 171"/>
              <a:gd name="T4" fmla="*/ 103 w 153"/>
              <a:gd name="T5" fmla="*/ 25 h 171"/>
              <a:gd name="T6" fmla="*/ 90 w 153"/>
              <a:gd name="T7" fmla="*/ 16 h 171"/>
              <a:gd name="T8" fmla="*/ 76 w 153"/>
              <a:gd name="T9" fmla="*/ 8 h 171"/>
              <a:gd name="T10" fmla="*/ 63 w 153"/>
              <a:gd name="T11" fmla="*/ 0 h 171"/>
              <a:gd name="T12" fmla="*/ 51 w 153"/>
              <a:gd name="T13" fmla="*/ 1 h 171"/>
              <a:gd name="T14" fmla="*/ 39 w 153"/>
              <a:gd name="T15" fmla="*/ 1 h 171"/>
              <a:gd name="T16" fmla="*/ 27 w 153"/>
              <a:gd name="T17" fmla="*/ 1 h 171"/>
              <a:gd name="T18" fmla="*/ 15 w 153"/>
              <a:gd name="T19" fmla="*/ 1 h 171"/>
              <a:gd name="T20" fmla="*/ 20 w 153"/>
              <a:gd name="T21" fmla="*/ 21 h 171"/>
              <a:gd name="T22" fmla="*/ 16 w 153"/>
              <a:gd name="T23" fmla="*/ 22 h 171"/>
              <a:gd name="T24" fmla="*/ 16 w 153"/>
              <a:gd name="T25" fmla="*/ 31 h 171"/>
              <a:gd name="T26" fmla="*/ 20 w 153"/>
              <a:gd name="T27" fmla="*/ 36 h 171"/>
              <a:gd name="T28" fmla="*/ 12 w 153"/>
              <a:gd name="T29" fmla="*/ 45 h 171"/>
              <a:gd name="T30" fmla="*/ 3 w 153"/>
              <a:gd name="T31" fmla="*/ 56 h 171"/>
              <a:gd name="T32" fmla="*/ 0 w 153"/>
              <a:gd name="T33" fmla="*/ 56 h 171"/>
              <a:gd name="T34" fmla="*/ 0 w 153"/>
              <a:gd name="T35" fmla="*/ 67 h 171"/>
              <a:gd name="T36" fmla="*/ 1 w 153"/>
              <a:gd name="T37" fmla="*/ 79 h 171"/>
              <a:gd name="T38" fmla="*/ 6 w 153"/>
              <a:gd name="T39" fmla="*/ 92 h 171"/>
              <a:gd name="T40" fmla="*/ 12 w 153"/>
              <a:gd name="T41" fmla="*/ 104 h 171"/>
              <a:gd name="T42" fmla="*/ 18 w 153"/>
              <a:gd name="T43" fmla="*/ 116 h 171"/>
              <a:gd name="T44" fmla="*/ 19 w 153"/>
              <a:gd name="T45" fmla="*/ 118 h 171"/>
              <a:gd name="T46" fmla="*/ 33 w 153"/>
              <a:gd name="T47" fmla="*/ 127 h 171"/>
              <a:gd name="T48" fmla="*/ 48 w 153"/>
              <a:gd name="T49" fmla="*/ 135 h 171"/>
              <a:gd name="T50" fmla="*/ 62 w 153"/>
              <a:gd name="T51" fmla="*/ 138 h 171"/>
              <a:gd name="T52" fmla="*/ 68 w 153"/>
              <a:gd name="T53" fmla="*/ 140 h 171"/>
              <a:gd name="T54" fmla="*/ 72 w 153"/>
              <a:gd name="T55" fmla="*/ 158 h 171"/>
              <a:gd name="T56" fmla="*/ 75 w 153"/>
              <a:gd name="T57" fmla="*/ 170 h 171"/>
              <a:gd name="T58" fmla="*/ 82 w 153"/>
              <a:gd name="T59" fmla="*/ 170 h 171"/>
              <a:gd name="T60" fmla="*/ 90 w 153"/>
              <a:gd name="T61" fmla="*/ 169 h 171"/>
              <a:gd name="T62" fmla="*/ 106 w 153"/>
              <a:gd name="T63" fmla="*/ 171 h 171"/>
              <a:gd name="T64" fmla="*/ 116 w 153"/>
              <a:gd name="T65" fmla="*/ 168 h 171"/>
              <a:gd name="T66" fmla="*/ 124 w 153"/>
              <a:gd name="T67" fmla="*/ 168 h 171"/>
              <a:gd name="T68" fmla="*/ 139 w 153"/>
              <a:gd name="T69" fmla="*/ 160 h 171"/>
              <a:gd name="T70" fmla="*/ 153 w 153"/>
              <a:gd name="T71" fmla="*/ 153 h 171"/>
              <a:gd name="T72" fmla="*/ 144 w 153"/>
              <a:gd name="T73" fmla="*/ 142 h 171"/>
              <a:gd name="T74" fmla="*/ 141 w 153"/>
              <a:gd name="T75" fmla="*/ 128 h 171"/>
              <a:gd name="T76" fmla="*/ 140 w 153"/>
              <a:gd name="T77" fmla="*/ 115 h 171"/>
              <a:gd name="T78" fmla="*/ 139 w 153"/>
              <a:gd name="T79" fmla="*/ 110 h 171"/>
              <a:gd name="T80" fmla="*/ 141 w 153"/>
              <a:gd name="T81" fmla="*/ 94 h 171"/>
              <a:gd name="T82" fmla="*/ 132 w 153"/>
              <a:gd name="T83" fmla="*/ 80 h 171"/>
              <a:gd name="T84" fmla="*/ 138 w 153"/>
              <a:gd name="T85" fmla="*/ 60 h 171"/>
              <a:gd name="T86" fmla="*/ 128 w 153"/>
              <a:gd name="T87" fmla="*/ 49 h 171"/>
              <a:gd name="T88" fmla="*/ 117 w 153"/>
              <a:gd name="T89" fmla="*/ 38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53" h="171">
                <a:moveTo>
                  <a:pt x="117" y="38"/>
                </a:moveTo>
                <a:lnTo>
                  <a:pt x="116" y="32"/>
                </a:lnTo>
                <a:lnTo>
                  <a:pt x="103" y="25"/>
                </a:lnTo>
                <a:lnTo>
                  <a:pt x="90" y="16"/>
                </a:lnTo>
                <a:lnTo>
                  <a:pt x="76" y="8"/>
                </a:lnTo>
                <a:lnTo>
                  <a:pt x="63" y="0"/>
                </a:lnTo>
                <a:lnTo>
                  <a:pt x="51" y="1"/>
                </a:lnTo>
                <a:lnTo>
                  <a:pt x="39" y="1"/>
                </a:lnTo>
                <a:lnTo>
                  <a:pt x="27" y="1"/>
                </a:lnTo>
                <a:lnTo>
                  <a:pt x="15" y="1"/>
                </a:lnTo>
                <a:lnTo>
                  <a:pt x="20" y="21"/>
                </a:lnTo>
                <a:lnTo>
                  <a:pt x="16" y="22"/>
                </a:lnTo>
                <a:lnTo>
                  <a:pt x="16" y="31"/>
                </a:lnTo>
                <a:lnTo>
                  <a:pt x="20" y="36"/>
                </a:lnTo>
                <a:lnTo>
                  <a:pt x="12" y="45"/>
                </a:lnTo>
                <a:lnTo>
                  <a:pt x="3" y="56"/>
                </a:lnTo>
                <a:lnTo>
                  <a:pt x="0" y="56"/>
                </a:lnTo>
                <a:lnTo>
                  <a:pt x="0" y="67"/>
                </a:lnTo>
                <a:lnTo>
                  <a:pt x="1" y="79"/>
                </a:lnTo>
                <a:lnTo>
                  <a:pt x="6" y="92"/>
                </a:lnTo>
                <a:lnTo>
                  <a:pt x="12" y="104"/>
                </a:lnTo>
                <a:lnTo>
                  <a:pt x="18" y="116"/>
                </a:lnTo>
                <a:lnTo>
                  <a:pt x="19" y="118"/>
                </a:lnTo>
                <a:lnTo>
                  <a:pt x="33" y="127"/>
                </a:lnTo>
                <a:lnTo>
                  <a:pt x="48" y="135"/>
                </a:lnTo>
                <a:lnTo>
                  <a:pt x="62" y="138"/>
                </a:lnTo>
                <a:lnTo>
                  <a:pt x="68" y="140"/>
                </a:lnTo>
                <a:lnTo>
                  <a:pt x="72" y="158"/>
                </a:lnTo>
                <a:lnTo>
                  <a:pt x="75" y="170"/>
                </a:lnTo>
                <a:lnTo>
                  <a:pt x="82" y="170"/>
                </a:lnTo>
                <a:lnTo>
                  <a:pt x="90" y="169"/>
                </a:lnTo>
                <a:lnTo>
                  <a:pt x="106" y="171"/>
                </a:lnTo>
                <a:lnTo>
                  <a:pt x="116" y="168"/>
                </a:lnTo>
                <a:lnTo>
                  <a:pt x="124" y="168"/>
                </a:lnTo>
                <a:lnTo>
                  <a:pt x="139" y="160"/>
                </a:lnTo>
                <a:lnTo>
                  <a:pt x="153" y="153"/>
                </a:lnTo>
                <a:lnTo>
                  <a:pt x="144" y="142"/>
                </a:lnTo>
                <a:lnTo>
                  <a:pt x="141" y="128"/>
                </a:lnTo>
                <a:lnTo>
                  <a:pt x="140" y="115"/>
                </a:lnTo>
                <a:lnTo>
                  <a:pt x="139" y="110"/>
                </a:lnTo>
                <a:lnTo>
                  <a:pt x="141" y="94"/>
                </a:lnTo>
                <a:lnTo>
                  <a:pt x="132" y="80"/>
                </a:lnTo>
                <a:lnTo>
                  <a:pt x="138" y="60"/>
                </a:lnTo>
                <a:lnTo>
                  <a:pt x="128" y="49"/>
                </a:lnTo>
                <a:lnTo>
                  <a:pt x="117" y="3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4" name="Freeform 259">
            <a:extLst>
              <a:ext uri="{FF2B5EF4-FFF2-40B4-BE49-F238E27FC236}">
                <a16:creationId xmlns:a16="http://schemas.microsoft.com/office/drawing/2014/main" id="{2F135475-C32E-4E1C-A0D7-5DFD2BD6F920}"/>
              </a:ext>
            </a:extLst>
          </p:cNvPr>
          <p:cNvSpPr>
            <a:spLocks/>
          </p:cNvSpPr>
          <p:nvPr/>
        </p:nvSpPr>
        <p:spPr bwMode="gray">
          <a:xfrm>
            <a:off x="5478848" y="4245021"/>
            <a:ext cx="8604" cy="21419"/>
          </a:xfrm>
          <a:custGeom>
            <a:avLst/>
            <a:gdLst>
              <a:gd name="T0" fmla="*/ 4 w 4"/>
              <a:gd name="T1" fmla="*/ 9 h 9"/>
              <a:gd name="T2" fmla="*/ 2 w 4"/>
              <a:gd name="T3" fmla="*/ 0 h 9"/>
              <a:gd name="T4" fmla="*/ 0 w 4"/>
              <a:gd name="T5" fmla="*/ 3 h 9"/>
              <a:gd name="T6" fmla="*/ 4 w 4"/>
              <a:gd name="T7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9">
                <a:moveTo>
                  <a:pt x="4" y="9"/>
                </a:moveTo>
                <a:lnTo>
                  <a:pt x="2" y="0"/>
                </a:lnTo>
                <a:lnTo>
                  <a:pt x="0" y="3"/>
                </a:lnTo>
                <a:lnTo>
                  <a:pt x="4" y="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5" name="Freeform 260">
            <a:extLst>
              <a:ext uri="{FF2B5EF4-FFF2-40B4-BE49-F238E27FC236}">
                <a16:creationId xmlns:a16="http://schemas.microsoft.com/office/drawing/2014/main" id="{C81AAE02-5826-4EEC-9F18-8603E75A1F6D}"/>
              </a:ext>
            </a:extLst>
          </p:cNvPr>
          <p:cNvSpPr>
            <a:spLocks/>
          </p:cNvSpPr>
          <p:nvPr/>
        </p:nvSpPr>
        <p:spPr bwMode="gray">
          <a:xfrm>
            <a:off x="5219044" y="3894529"/>
            <a:ext cx="144526" cy="194717"/>
          </a:xfrm>
          <a:custGeom>
            <a:avLst/>
            <a:gdLst>
              <a:gd name="T0" fmla="*/ 68 w 77"/>
              <a:gd name="T1" fmla="*/ 13 h 91"/>
              <a:gd name="T2" fmla="*/ 62 w 77"/>
              <a:gd name="T3" fmla="*/ 0 h 91"/>
              <a:gd name="T4" fmla="*/ 55 w 77"/>
              <a:gd name="T5" fmla="*/ 8 h 91"/>
              <a:gd name="T6" fmla="*/ 40 w 77"/>
              <a:gd name="T7" fmla="*/ 8 h 91"/>
              <a:gd name="T8" fmla="*/ 34 w 77"/>
              <a:gd name="T9" fmla="*/ 10 h 91"/>
              <a:gd name="T10" fmla="*/ 30 w 77"/>
              <a:gd name="T11" fmla="*/ 8 h 91"/>
              <a:gd name="T12" fmla="*/ 19 w 77"/>
              <a:gd name="T13" fmla="*/ 9 h 91"/>
              <a:gd name="T14" fmla="*/ 18 w 77"/>
              <a:gd name="T15" fmla="*/ 12 h 91"/>
              <a:gd name="T16" fmla="*/ 17 w 77"/>
              <a:gd name="T17" fmla="*/ 26 h 91"/>
              <a:gd name="T18" fmla="*/ 24 w 77"/>
              <a:gd name="T19" fmla="*/ 33 h 91"/>
              <a:gd name="T20" fmla="*/ 16 w 77"/>
              <a:gd name="T21" fmla="*/ 44 h 91"/>
              <a:gd name="T22" fmla="*/ 6 w 77"/>
              <a:gd name="T23" fmla="*/ 54 h 91"/>
              <a:gd name="T24" fmla="*/ 4 w 77"/>
              <a:gd name="T25" fmla="*/ 72 h 91"/>
              <a:gd name="T26" fmla="*/ 0 w 77"/>
              <a:gd name="T27" fmla="*/ 91 h 91"/>
              <a:gd name="T28" fmla="*/ 5 w 77"/>
              <a:gd name="T29" fmla="*/ 91 h 91"/>
              <a:gd name="T30" fmla="*/ 13 w 77"/>
              <a:gd name="T31" fmla="*/ 85 h 91"/>
              <a:gd name="T32" fmla="*/ 25 w 77"/>
              <a:gd name="T33" fmla="*/ 85 h 91"/>
              <a:gd name="T34" fmla="*/ 37 w 77"/>
              <a:gd name="T35" fmla="*/ 85 h 91"/>
              <a:gd name="T36" fmla="*/ 49 w 77"/>
              <a:gd name="T37" fmla="*/ 85 h 91"/>
              <a:gd name="T38" fmla="*/ 61 w 77"/>
              <a:gd name="T39" fmla="*/ 84 h 91"/>
              <a:gd name="T40" fmla="*/ 61 w 77"/>
              <a:gd name="T41" fmla="*/ 67 h 91"/>
              <a:gd name="T42" fmla="*/ 71 w 77"/>
              <a:gd name="T43" fmla="*/ 50 h 91"/>
              <a:gd name="T44" fmla="*/ 77 w 77"/>
              <a:gd name="T45" fmla="*/ 38 h 91"/>
              <a:gd name="T46" fmla="*/ 73 w 77"/>
              <a:gd name="T47" fmla="*/ 25 h 91"/>
              <a:gd name="T48" fmla="*/ 68 w 77"/>
              <a:gd name="T49" fmla="*/ 13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7" h="91">
                <a:moveTo>
                  <a:pt x="68" y="13"/>
                </a:moveTo>
                <a:lnTo>
                  <a:pt x="62" y="0"/>
                </a:lnTo>
                <a:lnTo>
                  <a:pt x="55" y="8"/>
                </a:lnTo>
                <a:lnTo>
                  <a:pt x="40" y="8"/>
                </a:lnTo>
                <a:lnTo>
                  <a:pt x="34" y="10"/>
                </a:lnTo>
                <a:lnTo>
                  <a:pt x="30" y="8"/>
                </a:lnTo>
                <a:lnTo>
                  <a:pt x="19" y="9"/>
                </a:lnTo>
                <a:lnTo>
                  <a:pt x="18" y="12"/>
                </a:lnTo>
                <a:lnTo>
                  <a:pt x="17" y="26"/>
                </a:lnTo>
                <a:lnTo>
                  <a:pt x="24" y="33"/>
                </a:lnTo>
                <a:lnTo>
                  <a:pt x="16" y="44"/>
                </a:lnTo>
                <a:lnTo>
                  <a:pt x="6" y="54"/>
                </a:lnTo>
                <a:lnTo>
                  <a:pt x="4" y="72"/>
                </a:lnTo>
                <a:lnTo>
                  <a:pt x="0" y="91"/>
                </a:lnTo>
                <a:lnTo>
                  <a:pt x="5" y="91"/>
                </a:lnTo>
                <a:lnTo>
                  <a:pt x="13" y="85"/>
                </a:lnTo>
                <a:lnTo>
                  <a:pt x="25" y="85"/>
                </a:lnTo>
                <a:lnTo>
                  <a:pt x="37" y="85"/>
                </a:lnTo>
                <a:lnTo>
                  <a:pt x="49" y="85"/>
                </a:lnTo>
                <a:lnTo>
                  <a:pt x="61" y="84"/>
                </a:lnTo>
                <a:lnTo>
                  <a:pt x="61" y="67"/>
                </a:lnTo>
                <a:lnTo>
                  <a:pt x="71" y="50"/>
                </a:lnTo>
                <a:lnTo>
                  <a:pt x="77" y="38"/>
                </a:lnTo>
                <a:lnTo>
                  <a:pt x="73" y="25"/>
                </a:lnTo>
                <a:lnTo>
                  <a:pt x="68" y="1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6" name="Freeform 261">
            <a:extLst>
              <a:ext uri="{FF2B5EF4-FFF2-40B4-BE49-F238E27FC236}">
                <a16:creationId xmlns:a16="http://schemas.microsoft.com/office/drawing/2014/main" id="{8F9A79C9-CBDA-4838-88F0-6F5D143F091B}"/>
              </a:ext>
            </a:extLst>
          </p:cNvPr>
          <p:cNvSpPr>
            <a:spLocks/>
          </p:cNvSpPr>
          <p:nvPr/>
        </p:nvSpPr>
        <p:spPr bwMode="gray">
          <a:xfrm>
            <a:off x="4744170" y="3855588"/>
            <a:ext cx="519609" cy="654248"/>
          </a:xfrm>
          <a:custGeom>
            <a:avLst/>
            <a:gdLst>
              <a:gd name="T0" fmla="*/ 241 w 271"/>
              <a:gd name="T1" fmla="*/ 119 h 301"/>
              <a:gd name="T2" fmla="*/ 239 w 271"/>
              <a:gd name="T3" fmla="*/ 128 h 301"/>
              <a:gd name="T4" fmla="*/ 240 w 271"/>
              <a:gd name="T5" fmla="*/ 131 h 301"/>
              <a:gd name="T6" fmla="*/ 245 w 271"/>
              <a:gd name="T7" fmla="*/ 157 h 301"/>
              <a:gd name="T8" fmla="*/ 246 w 271"/>
              <a:gd name="T9" fmla="*/ 180 h 301"/>
              <a:gd name="T10" fmla="*/ 257 w 271"/>
              <a:gd name="T11" fmla="*/ 205 h 301"/>
              <a:gd name="T12" fmla="*/ 249 w 271"/>
              <a:gd name="T13" fmla="*/ 219 h 301"/>
              <a:gd name="T14" fmla="*/ 229 w 271"/>
              <a:gd name="T15" fmla="*/ 235 h 301"/>
              <a:gd name="T16" fmla="*/ 230 w 271"/>
              <a:gd name="T17" fmla="*/ 263 h 301"/>
              <a:gd name="T18" fmla="*/ 243 w 271"/>
              <a:gd name="T19" fmla="*/ 285 h 301"/>
              <a:gd name="T20" fmla="*/ 245 w 271"/>
              <a:gd name="T21" fmla="*/ 301 h 301"/>
              <a:gd name="T22" fmla="*/ 235 w 271"/>
              <a:gd name="T23" fmla="*/ 300 h 301"/>
              <a:gd name="T24" fmla="*/ 215 w 271"/>
              <a:gd name="T25" fmla="*/ 278 h 301"/>
              <a:gd name="T26" fmla="*/ 204 w 271"/>
              <a:gd name="T27" fmla="*/ 278 h 301"/>
              <a:gd name="T28" fmla="*/ 182 w 271"/>
              <a:gd name="T29" fmla="*/ 266 h 301"/>
              <a:gd name="T30" fmla="*/ 165 w 271"/>
              <a:gd name="T31" fmla="*/ 260 h 301"/>
              <a:gd name="T32" fmla="*/ 143 w 271"/>
              <a:gd name="T33" fmla="*/ 265 h 301"/>
              <a:gd name="T34" fmla="*/ 138 w 271"/>
              <a:gd name="T35" fmla="*/ 242 h 301"/>
              <a:gd name="T36" fmla="*/ 137 w 271"/>
              <a:gd name="T37" fmla="*/ 205 h 301"/>
              <a:gd name="T38" fmla="*/ 119 w 271"/>
              <a:gd name="T39" fmla="*/ 199 h 301"/>
              <a:gd name="T40" fmla="*/ 101 w 271"/>
              <a:gd name="T41" fmla="*/ 212 h 301"/>
              <a:gd name="T42" fmla="*/ 74 w 271"/>
              <a:gd name="T43" fmla="*/ 211 h 301"/>
              <a:gd name="T44" fmla="*/ 62 w 271"/>
              <a:gd name="T45" fmla="*/ 181 h 301"/>
              <a:gd name="T46" fmla="*/ 38 w 271"/>
              <a:gd name="T47" fmla="*/ 180 h 301"/>
              <a:gd name="T48" fmla="*/ 14 w 271"/>
              <a:gd name="T49" fmla="*/ 180 h 301"/>
              <a:gd name="T50" fmla="*/ 0 w 271"/>
              <a:gd name="T51" fmla="*/ 179 h 301"/>
              <a:gd name="T52" fmla="*/ 6 w 271"/>
              <a:gd name="T53" fmla="*/ 164 h 301"/>
              <a:gd name="T54" fmla="*/ 20 w 271"/>
              <a:gd name="T55" fmla="*/ 162 h 301"/>
              <a:gd name="T56" fmla="*/ 32 w 271"/>
              <a:gd name="T57" fmla="*/ 156 h 301"/>
              <a:gd name="T58" fmla="*/ 44 w 271"/>
              <a:gd name="T59" fmla="*/ 153 h 301"/>
              <a:gd name="T60" fmla="*/ 57 w 271"/>
              <a:gd name="T61" fmla="*/ 129 h 301"/>
              <a:gd name="T62" fmla="*/ 69 w 271"/>
              <a:gd name="T63" fmla="*/ 104 h 301"/>
              <a:gd name="T64" fmla="*/ 81 w 271"/>
              <a:gd name="T65" fmla="*/ 79 h 301"/>
              <a:gd name="T66" fmla="*/ 85 w 271"/>
              <a:gd name="T67" fmla="*/ 55 h 301"/>
              <a:gd name="T68" fmla="*/ 91 w 271"/>
              <a:gd name="T69" fmla="*/ 29 h 301"/>
              <a:gd name="T70" fmla="*/ 103 w 271"/>
              <a:gd name="T71" fmla="*/ 2 h 301"/>
              <a:gd name="T72" fmla="*/ 131 w 271"/>
              <a:gd name="T73" fmla="*/ 14 h 301"/>
              <a:gd name="T74" fmla="*/ 150 w 271"/>
              <a:gd name="T75" fmla="*/ 9 h 301"/>
              <a:gd name="T76" fmla="*/ 171 w 271"/>
              <a:gd name="T77" fmla="*/ 5 h 301"/>
              <a:gd name="T78" fmla="*/ 187 w 271"/>
              <a:gd name="T79" fmla="*/ 0 h 301"/>
              <a:gd name="T80" fmla="*/ 209 w 271"/>
              <a:gd name="T81" fmla="*/ 2 h 301"/>
              <a:gd name="T82" fmla="*/ 219 w 271"/>
              <a:gd name="T83" fmla="*/ 8 h 301"/>
              <a:gd name="T84" fmla="*/ 240 w 271"/>
              <a:gd name="T85" fmla="*/ 14 h 301"/>
              <a:gd name="T86" fmla="*/ 255 w 271"/>
              <a:gd name="T87" fmla="*/ 19 h 301"/>
              <a:gd name="T88" fmla="*/ 264 w 271"/>
              <a:gd name="T89" fmla="*/ 43 h 301"/>
              <a:gd name="T90" fmla="*/ 263 w 271"/>
              <a:gd name="T91" fmla="*/ 61 h 301"/>
              <a:gd name="T92" fmla="*/ 251 w 271"/>
              <a:gd name="T93" fmla="*/ 89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71" h="301">
                <a:moveTo>
                  <a:pt x="247" y="108"/>
                </a:moveTo>
                <a:lnTo>
                  <a:pt x="241" y="119"/>
                </a:lnTo>
                <a:lnTo>
                  <a:pt x="237" y="128"/>
                </a:lnTo>
                <a:lnTo>
                  <a:pt x="239" y="128"/>
                </a:lnTo>
                <a:lnTo>
                  <a:pt x="239" y="129"/>
                </a:lnTo>
                <a:lnTo>
                  <a:pt x="240" y="131"/>
                </a:lnTo>
                <a:lnTo>
                  <a:pt x="242" y="144"/>
                </a:lnTo>
                <a:lnTo>
                  <a:pt x="245" y="157"/>
                </a:lnTo>
                <a:lnTo>
                  <a:pt x="245" y="168"/>
                </a:lnTo>
                <a:lnTo>
                  <a:pt x="246" y="180"/>
                </a:lnTo>
                <a:lnTo>
                  <a:pt x="251" y="193"/>
                </a:lnTo>
                <a:lnTo>
                  <a:pt x="257" y="205"/>
                </a:lnTo>
                <a:lnTo>
                  <a:pt x="263" y="217"/>
                </a:lnTo>
                <a:lnTo>
                  <a:pt x="249" y="219"/>
                </a:lnTo>
                <a:lnTo>
                  <a:pt x="236" y="223"/>
                </a:lnTo>
                <a:lnTo>
                  <a:pt x="229" y="235"/>
                </a:lnTo>
                <a:lnTo>
                  <a:pt x="231" y="248"/>
                </a:lnTo>
                <a:lnTo>
                  <a:pt x="230" y="263"/>
                </a:lnTo>
                <a:lnTo>
                  <a:pt x="229" y="276"/>
                </a:lnTo>
                <a:lnTo>
                  <a:pt x="243" y="285"/>
                </a:lnTo>
                <a:lnTo>
                  <a:pt x="247" y="281"/>
                </a:lnTo>
                <a:lnTo>
                  <a:pt x="245" y="301"/>
                </a:lnTo>
                <a:lnTo>
                  <a:pt x="241" y="300"/>
                </a:lnTo>
                <a:lnTo>
                  <a:pt x="235" y="300"/>
                </a:lnTo>
                <a:lnTo>
                  <a:pt x="223" y="284"/>
                </a:lnTo>
                <a:lnTo>
                  <a:pt x="215" y="278"/>
                </a:lnTo>
                <a:lnTo>
                  <a:pt x="209" y="271"/>
                </a:lnTo>
                <a:lnTo>
                  <a:pt x="204" y="278"/>
                </a:lnTo>
                <a:lnTo>
                  <a:pt x="185" y="271"/>
                </a:lnTo>
                <a:lnTo>
                  <a:pt x="182" y="266"/>
                </a:lnTo>
                <a:lnTo>
                  <a:pt x="171" y="267"/>
                </a:lnTo>
                <a:lnTo>
                  <a:pt x="165" y="260"/>
                </a:lnTo>
                <a:lnTo>
                  <a:pt x="155" y="263"/>
                </a:lnTo>
                <a:lnTo>
                  <a:pt x="143" y="265"/>
                </a:lnTo>
                <a:lnTo>
                  <a:pt x="143" y="259"/>
                </a:lnTo>
                <a:lnTo>
                  <a:pt x="138" y="242"/>
                </a:lnTo>
                <a:lnTo>
                  <a:pt x="137" y="223"/>
                </a:lnTo>
                <a:lnTo>
                  <a:pt x="137" y="205"/>
                </a:lnTo>
                <a:lnTo>
                  <a:pt x="117" y="203"/>
                </a:lnTo>
                <a:lnTo>
                  <a:pt x="119" y="199"/>
                </a:lnTo>
                <a:lnTo>
                  <a:pt x="104" y="198"/>
                </a:lnTo>
                <a:lnTo>
                  <a:pt x="101" y="212"/>
                </a:lnTo>
                <a:lnTo>
                  <a:pt x="84" y="216"/>
                </a:lnTo>
                <a:lnTo>
                  <a:pt x="74" y="211"/>
                </a:lnTo>
                <a:lnTo>
                  <a:pt x="68" y="197"/>
                </a:lnTo>
                <a:lnTo>
                  <a:pt x="62" y="181"/>
                </a:lnTo>
                <a:lnTo>
                  <a:pt x="50" y="181"/>
                </a:lnTo>
                <a:lnTo>
                  <a:pt x="38" y="180"/>
                </a:lnTo>
                <a:lnTo>
                  <a:pt x="26" y="180"/>
                </a:lnTo>
                <a:lnTo>
                  <a:pt x="14" y="180"/>
                </a:lnTo>
                <a:lnTo>
                  <a:pt x="2" y="181"/>
                </a:lnTo>
                <a:lnTo>
                  <a:pt x="0" y="179"/>
                </a:lnTo>
                <a:lnTo>
                  <a:pt x="5" y="177"/>
                </a:lnTo>
                <a:lnTo>
                  <a:pt x="6" y="164"/>
                </a:lnTo>
                <a:lnTo>
                  <a:pt x="13" y="159"/>
                </a:lnTo>
                <a:lnTo>
                  <a:pt x="20" y="162"/>
                </a:lnTo>
                <a:lnTo>
                  <a:pt x="24" y="157"/>
                </a:lnTo>
                <a:lnTo>
                  <a:pt x="32" y="156"/>
                </a:lnTo>
                <a:lnTo>
                  <a:pt x="33" y="163"/>
                </a:lnTo>
                <a:lnTo>
                  <a:pt x="44" y="153"/>
                </a:lnTo>
                <a:lnTo>
                  <a:pt x="55" y="143"/>
                </a:lnTo>
                <a:lnTo>
                  <a:pt x="57" y="129"/>
                </a:lnTo>
                <a:lnTo>
                  <a:pt x="60" y="117"/>
                </a:lnTo>
                <a:lnTo>
                  <a:pt x="69" y="104"/>
                </a:lnTo>
                <a:lnTo>
                  <a:pt x="79" y="91"/>
                </a:lnTo>
                <a:lnTo>
                  <a:pt x="81" y="79"/>
                </a:lnTo>
                <a:lnTo>
                  <a:pt x="84" y="67"/>
                </a:lnTo>
                <a:lnTo>
                  <a:pt x="85" y="55"/>
                </a:lnTo>
                <a:lnTo>
                  <a:pt x="87" y="43"/>
                </a:lnTo>
                <a:lnTo>
                  <a:pt x="91" y="29"/>
                </a:lnTo>
                <a:lnTo>
                  <a:pt x="91" y="17"/>
                </a:lnTo>
                <a:lnTo>
                  <a:pt x="103" y="2"/>
                </a:lnTo>
                <a:lnTo>
                  <a:pt x="117" y="11"/>
                </a:lnTo>
                <a:lnTo>
                  <a:pt x="131" y="14"/>
                </a:lnTo>
                <a:lnTo>
                  <a:pt x="144" y="19"/>
                </a:lnTo>
                <a:lnTo>
                  <a:pt x="150" y="9"/>
                </a:lnTo>
                <a:lnTo>
                  <a:pt x="157" y="9"/>
                </a:lnTo>
                <a:lnTo>
                  <a:pt x="171" y="5"/>
                </a:lnTo>
                <a:lnTo>
                  <a:pt x="181" y="5"/>
                </a:lnTo>
                <a:lnTo>
                  <a:pt x="187" y="0"/>
                </a:lnTo>
                <a:lnTo>
                  <a:pt x="198" y="1"/>
                </a:lnTo>
                <a:lnTo>
                  <a:pt x="209" y="2"/>
                </a:lnTo>
                <a:lnTo>
                  <a:pt x="217" y="5"/>
                </a:lnTo>
                <a:lnTo>
                  <a:pt x="219" y="8"/>
                </a:lnTo>
                <a:lnTo>
                  <a:pt x="231" y="14"/>
                </a:lnTo>
                <a:lnTo>
                  <a:pt x="240" y="14"/>
                </a:lnTo>
                <a:lnTo>
                  <a:pt x="245" y="9"/>
                </a:lnTo>
                <a:lnTo>
                  <a:pt x="255" y="19"/>
                </a:lnTo>
                <a:lnTo>
                  <a:pt x="265" y="29"/>
                </a:lnTo>
                <a:lnTo>
                  <a:pt x="264" y="43"/>
                </a:lnTo>
                <a:lnTo>
                  <a:pt x="271" y="50"/>
                </a:lnTo>
                <a:lnTo>
                  <a:pt x="263" y="61"/>
                </a:lnTo>
                <a:lnTo>
                  <a:pt x="253" y="71"/>
                </a:lnTo>
                <a:lnTo>
                  <a:pt x="251" y="89"/>
                </a:lnTo>
                <a:lnTo>
                  <a:pt x="247" y="10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7" name="Freeform 262">
            <a:extLst>
              <a:ext uri="{FF2B5EF4-FFF2-40B4-BE49-F238E27FC236}">
                <a16:creationId xmlns:a16="http://schemas.microsoft.com/office/drawing/2014/main" id="{9AE22955-8269-4787-AD52-4AE2479D1515}"/>
              </a:ext>
            </a:extLst>
          </p:cNvPr>
          <p:cNvSpPr>
            <a:spLocks/>
          </p:cNvSpPr>
          <p:nvPr/>
        </p:nvSpPr>
        <p:spPr bwMode="gray">
          <a:xfrm>
            <a:off x="5003976" y="4328749"/>
            <a:ext cx="321744" cy="340752"/>
          </a:xfrm>
          <a:custGeom>
            <a:avLst/>
            <a:gdLst>
              <a:gd name="T0" fmla="*/ 30 w 167"/>
              <a:gd name="T1" fmla="*/ 76 h 158"/>
              <a:gd name="T2" fmla="*/ 16 w 167"/>
              <a:gd name="T3" fmla="*/ 77 h 158"/>
              <a:gd name="T4" fmla="*/ 2 w 167"/>
              <a:gd name="T5" fmla="*/ 77 h 158"/>
              <a:gd name="T6" fmla="*/ 2 w 167"/>
              <a:gd name="T7" fmla="*/ 90 h 158"/>
              <a:gd name="T8" fmla="*/ 2 w 167"/>
              <a:gd name="T9" fmla="*/ 102 h 158"/>
              <a:gd name="T10" fmla="*/ 2 w 167"/>
              <a:gd name="T11" fmla="*/ 115 h 158"/>
              <a:gd name="T12" fmla="*/ 0 w 167"/>
              <a:gd name="T13" fmla="*/ 128 h 158"/>
              <a:gd name="T14" fmla="*/ 11 w 167"/>
              <a:gd name="T15" fmla="*/ 140 h 158"/>
              <a:gd name="T16" fmla="*/ 21 w 167"/>
              <a:gd name="T17" fmla="*/ 151 h 158"/>
              <a:gd name="T18" fmla="*/ 30 w 167"/>
              <a:gd name="T19" fmla="*/ 150 h 158"/>
              <a:gd name="T20" fmla="*/ 46 w 167"/>
              <a:gd name="T21" fmla="*/ 155 h 158"/>
              <a:gd name="T22" fmla="*/ 65 w 167"/>
              <a:gd name="T23" fmla="*/ 158 h 158"/>
              <a:gd name="T24" fmla="*/ 78 w 167"/>
              <a:gd name="T25" fmla="*/ 146 h 158"/>
              <a:gd name="T26" fmla="*/ 94 w 167"/>
              <a:gd name="T27" fmla="*/ 134 h 158"/>
              <a:gd name="T28" fmla="*/ 99 w 167"/>
              <a:gd name="T29" fmla="*/ 125 h 158"/>
              <a:gd name="T30" fmla="*/ 108 w 167"/>
              <a:gd name="T31" fmla="*/ 122 h 158"/>
              <a:gd name="T32" fmla="*/ 119 w 167"/>
              <a:gd name="T33" fmla="*/ 120 h 158"/>
              <a:gd name="T34" fmla="*/ 117 w 167"/>
              <a:gd name="T35" fmla="*/ 110 h 158"/>
              <a:gd name="T36" fmla="*/ 128 w 167"/>
              <a:gd name="T37" fmla="*/ 107 h 158"/>
              <a:gd name="T38" fmla="*/ 138 w 167"/>
              <a:gd name="T39" fmla="*/ 102 h 158"/>
              <a:gd name="T40" fmla="*/ 149 w 167"/>
              <a:gd name="T41" fmla="*/ 98 h 158"/>
              <a:gd name="T42" fmla="*/ 160 w 167"/>
              <a:gd name="T43" fmla="*/ 94 h 158"/>
              <a:gd name="T44" fmla="*/ 153 w 167"/>
              <a:gd name="T45" fmla="*/ 86 h 158"/>
              <a:gd name="T46" fmla="*/ 161 w 167"/>
              <a:gd name="T47" fmla="*/ 71 h 158"/>
              <a:gd name="T48" fmla="*/ 162 w 167"/>
              <a:gd name="T49" fmla="*/ 67 h 158"/>
              <a:gd name="T50" fmla="*/ 164 w 167"/>
              <a:gd name="T51" fmla="*/ 54 h 158"/>
              <a:gd name="T52" fmla="*/ 164 w 167"/>
              <a:gd name="T53" fmla="*/ 42 h 158"/>
              <a:gd name="T54" fmla="*/ 167 w 167"/>
              <a:gd name="T55" fmla="*/ 36 h 158"/>
              <a:gd name="T56" fmla="*/ 159 w 167"/>
              <a:gd name="T57" fmla="*/ 23 h 158"/>
              <a:gd name="T58" fmla="*/ 158 w 167"/>
              <a:gd name="T59" fmla="*/ 19 h 158"/>
              <a:gd name="T60" fmla="*/ 143 w 167"/>
              <a:gd name="T61" fmla="*/ 11 h 158"/>
              <a:gd name="T62" fmla="*/ 129 w 167"/>
              <a:gd name="T63" fmla="*/ 2 h 158"/>
              <a:gd name="T64" fmla="*/ 128 w 167"/>
              <a:gd name="T65" fmla="*/ 0 h 158"/>
              <a:gd name="T66" fmla="*/ 114 w 167"/>
              <a:gd name="T67" fmla="*/ 2 h 158"/>
              <a:gd name="T68" fmla="*/ 101 w 167"/>
              <a:gd name="T69" fmla="*/ 6 h 158"/>
              <a:gd name="T70" fmla="*/ 94 w 167"/>
              <a:gd name="T71" fmla="*/ 18 h 158"/>
              <a:gd name="T72" fmla="*/ 96 w 167"/>
              <a:gd name="T73" fmla="*/ 31 h 158"/>
              <a:gd name="T74" fmla="*/ 95 w 167"/>
              <a:gd name="T75" fmla="*/ 46 h 158"/>
              <a:gd name="T76" fmla="*/ 94 w 167"/>
              <a:gd name="T77" fmla="*/ 59 h 158"/>
              <a:gd name="T78" fmla="*/ 108 w 167"/>
              <a:gd name="T79" fmla="*/ 68 h 158"/>
              <a:gd name="T80" fmla="*/ 112 w 167"/>
              <a:gd name="T81" fmla="*/ 64 h 158"/>
              <a:gd name="T82" fmla="*/ 110 w 167"/>
              <a:gd name="T83" fmla="*/ 84 h 158"/>
              <a:gd name="T84" fmla="*/ 106 w 167"/>
              <a:gd name="T85" fmla="*/ 83 h 158"/>
              <a:gd name="T86" fmla="*/ 100 w 167"/>
              <a:gd name="T87" fmla="*/ 83 h 158"/>
              <a:gd name="T88" fmla="*/ 88 w 167"/>
              <a:gd name="T89" fmla="*/ 67 h 158"/>
              <a:gd name="T90" fmla="*/ 80 w 167"/>
              <a:gd name="T91" fmla="*/ 61 h 158"/>
              <a:gd name="T92" fmla="*/ 74 w 167"/>
              <a:gd name="T93" fmla="*/ 54 h 158"/>
              <a:gd name="T94" fmla="*/ 69 w 167"/>
              <a:gd name="T95" fmla="*/ 61 h 158"/>
              <a:gd name="T96" fmla="*/ 50 w 167"/>
              <a:gd name="T97" fmla="*/ 54 h 158"/>
              <a:gd name="T98" fmla="*/ 47 w 167"/>
              <a:gd name="T99" fmla="*/ 49 h 158"/>
              <a:gd name="T100" fmla="*/ 36 w 167"/>
              <a:gd name="T101" fmla="*/ 50 h 158"/>
              <a:gd name="T102" fmla="*/ 30 w 167"/>
              <a:gd name="T103" fmla="*/ 43 h 158"/>
              <a:gd name="T104" fmla="*/ 30 w 167"/>
              <a:gd name="T105" fmla="*/ 60 h 158"/>
              <a:gd name="T106" fmla="*/ 30 w 167"/>
              <a:gd name="T107" fmla="*/ 76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67" h="158">
                <a:moveTo>
                  <a:pt x="30" y="76"/>
                </a:moveTo>
                <a:lnTo>
                  <a:pt x="16" y="77"/>
                </a:lnTo>
                <a:lnTo>
                  <a:pt x="2" y="77"/>
                </a:lnTo>
                <a:lnTo>
                  <a:pt x="2" y="90"/>
                </a:lnTo>
                <a:lnTo>
                  <a:pt x="2" y="102"/>
                </a:lnTo>
                <a:lnTo>
                  <a:pt x="2" y="115"/>
                </a:lnTo>
                <a:lnTo>
                  <a:pt x="0" y="128"/>
                </a:lnTo>
                <a:lnTo>
                  <a:pt x="11" y="140"/>
                </a:lnTo>
                <a:lnTo>
                  <a:pt x="21" y="151"/>
                </a:lnTo>
                <a:lnTo>
                  <a:pt x="30" y="150"/>
                </a:lnTo>
                <a:lnTo>
                  <a:pt x="46" y="155"/>
                </a:lnTo>
                <a:lnTo>
                  <a:pt x="65" y="158"/>
                </a:lnTo>
                <a:lnTo>
                  <a:pt x="78" y="146"/>
                </a:lnTo>
                <a:lnTo>
                  <a:pt x="94" y="134"/>
                </a:lnTo>
                <a:lnTo>
                  <a:pt x="99" y="125"/>
                </a:lnTo>
                <a:lnTo>
                  <a:pt x="108" y="122"/>
                </a:lnTo>
                <a:lnTo>
                  <a:pt x="119" y="120"/>
                </a:lnTo>
                <a:lnTo>
                  <a:pt x="117" y="110"/>
                </a:lnTo>
                <a:lnTo>
                  <a:pt x="128" y="107"/>
                </a:lnTo>
                <a:lnTo>
                  <a:pt x="138" y="102"/>
                </a:lnTo>
                <a:lnTo>
                  <a:pt x="149" y="98"/>
                </a:lnTo>
                <a:lnTo>
                  <a:pt x="160" y="94"/>
                </a:lnTo>
                <a:lnTo>
                  <a:pt x="153" y="86"/>
                </a:lnTo>
                <a:lnTo>
                  <a:pt x="161" y="71"/>
                </a:lnTo>
                <a:lnTo>
                  <a:pt x="162" y="67"/>
                </a:lnTo>
                <a:lnTo>
                  <a:pt x="164" y="54"/>
                </a:lnTo>
                <a:lnTo>
                  <a:pt x="164" y="42"/>
                </a:lnTo>
                <a:lnTo>
                  <a:pt x="167" y="36"/>
                </a:lnTo>
                <a:lnTo>
                  <a:pt x="159" y="23"/>
                </a:lnTo>
                <a:lnTo>
                  <a:pt x="158" y="19"/>
                </a:lnTo>
                <a:lnTo>
                  <a:pt x="143" y="11"/>
                </a:lnTo>
                <a:lnTo>
                  <a:pt x="129" y="2"/>
                </a:lnTo>
                <a:lnTo>
                  <a:pt x="128" y="0"/>
                </a:lnTo>
                <a:lnTo>
                  <a:pt x="114" y="2"/>
                </a:lnTo>
                <a:lnTo>
                  <a:pt x="101" y="6"/>
                </a:lnTo>
                <a:lnTo>
                  <a:pt x="94" y="18"/>
                </a:lnTo>
                <a:lnTo>
                  <a:pt x="96" y="31"/>
                </a:lnTo>
                <a:lnTo>
                  <a:pt x="95" y="46"/>
                </a:lnTo>
                <a:lnTo>
                  <a:pt x="94" y="59"/>
                </a:lnTo>
                <a:lnTo>
                  <a:pt x="108" y="68"/>
                </a:lnTo>
                <a:lnTo>
                  <a:pt x="112" y="64"/>
                </a:lnTo>
                <a:lnTo>
                  <a:pt x="110" y="84"/>
                </a:lnTo>
                <a:lnTo>
                  <a:pt x="106" y="83"/>
                </a:lnTo>
                <a:lnTo>
                  <a:pt x="100" y="83"/>
                </a:lnTo>
                <a:lnTo>
                  <a:pt x="88" y="67"/>
                </a:lnTo>
                <a:lnTo>
                  <a:pt x="80" y="61"/>
                </a:lnTo>
                <a:lnTo>
                  <a:pt x="74" y="54"/>
                </a:lnTo>
                <a:lnTo>
                  <a:pt x="69" y="61"/>
                </a:lnTo>
                <a:lnTo>
                  <a:pt x="50" y="54"/>
                </a:lnTo>
                <a:lnTo>
                  <a:pt x="47" y="49"/>
                </a:lnTo>
                <a:lnTo>
                  <a:pt x="36" y="50"/>
                </a:lnTo>
                <a:lnTo>
                  <a:pt x="30" y="43"/>
                </a:lnTo>
                <a:lnTo>
                  <a:pt x="30" y="60"/>
                </a:lnTo>
                <a:lnTo>
                  <a:pt x="30" y="7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8" name="Freeform 263">
            <a:extLst>
              <a:ext uri="{FF2B5EF4-FFF2-40B4-BE49-F238E27FC236}">
                <a16:creationId xmlns:a16="http://schemas.microsoft.com/office/drawing/2014/main" id="{21AFEB82-9DC9-431E-A70C-B054FDB61AF4}"/>
              </a:ext>
            </a:extLst>
          </p:cNvPr>
          <p:cNvSpPr>
            <a:spLocks/>
          </p:cNvSpPr>
          <p:nvPr/>
        </p:nvSpPr>
        <p:spPr bwMode="gray">
          <a:xfrm>
            <a:off x="5091722" y="4587719"/>
            <a:ext cx="208187" cy="233660"/>
          </a:xfrm>
          <a:custGeom>
            <a:avLst/>
            <a:gdLst>
              <a:gd name="T0" fmla="*/ 53 w 108"/>
              <a:gd name="T1" fmla="*/ 103 h 108"/>
              <a:gd name="T2" fmla="*/ 49 w 108"/>
              <a:gd name="T3" fmla="*/ 101 h 108"/>
              <a:gd name="T4" fmla="*/ 37 w 108"/>
              <a:gd name="T5" fmla="*/ 95 h 108"/>
              <a:gd name="T6" fmla="*/ 32 w 108"/>
              <a:gd name="T7" fmla="*/ 82 h 108"/>
              <a:gd name="T8" fmla="*/ 29 w 108"/>
              <a:gd name="T9" fmla="*/ 77 h 108"/>
              <a:gd name="T10" fmla="*/ 26 w 108"/>
              <a:gd name="T11" fmla="*/ 73 h 108"/>
              <a:gd name="T12" fmla="*/ 16 w 108"/>
              <a:gd name="T13" fmla="*/ 66 h 108"/>
              <a:gd name="T14" fmla="*/ 8 w 108"/>
              <a:gd name="T15" fmla="*/ 50 h 108"/>
              <a:gd name="T16" fmla="*/ 0 w 108"/>
              <a:gd name="T17" fmla="*/ 35 h 108"/>
              <a:gd name="T18" fmla="*/ 19 w 108"/>
              <a:gd name="T19" fmla="*/ 38 h 108"/>
              <a:gd name="T20" fmla="*/ 32 w 108"/>
              <a:gd name="T21" fmla="*/ 26 h 108"/>
              <a:gd name="T22" fmla="*/ 48 w 108"/>
              <a:gd name="T23" fmla="*/ 14 h 108"/>
              <a:gd name="T24" fmla="*/ 53 w 108"/>
              <a:gd name="T25" fmla="*/ 5 h 108"/>
              <a:gd name="T26" fmla="*/ 62 w 108"/>
              <a:gd name="T27" fmla="*/ 2 h 108"/>
              <a:gd name="T28" fmla="*/ 73 w 108"/>
              <a:gd name="T29" fmla="*/ 0 h 108"/>
              <a:gd name="T30" fmla="*/ 73 w 108"/>
              <a:gd name="T31" fmla="*/ 6 h 108"/>
              <a:gd name="T32" fmla="*/ 80 w 108"/>
              <a:gd name="T33" fmla="*/ 5 h 108"/>
              <a:gd name="T34" fmla="*/ 94 w 108"/>
              <a:gd name="T35" fmla="*/ 11 h 108"/>
              <a:gd name="T36" fmla="*/ 108 w 108"/>
              <a:gd name="T37" fmla="*/ 17 h 108"/>
              <a:gd name="T38" fmla="*/ 108 w 108"/>
              <a:gd name="T39" fmla="*/ 36 h 108"/>
              <a:gd name="T40" fmla="*/ 104 w 108"/>
              <a:gd name="T41" fmla="*/ 50 h 108"/>
              <a:gd name="T42" fmla="*/ 107 w 108"/>
              <a:gd name="T43" fmla="*/ 65 h 108"/>
              <a:gd name="T44" fmla="*/ 101 w 108"/>
              <a:gd name="T45" fmla="*/ 78 h 108"/>
              <a:gd name="T46" fmla="*/ 98 w 108"/>
              <a:gd name="T47" fmla="*/ 91 h 108"/>
              <a:gd name="T48" fmla="*/ 90 w 108"/>
              <a:gd name="T49" fmla="*/ 100 h 108"/>
              <a:gd name="T50" fmla="*/ 80 w 108"/>
              <a:gd name="T51" fmla="*/ 108 h 108"/>
              <a:gd name="T52" fmla="*/ 67 w 108"/>
              <a:gd name="T53" fmla="*/ 107 h 108"/>
              <a:gd name="T54" fmla="*/ 54 w 108"/>
              <a:gd name="T55" fmla="*/ 104 h 108"/>
              <a:gd name="T56" fmla="*/ 53 w 108"/>
              <a:gd name="T57" fmla="*/ 103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8" h="108">
                <a:moveTo>
                  <a:pt x="53" y="103"/>
                </a:moveTo>
                <a:lnTo>
                  <a:pt x="49" y="101"/>
                </a:lnTo>
                <a:lnTo>
                  <a:pt x="37" y="95"/>
                </a:lnTo>
                <a:lnTo>
                  <a:pt x="32" y="82"/>
                </a:lnTo>
                <a:lnTo>
                  <a:pt x="29" y="77"/>
                </a:lnTo>
                <a:lnTo>
                  <a:pt x="26" y="73"/>
                </a:lnTo>
                <a:lnTo>
                  <a:pt x="16" y="66"/>
                </a:lnTo>
                <a:lnTo>
                  <a:pt x="8" y="50"/>
                </a:lnTo>
                <a:lnTo>
                  <a:pt x="0" y="35"/>
                </a:lnTo>
                <a:lnTo>
                  <a:pt x="19" y="38"/>
                </a:lnTo>
                <a:lnTo>
                  <a:pt x="32" y="26"/>
                </a:lnTo>
                <a:lnTo>
                  <a:pt x="48" y="14"/>
                </a:lnTo>
                <a:lnTo>
                  <a:pt x="53" y="5"/>
                </a:lnTo>
                <a:lnTo>
                  <a:pt x="62" y="2"/>
                </a:lnTo>
                <a:lnTo>
                  <a:pt x="73" y="0"/>
                </a:lnTo>
                <a:lnTo>
                  <a:pt x="73" y="6"/>
                </a:lnTo>
                <a:lnTo>
                  <a:pt x="80" y="5"/>
                </a:lnTo>
                <a:lnTo>
                  <a:pt x="94" y="11"/>
                </a:lnTo>
                <a:lnTo>
                  <a:pt x="108" y="17"/>
                </a:lnTo>
                <a:lnTo>
                  <a:pt x="108" y="36"/>
                </a:lnTo>
                <a:lnTo>
                  <a:pt x="104" y="50"/>
                </a:lnTo>
                <a:lnTo>
                  <a:pt x="107" y="65"/>
                </a:lnTo>
                <a:lnTo>
                  <a:pt x="101" y="78"/>
                </a:lnTo>
                <a:lnTo>
                  <a:pt x="98" y="91"/>
                </a:lnTo>
                <a:lnTo>
                  <a:pt x="90" y="100"/>
                </a:lnTo>
                <a:lnTo>
                  <a:pt x="80" y="108"/>
                </a:lnTo>
                <a:lnTo>
                  <a:pt x="67" y="107"/>
                </a:lnTo>
                <a:lnTo>
                  <a:pt x="54" y="104"/>
                </a:lnTo>
                <a:lnTo>
                  <a:pt x="53" y="10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9" name="Freeform 264">
            <a:extLst>
              <a:ext uri="{FF2B5EF4-FFF2-40B4-BE49-F238E27FC236}">
                <a16:creationId xmlns:a16="http://schemas.microsoft.com/office/drawing/2014/main" id="{8DCB177E-9439-4975-BB25-CE9CEDBDFB6F}"/>
              </a:ext>
            </a:extLst>
          </p:cNvPr>
          <p:cNvSpPr>
            <a:spLocks/>
          </p:cNvSpPr>
          <p:nvPr/>
        </p:nvSpPr>
        <p:spPr bwMode="gray">
          <a:xfrm>
            <a:off x="2906617" y="5090086"/>
            <a:ext cx="132483" cy="169404"/>
          </a:xfrm>
          <a:custGeom>
            <a:avLst/>
            <a:gdLst>
              <a:gd name="T0" fmla="*/ 67 w 69"/>
              <a:gd name="T1" fmla="*/ 39 h 77"/>
              <a:gd name="T2" fmla="*/ 53 w 69"/>
              <a:gd name="T3" fmla="*/ 29 h 77"/>
              <a:gd name="T4" fmla="*/ 38 w 69"/>
              <a:gd name="T5" fmla="*/ 18 h 77"/>
              <a:gd name="T6" fmla="*/ 30 w 69"/>
              <a:gd name="T7" fmla="*/ 13 h 77"/>
              <a:gd name="T8" fmla="*/ 26 w 69"/>
              <a:gd name="T9" fmla="*/ 13 h 77"/>
              <a:gd name="T10" fmla="*/ 9 w 69"/>
              <a:gd name="T11" fmla="*/ 0 h 77"/>
              <a:gd name="T12" fmla="*/ 2 w 69"/>
              <a:gd name="T13" fmla="*/ 1 h 77"/>
              <a:gd name="T14" fmla="*/ 2 w 69"/>
              <a:gd name="T15" fmla="*/ 2 h 77"/>
              <a:gd name="T16" fmla="*/ 1 w 69"/>
              <a:gd name="T17" fmla="*/ 19 h 77"/>
              <a:gd name="T18" fmla="*/ 0 w 69"/>
              <a:gd name="T19" fmla="*/ 37 h 77"/>
              <a:gd name="T20" fmla="*/ 1 w 69"/>
              <a:gd name="T21" fmla="*/ 39 h 77"/>
              <a:gd name="T22" fmla="*/ 0 w 69"/>
              <a:gd name="T23" fmla="*/ 53 h 77"/>
              <a:gd name="T24" fmla="*/ 7 w 69"/>
              <a:gd name="T25" fmla="*/ 66 h 77"/>
              <a:gd name="T26" fmla="*/ 24 w 69"/>
              <a:gd name="T27" fmla="*/ 73 h 77"/>
              <a:gd name="T28" fmla="*/ 47 w 69"/>
              <a:gd name="T29" fmla="*/ 77 h 77"/>
              <a:gd name="T30" fmla="*/ 60 w 69"/>
              <a:gd name="T31" fmla="*/ 72 h 77"/>
              <a:gd name="T32" fmla="*/ 69 w 69"/>
              <a:gd name="T33" fmla="*/ 57 h 77"/>
              <a:gd name="T34" fmla="*/ 66 w 69"/>
              <a:gd name="T35" fmla="*/ 47 h 77"/>
              <a:gd name="T36" fmla="*/ 67 w 69"/>
              <a:gd name="T37" fmla="*/ 39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9" h="77">
                <a:moveTo>
                  <a:pt x="67" y="39"/>
                </a:moveTo>
                <a:lnTo>
                  <a:pt x="53" y="29"/>
                </a:lnTo>
                <a:lnTo>
                  <a:pt x="38" y="18"/>
                </a:lnTo>
                <a:lnTo>
                  <a:pt x="30" y="13"/>
                </a:lnTo>
                <a:lnTo>
                  <a:pt x="26" y="13"/>
                </a:lnTo>
                <a:lnTo>
                  <a:pt x="9" y="0"/>
                </a:lnTo>
                <a:lnTo>
                  <a:pt x="2" y="1"/>
                </a:lnTo>
                <a:lnTo>
                  <a:pt x="2" y="2"/>
                </a:lnTo>
                <a:lnTo>
                  <a:pt x="1" y="19"/>
                </a:lnTo>
                <a:lnTo>
                  <a:pt x="0" y="37"/>
                </a:lnTo>
                <a:lnTo>
                  <a:pt x="1" y="39"/>
                </a:lnTo>
                <a:lnTo>
                  <a:pt x="0" y="53"/>
                </a:lnTo>
                <a:lnTo>
                  <a:pt x="7" y="66"/>
                </a:lnTo>
                <a:lnTo>
                  <a:pt x="24" y="73"/>
                </a:lnTo>
                <a:lnTo>
                  <a:pt x="47" y="77"/>
                </a:lnTo>
                <a:lnTo>
                  <a:pt x="60" y="72"/>
                </a:lnTo>
                <a:lnTo>
                  <a:pt x="69" y="57"/>
                </a:lnTo>
                <a:lnTo>
                  <a:pt x="66" y="47"/>
                </a:lnTo>
                <a:lnTo>
                  <a:pt x="67" y="3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0" name="Freeform 265">
            <a:extLst>
              <a:ext uri="{FF2B5EF4-FFF2-40B4-BE49-F238E27FC236}">
                <a16:creationId xmlns:a16="http://schemas.microsoft.com/office/drawing/2014/main" id="{67CDF09B-084A-4E33-9055-273FDC8A4CFB}"/>
              </a:ext>
            </a:extLst>
          </p:cNvPr>
          <p:cNvSpPr>
            <a:spLocks/>
          </p:cNvSpPr>
          <p:nvPr/>
        </p:nvSpPr>
        <p:spPr bwMode="gray">
          <a:xfrm>
            <a:off x="2584873" y="4799962"/>
            <a:ext cx="416374" cy="1057310"/>
          </a:xfrm>
          <a:custGeom>
            <a:avLst/>
            <a:gdLst>
              <a:gd name="T0" fmla="*/ 121 w 218"/>
              <a:gd name="T1" fmla="*/ 309 h 488"/>
              <a:gd name="T2" fmla="*/ 118 w 218"/>
              <a:gd name="T3" fmla="*/ 328 h 488"/>
              <a:gd name="T4" fmla="*/ 127 w 218"/>
              <a:gd name="T5" fmla="*/ 329 h 488"/>
              <a:gd name="T6" fmla="*/ 135 w 218"/>
              <a:gd name="T7" fmla="*/ 338 h 488"/>
              <a:gd name="T8" fmla="*/ 118 w 218"/>
              <a:gd name="T9" fmla="*/ 335 h 488"/>
              <a:gd name="T10" fmla="*/ 118 w 218"/>
              <a:gd name="T11" fmla="*/ 353 h 488"/>
              <a:gd name="T12" fmla="*/ 118 w 218"/>
              <a:gd name="T13" fmla="*/ 372 h 488"/>
              <a:gd name="T14" fmla="*/ 104 w 218"/>
              <a:gd name="T15" fmla="*/ 395 h 488"/>
              <a:gd name="T16" fmla="*/ 132 w 218"/>
              <a:gd name="T17" fmla="*/ 410 h 488"/>
              <a:gd name="T18" fmla="*/ 132 w 218"/>
              <a:gd name="T19" fmla="*/ 419 h 488"/>
              <a:gd name="T20" fmla="*/ 118 w 218"/>
              <a:gd name="T21" fmla="*/ 440 h 488"/>
              <a:gd name="T22" fmla="*/ 110 w 218"/>
              <a:gd name="T23" fmla="*/ 449 h 488"/>
              <a:gd name="T24" fmla="*/ 114 w 218"/>
              <a:gd name="T25" fmla="*/ 454 h 488"/>
              <a:gd name="T26" fmla="*/ 108 w 218"/>
              <a:gd name="T27" fmla="*/ 466 h 488"/>
              <a:gd name="T28" fmla="*/ 111 w 218"/>
              <a:gd name="T29" fmla="*/ 476 h 488"/>
              <a:gd name="T30" fmla="*/ 128 w 218"/>
              <a:gd name="T31" fmla="*/ 488 h 488"/>
              <a:gd name="T32" fmla="*/ 81 w 218"/>
              <a:gd name="T33" fmla="*/ 479 h 488"/>
              <a:gd name="T34" fmla="*/ 66 w 218"/>
              <a:gd name="T35" fmla="*/ 461 h 488"/>
              <a:gd name="T36" fmla="*/ 46 w 218"/>
              <a:gd name="T37" fmla="*/ 441 h 488"/>
              <a:gd name="T38" fmla="*/ 52 w 218"/>
              <a:gd name="T39" fmla="*/ 410 h 488"/>
              <a:gd name="T40" fmla="*/ 48 w 218"/>
              <a:gd name="T41" fmla="*/ 380 h 488"/>
              <a:gd name="T42" fmla="*/ 39 w 218"/>
              <a:gd name="T43" fmla="*/ 369 h 488"/>
              <a:gd name="T44" fmla="*/ 38 w 218"/>
              <a:gd name="T45" fmla="*/ 360 h 488"/>
              <a:gd name="T46" fmla="*/ 25 w 218"/>
              <a:gd name="T47" fmla="*/ 334 h 488"/>
              <a:gd name="T48" fmla="*/ 19 w 218"/>
              <a:gd name="T49" fmla="*/ 300 h 488"/>
              <a:gd name="T50" fmla="*/ 20 w 218"/>
              <a:gd name="T51" fmla="*/ 273 h 488"/>
              <a:gd name="T52" fmla="*/ 15 w 218"/>
              <a:gd name="T53" fmla="*/ 250 h 488"/>
              <a:gd name="T54" fmla="*/ 18 w 218"/>
              <a:gd name="T55" fmla="*/ 226 h 488"/>
              <a:gd name="T56" fmla="*/ 16 w 218"/>
              <a:gd name="T57" fmla="*/ 195 h 488"/>
              <a:gd name="T58" fmla="*/ 7 w 218"/>
              <a:gd name="T59" fmla="*/ 172 h 488"/>
              <a:gd name="T60" fmla="*/ 1 w 218"/>
              <a:gd name="T61" fmla="*/ 149 h 488"/>
              <a:gd name="T62" fmla="*/ 2 w 218"/>
              <a:gd name="T63" fmla="*/ 128 h 488"/>
              <a:gd name="T64" fmla="*/ 7 w 218"/>
              <a:gd name="T65" fmla="*/ 101 h 488"/>
              <a:gd name="T66" fmla="*/ 16 w 218"/>
              <a:gd name="T67" fmla="*/ 82 h 488"/>
              <a:gd name="T68" fmla="*/ 9 w 218"/>
              <a:gd name="T69" fmla="*/ 51 h 488"/>
              <a:gd name="T70" fmla="*/ 24 w 218"/>
              <a:gd name="T71" fmla="*/ 36 h 488"/>
              <a:gd name="T72" fmla="*/ 24 w 218"/>
              <a:gd name="T73" fmla="*/ 17 h 488"/>
              <a:gd name="T74" fmla="*/ 38 w 218"/>
              <a:gd name="T75" fmla="*/ 3 h 488"/>
              <a:gd name="T76" fmla="*/ 62 w 218"/>
              <a:gd name="T77" fmla="*/ 16 h 488"/>
              <a:gd name="T78" fmla="*/ 82 w 218"/>
              <a:gd name="T79" fmla="*/ 4 h 488"/>
              <a:gd name="T80" fmla="*/ 99 w 218"/>
              <a:gd name="T81" fmla="*/ 21 h 488"/>
              <a:gd name="T82" fmla="*/ 124 w 218"/>
              <a:gd name="T83" fmla="*/ 39 h 488"/>
              <a:gd name="T84" fmla="*/ 148 w 218"/>
              <a:gd name="T85" fmla="*/ 52 h 488"/>
              <a:gd name="T86" fmla="*/ 156 w 218"/>
              <a:gd name="T87" fmla="*/ 75 h 488"/>
              <a:gd name="T88" fmla="*/ 168 w 218"/>
              <a:gd name="T89" fmla="*/ 90 h 488"/>
              <a:gd name="T90" fmla="*/ 193 w 218"/>
              <a:gd name="T91" fmla="*/ 88 h 488"/>
              <a:gd name="T92" fmla="*/ 202 w 218"/>
              <a:gd name="T93" fmla="*/ 62 h 488"/>
              <a:gd name="T94" fmla="*/ 218 w 218"/>
              <a:gd name="T95" fmla="*/ 82 h 488"/>
              <a:gd name="T96" fmla="*/ 200 w 218"/>
              <a:gd name="T97" fmla="*/ 98 h 488"/>
              <a:gd name="T98" fmla="*/ 186 w 218"/>
              <a:gd name="T99" fmla="*/ 117 h 488"/>
              <a:gd name="T100" fmla="*/ 170 w 218"/>
              <a:gd name="T101" fmla="*/ 136 h 488"/>
              <a:gd name="T102" fmla="*/ 170 w 218"/>
              <a:gd name="T103" fmla="*/ 154 h 488"/>
              <a:gd name="T104" fmla="*/ 171 w 218"/>
              <a:gd name="T105" fmla="*/ 183 h 488"/>
              <a:gd name="T106" fmla="*/ 174 w 218"/>
              <a:gd name="T107" fmla="*/ 208 h 488"/>
              <a:gd name="T108" fmla="*/ 194 w 218"/>
              <a:gd name="T109" fmla="*/ 232 h 488"/>
              <a:gd name="T110" fmla="*/ 198 w 218"/>
              <a:gd name="T111" fmla="*/ 252 h 488"/>
              <a:gd name="T112" fmla="*/ 181 w 218"/>
              <a:gd name="T113" fmla="*/ 269 h 488"/>
              <a:gd name="T114" fmla="*/ 158 w 218"/>
              <a:gd name="T115" fmla="*/ 274 h 488"/>
              <a:gd name="T116" fmla="*/ 136 w 218"/>
              <a:gd name="T117" fmla="*/ 276 h 488"/>
              <a:gd name="T118" fmla="*/ 142 w 218"/>
              <a:gd name="T119" fmla="*/ 302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18" h="488">
                <a:moveTo>
                  <a:pt x="140" y="310"/>
                </a:moveTo>
                <a:lnTo>
                  <a:pt x="121" y="309"/>
                </a:lnTo>
                <a:lnTo>
                  <a:pt x="108" y="306"/>
                </a:lnTo>
                <a:lnTo>
                  <a:pt x="118" y="328"/>
                </a:lnTo>
                <a:lnTo>
                  <a:pt x="122" y="330"/>
                </a:lnTo>
                <a:lnTo>
                  <a:pt x="127" y="329"/>
                </a:lnTo>
                <a:lnTo>
                  <a:pt x="130" y="327"/>
                </a:lnTo>
                <a:lnTo>
                  <a:pt x="135" y="338"/>
                </a:lnTo>
                <a:lnTo>
                  <a:pt x="128" y="335"/>
                </a:lnTo>
                <a:lnTo>
                  <a:pt x="118" y="335"/>
                </a:lnTo>
                <a:lnTo>
                  <a:pt x="128" y="341"/>
                </a:lnTo>
                <a:lnTo>
                  <a:pt x="118" y="353"/>
                </a:lnTo>
                <a:lnTo>
                  <a:pt x="120" y="366"/>
                </a:lnTo>
                <a:lnTo>
                  <a:pt x="118" y="372"/>
                </a:lnTo>
                <a:lnTo>
                  <a:pt x="104" y="381"/>
                </a:lnTo>
                <a:lnTo>
                  <a:pt x="104" y="395"/>
                </a:lnTo>
                <a:lnTo>
                  <a:pt x="124" y="406"/>
                </a:lnTo>
                <a:lnTo>
                  <a:pt x="132" y="410"/>
                </a:lnTo>
                <a:lnTo>
                  <a:pt x="127" y="418"/>
                </a:lnTo>
                <a:lnTo>
                  <a:pt x="132" y="419"/>
                </a:lnTo>
                <a:lnTo>
                  <a:pt x="124" y="430"/>
                </a:lnTo>
                <a:lnTo>
                  <a:pt x="118" y="440"/>
                </a:lnTo>
                <a:lnTo>
                  <a:pt x="117" y="452"/>
                </a:lnTo>
                <a:lnTo>
                  <a:pt x="110" y="449"/>
                </a:lnTo>
                <a:lnTo>
                  <a:pt x="106" y="450"/>
                </a:lnTo>
                <a:lnTo>
                  <a:pt x="114" y="454"/>
                </a:lnTo>
                <a:lnTo>
                  <a:pt x="109" y="462"/>
                </a:lnTo>
                <a:lnTo>
                  <a:pt x="108" y="466"/>
                </a:lnTo>
                <a:lnTo>
                  <a:pt x="114" y="476"/>
                </a:lnTo>
                <a:lnTo>
                  <a:pt x="111" y="476"/>
                </a:lnTo>
                <a:lnTo>
                  <a:pt x="120" y="480"/>
                </a:lnTo>
                <a:lnTo>
                  <a:pt x="128" y="488"/>
                </a:lnTo>
                <a:lnTo>
                  <a:pt x="106" y="482"/>
                </a:lnTo>
                <a:lnTo>
                  <a:pt x="81" y="479"/>
                </a:lnTo>
                <a:lnTo>
                  <a:pt x="74" y="473"/>
                </a:lnTo>
                <a:lnTo>
                  <a:pt x="66" y="461"/>
                </a:lnTo>
                <a:lnTo>
                  <a:pt x="58" y="461"/>
                </a:lnTo>
                <a:lnTo>
                  <a:pt x="46" y="441"/>
                </a:lnTo>
                <a:lnTo>
                  <a:pt x="54" y="431"/>
                </a:lnTo>
                <a:lnTo>
                  <a:pt x="52" y="410"/>
                </a:lnTo>
                <a:lnTo>
                  <a:pt x="49" y="392"/>
                </a:lnTo>
                <a:lnTo>
                  <a:pt x="48" y="380"/>
                </a:lnTo>
                <a:lnTo>
                  <a:pt x="45" y="372"/>
                </a:lnTo>
                <a:lnTo>
                  <a:pt x="39" y="369"/>
                </a:lnTo>
                <a:lnTo>
                  <a:pt x="48" y="366"/>
                </a:lnTo>
                <a:lnTo>
                  <a:pt x="38" y="360"/>
                </a:lnTo>
                <a:lnTo>
                  <a:pt x="32" y="342"/>
                </a:lnTo>
                <a:lnTo>
                  <a:pt x="25" y="334"/>
                </a:lnTo>
                <a:lnTo>
                  <a:pt x="25" y="322"/>
                </a:lnTo>
                <a:lnTo>
                  <a:pt x="19" y="300"/>
                </a:lnTo>
                <a:lnTo>
                  <a:pt x="18" y="284"/>
                </a:lnTo>
                <a:lnTo>
                  <a:pt x="20" y="273"/>
                </a:lnTo>
                <a:lnTo>
                  <a:pt x="19" y="263"/>
                </a:lnTo>
                <a:lnTo>
                  <a:pt x="15" y="250"/>
                </a:lnTo>
                <a:lnTo>
                  <a:pt x="10" y="237"/>
                </a:lnTo>
                <a:lnTo>
                  <a:pt x="18" y="226"/>
                </a:lnTo>
                <a:lnTo>
                  <a:pt x="14" y="215"/>
                </a:lnTo>
                <a:lnTo>
                  <a:pt x="16" y="195"/>
                </a:lnTo>
                <a:lnTo>
                  <a:pt x="13" y="185"/>
                </a:lnTo>
                <a:lnTo>
                  <a:pt x="7" y="172"/>
                </a:lnTo>
                <a:lnTo>
                  <a:pt x="0" y="159"/>
                </a:lnTo>
                <a:lnTo>
                  <a:pt x="1" y="149"/>
                </a:lnTo>
                <a:lnTo>
                  <a:pt x="2" y="138"/>
                </a:lnTo>
                <a:lnTo>
                  <a:pt x="2" y="128"/>
                </a:lnTo>
                <a:lnTo>
                  <a:pt x="1" y="116"/>
                </a:lnTo>
                <a:lnTo>
                  <a:pt x="7" y="101"/>
                </a:lnTo>
                <a:lnTo>
                  <a:pt x="13" y="87"/>
                </a:lnTo>
                <a:lnTo>
                  <a:pt x="16" y="82"/>
                </a:lnTo>
                <a:lnTo>
                  <a:pt x="12" y="74"/>
                </a:lnTo>
                <a:lnTo>
                  <a:pt x="9" y="51"/>
                </a:lnTo>
                <a:lnTo>
                  <a:pt x="12" y="42"/>
                </a:lnTo>
                <a:lnTo>
                  <a:pt x="24" y="36"/>
                </a:lnTo>
                <a:lnTo>
                  <a:pt x="26" y="20"/>
                </a:lnTo>
                <a:lnTo>
                  <a:pt x="24" y="17"/>
                </a:lnTo>
                <a:lnTo>
                  <a:pt x="34" y="0"/>
                </a:lnTo>
                <a:lnTo>
                  <a:pt x="38" y="3"/>
                </a:lnTo>
                <a:lnTo>
                  <a:pt x="55" y="6"/>
                </a:lnTo>
                <a:lnTo>
                  <a:pt x="62" y="16"/>
                </a:lnTo>
                <a:lnTo>
                  <a:pt x="67" y="6"/>
                </a:lnTo>
                <a:lnTo>
                  <a:pt x="82" y="4"/>
                </a:lnTo>
                <a:lnTo>
                  <a:pt x="86" y="8"/>
                </a:lnTo>
                <a:lnTo>
                  <a:pt x="99" y="21"/>
                </a:lnTo>
                <a:lnTo>
                  <a:pt x="114" y="34"/>
                </a:lnTo>
                <a:lnTo>
                  <a:pt x="124" y="39"/>
                </a:lnTo>
                <a:lnTo>
                  <a:pt x="136" y="45"/>
                </a:lnTo>
                <a:lnTo>
                  <a:pt x="148" y="52"/>
                </a:lnTo>
                <a:lnTo>
                  <a:pt x="162" y="59"/>
                </a:lnTo>
                <a:lnTo>
                  <a:pt x="156" y="75"/>
                </a:lnTo>
                <a:lnTo>
                  <a:pt x="151" y="89"/>
                </a:lnTo>
                <a:lnTo>
                  <a:pt x="168" y="90"/>
                </a:lnTo>
                <a:lnTo>
                  <a:pt x="183" y="92"/>
                </a:lnTo>
                <a:lnTo>
                  <a:pt x="193" y="88"/>
                </a:lnTo>
                <a:lnTo>
                  <a:pt x="204" y="71"/>
                </a:lnTo>
                <a:lnTo>
                  <a:pt x="202" y="62"/>
                </a:lnTo>
                <a:lnTo>
                  <a:pt x="211" y="62"/>
                </a:lnTo>
                <a:lnTo>
                  <a:pt x="218" y="82"/>
                </a:lnTo>
                <a:lnTo>
                  <a:pt x="208" y="90"/>
                </a:lnTo>
                <a:lnTo>
                  <a:pt x="200" y="98"/>
                </a:lnTo>
                <a:lnTo>
                  <a:pt x="193" y="107"/>
                </a:lnTo>
                <a:lnTo>
                  <a:pt x="186" y="117"/>
                </a:lnTo>
                <a:lnTo>
                  <a:pt x="177" y="126"/>
                </a:lnTo>
                <a:lnTo>
                  <a:pt x="170" y="136"/>
                </a:lnTo>
                <a:lnTo>
                  <a:pt x="171" y="137"/>
                </a:lnTo>
                <a:lnTo>
                  <a:pt x="170" y="154"/>
                </a:lnTo>
                <a:lnTo>
                  <a:pt x="169" y="172"/>
                </a:lnTo>
                <a:lnTo>
                  <a:pt x="171" y="183"/>
                </a:lnTo>
                <a:lnTo>
                  <a:pt x="168" y="189"/>
                </a:lnTo>
                <a:lnTo>
                  <a:pt x="174" y="208"/>
                </a:lnTo>
                <a:lnTo>
                  <a:pt x="193" y="220"/>
                </a:lnTo>
                <a:lnTo>
                  <a:pt x="194" y="232"/>
                </a:lnTo>
                <a:lnTo>
                  <a:pt x="202" y="238"/>
                </a:lnTo>
                <a:lnTo>
                  <a:pt x="198" y="252"/>
                </a:lnTo>
                <a:lnTo>
                  <a:pt x="192" y="266"/>
                </a:lnTo>
                <a:lnTo>
                  <a:pt x="181" y="269"/>
                </a:lnTo>
                <a:lnTo>
                  <a:pt x="169" y="272"/>
                </a:lnTo>
                <a:lnTo>
                  <a:pt x="158" y="274"/>
                </a:lnTo>
                <a:lnTo>
                  <a:pt x="146" y="278"/>
                </a:lnTo>
                <a:lnTo>
                  <a:pt x="136" y="276"/>
                </a:lnTo>
                <a:lnTo>
                  <a:pt x="139" y="282"/>
                </a:lnTo>
                <a:lnTo>
                  <a:pt x="142" y="302"/>
                </a:lnTo>
                <a:lnTo>
                  <a:pt x="140" y="31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1" name="Freeform 266">
            <a:extLst>
              <a:ext uri="{FF2B5EF4-FFF2-40B4-BE49-F238E27FC236}">
                <a16:creationId xmlns:a16="http://schemas.microsoft.com/office/drawing/2014/main" id="{5467F434-10F3-4158-86A3-956A839C6CD4}"/>
              </a:ext>
            </a:extLst>
          </p:cNvPr>
          <p:cNvSpPr>
            <a:spLocks/>
          </p:cNvSpPr>
          <p:nvPr/>
        </p:nvSpPr>
        <p:spPr bwMode="gray">
          <a:xfrm>
            <a:off x="2825751" y="5867006"/>
            <a:ext cx="103232" cy="72045"/>
          </a:xfrm>
          <a:custGeom>
            <a:avLst/>
            <a:gdLst>
              <a:gd name="T0" fmla="*/ 5 w 54"/>
              <a:gd name="T1" fmla="*/ 6 h 34"/>
              <a:gd name="T2" fmla="*/ 0 w 54"/>
              <a:gd name="T3" fmla="*/ 0 h 34"/>
              <a:gd name="T4" fmla="*/ 7 w 54"/>
              <a:gd name="T5" fmla="*/ 17 h 34"/>
              <a:gd name="T6" fmla="*/ 14 w 54"/>
              <a:gd name="T7" fmla="*/ 34 h 34"/>
              <a:gd name="T8" fmla="*/ 33 w 54"/>
              <a:gd name="T9" fmla="*/ 34 h 34"/>
              <a:gd name="T10" fmla="*/ 54 w 54"/>
              <a:gd name="T11" fmla="*/ 34 h 34"/>
              <a:gd name="T12" fmla="*/ 51 w 54"/>
              <a:gd name="T13" fmla="*/ 30 h 34"/>
              <a:gd name="T14" fmla="*/ 24 w 54"/>
              <a:gd name="T15" fmla="*/ 21 h 34"/>
              <a:gd name="T16" fmla="*/ 5 w 54"/>
              <a:gd name="T17" fmla="*/ 6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4" h="34">
                <a:moveTo>
                  <a:pt x="5" y="6"/>
                </a:moveTo>
                <a:lnTo>
                  <a:pt x="0" y="0"/>
                </a:lnTo>
                <a:lnTo>
                  <a:pt x="7" y="17"/>
                </a:lnTo>
                <a:lnTo>
                  <a:pt x="14" y="34"/>
                </a:lnTo>
                <a:lnTo>
                  <a:pt x="33" y="34"/>
                </a:lnTo>
                <a:lnTo>
                  <a:pt x="54" y="34"/>
                </a:lnTo>
                <a:lnTo>
                  <a:pt x="51" y="30"/>
                </a:lnTo>
                <a:lnTo>
                  <a:pt x="24" y="21"/>
                </a:lnTo>
                <a:lnTo>
                  <a:pt x="5" y="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2" name="Freeform 267">
            <a:extLst>
              <a:ext uri="{FF2B5EF4-FFF2-40B4-BE49-F238E27FC236}">
                <a16:creationId xmlns:a16="http://schemas.microsoft.com/office/drawing/2014/main" id="{0E7AF68C-635E-42A1-878A-065839574F6E}"/>
              </a:ext>
            </a:extLst>
          </p:cNvPr>
          <p:cNvSpPr>
            <a:spLocks/>
          </p:cNvSpPr>
          <p:nvPr/>
        </p:nvSpPr>
        <p:spPr bwMode="gray">
          <a:xfrm>
            <a:off x="2526373" y="4651977"/>
            <a:ext cx="302818" cy="1253972"/>
          </a:xfrm>
          <a:custGeom>
            <a:avLst/>
            <a:gdLst>
              <a:gd name="T0" fmla="*/ 15 w 157"/>
              <a:gd name="T1" fmla="*/ 229 h 578"/>
              <a:gd name="T2" fmla="*/ 18 w 157"/>
              <a:gd name="T3" fmla="*/ 268 h 578"/>
              <a:gd name="T4" fmla="*/ 13 w 157"/>
              <a:gd name="T5" fmla="*/ 311 h 578"/>
              <a:gd name="T6" fmla="*/ 19 w 157"/>
              <a:gd name="T7" fmla="*/ 343 h 578"/>
              <a:gd name="T8" fmla="*/ 30 w 157"/>
              <a:gd name="T9" fmla="*/ 386 h 578"/>
              <a:gd name="T10" fmla="*/ 42 w 157"/>
              <a:gd name="T11" fmla="*/ 386 h 578"/>
              <a:gd name="T12" fmla="*/ 48 w 157"/>
              <a:gd name="T13" fmla="*/ 397 h 578"/>
              <a:gd name="T14" fmla="*/ 48 w 157"/>
              <a:gd name="T15" fmla="*/ 410 h 578"/>
              <a:gd name="T16" fmla="*/ 56 w 157"/>
              <a:gd name="T17" fmla="*/ 433 h 578"/>
              <a:gd name="T18" fmla="*/ 54 w 157"/>
              <a:gd name="T19" fmla="*/ 446 h 578"/>
              <a:gd name="T20" fmla="*/ 56 w 157"/>
              <a:gd name="T21" fmla="*/ 458 h 578"/>
              <a:gd name="T22" fmla="*/ 47 w 157"/>
              <a:gd name="T23" fmla="*/ 461 h 578"/>
              <a:gd name="T24" fmla="*/ 39 w 157"/>
              <a:gd name="T25" fmla="*/ 456 h 578"/>
              <a:gd name="T26" fmla="*/ 39 w 157"/>
              <a:gd name="T27" fmla="*/ 466 h 578"/>
              <a:gd name="T28" fmla="*/ 53 w 157"/>
              <a:gd name="T29" fmla="*/ 479 h 578"/>
              <a:gd name="T30" fmla="*/ 62 w 157"/>
              <a:gd name="T31" fmla="*/ 484 h 578"/>
              <a:gd name="T32" fmla="*/ 68 w 157"/>
              <a:gd name="T33" fmla="*/ 492 h 578"/>
              <a:gd name="T34" fmla="*/ 61 w 157"/>
              <a:gd name="T35" fmla="*/ 499 h 578"/>
              <a:gd name="T36" fmla="*/ 71 w 157"/>
              <a:gd name="T37" fmla="*/ 521 h 578"/>
              <a:gd name="T38" fmla="*/ 79 w 157"/>
              <a:gd name="T39" fmla="*/ 533 h 578"/>
              <a:gd name="T40" fmla="*/ 89 w 157"/>
              <a:gd name="T41" fmla="*/ 544 h 578"/>
              <a:gd name="T42" fmla="*/ 92 w 157"/>
              <a:gd name="T43" fmla="*/ 552 h 578"/>
              <a:gd name="T44" fmla="*/ 107 w 157"/>
              <a:gd name="T45" fmla="*/ 566 h 578"/>
              <a:gd name="T46" fmla="*/ 114 w 157"/>
              <a:gd name="T47" fmla="*/ 571 h 578"/>
              <a:gd name="T48" fmla="*/ 143 w 157"/>
              <a:gd name="T49" fmla="*/ 554 h 578"/>
              <a:gd name="T50" fmla="*/ 110 w 157"/>
              <a:gd name="T51" fmla="*/ 547 h 578"/>
              <a:gd name="T52" fmla="*/ 87 w 157"/>
              <a:gd name="T53" fmla="*/ 529 h 578"/>
              <a:gd name="T54" fmla="*/ 81 w 157"/>
              <a:gd name="T55" fmla="*/ 478 h 578"/>
              <a:gd name="T56" fmla="*/ 74 w 157"/>
              <a:gd name="T57" fmla="*/ 440 h 578"/>
              <a:gd name="T58" fmla="*/ 67 w 157"/>
              <a:gd name="T59" fmla="*/ 428 h 578"/>
              <a:gd name="T60" fmla="*/ 54 w 157"/>
              <a:gd name="T61" fmla="*/ 390 h 578"/>
              <a:gd name="T62" fmla="*/ 49 w 157"/>
              <a:gd name="T63" fmla="*/ 341 h 578"/>
              <a:gd name="T64" fmla="*/ 39 w 157"/>
              <a:gd name="T65" fmla="*/ 305 h 578"/>
              <a:gd name="T66" fmla="*/ 45 w 157"/>
              <a:gd name="T67" fmla="*/ 263 h 578"/>
              <a:gd name="T68" fmla="*/ 29 w 157"/>
              <a:gd name="T69" fmla="*/ 227 h 578"/>
              <a:gd name="T70" fmla="*/ 31 w 157"/>
              <a:gd name="T71" fmla="*/ 196 h 578"/>
              <a:gd name="T72" fmla="*/ 42 w 157"/>
              <a:gd name="T73" fmla="*/ 155 h 578"/>
              <a:gd name="T74" fmla="*/ 38 w 157"/>
              <a:gd name="T75" fmla="*/ 119 h 578"/>
              <a:gd name="T76" fmla="*/ 55 w 157"/>
              <a:gd name="T77" fmla="*/ 88 h 578"/>
              <a:gd name="T78" fmla="*/ 37 w 157"/>
              <a:gd name="T79" fmla="*/ 70 h 578"/>
              <a:gd name="T80" fmla="*/ 27 w 157"/>
              <a:gd name="T81" fmla="*/ 29 h 578"/>
              <a:gd name="T82" fmla="*/ 12 w 157"/>
              <a:gd name="T83" fmla="*/ 0 h 578"/>
              <a:gd name="T84" fmla="*/ 0 w 157"/>
              <a:gd name="T85" fmla="*/ 13 h 578"/>
              <a:gd name="T86" fmla="*/ 8 w 157"/>
              <a:gd name="T87" fmla="*/ 72 h 578"/>
              <a:gd name="T88" fmla="*/ 9 w 157"/>
              <a:gd name="T89" fmla="*/ 116 h 578"/>
              <a:gd name="T90" fmla="*/ 9 w 157"/>
              <a:gd name="T91" fmla="*/ 179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57" h="578">
                <a:moveTo>
                  <a:pt x="11" y="205"/>
                </a:moveTo>
                <a:lnTo>
                  <a:pt x="13" y="217"/>
                </a:lnTo>
                <a:lnTo>
                  <a:pt x="15" y="229"/>
                </a:lnTo>
                <a:lnTo>
                  <a:pt x="18" y="241"/>
                </a:lnTo>
                <a:lnTo>
                  <a:pt x="19" y="253"/>
                </a:lnTo>
                <a:lnTo>
                  <a:pt x="18" y="268"/>
                </a:lnTo>
                <a:lnTo>
                  <a:pt x="15" y="282"/>
                </a:lnTo>
                <a:lnTo>
                  <a:pt x="14" y="296"/>
                </a:lnTo>
                <a:lnTo>
                  <a:pt x="13" y="311"/>
                </a:lnTo>
                <a:lnTo>
                  <a:pt x="9" y="317"/>
                </a:lnTo>
                <a:lnTo>
                  <a:pt x="14" y="330"/>
                </a:lnTo>
                <a:lnTo>
                  <a:pt x="19" y="343"/>
                </a:lnTo>
                <a:lnTo>
                  <a:pt x="23" y="359"/>
                </a:lnTo>
                <a:lnTo>
                  <a:pt x="21" y="373"/>
                </a:lnTo>
                <a:lnTo>
                  <a:pt x="30" y="386"/>
                </a:lnTo>
                <a:lnTo>
                  <a:pt x="31" y="389"/>
                </a:lnTo>
                <a:lnTo>
                  <a:pt x="36" y="386"/>
                </a:lnTo>
                <a:lnTo>
                  <a:pt x="42" y="386"/>
                </a:lnTo>
                <a:lnTo>
                  <a:pt x="45" y="384"/>
                </a:lnTo>
                <a:lnTo>
                  <a:pt x="44" y="392"/>
                </a:lnTo>
                <a:lnTo>
                  <a:pt x="48" y="397"/>
                </a:lnTo>
                <a:lnTo>
                  <a:pt x="45" y="396"/>
                </a:lnTo>
                <a:lnTo>
                  <a:pt x="47" y="401"/>
                </a:lnTo>
                <a:lnTo>
                  <a:pt x="48" y="410"/>
                </a:lnTo>
                <a:lnTo>
                  <a:pt x="49" y="420"/>
                </a:lnTo>
                <a:lnTo>
                  <a:pt x="49" y="426"/>
                </a:lnTo>
                <a:lnTo>
                  <a:pt x="56" y="433"/>
                </a:lnTo>
                <a:lnTo>
                  <a:pt x="53" y="443"/>
                </a:lnTo>
                <a:lnTo>
                  <a:pt x="57" y="446"/>
                </a:lnTo>
                <a:lnTo>
                  <a:pt x="54" y="446"/>
                </a:lnTo>
                <a:lnTo>
                  <a:pt x="54" y="451"/>
                </a:lnTo>
                <a:lnTo>
                  <a:pt x="55" y="460"/>
                </a:lnTo>
                <a:lnTo>
                  <a:pt x="56" y="458"/>
                </a:lnTo>
                <a:lnTo>
                  <a:pt x="53" y="464"/>
                </a:lnTo>
                <a:lnTo>
                  <a:pt x="51" y="461"/>
                </a:lnTo>
                <a:lnTo>
                  <a:pt x="47" y="461"/>
                </a:lnTo>
                <a:lnTo>
                  <a:pt x="47" y="455"/>
                </a:lnTo>
                <a:lnTo>
                  <a:pt x="43" y="455"/>
                </a:lnTo>
                <a:lnTo>
                  <a:pt x="39" y="456"/>
                </a:lnTo>
                <a:lnTo>
                  <a:pt x="32" y="469"/>
                </a:lnTo>
                <a:lnTo>
                  <a:pt x="35" y="468"/>
                </a:lnTo>
                <a:lnTo>
                  <a:pt x="39" y="466"/>
                </a:lnTo>
                <a:lnTo>
                  <a:pt x="48" y="469"/>
                </a:lnTo>
                <a:lnTo>
                  <a:pt x="56" y="476"/>
                </a:lnTo>
                <a:lnTo>
                  <a:pt x="53" y="479"/>
                </a:lnTo>
                <a:lnTo>
                  <a:pt x="56" y="481"/>
                </a:lnTo>
                <a:lnTo>
                  <a:pt x="50" y="484"/>
                </a:lnTo>
                <a:lnTo>
                  <a:pt x="62" y="484"/>
                </a:lnTo>
                <a:lnTo>
                  <a:pt x="63" y="482"/>
                </a:lnTo>
                <a:lnTo>
                  <a:pt x="68" y="487"/>
                </a:lnTo>
                <a:lnTo>
                  <a:pt x="68" y="492"/>
                </a:lnTo>
                <a:lnTo>
                  <a:pt x="59" y="490"/>
                </a:lnTo>
                <a:lnTo>
                  <a:pt x="55" y="490"/>
                </a:lnTo>
                <a:lnTo>
                  <a:pt x="61" y="499"/>
                </a:lnTo>
                <a:lnTo>
                  <a:pt x="67" y="510"/>
                </a:lnTo>
                <a:lnTo>
                  <a:pt x="67" y="515"/>
                </a:lnTo>
                <a:lnTo>
                  <a:pt x="71" y="521"/>
                </a:lnTo>
                <a:lnTo>
                  <a:pt x="68" y="522"/>
                </a:lnTo>
                <a:lnTo>
                  <a:pt x="74" y="527"/>
                </a:lnTo>
                <a:lnTo>
                  <a:pt x="79" y="533"/>
                </a:lnTo>
                <a:lnTo>
                  <a:pt x="79" y="536"/>
                </a:lnTo>
                <a:lnTo>
                  <a:pt x="85" y="540"/>
                </a:lnTo>
                <a:lnTo>
                  <a:pt x="89" y="544"/>
                </a:lnTo>
                <a:lnTo>
                  <a:pt x="85" y="542"/>
                </a:lnTo>
                <a:lnTo>
                  <a:pt x="91" y="548"/>
                </a:lnTo>
                <a:lnTo>
                  <a:pt x="92" y="552"/>
                </a:lnTo>
                <a:lnTo>
                  <a:pt x="97" y="559"/>
                </a:lnTo>
                <a:lnTo>
                  <a:pt x="99" y="563"/>
                </a:lnTo>
                <a:lnTo>
                  <a:pt x="107" y="566"/>
                </a:lnTo>
                <a:lnTo>
                  <a:pt x="108" y="569"/>
                </a:lnTo>
                <a:lnTo>
                  <a:pt x="105" y="570"/>
                </a:lnTo>
                <a:lnTo>
                  <a:pt x="114" y="571"/>
                </a:lnTo>
                <a:lnTo>
                  <a:pt x="132" y="578"/>
                </a:lnTo>
                <a:lnTo>
                  <a:pt x="133" y="560"/>
                </a:lnTo>
                <a:lnTo>
                  <a:pt x="143" y="554"/>
                </a:lnTo>
                <a:lnTo>
                  <a:pt x="157" y="556"/>
                </a:lnTo>
                <a:lnTo>
                  <a:pt x="135" y="550"/>
                </a:lnTo>
                <a:lnTo>
                  <a:pt x="110" y="547"/>
                </a:lnTo>
                <a:lnTo>
                  <a:pt x="103" y="541"/>
                </a:lnTo>
                <a:lnTo>
                  <a:pt x="95" y="529"/>
                </a:lnTo>
                <a:lnTo>
                  <a:pt x="87" y="529"/>
                </a:lnTo>
                <a:lnTo>
                  <a:pt x="75" y="509"/>
                </a:lnTo>
                <a:lnTo>
                  <a:pt x="83" y="499"/>
                </a:lnTo>
                <a:lnTo>
                  <a:pt x="81" y="478"/>
                </a:lnTo>
                <a:lnTo>
                  <a:pt x="78" y="460"/>
                </a:lnTo>
                <a:lnTo>
                  <a:pt x="77" y="448"/>
                </a:lnTo>
                <a:lnTo>
                  <a:pt x="74" y="440"/>
                </a:lnTo>
                <a:lnTo>
                  <a:pt x="68" y="437"/>
                </a:lnTo>
                <a:lnTo>
                  <a:pt x="77" y="434"/>
                </a:lnTo>
                <a:lnTo>
                  <a:pt x="67" y="428"/>
                </a:lnTo>
                <a:lnTo>
                  <a:pt x="61" y="410"/>
                </a:lnTo>
                <a:lnTo>
                  <a:pt x="54" y="402"/>
                </a:lnTo>
                <a:lnTo>
                  <a:pt x="54" y="390"/>
                </a:lnTo>
                <a:lnTo>
                  <a:pt x="48" y="368"/>
                </a:lnTo>
                <a:lnTo>
                  <a:pt x="47" y="352"/>
                </a:lnTo>
                <a:lnTo>
                  <a:pt x="49" y="341"/>
                </a:lnTo>
                <a:lnTo>
                  <a:pt x="48" y="331"/>
                </a:lnTo>
                <a:lnTo>
                  <a:pt x="44" y="318"/>
                </a:lnTo>
                <a:lnTo>
                  <a:pt x="39" y="305"/>
                </a:lnTo>
                <a:lnTo>
                  <a:pt x="47" y="294"/>
                </a:lnTo>
                <a:lnTo>
                  <a:pt x="43" y="283"/>
                </a:lnTo>
                <a:lnTo>
                  <a:pt x="45" y="263"/>
                </a:lnTo>
                <a:lnTo>
                  <a:pt x="42" y="253"/>
                </a:lnTo>
                <a:lnTo>
                  <a:pt x="36" y="240"/>
                </a:lnTo>
                <a:lnTo>
                  <a:pt x="29" y="227"/>
                </a:lnTo>
                <a:lnTo>
                  <a:pt x="30" y="217"/>
                </a:lnTo>
                <a:lnTo>
                  <a:pt x="31" y="206"/>
                </a:lnTo>
                <a:lnTo>
                  <a:pt x="31" y="196"/>
                </a:lnTo>
                <a:lnTo>
                  <a:pt x="30" y="184"/>
                </a:lnTo>
                <a:lnTo>
                  <a:pt x="36" y="169"/>
                </a:lnTo>
                <a:lnTo>
                  <a:pt x="42" y="155"/>
                </a:lnTo>
                <a:lnTo>
                  <a:pt x="45" y="150"/>
                </a:lnTo>
                <a:lnTo>
                  <a:pt x="41" y="142"/>
                </a:lnTo>
                <a:lnTo>
                  <a:pt x="38" y="119"/>
                </a:lnTo>
                <a:lnTo>
                  <a:pt x="41" y="110"/>
                </a:lnTo>
                <a:lnTo>
                  <a:pt x="53" y="104"/>
                </a:lnTo>
                <a:lnTo>
                  <a:pt x="55" y="88"/>
                </a:lnTo>
                <a:lnTo>
                  <a:pt x="53" y="85"/>
                </a:lnTo>
                <a:lnTo>
                  <a:pt x="43" y="84"/>
                </a:lnTo>
                <a:lnTo>
                  <a:pt x="37" y="70"/>
                </a:lnTo>
                <a:lnTo>
                  <a:pt x="31" y="55"/>
                </a:lnTo>
                <a:lnTo>
                  <a:pt x="27" y="41"/>
                </a:lnTo>
                <a:lnTo>
                  <a:pt x="27" y="29"/>
                </a:lnTo>
                <a:lnTo>
                  <a:pt x="20" y="18"/>
                </a:lnTo>
                <a:lnTo>
                  <a:pt x="15" y="7"/>
                </a:lnTo>
                <a:lnTo>
                  <a:pt x="12" y="0"/>
                </a:lnTo>
                <a:lnTo>
                  <a:pt x="8" y="6"/>
                </a:lnTo>
                <a:lnTo>
                  <a:pt x="3" y="13"/>
                </a:lnTo>
                <a:lnTo>
                  <a:pt x="0" y="13"/>
                </a:lnTo>
                <a:lnTo>
                  <a:pt x="3" y="34"/>
                </a:lnTo>
                <a:lnTo>
                  <a:pt x="8" y="54"/>
                </a:lnTo>
                <a:lnTo>
                  <a:pt x="8" y="72"/>
                </a:lnTo>
                <a:lnTo>
                  <a:pt x="7" y="89"/>
                </a:lnTo>
                <a:lnTo>
                  <a:pt x="7" y="96"/>
                </a:lnTo>
                <a:lnTo>
                  <a:pt x="9" y="116"/>
                </a:lnTo>
                <a:lnTo>
                  <a:pt x="9" y="134"/>
                </a:lnTo>
                <a:lnTo>
                  <a:pt x="9" y="156"/>
                </a:lnTo>
                <a:lnTo>
                  <a:pt x="9" y="179"/>
                </a:lnTo>
                <a:lnTo>
                  <a:pt x="11" y="190"/>
                </a:lnTo>
                <a:lnTo>
                  <a:pt x="11" y="20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3" name="Freeform 268">
            <a:extLst>
              <a:ext uri="{FF2B5EF4-FFF2-40B4-BE49-F238E27FC236}">
                <a16:creationId xmlns:a16="http://schemas.microsoft.com/office/drawing/2014/main" id="{C6D181CC-1409-4D48-9BBA-6C9FE5BCDB3F}"/>
              </a:ext>
            </a:extLst>
          </p:cNvPr>
          <p:cNvSpPr>
            <a:spLocks/>
          </p:cNvSpPr>
          <p:nvPr/>
        </p:nvSpPr>
        <p:spPr bwMode="gray">
          <a:xfrm>
            <a:off x="2775856" y="5861165"/>
            <a:ext cx="80867" cy="77886"/>
          </a:xfrm>
          <a:custGeom>
            <a:avLst/>
            <a:gdLst>
              <a:gd name="T0" fmla="*/ 28 w 42"/>
              <a:gd name="T1" fmla="*/ 2 h 36"/>
              <a:gd name="T2" fmla="*/ 35 w 42"/>
              <a:gd name="T3" fmla="*/ 19 h 36"/>
              <a:gd name="T4" fmla="*/ 42 w 42"/>
              <a:gd name="T5" fmla="*/ 36 h 36"/>
              <a:gd name="T6" fmla="*/ 37 w 42"/>
              <a:gd name="T7" fmla="*/ 35 h 36"/>
              <a:gd name="T8" fmla="*/ 31 w 42"/>
              <a:gd name="T9" fmla="*/ 36 h 36"/>
              <a:gd name="T10" fmla="*/ 17 w 42"/>
              <a:gd name="T11" fmla="*/ 35 h 36"/>
              <a:gd name="T12" fmla="*/ 12 w 42"/>
              <a:gd name="T13" fmla="*/ 34 h 36"/>
              <a:gd name="T14" fmla="*/ 0 w 42"/>
              <a:gd name="T15" fmla="*/ 32 h 36"/>
              <a:gd name="T16" fmla="*/ 4 w 42"/>
              <a:gd name="T17" fmla="*/ 31 h 36"/>
              <a:gd name="T18" fmla="*/ 11 w 42"/>
              <a:gd name="T19" fmla="*/ 28 h 36"/>
              <a:gd name="T20" fmla="*/ 15 w 42"/>
              <a:gd name="T21" fmla="*/ 31 h 36"/>
              <a:gd name="T22" fmla="*/ 19 w 42"/>
              <a:gd name="T23" fmla="*/ 31 h 36"/>
              <a:gd name="T24" fmla="*/ 12 w 42"/>
              <a:gd name="T25" fmla="*/ 26 h 36"/>
              <a:gd name="T26" fmla="*/ 21 w 42"/>
              <a:gd name="T27" fmla="*/ 29 h 36"/>
              <a:gd name="T28" fmla="*/ 25 w 42"/>
              <a:gd name="T29" fmla="*/ 29 h 36"/>
              <a:gd name="T30" fmla="*/ 31 w 42"/>
              <a:gd name="T31" fmla="*/ 31 h 36"/>
              <a:gd name="T32" fmla="*/ 34 w 42"/>
              <a:gd name="T33" fmla="*/ 31 h 36"/>
              <a:gd name="T34" fmla="*/ 18 w 42"/>
              <a:gd name="T35" fmla="*/ 22 h 36"/>
              <a:gd name="T36" fmla="*/ 24 w 42"/>
              <a:gd name="T37" fmla="*/ 14 h 36"/>
              <a:gd name="T38" fmla="*/ 13 w 42"/>
              <a:gd name="T39" fmla="*/ 14 h 36"/>
              <a:gd name="T40" fmla="*/ 10 w 42"/>
              <a:gd name="T41" fmla="*/ 2 h 36"/>
              <a:gd name="T42" fmla="*/ 15 w 42"/>
              <a:gd name="T43" fmla="*/ 0 h 36"/>
              <a:gd name="T44" fmla="*/ 28 w 42"/>
              <a:gd name="T45" fmla="*/ 2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2" h="36">
                <a:moveTo>
                  <a:pt x="28" y="2"/>
                </a:moveTo>
                <a:lnTo>
                  <a:pt x="35" y="19"/>
                </a:lnTo>
                <a:lnTo>
                  <a:pt x="42" y="36"/>
                </a:lnTo>
                <a:lnTo>
                  <a:pt x="37" y="35"/>
                </a:lnTo>
                <a:lnTo>
                  <a:pt x="31" y="36"/>
                </a:lnTo>
                <a:lnTo>
                  <a:pt x="17" y="35"/>
                </a:lnTo>
                <a:lnTo>
                  <a:pt x="12" y="34"/>
                </a:lnTo>
                <a:lnTo>
                  <a:pt x="0" y="32"/>
                </a:lnTo>
                <a:lnTo>
                  <a:pt x="4" y="31"/>
                </a:lnTo>
                <a:lnTo>
                  <a:pt x="11" y="28"/>
                </a:lnTo>
                <a:lnTo>
                  <a:pt x="15" y="31"/>
                </a:lnTo>
                <a:lnTo>
                  <a:pt x="19" y="31"/>
                </a:lnTo>
                <a:lnTo>
                  <a:pt x="12" y="26"/>
                </a:lnTo>
                <a:lnTo>
                  <a:pt x="21" y="29"/>
                </a:lnTo>
                <a:lnTo>
                  <a:pt x="25" y="29"/>
                </a:lnTo>
                <a:lnTo>
                  <a:pt x="31" y="31"/>
                </a:lnTo>
                <a:lnTo>
                  <a:pt x="34" y="31"/>
                </a:lnTo>
                <a:lnTo>
                  <a:pt x="18" y="22"/>
                </a:lnTo>
                <a:lnTo>
                  <a:pt x="24" y="14"/>
                </a:lnTo>
                <a:lnTo>
                  <a:pt x="13" y="14"/>
                </a:lnTo>
                <a:lnTo>
                  <a:pt x="10" y="2"/>
                </a:lnTo>
                <a:lnTo>
                  <a:pt x="15" y="0"/>
                </a:lnTo>
                <a:lnTo>
                  <a:pt x="28" y="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4" name="Freeform 269">
            <a:extLst>
              <a:ext uri="{FF2B5EF4-FFF2-40B4-BE49-F238E27FC236}">
                <a16:creationId xmlns:a16="http://schemas.microsoft.com/office/drawing/2014/main" id="{A3CF0FB8-497E-4B54-B1BD-0BF848D308D6}"/>
              </a:ext>
            </a:extLst>
          </p:cNvPr>
          <p:cNvSpPr>
            <a:spLocks/>
          </p:cNvSpPr>
          <p:nvPr/>
        </p:nvSpPr>
        <p:spPr bwMode="gray">
          <a:xfrm>
            <a:off x="2579710" y="5497046"/>
            <a:ext cx="20647" cy="52573"/>
          </a:xfrm>
          <a:custGeom>
            <a:avLst/>
            <a:gdLst>
              <a:gd name="T0" fmla="*/ 4 w 11"/>
              <a:gd name="T1" fmla="*/ 0 h 24"/>
              <a:gd name="T2" fmla="*/ 0 w 11"/>
              <a:gd name="T3" fmla="*/ 2 h 24"/>
              <a:gd name="T4" fmla="*/ 5 w 11"/>
              <a:gd name="T5" fmla="*/ 24 h 24"/>
              <a:gd name="T6" fmla="*/ 10 w 11"/>
              <a:gd name="T7" fmla="*/ 22 h 24"/>
              <a:gd name="T8" fmla="*/ 11 w 11"/>
              <a:gd name="T9" fmla="*/ 18 h 24"/>
              <a:gd name="T10" fmla="*/ 9 w 11"/>
              <a:gd name="T11" fmla="*/ 8 h 24"/>
              <a:gd name="T12" fmla="*/ 10 w 11"/>
              <a:gd name="T13" fmla="*/ 7 h 24"/>
              <a:gd name="T14" fmla="*/ 4 w 11"/>
              <a:gd name="T1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24">
                <a:moveTo>
                  <a:pt x="4" y="0"/>
                </a:moveTo>
                <a:lnTo>
                  <a:pt x="0" y="2"/>
                </a:lnTo>
                <a:lnTo>
                  <a:pt x="5" y="24"/>
                </a:lnTo>
                <a:lnTo>
                  <a:pt x="10" y="22"/>
                </a:lnTo>
                <a:lnTo>
                  <a:pt x="11" y="18"/>
                </a:lnTo>
                <a:lnTo>
                  <a:pt x="9" y="8"/>
                </a:lnTo>
                <a:lnTo>
                  <a:pt x="10" y="7"/>
                </a:lnTo>
                <a:lnTo>
                  <a:pt x="4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5" name="Freeform 270">
            <a:extLst>
              <a:ext uri="{FF2B5EF4-FFF2-40B4-BE49-F238E27FC236}">
                <a16:creationId xmlns:a16="http://schemas.microsoft.com/office/drawing/2014/main" id="{29A735A5-5AA8-4A4C-812A-48FB09984EF8}"/>
              </a:ext>
            </a:extLst>
          </p:cNvPr>
          <p:cNvSpPr>
            <a:spLocks/>
          </p:cNvSpPr>
          <p:nvPr/>
        </p:nvSpPr>
        <p:spPr bwMode="gray">
          <a:xfrm>
            <a:off x="2626166" y="5736547"/>
            <a:ext cx="22367" cy="42837"/>
          </a:xfrm>
          <a:custGeom>
            <a:avLst/>
            <a:gdLst>
              <a:gd name="T0" fmla="*/ 6 w 12"/>
              <a:gd name="T1" fmla="*/ 0 h 20"/>
              <a:gd name="T2" fmla="*/ 0 w 12"/>
              <a:gd name="T3" fmla="*/ 8 h 20"/>
              <a:gd name="T4" fmla="*/ 8 w 12"/>
              <a:gd name="T5" fmla="*/ 17 h 20"/>
              <a:gd name="T6" fmla="*/ 12 w 12"/>
              <a:gd name="T7" fmla="*/ 20 h 20"/>
              <a:gd name="T8" fmla="*/ 12 w 12"/>
              <a:gd name="T9" fmla="*/ 14 h 20"/>
              <a:gd name="T10" fmla="*/ 6 w 12"/>
              <a:gd name="T11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" h="20">
                <a:moveTo>
                  <a:pt x="6" y="0"/>
                </a:moveTo>
                <a:lnTo>
                  <a:pt x="0" y="8"/>
                </a:lnTo>
                <a:lnTo>
                  <a:pt x="8" y="17"/>
                </a:lnTo>
                <a:lnTo>
                  <a:pt x="12" y="20"/>
                </a:lnTo>
                <a:lnTo>
                  <a:pt x="12" y="14"/>
                </a:lnTo>
                <a:lnTo>
                  <a:pt x="6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6" name="Freeform 287">
            <a:extLst>
              <a:ext uri="{FF2B5EF4-FFF2-40B4-BE49-F238E27FC236}">
                <a16:creationId xmlns:a16="http://schemas.microsoft.com/office/drawing/2014/main" id="{8655FC63-721A-414D-8449-82551F8A672F}"/>
              </a:ext>
            </a:extLst>
          </p:cNvPr>
          <p:cNvSpPr>
            <a:spLocks/>
          </p:cNvSpPr>
          <p:nvPr/>
        </p:nvSpPr>
        <p:spPr bwMode="gray">
          <a:xfrm>
            <a:off x="2216674" y="3993836"/>
            <a:ext cx="153128" cy="221977"/>
          </a:xfrm>
          <a:custGeom>
            <a:avLst/>
            <a:gdLst>
              <a:gd name="T0" fmla="*/ 0 w 80"/>
              <a:gd name="T1" fmla="*/ 41 h 103"/>
              <a:gd name="T2" fmla="*/ 1 w 80"/>
              <a:gd name="T3" fmla="*/ 58 h 103"/>
              <a:gd name="T4" fmla="*/ 0 w 80"/>
              <a:gd name="T5" fmla="*/ 60 h 103"/>
              <a:gd name="T6" fmla="*/ 9 w 80"/>
              <a:gd name="T7" fmla="*/ 65 h 103"/>
              <a:gd name="T8" fmla="*/ 12 w 80"/>
              <a:gd name="T9" fmla="*/ 61 h 103"/>
              <a:gd name="T10" fmla="*/ 14 w 80"/>
              <a:gd name="T11" fmla="*/ 64 h 103"/>
              <a:gd name="T12" fmla="*/ 13 w 80"/>
              <a:gd name="T13" fmla="*/ 75 h 103"/>
              <a:gd name="T14" fmla="*/ 8 w 80"/>
              <a:gd name="T15" fmla="*/ 77 h 103"/>
              <a:gd name="T16" fmla="*/ 9 w 80"/>
              <a:gd name="T17" fmla="*/ 87 h 103"/>
              <a:gd name="T18" fmla="*/ 6 w 80"/>
              <a:gd name="T19" fmla="*/ 94 h 103"/>
              <a:gd name="T20" fmla="*/ 10 w 80"/>
              <a:gd name="T21" fmla="*/ 91 h 103"/>
              <a:gd name="T22" fmla="*/ 26 w 80"/>
              <a:gd name="T23" fmla="*/ 103 h 103"/>
              <a:gd name="T24" fmla="*/ 31 w 80"/>
              <a:gd name="T25" fmla="*/ 97 h 103"/>
              <a:gd name="T26" fmla="*/ 32 w 80"/>
              <a:gd name="T27" fmla="*/ 90 h 103"/>
              <a:gd name="T28" fmla="*/ 36 w 80"/>
              <a:gd name="T29" fmla="*/ 85 h 103"/>
              <a:gd name="T30" fmla="*/ 38 w 80"/>
              <a:gd name="T31" fmla="*/ 76 h 103"/>
              <a:gd name="T32" fmla="*/ 39 w 80"/>
              <a:gd name="T33" fmla="*/ 76 h 103"/>
              <a:gd name="T34" fmla="*/ 39 w 80"/>
              <a:gd name="T35" fmla="*/ 78 h 103"/>
              <a:gd name="T36" fmla="*/ 42 w 80"/>
              <a:gd name="T37" fmla="*/ 77 h 103"/>
              <a:gd name="T38" fmla="*/ 40 w 80"/>
              <a:gd name="T39" fmla="*/ 75 h 103"/>
              <a:gd name="T40" fmla="*/ 44 w 80"/>
              <a:gd name="T41" fmla="*/ 71 h 103"/>
              <a:gd name="T42" fmla="*/ 52 w 80"/>
              <a:gd name="T43" fmla="*/ 67 h 103"/>
              <a:gd name="T44" fmla="*/ 68 w 80"/>
              <a:gd name="T45" fmla="*/ 58 h 103"/>
              <a:gd name="T46" fmla="*/ 76 w 80"/>
              <a:gd name="T47" fmla="*/ 39 h 103"/>
              <a:gd name="T48" fmla="*/ 80 w 80"/>
              <a:gd name="T49" fmla="*/ 39 h 103"/>
              <a:gd name="T50" fmla="*/ 74 w 80"/>
              <a:gd name="T51" fmla="*/ 25 h 103"/>
              <a:gd name="T52" fmla="*/ 79 w 80"/>
              <a:gd name="T53" fmla="*/ 24 h 103"/>
              <a:gd name="T54" fmla="*/ 63 w 80"/>
              <a:gd name="T55" fmla="*/ 17 h 103"/>
              <a:gd name="T56" fmla="*/ 49 w 80"/>
              <a:gd name="T57" fmla="*/ 17 h 103"/>
              <a:gd name="T58" fmla="*/ 40 w 80"/>
              <a:gd name="T59" fmla="*/ 9 h 103"/>
              <a:gd name="T60" fmla="*/ 28 w 80"/>
              <a:gd name="T61" fmla="*/ 0 h 103"/>
              <a:gd name="T62" fmla="*/ 24 w 80"/>
              <a:gd name="T63" fmla="*/ 5 h 103"/>
              <a:gd name="T64" fmla="*/ 10 w 80"/>
              <a:gd name="T65" fmla="*/ 12 h 103"/>
              <a:gd name="T66" fmla="*/ 7 w 80"/>
              <a:gd name="T67" fmla="*/ 25 h 103"/>
              <a:gd name="T68" fmla="*/ 7 w 80"/>
              <a:gd name="T69" fmla="*/ 33 h 103"/>
              <a:gd name="T70" fmla="*/ 0 w 80"/>
              <a:gd name="T71" fmla="*/ 41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0" h="103">
                <a:moveTo>
                  <a:pt x="0" y="41"/>
                </a:moveTo>
                <a:lnTo>
                  <a:pt x="1" y="58"/>
                </a:lnTo>
                <a:lnTo>
                  <a:pt x="0" y="60"/>
                </a:lnTo>
                <a:lnTo>
                  <a:pt x="9" y="65"/>
                </a:lnTo>
                <a:lnTo>
                  <a:pt x="12" y="61"/>
                </a:lnTo>
                <a:lnTo>
                  <a:pt x="14" y="64"/>
                </a:lnTo>
                <a:lnTo>
                  <a:pt x="13" y="75"/>
                </a:lnTo>
                <a:lnTo>
                  <a:pt x="8" y="77"/>
                </a:lnTo>
                <a:lnTo>
                  <a:pt x="9" y="87"/>
                </a:lnTo>
                <a:lnTo>
                  <a:pt x="6" y="94"/>
                </a:lnTo>
                <a:lnTo>
                  <a:pt x="10" y="91"/>
                </a:lnTo>
                <a:lnTo>
                  <a:pt x="26" y="103"/>
                </a:lnTo>
                <a:lnTo>
                  <a:pt x="31" y="97"/>
                </a:lnTo>
                <a:lnTo>
                  <a:pt x="32" y="90"/>
                </a:lnTo>
                <a:lnTo>
                  <a:pt x="36" y="85"/>
                </a:lnTo>
                <a:lnTo>
                  <a:pt x="38" y="76"/>
                </a:lnTo>
                <a:lnTo>
                  <a:pt x="39" y="76"/>
                </a:lnTo>
                <a:lnTo>
                  <a:pt x="39" y="78"/>
                </a:lnTo>
                <a:lnTo>
                  <a:pt x="42" y="77"/>
                </a:lnTo>
                <a:lnTo>
                  <a:pt x="40" y="75"/>
                </a:lnTo>
                <a:lnTo>
                  <a:pt x="44" y="71"/>
                </a:lnTo>
                <a:lnTo>
                  <a:pt x="52" y="67"/>
                </a:lnTo>
                <a:lnTo>
                  <a:pt x="68" y="58"/>
                </a:lnTo>
                <a:lnTo>
                  <a:pt x="76" y="39"/>
                </a:lnTo>
                <a:lnTo>
                  <a:pt x="80" y="39"/>
                </a:lnTo>
                <a:lnTo>
                  <a:pt x="74" y="25"/>
                </a:lnTo>
                <a:lnTo>
                  <a:pt x="79" y="24"/>
                </a:lnTo>
                <a:lnTo>
                  <a:pt x="63" y="17"/>
                </a:lnTo>
                <a:lnTo>
                  <a:pt x="49" y="17"/>
                </a:lnTo>
                <a:lnTo>
                  <a:pt x="40" y="9"/>
                </a:lnTo>
                <a:lnTo>
                  <a:pt x="28" y="0"/>
                </a:lnTo>
                <a:lnTo>
                  <a:pt x="24" y="5"/>
                </a:lnTo>
                <a:lnTo>
                  <a:pt x="10" y="12"/>
                </a:lnTo>
                <a:lnTo>
                  <a:pt x="7" y="25"/>
                </a:lnTo>
                <a:lnTo>
                  <a:pt x="7" y="33"/>
                </a:lnTo>
                <a:lnTo>
                  <a:pt x="0" y="4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7" name="Freeform 288">
            <a:extLst>
              <a:ext uri="{FF2B5EF4-FFF2-40B4-BE49-F238E27FC236}">
                <a16:creationId xmlns:a16="http://schemas.microsoft.com/office/drawing/2014/main" id="{6C5CB1A7-BD96-4842-AFA5-5ACB2B586EBE}"/>
              </a:ext>
            </a:extLst>
          </p:cNvPr>
          <p:cNvSpPr>
            <a:spLocks/>
          </p:cNvSpPr>
          <p:nvPr/>
        </p:nvSpPr>
        <p:spPr bwMode="gray">
          <a:xfrm>
            <a:off x="1925899" y="4042515"/>
            <a:ext cx="15486" cy="29206"/>
          </a:xfrm>
          <a:custGeom>
            <a:avLst/>
            <a:gdLst>
              <a:gd name="T0" fmla="*/ 0 w 9"/>
              <a:gd name="T1" fmla="*/ 0 h 14"/>
              <a:gd name="T2" fmla="*/ 5 w 9"/>
              <a:gd name="T3" fmla="*/ 8 h 14"/>
              <a:gd name="T4" fmla="*/ 0 w 9"/>
              <a:gd name="T5" fmla="*/ 14 h 14"/>
              <a:gd name="T6" fmla="*/ 9 w 9"/>
              <a:gd name="T7" fmla="*/ 14 h 14"/>
              <a:gd name="T8" fmla="*/ 4 w 9"/>
              <a:gd name="T9" fmla="*/ 0 h 14"/>
              <a:gd name="T10" fmla="*/ 0 w 9"/>
              <a:gd name="T11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" h="14">
                <a:moveTo>
                  <a:pt x="0" y="0"/>
                </a:moveTo>
                <a:lnTo>
                  <a:pt x="5" y="8"/>
                </a:lnTo>
                <a:lnTo>
                  <a:pt x="0" y="14"/>
                </a:lnTo>
                <a:lnTo>
                  <a:pt x="9" y="14"/>
                </a:lnTo>
                <a:lnTo>
                  <a:pt x="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8" name="Freeform 289">
            <a:extLst>
              <a:ext uri="{FF2B5EF4-FFF2-40B4-BE49-F238E27FC236}">
                <a16:creationId xmlns:a16="http://schemas.microsoft.com/office/drawing/2014/main" id="{7022462D-7E0D-4331-8BB2-209F2DFF94E7}"/>
              </a:ext>
            </a:extLst>
          </p:cNvPr>
          <p:cNvSpPr>
            <a:spLocks/>
          </p:cNvSpPr>
          <p:nvPr/>
        </p:nvSpPr>
        <p:spPr bwMode="gray">
          <a:xfrm>
            <a:off x="2235600" y="4137925"/>
            <a:ext cx="8604" cy="3894"/>
          </a:xfrm>
          <a:custGeom>
            <a:avLst/>
            <a:gdLst>
              <a:gd name="T0" fmla="*/ 5 w 5"/>
              <a:gd name="T1" fmla="*/ 1 h 4"/>
              <a:gd name="T2" fmla="*/ 1 w 5"/>
              <a:gd name="T3" fmla="*/ 4 h 4"/>
              <a:gd name="T4" fmla="*/ 0 w 5"/>
              <a:gd name="T5" fmla="*/ 0 h 4"/>
              <a:gd name="T6" fmla="*/ 5 w 5"/>
              <a:gd name="T7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4">
                <a:moveTo>
                  <a:pt x="5" y="1"/>
                </a:moveTo>
                <a:lnTo>
                  <a:pt x="1" y="4"/>
                </a:lnTo>
                <a:lnTo>
                  <a:pt x="0" y="0"/>
                </a:lnTo>
                <a:lnTo>
                  <a:pt x="5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9" name="Freeform 290">
            <a:extLst>
              <a:ext uri="{FF2B5EF4-FFF2-40B4-BE49-F238E27FC236}">
                <a16:creationId xmlns:a16="http://schemas.microsoft.com/office/drawing/2014/main" id="{36C11E0D-D0B6-4CBA-9FFC-484E0BC7017E}"/>
              </a:ext>
            </a:extLst>
          </p:cNvPr>
          <p:cNvSpPr>
            <a:spLocks/>
          </p:cNvSpPr>
          <p:nvPr/>
        </p:nvSpPr>
        <p:spPr bwMode="gray">
          <a:xfrm>
            <a:off x="1951709" y="4063933"/>
            <a:ext cx="8604" cy="3894"/>
          </a:xfrm>
          <a:custGeom>
            <a:avLst/>
            <a:gdLst>
              <a:gd name="T0" fmla="*/ 4 w 4"/>
              <a:gd name="T1" fmla="*/ 1 h 1"/>
              <a:gd name="T2" fmla="*/ 0 w 4"/>
              <a:gd name="T3" fmla="*/ 0 h 1"/>
              <a:gd name="T4" fmla="*/ 4 w 4"/>
              <a:gd name="T5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" h="1">
                <a:moveTo>
                  <a:pt x="4" y="1"/>
                </a:moveTo>
                <a:lnTo>
                  <a:pt x="0" y="0"/>
                </a:lnTo>
                <a:lnTo>
                  <a:pt x="4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0" name="Freeform 294">
            <a:extLst>
              <a:ext uri="{FF2B5EF4-FFF2-40B4-BE49-F238E27FC236}">
                <a16:creationId xmlns:a16="http://schemas.microsoft.com/office/drawing/2014/main" id="{BF63B9D4-B5BF-4F3F-B71B-B6973C869FC7}"/>
              </a:ext>
            </a:extLst>
          </p:cNvPr>
          <p:cNvSpPr>
            <a:spLocks/>
          </p:cNvSpPr>
          <p:nvPr/>
        </p:nvSpPr>
        <p:spPr bwMode="gray">
          <a:xfrm>
            <a:off x="2204629" y="4042515"/>
            <a:ext cx="356154" cy="640617"/>
          </a:xfrm>
          <a:custGeom>
            <a:avLst/>
            <a:gdLst>
              <a:gd name="T0" fmla="*/ 180 w 186"/>
              <a:gd name="T1" fmla="*/ 233 h 295"/>
              <a:gd name="T2" fmla="*/ 181 w 186"/>
              <a:gd name="T3" fmla="*/ 260 h 295"/>
              <a:gd name="T4" fmla="*/ 180 w 186"/>
              <a:gd name="T5" fmla="*/ 275 h 295"/>
              <a:gd name="T6" fmla="*/ 176 w 186"/>
              <a:gd name="T7" fmla="*/ 288 h 295"/>
              <a:gd name="T8" fmla="*/ 168 w 186"/>
              <a:gd name="T9" fmla="*/ 295 h 295"/>
              <a:gd name="T10" fmla="*/ 152 w 186"/>
              <a:gd name="T11" fmla="*/ 280 h 295"/>
              <a:gd name="T12" fmla="*/ 128 w 186"/>
              <a:gd name="T13" fmla="*/ 266 h 295"/>
              <a:gd name="T14" fmla="*/ 104 w 186"/>
              <a:gd name="T15" fmla="*/ 252 h 295"/>
              <a:gd name="T16" fmla="*/ 79 w 186"/>
              <a:gd name="T17" fmla="*/ 228 h 295"/>
              <a:gd name="T18" fmla="*/ 71 w 186"/>
              <a:gd name="T19" fmla="*/ 202 h 295"/>
              <a:gd name="T20" fmla="*/ 54 w 186"/>
              <a:gd name="T21" fmla="*/ 173 h 295"/>
              <a:gd name="T22" fmla="*/ 42 w 186"/>
              <a:gd name="T23" fmla="*/ 150 h 295"/>
              <a:gd name="T24" fmla="*/ 30 w 186"/>
              <a:gd name="T25" fmla="*/ 126 h 295"/>
              <a:gd name="T26" fmla="*/ 13 w 186"/>
              <a:gd name="T27" fmla="*/ 107 h 295"/>
              <a:gd name="T28" fmla="*/ 5 w 186"/>
              <a:gd name="T29" fmla="*/ 95 h 295"/>
              <a:gd name="T30" fmla="*/ 6 w 186"/>
              <a:gd name="T31" fmla="*/ 64 h 295"/>
              <a:gd name="T32" fmla="*/ 14 w 186"/>
              <a:gd name="T33" fmla="*/ 64 h 295"/>
              <a:gd name="T34" fmla="*/ 15 w 186"/>
              <a:gd name="T35" fmla="*/ 68 h 295"/>
              <a:gd name="T36" fmla="*/ 36 w 186"/>
              <a:gd name="T37" fmla="*/ 74 h 295"/>
              <a:gd name="T38" fmla="*/ 41 w 186"/>
              <a:gd name="T39" fmla="*/ 62 h 295"/>
              <a:gd name="T40" fmla="*/ 44 w 186"/>
              <a:gd name="T41" fmla="*/ 53 h 295"/>
              <a:gd name="T42" fmla="*/ 47 w 186"/>
              <a:gd name="T43" fmla="*/ 54 h 295"/>
              <a:gd name="T44" fmla="*/ 49 w 186"/>
              <a:gd name="T45" fmla="*/ 48 h 295"/>
              <a:gd name="T46" fmla="*/ 73 w 186"/>
              <a:gd name="T47" fmla="*/ 35 h 295"/>
              <a:gd name="T48" fmla="*/ 85 w 186"/>
              <a:gd name="T49" fmla="*/ 16 h 295"/>
              <a:gd name="T50" fmla="*/ 84 w 186"/>
              <a:gd name="T51" fmla="*/ 1 h 295"/>
              <a:gd name="T52" fmla="*/ 92 w 186"/>
              <a:gd name="T53" fmla="*/ 8 h 295"/>
              <a:gd name="T54" fmla="*/ 111 w 186"/>
              <a:gd name="T55" fmla="*/ 29 h 295"/>
              <a:gd name="T56" fmla="*/ 132 w 186"/>
              <a:gd name="T57" fmla="*/ 37 h 295"/>
              <a:gd name="T58" fmla="*/ 157 w 186"/>
              <a:gd name="T59" fmla="*/ 42 h 295"/>
              <a:gd name="T60" fmla="*/ 161 w 186"/>
              <a:gd name="T61" fmla="*/ 68 h 295"/>
              <a:gd name="T62" fmla="*/ 144 w 186"/>
              <a:gd name="T63" fmla="*/ 71 h 295"/>
              <a:gd name="T64" fmla="*/ 121 w 186"/>
              <a:gd name="T65" fmla="*/ 82 h 295"/>
              <a:gd name="T66" fmla="*/ 114 w 186"/>
              <a:gd name="T67" fmla="*/ 106 h 295"/>
              <a:gd name="T68" fmla="*/ 113 w 186"/>
              <a:gd name="T69" fmla="*/ 131 h 295"/>
              <a:gd name="T70" fmla="*/ 119 w 186"/>
              <a:gd name="T71" fmla="*/ 150 h 295"/>
              <a:gd name="T72" fmla="*/ 132 w 186"/>
              <a:gd name="T73" fmla="*/ 158 h 295"/>
              <a:gd name="T74" fmla="*/ 153 w 186"/>
              <a:gd name="T75" fmla="*/ 154 h 295"/>
              <a:gd name="T76" fmla="*/ 156 w 186"/>
              <a:gd name="T77" fmla="*/ 178 h 295"/>
              <a:gd name="T78" fmla="*/ 177 w 186"/>
              <a:gd name="T79" fmla="*/ 188 h 295"/>
              <a:gd name="T80" fmla="*/ 182 w 186"/>
              <a:gd name="T81" fmla="*/ 205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86" h="295">
                <a:moveTo>
                  <a:pt x="182" y="224"/>
                </a:moveTo>
                <a:lnTo>
                  <a:pt x="180" y="233"/>
                </a:lnTo>
                <a:lnTo>
                  <a:pt x="180" y="247"/>
                </a:lnTo>
                <a:lnTo>
                  <a:pt x="181" y="260"/>
                </a:lnTo>
                <a:lnTo>
                  <a:pt x="186" y="262"/>
                </a:lnTo>
                <a:lnTo>
                  <a:pt x="180" y="275"/>
                </a:lnTo>
                <a:lnTo>
                  <a:pt x="180" y="282"/>
                </a:lnTo>
                <a:lnTo>
                  <a:pt x="176" y="288"/>
                </a:lnTo>
                <a:lnTo>
                  <a:pt x="171" y="295"/>
                </a:lnTo>
                <a:lnTo>
                  <a:pt x="168" y="295"/>
                </a:lnTo>
                <a:lnTo>
                  <a:pt x="158" y="288"/>
                </a:lnTo>
                <a:lnTo>
                  <a:pt x="152" y="280"/>
                </a:lnTo>
                <a:lnTo>
                  <a:pt x="140" y="272"/>
                </a:lnTo>
                <a:lnTo>
                  <a:pt x="128" y="266"/>
                </a:lnTo>
                <a:lnTo>
                  <a:pt x="116" y="259"/>
                </a:lnTo>
                <a:lnTo>
                  <a:pt x="104" y="252"/>
                </a:lnTo>
                <a:lnTo>
                  <a:pt x="91" y="240"/>
                </a:lnTo>
                <a:lnTo>
                  <a:pt x="79" y="228"/>
                </a:lnTo>
                <a:lnTo>
                  <a:pt x="80" y="220"/>
                </a:lnTo>
                <a:lnTo>
                  <a:pt x="71" y="202"/>
                </a:lnTo>
                <a:lnTo>
                  <a:pt x="61" y="184"/>
                </a:lnTo>
                <a:lnTo>
                  <a:pt x="54" y="173"/>
                </a:lnTo>
                <a:lnTo>
                  <a:pt x="48" y="162"/>
                </a:lnTo>
                <a:lnTo>
                  <a:pt x="42" y="150"/>
                </a:lnTo>
                <a:lnTo>
                  <a:pt x="36" y="138"/>
                </a:lnTo>
                <a:lnTo>
                  <a:pt x="30" y="126"/>
                </a:lnTo>
                <a:lnTo>
                  <a:pt x="24" y="114"/>
                </a:lnTo>
                <a:lnTo>
                  <a:pt x="13" y="107"/>
                </a:lnTo>
                <a:lnTo>
                  <a:pt x="3" y="98"/>
                </a:lnTo>
                <a:lnTo>
                  <a:pt x="5" y="95"/>
                </a:lnTo>
                <a:lnTo>
                  <a:pt x="0" y="73"/>
                </a:lnTo>
                <a:lnTo>
                  <a:pt x="6" y="64"/>
                </a:lnTo>
                <a:lnTo>
                  <a:pt x="13" y="54"/>
                </a:lnTo>
                <a:lnTo>
                  <a:pt x="14" y="64"/>
                </a:lnTo>
                <a:lnTo>
                  <a:pt x="11" y="71"/>
                </a:lnTo>
                <a:lnTo>
                  <a:pt x="15" y="68"/>
                </a:lnTo>
                <a:lnTo>
                  <a:pt x="31" y="80"/>
                </a:lnTo>
                <a:lnTo>
                  <a:pt x="36" y="74"/>
                </a:lnTo>
                <a:lnTo>
                  <a:pt x="37" y="67"/>
                </a:lnTo>
                <a:lnTo>
                  <a:pt x="41" y="62"/>
                </a:lnTo>
                <a:lnTo>
                  <a:pt x="43" y="53"/>
                </a:lnTo>
                <a:lnTo>
                  <a:pt x="44" y="53"/>
                </a:lnTo>
                <a:lnTo>
                  <a:pt x="44" y="55"/>
                </a:lnTo>
                <a:lnTo>
                  <a:pt x="47" y="54"/>
                </a:lnTo>
                <a:lnTo>
                  <a:pt x="45" y="52"/>
                </a:lnTo>
                <a:lnTo>
                  <a:pt x="49" y="48"/>
                </a:lnTo>
                <a:lnTo>
                  <a:pt x="57" y="44"/>
                </a:lnTo>
                <a:lnTo>
                  <a:pt x="73" y="35"/>
                </a:lnTo>
                <a:lnTo>
                  <a:pt x="81" y="16"/>
                </a:lnTo>
                <a:lnTo>
                  <a:pt x="85" y="16"/>
                </a:lnTo>
                <a:lnTo>
                  <a:pt x="79" y="2"/>
                </a:lnTo>
                <a:lnTo>
                  <a:pt x="84" y="1"/>
                </a:lnTo>
                <a:lnTo>
                  <a:pt x="85" y="0"/>
                </a:lnTo>
                <a:lnTo>
                  <a:pt x="92" y="8"/>
                </a:lnTo>
                <a:lnTo>
                  <a:pt x="101" y="17"/>
                </a:lnTo>
                <a:lnTo>
                  <a:pt x="111" y="29"/>
                </a:lnTo>
                <a:lnTo>
                  <a:pt x="114" y="36"/>
                </a:lnTo>
                <a:lnTo>
                  <a:pt x="132" y="37"/>
                </a:lnTo>
                <a:lnTo>
                  <a:pt x="143" y="37"/>
                </a:lnTo>
                <a:lnTo>
                  <a:pt x="157" y="42"/>
                </a:lnTo>
                <a:lnTo>
                  <a:pt x="151" y="61"/>
                </a:lnTo>
                <a:lnTo>
                  <a:pt x="161" y="68"/>
                </a:lnTo>
                <a:lnTo>
                  <a:pt x="156" y="67"/>
                </a:lnTo>
                <a:lnTo>
                  <a:pt x="144" y="71"/>
                </a:lnTo>
                <a:lnTo>
                  <a:pt x="132" y="76"/>
                </a:lnTo>
                <a:lnTo>
                  <a:pt x="121" y="82"/>
                </a:lnTo>
                <a:lnTo>
                  <a:pt x="117" y="94"/>
                </a:lnTo>
                <a:lnTo>
                  <a:pt x="114" y="106"/>
                </a:lnTo>
                <a:lnTo>
                  <a:pt x="107" y="119"/>
                </a:lnTo>
                <a:lnTo>
                  <a:pt x="113" y="131"/>
                </a:lnTo>
                <a:lnTo>
                  <a:pt x="119" y="143"/>
                </a:lnTo>
                <a:lnTo>
                  <a:pt x="119" y="150"/>
                </a:lnTo>
                <a:lnTo>
                  <a:pt x="125" y="151"/>
                </a:lnTo>
                <a:lnTo>
                  <a:pt x="132" y="158"/>
                </a:lnTo>
                <a:lnTo>
                  <a:pt x="144" y="161"/>
                </a:lnTo>
                <a:lnTo>
                  <a:pt x="153" y="154"/>
                </a:lnTo>
                <a:lnTo>
                  <a:pt x="155" y="166"/>
                </a:lnTo>
                <a:lnTo>
                  <a:pt x="156" y="178"/>
                </a:lnTo>
                <a:lnTo>
                  <a:pt x="170" y="176"/>
                </a:lnTo>
                <a:lnTo>
                  <a:pt x="177" y="188"/>
                </a:lnTo>
                <a:lnTo>
                  <a:pt x="185" y="202"/>
                </a:lnTo>
                <a:lnTo>
                  <a:pt x="182" y="205"/>
                </a:lnTo>
                <a:lnTo>
                  <a:pt x="182" y="22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1" name="Freeform 296">
            <a:extLst>
              <a:ext uri="{FF2B5EF4-FFF2-40B4-BE49-F238E27FC236}">
                <a16:creationId xmlns:a16="http://schemas.microsoft.com/office/drawing/2014/main" id="{F21FD892-41B8-434A-AFBF-37A4652882AA}"/>
              </a:ext>
            </a:extLst>
          </p:cNvPr>
          <p:cNvSpPr>
            <a:spLocks/>
          </p:cNvSpPr>
          <p:nvPr/>
        </p:nvSpPr>
        <p:spPr bwMode="gray">
          <a:xfrm>
            <a:off x="6268582" y="2190762"/>
            <a:ext cx="1381606" cy="1144932"/>
          </a:xfrm>
          <a:custGeom>
            <a:avLst/>
            <a:gdLst>
              <a:gd name="T0" fmla="*/ 283 w 724"/>
              <a:gd name="T1" fmla="*/ 402 h 527"/>
              <a:gd name="T2" fmla="*/ 225 w 724"/>
              <a:gd name="T3" fmla="*/ 403 h 527"/>
              <a:gd name="T4" fmla="*/ 179 w 724"/>
              <a:gd name="T5" fmla="*/ 381 h 527"/>
              <a:gd name="T6" fmla="*/ 137 w 724"/>
              <a:gd name="T7" fmla="*/ 367 h 527"/>
              <a:gd name="T8" fmla="*/ 103 w 724"/>
              <a:gd name="T9" fmla="*/ 330 h 527"/>
              <a:gd name="T10" fmla="*/ 93 w 724"/>
              <a:gd name="T11" fmla="*/ 300 h 527"/>
              <a:gd name="T12" fmla="*/ 77 w 724"/>
              <a:gd name="T13" fmla="*/ 284 h 527"/>
              <a:gd name="T14" fmla="*/ 23 w 724"/>
              <a:gd name="T15" fmla="*/ 258 h 527"/>
              <a:gd name="T16" fmla="*/ 7 w 724"/>
              <a:gd name="T17" fmla="*/ 234 h 527"/>
              <a:gd name="T18" fmla="*/ 29 w 724"/>
              <a:gd name="T19" fmla="*/ 204 h 527"/>
              <a:gd name="T20" fmla="*/ 67 w 724"/>
              <a:gd name="T21" fmla="*/ 167 h 527"/>
              <a:gd name="T22" fmla="*/ 51 w 724"/>
              <a:gd name="T23" fmla="*/ 133 h 527"/>
              <a:gd name="T24" fmla="*/ 76 w 724"/>
              <a:gd name="T25" fmla="*/ 96 h 527"/>
              <a:gd name="T26" fmla="*/ 113 w 724"/>
              <a:gd name="T27" fmla="*/ 66 h 527"/>
              <a:gd name="T28" fmla="*/ 157 w 724"/>
              <a:gd name="T29" fmla="*/ 86 h 527"/>
              <a:gd name="T30" fmla="*/ 216 w 724"/>
              <a:gd name="T31" fmla="*/ 131 h 527"/>
              <a:gd name="T32" fmla="*/ 294 w 724"/>
              <a:gd name="T33" fmla="*/ 168 h 527"/>
              <a:gd name="T34" fmla="*/ 369 w 724"/>
              <a:gd name="T35" fmla="*/ 177 h 527"/>
              <a:gd name="T36" fmla="*/ 430 w 724"/>
              <a:gd name="T37" fmla="*/ 173 h 527"/>
              <a:gd name="T38" fmla="*/ 459 w 724"/>
              <a:gd name="T39" fmla="*/ 128 h 527"/>
              <a:gd name="T40" fmla="*/ 519 w 724"/>
              <a:gd name="T41" fmla="*/ 105 h 527"/>
              <a:gd name="T42" fmla="*/ 498 w 724"/>
              <a:gd name="T43" fmla="*/ 86 h 527"/>
              <a:gd name="T44" fmla="*/ 474 w 724"/>
              <a:gd name="T45" fmla="*/ 55 h 527"/>
              <a:gd name="T46" fmla="*/ 487 w 724"/>
              <a:gd name="T47" fmla="*/ 12 h 527"/>
              <a:gd name="T48" fmla="*/ 555 w 724"/>
              <a:gd name="T49" fmla="*/ 9 h 527"/>
              <a:gd name="T50" fmla="*/ 621 w 724"/>
              <a:gd name="T51" fmla="*/ 59 h 527"/>
              <a:gd name="T52" fmla="*/ 711 w 724"/>
              <a:gd name="T53" fmla="*/ 79 h 527"/>
              <a:gd name="T54" fmla="*/ 705 w 724"/>
              <a:gd name="T55" fmla="*/ 135 h 527"/>
              <a:gd name="T56" fmla="*/ 706 w 724"/>
              <a:gd name="T57" fmla="*/ 163 h 527"/>
              <a:gd name="T58" fmla="*/ 682 w 724"/>
              <a:gd name="T59" fmla="*/ 183 h 527"/>
              <a:gd name="T60" fmla="*/ 646 w 724"/>
              <a:gd name="T61" fmla="*/ 218 h 527"/>
              <a:gd name="T62" fmla="*/ 627 w 724"/>
              <a:gd name="T63" fmla="*/ 200 h 527"/>
              <a:gd name="T64" fmla="*/ 588 w 724"/>
              <a:gd name="T65" fmla="*/ 225 h 527"/>
              <a:gd name="T66" fmla="*/ 622 w 724"/>
              <a:gd name="T67" fmla="*/ 253 h 527"/>
              <a:gd name="T68" fmla="*/ 651 w 724"/>
              <a:gd name="T69" fmla="*/ 260 h 527"/>
              <a:gd name="T70" fmla="*/ 651 w 724"/>
              <a:gd name="T71" fmla="*/ 306 h 527"/>
              <a:gd name="T72" fmla="*/ 664 w 724"/>
              <a:gd name="T73" fmla="*/ 338 h 527"/>
              <a:gd name="T74" fmla="*/ 681 w 724"/>
              <a:gd name="T75" fmla="*/ 368 h 527"/>
              <a:gd name="T76" fmla="*/ 697 w 724"/>
              <a:gd name="T77" fmla="*/ 381 h 527"/>
              <a:gd name="T78" fmla="*/ 697 w 724"/>
              <a:gd name="T79" fmla="*/ 397 h 527"/>
              <a:gd name="T80" fmla="*/ 683 w 724"/>
              <a:gd name="T81" fmla="*/ 426 h 527"/>
              <a:gd name="T82" fmla="*/ 683 w 724"/>
              <a:gd name="T83" fmla="*/ 437 h 527"/>
              <a:gd name="T84" fmla="*/ 675 w 724"/>
              <a:gd name="T85" fmla="*/ 452 h 527"/>
              <a:gd name="T86" fmla="*/ 661 w 724"/>
              <a:gd name="T87" fmla="*/ 469 h 527"/>
              <a:gd name="T88" fmla="*/ 637 w 724"/>
              <a:gd name="T89" fmla="*/ 486 h 527"/>
              <a:gd name="T90" fmla="*/ 621 w 724"/>
              <a:gd name="T91" fmla="*/ 492 h 527"/>
              <a:gd name="T92" fmla="*/ 606 w 724"/>
              <a:gd name="T93" fmla="*/ 493 h 527"/>
              <a:gd name="T94" fmla="*/ 593 w 724"/>
              <a:gd name="T95" fmla="*/ 503 h 527"/>
              <a:gd name="T96" fmla="*/ 569 w 724"/>
              <a:gd name="T97" fmla="*/ 518 h 527"/>
              <a:gd name="T98" fmla="*/ 552 w 724"/>
              <a:gd name="T99" fmla="*/ 506 h 527"/>
              <a:gd name="T100" fmla="*/ 521 w 724"/>
              <a:gd name="T101" fmla="*/ 500 h 527"/>
              <a:gd name="T102" fmla="*/ 481 w 724"/>
              <a:gd name="T103" fmla="*/ 488 h 527"/>
              <a:gd name="T104" fmla="*/ 462 w 724"/>
              <a:gd name="T105" fmla="*/ 492 h 527"/>
              <a:gd name="T106" fmla="*/ 442 w 724"/>
              <a:gd name="T107" fmla="*/ 509 h 527"/>
              <a:gd name="T108" fmla="*/ 412 w 724"/>
              <a:gd name="T109" fmla="*/ 495 h 527"/>
              <a:gd name="T110" fmla="*/ 385 w 724"/>
              <a:gd name="T111" fmla="*/ 467 h 527"/>
              <a:gd name="T112" fmla="*/ 389 w 724"/>
              <a:gd name="T113" fmla="*/ 422 h 527"/>
              <a:gd name="T114" fmla="*/ 352 w 724"/>
              <a:gd name="T115" fmla="*/ 393 h 527"/>
              <a:gd name="T116" fmla="*/ 335 w 724"/>
              <a:gd name="T117" fmla="*/ 385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24" h="527">
                <a:moveTo>
                  <a:pt x="323" y="384"/>
                </a:moveTo>
                <a:lnTo>
                  <a:pt x="313" y="392"/>
                </a:lnTo>
                <a:lnTo>
                  <a:pt x="304" y="402"/>
                </a:lnTo>
                <a:lnTo>
                  <a:pt x="291" y="407"/>
                </a:lnTo>
                <a:lnTo>
                  <a:pt x="283" y="402"/>
                </a:lnTo>
                <a:lnTo>
                  <a:pt x="264" y="399"/>
                </a:lnTo>
                <a:lnTo>
                  <a:pt x="255" y="414"/>
                </a:lnTo>
                <a:lnTo>
                  <a:pt x="247" y="401"/>
                </a:lnTo>
                <a:lnTo>
                  <a:pt x="243" y="404"/>
                </a:lnTo>
                <a:lnTo>
                  <a:pt x="225" y="403"/>
                </a:lnTo>
                <a:lnTo>
                  <a:pt x="213" y="402"/>
                </a:lnTo>
                <a:lnTo>
                  <a:pt x="198" y="396"/>
                </a:lnTo>
                <a:lnTo>
                  <a:pt x="197" y="392"/>
                </a:lnTo>
                <a:lnTo>
                  <a:pt x="184" y="386"/>
                </a:lnTo>
                <a:lnTo>
                  <a:pt x="179" y="381"/>
                </a:lnTo>
                <a:lnTo>
                  <a:pt x="174" y="384"/>
                </a:lnTo>
                <a:lnTo>
                  <a:pt x="156" y="369"/>
                </a:lnTo>
                <a:lnTo>
                  <a:pt x="144" y="363"/>
                </a:lnTo>
                <a:lnTo>
                  <a:pt x="138" y="368"/>
                </a:lnTo>
                <a:lnTo>
                  <a:pt x="137" y="367"/>
                </a:lnTo>
                <a:lnTo>
                  <a:pt x="124" y="359"/>
                </a:lnTo>
                <a:lnTo>
                  <a:pt x="107" y="349"/>
                </a:lnTo>
                <a:lnTo>
                  <a:pt x="101" y="347"/>
                </a:lnTo>
                <a:lnTo>
                  <a:pt x="95" y="329"/>
                </a:lnTo>
                <a:lnTo>
                  <a:pt x="103" y="330"/>
                </a:lnTo>
                <a:lnTo>
                  <a:pt x="106" y="324"/>
                </a:lnTo>
                <a:lnTo>
                  <a:pt x="96" y="312"/>
                </a:lnTo>
                <a:lnTo>
                  <a:pt x="96" y="306"/>
                </a:lnTo>
                <a:lnTo>
                  <a:pt x="95" y="302"/>
                </a:lnTo>
                <a:lnTo>
                  <a:pt x="93" y="300"/>
                </a:lnTo>
                <a:lnTo>
                  <a:pt x="90" y="296"/>
                </a:lnTo>
                <a:lnTo>
                  <a:pt x="90" y="291"/>
                </a:lnTo>
                <a:lnTo>
                  <a:pt x="88" y="288"/>
                </a:lnTo>
                <a:lnTo>
                  <a:pt x="83" y="287"/>
                </a:lnTo>
                <a:lnTo>
                  <a:pt x="77" y="284"/>
                </a:lnTo>
                <a:lnTo>
                  <a:pt x="73" y="282"/>
                </a:lnTo>
                <a:lnTo>
                  <a:pt x="54" y="277"/>
                </a:lnTo>
                <a:lnTo>
                  <a:pt x="45" y="272"/>
                </a:lnTo>
                <a:lnTo>
                  <a:pt x="39" y="261"/>
                </a:lnTo>
                <a:lnTo>
                  <a:pt x="23" y="258"/>
                </a:lnTo>
                <a:lnTo>
                  <a:pt x="22" y="254"/>
                </a:lnTo>
                <a:lnTo>
                  <a:pt x="27" y="254"/>
                </a:lnTo>
                <a:lnTo>
                  <a:pt x="28" y="253"/>
                </a:lnTo>
                <a:lnTo>
                  <a:pt x="19" y="235"/>
                </a:lnTo>
                <a:lnTo>
                  <a:pt x="7" y="234"/>
                </a:lnTo>
                <a:lnTo>
                  <a:pt x="0" y="221"/>
                </a:lnTo>
                <a:lnTo>
                  <a:pt x="5" y="209"/>
                </a:lnTo>
                <a:lnTo>
                  <a:pt x="15" y="203"/>
                </a:lnTo>
                <a:lnTo>
                  <a:pt x="21" y="203"/>
                </a:lnTo>
                <a:lnTo>
                  <a:pt x="29" y="204"/>
                </a:lnTo>
                <a:lnTo>
                  <a:pt x="37" y="194"/>
                </a:lnTo>
                <a:lnTo>
                  <a:pt x="51" y="191"/>
                </a:lnTo>
                <a:lnTo>
                  <a:pt x="61" y="182"/>
                </a:lnTo>
                <a:lnTo>
                  <a:pt x="71" y="174"/>
                </a:lnTo>
                <a:lnTo>
                  <a:pt x="67" y="167"/>
                </a:lnTo>
                <a:lnTo>
                  <a:pt x="71" y="163"/>
                </a:lnTo>
                <a:lnTo>
                  <a:pt x="71" y="161"/>
                </a:lnTo>
                <a:lnTo>
                  <a:pt x="65" y="149"/>
                </a:lnTo>
                <a:lnTo>
                  <a:pt x="59" y="137"/>
                </a:lnTo>
                <a:lnTo>
                  <a:pt x="51" y="133"/>
                </a:lnTo>
                <a:lnTo>
                  <a:pt x="66" y="127"/>
                </a:lnTo>
                <a:lnTo>
                  <a:pt x="83" y="128"/>
                </a:lnTo>
                <a:lnTo>
                  <a:pt x="78" y="122"/>
                </a:lnTo>
                <a:lnTo>
                  <a:pt x="77" y="109"/>
                </a:lnTo>
                <a:lnTo>
                  <a:pt x="76" y="96"/>
                </a:lnTo>
                <a:lnTo>
                  <a:pt x="96" y="99"/>
                </a:lnTo>
                <a:lnTo>
                  <a:pt x="107" y="98"/>
                </a:lnTo>
                <a:lnTo>
                  <a:pt x="101" y="81"/>
                </a:lnTo>
                <a:lnTo>
                  <a:pt x="107" y="77"/>
                </a:lnTo>
                <a:lnTo>
                  <a:pt x="113" y="66"/>
                </a:lnTo>
                <a:lnTo>
                  <a:pt x="123" y="65"/>
                </a:lnTo>
                <a:lnTo>
                  <a:pt x="124" y="67"/>
                </a:lnTo>
                <a:lnTo>
                  <a:pt x="129" y="73"/>
                </a:lnTo>
                <a:lnTo>
                  <a:pt x="148" y="84"/>
                </a:lnTo>
                <a:lnTo>
                  <a:pt x="157" y="86"/>
                </a:lnTo>
                <a:lnTo>
                  <a:pt x="177" y="99"/>
                </a:lnTo>
                <a:lnTo>
                  <a:pt x="180" y="113"/>
                </a:lnTo>
                <a:lnTo>
                  <a:pt x="185" y="126"/>
                </a:lnTo>
                <a:lnTo>
                  <a:pt x="201" y="128"/>
                </a:lnTo>
                <a:lnTo>
                  <a:pt x="216" y="131"/>
                </a:lnTo>
                <a:lnTo>
                  <a:pt x="234" y="137"/>
                </a:lnTo>
                <a:lnTo>
                  <a:pt x="252" y="141"/>
                </a:lnTo>
                <a:lnTo>
                  <a:pt x="264" y="155"/>
                </a:lnTo>
                <a:lnTo>
                  <a:pt x="276" y="167"/>
                </a:lnTo>
                <a:lnTo>
                  <a:pt x="294" y="168"/>
                </a:lnTo>
                <a:lnTo>
                  <a:pt x="312" y="169"/>
                </a:lnTo>
                <a:lnTo>
                  <a:pt x="330" y="169"/>
                </a:lnTo>
                <a:lnTo>
                  <a:pt x="348" y="170"/>
                </a:lnTo>
                <a:lnTo>
                  <a:pt x="353" y="175"/>
                </a:lnTo>
                <a:lnTo>
                  <a:pt x="369" y="177"/>
                </a:lnTo>
                <a:lnTo>
                  <a:pt x="385" y="181"/>
                </a:lnTo>
                <a:lnTo>
                  <a:pt x="395" y="186"/>
                </a:lnTo>
                <a:lnTo>
                  <a:pt x="405" y="180"/>
                </a:lnTo>
                <a:lnTo>
                  <a:pt x="414" y="174"/>
                </a:lnTo>
                <a:lnTo>
                  <a:pt x="430" y="173"/>
                </a:lnTo>
                <a:lnTo>
                  <a:pt x="445" y="171"/>
                </a:lnTo>
                <a:lnTo>
                  <a:pt x="457" y="162"/>
                </a:lnTo>
                <a:lnTo>
                  <a:pt x="468" y="151"/>
                </a:lnTo>
                <a:lnTo>
                  <a:pt x="460" y="144"/>
                </a:lnTo>
                <a:lnTo>
                  <a:pt x="459" y="128"/>
                </a:lnTo>
                <a:lnTo>
                  <a:pt x="477" y="134"/>
                </a:lnTo>
                <a:lnTo>
                  <a:pt x="489" y="127"/>
                </a:lnTo>
                <a:lnTo>
                  <a:pt x="502" y="123"/>
                </a:lnTo>
                <a:lnTo>
                  <a:pt x="504" y="113"/>
                </a:lnTo>
                <a:lnTo>
                  <a:pt x="519" y="105"/>
                </a:lnTo>
                <a:lnTo>
                  <a:pt x="541" y="105"/>
                </a:lnTo>
                <a:lnTo>
                  <a:pt x="538" y="97"/>
                </a:lnTo>
                <a:lnTo>
                  <a:pt x="509" y="83"/>
                </a:lnTo>
                <a:lnTo>
                  <a:pt x="503" y="89"/>
                </a:lnTo>
                <a:lnTo>
                  <a:pt x="498" y="86"/>
                </a:lnTo>
                <a:lnTo>
                  <a:pt x="485" y="86"/>
                </a:lnTo>
                <a:lnTo>
                  <a:pt x="474" y="80"/>
                </a:lnTo>
                <a:lnTo>
                  <a:pt x="478" y="79"/>
                </a:lnTo>
                <a:lnTo>
                  <a:pt x="475" y="67"/>
                </a:lnTo>
                <a:lnTo>
                  <a:pt x="474" y="55"/>
                </a:lnTo>
                <a:lnTo>
                  <a:pt x="492" y="59"/>
                </a:lnTo>
                <a:lnTo>
                  <a:pt x="502" y="48"/>
                </a:lnTo>
                <a:lnTo>
                  <a:pt x="497" y="37"/>
                </a:lnTo>
                <a:lnTo>
                  <a:pt x="497" y="18"/>
                </a:lnTo>
                <a:lnTo>
                  <a:pt x="487" y="12"/>
                </a:lnTo>
                <a:lnTo>
                  <a:pt x="481" y="9"/>
                </a:lnTo>
                <a:lnTo>
                  <a:pt x="491" y="1"/>
                </a:lnTo>
                <a:lnTo>
                  <a:pt x="507" y="0"/>
                </a:lnTo>
                <a:lnTo>
                  <a:pt x="522" y="0"/>
                </a:lnTo>
                <a:lnTo>
                  <a:pt x="555" y="9"/>
                </a:lnTo>
                <a:lnTo>
                  <a:pt x="568" y="20"/>
                </a:lnTo>
                <a:lnTo>
                  <a:pt x="581" y="31"/>
                </a:lnTo>
                <a:lnTo>
                  <a:pt x="593" y="42"/>
                </a:lnTo>
                <a:lnTo>
                  <a:pt x="606" y="53"/>
                </a:lnTo>
                <a:lnTo>
                  <a:pt x="621" y="59"/>
                </a:lnTo>
                <a:lnTo>
                  <a:pt x="643" y="65"/>
                </a:lnTo>
                <a:lnTo>
                  <a:pt x="657" y="71"/>
                </a:lnTo>
                <a:lnTo>
                  <a:pt x="672" y="87"/>
                </a:lnTo>
                <a:lnTo>
                  <a:pt x="691" y="85"/>
                </a:lnTo>
                <a:lnTo>
                  <a:pt x="711" y="79"/>
                </a:lnTo>
                <a:lnTo>
                  <a:pt x="719" y="92"/>
                </a:lnTo>
                <a:lnTo>
                  <a:pt x="721" y="111"/>
                </a:lnTo>
                <a:lnTo>
                  <a:pt x="724" y="129"/>
                </a:lnTo>
                <a:lnTo>
                  <a:pt x="707" y="127"/>
                </a:lnTo>
                <a:lnTo>
                  <a:pt x="705" y="135"/>
                </a:lnTo>
                <a:lnTo>
                  <a:pt x="713" y="150"/>
                </a:lnTo>
                <a:lnTo>
                  <a:pt x="723" y="163"/>
                </a:lnTo>
                <a:lnTo>
                  <a:pt x="717" y="167"/>
                </a:lnTo>
                <a:lnTo>
                  <a:pt x="720" y="171"/>
                </a:lnTo>
                <a:lnTo>
                  <a:pt x="706" y="163"/>
                </a:lnTo>
                <a:lnTo>
                  <a:pt x="705" y="171"/>
                </a:lnTo>
                <a:lnTo>
                  <a:pt x="696" y="179"/>
                </a:lnTo>
                <a:lnTo>
                  <a:pt x="693" y="180"/>
                </a:lnTo>
                <a:lnTo>
                  <a:pt x="697" y="188"/>
                </a:lnTo>
                <a:lnTo>
                  <a:pt x="682" y="183"/>
                </a:lnTo>
                <a:lnTo>
                  <a:pt x="676" y="186"/>
                </a:lnTo>
                <a:lnTo>
                  <a:pt x="669" y="200"/>
                </a:lnTo>
                <a:lnTo>
                  <a:pt x="660" y="209"/>
                </a:lnTo>
                <a:lnTo>
                  <a:pt x="654" y="212"/>
                </a:lnTo>
                <a:lnTo>
                  <a:pt x="646" y="218"/>
                </a:lnTo>
                <a:lnTo>
                  <a:pt x="637" y="224"/>
                </a:lnTo>
                <a:lnTo>
                  <a:pt x="627" y="228"/>
                </a:lnTo>
                <a:lnTo>
                  <a:pt x="633" y="219"/>
                </a:lnTo>
                <a:lnTo>
                  <a:pt x="624" y="216"/>
                </a:lnTo>
                <a:lnTo>
                  <a:pt x="627" y="200"/>
                </a:lnTo>
                <a:lnTo>
                  <a:pt x="619" y="197"/>
                </a:lnTo>
                <a:lnTo>
                  <a:pt x="611" y="198"/>
                </a:lnTo>
                <a:lnTo>
                  <a:pt x="605" y="209"/>
                </a:lnTo>
                <a:lnTo>
                  <a:pt x="598" y="218"/>
                </a:lnTo>
                <a:lnTo>
                  <a:pt x="588" y="225"/>
                </a:lnTo>
                <a:lnTo>
                  <a:pt x="581" y="225"/>
                </a:lnTo>
                <a:lnTo>
                  <a:pt x="586" y="236"/>
                </a:lnTo>
                <a:lnTo>
                  <a:pt x="605" y="241"/>
                </a:lnTo>
                <a:lnTo>
                  <a:pt x="611" y="254"/>
                </a:lnTo>
                <a:lnTo>
                  <a:pt x="622" y="253"/>
                </a:lnTo>
                <a:lnTo>
                  <a:pt x="633" y="245"/>
                </a:lnTo>
                <a:lnTo>
                  <a:pt x="649" y="252"/>
                </a:lnTo>
                <a:lnTo>
                  <a:pt x="658" y="253"/>
                </a:lnTo>
                <a:lnTo>
                  <a:pt x="658" y="261"/>
                </a:lnTo>
                <a:lnTo>
                  <a:pt x="651" y="260"/>
                </a:lnTo>
                <a:lnTo>
                  <a:pt x="641" y="265"/>
                </a:lnTo>
                <a:lnTo>
                  <a:pt x="636" y="272"/>
                </a:lnTo>
                <a:lnTo>
                  <a:pt x="634" y="278"/>
                </a:lnTo>
                <a:lnTo>
                  <a:pt x="631" y="294"/>
                </a:lnTo>
                <a:lnTo>
                  <a:pt x="651" y="306"/>
                </a:lnTo>
                <a:lnTo>
                  <a:pt x="660" y="318"/>
                </a:lnTo>
                <a:lnTo>
                  <a:pt x="670" y="330"/>
                </a:lnTo>
                <a:lnTo>
                  <a:pt x="684" y="343"/>
                </a:lnTo>
                <a:lnTo>
                  <a:pt x="663" y="337"/>
                </a:lnTo>
                <a:lnTo>
                  <a:pt x="664" y="338"/>
                </a:lnTo>
                <a:lnTo>
                  <a:pt x="677" y="347"/>
                </a:lnTo>
                <a:lnTo>
                  <a:pt x="689" y="355"/>
                </a:lnTo>
                <a:lnTo>
                  <a:pt x="677" y="365"/>
                </a:lnTo>
                <a:lnTo>
                  <a:pt x="672" y="367"/>
                </a:lnTo>
                <a:lnTo>
                  <a:pt x="681" y="368"/>
                </a:lnTo>
                <a:lnTo>
                  <a:pt x="689" y="367"/>
                </a:lnTo>
                <a:lnTo>
                  <a:pt x="699" y="373"/>
                </a:lnTo>
                <a:lnTo>
                  <a:pt x="694" y="379"/>
                </a:lnTo>
                <a:lnTo>
                  <a:pt x="699" y="379"/>
                </a:lnTo>
                <a:lnTo>
                  <a:pt x="697" y="381"/>
                </a:lnTo>
                <a:lnTo>
                  <a:pt x="694" y="385"/>
                </a:lnTo>
                <a:lnTo>
                  <a:pt x="695" y="387"/>
                </a:lnTo>
                <a:lnTo>
                  <a:pt x="696" y="391"/>
                </a:lnTo>
                <a:lnTo>
                  <a:pt x="694" y="391"/>
                </a:lnTo>
                <a:lnTo>
                  <a:pt x="697" y="397"/>
                </a:lnTo>
                <a:lnTo>
                  <a:pt x="694" y="398"/>
                </a:lnTo>
                <a:lnTo>
                  <a:pt x="687" y="402"/>
                </a:lnTo>
                <a:lnTo>
                  <a:pt x="690" y="407"/>
                </a:lnTo>
                <a:lnTo>
                  <a:pt x="687" y="415"/>
                </a:lnTo>
                <a:lnTo>
                  <a:pt x="683" y="426"/>
                </a:lnTo>
                <a:lnTo>
                  <a:pt x="681" y="427"/>
                </a:lnTo>
                <a:lnTo>
                  <a:pt x="683" y="431"/>
                </a:lnTo>
                <a:lnTo>
                  <a:pt x="677" y="434"/>
                </a:lnTo>
                <a:lnTo>
                  <a:pt x="676" y="433"/>
                </a:lnTo>
                <a:lnTo>
                  <a:pt x="683" y="437"/>
                </a:lnTo>
                <a:lnTo>
                  <a:pt x="683" y="444"/>
                </a:lnTo>
                <a:lnTo>
                  <a:pt x="679" y="444"/>
                </a:lnTo>
                <a:lnTo>
                  <a:pt x="679" y="447"/>
                </a:lnTo>
                <a:lnTo>
                  <a:pt x="676" y="450"/>
                </a:lnTo>
                <a:lnTo>
                  <a:pt x="675" y="452"/>
                </a:lnTo>
                <a:lnTo>
                  <a:pt x="673" y="458"/>
                </a:lnTo>
                <a:lnTo>
                  <a:pt x="666" y="459"/>
                </a:lnTo>
                <a:lnTo>
                  <a:pt x="665" y="461"/>
                </a:lnTo>
                <a:lnTo>
                  <a:pt x="666" y="464"/>
                </a:lnTo>
                <a:lnTo>
                  <a:pt x="661" y="469"/>
                </a:lnTo>
                <a:lnTo>
                  <a:pt x="651" y="477"/>
                </a:lnTo>
                <a:lnTo>
                  <a:pt x="651" y="480"/>
                </a:lnTo>
                <a:lnTo>
                  <a:pt x="646" y="483"/>
                </a:lnTo>
                <a:lnTo>
                  <a:pt x="639" y="485"/>
                </a:lnTo>
                <a:lnTo>
                  <a:pt x="637" y="486"/>
                </a:lnTo>
                <a:lnTo>
                  <a:pt x="635" y="487"/>
                </a:lnTo>
                <a:lnTo>
                  <a:pt x="629" y="488"/>
                </a:lnTo>
                <a:lnTo>
                  <a:pt x="625" y="487"/>
                </a:lnTo>
                <a:lnTo>
                  <a:pt x="623" y="491"/>
                </a:lnTo>
                <a:lnTo>
                  <a:pt x="621" y="492"/>
                </a:lnTo>
                <a:lnTo>
                  <a:pt x="617" y="492"/>
                </a:lnTo>
                <a:lnTo>
                  <a:pt x="610" y="481"/>
                </a:lnTo>
                <a:lnTo>
                  <a:pt x="606" y="485"/>
                </a:lnTo>
                <a:lnTo>
                  <a:pt x="610" y="497"/>
                </a:lnTo>
                <a:lnTo>
                  <a:pt x="606" y="493"/>
                </a:lnTo>
                <a:lnTo>
                  <a:pt x="606" y="498"/>
                </a:lnTo>
                <a:lnTo>
                  <a:pt x="604" y="498"/>
                </a:lnTo>
                <a:lnTo>
                  <a:pt x="599" y="503"/>
                </a:lnTo>
                <a:lnTo>
                  <a:pt x="595" y="499"/>
                </a:lnTo>
                <a:lnTo>
                  <a:pt x="593" y="503"/>
                </a:lnTo>
                <a:lnTo>
                  <a:pt x="589" y="503"/>
                </a:lnTo>
                <a:lnTo>
                  <a:pt x="581" y="507"/>
                </a:lnTo>
                <a:lnTo>
                  <a:pt x="573" y="510"/>
                </a:lnTo>
                <a:lnTo>
                  <a:pt x="570" y="510"/>
                </a:lnTo>
                <a:lnTo>
                  <a:pt x="569" y="518"/>
                </a:lnTo>
                <a:lnTo>
                  <a:pt x="573" y="527"/>
                </a:lnTo>
                <a:lnTo>
                  <a:pt x="565" y="525"/>
                </a:lnTo>
                <a:lnTo>
                  <a:pt x="562" y="510"/>
                </a:lnTo>
                <a:lnTo>
                  <a:pt x="557" y="506"/>
                </a:lnTo>
                <a:lnTo>
                  <a:pt x="552" y="506"/>
                </a:lnTo>
                <a:lnTo>
                  <a:pt x="547" y="505"/>
                </a:lnTo>
                <a:lnTo>
                  <a:pt x="541" y="503"/>
                </a:lnTo>
                <a:lnTo>
                  <a:pt x="540" y="504"/>
                </a:lnTo>
                <a:lnTo>
                  <a:pt x="535" y="506"/>
                </a:lnTo>
                <a:lnTo>
                  <a:pt x="521" y="500"/>
                </a:lnTo>
                <a:lnTo>
                  <a:pt x="515" y="495"/>
                </a:lnTo>
                <a:lnTo>
                  <a:pt x="514" y="486"/>
                </a:lnTo>
                <a:lnTo>
                  <a:pt x="496" y="480"/>
                </a:lnTo>
                <a:lnTo>
                  <a:pt x="490" y="479"/>
                </a:lnTo>
                <a:lnTo>
                  <a:pt x="481" y="488"/>
                </a:lnTo>
                <a:lnTo>
                  <a:pt x="478" y="488"/>
                </a:lnTo>
                <a:lnTo>
                  <a:pt x="474" y="489"/>
                </a:lnTo>
                <a:lnTo>
                  <a:pt x="471" y="488"/>
                </a:lnTo>
                <a:lnTo>
                  <a:pt x="466" y="489"/>
                </a:lnTo>
                <a:lnTo>
                  <a:pt x="462" y="492"/>
                </a:lnTo>
                <a:lnTo>
                  <a:pt x="455" y="489"/>
                </a:lnTo>
                <a:lnTo>
                  <a:pt x="451" y="493"/>
                </a:lnTo>
                <a:lnTo>
                  <a:pt x="445" y="493"/>
                </a:lnTo>
                <a:lnTo>
                  <a:pt x="449" y="512"/>
                </a:lnTo>
                <a:lnTo>
                  <a:pt x="442" y="509"/>
                </a:lnTo>
                <a:lnTo>
                  <a:pt x="441" y="506"/>
                </a:lnTo>
                <a:lnTo>
                  <a:pt x="436" y="504"/>
                </a:lnTo>
                <a:lnTo>
                  <a:pt x="426" y="507"/>
                </a:lnTo>
                <a:lnTo>
                  <a:pt x="419" y="498"/>
                </a:lnTo>
                <a:lnTo>
                  <a:pt x="412" y="495"/>
                </a:lnTo>
                <a:lnTo>
                  <a:pt x="413" y="482"/>
                </a:lnTo>
                <a:lnTo>
                  <a:pt x="405" y="477"/>
                </a:lnTo>
                <a:lnTo>
                  <a:pt x="401" y="467"/>
                </a:lnTo>
                <a:lnTo>
                  <a:pt x="400" y="465"/>
                </a:lnTo>
                <a:lnTo>
                  <a:pt x="385" y="467"/>
                </a:lnTo>
                <a:lnTo>
                  <a:pt x="384" y="459"/>
                </a:lnTo>
                <a:lnTo>
                  <a:pt x="384" y="453"/>
                </a:lnTo>
                <a:lnTo>
                  <a:pt x="390" y="443"/>
                </a:lnTo>
                <a:lnTo>
                  <a:pt x="393" y="434"/>
                </a:lnTo>
                <a:lnTo>
                  <a:pt x="389" y="422"/>
                </a:lnTo>
                <a:lnTo>
                  <a:pt x="387" y="409"/>
                </a:lnTo>
                <a:lnTo>
                  <a:pt x="381" y="405"/>
                </a:lnTo>
                <a:lnTo>
                  <a:pt x="369" y="393"/>
                </a:lnTo>
                <a:lnTo>
                  <a:pt x="367" y="399"/>
                </a:lnTo>
                <a:lnTo>
                  <a:pt x="352" y="393"/>
                </a:lnTo>
                <a:lnTo>
                  <a:pt x="353" y="387"/>
                </a:lnTo>
                <a:lnTo>
                  <a:pt x="347" y="385"/>
                </a:lnTo>
                <a:lnTo>
                  <a:pt x="348" y="383"/>
                </a:lnTo>
                <a:lnTo>
                  <a:pt x="342" y="380"/>
                </a:lnTo>
                <a:lnTo>
                  <a:pt x="335" y="385"/>
                </a:lnTo>
                <a:lnTo>
                  <a:pt x="323" y="384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2" name="Freeform 297">
            <a:extLst>
              <a:ext uri="{FF2B5EF4-FFF2-40B4-BE49-F238E27FC236}">
                <a16:creationId xmlns:a16="http://schemas.microsoft.com/office/drawing/2014/main" id="{F84822F1-C657-4366-B88A-BA0F432C1A1A}"/>
              </a:ext>
            </a:extLst>
          </p:cNvPr>
          <p:cNvSpPr>
            <a:spLocks/>
          </p:cNvSpPr>
          <p:nvPr/>
        </p:nvSpPr>
        <p:spPr bwMode="gray">
          <a:xfrm>
            <a:off x="7325005" y="3343484"/>
            <a:ext cx="56778" cy="62308"/>
          </a:xfrm>
          <a:custGeom>
            <a:avLst/>
            <a:gdLst>
              <a:gd name="T0" fmla="*/ 24 w 31"/>
              <a:gd name="T1" fmla="*/ 0 h 28"/>
              <a:gd name="T2" fmla="*/ 10 w 31"/>
              <a:gd name="T3" fmla="*/ 3 h 28"/>
              <a:gd name="T4" fmla="*/ 0 w 31"/>
              <a:gd name="T5" fmla="*/ 10 h 28"/>
              <a:gd name="T6" fmla="*/ 1 w 31"/>
              <a:gd name="T7" fmla="*/ 22 h 28"/>
              <a:gd name="T8" fmla="*/ 12 w 31"/>
              <a:gd name="T9" fmla="*/ 28 h 28"/>
              <a:gd name="T10" fmla="*/ 17 w 31"/>
              <a:gd name="T11" fmla="*/ 27 h 28"/>
              <a:gd name="T12" fmla="*/ 25 w 31"/>
              <a:gd name="T13" fmla="*/ 17 h 28"/>
              <a:gd name="T14" fmla="*/ 31 w 31"/>
              <a:gd name="T15" fmla="*/ 6 h 28"/>
              <a:gd name="T16" fmla="*/ 29 w 31"/>
              <a:gd name="T17" fmla="*/ 0 h 28"/>
              <a:gd name="T18" fmla="*/ 24 w 31"/>
              <a:gd name="T19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1" h="28">
                <a:moveTo>
                  <a:pt x="24" y="0"/>
                </a:moveTo>
                <a:lnTo>
                  <a:pt x="10" y="3"/>
                </a:lnTo>
                <a:lnTo>
                  <a:pt x="0" y="10"/>
                </a:lnTo>
                <a:lnTo>
                  <a:pt x="1" y="22"/>
                </a:lnTo>
                <a:lnTo>
                  <a:pt x="12" y="28"/>
                </a:lnTo>
                <a:lnTo>
                  <a:pt x="17" y="27"/>
                </a:lnTo>
                <a:lnTo>
                  <a:pt x="25" y="17"/>
                </a:lnTo>
                <a:lnTo>
                  <a:pt x="31" y="6"/>
                </a:lnTo>
                <a:lnTo>
                  <a:pt x="29" y="0"/>
                </a:lnTo>
                <a:lnTo>
                  <a:pt x="24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3" name="Freeform 298">
            <a:extLst>
              <a:ext uri="{FF2B5EF4-FFF2-40B4-BE49-F238E27FC236}">
                <a16:creationId xmlns:a16="http://schemas.microsoft.com/office/drawing/2014/main" id="{6D98CB5E-CEB9-48E1-A185-F35B0AA2917A}"/>
              </a:ext>
            </a:extLst>
          </p:cNvPr>
          <p:cNvSpPr>
            <a:spLocks/>
          </p:cNvSpPr>
          <p:nvPr/>
        </p:nvSpPr>
        <p:spPr bwMode="gray">
          <a:xfrm>
            <a:off x="7780951" y="2599667"/>
            <a:ext cx="232273" cy="276496"/>
          </a:xfrm>
          <a:custGeom>
            <a:avLst/>
            <a:gdLst>
              <a:gd name="T0" fmla="*/ 113 w 121"/>
              <a:gd name="T1" fmla="*/ 96 h 128"/>
              <a:gd name="T2" fmla="*/ 109 w 121"/>
              <a:gd name="T3" fmla="*/ 92 h 128"/>
              <a:gd name="T4" fmla="*/ 110 w 121"/>
              <a:gd name="T5" fmla="*/ 100 h 128"/>
              <a:gd name="T6" fmla="*/ 104 w 121"/>
              <a:gd name="T7" fmla="*/ 102 h 128"/>
              <a:gd name="T8" fmla="*/ 103 w 121"/>
              <a:gd name="T9" fmla="*/ 108 h 128"/>
              <a:gd name="T10" fmla="*/ 100 w 121"/>
              <a:gd name="T11" fmla="*/ 101 h 128"/>
              <a:gd name="T12" fmla="*/ 96 w 121"/>
              <a:gd name="T13" fmla="*/ 109 h 128"/>
              <a:gd name="T14" fmla="*/ 82 w 121"/>
              <a:gd name="T15" fmla="*/ 109 h 128"/>
              <a:gd name="T16" fmla="*/ 77 w 121"/>
              <a:gd name="T17" fmla="*/ 107 h 128"/>
              <a:gd name="T18" fmla="*/ 73 w 121"/>
              <a:gd name="T19" fmla="*/ 103 h 128"/>
              <a:gd name="T20" fmla="*/ 76 w 121"/>
              <a:gd name="T21" fmla="*/ 110 h 128"/>
              <a:gd name="T22" fmla="*/ 78 w 121"/>
              <a:gd name="T23" fmla="*/ 114 h 128"/>
              <a:gd name="T24" fmla="*/ 72 w 121"/>
              <a:gd name="T25" fmla="*/ 121 h 128"/>
              <a:gd name="T26" fmla="*/ 71 w 121"/>
              <a:gd name="T27" fmla="*/ 128 h 128"/>
              <a:gd name="T28" fmla="*/ 58 w 121"/>
              <a:gd name="T29" fmla="*/ 118 h 128"/>
              <a:gd name="T30" fmla="*/ 56 w 121"/>
              <a:gd name="T31" fmla="*/ 108 h 128"/>
              <a:gd name="T32" fmla="*/ 40 w 121"/>
              <a:gd name="T33" fmla="*/ 109 h 128"/>
              <a:gd name="T34" fmla="*/ 22 w 121"/>
              <a:gd name="T35" fmla="*/ 114 h 128"/>
              <a:gd name="T36" fmla="*/ 17 w 121"/>
              <a:gd name="T37" fmla="*/ 120 h 128"/>
              <a:gd name="T38" fmla="*/ 0 w 121"/>
              <a:gd name="T39" fmla="*/ 118 h 128"/>
              <a:gd name="T40" fmla="*/ 4 w 121"/>
              <a:gd name="T41" fmla="*/ 112 h 128"/>
              <a:gd name="T42" fmla="*/ 12 w 121"/>
              <a:gd name="T43" fmla="*/ 103 h 128"/>
              <a:gd name="T44" fmla="*/ 20 w 121"/>
              <a:gd name="T45" fmla="*/ 94 h 128"/>
              <a:gd name="T46" fmla="*/ 35 w 121"/>
              <a:gd name="T47" fmla="*/ 94 h 128"/>
              <a:gd name="T48" fmla="*/ 48 w 121"/>
              <a:gd name="T49" fmla="*/ 92 h 128"/>
              <a:gd name="T50" fmla="*/ 50 w 121"/>
              <a:gd name="T51" fmla="*/ 94 h 128"/>
              <a:gd name="T52" fmla="*/ 59 w 121"/>
              <a:gd name="T53" fmla="*/ 90 h 128"/>
              <a:gd name="T54" fmla="*/ 56 w 121"/>
              <a:gd name="T55" fmla="*/ 82 h 128"/>
              <a:gd name="T56" fmla="*/ 55 w 121"/>
              <a:gd name="T57" fmla="*/ 68 h 128"/>
              <a:gd name="T58" fmla="*/ 61 w 121"/>
              <a:gd name="T59" fmla="*/ 65 h 128"/>
              <a:gd name="T60" fmla="*/ 60 w 121"/>
              <a:gd name="T61" fmla="*/ 70 h 128"/>
              <a:gd name="T62" fmla="*/ 65 w 121"/>
              <a:gd name="T63" fmla="*/ 74 h 128"/>
              <a:gd name="T64" fmla="*/ 72 w 121"/>
              <a:gd name="T65" fmla="*/ 68 h 128"/>
              <a:gd name="T66" fmla="*/ 78 w 121"/>
              <a:gd name="T67" fmla="*/ 61 h 128"/>
              <a:gd name="T68" fmla="*/ 80 w 121"/>
              <a:gd name="T69" fmla="*/ 49 h 128"/>
              <a:gd name="T70" fmla="*/ 82 w 121"/>
              <a:gd name="T71" fmla="*/ 38 h 128"/>
              <a:gd name="T72" fmla="*/ 74 w 121"/>
              <a:gd name="T73" fmla="*/ 25 h 128"/>
              <a:gd name="T74" fmla="*/ 68 w 121"/>
              <a:gd name="T75" fmla="*/ 11 h 128"/>
              <a:gd name="T76" fmla="*/ 70 w 121"/>
              <a:gd name="T77" fmla="*/ 4 h 128"/>
              <a:gd name="T78" fmla="*/ 77 w 121"/>
              <a:gd name="T79" fmla="*/ 8 h 128"/>
              <a:gd name="T80" fmla="*/ 80 w 121"/>
              <a:gd name="T81" fmla="*/ 6 h 128"/>
              <a:gd name="T82" fmla="*/ 78 w 121"/>
              <a:gd name="T83" fmla="*/ 4 h 128"/>
              <a:gd name="T84" fmla="*/ 73 w 121"/>
              <a:gd name="T85" fmla="*/ 4 h 128"/>
              <a:gd name="T86" fmla="*/ 74 w 121"/>
              <a:gd name="T87" fmla="*/ 0 h 128"/>
              <a:gd name="T88" fmla="*/ 80 w 121"/>
              <a:gd name="T89" fmla="*/ 2 h 128"/>
              <a:gd name="T90" fmla="*/ 92 w 121"/>
              <a:gd name="T91" fmla="*/ 16 h 128"/>
              <a:gd name="T92" fmla="*/ 106 w 121"/>
              <a:gd name="T93" fmla="*/ 30 h 128"/>
              <a:gd name="T94" fmla="*/ 107 w 121"/>
              <a:gd name="T95" fmla="*/ 49 h 128"/>
              <a:gd name="T96" fmla="*/ 103 w 121"/>
              <a:gd name="T97" fmla="*/ 54 h 128"/>
              <a:gd name="T98" fmla="*/ 112 w 121"/>
              <a:gd name="T99" fmla="*/ 74 h 128"/>
              <a:gd name="T100" fmla="*/ 121 w 121"/>
              <a:gd name="T101" fmla="*/ 90 h 128"/>
              <a:gd name="T102" fmla="*/ 115 w 121"/>
              <a:gd name="T103" fmla="*/ 104 h 128"/>
              <a:gd name="T104" fmla="*/ 113 w 121"/>
              <a:gd name="T105" fmla="*/ 96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21" h="128">
                <a:moveTo>
                  <a:pt x="113" y="96"/>
                </a:moveTo>
                <a:lnTo>
                  <a:pt x="109" y="92"/>
                </a:lnTo>
                <a:lnTo>
                  <a:pt x="110" y="100"/>
                </a:lnTo>
                <a:lnTo>
                  <a:pt x="104" y="102"/>
                </a:lnTo>
                <a:lnTo>
                  <a:pt x="103" y="108"/>
                </a:lnTo>
                <a:lnTo>
                  <a:pt x="100" y="101"/>
                </a:lnTo>
                <a:lnTo>
                  <a:pt x="96" y="109"/>
                </a:lnTo>
                <a:lnTo>
                  <a:pt x="82" y="109"/>
                </a:lnTo>
                <a:lnTo>
                  <a:pt x="77" y="107"/>
                </a:lnTo>
                <a:lnTo>
                  <a:pt x="73" y="103"/>
                </a:lnTo>
                <a:lnTo>
                  <a:pt x="76" y="110"/>
                </a:lnTo>
                <a:lnTo>
                  <a:pt x="78" y="114"/>
                </a:lnTo>
                <a:lnTo>
                  <a:pt x="72" y="121"/>
                </a:lnTo>
                <a:lnTo>
                  <a:pt x="71" y="128"/>
                </a:lnTo>
                <a:lnTo>
                  <a:pt x="58" y="118"/>
                </a:lnTo>
                <a:lnTo>
                  <a:pt x="56" y="108"/>
                </a:lnTo>
                <a:lnTo>
                  <a:pt x="40" y="109"/>
                </a:lnTo>
                <a:lnTo>
                  <a:pt x="22" y="114"/>
                </a:lnTo>
                <a:lnTo>
                  <a:pt x="17" y="120"/>
                </a:lnTo>
                <a:lnTo>
                  <a:pt x="0" y="118"/>
                </a:lnTo>
                <a:lnTo>
                  <a:pt x="4" y="112"/>
                </a:lnTo>
                <a:lnTo>
                  <a:pt x="12" y="103"/>
                </a:lnTo>
                <a:lnTo>
                  <a:pt x="20" y="94"/>
                </a:lnTo>
                <a:lnTo>
                  <a:pt x="35" y="94"/>
                </a:lnTo>
                <a:lnTo>
                  <a:pt x="48" y="92"/>
                </a:lnTo>
                <a:lnTo>
                  <a:pt x="50" y="94"/>
                </a:lnTo>
                <a:lnTo>
                  <a:pt x="59" y="90"/>
                </a:lnTo>
                <a:lnTo>
                  <a:pt x="56" y="82"/>
                </a:lnTo>
                <a:lnTo>
                  <a:pt x="55" y="68"/>
                </a:lnTo>
                <a:lnTo>
                  <a:pt x="61" y="65"/>
                </a:lnTo>
                <a:lnTo>
                  <a:pt x="60" y="70"/>
                </a:lnTo>
                <a:lnTo>
                  <a:pt x="65" y="74"/>
                </a:lnTo>
                <a:lnTo>
                  <a:pt x="72" y="68"/>
                </a:lnTo>
                <a:lnTo>
                  <a:pt x="78" y="61"/>
                </a:lnTo>
                <a:lnTo>
                  <a:pt x="80" y="49"/>
                </a:lnTo>
                <a:lnTo>
                  <a:pt x="82" y="38"/>
                </a:lnTo>
                <a:lnTo>
                  <a:pt x="74" y="25"/>
                </a:lnTo>
                <a:lnTo>
                  <a:pt x="68" y="11"/>
                </a:lnTo>
                <a:lnTo>
                  <a:pt x="70" y="4"/>
                </a:lnTo>
                <a:lnTo>
                  <a:pt x="77" y="8"/>
                </a:lnTo>
                <a:lnTo>
                  <a:pt x="80" y="6"/>
                </a:lnTo>
                <a:lnTo>
                  <a:pt x="78" y="4"/>
                </a:lnTo>
                <a:lnTo>
                  <a:pt x="73" y="4"/>
                </a:lnTo>
                <a:lnTo>
                  <a:pt x="74" y="0"/>
                </a:lnTo>
                <a:lnTo>
                  <a:pt x="80" y="2"/>
                </a:lnTo>
                <a:lnTo>
                  <a:pt x="92" y="16"/>
                </a:lnTo>
                <a:lnTo>
                  <a:pt x="106" y="30"/>
                </a:lnTo>
                <a:lnTo>
                  <a:pt x="107" y="49"/>
                </a:lnTo>
                <a:lnTo>
                  <a:pt x="103" y="54"/>
                </a:lnTo>
                <a:lnTo>
                  <a:pt x="112" y="74"/>
                </a:lnTo>
                <a:lnTo>
                  <a:pt x="121" y="90"/>
                </a:lnTo>
                <a:lnTo>
                  <a:pt x="115" y="104"/>
                </a:lnTo>
                <a:lnTo>
                  <a:pt x="113" y="96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4" name="Freeform 299">
            <a:extLst>
              <a:ext uri="{FF2B5EF4-FFF2-40B4-BE49-F238E27FC236}">
                <a16:creationId xmlns:a16="http://schemas.microsoft.com/office/drawing/2014/main" id="{03F81533-7B3A-406F-A366-92272C58C015}"/>
              </a:ext>
            </a:extLst>
          </p:cNvPr>
          <p:cNvSpPr>
            <a:spLocks/>
          </p:cNvSpPr>
          <p:nvPr/>
        </p:nvSpPr>
        <p:spPr bwMode="gray">
          <a:xfrm>
            <a:off x="7865259" y="2459472"/>
            <a:ext cx="129041" cy="140196"/>
          </a:xfrm>
          <a:custGeom>
            <a:avLst/>
            <a:gdLst>
              <a:gd name="T0" fmla="*/ 54 w 70"/>
              <a:gd name="T1" fmla="*/ 25 h 65"/>
              <a:gd name="T2" fmla="*/ 42 w 70"/>
              <a:gd name="T3" fmla="*/ 22 h 65"/>
              <a:gd name="T4" fmla="*/ 21 w 70"/>
              <a:gd name="T5" fmla="*/ 11 h 65"/>
              <a:gd name="T6" fmla="*/ 0 w 70"/>
              <a:gd name="T7" fmla="*/ 0 h 65"/>
              <a:gd name="T8" fmla="*/ 4 w 70"/>
              <a:gd name="T9" fmla="*/ 9 h 65"/>
              <a:gd name="T10" fmla="*/ 10 w 70"/>
              <a:gd name="T11" fmla="*/ 22 h 65"/>
              <a:gd name="T12" fmla="*/ 17 w 70"/>
              <a:gd name="T13" fmla="*/ 36 h 65"/>
              <a:gd name="T14" fmla="*/ 7 w 70"/>
              <a:gd name="T15" fmla="*/ 36 h 65"/>
              <a:gd name="T16" fmla="*/ 5 w 70"/>
              <a:gd name="T17" fmla="*/ 37 h 65"/>
              <a:gd name="T18" fmla="*/ 6 w 70"/>
              <a:gd name="T19" fmla="*/ 45 h 65"/>
              <a:gd name="T20" fmla="*/ 9 w 70"/>
              <a:gd name="T21" fmla="*/ 53 h 65"/>
              <a:gd name="T22" fmla="*/ 18 w 70"/>
              <a:gd name="T23" fmla="*/ 65 h 65"/>
              <a:gd name="T24" fmla="*/ 21 w 70"/>
              <a:gd name="T25" fmla="*/ 61 h 65"/>
              <a:gd name="T26" fmla="*/ 28 w 70"/>
              <a:gd name="T27" fmla="*/ 60 h 65"/>
              <a:gd name="T28" fmla="*/ 12 w 70"/>
              <a:gd name="T29" fmla="*/ 49 h 65"/>
              <a:gd name="T30" fmla="*/ 19 w 70"/>
              <a:gd name="T31" fmla="*/ 49 h 65"/>
              <a:gd name="T32" fmla="*/ 24 w 70"/>
              <a:gd name="T33" fmla="*/ 47 h 65"/>
              <a:gd name="T34" fmla="*/ 52 w 70"/>
              <a:gd name="T35" fmla="*/ 55 h 65"/>
              <a:gd name="T36" fmla="*/ 52 w 70"/>
              <a:gd name="T37" fmla="*/ 52 h 65"/>
              <a:gd name="T38" fmla="*/ 59 w 70"/>
              <a:gd name="T39" fmla="*/ 41 h 65"/>
              <a:gd name="T40" fmla="*/ 70 w 70"/>
              <a:gd name="T41" fmla="*/ 36 h 65"/>
              <a:gd name="T42" fmla="*/ 63 w 70"/>
              <a:gd name="T43" fmla="*/ 31 h 65"/>
              <a:gd name="T44" fmla="*/ 58 w 70"/>
              <a:gd name="T45" fmla="*/ 19 h 65"/>
              <a:gd name="T46" fmla="*/ 54 w 70"/>
              <a:gd name="T4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70" h="65">
                <a:moveTo>
                  <a:pt x="54" y="25"/>
                </a:moveTo>
                <a:lnTo>
                  <a:pt x="42" y="22"/>
                </a:lnTo>
                <a:lnTo>
                  <a:pt x="21" y="11"/>
                </a:lnTo>
                <a:lnTo>
                  <a:pt x="0" y="0"/>
                </a:lnTo>
                <a:lnTo>
                  <a:pt x="4" y="9"/>
                </a:lnTo>
                <a:lnTo>
                  <a:pt x="10" y="22"/>
                </a:lnTo>
                <a:lnTo>
                  <a:pt x="17" y="36"/>
                </a:lnTo>
                <a:lnTo>
                  <a:pt x="7" y="36"/>
                </a:lnTo>
                <a:lnTo>
                  <a:pt x="5" y="37"/>
                </a:lnTo>
                <a:lnTo>
                  <a:pt x="6" y="45"/>
                </a:lnTo>
                <a:lnTo>
                  <a:pt x="9" y="53"/>
                </a:lnTo>
                <a:lnTo>
                  <a:pt x="18" y="65"/>
                </a:lnTo>
                <a:lnTo>
                  <a:pt x="21" y="61"/>
                </a:lnTo>
                <a:lnTo>
                  <a:pt x="28" y="60"/>
                </a:lnTo>
                <a:lnTo>
                  <a:pt x="12" y="49"/>
                </a:lnTo>
                <a:lnTo>
                  <a:pt x="19" y="49"/>
                </a:lnTo>
                <a:lnTo>
                  <a:pt x="24" y="47"/>
                </a:lnTo>
                <a:lnTo>
                  <a:pt x="52" y="55"/>
                </a:lnTo>
                <a:lnTo>
                  <a:pt x="52" y="52"/>
                </a:lnTo>
                <a:lnTo>
                  <a:pt x="59" y="41"/>
                </a:lnTo>
                <a:lnTo>
                  <a:pt x="70" y="36"/>
                </a:lnTo>
                <a:lnTo>
                  <a:pt x="63" y="31"/>
                </a:lnTo>
                <a:lnTo>
                  <a:pt x="58" y="19"/>
                </a:lnTo>
                <a:lnTo>
                  <a:pt x="54" y="25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5" name="Freeform 300">
            <a:extLst>
              <a:ext uri="{FF2B5EF4-FFF2-40B4-BE49-F238E27FC236}">
                <a16:creationId xmlns:a16="http://schemas.microsoft.com/office/drawing/2014/main" id="{19553BE0-B5FB-4695-A8B8-289A9550F94A}"/>
              </a:ext>
            </a:extLst>
          </p:cNvPr>
          <p:cNvSpPr>
            <a:spLocks/>
          </p:cNvSpPr>
          <p:nvPr/>
        </p:nvSpPr>
        <p:spPr bwMode="gray">
          <a:xfrm>
            <a:off x="7762025" y="2862534"/>
            <a:ext cx="63661" cy="95410"/>
          </a:xfrm>
          <a:custGeom>
            <a:avLst/>
            <a:gdLst>
              <a:gd name="T0" fmla="*/ 35 w 35"/>
              <a:gd name="T1" fmla="*/ 16 h 45"/>
              <a:gd name="T2" fmla="*/ 34 w 35"/>
              <a:gd name="T3" fmla="*/ 27 h 45"/>
              <a:gd name="T4" fmla="*/ 33 w 35"/>
              <a:gd name="T5" fmla="*/ 39 h 45"/>
              <a:gd name="T6" fmla="*/ 29 w 35"/>
              <a:gd name="T7" fmla="*/ 45 h 45"/>
              <a:gd name="T8" fmla="*/ 23 w 35"/>
              <a:gd name="T9" fmla="*/ 35 h 45"/>
              <a:gd name="T10" fmla="*/ 24 w 35"/>
              <a:gd name="T11" fmla="*/ 42 h 45"/>
              <a:gd name="T12" fmla="*/ 21 w 35"/>
              <a:gd name="T13" fmla="*/ 39 h 45"/>
              <a:gd name="T14" fmla="*/ 17 w 35"/>
              <a:gd name="T15" fmla="*/ 27 h 45"/>
              <a:gd name="T16" fmla="*/ 17 w 35"/>
              <a:gd name="T17" fmla="*/ 21 h 45"/>
              <a:gd name="T18" fmla="*/ 9 w 35"/>
              <a:gd name="T19" fmla="*/ 12 h 45"/>
              <a:gd name="T20" fmla="*/ 12 w 35"/>
              <a:gd name="T21" fmla="*/ 21 h 45"/>
              <a:gd name="T22" fmla="*/ 7 w 35"/>
              <a:gd name="T23" fmla="*/ 21 h 45"/>
              <a:gd name="T24" fmla="*/ 5 w 35"/>
              <a:gd name="T25" fmla="*/ 15 h 45"/>
              <a:gd name="T26" fmla="*/ 6 w 35"/>
              <a:gd name="T27" fmla="*/ 15 h 45"/>
              <a:gd name="T28" fmla="*/ 0 w 35"/>
              <a:gd name="T29" fmla="*/ 9 h 45"/>
              <a:gd name="T30" fmla="*/ 15 w 35"/>
              <a:gd name="T31" fmla="*/ 0 h 45"/>
              <a:gd name="T32" fmla="*/ 23 w 35"/>
              <a:gd name="T33" fmla="*/ 5 h 45"/>
              <a:gd name="T34" fmla="*/ 27 w 35"/>
              <a:gd name="T35" fmla="*/ 7 h 45"/>
              <a:gd name="T36" fmla="*/ 28 w 35"/>
              <a:gd name="T37" fmla="*/ 10 h 45"/>
              <a:gd name="T38" fmla="*/ 35 w 35"/>
              <a:gd name="T39" fmla="*/ 16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5" h="45">
                <a:moveTo>
                  <a:pt x="35" y="16"/>
                </a:moveTo>
                <a:lnTo>
                  <a:pt x="34" y="27"/>
                </a:lnTo>
                <a:lnTo>
                  <a:pt x="33" y="39"/>
                </a:lnTo>
                <a:lnTo>
                  <a:pt x="29" y="45"/>
                </a:lnTo>
                <a:lnTo>
                  <a:pt x="23" y="35"/>
                </a:lnTo>
                <a:lnTo>
                  <a:pt x="24" y="42"/>
                </a:lnTo>
                <a:lnTo>
                  <a:pt x="21" y="39"/>
                </a:lnTo>
                <a:lnTo>
                  <a:pt x="17" y="27"/>
                </a:lnTo>
                <a:lnTo>
                  <a:pt x="17" y="21"/>
                </a:lnTo>
                <a:lnTo>
                  <a:pt x="9" y="12"/>
                </a:lnTo>
                <a:lnTo>
                  <a:pt x="12" y="21"/>
                </a:lnTo>
                <a:lnTo>
                  <a:pt x="7" y="21"/>
                </a:lnTo>
                <a:lnTo>
                  <a:pt x="5" y="15"/>
                </a:lnTo>
                <a:lnTo>
                  <a:pt x="6" y="15"/>
                </a:lnTo>
                <a:lnTo>
                  <a:pt x="0" y="9"/>
                </a:lnTo>
                <a:lnTo>
                  <a:pt x="15" y="0"/>
                </a:lnTo>
                <a:lnTo>
                  <a:pt x="23" y="5"/>
                </a:lnTo>
                <a:lnTo>
                  <a:pt x="27" y="7"/>
                </a:lnTo>
                <a:lnTo>
                  <a:pt x="28" y="10"/>
                </a:lnTo>
                <a:lnTo>
                  <a:pt x="35" y="16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6" name="Freeform 301">
            <a:extLst>
              <a:ext uri="{FF2B5EF4-FFF2-40B4-BE49-F238E27FC236}">
                <a16:creationId xmlns:a16="http://schemas.microsoft.com/office/drawing/2014/main" id="{766B5E16-DB7C-4D01-96FB-01C448787ECA}"/>
              </a:ext>
            </a:extLst>
          </p:cNvPr>
          <p:cNvSpPr>
            <a:spLocks/>
          </p:cNvSpPr>
          <p:nvPr/>
        </p:nvSpPr>
        <p:spPr bwMode="gray">
          <a:xfrm>
            <a:off x="7822247" y="2845010"/>
            <a:ext cx="61941" cy="56467"/>
          </a:xfrm>
          <a:custGeom>
            <a:avLst/>
            <a:gdLst>
              <a:gd name="T0" fmla="*/ 26 w 32"/>
              <a:gd name="T1" fmla="*/ 16 h 25"/>
              <a:gd name="T2" fmla="*/ 15 w 32"/>
              <a:gd name="T3" fmla="*/ 16 h 25"/>
              <a:gd name="T4" fmla="*/ 14 w 32"/>
              <a:gd name="T5" fmla="*/ 25 h 25"/>
              <a:gd name="T6" fmla="*/ 6 w 32"/>
              <a:gd name="T7" fmla="*/ 18 h 25"/>
              <a:gd name="T8" fmla="*/ 2 w 32"/>
              <a:gd name="T9" fmla="*/ 14 h 25"/>
              <a:gd name="T10" fmla="*/ 0 w 32"/>
              <a:gd name="T11" fmla="*/ 14 h 25"/>
              <a:gd name="T12" fmla="*/ 8 w 32"/>
              <a:gd name="T13" fmla="*/ 5 h 25"/>
              <a:gd name="T14" fmla="*/ 16 w 32"/>
              <a:gd name="T15" fmla="*/ 4 h 25"/>
              <a:gd name="T16" fmla="*/ 22 w 32"/>
              <a:gd name="T17" fmla="*/ 0 h 25"/>
              <a:gd name="T18" fmla="*/ 28 w 32"/>
              <a:gd name="T19" fmla="*/ 4 h 25"/>
              <a:gd name="T20" fmla="*/ 32 w 32"/>
              <a:gd name="T21" fmla="*/ 8 h 25"/>
              <a:gd name="T22" fmla="*/ 26 w 32"/>
              <a:gd name="T23" fmla="*/ 16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2" h="25">
                <a:moveTo>
                  <a:pt x="26" y="16"/>
                </a:moveTo>
                <a:lnTo>
                  <a:pt x="15" y="16"/>
                </a:lnTo>
                <a:lnTo>
                  <a:pt x="14" y="25"/>
                </a:lnTo>
                <a:lnTo>
                  <a:pt x="6" y="18"/>
                </a:lnTo>
                <a:lnTo>
                  <a:pt x="2" y="14"/>
                </a:lnTo>
                <a:lnTo>
                  <a:pt x="0" y="14"/>
                </a:lnTo>
                <a:lnTo>
                  <a:pt x="8" y="5"/>
                </a:lnTo>
                <a:lnTo>
                  <a:pt x="16" y="4"/>
                </a:lnTo>
                <a:lnTo>
                  <a:pt x="22" y="0"/>
                </a:lnTo>
                <a:lnTo>
                  <a:pt x="28" y="4"/>
                </a:lnTo>
                <a:lnTo>
                  <a:pt x="32" y="8"/>
                </a:lnTo>
                <a:lnTo>
                  <a:pt x="26" y="1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7" name="Freeform 302">
            <a:extLst>
              <a:ext uri="{FF2B5EF4-FFF2-40B4-BE49-F238E27FC236}">
                <a16:creationId xmlns:a16="http://schemas.microsoft.com/office/drawing/2014/main" id="{C61C97F4-CA3F-459B-BDBC-678FBFCC0200}"/>
              </a:ext>
            </a:extLst>
          </p:cNvPr>
          <p:cNvSpPr>
            <a:spLocks/>
          </p:cNvSpPr>
          <p:nvPr/>
        </p:nvSpPr>
        <p:spPr bwMode="gray">
          <a:xfrm>
            <a:off x="7784392" y="3105930"/>
            <a:ext cx="12045" cy="21419"/>
          </a:xfrm>
          <a:custGeom>
            <a:avLst/>
            <a:gdLst>
              <a:gd name="T0" fmla="*/ 0 w 6"/>
              <a:gd name="T1" fmla="*/ 11 h 11"/>
              <a:gd name="T2" fmla="*/ 6 w 6"/>
              <a:gd name="T3" fmla="*/ 1 h 11"/>
              <a:gd name="T4" fmla="*/ 5 w 6"/>
              <a:gd name="T5" fmla="*/ 0 h 11"/>
              <a:gd name="T6" fmla="*/ 0 w 6"/>
              <a:gd name="T7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11">
                <a:moveTo>
                  <a:pt x="0" y="11"/>
                </a:moveTo>
                <a:lnTo>
                  <a:pt x="6" y="1"/>
                </a:lnTo>
                <a:lnTo>
                  <a:pt x="5" y="0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8" name="Freeform 303">
            <a:extLst>
              <a:ext uri="{FF2B5EF4-FFF2-40B4-BE49-F238E27FC236}">
                <a16:creationId xmlns:a16="http://schemas.microsoft.com/office/drawing/2014/main" id="{F6E84F77-0C5D-4A1C-89E6-397DE874E04B}"/>
              </a:ext>
            </a:extLst>
          </p:cNvPr>
          <p:cNvSpPr>
            <a:spLocks/>
          </p:cNvSpPr>
          <p:nvPr/>
        </p:nvSpPr>
        <p:spPr bwMode="gray">
          <a:xfrm>
            <a:off x="7915155" y="2706762"/>
            <a:ext cx="6882" cy="13630"/>
          </a:xfrm>
          <a:custGeom>
            <a:avLst/>
            <a:gdLst>
              <a:gd name="T0" fmla="*/ 3 w 3"/>
              <a:gd name="T1" fmla="*/ 5 h 5"/>
              <a:gd name="T2" fmla="*/ 0 w 3"/>
              <a:gd name="T3" fmla="*/ 0 h 5"/>
              <a:gd name="T4" fmla="*/ 0 w 3"/>
              <a:gd name="T5" fmla="*/ 5 h 5"/>
              <a:gd name="T6" fmla="*/ 3 w 3"/>
              <a:gd name="T7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5">
                <a:moveTo>
                  <a:pt x="3" y="5"/>
                </a:moveTo>
                <a:lnTo>
                  <a:pt x="0" y="0"/>
                </a:lnTo>
                <a:lnTo>
                  <a:pt x="0" y="5"/>
                </a:lnTo>
                <a:lnTo>
                  <a:pt x="3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9" name="Freeform 304">
            <a:extLst>
              <a:ext uri="{FF2B5EF4-FFF2-40B4-BE49-F238E27FC236}">
                <a16:creationId xmlns:a16="http://schemas.microsoft.com/office/drawing/2014/main" id="{6AD9AE23-705D-4653-B8D1-281843FCE617}"/>
              </a:ext>
            </a:extLst>
          </p:cNvPr>
          <p:cNvSpPr>
            <a:spLocks/>
          </p:cNvSpPr>
          <p:nvPr/>
        </p:nvSpPr>
        <p:spPr bwMode="gray">
          <a:xfrm>
            <a:off x="7780951" y="2911213"/>
            <a:ext cx="3441" cy="3894"/>
          </a:xfrm>
          <a:custGeom>
            <a:avLst/>
            <a:gdLst>
              <a:gd name="T0" fmla="*/ 2 w 2"/>
              <a:gd name="T1" fmla="*/ 0 h 2"/>
              <a:gd name="T2" fmla="*/ 2 w 2"/>
              <a:gd name="T3" fmla="*/ 2 h 2"/>
              <a:gd name="T4" fmla="*/ 0 w 2"/>
              <a:gd name="T5" fmla="*/ 1 h 2"/>
              <a:gd name="T6" fmla="*/ 2 w 2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2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0" name="Freeform 305">
            <a:extLst>
              <a:ext uri="{FF2B5EF4-FFF2-40B4-BE49-F238E27FC236}">
                <a16:creationId xmlns:a16="http://schemas.microsoft.com/office/drawing/2014/main" id="{39C42252-6911-40C2-A860-0E329F20B7F0}"/>
              </a:ext>
            </a:extLst>
          </p:cNvPr>
          <p:cNvSpPr>
            <a:spLocks/>
          </p:cNvSpPr>
          <p:nvPr/>
        </p:nvSpPr>
        <p:spPr bwMode="gray">
          <a:xfrm>
            <a:off x="7531472" y="2547092"/>
            <a:ext cx="118718" cy="177191"/>
          </a:xfrm>
          <a:custGeom>
            <a:avLst/>
            <a:gdLst>
              <a:gd name="T0" fmla="*/ 17 w 64"/>
              <a:gd name="T1" fmla="*/ 54 h 82"/>
              <a:gd name="T2" fmla="*/ 9 w 64"/>
              <a:gd name="T3" fmla="*/ 53 h 82"/>
              <a:gd name="T4" fmla="*/ 0 w 64"/>
              <a:gd name="T5" fmla="*/ 46 h 82"/>
              <a:gd name="T6" fmla="*/ 9 w 64"/>
              <a:gd name="T7" fmla="*/ 37 h 82"/>
              <a:gd name="T8" fmla="*/ 16 w 64"/>
              <a:gd name="T9" fmla="*/ 23 h 82"/>
              <a:gd name="T10" fmla="*/ 22 w 64"/>
              <a:gd name="T11" fmla="*/ 20 h 82"/>
              <a:gd name="T12" fmla="*/ 37 w 64"/>
              <a:gd name="T13" fmla="*/ 25 h 82"/>
              <a:gd name="T14" fmla="*/ 33 w 64"/>
              <a:gd name="T15" fmla="*/ 17 h 82"/>
              <a:gd name="T16" fmla="*/ 36 w 64"/>
              <a:gd name="T17" fmla="*/ 16 h 82"/>
              <a:gd name="T18" fmla="*/ 45 w 64"/>
              <a:gd name="T19" fmla="*/ 8 h 82"/>
              <a:gd name="T20" fmla="*/ 46 w 64"/>
              <a:gd name="T21" fmla="*/ 0 h 82"/>
              <a:gd name="T22" fmla="*/ 60 w 64"/>
              <a:gd name="T23" fmla="*/ 8 h 82"/>
              <a:gd name="T24" fmla="*/ 63 w 64"/>
              <a:gd name="T25" fmla="*/ 11 h 82"/>
              <a:gd name="T26" fmla="*/ 55 w 64"/>
              <a:gd name="T27" fmla="*/ 19 h 82"/>
              <a:gd name="T28" fmla="*/ 61 w 64"/>
              <a:gd name="T29" fmla="*/ 35 h 82"/>
              <a:gd name="T30" fmla="*/ 54 w 64"/>
              <a:gd name="T31" fmla="*/ 44 h 82"/>
              <a:gd name="T32" fmla="*/ 47 w 64"/>
              <a:gd name="T33" fmla="*/ 53 h 82"/>
              <a:gd name="T34" fmla="*/ 49 w 64"/>
              <a:gd name="T35" fmla="*/ 61 h 82"/>
              <a:gd name="T36" fmla="*/ 64 w 64"/>
              <a:gd name="T37" fmla="*/ 70 h 82"/>
              <a:gd name="T38" fmla="*/ 59 w 64"/>
              <a:gd name="T39" fmla="*/ 73 h 82"/>
              <a:gd name="T40" fmla="*/ 48 w 64"/>
              <a:gd name="T41" fmla="*/ 79 h 82"/>
              <a:gd name="T42" fmla="*/ 48 w 64"/>
              <a:gd name="T43" fmla="*/ 82 h 82"/>
              <a:gd name="T44" fmla="*/ 35 w 64"/>
              <a:gd name="T45" fmla="*/ 79 h 82"/>
              <a:gd name="T46" fmla="*/ 31 w 64"/>
              <a:gd name="T47" fmla="*/ 82 h 82"/>
              <a:gd name="T48" fmla="*/ 25 w 64"/>
              <a:gd name="T49" fmla="*/ 78 h 82"/>
              <a:gd name="T50" fmla="*/ 21 w 64"/>
              <a:gd name="T51" fmla="*/ 76 h 82"/>
              <a:gd name="T52" fmla="*/ 24 w 64"/>
              <a:gd name="T53" fmla="*/ 68 h 82"/>
              <a:gd name="T54" fmla="*/ 25 w 64"/>
              <a:gd name="T55" fmla="*/ 67 h 82"/>
              <a:gd name="T56" fmla="*/ 19 w 64"/>
              <a:gd name="T57" fmla="*/ 64 h 82"/>
              <a:gd name="T58" fmla="*/ 17 w 64"/>
              <a:gd name="T59" fmla="*/ 54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4" h="82">
                <a:moveTo>
                  <a:pt x="17" y="54"/>
                </a:moveTo>
                <a:lnTo>
                  <a:pt x="9" y="53"/>
                </a:lnTo>
                <a:lnTo>
                  <a:pt x="0" y="46"/>
                </a:lnTo>
                <a:lnTo>
                  <a:pt x="9" y="37"/>
                </a:lnTo>
                <a:lnTo>
                  <a:pt x="16" y="23"/>
                </a:lnTo>
                <a:lnTo>
                  <a:pt x="22" y="20"/>
                </a:lnTo>
                <a:lnTo>
                  <a:pt x="37" y="25"/>
                </a:lnTo>
                <a:lnTo>
                  <a:pt x="33" y="17"/>
                </a:lnTo>
                <a:lnTo>
                  <a:pt x="36" y="16"/>
                </a:lnTo>
                <a:lnTo>
                  <a:pt x="45" y="8"/>
                </a:lnTo>
                <a:lnTo>
                  <a:pt x="46" y="0"/>
                </a:lnTo>
                <a:lnTo>
                  <a:pt x="60" y="8"/>
                </a:lnTo>
                <a:lnTo>
                  <a:pt x="63" y="11"/>
                </a:lnTo>
                <a:lnTo>
                  <a:pt x="55" y="19"/>
                </a:lnTo>
                <a:lnTo>
                  <a:pt x="61" y="35"/>
                </a:lnTo>
                <a:lnTo>
                  <a:pt x="54" y="44"/>
                </a:lnTo>
                <a:lnTo>
                  <a:pt x="47" y="53"/>
                </a:lnTo>
                <a:lnTo>
                  <a:pt x="49" y="61"/>
                </a:lnTo>
                <a:lnTo>
                  <a:pt x="64" y="70"/>
                </a:lnTo>
                <a:lnTo>
                  <a:pt x="59" y="73"/>
                </a:lnTo>
                <a:lnTo>
                  <a:pt x="48" y="79"/>
                </a:lnTo>
                <a:lnTo>
                  <a:pt x="48" y="82"/>
                </a:lnTo>
                <a:lnTo>
                  <a:pt x="35" y="79"/>
                </a:lnTo>
                <a:lnTo>
                  <a:pt x="31" y="82"/>
                </a:lnTo>
                <a:lnTo>
                  <a:pt x="25" y="78"/>
                </a:lnTo>
                <a:lnTo>
                  <a:pt x="21" y="76"/>
                </a:lnTo>
                <a:lnTo>
                  <a:pt x="24" y="68"/>
                </a:lnTo>
                <a:lnTo>
                  <a:pt x="25" y="67"/>
                </a:lnTo>
                <a:lnTo>
                  <a:pt x="19" y="64"/>
                </a:lnTo>
                <a:lnTo>
                  <a:pt x="17" y="54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1" name="Freeform 306">
            <a:extLst>
              <a:ext uri="{FF2B5EF4-FFF2-40B4-BE49-F238E27FC236}">
                <a16:creationId xmlns:a16="http://schemas.microsoft.com/office/drawing/2014/main" id="{D4D028D1-D731-4695-87E4-6199FB556FDF}"/>
              </a:ext>
            </a:extLst>
          </p:cNvPr>
          <p:cNvSpPr>
            <a:spLocks/>
          </p:cNvSpPr>
          <p:nvPr/>
        </p:nvSpPr>
        <p:spPr bwMode="gray">
          <a:xfrm>
            <a:off x="7622660" y="2698971"/>
            <a:ext cx="103232" cy="142144"/>
          </a:xfrm>
          <a:custGeom>
            <a:avLst/>
            <a:gdLst>
              <a:gd name="T0" fmla="*/ 31 w 54"/>
              <a:gd name="T1" fmla="*/ 64 h 66"/>
              <a:gd name="T2" fmla="*/ 30 w 54"/>
              <a:gd name="T3" fmla="*/ 62 h 66"/>
              <a:gd name="T4" fmla="*/ 25 w 54"/>
              <a:gd name="T5" fmla="*/ 64 h 66"/>
              <a:gd name="T6" fmla="*/ 23 w 54"/>
              <a:gd name="T7" fmla="*/ 66 h 66"/>
              <a:gd name="T8" fmla="*/ 21 w 54"/>
              <a:gd name="T9" fmla="*/ 63 h 66"/>
              <a:gd name="T10" fmla="*/ 21 w 54"/>
              <a:gd name="T11" fmla="*/ 62 h 66"/>
              <a:gd name="T12" fmla="*/ 21 w 54"/>
              <a:gd name="T13" fmla="*/ 60 h 66"/>
              <a:gd name="T14" fmla="*/ 17 w 54"/>
              <a:gd name="T15" fmla="*/ 56 h 66"/>
              <a:gd name="T16" fmla="*/ 15 w 54"/>
              <a:gd name="T17" fmla="*/ 48 h 66"/>
              <a:gd name="T18" fmla="*/ 15 w 54"/>
              <a:gd name="T19" fmla="*/ 43 h 66"/>
              <a:gd name="T20" fmla="*/ 15 w 54"/>
              <a:gd name="T21" fmla="*/ 40 h 66"/>
              <a:gd name="T22" fmla="*/ 5 w 54"/>
              <a:gd name="T23" fmla="*/ 31 h 66"/>
              <a:gd name="T24" fmla="*/ 3 w 54"/>
              <a:gd name="T25" fmla="*/ 28 h 66"/>
              <a:gd name="T26" fmla="*/ 4 w 54"/>
              <a:gd name="T27" fmla="*/ 26 h 66"/>
              <a:gd name="T28" fmla="*/ 10 w 54"/>
              <a:gd name="T29" fmla="*/ 28 h 66"/>
              <a:gd name="T30" fmla="*/ 10 w 54"/>
              <a:gd name="T31" fmla="*/ 26 h 66"/>
              <a:gd name="T32" fmla="*/ 1 w 54"/>
              <a:gd name="T33" fmla="*/ 14 h 66"/>
              <a:gd name="T34" fmla="*/ 0 w 54"/>
              <a:gd name="T35" fmla="*/ 12 h 66"/>
              <a:gd name="T36" fmla="*/ 0 w 54"/>
              <a:gd name="T37" fmla="*/ 9 h 66"/>
              <a:gd name="T38" fmla="*/ 11 w 54"/>
              <a:gd name="T39" fmla="*/ 3 h 66"/>
              <a:gd name="T40" fmla="*/ 16 w 54"/>
              <a:gd name="T41" fmla="*/ 0 h 66"/>
              <a:gd name="T42" fmla="*/ 31 w 54"/>
              <a:gd name="T43" fmla="*/ 14 h 66"/>
              <a:gd name="T44" fmla="*/ 46 w 54"/>
              <a:gd name="T45" fmla="*/ 30 h 66"/>
              <a:gd name="T46" fmla="*/ 54 w 54"/>
              <a:gd name="T47" fmla="*/ 52 h 66"/>
              <a:gd name="T48" fmla="*/ 48 w 54"/>
              <a:gd name="T49" fmla="*/ 56 h 66"/>
              <a:gd name="T50" fmla="*/ 42 w 54"/>
              <a:gd name="T51" fmla="*/ 58 h 66"/>
              <a:gd name="T52" fmla="*/ 39 w 54"/>
              <a:gd name="T53" fmla="*/ 57 h 66"/>
              <a:gd name="T54" fmla="*/ 37 w 54"/>
              <a:gd name="T55" fmla="*/ 60 h 66"/>
              <a:gd name="T56" fmla="*/ 35 w 54"/>
              <a:gd name="T57" fmla="*/ 61 h 66"/>
              <a:gd name="T58" fmla="*/ 33 w 54"/>
              <a:gd name="T59" fmla="*/ 62 h 66"/>
              <a:gd name="T60" fmla="*/ 31 w 54"/>
              <a:gd name="T61" fmla="*/ 64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4" h="66">
                <a:moveTo>
                  <a:pt x="31" y="64"/>
                </a:moveTo>
                <a:lnTo>
                  <a:pt x="30" y="62"/>
                </a:lnTo>
                <a:lnTo>
                  <a:pt x="25" y="64"/>
                </a:lnTo>
                <a:lnTo>
                  <a:pt x="23" y="66"/>
                </a:lnTo>
                <a:lnTo>
                  <a:pt x="21" y="63"/>
                </a:lnTo>
                <a:lnTo>
                  <a:pt x="21" y="62"/>
                </a:lnTo>
                <a:lnTo>
                  <a:pt x="21" y="60"/>
                </a:lnTo>
                <a:lnTo>
                  <a:pt x="17" y="56"/>
                </a:lnTo>
                <a:lnTo>
                  <a:pt x="15" y="48"/>
                </a:lnTo>
                <a:lnTo>
                  <a:pt x="15" y="43"/>
                </a:lnTo>
                <a:lnTo>
                  <a:pt x="15" y="40"/>
                </a:lnTo>
                <a:lnTo>
                  <a:pt x="5" y="31"/>
                </a:lnTo>
                <a:lnTo>
                  <a:pt x="3" y="28"/>
                </a:lnTo>
                <a:lnTo>
                  <a:pt x="4" y="26"/>
                </a:lnTo>
                <a:lnTo>
                  <a:pt x="10" y="28"/>
                </a:lnTo>
                <a:lnTo>
                  <a:pt x="10" y="26"/>
                </a:lnTo>
                <a:lnTo>
                  <a:pt x="1" y="14"/>
                </a:lnTo>
                <a:lnTo>
                  <a:pt x="0" y="12"/>
                </a:lnTo>
                <a:lnTo>
                  <a:pt x="0" y="9"/>
                </a:lnTo>
                <a:lnTo>
                  <a:pt x="11" y="3"/>
                </a:lnTo>
                <a:lnTo>
                  <a:pt x="16" y="0"/>
                </a:lnTo>
                <a:lnTo>
                  <a:pt x="31" y="14"/>
                </a:lnTo>
                <a:lnTo>
                  <a:pt x="46" y="30"/>
                </a:lnTo>
                <a:lnTo>
                  <a:pt x="54" y="52"/>
                </a:lnTo>
                <a:lnTo>
                  <a:pt x="48" y="56"/>
                </a:lnTo>
                <a:lnTo>
                  <a:pt x="42" y="58"/>
                </a:lnTo>
                <a:lnTo>
                  <a:pt x="39" y="57"/>
                </a:lnTo>
                <a:lnTo>
                  <a:pt x="37" y="60"/>
                </a:lnTo>
                <a:lnTo>
                  <a:pt x="35" y="61"/>
                </a:lnTo>
                <a:lnTo>
                  <a:pt x="33" y="62"/>
                </a:lnTo>
                <a:lnTo>
                  <a:pt x="31" y="64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2" name="Freeform 307">
            <a:extLst>
              <a:ext uri="{FF2B5EF4-FFF2-40B4-BE49-F238E27FC236}">
                <a16:creationId xmlns:a16="http://schemas.microsoft.com/office/drawing/2014/main" id="{80E950AD-5053-4F16-9216-DF06E7B25A0C}"/>
              </a:ext>
            </a:extLst>
          </p:cNvPr>
          <p:cNvSpPr>
            <a:spLocks/>
          </p:cNvSpPr>
          <p:nvPr/>
        </p:nvSpPr>
        <p:spPr bwMode="gray">
          <a:xfrm>
            <a:off x="7603733" y="3162397"/>
            <a:ext cx="39573" cy="112935"/>
          </a:xfrm>
          <a:custGeom>
            <a:avLst/>
            <a:gdLst>
              <a:gd name="T0" fmla="*/ 14 w 20"/>
              <a:gd name="T1" fmla="*/ 52 h 52"/>
              <a:gd name="T2" fmla="*/ 2 w 20"/>
              <a:gd name="T3" fmla="*/ 40 h 52"/>
              <a:gd name="T4" fmla="*/ 0 w 20"/>
              <a:gd name="T5" fmla="*/ 22 h 52"/>
              <a:gd name="T6" fmla="*/ 6 w 20"/>
              <a:gd name="T7" fmla="*/ 11 h 52"/>
              <a:gd name="T8" fmla="*/ 12 w 20"/>
              <a:gd name="T9" fmla="*/ 0 h 52"/>
              <a:gd name="T10" fmla="*/ 20 w 20"/>
              <a:gd name="T11" fmla="*/ 4 h 52"/>
              <a:gd name="T12" fmla="*/ 19 w 20"/>
              <a:gd name="T13" fmla="*/ 16 h 52"/>
              <a:gd name="T14" fmla="*/ 18 w 20"/>
              <a:gd name="T15" fmla="*/ 28 h 52"/>
              <a:gd name="T16" fmla="*/ 15 w 20"/>
              <a:gd name="T17" fmla="*/ 40 h 52"/>
              <a:gd name="T18" fmla="*/ 14 w 20"/>
              <a:gd name="T19" fmla="*/ 5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" h="52">
                <a:moveTo>
                  <a:pt x="14" y="52"/>
                </a:moveTo>
                <a:lnTo>
                  <a:pt x="2" y="40"/>
                </a:lnTo>
                <a:lnTo>
                  <a:pt x="0" y="22"/>
                </a:lnTo>
                <a:lnTo>
                  <a:pt x="6" y="11"/>
                </a:lnTo>
                <a:lnTo>
                  <a:pt x="12" y="0"/>
                </a:lnTo>
                <a:lnTo>
                  <a:pt x="20" y="4"/>
                </a:lnTo>
                <a:lnTo>
                  <a:pt x="19" y="16"/>
                </a:lnTo>
                <a:lnTo>
                  <a:pt x="18" y="28"/>
                </a:lnTo>
                <a:lnTo>
                  <a:pt x="15" y="40"/>
                </a:lnTo>
                <a:lnTo>
                  <a:pt x="14" y="52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3" name="Freeform 308">
            <a:extLst>
              <a:ext uri="{FF2B5EF4-FFF2-40B4-BE49-F238E27FC236}">
                <a16:creationId xmlns:a16="http://schemas.microsoft.com/office/drawing/2014/main" id="{D732FB27-86F1-464A-B862-E353A4AA4E05}"/>
              </a:ext>
            </a:extLst>
          </p:cNvPr>
          <p:cNvSpPr>
            <a:spLocks/>
          </p:cNvSpPr>
          <p:nvPr/>
        </p:nvSpPr>
        <p:spPr bwMode="gray">
          <a:xfrm>
            <a:off x="6500859" y="2239442"/>
            <a:ext cx="800059" cy="354384"/>
          </a:xfrm>
          <a:custGeom>
            <a:avLst/>
            <a:gdLst>
              <a:gd name="T0" fmla="*/ 246 w 418"/>
              <a:gd name="T1" fmla="*/ 157 h 166"/>
              <a:gd name="T2" fmla="*/ 225 w 418"/>
              <a:gd name="T3" fmla="*/ 150 h 166"/>
              <a:gd name="T4" fmla="*/ 189 w 418"/>
              <a:gd name="T5" fmla="*/ 149 h 166"/>
              <a:gd name="T6" fmla="*/ 153 w 418"/>
              <a:gd name="T7" fmla="*/ 147 h 166"/>
              <a:gd name="T8" fmla="*/ 129 w 418"/>
              <a:gd name="T9" fmla="*/ 121 h 166"/>
              <a:gd name="T10" fmla="*/ 93 w 418"/>
              <a:gd name="T11" fmla="*/ 111 h 166"/>
              <a:gd name="T12" fmla="*/ 62 w 418"/>
              <a:gd name="T13" fmla="*/ 106 h 166"/>
              <a:gd name="T14" fmla="*/ 54 w 418"/>
              <a:gd name="T15" fmla="*/ 79 h 166"/>
              <a:gd name="T16" fmla="*/ 25 w 418"/>
              <a:gd name="T17" fmla="*/ 64 h 166"/>
              <a:gd name="T18" fmla="*/ 1 w 418"/>
              <a:gd name="T19" fmla="*/ 47 h 166"/>
              <a:gd name="T20" fmla="*/ 6 w 418"/>
              <a:gd name="T21" fmla="*/ 40 h 166"/>
              <a:gd name="T22" fmla="*/ 30 w 418"/>
              <a:gd name="T23" fmla="*/ 28 h 166"/>
              <a:gd name="T24" fmla="*/ 68 w 418"/>
              <a:gd name="T25" fmla="*/ 23 h 166"/>
              <a:gd name="T26" fmla="*/ 91 w 418"/>
              <a:gd name="T27" fmla="*/ 31 h 166"/>
              <a:gd name="T28" fmla="*/ 120 w 418"/>
              <a:gd name="T29" fmla="*/ 28 h 166"/>
              <a:gd name="T30" fmla="*/ 110 w 418"/>
              <a:gd name="T31" fmla="*/ 0 h 166"/>
              <a:gd name="T32" fmla="*/ 153 w 418"/>
              <a:gd name="T33" fmla="*/ 10 h 166"/>
              <a:gd name="T34" fmla="*/ 182 w 418"/>
              <a:gd name="T35" fmla="*/ 29 h 166"/>
              <a:gd name="T36" fmla="*/ 222 w 418"/>
              <a:gd name="T37" fmla="*/ 28 h 166"/>
              <a:gd name="T38" fmla="*/ 246 w 418"/>
              <a:gd name="T39" fmla="*/ 37 h 166"/>
              <a:gd name="T40" fmla="*/ 286 w 418"/>
              <a:gd name="T41" fmla="*/ 42 h 166"/>
              <a:gd name="T42" fmla="*/ 315 w 418"/>
              <a:gd name="T43" fmla="*/ 28 h 166"/>
              <a:gd name="T44" fmla="*/ 351 w 418"/>
              <a:gd name="T45" fmla="*/ 35 h 166"/>
              <a:gd name="T46" fmla="*/ 355 w 418"/>
              <a:gd name="T47" fmla="*/ 59 h 166"/>
              <a:gd name="T48" fmla="*/ 362 w 418"/>
              <a:gd name="T49" fmla="*/ 66 h 166"/>
              <a:gd name="T50" fmla="*/ 380 w 418"/>
              <a:gd name="T51" fmla="*/ 69 h 166"/>
              <a:gd name="T52" fmla="*/ 415 w 418"/>
              <a:gd name="T53" fmla="*/ 77 h 166"/>
              <a:gd name="T54" fmla="*/ 396 w 418"/>
              <a:gd name="T55" fmla="*/ 85 h 166"/>
              <a:gd name="T56" fmla="*/ 379 w 418"/>
              <a:gd name="T57" fmla="*/ 103 h 166"/>
              <a:gd name="T58" fmla="*/ 354 w 418"/>
              <a:gd name="T59" fmla="*/ 114 h 166"/>
              <a:gd name="T60" fmla="*/ 337 w 418"/>
              <a:gd name="T61" fmla="*/ 124 h 166"/>
              <a:gd name="T62" fmla="*/ 334 w 418"/>
              <a:gd name="T63" fmla="*/ 142 h 166"/>
              <a:gd name="T64" fmla="*/ 307 w 418"/>
              <a:gd name="T65" fmla="*/ 153 h 166"/>
              <a:gd name="T66" fmla="*/ 282 w 418"/>
              <a:gd name="T67" fmla="*/ 160 h 166"/>
              <a:gd name="T68" fmla="*/ 262 w 418"/>
              <a:gd name="T69" fmla="*/ 161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18" h="166">
                <a:moveTo>
                  <a:pt x="262" y="161"/>
                </a:moveTo>
                <a:lnTo>
                  <a:pt x="246" y="157"/>
                </a:lnTo>
                <a:lnTo>
                  <a:pt x="230" y="155"/>
                </a:lnTo>
                <a:lnTo>
                  <a:pt x="225" y="150"/>
                </a:lnTo>
                <a:lnTo>
                  <a:pt x="207" y="149"/>
                </a:lnTo>
                <a:lnTo>
                  <a:pt x="189" y="149"/>
                </a:lnTo>
                <a:lnTo>
                  <a:pt x="171" y="148"/>
                </a:lnTo>
                <a:lnTo>
                  <a:pt x="153" y="147"/>
                </a:lnTo>
                <a:lnTo>
                  <a:pt x="141" y="135"/>
                </a:lnTo>
                <a:lnTo>
                  <a:pt x="129" y="121"/>
                </a:lnTo>
                <a:lnTo>
                  <a:pt x="111" y="117"/>
                </a:lnTo>
                <a:lnTo>
                  <a:pt x="93" y="111"/>
                </a:lnTo>
                <a:lnTo>
                  <a:pt x="78" y="108"/>
                </a:lnTo>
                <a:lnTo>
                  <a:pt x="62" y="106"/>
                </a:lnTo>
                <a:lnTo>
                  <a:pt x="57" y="93"/>
                </a:lnTo>
                <a:lnTo>
                  <a:pt x="54" y="79"/>
                </a:lnTo>
                <a:lnTo>
                  <a:pt x="34" y="66"/>
                </a:lnTo>
                <a:lnTo>
                  <a:pt x="25" y="64"/>
                </a:lnTo>
                <a:lnTo>
                  <a:pt x="6" y="53"/>
                </a:lnTo>
                <a:lnTo>
                  <a:pt x="1" y="47"/>
                </a:lnTo>
                <a:lnTo>
                  <a:pt x="0" y="45"/>
                </a:lnTo>
                <a:lnTo>
                  <a:pt x="6" y="40"/>
                </a:lnTo>
                <a:lnTo>
                  <a:pt x="16" y="35"/>
                </a:lnTo>
                <a:lnTo>
                  <a:pt x="30" y="28"/>
                </a:lnTo>
                <a:lnTo>
                  <a:pt x="42" y="21"/>
                </a:lnTo>
                <a:lnTo>
                  <a:pt x="68" y="23"/>
                </a:lnTo>
                <a:lnTo>
                  <a:pt x="72" y="29"/>
                </a:lnTo>
                <a:lnTo>
                  <a:pt x="91" y="31"/>
                </a:lnTo>
                <a:lnTo>
                  <a:pt x="110" y="35"/>
                </a:lnTo>
                <a:lnTo>
                  <a:pt x="120" y="28"/>
                </a:lnTo>
                <a:lnTo>
                  <a:pt x="108" y="17"/>
                </a:lnTo>
                <a:lnTo>
                  <a:pt x="110" y="0"/>
                </a:lnTo>
                <a:lnTo>
                  <a:pt x="132" y="5"/>
                </a:lnTo>
                <a:lnTo>
                  <a:pt x="153" y="10"/>
                </a:lnTo>
                <a:lnTo>
                  <a:pt x="163" y="19"/>
                </a:lnTo>
                <a:lnTo>
                  <a:pt x="182" y="29"/>
                </a:lnTo>
                <a:lnTo>
                  <a:pt x="204" y="24"/>
                </a:lnTo>
                <a:lnTo>
                  <a:pt x="222" y="28"/>
                </a:lnTo>
                <a:lnTo>
                  <a:pt x="238" y="33"/>
                </a:lnTo>
                <a:lnTo>
                  <a:pt x="246" y="37"/>
                </a:lnTo>
                <a:lnTo>
                  <a:pt x="272" y="45"/>
                </a:lnTo>
                <a:lnTo>
                  <a:pt x="286" y="42"/>
                </a:lnTo>
                <a:lnTo>
                  <a:pt x="301" y="39"/>
                </a:lnTo>
                <a:lnTo>
                  <a:pt x="315" y="28"/>
                </a:lnTo>
                <a:lnTo>
                  <a:pt x="339" y="34"/>
                </a:lnTo>
                <a:lnTo>
                  <a:pt x="351" y="35"/>
                </a:lnTo>
                <a:lnTo>
                  <a:pt x="352" y="47"/>
                </a:lnTo>
                <a:lnTo>
                  <a:pt x="355" y="59"/>
                </a:lnTo>
                <a:lnTo>
                  <a:pt x="351" y="60"/>
                </a:lnTo>
                <a:lnTo>
                  <a:pt x="362" y="66"/>
                </a:lnTo>
                <a:lnTo>
                  <a:pt x="375" y="66"/>
                </a:lnTo>
                <a:lnTo>
                  <a:pt x="380" y="69"/>
                </a:lnTo>
                <a:lnTo>
                  <a:pt x="386" y="63"/>
                </a:lnTo>
                <a:lnTo>
                  <a:pt x="415" y="77"/>
                </a:lnTo>
                <a:lnTo>
                  <a:pt x="418" y="85"/>
                </a:lnTo>
                <a:lnTo>
                  <a:pt x="396" y="85"/>
                </a:lnTo>
                <a:lnTo>
                  <a:pt x="381" y="93"/>
                </a:lnTo>
                <a:lnTo>
                  <a:pt x="379" y="103"/>
                </a:lnTo>
                <a:lnTo>
                  <a:pt x="366" y="107"/>
                </a:lnTo>
                <a:lnTo>
                  <a:pt x="354" y="114"/>
                </a:lnTo>
                <a:lnTo>
                  <a:pt x="336" y="108"/>
                </a:lnTo>
                <a:lnTo>
                  <a:pt x="337" y="124"/>
                </a:lnTo>
                <a:lnTo>
                  <a:pt x="345" y="131"/>
                </a:lnTo>
                <a:lnTo>
                  <a:pt x="334" y="142"/>
                </a:lnTo>
                <a:lnTo>
                  <a:pt x="322" y="151"/>
                </a:lnTo>
                <a:lnTo>
                  <a:pt x="307" y="153"/>
                </a:lnTo>
                <a:lnTo>
                  <a:pt x="291" y="154"/>
                </a:lnTo>
                <a:lnTo>
                  <a:pt x="282" y="160"/>
                </a:lnTo>
                <a:lnTo>
                  <a:pt x="272" y="166"/>
                </a:lnTo>
                <a:lnTo>
                  <a:pt x="262" y="16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4" name="Freeform 309">
            <a:extLst>
              <a:ext uri="{FF2B5EF4-FFF2-40B4-BE49-F238E27FC236}">
                <a16:creationId xmlns:a16="http://schemas.microsoft.com/office/drawing/2014/main" id="{58179A5C-C523-457B-9944-886CBEA2928D}"/>
              </a:ext>
            </a:extLst>
          </p:cNvPr>
          <p:cNvSpPr>
            <a:spLocks/>
          </p:cNvSpPr>
          <p:nvPr/>
        </p:nvSpPr>
        <p:spPr bwMode="gray">
          <a:xfrm>
            <a:off x="5528744" y="2126506"/>
            <a:ext cx="953187" cy="477055"/>
          </a:xfrm>
          <a:custGeom>
            <a:avLst/>
            <a:gdLst>
              <a:gd name="T0" fmla="*/ 58 w 498"/>
              <a:gd name="T1" fmla="*/ 130 h 220"/>
              <a:gd name="T2" fmla="*/ 40 w 498"/>
              <a:gd name="T3" fmla="*/ 139 h 220"/>
              <a:gd name="T4" fmla="*/ 14 w 498"/>
              <a:gd name="T5" fmla="*/ 111 h 220"/>
              <a:gd name="T6" fmla="*/ 1 w 498"/>
              <a:gd name="T7" fmla="*/ 81 h 220"/>
              <a:gd name="T8" fmla="*/ 18 w 498"/>
              <a:gd name="T9" fmla="*/ 72 h 220"/>
              <a:gd name="T10" fmla="*/ 30 w 498"/>
              <a:gd name="T11" fmla="*/ 57 h 220"/>
              <a:gd name="T12" fmla="*/ 58 w 498"/>
              <a:gd name="T13" fmla="*/ 50 h 220"/>
              <a:gd name="T14" fmla="*/ 91 w 498"/>
              <a:gd name="T15" fmla="*/ 66 h 220"/>
              <a:gd name="T16" fmla="*/ 134 w 498"/>
              <a:gd name="T17" fmla="*/ 64 h 220"/>
              <a:gd name="T18" fmla="*/ 161 w 498"/>
              <a:gd name="T19" fmla="*/ 63 h 220"/>
              <a:gd name="T20" fmla="*/ 154 w 498"/>
              <a:gd name="T21" fmla="*/ 30 h 220"/>
              <a:gd name="T22" fmla="*/ 149 w 498"/>
              <a:gd name="T23" fmla="*/ 22 h 220"/>
              <a:gd name="T24" fmla="*/ 181 w 498"/>
              <a:gd name="T25" fmla="*/ 18 h 220"/>
              <a:gd name="T26" fmla="*/ 211 w 498"/>
              <a:gd name="T27" fmla="*/ 9 h 220"/>
              <a:gd name="T28" fmla="*/ 241 w 498"/>
              <a:gd name="T29" fmla="*/ 1 h 220"/>
              <a:gd name="T30" fmla="*/ 262 w 498"/>
              <a:gd name="T31" fmla="*/ 9 h 220"/>
              <a:gd name="T32" fmla="*/ 294 w 498"/>
              <a:gd name="T33" fmla="*/ 22 h 220"/>
              <a:gd name="T34" fmla="*/ 320 w 498"/>
              <a:gd name="T35" fmla="*/ 18 h 220"/>
              <a:gd name="T36" fmla="*/ 338 w 498"/>
              <a:gd name="T37" fmla="*/ 15 h 220"/>
              <a:gd name="T38" fmla="*/ 353 w 498"/>
              <a:gd name="T39" fmla="*/ 33 h 220"/>
              <a:gd name="T40" fmla="*/ 388 w 498"/>
              <a:gd name="T41" fmla="*/ 56 h 220"/>
              <a:gd name="T42" fmla="*/ 407 w 498"/>
              <a:gd name="T43" fmla="*/ 64 h 220"/>
              <a:gd name="T44" fmla="*/ 432 w 498"/>
              <a:gd name="T45" fmla="*/ 64 h 220"/>
              <a:gd name="T46" fmla="*/ 467 w 498"/>
              <a:gd name="T47" fmla="*/ 86 h 220"/>
              <a:gd name="T48" fmla="*/ 498 w 498"/>
              <a:gd name="T49" fmla="*/ 97 h 220"/>
              <a:gd name="T50" fmla="*/ 486 w 498"/>
              <a:gd name="T51" fmla="*/ 112 h 220"/>
              <a:gd name="T52" fmla="*/ 481 w 498"/>
              <a:gd name="T53" fmla="*/ 130 h 220"/>
              <a:gd name="T54" fmla="*/ 462 w 498"/>
              <a:gd name="T55" fmla="*/ 140 h 220"/>
              <a:gd name="T56" fmla="*/ 468 w 498"/>
              <a:gd name="T57" fmla="*/ 159 h 220"/>
              <a:gd name="T58" fmla="*/ 436 w 498"/>
              <a:gd name="T59" fmla="*/ 164 h 220"/>
              <a:gd name="T60" fmla="*/ 450 w 498"/>
              <a:gd name="T61" fmla="*/ 180 h 220"/>
              <a:gd name="T62" fmla="*/ 456 w 498"/>
              <a:gd name="T63" fmla="*/ 194 h 220"/>
              <a:gd name="T64" fmla="*/ 436 w 498"/>
              <a:gd name="T65" fmla="*/ 187 h 220"/>
              <a:gd name="T66" fmla="*/ 402 w 498"/>
              <a:gd name="T67" fmla="*/ 190 h 220"/>
              <a:gd name="T68" fmla="*/ 372 w 498"/>
              <a:gd name="T69" fmla="*/ 189 h 220"/>
              <a:gd name="T70" fmla="*/ 352 w 498"/>
              <a:gd name="T71" fmla="*/ 196 h 220"/>
              <a:gd name="T72" fmla="*/ 329 w 498"/>
              <a:gd name="T73" fmla="*/ 202 h 220"/>
              <a:gd name="T74" fmla="*/ 305 w 498"/>
              <a:gd name="T75" fmla="*/ 220 h 220"/>
              <a:gd name="T76" fmla="*/ 280 w 498"/>
              <a:gd name="T77" fmla="*/ 207 h 220"/>
              <a:gd name="T78" fmla="*/ 264 w 498"/>
              <a:gd name="T79" fmla="*/ 184 h 220"/>
              <a:gd name="T80" fmla="*/ 238 w 498"/>
              <a:gd name="T81" fmla="*/ 182 h 220"/>
              <a:gd name="T82" fmla="*/ 210 w 498"/>
              <a:gd name="T83" fmla="*/ 181 h 220"/>
              <a:gd name="T84" fmla="*/ 180 w 498"/>
              <a:gd name="T85" fmla="*/ 156 h 220"/>
              <a:gd name="T86" fmla="*/ 146 w 498"/>
              <a:gd name="T87" fmla="*/ 153 h 220"/>
              <a:gd name="T88" fmla="*/ 134 w 498"/>
              <a:gd name="T89" fmla="*/ 174 h 220"/>
              <a:gd name="T90" fmla="*/ 142 w 498"/>
              <a:gd name="T91" fmla="*/ 202 h 220"/>
              <a:gd name="T92" fmla="*/ 130 w 498"/>
              <a:gd name="T93" fmla="*/ 212 h 220"/>
              <a:gd name="T94" fmla="*/ 116 w 498"/>
              <a:gd name="T95" fmla="*/ 195 h 220"/>
              <a:gd name="T96" fmla="*/ 83 w 498"/>
              <a:gd name="T97" fmla="*/ 192 h 220"/>
              <a:gd name="T98" fmla="*/ 66 w 498"/>
              <a:gd name="T99" fmla="*/ 172 h 220"/>
              <a:gd name="T100" fmla="*/ 74 w 498"/>
              <a:gd name="T101" fmla="*/ 168 h 220"/>
              <a:gd name="T102" fmla="*/ 76 w 498"/>
              <a:gd name="T103" fmla="*/ 156 h 220"/>
              <a:gd name="T104" fmla="*/ 88 w 498"/>
              <a:gd name="T105" fmla="*/ 150 h 220"/>
              <a:gd name="T106" fmla="*/ 68 w 498"/>
              <a:gd name="T107" fmla="*/ 13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8" h="220">
                <a:moveTo>
                  <a:pt x="68" y="130"/>
                </a:moveTo>
                <a:lnTo>
                  <a:pt x="58" y="130"/>
                </a:lnTo>
                <a:lnTo>
                  <a:pt x="41" y="138"/>
                </a:lnTo>
                <a:lnTo>
                  <a:pt x="40" y="139"/>
                </a:lnTo>
                <a:lnTo>
                  <a:pt x="30" y="123"/>
                </a:lnTo>
                <a:lnTo>
                  <a:pt x="14" y="111"/>
                </a:lnTo>
                <a:lnTo>
                  <a:pt x="0" y="99"/>
                </a:lnTo>
                <a:lnTo>
                  <a:pt x="1" y="81"/>
                </a:lnTo>
                <a:lnTo>
                  <a:pt x="4" y="64"/>
                </a:lnTo>
                <a:lnTo>
                  <a:pt x="18" y="72"/>
                </a:lnTo>
                <a:lnTo>
                  <a:pt x="20" y="64"/>
                </a:lnTo>
                <a:lnTo>
                  <a:pt x="30" y="57"/>
                </a:lnTo>
                <a:lnTo>
                  <a:pt x="40" y="51"/>
                </a:lnTo>
                <a:lnTo>
                  <a:pt x="58" y="50"/>
                </a:lnTo>
                <a:lnTo>
                  <a:pt x="74" y="57"/>
                </a:lnTo>
                <a:lnTo>
                  <a:pt x="91" y="66"/>
                </a:lnTo>
                <a:lnTo>
                  <a:pt x="110" y="64"/>
                </a:lnTo>
                <a:lnTo>
                  <a:pt x="134" y="64"/>
                </a:lnTo>
                <a:lnTo>
                  <a:pt x="158" y="68"/>
                </a:lnTo>
                <a:lnTo>
                  <a:pt x="161" y="63"/>
                </a:lnTo>
                <a:lnTo>
                  <a:pt x="148" y="48"/>
                </a:lnTo>
                <a:lnTo>
                  <a:pt x="154" y="30"/>
                </a:lnTo>
                <a:lnTo>
                  <a:pt x="164" y="31"/>
                </a:lnTo>
                <a:lnTo>
                  <a:pt x="149" y="22"/>
                </a:lnTo>
                <a:lnTo>
                  <a:pt x="166" y="20"/>
                </a:lnTo>
                <a:lnTo>
                  <a:pt x="181" y="18"/>
                </a:lnTo>
                <a:lnTo>
                  <a:pt x="197" y="13"/>
                </a:lnTo>
                <a:lnTo>
                  <a:pt x="211" y="9"/>
                </a:lnTo>
                <a:lnTo>
                  <a:pt x="227" y="4"/>
                </a:lnTo>
                <a:lnTo>
                  <a:pt x="241" y="1"/>
                </a:lnTo>
                <a:lnTo>
                  <a:pt x="252" y="0"/>
                </a:lnTo>
                <a:lnTo>
                  <a:pt x="262" y="9"/>
                </a:lnTo>
                <a:lnTo>
                  <a:pt x="286" y="18"/>
                </a:lnTo>
                <a:lnTo>
                  <a:pt x="294" y="22"/>
                </a:lnTo>
                <a:lnTo>
                  <a:pt x="304" y="24"/>
                </a:lnTo>
                <a:lnTo>
                  <a:pt x="320" y="18"/>
                </a:lnTo>
                <a:lnTo>
                  <a:pt x="336" y="13"/>
                </a:lnTo>
                <a:lnTo>
                  <a:pt x="338" y="15"/>
                </a:lnTo>
                <a:lnTo>
                  <a:pt x="336" y="22"/>
                </a:lnTo>
                <a:lnTo>
                  <a:pt x="353" y="33"/>
                </a:lnTo>
                <a:lnTo>
                  <a:pt x="370" y="45"/>
                </a:lnTo>
                <a:lnTo>
                  <a:pt x="388" y="56"/>
                </a:lnTo>
                <a:lnTo>
                  <a:pt x="404" y="68"/>
                </a:lnTo>
                <a:lnTo>
                  <a:pt x="407" y="64"/>
                </a:lnTo>
                <a:lnTo>
                  <a:pt x="416" y="68"/>
                </a:lnTo>
                <a:lnTo>
                  <a:pt x="432" y="64"/>
                </a:lnTo>
                <a:lnTo>
                  <a:pt x="450" y="75"/>
                </a:lnTo>
                <a:lnTo>
                  <a:pt x="467" y="86"/>
                </a:lnTo>
                <a:lnTo>
                  <a:pt x="484" y="82"/>
                </a:lnTo>
                <a:lnTo>
                  <a:pt x="498" y="97"/>
                </a:lnTo>
                <a:lnTo>
                  <a:pt x="492" y="108"/>
                </a:lnTo>
                <a:lnTo>
                  <a:pt x="486" y="112"/>
                </a:lnTo>
                <a:lnTo>
                  <a:pt x="492" y="129"/>
                </a:lnTo>
                <a:lnTo>
                  <a:pt x="481" y="130"/>
                </a:lnTo>
                <a:lnTo>
                  <a:pt x="461" y="127"/>
                </a:lnTo>
                <a:lnTo>
                  <a:pt x="462" y="140"/>
                </a:lnTo>
                <a:lnTo>
                  <a:pt x="463" y="153"/>
                </a:lnTo>
                <a:lnTo>
                  <a:pt x="468" y="159"/>
                </a:lnTo>
                <a:lnTo>
                  <a:pt x="451" y="158"/>
                </a:lnTo>
                <a:lnTo>
                  <a:pt x="436" y="164"/>
                </a:lnTo>
                <a:lnTo>
                  <a:pt x="444" y="168"/>
                </a:lnTo>
                <a:lnTo>
                  <a:pt x="450" y="180"/>
                </a:lnTo>
                <a:lnTo>
                  <a:pt x="456" y="192"/>
                </a:lnTo>
                <a:lnTo>
                  <a:pt x="456" y="194"/>
                </a:lnTo>
                <a:lnTo>
                  <a:pt x="452" y="198"/>
                </a:lnTo>
                <a:lnTo>
                  <a:pt x="436" y="187"/>
                </a:lnTo>
                <a:lnTo>
                  <a:pt x="419" y="189"/>
                </a:lnTo>
                <a:lnTo>
                  <a:pt x="402" y="190"/>
                </a:lnTo>
                <a:lnTo>
                  <a:pt x="384" y="190"/>
                </a:lnTo>
                <a:lnTo>
                  <a:pt x="372" y="189"/>
                </a:lnTo>
                <a:lnTo>
                  <a:pt x="365" y="199"/>
                </a:lnTo>
                <a:lnTo>
                  <a:pt x="352" y="196"/>
                </a:lnTo>
                <a:lnTo>
                  <a:pt x="337" y="195"/>
                </a:lnTo>
                <a:lnTo>
                  <a:pt x="329" y="202"/>
                </a:lnTo>
                <a:lnTo>
                  <a:pt x="317" y="211"/>
                </a:lnTo>
                <a:lnTo>
                  <a:pt x="305" y="220"/>
                </a:lnTo>
                <a:lnTo>
                  <a:pt x="292" y="213"/>
                </a:lnTo>
                <a:lnTo>
                  <a:pt x="280" y="207"/>
                </a:lnTo>
                <a:lnTo>
                  <a:pt x="278" y="194"/>
                </a:lnTo>
                <a:lnTo>
                  <a:pt x="264" y="184"/>
                </a:lnTo>
                <a:lnTo>
                  <a:pt x="251" y="183"/>
                </a:lnTo>
                <a:lnTo>
                  <a:pt x="238" y="182"/>
                </a:lnTo>
                <a:lnTo>
                  <a:pt x="223" y="182"/>
                </a:lnTo>
                <a:lnTo>
                  <a:pt x="210" y="181"/>
                </a:lnTo>
                <a:lnTo>
                  <a:pt x="197" y="164"/>
                </a:lnTo>
                <a:lnTo>
                  <a:pt x="180" y="156"/>
                </a:lnTo>
                <a:lnTo>
                  <a:pt x="163" y="147"/>
                </a:lnTo>
                <a:lnTo>
                  <a:pt x="146" y="153"/>
                </a:lnTo>
                <a:lnTo>
                  <a:pt x="131" y="159"/>
                </a:lnTo>
                <a:lnTo>
                  <a:pt x="134" y="174"/>
                </a:lnTo>
                <a:lnTo>
                  <a:pt x="138" y="188"/>
                </a:lnTo>
                <a:lnTo>
                  <a:pt x="142" y="202"/>
                </a:lnTo>
                <a:lnTo>
                  <a:pt x="145" y="216"/>
                </a:lnTo>
                <a:lnTo>
                  <a:pt x="130" y="212"/>
                </a:lnTo>
                <a:lnTo>
                  <a:pt x="115" y="207"/>
                </a:lnTo>
                <a:lnTo>
                  <a:pt x="116" y="195"/>
                </a:lnTo>
                <a:lnTo>
                  <a:pt x="94" y="195"/>
                </a:lnTo>
                <a:lnTo>
                  <a:pt x="83" y="192"/>
                </a:lnTo>
                <a:lnTo>
                  <a:pt x="78" y="188"/>
                </a:lnTo>
                <a:lnTo>
                  <a:pt x="66" y="172"/>
                </a:lnTo>
                <a:lnTo>
                  <a:pt x="60" y="169"/>
                </a:lnTo>
                <a:lnTo>
                  <a:pt x="74" y="168"/>
                </a:lnTo>
                <a:lnTo>
                  <a:pt x="68" y="162"/>
                </a:lnTo>
                <a:lnTo>
                  <a:pt x="76" y="156"/>
                </a:lnTo>
                <a:lnTo>
                  <a:pt x="92" y="156"/>
                </a:lnTo>
                <a:lnTo>
                  <a:pt x="88" y="150"/>
                </a:lnTo>
                <a:lnTo>
                  <a:pt x="85" y="132"/>
                </a:lnTo>
                <a:lnTo>
                  <a:pt x="68" y="130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5" name="Freeform 310">
            <a:extLst>
              <a:ext uri="{FF2B5EF4-FFF2-40B4-BE49-F238E27FC236}">
                <a16:creationId xmlns:a16="http://schemas.microsoft.com/office/drawing/2014/main" id="{5F21C93C-12E0-4ECD-B154-F02BDD1FE191}"/>
              </a:ext>
            </a:extLst>
          </p:cNvPr>
          <p:cNvSpPr>
            <a:spLocks/>
          </p:cNvSpPr>
          <p:nvPr/>
        </p:nvSpPr>
        <p:spPr bwMode="gray">
          <a:xfrm>
            <a:off x="5379054" y="2512045"/>
            <a:ext cx="206467" cy="87621"/>
          </a:xfrm>
          <a:custGeom>
            <a:avLst/>
            <a:gdLst>
              <a:gd name="T0" fmla="*/ 22 w 108"/>
              <a:gd name="T1" fmla="*/ 15 h 41"/>
              <a:gd name="T2" fmla="*/ 0 w 108"/>
              <a:gd name="T3" fmla="*/ 1 h 41"/>
              <a:gd name="T4" fmla="*/ 1 w 108"/>
              <a:gd name="T5" fmla="*/ 0 h 41"/>
              <a:gd name="T6" fmla="*/ 16 w 108"/>
              <a:gd name="T7" fmla="*/ 1 h 41"/>
              <a:gd name="T8" fmla="*/ 30 w 108"/>
              <a:gd name="T9" fmla="*/ 3 h 41"/>
              <a:gd name="T10" fmla="*/ 49 w 108"/>
              <a:gd name="T11" fmla="*/ 10 h 41"/>
              <a:gd name="T12" fmla="*/ 68 w 108"/>
              <a:gd name="T13" fmla="*/ 18 h 41"/>
              <a:gd name="T14" fmla="*/ 88 w 108"/>
              <a:gd name="T15" fmla="*/ 25 h 41"/>
              <a:gd name="T16" fmla="*/ 108 w 108"/>
              <a:gd name="T17" fmla="*/ 34 h 41"/>
              <a:gd name="T18" fmla="*/ 103 w 108"/>
              <a:gd name="T19" fmla="*/ 41 h 41"/>
              <a:gd name="T20" fmla="*/ 90 w 108"/>
              <a:gd name="T21" fmla="*/ 39 h 41"/>
              <a:gd name="T22" fmla="*/ 71 w 108"/>
              <a:gd name="T23" fmla="*/ 39 h 41"/>
              <a:gd name="T24" fmla="*/ 52 w 108"/>
              <a:gd name="T25" fmla="*/ 39 h 41"/>
              <a:gd name="T26" fmla="*/ 35 w 108"/>
              <a:gd name="T27" fmla="*/ 40 h 41"/>
              <a:gd name="T28" fmla="*/ 35 w 108"/>
              <a:gd name="T29" fmla="*/ 28 h 41"/>
              <a:gd name="T30" fmla="*/ 22 w 108"/>
              <a:gd name="T31" fmla="*/ 15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08" h="41">
                <a:moveTo>
                  <a:pt x="22" y="15"/>
                </a:moveTo>
                <a:lnTo>
                  <a:pt x="0" y="1"/>
                </a:lnTo>
                <a:lnTo>
                  <a:pt x="1" y="0"/>
                </a:lnTo>
                <a:lnTo>
                  <a:pt x="16" y="1"/>
                </a:lnTo>
                <a:lnTo>
                  <a:pt x="30" y="3"/>
                </a:lnTo>
                <a:lnTo>
                  <a:pt x="49" y="10"/>
                </a:lnTo>
                <a:lnTo>
                  <a:pt x="68" y="18"/>
                </a:lnTo>
                <a:lnTo>
                  <a:pt x="88" y="25"/>
                </a:lnTo>
                <a:lnTo>
                  <a:pt x="108" y="34"/>
                </a:lnTo>
                <a:lnTo>
                  <a:pt x="103" y="41"/>
                </a:lnTo>
                <a:lnTo>
                  <a:pt x="90" y="39"/>
                </a:lnTo>
                <a:lnTo>
                  <a:pt x="71" y="39"/>
                </a:lnTo>
                <a:lnTo>
                  <a:pt x="52" y="39"/>
                </a:lnTo>
                <a:lnTo>
                  <a:pt x="35" y="40"/>
                </a:lnTo>
                <a:lnTo>
                  <a:pt x="35" y="28"/>
                </a:lnTo>
                <a:lnTo>
                  <a:pt x="22" y="1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6" name="Freeform 311">
            <a:extLst>
              <a:ext uri="{FF2B5EF4-FFF2-40B4-BE49-F238E27FC236}">
                <a16:creationId xmlns:a16="http://schemas.microsoft.com/office/drawing/2014/main" id="{05567DBA-797F-4510-8E0C-A2D8B96FE777}"/>
              </a:ext>
            </a:extLst>
          </p:cNvPr>
          <p:cNvSpPr>
            <a:spLocks/>
          </p:cNvSpPr>
          <p:nvPr/>
        </p:nvSpPr>
        <p:spPr bwMode="gray">
          <a:xfrm>
            <a:off x="6156746" y="2529569"/>
            <a:ext cx="244320" cy="142144"/>
          </a:xfrm>
          <a:custGeom>
            <a:avLst/>
            <a:gdLst>
              <a:gd name="T0" fmla="*/ 42 w 127"/>
              <a:gd name="T1" fmla="*/ 37 h 65"/>
              <a:gd name="T2" fmla="*/ 27 w 127"/>
              <a:gd name="T3" fmla="*/ 29 h 65"/>
              <a:gd name="T4" fmla="*/ 9 w 127"/>
              <a:gd name="T5" fmla="*/ 27 h 65"/>
              <a:gd name="T6" fmla="*/ 0 w 127"/>
              <a:gd name="T7" fmla="*/ 15 h 65"/>
              <a:gd name="T8" fmla="*/ 8 w 127"/>
              <a:gd name="T9" fmla="*/ 8 h 65"/>
              <a:gd name="T10" fmla="*/ 23 w 127"/>
              <a:gd name="T11" fmla="*/ 9 h 65"/>
              <a:gd name="T12" fmla="*/ 36 w 127"/>
              <a:gd name="T13" fmla="*/ 12 h 65"/>
              <a:gd name="T14" fmla="*/ 43 w 127"/>
              <a:gd name="T15" fmla="*/ 2 h 65"/>
              <a:gd name="T16" fmla="*/ 55 w 127"/>
              <a:gd name="T17" fmla="*/ 3 h 65"/>
              <a:gd name="T18" fmla="*/ 73 w 127"/>
              <a:gd name="T19" fmla="*/ 3 h 65"/>
              <a:gd name="T20" fmla="*/ 90 w 127"/>
              <a:gd name="T21" fmla="*/ 2 h 65"/>
              <a:gd name="T22" fmla="*/ 107 w 127"/>
              <a:gd name="T23" fmla="*/ 0 h 65"/>
              <a:gd name="T24" fmla="*/ 123 w 127"/>
              <a:gd name="T25" fmla="*/ 11 h 65"/>
              <a:gd name="T26" fmla="*/ 127 w 127"/>
              <a:gd name="T27" fmla="*/ 18 h 65"/>
              <a:gd name="T28" fmla="*/ 117 w 127"/>
              <a:gd name="T29" fmla="*/ 26 h 65"/>
              <a:gd name="T30" fmla="*/ 107 w 127"/>
              <a:gd name="T31" fmla="*/ 35 h 65"/>
              <a:gd name="T32" fmla="*/ 93 w 127"/>
              <a:gd name="T33" fmla="*/ 38 h 65"/>
              <a:gd name="T34" fmla="*/ 85 w 127"/>
              <a:gd name="T35" fmla="*/ 48 h 65"/>
              <a:gd name="T36" fmla="*/ 77 w 127"/>
              <a:gd name="T37" fmla="*/ 47 h 65"/>
              <a:gd name="T38" fmla="*/ 71 w 127"/>
              <a:gd name="T39" fmla="*/ 47 h 65"/>
              <a:gd name="T40" fmla="*/ 61 w 127"/>
              <a:gd name="T41" fmla="*/ 53 h 65"/>
              <a:gd name="T42" fmla="*/ 56 w 127"/>
              <a:gd name="T43" fmla="*/ 65 h 65"/>
              <a:gd name="T44" fmla="*/ 33 w 127"/>
              <a:gd name="T45" fmla="*/ 61 h 65"/>
              <a:gd name="T46" fmla="*/ 11 w 127"/>
              <a:gd name="T47" fmla="*/ 59 h 65"/>
              <a:gd name="T48" fmla="*/ 9 w 127"/>
              <a:gd name="T49" fmla="*/ 48 h 65"/>
              <a:gd name="T50" fmla="*/ 26 w 127"/>
              <a:gd name="T51" fmla="*/ 43 h 65"/>
              <a:gd name="T52" fmla="*/ 42 w 127"/>
              <a:gd name="T53" fmla="*/ 37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27" h="65">
                <a:moveTo>
                  <a:pt x="42" y="37"/>
                </a:moveTo>
                <a:lnTo>
                  <a:pt x="27" y="29"/>
                </a:lnTo>
                <a:lnTo>
                  <a:pt x="9" y="27"/>
                </a:lnTo>
                <a:lnTo>
                  <a:pt x="0" y="15"/>
                </a:lnTo>
                <a:lnTo>
                  <a:pt x="8" y="8"/>
                </a:lnTo>
                <a:lnTo>
                  <a:pt x="23" y="9"/>
                </a:lnTo>
                <a:lnTo>
                  <a:pt x="36" y="12"/>
                </a:lnTo>
                <a:lnTo>
                  <a:pt x="43" y="2"/>
                </a:lnTo>
                <a:lnTo>
                  <a:pt x="55" y="3"/>
                </a:lnTo>
                <a:lnTo>
                  <a:pt x="73" y="3"/>
                </a:lnTo>
                <a:lnTo>
                  <a:pt x="90" y="2"/>
                </a:lnTo>
                <a:lnTo>
                  <a:pt x="107" y="0"/>
                </a:lnTo>
                <a:lnTo>
                  <a:pt x="123" y="11"/>
                </a:lnTo>
                <a:lnTo>
                  <a:pt x="127" y="18"/>
                </a:lnTo>
                <a:lnTo>
                  <a:pt x="117" y="26"/>
                </a:lnTo>
                <a:lnTo>
                  <a:pt x="107" y="35"/>
                </a:lnTo>
                <a:lnTo>
                  <a:pt x="93" y="38"/>
                </a:lnTo>
                <a:lnTo>
                  <a:pt x="85" y="48"/>
                </a:lnTo>
                <a:lnTo>
                  <a:pt x="77" y="47"/>
                </a:lnTo>
                <a:lnTo>
                  <a:pt x="71" y="47"/>
                </a:lnTo>
                <a:lnTo>
                  <a:pt x="61" y="53"/>
                </a:lnTo>
                <a:lnTo>
                  <a:pt x="56" y="65"/>
                </a:lnTo>
                <a:lnTo>
                  <a:pt x="33" y="61"/>
                </a:lnTo>
                <a:lnTo>
                  <a:pt x="11" y="59"/>
                </a:lnTo>
                <a:lnTo>
                  <a:pt x="9" y="48"/>
                </a:lnTo>
                <a:lnTo>
                  <a:pt x="26" y="43"/>
                </a:lnTo>
                <a:lnTo>
                  <a:pt x="42" y="3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7" name="Freeform 312">
            <a:extLst>
              <a:ext uri="{FF2B5EF4-FFF2-40B4-BE49-F238E27FC236}">
                <a16:creationId xmlns:a16="http://schemas.microsoft.com/office/drawing/2014/main" id="{697D5B3D-82FA-4245-A5A5-FB84505ACE54}"/>
              </a:ext>
            </a:extLst>
          </p:cNvPr>
          <p:cNvSpPr>
            <a:spLocks/>
          </p:cNvSpPr>
          <p:nvPr/>
        </p:nvSpPr>
        <p:spPr bwMode="gray">
          <a:xfrm>
            <a:off x="5709402" y="2550988"/>
            <a:ext cx="371640" cy="264814"/>
          </a:xfrm>
          <a:custGeom>
            <a:avLst/>
            <a:gdLst>
              <a:gd name="T0" fmla="*/ 184 w 194"/>
              <a:gd name="T1" fmla="*/ 95 h 123"/>
              <a:gd name="T2" fmla="*/ 180 w 194"/>
              <a:gd name="T3" fmla="*/ 107 h 123"/>
              <a:gd name="T4" fmla="*/ 166 w 194"/>
              <a:gd name="T5" fmla="*/ 114 h 123"/>
              <a:gd name="T6" fmla="*/ 163 w 194"/>
              <a:gd name="T7" fmla="*/ 123 h 123"/>
              <a:gd name="T8" fmla="*/ 156 w 194"/>
              <a:gd name="T9" fmla="*/ 120 h 123"/>
              <a:gd name="T10" fmla="*/ 142 w 194"/>
              <a:gd name="T11" fmla="*/ 117 h 123"/>
              <a:gd name="T12" fmla="*/ 136 w 194"/>
              <a:gd name="T13" fmla="*/ 100 h 123"/>
              <a:gd name="T14" fmla="*/ 126 w 194"/>
              <a:gd name="T15" fmla="*/ 97 h 123"/>
              <a:gd name="T16" fmla="*/ 114 w 194"/>
              <a:gd name="T17" fmla="*/ 90 h 123"/>
              <a:gd name="T18" fmla="*/ 102 w 194"/>
              <a:gd name="T19" fmla="*/ 83 h 123"/>
              <a:gd name="T20" fmla="*/ 80 w 194"/>
              <a:gd name="T21" fmla="*/ 76 h 123"/>
              <a:gd name="T22" fmla="*/ 68 w 194"/>
              <a:gd name="T23" fmla="*/ 77 h 123"/>
              <a:gd name="T24" fmla="*/ 52 w 194"/>
              <a:gd name="T25" fmla="*/ 78 h 123"/>
              <a:gd name="T26" fmla="*/ 43 w 194"/>
              <a:gd name="T27" fmla="*/ 89 h 123"/>
              <a:gd name="T28" fmla="*/ 38 w 194"/>
              <a:gd name="T29" fmla="*/ 88 h 123"/>
              <a:gd name="T30" fmla="*/ 34 w 194"/>
              <a:gd name="T31" fmla="*/ 75 h 123"/>
              <a:gd name="T32" fmla="*/ 31 w 194"/>
              <a:gd name="T33" fmla="*/ 61 h 123"/>
              <a:gd name="T34" fmla="*/ 22 w 194"/>
              <a:gd name="T35" fmla="*/ 57 h 123"/>
              <a:gd name="T36" fmla="*/ 25 w 194"/>
              <a:gd name="T37" fmla="*/ 53 h 123"/>
              <a:gd name="T38" fmla="*/ 26 w 194"/>
              <a:gd name="T39" fmla="*/ 52 h 123"/>
              <a:gd name="T40" fmla="*/ 22 w 194"/>
              <a:gd name="T41" fmla="*/ 46 h 123"/>
              <a:gd name="T42" fmla="*/ 18 w 194"/>
              <a:gd name="T43" fmla="*/ 47 h 123"/>
              <a:gd name="T44" fmla="*/ 18 w 194"/>
              <a:gd name="T45" fmla="*/ 48 h 123"/>
              <a:gd name="T46" fmla="*/ 13 w 194"/>
              <a:gd name="T47" fmla="*/ 33 h 123"/>
              <a:gd name="T48" fmla="*/ 14 w 194"/>
              <a:gd name="T49" fmla="*/ 31 h 123"/>
              <a:gd name="T50" fmla="*/ 22 w 194"/>
              <a:gd name="T51" fmla="*/ 31 h 123"/>
              <a:gd name="T52" fmla="*/ 28 w 194"/>
              <a:gd name="T53" fmla="*/ 35 h 123"/>
              <a:gd name="T54" fmla="*/ 32 w 194"/>
              <a:gd name="T55" fmla="*/ 35 h 123"/>
              <a:gd name="T56" fmla="*/ 33 w 194"/>
              <a:gd name="T57" fmla="*/ 33 h 123"/>
              <a:gd name="T58" fmla="*/ 34 w 194"/>
              <a:gd name="T59" fmla="*/ 28 h 123"/>
              <a:gd name="T60" fmla="*/ 22 w 194"/>
              <a:gd name="T61" fmla="*/ 15 h 123"/>
              <a:gd name="T62" fmla="*/ 12 w 194"/>
              <a:gd name="T63" fmla="*/ 13 h 123"/>
              <a:gd name="T64" fmla="*/ 12 w 194"/>
              <a:gd name="T65" fmla="*/ 27 h 123"/>
              <a:gd name="T66" fmla="*/ 12 w 194"/>
              <a:gd name="T67" fmla="*/ 28 h 123"/>
              <a:gd name="T68" fmla="*/ 3 w 194"/>
              <a:gd name="T69" fmla="*/ 11 h 123"/>
              <a:gd name="T70" fmla="*/ 3 w 194"/>
              <a:gd name="T71" fmla="*/ 4 h 123"/>
              <a:gd name="T72" fmla="*/ 0 w 194"/>
              <a:gd name="T73" fmla="*/ 0 h 123"/>
              <a:gd name="T74" fmla="*/ 22 w 194"/>
              <a:gd name="T75" fmla="*/ 0 h 123"/>
              <a:gd name="T76" fmla="*/ 21 w 194"/>
              <a:gd name="T77" fmla="*/ 12 h 123"/>
              <a:gd name="T78" fmla="*/ 36 w 194"/>
              <a:gd name="T79" fmla="*/ 17 h 123"/>
              <a:gd name="T80" fmla="*/ 51 w 194"/>
              <a:gd name="T81" fmla="*/ 21 h 123"/>
              <a:gd name="T82" fmla="*/ 69 w 194"/>
              <a:gd name="T83" fmla="*/ 25 h 123"/>
              <a:gd name="T84" fmla="*/ 67 w 194"/>
              <a:gd name="T85" fmla="*/ 16 h 123"/>
              <a:gd name="T86" fmla="*/ 73 w 194"/>
              <a:gd name="T87" fmla="*/ 12 h 123"/>
              <a:gd name="T88" fmla="*/ 84 w 194"/>
              <a:gd name="T89" fmla="*/ 1 h 123"/>
              <a:gd name="T90" fmla="*/ 100 w 194"/>
              <a:gd name="T91" fmla="*/ 12 h 123"/>
              <a:gd name="T92" fmla="*/ 111 w 194"/>
              <a:gd name="T93" fmla="*/ 29 h 123"/>
              <a:gd name="T94" fmla="*/ 129 w 194"/>
              <a:gd name="T95" fmla="*/ 36 h 123"/>
              <a:gd name="T96" fmla="*/ 140 w 194"/>
              <a:gd name="T97" fmla="*/ 41 h 123"/>
              <a:gd name="T98" fmla="*/ 163 w 194"/>
              <a:gd name="T99" fmla="*/ 55 h 123"/>
              <a:gd name="T100" fmla="*/ 186 w 194"/>
              <a:gd name="T101" fmla="*/ 70 h 123"/>
              <a:gd name="T102" fmla="*/ 194 w 194"/>
              <a:gd name="T103" fmla="*/ 85 h 123"/>
              <a:gd name="T104" fmla="*/ 189 w 194"/>
              <a:gd name="T105" fmla="*/ 90 h 123"/>
              <a:gd name="T106" fmla="*/ 184 w 194"/>
              <a:gd name="T107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94" h="123">
                <a:moveTo>
                  <a:pt x="184" y="95"/>
                </a:moveTo>
                <a:lnTo>
                  <a:pt x="180" y="107"/>
                </a:lnTo>
                <a:lnTo>
                  <a:pt x="166" y="114"/>
                </a:lnTo>
                <a:lnTo>
                  <a:pt x="163" y="123"/>
                </a:lnTo>
                <a:lnTo>
                  <a:pt x="156" y="120"/>
                </a:lnTo>
                <a:lnTo>
                  <a:pt x="142" y="117"/>
                </a:lnTo>
                <a:lnTo>
                  <a:pt x="136" y="100"/>
                </a:lnTo>
                <a:lnTo>
                  <a:pt x="126" y="97"/>
                </a:lnTo>
                <a:lnTo>
                  <a:pt x="114" y="90"/>
                </a:lnTo>
                <a:lnTo>
                  <a:pt x="102" y="83"/>
                </a:lnTo>
                <a:lnTo>
                  <a:pt x="80" y="76"/>
                </a:lnTo>
                <a:lnTo>
                  <a:pt x="68" y="77"/>
                </a:lnTo>
                <a:lnTo>
                  <a:pt x="52" y="78"/>
                </a:lnTo>
                <a:lnTo>
                  <a:pt x="43" y="89"/>
                </a:lnTo>
                <a:lnTo>
                  <a:pt x="38" y="88"/>
                </a:lnTo>
                <a:lnTo>
                  <a:pt x="34" y="75"/>
                </a:lnTo>
                <a:lnTo>
                  <a:pt x="31" y="61"/>
                </a:lnTo>
                <a:lnTo>
                  <a:pt x="22" y="57"/>
                </a:lnTo>
                <a:lnTo>
                  <a:pt x="25" y="53"/>
                </a:lnTo>
                <a:lnTo>
                  <a:pt x="26" y="52"/>
                </a:lnTo>
                <a:lnTo>
                  <a:pt x="22" y="46"/>
                </a:lnTo>
                <a:lnTo>
                  <a:pt x="18" y="47"/>
                </a:lnTo>
                <a:lnTo>
                  <a:pt x="18" y="48"/>
                </a:lnTo>
                <a:lnTo>
                  <a:pt x="13" y="33"/>
                </a:lnTo>
                <a:lnTo>
                  <a:pt x="14" y="31"/>
                </a:lnTo>
                <a:lnTo>
                  <a:pt x="22" y="31"/>
                </a:lnTo>
                <a:lnTo>
                  <a:pt x="28" y="35"/>
                </a:lnTo>
                <a:lnTo>
                  <a:pt x="32" y="35"/>
                </a:lnTo>
                <a:lnTo>
                  <a:pt x="33" y="33"/>
                </a:lnTo>
                <a:lnTo>
                  <a:pt x="34" y="28"/>
                </a:lnTo>
                <a:lnTo>
                  <a:pt x="22" y="15"/>
                </a:lnTo>
                <a:lnTo>
                  <a:pt x="12" y="13"/>
                </a:lnTo>
                <a:lnTo>
                  <a:pt x="12" y="27"/>
                </a:lnTo>
                <a:lnTo>
                  <a:pt x="12" y="28"/>
                </a:lnTo>
                <a:lnTo>
                  <a:pt x="3" y="11"/>
                </a:lnTo>
                <a:lnTo>
                  <a:pt x="3" y="4"/>
                </a:lnTo>
                <a:lnTo>
                  <a:pt x="0" y="0"/>
                </a:lnTo>
                <a:lnTo>
                  <a:pt x="22" y="0"/>
                </a:lnTo>
                <a:lnTo>
                  <a:pt x="21" y="12"/>
                </a:lnTo>
                <a:lnTo>
                  <a:pt x="36" y="17"/>
                </a:lnTo>
                <a:lnTo>
                  <a:pt x="51" y="21"/>
                </a:lnTo>
                <a:lnTo>
                  <a:pt x="69" y="25"/>
                </a:lnTo>
                <a:lnTo>
                  <a:pt x="67" y="16"/>
                </a:lnTo>
                <a:lnTo>
                  <a:pt x="73" y="12"/>
                </a:lnTo>
                <a:lnTo>
                  <a:pt x="84" y="1"/>
                </a:lnTo>
                <a:lnTo>
                  <a:pt x="100" y="12"/>
                </a:lnTo>
                <a:lnTo>
                  <a:pt x="111" y="29"/>
                </a:lnTo>
                <a:lnTo>
                  <a:pt x="129" y="36"/>
                </a:lnTo>
                <a:lnTo>
                  <a:pt x="140" y="41"/>
                </a:lnTo>
                <a:lnTo>
                  <a:pt x="163" y="55"/>
                </a:lnTo>
                <a:lnTo>
                  <a:pt x="186" y="70"/>
                </a:lnTo>
                <a:lnTo>
                  <a:pt x="194" y="85"/>
                </a:lnTo>
                <a:lnTo>
                  <a:pt x="189" y="90"/>
                </a:lnTo>
                <a:lnTo>
                  <a:pt x="184" y="9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8" name="Freeform 313">
            <a:extLst>
              <a:ext uri="{FF2B5EF4-FFF2-40B4-BE49-F238E27FC236}">
                <a16:creationId xmlns:a16="http://schemas.microsoft.com/office/drawing/2014/main" id="{DEC2357B-2B1D-4B58-B429-1BF46EEC0316}"/>
              </a:ext>
            </a:extLst>
          </p:cNvPr>
          <p:cNvSpPr>
            <a:spLocks/>
          </p:cNvSpPr>
          <p:nvPr/>
        </p:nvSpPr>
        <p:spPr bwMode="gray">
          <a:xfrm>
            <a:off x="5972648" y="2702866"/>
            <a:ext cx="344111" cy="315439"/>
          </a:xfrm>
          <a:custGeom>
            <a:avLst/>
            <a:gdLst>
              <a:gd name="T0" fmla="*/ 1 w 179"/>
              <a:gd name="T1" fmla="*/ 64 h 145"/>
              <a:gd name="T2" fmla="*/ 0 w 179"/>
              <a:gd name="T3" fmla="*/ 66 h 145"/>
              <a:gd name="T4" fmla="*/ 0 w 179"/>
              <a:gd name="T5" fmla="*/ 74 h 145"/>
              <a:gd name="T6" fmla="*/ 5 w 179"/>
              <a:gd name="T7" fmla="*/ 78 h 145"/>
              <a:gd name="T8" fmla="*/ 3 w 179"/>
              <a:gd name="T9" fmla="*/ 82 h 145"/>
              <a:gd name="T10" fmla="*/ 7 w 179"/>
              <a:gd name="T11" fmla="*/ 95 h 145"/>
              <a:gd name="T12" fmla="*/ 9 w 179"/>
              <a:gd name="T13" fmla="*/ 109 h 145"/>
              <a:gd name="T14" fmla="*/ 23 w 179"/>
              <a:gd name="T15" fmla="*/ 113 h 145"/>
              <a:gd name="T16" fmla="*/ 25 w 179"/>
              <a:gd name="T17" fmla="*/ 119 h 145"/>
              <a:gd name="T18" fmla="*/ 15 w 179"/>
              <a:gd name="T19" fmla="*/ 138 h 145"/>
              <a:gd name="T20" fmla="*/ 27 w 179"/>
              <a:gd name="T21" fmla="*/ 142 h 145"/>
              <a:gd name="T22" fmla="*/ 38 w 179"/>
              <a:gd name="T23" fmla="*/ 145 h 145"/>
              <a:gd name="T24" fmla="*/ 60 w 179"/>
              <a:gd name="T25" fmla="*/ 144 h 145"/>
              <a:gd name="T26" fmla="*/ 74 w 179"/>
              <a:gd name="T27" fmla="*/ 142 h 145"/>
              <a:gd name="T28" fmla="*/ 89 w 179"/>
              <a:gd name="T29" fmla="*/ 138 h 145"/>
              <a:gd name="T30" fmla="*/ 89 w 179"/>
              <a:gd name="T31" fmla="*/ 131 h 145"/>
              <a:gd name="T32" fmla="*/ 91 w 179"/>
              <a:gd name="T33" fmla="*/ 118 h 145"/>
              <a:gd name="T34" fmla="*/ 104 w 179"/>
              <a:gd name="T35" fmla="*/ 113 h 145"/>
              <a:gd name="T36" fmla="*/ 108 w 179"/>
              <a:gd name="T37" fmla="*/ 108 h 145"/>
              <a:gd name="T38" fmla="*/ 121 w 179"/>
              <a:gd name="T39" fmla="*/ 109 h 145"/>
              <a:gd name="T40" fmla="*/ 122 w 179"/>
              <a:gd name="T41" fmla="*/ 91 h 145"/>
              <a:gd name="T42" fmla="*/ 133 w 179"/>
              <a:gd name="T43" fmla="*/ 82 h 145"/>
              <a:gd name="T44" fmla="*/ 125 w 179"/>
              <a:gd name="T45" fmla="*/ 73 h 145"/>
              <a:gd name="T46" fmla="*/ 137 w 179"/>
              <a:gd name="T47" fmla="*/ 72 h 145"/>
              <a:gd name="T48" fmla="*/ 139 w 179"/>
              <a:gd name="T49" fmla="*/ 65 h 145"/>
              <a:gd name="T50" fmla="*/ 143 w 179"/>
              <a:gd name="T51" fmla="*/ 53 h 145"/>
              <a:gd name="T52" fmla="*/ 135 w 179"/>
              <a:gd name="T53" fmla="*/ 40 h 145"/>
              <a:gd name="T54" fmla="*/ 143 w 179"/>
              <a:gd name="T55" fmla="*/ 30 h 145"/>
              <a:gd name="T56" fmla="*/ 158 w 179"/>
              <a:gd name="T57" fmla="*/ 26 h 145"/>
              <a:gd name="T58" fmla="*/ 175 w 179"/>
              <a:gd name="T59" fmla="*/ 23 h 145"/>
              <a:gd name="T60" fmla="*/ 174 w 179"/>
              <a:gd name="T61" fmla="*/ 19 h 145"/>
              <a:gd name="T62" fmla="*/ 179 w 179"/>
              <a:gd name="T63" fmla="*/ 19 h 145"/>
              <a:gd name="T64" fmla="*/ 167 w 179"/>
              <a:gd name="T65" fmla="*/ 18 h 145"/>
              <a:gd name="T66" fmla="*/ 163 w 179"/>
              <a:gd name="T67" fmla="*/ 18 h 145"/>
              <a:gd name="T68" fmla="*/ 152 w 179"/>
              <a:gd name="T69" fmla="*/ 18 h 145"/>
              <a:gd name="T70" fmla="*/ 135 w 179"/>
              <a:gd name="T71" fmla="*/ 26 h 145"/>
              <a:gd name="T72" fmla="*/ 131 w 179"/>
              <a:gd name="T73" fmla="*/ 7 h 145"/>
              <a:gd name="T74" fmla="*/ 127 w 179"/>
              <a:gd name="T75" fmla="*/ 7 h 145"/>
              <a:gd name="T76" fmla="*/ 122 w 179"/>
              <a:gd name="T77" fmla="*/ 0 h 145"/>
              <a:gd name="T78" fmla="*/ 116 w 179"/>
              <a:gd name="T79" fmla="*/ 2 h 145"/>
              <a:gd name="T80" fmla="*/ 115 w 179"/>
              <a:gd name="T81" fmla="*/ 12 h 145"/>
              <a:gd name="T82" fmla="*/ 104 w 179"/>
              <a:gd name="T83" fmla="*/ 17 h 145"/>
              <a:gd name="T84" fmla="*/ 102 w 179"/>
              <a:gd name="T85" fmla="*/ 20 h 145"/>
              <a:gd name="T86" fmla="*/ 92 w 179"/>
              <a:gd name="T87" fmla="*/ 20 h 145"/>
              <a:gd name="T88" fmla="*/ 86 w 179"/>
              <a:gd name="T89" fmla="*/ 22 h 145"/>
              <a:gd name="T90" fmla="*/ 81 w 179"/>
              <a:gd name="T91" fmla="*/ 19 h 145"/>
              <a:gd name="T92" fmla="*/ 68 w 179"/>
              <a:gd name="T93" fmla="*/ 17 h 145"/>
              <a:gd name="T94" fmla="*/ 55 w 179"/>
              <a:gd name="T95" fmla="*/ 14 h 145"/>
              <a:gd name="T96" fmla="*/ 50 w 179"/>
              <a:gd name="T97" fmla="*/ 19 h 145"/>
              <a:gd name="T98" fmla="*/ 45 w 179"/>
              <a:gd name="T99" fmla="*/ 24 h 145"/>
              <a:gd name="T100" fmla="*/ 41 w 179"/>
              <a:gd name="T101" fmla="*/ 36 h 145"/>
              <a:gd name="T102" fmla="*/ 27 w 179"/>
              <a:gd name="T103" fmla="*/ 43 h 145"/>
              <a:gd name="T104" fmla="*/ 24 w 179"/>
              <a:gd name="T105" fmla="*/ 52 h 145"/>
              <a:gd name="T106" fmla="*/ 17 w 179"/>
              <a:gd name="T107" fmla="*/ 49 h 145"/>
              <a:gd name="T108" fmla="*/ 3 w 179"/>
              <a:gd name="T109" fmla="*/ 46 h 145"/>
              <a:gd name="T110" fmla="*/ 1 w 179"/>
              <a:gd name="T111" fmla="*/ 64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79" h="145">
                <a:moveTo>
                  <a:pt x="1" y="64"/>
                </a:moveTo>
                <a:lnTo>
                  <a:pt x="0" y="66"/>
                </a:lnTo>
                <a:lnTo>
                  <a:pt x="0" y="74"/>
                </a:lnTo>
                <a:lnTo>
                  <a:pt x="5" y="78"/>
                </a:lnTo>
                <a:lnTo>
                  <a:pt x="3" y="82"/>
                </a:lnTo>
                <a:lnTo>
                  <a:pt x="7" y="95"/>
                </a:lnTo>
                <a:lnTo>
                  <a:pt x="9" y="109"/>
                </a:lnTo>
                <a:lnTo>
                  <a:pt x="23" y="113"/>
                </a:lnTo>
                <a:lnTo>
                  <a:pt x="25" y="119"/>
                </a:lnTo>
                <a:lnTo>
                  <a:pt x="15" y="138"/>
                </a:lnTo>
                <a:lnTo>
                  <a:pt x="27" y="142"/>
                </a:lnTo>
                <a:lnTo>
                  <a:pt x="38" y="145"/>
                </a:lnTo>
                <a:lnTo>
                  <a:pt x="60" y="144"/>
                </a:lnTo>
                <a:lnTo>
                  <a:pt x="74" y="142"/>
                </a:lnTo>
                <a:lnTo>
                  <a:pt x="89" y="138"/>
                </a:lnTo>
                <a:lnTo>
                  <a:pt x="89" y="131"/>
                </a:lnTo>
                <a:lnTo>
                  <a:pt x="91" y="118"/>
                </a:lnTo>
                <a:lnTo>
                  <a:pt x="104" y="113"/>
                </a:lnTo>
                <a:lnTo>
                  <a:pt x="108" y="108"/>
                </a:lnTo>
                <a:lnTo>
                  <a:pt x="121" y="109"/>
                </a:lnTo>
                <a:lnTo>
                  <a:pt x="122" y="91"/>
                </a:lnTo>
                <a:lnTo>
                  <a:pt x="133" y="82"/>
                </a:lnTo>
                <a:lnTo>
                  <a:pt x="125" y="73"/>
                </a:lnTo>
                <a:lnTo>
                  <a:pt x="137" y="72"/>
                </a:lnTo>
                <a:lnTo>
                  <a:pt x="139" y="65"/>
                </a:lnTo>
                <a:lnTo>
                  <a:pt x="143" y="53"/>
                </a:lnTo>
                <a:lnTo>
                  <a:pt x="135" y="40"/>
                </a:lnTo>
                <a:lnTo>
                  <a:pt x="143" y="30"/>
                </a:lnTo>
                <a:lnTo>
                  <a:pt x="158" y="26"/>
                </a:lnTo>
                <a:lnTo>
                  <a:pt x="175" y="23"/>
                </a:lnTo>
                <a:lnTo>
                  <a:pt x="174" y="19"/>
                </a:lnTo>
                <a:lnTo>
                  <a:pt x="179" y="19"/>
                </a:lnTo>
                <a:lnTo>
                  <a:pt x="167" y="18"/>
                </a:lnTo>
                <a:lnTo>
                  <a:pt x="163" y="18"/>
                </a:lnTo>
                <a:lnTo>
                  <a:pt x="152" y="18"/>
                </a:lnTo>
                <a:lnTo>
                  <a:pt x="135" y="26"/>
                </a:lnTo>
                <a:lnTo>
                  <a:pt x="131" y="7"/>
                </a:lnTo>
                <a:lnTo>
                  <a:pt x="127" y="7"/>
                </a:lnTo>
                <a:lnTo>
                  <a:pt x="122" y="0"/>
                </a:lnTo>
                <a:lnTo>
                  <a:pt x="116" y="2"/>
                </a:lnTo>
                <a:lnTo>
                  <a:pt x="115" y="12"/>
                </a:lnTo>
                <a:lnTo>
                  <a:pt x="104" y="17"/>
                </a:lnTo>
                <a:lnTo>
                  <a:pt x="102" y="20"/>
                </a:lnTo>
                <a:lnTo>
                  <a:pt x="92" y="20"/>
                </a:lnTo>
                <a:lnTo>
                  <a:pt x="86" y="22"/>
                </a:lnTo>
                <a:lnTo>
                  <a:pt x="81" y="19"/>
                </a:lnTo>
                <a:lnTo>
                  <a:pt x="68" y="17"/>
                </a:lnTo>
                <a:lnTo>
                  <a:pt x="55" y="14"/>
                </a:lnTo>
                <a:lnTo>
                  <a:pt x="50" y="19"/>
                </a:lnTo>
                <a:lnTo>
                  <a:pt x="45" y="24"/>
                </a:lnTo>
                <a:lnTo>
                  <a:pt x="41" y="36"/>
                </a:lnTo>
                <a:lnTo>
                  <a:pt x="27" y="43"/>
                </a:lnTo>
                <a:lnTo>
                  <a:pt x="24" y="52"/>
                </a:lnTo>
                <a:lnTo>
                  <a:pt x="17" y="49"/>
                </a:lnTo>
                <a:lnTo>
                  <a:pt x="3" y="46"/>
                </a:lnTo>
                <a:lnTo>
                  <a:pt x="1" y="6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69" name="Freeform 314">
            <a:extLst>
              <a:ext uri="{FF2B5EF4-FFF2-40B4-BE49-F238E27FC236}">
                <a16:creationId xmlns:a16="http://schemas.microsoft.com/office/drawing/2014/main" id="{AD2AA34A-D9B2-4016-BAC2-05A246ED71FA}"/>
              </a:ext>
            </a:extLst>
          </p:cNvPr>
          <p:cNvSpPr>
            <a:spLocks/>
          </p:cNvSpPr>
          <p:nvPr/>
        </p:nvSpPr>
        <p:spPr bwMode="gray">
          <a:xfrm>
            <a:off x="5244853" y="2798278"/>
            <a:ext cx="55059" cy="38943"/>
          </a:xfrm>
          <a:custGeom>
            <a:avLst/>
            <a:gdLst>
              <a:gd name="T0" fmla="*/ 28 w 28"/>
              <a:gd name="T1" fmla="*/ 0 h 17"/>
              <a:gd name="T2" fmla="*/ 10 w 28"/>
              <a:gd name="T3" fmla="*/ 5 h 17"/>
              <a:gd name="T4" fmla="*/ 0 w 28"/>
              <a:gd name="T5" fmla="*/ 10 h 17"/>
              <a:gd name="T6" fmla="*/ 5 w 28"/>
              <a:gd name="T7" fmla="*/ 17 h 17"/>
              <a:gd name="T8" fmla="*/ 20 w 28"/>
              <a:gd name="T9" fmla="*/ 11 h 17"/>
              <a:gd name="T10" fmla="*/ 20 w 28"/>
              <a:gd name="T11" fmla="*/ 9 h 17"/>
              <a:gd name="T12" fmla="*/ 28 w 28"/>
              <a:gd name="T1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" h="17">
                <a:moveTo>
                  <a:pt x="28" y="0"/>
                </a:moveTo>
                <a:lnTo>
                  <a:pt x="10" y="5"/>
                </a:lnTo>
                <a:lnTo>
                  <a:pt x="0" y="10"/>
                </a:lnTo>
                <a:lnTo>
                  <a:pt x="5" y="17"/>
                </a:lnTo>
                <a:lnTo>
                  <a:pt x="20" y="11"/>
                </a:lnTo>
                <a:lnTo>
                  <a:pt x="20" y="9"/>
                </a:lnTo>
                <a:lnTo>
                  <a:pt x="2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0" name="Line 315">
            <a:extLst>
              <a:ext uri="{FF2B5EF4-FFF2-40B4-BE49-F238E27FC236}">
                <a16:creationId xmlns:a16="http://schemas.microsoft.com/office/drawing/2014/main" id="{FE9A7343-AC1C-4D54-86DC-551B9355AECA}"/>
              </a:ext>
            </a:extLst>
          </p:cNvPr>
          <p:cNvSpPr>
            <a:spLocks noChangeShapeType="1"/>
          </p:cNvSpPr>
          <p:nvPr/>
        </p:nvSpPr>
        <p:spPr bwMode="gray">
          <a:xfrm>
            <a:off x="6297831" y="2755439"/>
            <a:ext cx="8604" cy="3894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1" name="Line 316">
            <a:extLst>
              <a:ext uri="{FF2B5EF4-FFF2-40B4-BE49-F238E27FC236}">
                <a16:creationId xmlns:a16="http://schemas.microsoft.com/office/drawing/2014/main" id="{B687F290-5462-4B6B-8938-F15B9B1C1576}"/>
              </a:ext>
            </a:extLst>
          </p:cNvPr>
          <p:cNvSpPr>
            <a:spLocks noChangeShapeType="1"/>
          </p:cNvSpPr>
          <p:nvPr/>
        </p:nvSpPr>
        <p:spPr bwMode="gray">
          <a:xfrm>
            <a:off x="6302994" y="2759333"/>
            <a:ext cx="3441" cy="7789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2" name="Line 317">
            <a:extLst>
              <a:ext uri="{FF2B5EF4-FFF2-40B4-BE49-F238E27FC236}">
                <a16:creationId xmlns:a16="http://schemas.microsoft.com/office/drawing/2014/main" id="{4E6D1CB3-0FEA-408C-8F78-D01B66B34EE4}"/>
              </a:ext>
            </a:extLst>
          </p:cNvPr>
          <p:cNvSpPr>
            <a:spLocks noChangeShapeType="1"/>
          </p:cNvSpPr>
          <p:nvPr/>
        </p:nvSpPr>
        <p:spPr bwMode="gray">
          <a:xfrm flipH="1">
            <a:off x="6294390" y="2763228"/>
            <a:ext cx="8604" cy="3894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3" name="Line 318">
            <a:extLst>
              <a:ext uri="{FF2B5EF4-FFF2-40B4-BE49-F238E27FC236}">
                <a16:creationId xmlns:a16="http://schemas.microsoft.com/office/drawing/2014/main" id="{56FEB47D-5CEF-456D-88F6-0ABB92A52107}"/>
              </a:ext>
            </a:extLst>
          </p:cNvPr>
          <p:cNvSpPr>
            <a:spLocks noChangeShapeType="1"/>
          </p:cNvSpPr>
          <p:nvPr/>
        </p:nvSpPr>
        <p:spPr bwMode="gray">
          <a:xfrm flipH="1">
            <a:off x="6287509" y="2767122"/>
            <a:ext cx="6882" cy="9735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4" name="Line 319">
            <a:extLst>
              <a:ext uri="{FF2B5EF4-FFF2-40B4-BE49-F238E27FC236}">
                <a16:creationId xmlns:a16="http://schemas.microsoft.com/office/drawing/2014/main" id="{B9C7CD06-AF1F-488E-AA0E-6D67263E4471}"/>
              </a:ext>
            </a:extLst>
          </p:cNvPr>
          <p:cNvSpPr>
            <a:spLocks noChangeShapeType="1"/>
          </p:cNvSpPr>
          <p:nvPr/>
        </p:nvSpPr>
        <p:spPr bwMode="gray">
          <a:xfrm flipH="1">
            <a:off x="6282349" y="2776859"/>
            <a:ext cx="8604" cy="3894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5" name="Line 320">
            <a:extLst>
              <a:ext uri="{FF2B5EF4-FFF2-40B4-BE49-F238E27FC236}">
                <a16:creationId xmlns:a16="http://schemas.microsoft.com/office/drawing/2014/main" id="{1186F1F6-FD33-4BB5-B7EE-D2703967FB89}"/>
              </a:ext>
            </a:extLst>
          </p:cNvPr>
          <p:cNvSpPr>
            <a:spLocks noChangeShapeType="1"/>
          </p:cNvSpPr>
          <p:nvPr/>
        </p:nvSpPr>
        <p:spPr bwMode="gray">
          <a:xfrm flipH="1">
            <a:off x="6278907" y="2776859"/>
            <a:ext cx="3441" cy="13630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6" name="Line 321">
            <a:extLst>
              <a:ext uri="{FF2B5EF4-FFF2-40B4-BE49-F238E27FC236}">
                <a16:creationId xmlns:a16="http://schemas.microsoft.com/office/drawing/2014/main" id="{2EFD9392-D848-45C4-9AD4-88FF5D608067}"/>
              </a:ext>
            </a:extLst>
          </p:cNvPr>
          <p:cNvSpPr>
            <a:spLocks noChangeShapeType="1"/>
          </p:cNvSpPr>
          <p:nvPr/>
        </p:nvSpPr>
        <p:spPr bwMode="gray">
          <a:xfrm>
            <a:off x="6278907" y="2784646"/>
            <a:ext cx="3441" cy="13630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7" name="Line 322">
            <a:extLst>
              <a:ext uri="{FF2B5EF4-FFF2-40B4-BE49-F238E27FC236}">
                <a16:creationId xmlns:a16="http://schemas.microsoft.com/office/drawing/2014/main" id="{5F7A5D69-FB9E-4E84-AA16-5DBE6447DF9E}"/>
              </a:ext>
            </a:extLst>
          </p:cNvPr>
          <p:cNvSpPr>
            <a:spLocks noChangeShapeType="1"/>
          </p:cNvSpPr>
          <p:nvPr/>
        </p:nvSpPr>
        <p:spPr bwMode="gray">
          <a:xfrm>
            <a:off x="6278907" y="2794382"/>
            <a:ext cx="3441" cy="11683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8" name="Line 323">
            <a:extLst>
              <a:ext uri="{FF2B5EF4-FFF2-40B4-BE49-F238E27FC236}">
                <a16:creationId xmlns:a16="http://schemas.microsoft.com/office/drawing/2014/main" id="{E0E5BB83-BA85-4C95-9A46-43D12EDA6DBB}"/>
              </a:ext>
            </a:extLst>
          </p:cNvPr>
          <p:cNvSpPr>
            <a:spLocks noChangeShapeType="1"/>
          </p:cNvSpPr>
          <p:nvPr/>
        </p:nvSpPr>
        <p:spPr bwMode="gray">
          <a:xfrm>
            <a:off x="6282349" y="2802171"/>
            <a:ext cx="5161" cy="13630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9" name="Line 324">
            <a:extLst>
              <a:ext uri="{FF2B5EF4-FFF2-40B4-BE49-F238E27FC236}">
                <a16:creationId xmlns:a16="http://schemas.microsoft.com/office/drawing/2014/main" id="{F462D45D-11D3-4FAE-B96F-8CBFA1A5449E}"/>
              </a:ext>
            </a:extLst>
          </p:cNvPr>
          <p:cNvSpPr>
            <a:spLocks noChangeShapeType="1"/>
          </p:cNvSpPr>
          <p:nvPr/>
        </p:nvSpPr>
        <p:spPr bwMode="gray">
          <a:xfrm>
            <a:off x="6282349" y="2811906"/>
            <a:ext cx="8604" cy="11683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0" name="Line 325">
            <a:extLst>
              <a:ext uri="{FF2B5EF4-FFF2-40B4-BE49-F238E27FC236}">
                <a16:creationId xmlns:a16="http://schemas.microsoft.com/office/drawing/2014/main" id="{0A450739-FD3E-4F7E-BEB3-2B929B2BAFC7}"/>
              </a:ext>
            </a:extLst>
          </p:cNvPr>
          <p:cNvSpPr>
            <a:spLocks noChangeShapeType="1"/>
          </p:cNvSpPr>
          <p:nvPr/>
        </p:nvSpPr>
        <p:spPr bwMode="gray">
          <a:xfrm>
            <a:off x="6313317" y="2862534"/>
            <a:ext cx="3441" cy="5841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1" name="Line 326">
            <a:extLst>
              <a:ext uri="{FF2B5EF4-FFF2-40B4-BE49-F238E27FC236}">
                <a16:creationId xmlns:a16="http://schemas.microsoft.com/office/drawing/2014/main" id="{AF8F2C4B-4179-40A4-BB3E-08EABF08322A}"/>
              </a:ext>
            </a:extLst>
          </p:cNvPr>
          <p:cNvSpPr>
            <a:spLocks noChangeShapeType="1"/>
          </p:cNvSpPr>
          <p:nvPr/>
        </p:nvSpPr>
        <p:spPr bwMode="gray">
          <a:xfrm>
            <a:off x="6313317" y="2862534"/>
            <a:ext cx="3441" cy="17526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2" name="Line 327">
            <a:extLst>
              <a:ext uri="{FF2B5EF4-FFF2-40B4-BE49-F238E27FC236}">
                <a16:creationId xmlns:a16="http://schemas.microsoft.com/office/drawing/2014/main" id="{A34F17EF-321C-441A-B281-2759E54D063C}"/>
              </a:ext>
            </a:extLst>
          </p:cNvPr>
          <p:cNvSpPr>
            <a:spLocks noChangeShapeType="1"/>
          </p:cNvSpPr>
          <p:nvPr/>
        </p:nvSpPr>
        <p:spPr bwMode="gray">
          <a:xfrm>
            <a:off x="6316759" y="2876166"/>
            <a:ext cx="5161" cy="13630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3" name="Line 328">
            <a:extLst>
              <a:ext uri="{FF2B5EF4-FFF2-40B4-BE49-F238E27FC236}">
                <a16:creationId xmlns:a16="http://schemas.microsoft.com/office/drawing/2014/main" id="{E8CF982D-7F4A-48AF-BAE3-2AAD5904A2F2}"/>
              </a:ext>
            </a:extLst>
          </p:cNvPr>
          <p:cNvSpPr>
            <a:spLocks noChangeShapeType="1"/>
          </p:cNvSpPr>
          <p:nvPr/>
        </p:nvSpPr>
        <p:spPr bwMode="gray">
          <a:xfrm>
            <a:off x="6316759" y="2883953"/>
            <a:ext cx="12045" cy="9735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4" name="Line 329">
            <a:extLst>
              <a:ext uri="{FF2B5EF4-FFF2-40B4-BE49-F238E27FC236}">
                <a16:creationId xmlns:a16="http://schemas.microsoft.com/office/drawing/2014/main" id="{48FF628A-4B07-483C-BBDB-1A4DAD5B4577}"/>
              </a:ext>
            </a:extLst>
          </p:cNvPr>
          <p:cNvSpPr>
            <a:spLocks noChangeShapeType="1"/>
          </p:cNvSpPr>
          <p:nvPr/>
        </p:nvSpPr>
        <p:spPr bwMode="gray">
          <a:xfrm>
            <a:off x="6325362" y="2889794"/>
            <a:ext cx="12045" cy="3894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5" name="Line 330">
            <a:extLst>
              <a:ext uri="{FF2B5EF4-FFF2-40B4-BE49-F238E27FC236}">
                <a16:creationId xmlns:a16="http://schemas.microsoft.com/office/drawing/2014/main" id="{A41D57C6-7301-491A-96BD-D3F0F37D1AEE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6450961" y="2850853"/>
            <a:ext cx="12045" cy="3894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6" name="Line 331">
            <a:extLst>
              <a:ext uri="{FF2B5EF4-FFF2-40B4-BE49-F238E27FC236}">
                <a16:creationId xmlns:a16="http://schemas.microsoft.com/office/drawing/2014/main" id="{D221D4FD-8B11-455E-BD7F-687CECFCDDB7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6463006" y="2829432"/>
            <a:ext cx="3441" cy="21419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7" name="Line 332">
            <a:extLst>
              <a:ext uri="{FF2B5EF4-FFF2-40B4-BE49-F238E27FC236}">
                <a16:creationId xmlns:a16="http://schemas.microsoft.com/office/drawing/2014/main" id="{C43FF329-736F-440E-8440-CD791192CBCD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6466447" y="2802171"/>
            <a:ext cx="5161" cy="31154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8" name="Line 333">
            <a:extLst>
              <a:ext uri="{FF2B5EF4-FFF2-40B4-BE49-F238E27FC236}">
                <a16:creationId xmlns:a16="http://schemas.microsoft.com/office/drawing/2014/main" id="{F6D58486-E719-4211-AF97-BD4C3643321C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6447522" y="2798278"/>
            <a:ext cx="18926" cy="3894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9" name="Line 334">
            <a:extLst>
              <a:ext uri="{FF2B5EF4-FFF2-40B4-BE49-F238E27FC236}">
                <a16:creationId xmlns:a16="http://schemas.microsoft.com/office/drawing/2014/main" id="{F0BBE5DD-55EC-4EA3-8858-F570CF15E5AB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6440639" y="2794382"/>
            <a:ext cx="10324" cy="3894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0" name="Freeform 335">
            <a:extLst>
              <a:ext uri="{FF2B5EF4-FFF2-40B4-BE49-F238E27FC236}">
                <a16:creationId xmlns:a16="http://schemas.microsoft.com/office/drawing/2014/main" id="{BE7294B9-9ED5-4ADC-9E4C-16030E087350}"/>
              </a:ext>
            </a:extLst>
          </p:cNvPr>
          <p:cNvSpPr>
            <a:spLocks/>
          </p:cNvSpPr>
          <p:nvPr/>
        </p:nvSpPr>
        <p:spPr bwMode="gray">
          <a:xfrm>
            <a:off x="5318836" y="2837221"/>
            <a:ext cx="34410" cy="52573"/>
          </a:xfrm>
          <a:custGeom>
            <a:avLst/>
            <a:gdLst>
              <a:gd name="T0" fmla="*/ 15 w 18"/>
              <a:gd name="T1" fmla="*/ 12 h 24"/>
              <a:gd name="T2" fmla="*/ 7 w 18"/>
              <a:gd name="T3" fmla="*/ 22 h 24"/>
              <a:gd name="T4" fmla="*/ 0 w 18"/>
              <a:gd name="T5" fmla="*/ 24 h 24"/>
              <a:gd name="T6" fmla="*/ 5 w 18"/>
              <a:gd name="T7" fmla="*/ 12 h 24"/>
              <a:gd name="T8" fmla="*/ 9 w 18"/>
              <a:gd name="T9" fmla="*/ 0 h 24"/>
              <a:gd name="T10" fmla="*/ 18 w 18"/>
              <a:gd name="T11" fmla="*/ 4 h 24"/>
              <a:gd name="T12" fmla="*/ 15 w 18"/>
              <a:gd name="T13" fmla="*/ 12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24">
                <a:moveTo>
                  <a:pt x="15" y="12"/>
                </a:moveTo>
                <a:lnTo>
                  <a:pt x="7" y="22"/>
                </a:lnTo>
                <a:lnTo>
                  <a:pt x="0" y="24"/>
                </a:lnTo>
                <a:lnTo>
                  <a:pt x="5" y="12"/>
                </a:lnTo>
                <a:lnTo>
                  <a:pt x="9" y="0"/>
                </a:lnTo>
                <a:lnTo>
                  <a:pt x="18" y="4"/>
                </a:lnTo>
                <a:lnTo>
                  <a:pt x="15" y="1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1" name="Freeform 336">
            <a:extLst>
              <a:ext uri="{FF2B5EF4-FFF2-40B4-BE49-F238E27FC236}">
                <a16:creationId xmlns:a16="http://schemas.microsoft.com/office/drawing/2014/main" id="{B4B32278-A58E-4ECE-8DF7-DC3BC0E4BBF9}"/>
              </a:ext>
            </a:extLst>
          </p:cNvPr>
          <p:cNvSpPr>
            <a:spLocks/>
          </p:cNvSpPr>
          <p:nvPr/>
        </p:nvSpPr>
        <p:spPr bwMode="gray">
          <a:xfrm>
            <a:off x="5329159" y="2745705"/>
            <a:ext cx="161732" cy="169404"/>
          </a:xfrm>
          <a:custGeom>
            <a:avLst/>
            <a:gdLst>
              <a:gd name="T0" fmla="*/ 53 w 83"/>
              <a:gd name="T1" fmla="*/ 6 h 78"/>
              <a:gd name="T2" fmla="*/ 32 w 83"/>
              <a:gd name="T3" fmla="*/ 5 h 78"/>
              <a:gd name="T4" fmla="*/ 13 w 83"/>
              <a:gd name="T5" fmla="*/ 6 h 78"/>
              <a:gd name="T6" fmla="*/ 7 w 83"/>
              <a:gd name="T7" fmla="*/ 9 h 78"/>
              <a:gd name="T8" fmla="*/ 7 w 83"/>
              <a:gd name="T9" fmla="*/ 16 h 78"/>
              <a:gd name="T10" fmla="*/ 1 w 83"/>
              <a:gd name="T11" fmla="*/ 21 h 78"/>
              <a:gd name="T12" fmla="*/ 0 w 83"/>
              <a:gd name="T13" fmla="*/ 20 h 78"/>
              <a:gd name="T14" fmla="*/ 3 w 83"/>
              <a:gd name="T15" fmla="*/ 41 h 78"/>
              <a:gd name="T16" fmla="*/ 12 w 83"/>
              <a:gd name="T17" fmla="*/ 45 h 78"/>
              <a:gd name="T18" fmla="*/ 9 w 83"/>
              <a:gd name="T19" fmla="*/ 53 h 78"/>
              <a:gd name="T20" fmla="*/ 1 w 83"/>
              <a:gd name="T21" fmla="*/ 63 h 78"/>
              <a:gd name="T22" fmla="*/ 2 w 83"/>
              <a:gd name="T23" fmla="*/ 71 h 78"/>
              <a:gd name="T24" fmla="*/ 19 w 83"/>
              <a:gd name="T25" fmla="*/ 78 h 78"/>
              <a:gd name="T26" fmla="*/ 31 w 83"/>
              <a:gd name="T27" fmla="*/ 70 h 78"/>
              <a:gd name="T28" fmla="*/ 44 w 83"/>
              <a:gd name="T29" fmla="*/ 62 h 78"/>
              <a:gd name="T30" fmla="*/ 57 w 83"/>
              <a:gd name="T31" fmla="*/ 53 h 78"/>
              <a:gd name="T32" fmla="*/ 72 w 83"/>
              <a:gd name="T33" fmla="*/ 45 h 78"/>
              <a:gd name="T34" fmla="*/ 71 w 83"/>
              <a:gd name="T35" fmla="*/ 29 h 78"/>
              <a:gd name="T36" fmla="*/ 71 w 83"/>
              <a:gd name="T37" fmla="*/ 14 h 78"/>
              <a:gd name="T38" fmla="*/ 83 w 83"/>
              <a:gd name="T39" fmla="*/ 2 h 78"/>
              <a:gd name="T40" fmla="*/ 79 w 83"/>
              <a:gd name="T41" fmla="*/ 0 h 78"/>
              <a:gd name="T42" fmla="*/ 66 w 83"/>
              <a:gd name="T43" fmla="*/ 3 h 78"/>
              <a:gd name="T44" fmla="*/ 53 w 83"/>
              <a:gd name="T45" fmla="*/ 6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3" h="78">
                <a:moveTo>
                  <a:pt x="53" y="6"/>
                </a:moveTo>
                <a:lnTo>
                  <a:pt x="32" y="5"/>
                </a:lnTo>
                <a:lnTo>
                  <a:pt x="13" y="6"/>
                </a:lnTo>
                <a:lnTo>
                  <a:pt x="7" y="9"/>
                </a:lnTo>
                <a:lnTo>
                  <a:pt x="7" y="16"/>
                </a:lnTo>
                <a:lnTo>
                  <a:pt x="1" y="21"/>
                </a:lnTo>
                <a:lnTo>
                  <a:pt x="0" y="20"/>
                </a:lnTo>
                <a:lnTo>
                  <a:pt x="3" y="41"/>
                </a:lnTo>
                <a:lnTo>
                  <a:pt x="12" y="45"/>
                </a:lnTo>
                <a:lnTo>
                  <a:pt x="9" y="53"/>
                </a:lnTo>
                <a:lnTo>
                  <a:pt x="1" y="63"/>
                </a:lnTo>
                <a:lnTo>
                  <a:pt x="2" y="71"/>
                </a:lnTo>
                <a:lnTo>
                  <a:pt x="19" y="78"/>
                </a:lnTo>
                <a:lnTo>
                  <a:pt x="31" y="70"/>
                </a:lnTo>
                <a:lnTo>
                  <a:pt x="44" y="62"/>
                </a:lnTo>
                <a:lnTo>
                  <a:pt x="57" y="53"/>
                </a:lnTo>
                <a:lnTo>
                  <a:pt x="72" y="45"/>
                </a:lnTo>
                <a:lnTo>
                  <a:pt x="71" y="29"/>
                </a:lnTo>
                <a:lnTo>
                  <a:pt x="71" y="14"/>
                </a:lnTo>
                <a:lnTo>
                  <a:pt x="83" y="2"/>
                </a:lnTo>
                <a:lnTo>
                  <a:pt x="79" y="0"/>
                </a:lnTo>
                <a:lnTo>
                  <a:pt x="66" y="3"/>
                </a:lnTo>
                <a:lnTo>
                  <a:pt x="53" y="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2" name="Freeform 337">
            <a:extLst>
              <a:ext uri="{FF2B5EF4-FFF2-40B4-BE49-F238E27FC236}">
                <a16:creationId xmlns:a16="http://schemas.microsoft.com/office/drawing/2014/main" id="{D21E1277-16D2-4DD2-A846-728001645C47}"/>
              </a:ext>
            </a:extLst>
          </p:cNvPr>
          <p:cNvSpPr>
            <a:spLocks/>
          </p:cNvSpPr>
          <p:nvPr/>
        </p:nvSpPr>
        <p:spPr bwMode="gray">
          <a:xfrm>
            <a:off x="6106850" y="2589929"/>
            <a:ext cx="209909" cy="169404"/>
          </a:xfrm>
          <a:custGeom>
            <a:avLst/>
            <a:gdLst>
              <a:gd name="T0" fmla="*/ 95 w 112"/>
              <a:gd name="T1" fmla="*/ 70 h 78"/>
              <a:gd name="T2" fmla="*/ 84 w 112"/>
              <a:gd name="T3" fmla="*/ 70 h 78"/>
              <a:gd name="T4" fmla="*/ 67 w 112"/>
              <a:gd name="T5" fmla="*/ 78 h 78"/>
              <a:gd name="T6" fmla="*/ 63 w 112"/>
              <a:gd name="T7" fmla="*/ 59 h 78"/>
              <a:gd name="T8" fmla="*/ 59 w 112"/>
              <a:gd name="T9" fmla="*/ 59 h 78"/>
              <a:gd name="T10" fmla="*/ 54 w 112"/>
              <a:gd name="T11" fmla="*/ 52 h 78"/>
              <a:gd name="T12" fmla="*/ 48 w 112"/>
              <a:gd name="T13" fmla="*/ 54 h 78"/>
              <a:gd name="T14" fmla="*/ 47 w 112"/>
              <a:gd name="T15" fmla="*/ 64 h 78"/>
              <a:gd name="T16" fmla="*/ 36 w 112"/>
              <a:gd name="T17" fmla="*/ 69 h 78"/>
              <a:gd name="T18" fmla="*/ 34 w 112"/>
              <a:gd name="T19" fmla="*/ 72 h 78"/>
              <a:gd name="T20" fmla="*/ 24 w 112"/>
              <a:gd name="T21" fmla="*/ 72 h 78"/>
              <a:gd name="T22" fmla="*/ 18 w 112"/>
              <a:gd name="T23" fmla="*/ 74 h 78"/>
              <a:gd name="T24" fmla="*/ 13 w 112"/>
              <a:gd name="T25" fmla="*/ 71 h 78"/>
              <a:gd name="T26" fmla="*/ 16 w 112"/>
              <a:gd name="T27" fmla="*/ 60 h 78"/>
              <a:gd name="T28" fmla="*/ 19 w 112"/>
              <a:gd name="T29" fmla="*/ 51 h 78"/>
              <a:gd name="T30" fmla="*/ 16 w 112"/>
              <a:gd name="T31" fmla="*/ 44 h 78"/>
              <a:gd name="T32" fmla="*/ 6 w 112"/>
              <a:gd name="T33" fmla="*/ 39 h 78"/>
              <a:gd name="T34" fmla="*/ 0 w 112"/>
              <a:gd name="T35" fmla="*/ 32 h 78"/>
              <a:gd name="T36" fmla="*/ 15 w 112"/>
              <a:gd name="T37" fmla="*/ 20 h 78"/>
              <a:gd name="T38" fmla="*/ 28 w 112"/>
              <a:gd name="T39" fmla="*/ 9 h 78"/>
              <a:gd name="T40" fmla="*/ 37 w 112"/>
              <a:gd name="T41" fmla="*/ 0 h 78"/>
              <a:gd name="T42" fmla="*/ 55 w 112"/>
              <a:gd name="T43" fmla="*/ 2 h 78"/>
              <a:gd name="T44" fmla="*/ 70 w 112"/>
              <a:gd name="T45" fmla="*/ 10 h 78"/>
              <a:gd name="T46" fmla="*/ 54 w 112"/>
              <a:gd name="T47" fmla="*/ 16 h 78"/>
              <a:gd name="T48" fmla="*/ 37 w 112"/>
              <a:gd name="T49" fmla="*/ 21 h 78"/>
              <a:gd name="T50" fmla="*/ 39 w 112"/>
              <a:gd name="T51" fmla="*/ 32 h 78"/>
              <a:gd name="T52" fmla="*/ 61 w 112"/>
              <a:gd name="T53" fmla="*/ 34 h 78"/>
              <a:gd name="T54" fmla="*/ 84 w 112"/>
              <a:gd name="T55" fmla="*/ 38 h 78"/>
              <a:gd name="T56" fmla="*/ 91 w 112"/>
              <a:gd name="T57" fmla="*/ 51 h 78"/>
              <a:gd name="T58" fmla="*/ 103 w 112"/>
              <a:gd name="T59" fmla="*/ 52 h 78"/>
              <a:gd name="T60" fmla="*/ 112 w 112"/>
              <a:gd name="T61" fmla="*/ 70 h 78"/>
              <a:gd name="T62" fmla="*/ 111 w 112"/>
              <a:gd name="T63" fmla="*/ 71 h 78"/>
              <a:gd name="T64" fmla="*/ 99 w 112"/>
              <a:gd name="T65" fmla="*/ 70 h 78"/>
              <a:gd name="T66" fmla="*/ 95 w 112"/>
              <a:gd name="T67" fmla="*/ 7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2" h="78">
                <a:moveTo>
                  <a:pt x="95" y="70"/>
                </a:moveTo>
                <a:lnTo>
                  <a:pt x="84" y="70"/>
                </a:lnTo>
                <a:lnTo>
                  <a:pt x="67" y="78"/>
                </a:lnTo>
                <a:lnTo>
                  <a:pt x="63" y="59"/>
                </a:lnTo>
                <a:lnTo>
                  <a:pt x="59" y="59"/>
                </a:lnTo>
                <a:lnTo>
                  <a:pt x="54" y="52"/>
                </a:lnTo>
                <a:lnTo>
                  <a:pt x="48" y="54"/>
                </a:lnTo>
                <a:lnTo>
                  <a:pt x="47" y="64"/>
                </a:lnTo>
                <a:lnTo>
                  <a:pt x="36" y="69"/>
                </a:lnTo>
                <a:lnTo>
                  <a:pt x="34" y="72"/>
                </a:lnTo>
                <a:lnTo>
                  <a:pt x="24" y="72"/>
                </a:lnTo>
                <a:lnTo>
                  <a:pt x="18" y="74"/>
                </a:lnTo>
                <a:lnTo>
                  <a:pt x="13" y="71"/>
                </a:lnTo>
                <a:lnTo>
                  <a:pt x="16" y="60"/>
                </a:lnTo>
                <a:lnTo>
                  <a:pt x="19" y="51"/>
                </a:lnTo>
                <a:lnTo>
                  <a:pt x="16" y="44"/>
                </a:lnTo>
                <a:lnTo>
                  <a:pt x="6" y="39"/>
                </a:lnTo>
                <a:lnTo>
                  <a:pt x="0" y="32"/>
                </a:lnTo>
                <a:lnTo>
                  <a:pt x="15" y="20"/>
                </a:lnTo>
                <a:lnTo>
                  <a:pt x="28" y="9"/>
                </a:lnTo>
                <a:lnTo>
                  <a:pt x="37" y="0"/>
                </a:lnTo>
                <a:lnTo>
                  <a:pt x="55" y="2"/>
                </a:lnTo>
                <a:lnTo>
                  <a:pt x="70" y="10"/>
                </a:lnTo>
                <a:lnTo>
                  <a:pt x="54" y="16"/>
                </a:lnTo>
                <a:lnTo>
                  <a:pt x="37" y="21"/>
                </a:lnTo>
                <a:lnTo>
                  <a:pt x="39" y="32"/>
                </a:lnTo>
                <a:lnTo>
                  <a:pt x="61" y="34"/>
                </a:lnTo>
                <a:lnTo>
                  <a:pt x="84" y="38"/>
                </a:lnTo>
                <a:lnTo>
                  <a:pt x="91" y="51"/>
                </a:lnTo>
                <a:lnTo>
                  <a:pt x="103" y="52"/>
                </a:lnTo>
                <a:lnTo>
                  <a:pt x="112" y="70"/>
                </a:lnTo>
                <a:lnTo>
                  <a:pt x="111" y="71"/>
                </a:lnTo>
                <a:lnTo>
                  <a:pt x="99" y="70"/>
                </a:lnTo>
                <a:lnTo>
                  <a:pt x="95" y="7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3" name="Freeform 338">
            <a:extLst>
              <a:ext uri="{FF2B5EF4-FFF2-40B4-BE49-F238E27FC236}">
                <a16:creationId xmlns:a16="http://schemas.microsoft.com/office/drawing/2014/main" id="{049B2F6E-CF09-4288-9F9B-64620BC573A3}"/>
              </a:ext>
            </a:extLst>
          </p:cNvPr>
          <p:cNvSpPr>
            <a:spLocks/>
          </p:cNvSpPr>
          <p:nvPr/>
        </p:nvSpPr>
        <p:spPr bwMode="gray">
          <a:xfrm>
            <a:off x="5778226" y="2447787"/>
            <a:ext cx="397448" cy="297916"/>
          </a:xfrm>
          <a:custGeom>
            <a:avLst/>
            <a:gdLst>
              <a:gd name="T0" fmla="*/ 149 w 207"/>
              <a:gd name="T1" fmla="*/ 118 h 138"/>
              <a:gd name="T2" fmla="*/ 126 w 207"/>
              <a:gd name="T3" fmla="*/ 103 h 138"/>
              <a:gd name="T4" fmla="*/ 103 w 207"/>
              <a:gd name="T5" fmla="*/ 89 h 138"/>
              <a:gd name="T6" fmla="*/ 92 w 207"/>
              <a:gd name="T7" fmla="*/ 84 h 138"/>
              <a:gd name="T8" fmla="*/ 74 w 207"/>
              <a:gd name="T9" fmla="*/ 77 h 138"/>
              <a:gd name="T10" fmla="*/ 63 w 207"/>
              <a:gd name="T11" fmla="*/ 60 h 138"/>
              <a:gd name="T12" fmla="*/ 47 w 207"/>
              <a:gd name="T13" fmla="*/ 49 h 138"/>
              <a:gd name="T14" fmla="*/ 36 w 207"/>
              <a:gd name="T15" fmla="*/ 60 h 138"/>
              <a:gd name="T16" fmla="*/ 30 w 207"/>
              <a:gd name="T17" fmla="*/ 64 h 138"/>
              <a:gd name="T18" fmla="*/ 32 w 207"/>
              <a:gd name="T19" fmla="*/ 73 h 138"/>
              <a:gd name="T20" fmla="*/ 14 w 207"/>
              <a:gd name="T21" fmla="*/ 69 h 138"/>
              <a:gd name="T22" fmla="*/ 11 w 207"/>
              <a:gd name="T23" fmla="*/ 55 h 138"/>
              <a:gd name="T24" fmla="*/ 7 w 207"/>
              <a:gd name="T25" fmla="*/ 41 h 138"/>
              <a:gd name="T26" fmla="*/ 3 w 207"/>
              <a:gd name="T27" fmla="*/ 27 h 138"/>
              <a:gd name="T28" fmla="*/ 0 w 207"/>
              <a:gd name="T29" fmla="*/ 12 h 138"/>
              <a:gd name="T30" fmla="*/ 15 w 207"/>
              <a:gd name="T31" fmla="*/ 6 h 138"/>
              <a:gd name="T32" fmla="*/ 32 w 207"/>
              <a:gd name="T33" fmla="*/ 0 h 138"/>
              <a:gd name="T34" fmla="*/ 49 w 207"/>
              <a:gd name="T35" fmla="*/ 9 h 138"/>
              <a:gd name="T36" fmla="*/ 66 w 207"/>
              <a:gd name="T37" fmla="*/ 17 h 138"/>
              <a:gd name="T38" fmla="*/ 79 w 207"/>
              <a:gd name="T39" fmla="*/ 34 h 138"/>
              <a:gd name="T40" fmla="*/ 92 w 207"/>
              <a:gd name="T41" fmla="*/ 35 h 138"/>
              <a:gd name="T42" fmla="*/ 107 w 207"/>
              <a:gd name="T43" fmla="*/ 35 h 138"/>
              <a:gd name="T44" fmla="*/ 120 w 207"/>
              <a:gd name="T45" fmla="*/ 36 h 138"/>
              <a:gd name="T46" fmla="*/ 133 w 207"/>
              <a:gd name="T47" fmla="*/ 37 h 138"/>
              <a:gd name="T48" fmla="*/ 147 w 207"/>
              <a:gd name="T49" fmla="*/ 47 h 138"/>
              <a:gd name="T50" fmla="*/ 149 w 207"/>
              <a:gd name="T51" fmla="*/ 60 h 138"/>
              <a:gd name="T52" fmla="*/ 161 w 207"/>
              <a:gd name="T53" fmla="*/ 66 h 138"/>
              <a:gd name="T54" fmla="*/ 174 w 207"/>
              <a:gd name="T55" fmla="*/ 73 h 138"/>
              <a:gd name="T56" fmla="*/ 186 w 207"/>
              <a:gd name="T57" fmla="*/ 64 h 138"/>
              <a:gd name="T58" fmla="*/ 198 w 207"/>
              <a:gd name="T59" fmla="*/ 55 h 138"/>
              <a:gd name="T60" fmla="*/ 207 w 207"/>
              <a:gd name="T61" fmla="*/ 67 h 138"/>
              <a:gd name="T62" fmla="*/ 198 w 207"/>
              <a:gd name="T63" fmla="*/ 76 h 138"/>
              <a:gd name="T64" fmla="*/ 185 w 207"/>
              <a:gd name="T65" fmla="*/ 87 h 138"/>
              <a:gd name="T66" fmla="*/ 170 w 207"/>
              <a:gd name="T67" fmla="*/ 99 h 138"/>
              <a:gd name="T68" fmla="*/ 176 w 207"/>
              <a:gd name="T69" fmla="*/ 106 h 138"/>
              <a:gd name="T70" fmla="*/ 186 w 207"/>
              <a:gd name="T71" fmla="*/ 111 h 138"/>
              <a:gd name="T72" fmla="*/ 189 w 207"/>
              <a:gd name="T73" fmla="*/ 118 h 138"/>
              <a:gd name="T74" fmla="*/ 186 w 207"/>
              <a:gd name="T75" fmla="*/ 127 h 138"/>
              <a:gd name="T76" fmla="*/ 183 w 207"/>
              <a:gd name="T77" fmla="*/ 138 h 138"/>
              <a:gd name="T78" fmla="*/ 170 w 207"/>
              <a:gd name="T79" fmla="*/ 136 h 138"/>
              <a:gd name="T80" fmla="*/ 157 w 207"/>
              <a:gd name="T81" fmla="*/ 133 h 138"/>
              <a:gd name="T82" fmla="*/ 149 w 207"/>
              <a:gd name="T83" fmla="*/ 11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07" h="138">
                <a:moveTo>
                  <a:pt x="149" y="118"/>
                </a:moveTo>
                <a:lnTo>
                  <a:pt x="126" y="103"/>
                </a:lnTo>
                <a:lnTo>
                  <a:pt x="103" y="89"/>
                </a:lnTo>
                <a:lnTo>
                  <a:pt x="92" y="84"/>
                </a:lnTo>
                <a:lnTo>
                  <a:pt x="74" y="77"/>
                </a:lnTo>
                <a:lnTo>
                  <a:pt x="63" y="60"/>
                </a:lnTo>
                <a:lnTo>
                  <a:pt x="47" y="49"/>
                </a:lnTo>
                <a:lnTo>
                  <a:pt x="36" y="60"/>
                </a:lnTo>
                <a:lnTo>
                  <a:pt x="30" y="64"/>
                </a:lnTo>
                <a:lnTo>
                  <a:pt x="32" y="73"/>
                </a:lnTo>
                <a:lnTo>
                  <a:pt x="14" y="69"/>
                </a:lnTo>
                <a:lnTo>
                  <a:pt x="11" y="55"/>
                </a:lnTo>
                <a:lnTo>
                  <a:pt x="7" y="41"/>
                </a:lnTo>
                <a:lnTo>
                  <a:pt x="3" y="27"/>
                </a:lnTo>
                <a:lnTo>
                  <a:pt x="0" y="12"/>
                </a:lnTo>
                <a:lnTo>
                  <a:pt x="15" y="6"/>
                </a:lnTo>
                <a:lnTo>
                  <a:pt x="32" y="0"/>
                </a:lnTo>
                <a:lnTo>
                  <a:pt x="49" y="9"/>
                </a:lnTo>
                <a:lnTo>
                  <a:pt x="66" y="17"/>
                </a:lnTo>
                <a:lnTo>
                  <a:pt x="79" y="34"/>
                </a:lnTo>
                <a:lnTo>
                  <a:pt x="92" y="35"/>
                </a:lnTo>
                <a:lnTo>
                  <a:pt x="107" y="35"/>
                </a:lnTo>
                <a:lnTo>
                  <a:pt x="120" y="36"/>
                </a:lnTo>
                <a:lnTo>
                  <a:pt x="133" y="37"/>
                </a:lnTo>
                <a:lnTo>
                  <a:pt x="147" y="47"/>
                </a:lnTo>
                <a:lnTo>
                  <a:pt x="149" y="60"/>
                </a:lnTo>
                <a:lnTo>
                  <a:pt x="161" y="66"/>
                </a:lnTo>
                <a:lnTo>
                  <a:pt x="174" y="73"/>
                </a:lnTo>
                <a:lnTo>
                  <a:pt x="186" y="64"/>
                </a:lnTo>
                <a:lnTo>
                  <a:pt x="198" y="55"/>
                </a:lnTo>
                <a:lnTo>
                  <a:pt x="207" y="67"/>
                </a:lnTo>
                <a:lnTo>
                  <a:pt x="198" y="76"/>
                </a:lnTo>
                <a:lnTo>
                  <a:pt x="185" y="87"/>
                </a:lnTo>
                <a:lnTo>
                  <a:pt x="170" y="99"/>
                </a:lnTo>
                <a:lnTo>
                  <a:pt x="176" y="106"/>
                </a:lnTo>
                <a:lnTo>
                  <a:pt x="186" y="111"/>
                </a:lnTo>
                <a:lnTo>
                  <a:pt x="189" y="118"/>
                </a:lnTo>
                <a:lnTo>
                  <a:pt x="186" y="127"/>
                </a:lnTo>
                <a:lnTo>
                  <a:pt x="183" y="138"/>
                </a:lnTo>
                <a:lnTo>
                  <a:pt x="170" y="136"/>
                </a:lnTo>
                <a:lnTo>
                  <a:pt x="157" y="133"/>
                </a:lnTo>
                <a:lnTo>
                  <a:pt x="149" y="11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4" name="Freeform 339">
            <a:extLst>
              <a:ext uri="{FF2B5EF4-FFF2-40B4-BE49-F238E27FC236}">
                <a16:creationId xmlns:a16="http://schemas.microsoft.com/office/drawing/2014/main" id="{20389180-92EB-4DA4-BBE1-249A72642B02}"/>
              </a:ext>
            </a:extLst>
          </p:cNvPr>
          <p:cNvSpPr>
            <a:spLocks/>
          </p:cNvSpPr>
          <p:nvPr/>
        </p:nvSpPr>
        <p:spPr bwMode="gray">
          <a:xfrm>
            <a:off x="4923109" y="2568512"/>
            <a:ext cx="61941" cy="52573"/>
          </a:xfrm>
          <a:custGeom>
            <a:avLst/>
            <a:gdLst>
              <a:gd name="T0" fmla="*/ 9 w 33"/>
              <a:gd name="T1" fmla="*/ 24 h 24"/>
              <a:gd name="T2" fmla="*/ 0 w 33"/>
              <a:gd name="T3" fmla="*/ 7 h 24"/>
              <a:gd name="T4" fmla="*/ 3 w 33"/>
              <a:gd name="T5" fmla="*/ 6 h 24"/>
              <a:gd name="T6" fmla="*/ 3 w 33"/>
              <a:gd name="T7" fmla="*/ 4 h 24"/>
              <a:gd name="T8" fmla="*/ 7 w 33"/>
              <a:gd name="T9" fmla="*/ 2 h 24"/>
              <a:gd name="T10" fmla="*/ 10 w 33"/>
              <a:gd name="T11" fmla="*/ 3 h 24"/>
              <a:gd name="T12" fmla="*/ 12 w 33"/>
              <a:gd name="T13" fmla="*/ 1 h 24"/>
              <a:gd name="T14" fmla="*/ 13 w 33"/>
              <a:gd name="T15" fmla="*/ 1 h 24"/>
              <a:gd name="T16" fmla="*/ 17 w 33"/>
              <a:gd name="T17" fmla="*/ 2 h 24"/>
              <a:gd name="T18" fmla="*/ 18 w 33"/>
              <a:gd name="T19" fmla="*/ 1 h 24"/>
              <a:gd name="T20" fmla="*/ 23 w 33"/>
              <a:gd name="T21" fmla="*/ 0 h 24"/>
              <a:gd name="T22" fmla="*/ 27 w 33"/>
              <a:gd name="T23" fmla="*/ 3 h 24"/>
              <a:gd name="T24" fmla="*/ 28 w 33"/>
              <a:gd name="T25" fmla="*/ 2 h 24"/>
              <a:gd name="T26" fmla="*/ 30 w 33"/>
              <a:gd name="T27" fmla="*/ 4 h 24"/>
              <a:gd name="T28" fmla="*/ 33 w 33"/>
              <a:gd name="T29" fmla="*/ 16 h 24"/>
              <a:gd name="T30" fmla="*/ 9 w 33"/>
              <a:gd name="T31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24">
                <a:moveTo>
                  <a:pt x="9" y="24"/>
                </a:moveTo>
                <a:lnTo>
                  <a:pt x="0" y="7"/>
                </a:lnTo>
                <a:lnTo>
                  <a:pt x="3" y="6"/>
                </a:lnTo>
                <a:lnTo>
                  <a:pt x="3" y="4"/>
                </a:lnTo>
                <a:lnTo>
                  <a:pt x="7" y="2"/>
                </a:lnTo>
                <a:lnTo>
                  <a:pt x="10" y="3"/>
                </a:lnTo>
                <a:lnTo>
                  <a:pt x="12" y="1"/>
                </a:lnTo>
                <a:lnTo>
                  <a:pt x="13" y="1"/>
                </a:lnTo>
                <a:lnTo>
                  <a:pt x="17" y="2"/>
                </a:lnTo>
                <a:lnTo>
                  <a:pt x="18" y="1"/>
                </a:lnTo>
                <a:lnTo>
                  <a:pt x="23" y="0"/>
                </a:lnTo>
                <a:lnTo>
                  <a:pt x="27" y="3"/>
                </a:lnTo>
                <a:lnTo>
                  <a:pt x="28" y="2"/>
                </a:lnTo>
                <a:lnTo>
                  <a:pt x="30" y="4"/>
                </a:lnTo>
                <a:lnTo>
                  <a:pt x="33" y="16"/>
                </a:lnTo>
                <a:lnTo>
                  <a:pt x="9" y="24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5" name="Freeform 340">
            <a:extLst>
              <a:ext uri="{FF2B5EF4-FFF2-40B4-BE49-F238E27FC236}">
                <a16:creationId xmlns:a16="http://schemas.microsoft.com/office/drawing/2014/main" id="{786582A7-C52E-48B7-8A54-413DCFCCB3BE}"/>
              </a:ext>
            </a:extLst>
          </p:cNvPr>
          <p:cNvSpPr>
            <a:spLocks/>
          </p:cNvSpPr>
          <p:nvPr/>
        </p:nvSpPr>
        <p:spPr bwMode="gray">
          <a:xfrm>
            <a:off x="4969564" y="2504256"/>
            <a:ext cx="146247" cy="99305"/>
          </a:xfrm>
          <a:custGeom>
            <a:avLst/>
            <a:gdLst>
              <a:gd name="T0" fmla="*/ 4 w 77"/>
              <a:gd name="T1" fmla="*/ 3 h 46"/>
              <a:gd name="T2" fmla="*/ 1 w 77"/>
              <a:gd name="T3" fmla="*/ 0 h 46"/>
              <a:gd name="T4" fmla="*/ 0 w 77"/>
              <a:gd name="T5" fmla="*/ 9 h 46"/>
              <a:gd name="T6" fmla="*/ 6 w 77"/>
              <a:gd name="T7" fmla="*/ 19 h 46"/>
              <a:gd name="T8" fmla="*/ 0 w 77"/>
              <a:gd name="T9" fmla="*/ 26 h 46"/>
              <a:gd name="T10" fmla="*/ 4 w 77"/>
              <a:gd name="T11" fmla="*/ 32 h 46"/>
              <a:gd name="T12" fmla="*/ 6 w 77"/>
              <a:gd name="T13" fmla="*/ 34 h 46"/>
              <a:gd name="T14" fmla="*/ 9 w 77"/>
              <a:gd name="T15" fmla="*/ 46 h 46"/>
              <a:gd name="T16" fmla="*/ 23 w 77"/>
              <a:gd name="T17" fmla="*/ 44 h 46"/>
              <a:gd name="T18" fmla="*/ 46 w 77"/>
              <a:gd name="T19" fmla="*/ 46 h 46"/>
              <a:gd name="T20" fmla="*/ 51 w 77"/>
              <a:gd name="T21" fmla="*/ 42 h 46"/>
              <a:gd name="T22" fmla="*/ 53 w 77"/>
              <a:gd name="T23" fmla="*/ 39 h 46"/>
              <a:gd name="T24" fmla="*/ 55 w 77"/>
              <a:gd name="T25" fmla="*/ 36 h 46"/>
              <a:gd name="T26" fmla="*/ 73 w 77"/>
              <a:gd name="T27" fmla="*/ 36 h 46"/>
              <a:gd name="T28" fmla="*/ 69 w 77"/>
              <a:gd name="T29" fmla="*/ 28 h 46"/>
              <a:gd name="T30" fmla="*/ 71 w 77"/>
              <a:gd name="T31" fmla="*/ 22 h 46"/>
              <a:gd name="T32" fmla="*/ 73 w 77"/>
              <a:gd name="T33" fmla="*/ 13 h 46"/>
              <a:gd name="T34" fmla="*/ 77 w 77"/>
              <a:gd name="T35" fmla="*/ 7 h 46"/>
              <a:gd name="T36" fmla="*/ 53 w 77"/>
              <a:gd name="T37" fmla="*/ 2 h 46"/>
              <a:gd name="T38" fmla="*/ 33 w 77"/>
              <a:gd name="T39" fmla="*/ 8 h 46"/>
              <a:gd name="T40" fmla="*/ 18 w 77"/>
              <a:gd name="T41" fmla="*/ 6 h 46"/>
              <a:gd name="T42" fmla="*/ 4 w 77"/>
              <a:gd name="T43" fmla="*/ 3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77" h="46">
                <a:moveTo>
                  <a:pt x="4" y="3"/>
                </a:moveTo>
                <a:lnTo>
                  <a:pt x="1" y="0"/>
                </a:lnTo>
                <a:lnTo>
                  <a:pt x="0" y="9"/>
                </a:lnTo>
                <a:lnTo>
                  <a:pt x="6" y="19"/>
                </a:lnTo>
                <a:lnTo>
                  <a:pt x="0" y="26"/>
                </a:lnTo>
                <a:lnTo>
                  <a:pt x="4" y="32"/>
                </a:lnTo>
                <a:lnTo>
                  <a:pt x="6" y="34"/>
                </a:lnTo>
                <a:lnTo>
                  <a:pt x="9" y="46"/>
                </a:lnTo>
                <a:lnTo>
                  <a:pt x="23" y="44"/>
                </a:lnTo>
                <a:lnTo>
                  <a:pt x="46" y="46"/>
                </a:lnTo>
                <a:lnTo>
                  <a:pt x="51" y="42"/>
                </a:lnTo>
                <a:lnTo>
                  <a:pt x="53" y="39"/>
                </a:lnTo>
                <a:lnTo>
                  <a:pt x="55" y="36"/>
                </a:lnTo>
                <a:lnTo>
                  <a:pt x="73" y="36"/>
                </a:lnTo>
                <a:lnTo>
                  <a:pt x="69" y="28"/>
                </a:lnTo>
                <a:lnTo>
                  <a:pt x="71" y="22"/>
                </a:lnTo>
                <a:lnTo>
                  <a:pt x="73" y="13"/>
                </a:lnTo>
                <a:lnTo>
                  <a:pt x="77" y="7"/>
                </a:lnTo>
                <a:lnTo>
                  <a:pt x="53" y="2"/>
                </a:lnTo>
                <a:lnTo>
                  <a:pt x="33" y="8"/>
                </a:lnTo>
                <a:lnTo>
                  <a:pt x="18" y="6"/>
                </a:lnTo>
                <a:lnTo>
                  <a:pt x="4" y="3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6" name="Freeform 341">
            <a:extLst>
              <a:ext uri="{FF2B5EF4-FFF2-40B4-BE49-F238E27FC236}">
                <a16:creationId xmlns:a16="http://schemas.microsoft.com/office/drawing/2014/main" id="{C2F844A5-91B4-4B3A-B84A-1CF3152FEED9}"/>
              </a:ext>
            </a:extLst>
          </p:cNvPr>
          <p:cNvSpPr>
            <a:spLocks/>
          </p:cNvSpPr>
          <p:nvPr/>
        </p:nvSpPr>
        <p:spPr bwMode="gray">
          <a:xfrm>
            <a:off x="4893858" y="2560723"/>
            <a:ext cx="44736" cy="99305"/>
          </a:xfrm>
          <a:custGeom>
            <a:avLst/>
            <a:gdLst>
              <a:gd name="T0" fmla="*/ 0 w 23"/>
              <a:gd name="T1" fmla="*/ 11 h 46"/>
              <a:gd name="T2" fmla="*/ 3 w 23"/>
              <a:gd name="T3" fmla="*/ 32 h 46"/>
              <a:gd name="T4" fmla="*/ 12 w 23"/>
              <a:gd name="T5" fmla="*/ 46 h 46"/>
              <a:gd name="T6" fmla="*/ 15 w 23"/>
              <a:gd name="T7" fmla="*/ 42 h 46"/>
              <a:gd name="T8" fmla="*/ 23 w 23"/>
              <a:gd name="T9" fmla="*/ 28 h 46"/>
              <a:gd name="T10" fmla="*/ 14 w 23"/>
              <a:gd name="T11" fmla="*/ 11 h 46"/>
              <a:gd name="T12" fmla="*/ 11 w 23"/>
              <a:gd name="T13" fmla="*/ 2 h 46"/>
              <a:gd name="T14" fmla="*/ 2 w 23"/>
              <a:gd name="T15" fmla="*/ 0 h 46"/>
              <a:gd name="T16" fmla="*/ 0 w 23"/>
              <a:gd name="T17" fmla="*/ 11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46">
                <a:moveTo>
                  <a:pt x="0" y="11"/>
                </a:moveTo>
                <a:lnTo>
                  <a:pt x="3" y="32"/>
                </a:lnTo>
                <a:lnTo>
                  <a:pt x="12" y="46"/>
                </a:lnTo>
                <a:lnTo>
                  <a:pt x="15" y="42"/>
                </a:lnTo>
                <a:lnTo>
                  <a:pt x="23" y="28"/>
                </a:lnTo>
                <a:lnTo>
                  <a:pt x="14" y="11"/>
                </a:lnTo>
                <a:lnTo>
                  <a:pt x="11" y="2"/>
                </a:lnTo>
                <a:lnTo>
                  <a:pt x="2" y="0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7" name="Freeform 342">
            <a:extLst>
              <a:ext uri="{FF2B5EF4-FFF2-40B4-BE49-F238E27FC236}">
                <a16:creationId xmlns:a16="http://schemas.microsoft.com/office/drawing/2014/main" id="{9D3839DC-DFA7-4B1F-BD76-AE809D2EC785}"/>
              </a:ext>
            </a:extLst>
          </p:cNvPr>
          <p:cNvSpPr>
            <a:spLocks/>
          </p:cNvSpPr>
          <p:nvPr/>
        </p:nvSpPr>
        <p:spPr bwMode="gray">
          <a:xfrm>
            <a:off x="5478848" y="2593824"/>
            <a:ext cx="115277" cy="87621"/>
          </a:xfrm>
          <a:custGeom>
            <a:avLst/>
            <a:gdLst>
              <a:gd name="T0" fmla="*/ 8 w 61"/>
              <a:gd name="T1" fmla="*/ 6 h 40"/>
              <a:gd name="T2" fmla="*/ 0 w 61"/>
              <a:gd name="T3" fmla="*/ 0 h 40"/>
              <a:gd name="T4" fmla="*/ 19 w 61"/>
              <a:gd name="T5" fmla="*/ 0 h 40"/>
              <a:gd name="T6" fmla="*/ 38 w 61"/>
              <a:gd name="T7" fmla="*/ 0 h 40"/>
              <a:gd name="T8" fmla="*/ 51 w 61"/>
              <a:gd name="T9" fmla="*/ 2 h 40"/>
              <a:gd name="T10" fmla="*/ 50 w 61"/>
              <a:gd name="T11" fmla="*/ 16 h 40"/>
              <a:gd name="T12" fmla="*/ 56 w 61"/>
              <a:gd name="T13" fmla="*/ 19 h 40"/>
              <a:gd name="T14" fmla="*/ 51 w 61"/>
              <a:gd name="T15" fmla="*/ 25 h 40"/>
              <a:gd name="T16" fmla="*/ 61 w 61"/>
              <a:gd name="T17" fmla="*/ 38 h 40"/>
              <a:gd name="T18" fmla="*/ 55 w 61"/>
              <a:gd name="T19" fmla="*/ 40 h 40"/>
              <a:gd name="T20" fmla="*/ 51 w 61"/>
              <a:gd name="T21" fmla="*/ 38 h 40"/>
              <a:gd name="T22" fmla="*/ 50 w 61"/>
              <a:gd name="T23" fmla="*/ 36 h 40"/>
              <a:gd name="T24" fmla="*/ 46 w 61"/>
              <a:gd name="T25" fmla="*/ 33 h 40"/>
              <a:gd name="T26" fmla="*/ 43 w 61"/>
              <a:gd name="T27" fmla="*/ 33 h 40"/>
              <a:gd name="T28" fmla="*/ 39 w 61"/>
              <a:gd name="T29" fmla="*/ 32 h 40"/>
              <a:gd name="T30" fmla="*/ 36 w 61"/>
              <a:gd name="T31" fmla="*/ 30 h 40"/>
              <a:gd name="T32" fmla="*/ 31 w 61"/>
              <a:gd name="T33" fmla="*/ 30 h 40"/>
              <a:gd name="T34" fmla="*/ 19 w 61"/>
              <a:gd name="T35" fmla="*/ 25 h 40"/>
              <a:gd name="T36" fmla="*/ 14 w 61"/>
              <a:gd name="T37" fmla="*/ 16 h 40"/>
              <a:gd name="T38" fmla="*/ 8 w 61"/>
              <a:gd name="T39" fmla="*/ 6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61" h="40">
                <a:moveTo>
                  <a:pt x="8" y="6"/>
                </a:moveTo>
                <a:lnTo>
                  <a:pt x="0" y="0"/>
                </a:lnTo>
                <a:lnTo>
                  <a:pt x="19" y="0"/>
                </a:lnTo>
                <a:lnTo>
                  <a:pt x="38" y="0"/>
                </a:lnTo>
                <a:lnTo>
                  <a:pt x="51" y="2"/>
                </a:lnTo>
                <a:lnTo>
                  <a:pt x="50" y="16"/>
                </a:lnTo>
                <a:lnTo>
                  <a:pt x="56" y="19"/>
                </a:lnTo>
                <a:lnTo>
                  <a:pt x="51" y="25"/>
                </a:lnTo>
                <a:lnTo>
                  <a:pt x="61" y="38"/>
                </a:lnTo>
                <a:lnTo>
                  <a:pt x="55" y="40"/>
                </a:lnTo>
                <a:lnTo>
                  <a:pt x="51" y="38"/>
                </a:lnTo>
                <a:lnTo>
                  <a:pt x="50" y="36"/>
                </a:lnTo>
                <a:lnTo>
                  <a:pt x="46" y="33"/>
                </a:lnTo>
                <a:lnTo>
                  <a:pt x="43" y="33"/>
                </a:lnTo>
                <a:lnTo>
                  <a:pt x="39" y="32"/>
                </a:lnTo>
                <a:lnTo>
                  <a:pt x="36" y="30"/>
                </a:lnTo>
                <a:lnTo>
                  <a:pt x="31" y="30"/>
                </a:lnTo>
                <a:lnTo>
                  <a:pt x="19" y="25"/>
                </a:lnTo>
                <a:lnTo>
                  <a:pt x="14" y="16"/>
                </a:lnTo>
                <a:lnTo>
                  <a:pt x="8" y="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8" name="Freeform 343">
            <a:extLst>
              <a:ext uri="{FF2B5EF4-FFF2-40B4-BE49-F238E27FC236}">
                <a16:creationId xmlns:a16="http://schemas.microsoft.com/office/drawing/2014/main" id="{6B1349C1-4ADE-4568-B362-1905B3EBC22E}"/>
              </a:ext>
            </a:extLst>
          </p:cNvPr>
          <p:cNvSpPr>
            <a:spLocks/>
          </p:cNvSpPr>
          <p:nvPr/>
        </p:nvSpPr>
        <p:spPr bwMode="gray">
          <a:xfrm>
            <a:off x="5575199" y="2582142"/>
            <a:ext cx="99792" cy="120724"/>
          </a:xfrm>
          <a:custGeom>
            <a:avLst/>
            <a:gdLst>
              <a:gd name="T0" fmla="*/ 11 w 52"/>
              <a:gd name="T1" fmla="*/ 43 h 55"/>
              <a:gd name="T2" fmla="*/ 1 w 52"/>
              <a:gd name="T3" fmla="*/ 30 h 55"/>
              <a:gd name="T4" fmla="*/ 6 w 52"/>
              <a:gd name="T5" fmla="*/ 24 h 55"/>
              <a:gd name="T6" fmla="*/ 0 w 52"/>
              <a:gd name="T7" fmla="*/ 21 h 55"/>
              <a:gd name="T8" fmla="*/ 1 w 52"/>
              <a:gd name="T9" fmla="*/ 7 h 55"/>
              <a:gd name="T10" fmla="*/ 6 w 52"/>
              <a:gd name="T11" fmla="*/ 0 h 55"/>
              <a:gd name="T12" fmla="*/ 26 w 52"/>
              <a:gd name="T13" fmla="*/ 3 h 55"/>
              <a:gd name="T14" fmla="*/ 35 w 52"/>
              <a:gd name="T15" fmla="*/ 13 h 55"/>
              <a:gd name="T16" fmla="*/ 52 w 52"/>
              <a:gd name="T17" fmla="*/ 24 h 55"/>
              <a:gd name="T18" fmla="*/ 43 w 52"/>
              <a:gd name="T19" fmla="*/ 26 h 55"/>
              <a:gd name="T20" fmla="*/ 40 w 52"/>
              <a:gd name="T21" fmla="*/ 44 h 55"/>
              <a:gd name="T22" fmla="*/ 38 w 52"/>
              <a:gd name="T23" fmla="*/ 55 h 55"/>
              <a:gd name="T24" fmla="*/ 26 w 52"/>
              <a:gd name="T25" fmla="*/ 47 h 55"/>
              <a:gd name="T26" fmla="*/ 28 w 52"/>
              <a:gd name="T27" fmla="*/ 43 h 55"/>
              <a:gd name="T28" fmla="*/ 24 w 52"/>
              <a:gd name="T29" fmla="*/ 35 h 55"/>
              <a:gd name="T30" fmla="*/ 11 w 52"/>
              <a:gd name="T31" fmla="*/ 43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5">
                <a:moveTo>
                  <a:pt x="11" y="43"/>
                </a:moveTo>
                <a:lnTo>
                  <a:pt x="1" y="30"/>
                </a:lnTo>
                <a:lnTo>
                  <a:pt x="6" y="24"/>
                </a:lnTo>
                <a:lnTo>
                  <a:pt x="0" y="21"/>
                </a:lnTo>
                <a:lnTo>
                  <a:pt x="1" y="7"/>
                </a:lnTo>
                <a:lnTo>
                  <a:pt x="6" y="0"/>
                </a:lnTo>
                <a:lnTo>
                  <a:pt x="26" y="3"/>
                </a:lnTo>
                <a:lnTo>
                  <a:pt x="35" y="13"/>
                </a:lnTo>
                <a:lnTo>
                  <a:pt x="52" y="24"/>
                </a:lnTo>
                <a:lnTo>
                  <a:pt x="43" y="26"/>
                </a:lnTo>
                <a:lnTo>
                  <a:pt x="40" y="44"/>
                </a:lnTo>
                <a:lnTo>
                  <a:pt x="38" y="55"/>
                </a:lnTo>
                <a:lnTo>
                  <a:pt x="26" y="47"/>
                </a:lnTo>
                <a:lnTo>
                  <a:pt x="28" y="43"/>
                </a:lnTo>
                <a:lnTo>
                  <a:pt x="24" y="35"/>
                </a:lnTo>
                <a:lnTo>
                  <a:pt x="11" y="4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99" name="Freeform 344">
            <a:extLst>
              <a:ext uri="{FF2B5EF4-FFF2-40B4-BE49-F238E27FC236}">
                <a16:creationId xmlns:a16="http://schemas.microsoft.com/office/drawing/2014/main" id="{3E54F8BD-8F1F-4F45-B11A-013A6F187B16}"/>
              </a:ext>
            </a:extLst>
          </p:cNvPr>
          <p:cNvSpPr>
            <a:spLocks/>
          </p:cNvSpPr>
          <p:nvPr/>
        </p:nvSpPr>
        <p:spPr bwMode="gray">
          <a:xfrm>
            <a:off x="5535627" y="2660030"/>
            <a:ext cx="46455" cy="25313"/>
          </a:xfrm>
          <a:custGeom>
            <a:avLst/>
            <a:gdLst>
              <a:gd name="T0" fmla="*/ 24 w 24"/>
              <a:gd name="T1" fmla="*/ 10 h 13"/>
              <a:gd name="T2" fmla="*/ 19 w 24"/>
              <a:gd name="T3" fmla="*/ 13 h 13"/>
              <a:gd name="T4" fmla="*/ 3 w 24"/>
              <a:gd name="T5" fmla="*/ 3 h 13"/>
              <a:gd name="T6" fmla="*/ 1 w 24"/>
              <a:gd name="T7" fmla="*/ 1 h 13"/>
              <a:gd name="T8" fmla="*/ 0 w 24"/>
              <a:gd name="T9" fmla="*/ 0 h 13"/>
              <a:gd name="T10" fmla="*/ 5 w 24"/>
              <a:gd name="T11" fmla="*/ 0 h 13"/>
              <a:gd name="T12" fmla="*/ 8 w 24"/>
              <a:gd name="T13" fmla="*/ 2 h 13"/>
              <a:gd name="T14" fmla="*/ 12 w 24"/>
              <a:gd name="T15" fmla="*/ 2 h 13"/>
              <a:gd name="T16" fmla="*/ 15 w 24"/>
              <a:gd name="T17" fmla="*/ 3 h 13"/>
              <a:gd name="T18" fmla="*/ 19 w 24"/>
              <a:gd name="T19" fmla="*/ 6 h 13"/>
              <a:gd name="T20" fmla="*/ 20 w 24"/>
              <a:gd name="T21" fmla="*/ 8 h 13"/>
              <a:gd name="T22" fmla="*/ 24 w 24"/>
              <a:gd name="T23" fmla="*/ 1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" h="13">
                <a:moveTo>
                  <a:pt x="24" y="10"/>
                </a:moveTo>
                <a:lnTo>
                  <a:pt x="19" y="13"/>
                </a:lnTo>
                <a:lnTo>
                  <a:pt x="3" y="3"/>
                </a:lnTo>
                <a:lnTo>
                  <a:pt x="1" y="1"/>
                </a:lnTo>
                <a:lnTo>
                  <a:pt x="0" y="0"/>
                </a:lnTo>
                <a:lnTo>
                  <a:pt x="5" y="0"/>
                </a:lnTo>
                <a:lnTo>
                  <a:pt x="8" y="2"/>
                </a:lnTo>
                <a:lnTo>
                  <a:pt x="12" y="2"/>
                </a:lnTo>
                <a:lnTo>
                  <a:pt x="15" y="3"/>
                </a:lnTo>
                <a:lnTo>
                  <a:pt x="19" y="6"/>
                </a:lnTo>
                <a:lnTo>
                  <a:pt x="20" y="8"/>
                </a:lnTo>
                <a:lnTo>
                  <a:pt x="24" y="1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0" name="Freeform 345">
            <a:extLst>
              <a:ext uri="{FF2B5EF4-FFF2-40B4-BE49-F238E27FC236}">
                <a16:creationId xmlns:a16="http://schemas.microsoft.com/office/drawing/2014/main" id="{63AF8C39-F070-44DD-8683-F7773C230244}"/>
              </a:ext>
            </a:extLst>
          </p:cNvPr>
          <p:cNvSpPr>
            <a:spLocks/>
          </p:cNvSpPr>
          <p:nvPr/>
        </p:nvSpPr>
        <p:spPr bwMode="gray">
          <a:xfrm>
            <a:off x="4916227" y="2589929"/>
            <a:ext cx="156571" cy="183034"/>
          </a:xfrm>
          <a:custGeom>
            <a:avLst/>
            <a:gdLst>
              <a:gd name="T0" fmla="*/ 15 w 81"/>
              <a:gd name="T1" fmla="*/ 45 h 84"/>
              <a:gd name="T2" fmla="*/ 6 w 81"/>
              <a:gd name="T3" fmla="*/ 41 h 84"/>
              <a:gd name="T4" fmla="*/ 0 w 81"/>
              <a:gd name="T5" fmla="*/ 33 h 84"/>
              <a:gd name="T6" fmla="*/ 3 w 81"/>
              <a:gd name="T7" fmla="*/ 29 h 84"/>
              <a:gd name="T8" fmla="*/ 11 w 81"/>
              <a:gd name="T9" fmla="*/ 15 h 84"/>
              <a:gd name="T10" fmla="*/ 35 w 81"/>
              <a:gd name="T11" fmla="*/ 7 h 84"/>
              <a:gd name="T12" fmla="*/ 49 w 81"/>
              <a:gd name="T13" fmla="*/ 5 h 84"/>
              <a:gd name="T14" fmla="*/ 72 w 81"/>
              <a:gd name="T15" fmla="*/ 7 h 84"/>
              <a:gd name="T16" fmla="*/ 77 w 81"/>
              <a:gd name="T17" fmla="*/ 3 h 84"/>
              <a:gd name="T18" fmla="*/ 79 w 81"/>
              <a:gd name="T19" fmla="*/ 0 h 84"/>
              <a:gd name="T20" fmla="*/ 81 w 81"/>
              <a:gd name="T21" fmla="*/ 6 h 84"/>
              <a:gd name="T22" fmla="*/ 77 w 81"/>
              <a:gd name="T23" fmla="*/ 16 h 84"/>
              <a:gd name="T24" fmla="*/ 61 w 81"/>
              <a:gd name="T25" fmla="*/ 13 h 84"/>
              <a:gd name="T26" fmla="*/ 47 w 81"/>
              <a:gd name="T27" fmla="*/ 18 h 84"/>
              <a:gd name="T28" fmla="*/ 54 w 81"/>
              <a:gd name="T29" fmla="*/ 24 h 84"/>
              <a:gd name="T30" fmla="*/ 48 w 81"/>
              <a:gd name="T31" fmla="*/ 24 h 84"/>
              <a:gd name="T32" fmla="*/ 49 w 81"/>
              <a:gd name="T33" fmla="*/ 28 h 84"/>
              <a:gd name="T34" fmla="*/ 43 w 81"/>
              <a:gd name="T35" fmla="*/ 25 h 84"/>
              <a:gd name="T36" fmla="*/ 47 w 81"/>
              <a:gd name="T37" fmla="*/ 29 h 84"/>
              <a:gd name="T38" fmla="*/ 37 w 81"/>
              <a:gd name="T39" fmla="*/ 19 h 84"/>
              <a:gd name="T40" fmla="*/ 33 w 81"/>
              <a:gd name="T41" fmla="*/ 22 h 84"/>
              <a:gd name="T42" fmla="*/ 39 w 81"/>
              <a:gd name="T43" fmla="*/ 35 h 84"/>
              <a:gd name="T44" fmla="*/ 42 w 81"/>
              <a:gd name="T45" fmla="*/ 42 h 84"/>
              <a:gd name="T46" fmla="*/ 37 w 81"/>
              <a:gd name="T47" fmla="*/ 40 h 84"/>
              <a:gd name="T48" fmla="*/ 38 w 81"/>
              <a:gd name="T49" fmla="*/ 46 h 84"/>
              <a:gd name="T50" fmla="*/ 36 w 81"/>
              <a:gd name="T51" fmla="*/ 46 h 84"/>
              <a:gd name="T52" fmla="*/ 54 w 81"/>
              <a:gd name="T53" fmla="*/ 58 h 84"/>
              <a:gd name="T54" fmla="*/ 53 w 81"/>
              <a:gd name="T55" fmla="*/ 64 h 84"/>
              <a:gd name="T56" fmla="*/ 47 w 81"/>
              <a:gd name="T57" fmla="*/ 60 h 84"/>
              <a:gd name="T58" fmla="*/ 43 w 81"/>
              <a:gd name="T59" fmla="*/ 63 h 84"/>
              <a:gd name="T60" fmla="*/ 47 w 81"/>
              <a:gd name="T61" fmla="*/ 70 h 84"/>
              <a:gd name="T62" fmla="*/ 38 w 81"/>
              <a:gd name="T63" fmla="*/ 70 h 84"/>
              <a:gd name="T64" fmla="*/ 44 w 81"/>
              <a:gd name="T65" fmla="*/ 84 h 84"/>
              <a:gd name="T66" fmla="*/ 37 w 81"/>
              <a:gd name="T67" fmla="*/ 81 h 84"/>
              <a:gd name="T68" fmla="*/ 35 w 81"/>
              <a:gd name="T69" fmla="*/ 84 h 84"/>
              <a:gd name="T70" fmla="*/ 29 w 81"/>
              <a:gd name="T71" fmla="*/ 76 h 84"/>
              <a:gd name="T72" fmla="*/ 26 w 81"/>
              <a:gd name="T73" fmla="*/ 79 h 84"/>
              <a:gd name="T74" fmla="*/ 19 w 81"/>
              <a:gd name="T75" fmla="*/ 65 h 84"/>
              <a:gd name="T76" fmla="*/ 18 w 81"/>
              <a:gd name="T77" fmla="*/ 60 h 84"/>
              <a:gd name="T78" fmla="*/ 29 w 81"/>
              <a:gd name="T79" fmla="*/ 55 h 84"/>
              <a:gd name="T80" fmla="*/ 42 w 81"/>
              <a:gd name="T81" fmla="*/ 59 h 84"/>
              <a:gd name="T82" fmla="*/ 41 w 81"/>
              <a:gd name="T83" fmla="*/ 57 h 84"/>
              <a:gd name="T84" fmla="*/ 33 w 81"/>
              <a:gd name="T85" fmla="*/ 53 h 84"/>
              <a:gd name="T86" fmla="*/ 19 w 81"/>
              <a:gd name="T87" fmla="*/ 53 h 84"/>
              <a:gd name="T88" fmla="*/ 15 w 81"/>
              <a:gd name="T89" fmla="*/ 53 h 84"/>
              <a:gd name="T90" fmla="*/ 12 w 81"/>
              <a:gd name="T91" fmla="*/ 46 h 84"/>
              <a:gd name="T92" fmla="*/ 15 w 81"/>
              <a:gd name="T93" fmla="*/ 45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1" h="84">
                <a:moveTo>
                  <a:pt x="15" y="45"/>
                </a:moveTo>
                <a:lnTo>
                  <a:pt x="6" y="41"/>
                </a:lnTo>
                <a:lnTo>
                  <a:pt x="0" y="33"/>
                </a:lnTo>
                <a:lnTo>
                  <a:pt x="3" y="29"/>
                </a:lnTo>
                <a:lnTo>
                  <a:pt x="11" y="15"/>
                </a:lnTo>
                <a:lnTo>
                  <a:pt x="35" y="7"/>
                </a:lnTo>
                <a:lnTo>
                  <a:pt x="49" y="5"/>
                </a:lnTo>
                <a:lnTo>
                  <a:pt x="72" y="7"/>
                </a:lnTo>
                <a:lnTo>
                  <a:pt x="77" y="3"/>
                </a:lnTo>
                <a:lnTo>
                  <a:pt x="79" y="0"/>
                </a:lnTo>
                <a:lnTo>
                  <a:pt x="81" y="6"/>
                </a:lnTo>
                <a:lnTo>
                  <a:pt x="77" y="16"/>
                </a:lnTo>
                <a:lnTo>
                  <a:pt x="61" y="13"/>
                </a:lnTo>
                <a:lnTo>
                  <a:pt x="47" y="18"/>
                </a:lnTo>
                <a:lnTo>
                  <a:pt x="54" y="24"/>
                </a:lnTo>
                <a:lnTo>
                  <a:pt x="48" y="24"/>
                </a:lnTo>
                <a:lnTo>
                  <a:pt x="49" y="28"/>
                </a:lnTo>
                <a:lnTo>
                  <a:pt x="43" y="25"/>
                </a:lnTo>
                <a:lnTo>
                  <a:pt x="47" y="29"/>
                </a:lnTo>
                <a:lnTo>
                  <a:pt x="37" y="19"/>
                </a:lnTo>
                <a:lnTo>
                  <a:pt x="33" y="22"/>
                </a:lnTo>
                <a:lnTo>
                  <a:pt x="39" y="35"/>
                </a:lnTo>
                <a:lnTo>
                  <a:pt x="42" y="42"/>
                </a:lnTo>
                <a:lnTo>
                  <a:pt x="37" y="40"/>
                </a:lnTo>
                <a:lnTo>
                  <a:pt x="38" y="46"/>
                </a:lnTo>
                <a:lnTo>
                  <a:pt x="36" y="46"/>
                </a:lnTo>
                <a:lnTo>
                  <a:pt x="54" y="58"/>
                </a:lnTo>
                <a:lnTo>
                  <a:pt x="53" y="64"/>
                </a:lnTo>
                <a:lnTo>
                  <a:pt x="47" y="60"/>
                </a:lnTo>
                <a:lnTo>
                  <a:pt x="43" y="63"/>
                </a:lnTo>
                <a:lnTo>
                  <a:pt x="47" y="70"/>
                </a:lnTo>
                <a:lnTo>
                  <a:pt x="38" y="70"/>
                </a:lnTo>
                <a:lnTo>
                  <a:pt x="44" y="84"/>
                </a:lnTo>
                <a:lnTo>
                  <a:pt x="37" y="81"/>
                </a:lnTo>
                <a:lnTo>
                  <a:pt x="35" y="84"/>
                </a:lnTo>
                <a:lnTo>
                  <a:pt x="29" y="76"/>
                </a:lnTo>
                <a:lnTo>
                  <a:pt x="26" y="79"/>
                </a:lnTo>
                <a:lnTo>
                  <a:pt x="19" y="65"/>
                </a:lnTo>
                <a:lnTo>
                  <a:pt x="18" y="60"/>
                </a:lnTo>
                <a:lnTo>
                  <a:pt x="29" y="55"/>
                </a:lnTo>
                <a:lnTo>
                  <a:pt x="42" y="59"/>
                </a:lnTo>
                <a:lnTo>
                  <a:pt x="41" y="57"/>
                </a:lnTo>
                <a:lnTo>
                  <a:pt x="33" y="53"/>
                </a:lnTo>
                <a:lnTo>
                  <a:pt x="19" y="53"/>
                </a:lnTo>
                <a:lnTo>
                  <a:pt x="15" y="53"/>
                </a:lnTo>
                <a:lnTo>
                  <a:pt x="12" y="46"/>
                </a:lnTo>
                <a:lnTo>
                  <a:pt x="15" y="45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1" name="Freeform 346">
            <a:extLst>
              <a:ext uri="{FF2B5EF4-FFF2-40B4-BE49-F238E27FC236}">
                <a16:creationId xmlns:a16="http://schemas.microsoft.com/office/drawing/2014/main" id="{75B99127-9284-4B26-BF4D-80C8359F1288}"/>
              </a:ext>
            </a:extLst>
          </p:cNvPr>
          <p:cNvSpPr>
            <a:spLocks/>
          </p:cNvSpPr>
          <p:nvPr/>
        </p:nvSpPr>
        <p:spPr bwMode="gray">
          <a:xfrm>
            <a:off x="5019459" y="2802171"/>
            <a:ext cx="68822" cy="21419"/>
          </a:xfrm>
          <a:custGeom>
            <a:avLst/>
            <a:gdLst>
              <a:gd name="T0" fmla="*/ 28 w 36"/>
              <a:gd name="T1" fmla="*/ 3 h 8"/>
              <a:gd name="T2" fmla="*/ 7 w 36"/>
              <a:gd name="T3" fmla="*/ 0 h 8"/>
              <a:gd name="T4" fmla="*/ 1 w 36"/>
              <a:gd name="T5" fmla="*/ 0 h 8"/>
              <a:gd name="T6" fmla="*/ 0 w 36"/>
              <a:gd name="T7" fmla="*/ 5 h 8"/>
              <a:gd name="T8" fmla="*/ 13 w 36"/>
              <a:gd name="T9" fmla="*/ 6 h 8"/>
              <a:gd name="T10" fmla="*/ 26 w 36"/>
              <a:gd name="T11" fmla="*/ 8 h 8"/>
              <a:gd name="T12" fmla="*/ 36 w 36"/>
              <a:gd name="T13" fmla="*/ 5 h 8"/>
              <a:gd name="T14" fmla="*/ 28 w 36"/>
              <a:gd name="T15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6" h="8">
                <a:moveTo>
                  <a:pt x="28" y="3"/>
                </a:moveTo>
                <a:lnTo>
                  <a:pt x="7" y="0"/>
                </a:lnTo>
                <a:lnTo>
                  <a:pt x="1" y="0"/>
                </a:lnTo>
                <a:lnTo>
                  <a:pt x="0" y="5"/>
                </a:lnTo>
                <a:lnTo>
                  <a:pt x="13" y="6"/>
                </a:lnTo>
                <a:lnTo>
                  <a:pt x="26" y="8"/>
                </a:lnTo>
                <a:lnTo>
                  <a:pt x="36" y="5"/>
                </a:lnTo>
                <a:lnTo>
                  <a:pt x="28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2" name="Freeform 347">
            <a:extLst>
              <a:ext uri="{FF2B5EF4-FFF2-40B4-BE49-F238E27FC236}">
                <a16:creationId xmlns:a16="http://schemas.microsoft.com/office/drawing/2014/main" id="{FCF76F22-6BDD-4BD5-8544-D96FBE3EA866}"/>
              </a:ext>
            </a:extLst>
          </p:cNvPr>
          <p:cNvSpPr>
            <a:spLocks/>
          </p:cNvSpPr>
          <p:nvPr/>
        </p:nvSpPr>
        <p:spPr bwMode="gray">
          <a:xfrm>
            <a:off x="4997092" y="2685342"/>
            <a:ext cx="37851" cy="31154"/>
          </a:xfrm>
          <a:custGeom>
            <a:avLst/>
            <a:gdLst>
              <a:gd name="T0" fmla="*/ 20 w 20"/>
              <a:gd name="T1" fmla="*/ 13 h 14"/>
              <a:gd name="T2" fmla="*/ 9 w 20"/>
              <a:gd name="T3" fmla="*/ 3 h 14"/>
              <a:gd name="T4" fmla="*/ 0 w 20"/>
              <a:gd name="T5" fmla="*/ 0 h 14"/>
              <a:gd name="T6" fmla="*/ 9 w 20"/>
              <a:gd name="T7" fmla="*/ 7 h 14"/>
              <a:gd name="T8" fmla="*/ 20 w 20"/>
              <a:gd name="T9" fmla="*/ 14 h 14"/>
              <a:gd name="T10" fmla="*/ 20 w 20"/>
              <a:gd name="T11" fmla="*/ 13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" h="14">
                <a:moveTo>
                  <a:pt x="20" y="13"/>
                </a:moveTo>
                <a:lnTo>
                  <a:pt x="9" y="3"/>
                </a:lnTo>
                <a:lnTo>
                  <a:pt x="0" y="0"/>
                </a:lnTo>
                <a:lnTo>
                  <a:pt x="9" y="7"/>
                </a:lnTo>
                <a:lnTo>
                  <a:pt x="20" y="14"/>
                </a:lnTo>
                <a:lnTo>
                  <a:pt x="20" y="1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3" name="Freeform 348">
            <a:extLst>
              <a:ext uri="{FF2B5EF4-FFF2-40B4-BE49-F238E27FC236}">
                <a16:creationId xmlns:a16="http://schemas.microsoft.com/office/drawing/2014/main" id="{80601964-8B9E-4761-88B7-7DDA42ED8480}"/>
              </a:ext>
            </a:extLst>
          </p:cNvPr>
          <p:cNvSpPr>
            <a:spLocks/>
          </p:cNvSpPr>
          <p:nvPr/>
        </p:nvSpPr>
        <p:spPr bwMode="gray">
          <a:xfrm>
            <a:off x="5065913" y="2671712"/>
            <a:ext cx="18926" cy="9735"/>
          </a:xfrm>
          <a:custGeom>
            <a:avLst/>
            <a:gdLst>
              <a:gd name="T0" fmla="*/ 8 w 8"/>
              <a:gd name="T1" fmla="*/ 3 h 3"/>
              <a:gd name="T2" fmla="*/ 3 w 8"/>
              <a:gd name="T3" fmla="*/ 2 h 3"/>
              <a:gd name="T4" fmla="*/ 0 w 8"/>
              <a:gd name="T5" fmla="*/ 0 h 3"/>
              <a:gd name="T6" fmla="*/ 7 w 8"/>
              <a:gd name="T7" fmla="*/ 2 h 3"/>
              <a:gd name="T8" fmla="*/ 8 w 8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3">
                <a:moveTo>
                  <a:pt x="8" y="3"/>
                </a:moveTo>
                <a:lnTo>
                  <a:pt x="3" y="2"/>
                </a:lnTo>
                <a:lnTo>
                  <a:pt x="0" y="0"/>
                </a:lnTo>
                <a:lnTo>
                  <a:pt x="7" y="2"/>
                </a:lnTo>
                <a:lnTo>
                  <a:pt x="8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4" name="Freeform 349">
            <a:extLst>
              <a:ext uri="{FF2B5EF4-FFF2-40B4-BE49-F238E27FC236}">
                <a16:creationId xmlns:a16="http://schemas.microsoft.com/office/drawing/2014/main" id="{DEBEF685-7315-4398-A5FB-7106B2522999}"/>
              </a:ext>
            </a:extLst>
          </p:cNvPr>
          <p:cNvSpPr>
            <a:spLocks/>
          </p:cNvSpPr>
          <p:nvPr/>
        </p:nvSpPr>
        <p:spPr bwMode="gray">
          <a:xfrm>
            <a:off x="4931712" y="2706762"/>
            <a:ext cx="6882" cy="3894"/>
          </a:xfrm>
          <a:custGeom>
            <a:avLst/>
            <a:gdLst>
              <a:gd name="T0" fmla="*/ 0 w 4"/>
              <a:gd name="T1" fmla="*/ 0 h 4"/>
              <a:gd name="T2" fmla="*/ 4 w 4"/>
              <a:gd name="T3" fmla="*/ 4 h 4"/>
              <a:gd name="T4" fmla="*/ 1 w 4"/>
              <a:gd name="T5" fmla="*/ 4 h 4"/>
              <a:gd name="T6" fmla="*/ 0 w 4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4">
                <a:moveTo>
                  <a:pt x="0" y="0"/>
                </a:moveTo>
                <a:lnTo>
                  <a:pt x="4" y="4"/>
                </a:lnTo>
                <a:lnTo>
                  <a:pt x="1" y="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5" name="Freeform 350">
            <a:extLst>
              <a:ext uri="{FF2B5EF4-FFF2-40B4-BE49-F238E27FC236}">
                <a16:creationId xmlns:a16="http://schemas.microsoft.com/office/drawing/2014/main" id="{A32F0317-7D57-46AD-BFB6-4C23398DD462}"/>
              </a:ext>
            </a:extLst>
          </p:cNvPr>
          <p:cNvSpPr>
            <a:spLocks/>
          </p:cNvSpPr>
          <p:nvPr/>
        </p:nvSpPr>
        <p:spPr bwMode="gray">
          <a:xfrm>
            <a:off x="5069355" y="2698971"/>
            <a:ext cx="3441" cy="7789"/>
          </a:xfrm>
          <a:custGeom>
            <a:avLst/>
            <a:gdLst>
              <a:gd name="T0" fmla="*/ 2 w 2"/>
              <a:gd name="T1" fmla="*/ 0 h 4"/>
              <a:gd name="T2" fmla="*/ 2 w 2"/>
              <a:gd name="T3" fmla="*/ 4 h 4"/>
              <a:gd name="T4" fmla="*/ 0 w 2"/>
              <a:gd name="T5" fmla="*/ 1 h 4"/>
              <a:gd name="T6" fmla="*/ 2 w 2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4">
                <a:moveTo>
                  <a:pt x="2" y="0"/>
                </a:moveTo>
                <a:lnTo>
                  <a:pt x="2" y="4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6" name="Freeform 351">
            <a:extLst>
              <a:ext uri="{FF2B5EF4-FFF2-40B4-BE49-F238E27FC236}">
                <a16:creationId xmlns:a16="http://schemas.microsoft.com/office/drawing/2014/main" id="{EC4F2877-8055-4178-B36D-B21607488ECB}"/>
              </a:ext>
            </a:extLst>
          </p:cNvPr>
          <p:cNvSpPr>
            <a:spLocks/>
          </p:cNvSpPr>
          <p:nvPr/>
        </p:nvSpPr>
        <p:spPr bwMode="gray">
          <a:xfrm>
            <a:off x="4582438" y="2408846"/>
            <a:ext cx="295936" cy="311546"/>
          </a:xfrm>
          <a:custGeom>
            <a:avLst/>
            <a:gdLst>
              <a:gd name="T0" fmla="*/ 66 w 153"/>
              <a:gd name="T1" fmla="*/ 0 h 144"/>
              <a:gd name="T2" fmla="*/ 44 w 153"/>
              <a:gd name="T3" fmla="*/ 2 h 144"/>
              <a:gd name="T4" fmla="*/ 42 w 153"/>
              <a:gd name="T5" fmla="*/ 6 h 144"/>
              <a:gd name="T6" fmla="*/ 30 w 153"/>
              <a:gd name="T7" fmla="*/ 10 h 144"/>
              <a:gd name="T8" fmla="*/ 16 w 153"/>
              <a:gd name="T9" fmla="*/ 10 h 144"/>
              <a:gd name="T10" fmla="*/ 1 w 153"/>
              <a:gd name="T11" fmla="*/ 17 h 144"/>
              <a:gd name="T12" fmla="*/ 0 w 153"/>
              <a:gd name="T13" fmla="*/ 29 h 144"/>
              <a:gd name="T14" fmla="*/ 0 w 153"/>
              <a:gd name="T15" fmla="*/ 40 h 144"/>
              <a:gd name="T16" fmla="*/ 8 w 153"/>
              <a:gd name="T17" fmla="*/ 51 h 144"/>
              <a:gd name="T18" fmla="*/ 38 w 153"/>
              <a:gd name="T19" fmla="*/ 46 h 144"/>
              <a:gd name="T20" fmla="*/ 60 w 153"/>
              <a:gd name="T21" fmla="*/ 72 h 144"/>
              <a:gd name="T22" fmla="*/ 74 w 153"/>
              <a:gd name="T23" fmla="*/ 86 h 144"/>
              <a:gd name="T24" fmla="*/ 85 w 153"/>
              <a:gd name="T25" fmla="*/ 90 h 144"/>
              <a:gd name="T26" fmla="*/ 108 w 153"/>
              <a:gd name="T27" fmla="*/ 105 h 144"/>
              <a:gd name="T28" fmla="*/ 123 w 153"/>
              <a:gd name="T29" fmla="*/ 126 h 144"/>
              <a:gd name="T30" fmla="*/ 124 w 153"/>
              <a:gd name="T31" fmla="*/ 144 h 144"/>
              <a:gd name="T32" fmla="*/ 135 w 153"/>
              <a:gd name="T33" fmla="*/ 128 h 144"/>
              <a:gd name="T34" fmla="*/ 130 w 153"/>
              <a:gd name="T35" fmla="*/ 117 h 144"/>
              <a:gd name="T36" fmla="*/ 141 w 153"/>
              <a:gd name="T37" fmla="*/ 106 h 144"/>
              <a:gd name="T38" fmla="*/ 153 w 153"/>
              <a:gd name="T39" fmla="*/ 106 h 144"/>
              <a:gd name="T40" fmla="*/ 120 w 153"/>
              <a:gd name="T41" fmla="*/ 88 h 144"/>
              <a:gd name="T42" fmla="*/ 117 w 153"/>
              <a:gd name="T43" fmla="*/ 81 h 144"/>
              <a:gd name="T44" fmla="*/ 93 w 153"/>
              <a:gd name="T45" fmla="*/ 65 h 144"/>
              <a:gd name="T46" fmla="*/ 74 w 153"/>
              <a:gd name="T47" fmla="*/ 47 h 144"/>
              <a:gd name="T48" fmla="*/ 67 w 153"/>
              <a:gd name="T49" fmla="*/ 27 h 144"/>
              <a:gd name="T50" fmla="*/ 86 w 153"/>
              <a:gd name="T51" fmla="*/ 22 h 144"/>
              <a:gd name="T52" fmla="*/ 85 w 153"/>
              <a:gd name="T53" fmla="*/ 8 h 144"/>
              <a:gd name="T54" fmla="*/ 73 w 153"/>
              <a:gd name="T55" fmla="*/ 47 h 144"/>
              <a:gd name="T56" fmla="*/ 72 w 153"/>
              <a:gd name="T57" fmla="*/ 48 h 144"/>
              <a:gd name="T58" fmla="*/ 72 w 153"/>
              <a:gd name="T59" fmla="*/ 48 h 144"/>
              <a:gd name="T60" fmla="*/ 85 w 153"/>
              <a:gd name="T61" fmla="*/ 8 h 144"/>
              <a:gd name="T62" fmla="*/ 85 w 153"/>
              <a:gd name="T63" fmla="*/ 8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3" h="144">
                <a:moveTo>
                  <a:pt x="85" y="8"/>
                </a:moveTo>
                <a:lnTo>
                  <a:pt x="66" y="0"/>
                </a:lnTo>
                <a:lnTo>
                  <a:pt x="51" y="3"/>
                </a:lnTo>
                <a:lnTo>
                  <a:pt x="44" y="2"/>
                </a:lnTo>
                <a:lnTo>
                  <a:pt x="44" y="3"/>
                </a:lnTo>
                <a:lnTo>
                  <a:pt x="42" y="6"/>
                </a:lnTo>
                <a:lnTo>
                  <a:pt x="38" y="10"/>
                </a:lnTo>
                <a:lnTo>
                  <a:pt x="30" y="10"/>
                </a:lnTo>
                <a:lnTo>
                  <a:pt x="25" y="16"/>
                </a:lnTo>
                <a:lnTo>
                  <a:pt x="16" y="10"/>
                </a:lnTo>
                <a:lnTo>
                  <a:pt x="9" y="16"/>
                </a:lnTo>
                <a:lnTo>
                  <a:pt x="1" y="17"/>
                </a:lnTo>
                <a:lnTo>
                  <a:pt x="1" y="23"/>
                </a:lnTo>
                <a:lnTo>
                  <a:pt x="0" y="29"/>
                </a:lnTo>
                <a:lnTo>
                  <a:pt x="0" y="34"/>
                </a:lnTo>
                <a:lnTo>
                  <a:pt x="0" y="40"/>
                </a:lnTo>
                <a:lnTo>
                  <a:pt x="8" y="45"/>
                </a:lnTo>
                <a:lnTo>
                  <a:pt x="8" y="51"/>
                </a:lnTo>
                <a:lnTo>
                  <a:pt x="21" y="42"/>
                </a:lnTo>
                <a:lnTo>
                  <a:pt x="38" y="46"/>
                </a:lnTo>
                <a:lnTo>
                  <a:pt x="48" y="62"/>
                </a:lnTo>
                <a:lnTo>
                  <a:pt x="60" y="72"/>
                </a:lnTo>
                <a:lnTo>
                  <a:pt x="70" y="83"/>
                </a:lnTo>
                <a:lnTo>
                  <a:pt x="74" y="86"/>
                </a:lnTo>
                <a:lnTo>
                  <a:pt x="75" y="86"/>
                </a:lnTo>
                <a:lnTo>
                  <a:pt x="85" y="90"/>
                </a:lnTo>
                <a:lnTo>
                  <a:pt x="100" y="101"/>
                </a:lnTo>
                <a:lnTo>
                  <a:pt x="108" y="105"/>
                </a:lnTo>
                <a:lnTo>
                  <a:pt x="115" y="110"/>
                </a:lnTo>
                <a:lnTo>
                  <a:pt x="123" y="126"/>
                </a:lnTo>
                <a:lnTo>
                  <a:pt x="118" y="141"/>
                </a:lnTo>
                <a:lnTo>
                  <a:pt x="124" y="144"/>
                </a:lnTo>
                <a:lnTo>
                  <a:pt x="130" y="134"/>
                </a:lnTo>
                <a:lnTo>
                  <a:pt x="135" y="128"/>
                </a:lnTo>
                <a:lnTo>
                  <a:pt x="138" y="124"/>
                </a:lnTo>
                <a:lnTo>
                  <a:pt x="130" y="117"/>
                </a:lnTo>
                <a:lnTo>
                  <a:pt x="133" y="104"/>
                </a:lnTo>
                <a:lnTo>
                  <a:pt x="141" y="106"/>
                </a:lnTo>
                <a:lnTo>
                  <a:pt x="151" y="113"/>
                </a:lnTo>
                <a:lnTo>
                  <a:pt x="153" y="106"/>
                </a:lnTo>
                <a:lnTo>
                  <a:pt x="136" y="98"/>
                </a:lnTo>
                <a:lnTo>
                  <a:pt x="120" y="88"/>
                </a:lnTo>
                <a:lnTo>
                  <a:pt x="122" y="82"/>
                </a:lnTo>
                <a:lnTo>
                  <a:pt x="117" y="81"/>
                </a:lnTo>
                <a:lnTo>
                  <a:pt x="100" y="76"/>
                </a:lnTo>
                <a:lnTo>
                  <a:pt x="93" y="65"/>
                </a:lnTo>
                <a:lnTo>
                  <a:pt x="87" y="56"/>
                </a:lnTo>
                <a:lnTo>
                  <a:pt x="74" y="47"/>
                </a:lnTo>
                <a:lnTo>
                  <a:pt x="69" y="34"/>
                </a:lnTo>
                <a:lnTo>
                  <a:pt x="67" y="27"/>
                </a:lnTo>
                <a:lnTo>
                  <a:pt x="79" y="21"/>
                </a:lnTo>
                <a:lnTo>
                  <a:pt x="86" y="22"/>
                </a:lnTo>
                <a:lnTo>
                  <a:pt x="82" y="12"/>
                </a:lnTo>
                <a:lnTo>
                  <a:pt x="85" y="8"/>
                </a:lnTo>
                <a:lnTo>
                  <a:pt x="73" y="48"/>
                </a:lnTo>
                <a:lnTo>
                  <a:pt x="73" y="47"/>
                </a:lnTo>
                <a:lnTo>
                  <a:pt x="72" y="47"/>
                </a:lnTo>
                <a:lnTo>
                  <a:pt x="72" y="48"/>
                </a:lnTo>
                <a:lnTo>
                  <a:pt x="70" y="48"/>
                </a:lnTo>
                <a:lnTo>
                  <a:pt x="72" y="48"/>
                </a:lnTo>
                <a:lnTo>
                  <a:pt x="73" y="48"/>
                </a:lnTo>
                <a:lnTo>
                  <a:pt x="85" y="8"/>
                </a:lnTo>
                <a:lnTo>
                  <a:pt x="75" y="84"/>
                </a:lnTo>
                <a:lnTo>
                  <a:pt x="85" y="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7" name="Freeform 352">
            <a:extLst>
              <a:ext uri="{FF2B5EF4-FFF2-40B4-BE49-F238E27FC236}">
                <a16:creationId xmlns:a16="http://schemas.microsoft.com/office/drawing/2014/main" id="{58240758-9994-41FE-B076-1368E970C67F}"/>
              </a:ext>
            </a:extLst>
          </p:cNvPr>
          <p:cNvSpPr>
            <a:spLocks/>
          </p:cNvSpPr>
          <p:nvPr/>
        </p:nvSpPr>
        <p:spPr bwMode="gray">
          <a:xfrm>
            <a:off x="4582438" y="2408846"/>
            <a:ext cx="295936" cy="311546"/>
          </a:xfrm>
          <a:custGeom>
            <a:avLst/>
            <a:gdLst>
              <a:gd name="T0" fmla="*/ 85 w 153"/>
              <a:gd name="T1" fmla="*/ 8 h 144"/>
              <a:gd name="T2" fmla="*/ 66 w 153"/>
              <a:gd name="T3" fmla="*/ 0 h 144"/>
              <a:gd name="T4" fmla="*/ 51 w 153"/>
              <a:gd name="T5" fmla="*/ 3 h 144"/>
              <a:gd name="T6" fmla="*/ 44 w 153"/>
              <a:gd name="T7" fmla="*/ 2 h 144"/>
              <a:gd name="T8" fmla="*/ 44 w 153"/>
              <a:gd name="T9" fmla="*/ 3 h 144"/>
              <a:gd name="T10" fmla="*/ 42 w 153"/>
              <a:gd name="T11" fmla="*/ 6 h 144"/>
              <a:gd name="T12" fmla="*/ 38 w 153"/>
              <a:gd name="T13" fmla="*/ 10 h 144"/>
              <a:gd name="T14" fmla="*/ 30 w 153"/>
              <a:gd name="T15" fmla="*/ 10 h 144"/>
              <a:gd name="T16" fmla="*/ 25 w 153"/>
              <a:gd name="T17" fmla="*/ 16 h 144"/>
              <a:gd name="T18" fmla="*/ 16 w 153"/>
              <a:gd name="T19" fmla="*/ 10 h 144"/>
              <a:gd name="T20" fmla="*/ 9 w 153"/>
              <a:gd name="T21" fmla="*/ 16 h 144"/>
              <a:gd name="T22" fmla="*/ 1 w 153"/>
              <a:gd name="T23" fmla="*/ 17 h 144"/>
              <a:gd name="T24" fmla="*/ 1 w 153"/>
              <a:gd name="T25" fmla="*/ 23 h 144"/>
              <a:gd name="T26" fmla="*/ 0 w 153"/>
              <a:gd name="T27" fmla="*/ 29 h 144"/>
              <a:gd name="T28" fmla="*/ 0 w 153"/>
              <a:gd name="T29" fmla="*/ 34 h 144"/>
              <a:gd name="T30" fmla="*/ 0 w 153"/>
              <a:gd name="T31" fmla="*/ 40 h 144"/>
              <a:gd name="T32" fmla="*/ 8 w 153"/>
              <a:gd name="T33" fmla="*/ 45 h 144"/>
              <a:gd name="T34" fmla="*/ 8 w 153"/>
              <a:gd name="T35" fmla="*/ 51 h 144"/>
              <a:gd name="T36" fmla="*/ 21 w 153"/>
              <a:gd name="T37" fmla="*/ 42 h 144"/>
              <a:gd name="T38" fmla="*/ 38 w 153"/>
              <a:gd name="T39" fmla="*/ 46 h 144"/>
              <a:gd name="T40" fmla="*/ 48 w 153"/>
              <a:gd name="T41" fmla="*/ 62 h 144"/>
              <a:gd name="T42" fmla="*/ 60 w 153"/>
              <a:gd name="T43" fmla="*/ 72 h 144"/>
              <a:gd name="T44" fmla="*/ 70 w 153"/>
              <a:gd name="T45" fmla="*/ 83 h 144"/>
              <a:gd name="T46" fmla="*/ 74 w 153"/>
              <a:gd name="T47" fmla="*/ 86 h 144"/>
              <a:gd name="T48" fmla="*/ 75 w 153"/>
              <a:gd name="T49" fmla="*/ 86 h 144"/>
              <a:gd name="T50" fmla="*/ 85 w 153"/>
              <a:gd name="T51" fmla="*/ 90 h 144"/>
              <a:gd name="T52" fmla="*/ 100 w 153"/>
              <a:gd name="T53" fmla="*/ 101 h 144"/>
              <a:gd name="T54" fmla="*/ 108 w 153"/>
              <a:gd name="T55" fmla="*/ 105 h 144"/>
              <a:gd name="T56" fmla="*/ 115 w 153"/>
              <a:gd name="T57" fmla="*/ 110 h 144"/>
              <a:gd name="T58" fmla="*/ 123 w 153"/>
              <a:gd name="T59" fmla="*/ 126 h 144"/>
              <a:gd name="T60" fmla="*/ 118 w 153"/>
              <a:gd name="T61" fmla="*/ 141 h 144"/>
              <a:gd name="T62" fmla="*/ 124 w 153"/>
              <a:gd name="T63" fmla="*/ 144 h 144"/>
              <a:gd name="T64" fmla="*/ 130 w 153"/>
              <a:gd name="T65" fmla="*/ 134 h 144"/>
              <a:gd name="T66" fmla="*/ 135 w 153"/>
              <a:gd name="T67" fmla="*/ 128 h 144"/>
              <a:gd name="T68" fmla="*/ 138 w 153"/>
              <a:gd name="T69" fmla="*/ 124 h 144"/>
              <a:gd name="T70" fmla="*/ 130 w 153"/>
              <a:gd name="T71" fmla="*/ 117 h 144"/>
              <a:gd name="T72" fmla="*/ 133 w 153"/>
              <a:gd name="T73" fmla="*/ 104 h 144"/>
              <a:gd name="T74" fmla="*/ 141 w 153"/>
              <a:gd name="T75" fmla="*/ 106 h 144"/>
              <a:gd name="T76" fmla="*/ 151 w 153"/>
              <a:gd name="T77" fmla="*/ 113 h 144"/>
              <a:gd name="T78" fmla="*/ 153 w 153"/>
              <a:gd name="T79" fmla="*/ 106 h 144"/>
              <a:gd name="T80" fmla="*/ 136 w 153"/>
              <a:gd name="T81" fmla="*/ 98 h 144"/>
              <a:gd name="T82" fmla="*/ 120 w 153"/>
              <a:gd name="T83" fmla="*/ 88 h 144"/>
              <a:gd name="T84" fmla="*/ 122 w 153"/>
              <a:gd name="T85" fmla="*/ 82 h 144"/>
              <a:gd name="T86" fmla="*/ 117 w 153"/>
              <a:gd name="T87" fmla="*/ 81 h 144"/>
              <a:gd name="T88" fmla="*/ 100 w 153"/>
              <a:gd name="T89" fmla="*/ 76 h 144"/>
              <a:gd name="T90" fmla="*/ 93 w 153"/>
              <a:gd name="T91" fmla="*/ 65 h 144"/>
              <a:gd name="T92" fmla="*/ 87 w 153"/>
              <a:gd name="T93" fmla="*/ 56 h 144"/>
              <a:gd name="T94" fmla="*/ 74 w 153"/>
              <a:gd name="T95" fmla="*/ 47 h 144"/>
              <a:gd name="T96" fmla="*/ 69 w 153"/>
              <a:gd name="T97" fmla="*/ 34 h 144"/>
              <a:gd name="T98" fmla="*/ 67 w 153"/>
              <a:gd name="T99" fmla="*/ 27 h 144"/>
              <a:gd name="T100" fmla="*/ 79 w 153"/>
              <a:gd name="T101" fmla="*/ 21 h 144"/>
              <a:gd name="T102" fmla="*/ 86 w 153"/>
              <a:gd name="T103" fmla="*/ 22 h 144"/>
              <a:gd name="T104" fmla="*/ 82 w 153"/>
              <a:gd name="T105" fmla="*/ 12 h 144"/>
              <a:gd name="T106" fmla="*/ 85 w 153"/>
              <a:gd name="T107" fmla="*/ 8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3" h="144">
                <a:moveTo>
                  <a:pt x="85" y="8"/>
                </a:moveTo>
                <a:lnTo>
                  <a:pt x="66" y="0"/>
                </a:lnTo>
                <a:lnTo>
                  <a:pt x="51" y="3"/>
                </a:lnTo>
                <a:lnTo>
                  <a:pt x="44" y="2"/>
                </a:lnTo>
                <a:lnTo>
                  <a:pt x="44" y="3"/>
                </a:lnTo>
                <a:lnTo>
                  <a:pt x="42" y="6"/>
                </a:lnTo>
                <a:lnTo>
                  <a:pt x="38" y="10"/>
                </a:lnTo>
                <a:lnTo>
                  <a:pt x="30" y="10"/>
                </a:lnTo>
                <a:lnTo>
                  <a:pt x="25" y="16"/>
                </a:lnTo>
                <a:lnTo>
                  <a:pt x="16" y="10"/>
                </a:lnTo>
                <a:lnTo>
                  <a:pt x="9" y="16"/>
                </a:lnTo>
                <a:lnTo>
                  <a:pt x="1" y="17"/>
                </a:lnTo>
                <a:lnTo>
                  <a:pt x="1" y="23"/>
                </a:lnTo>
                <a:lnTo>
                  <a:pt x="0" y="29"/>
                </a:lnTo>
                <a:lnTo>
                  <a:pt x="0" y="34"/>
                </a:lnTo>
                <a:lnTo>
                  <a:pt x="0" y="40"/>
                </a:lnTo>
                <a:lnTo>
                  <a:pt x="8" y="45"/>
                </a:lnTo>
                <a:lnTo>
                  <a:pt x="8" y="51"/>
                </a:lnTo>
                <a:lnTo>
                  <a:pt x="21" y="42"/>
                </a:lnTo>
                <a:lnTo>
                  <a:pt x="38" y="46"/>
                </a:lnTo>
                <a:lnTo>
                  <a:pt x="48" y="62"/>
                </a:lnTo>
                <a:lnTo>
                  <a:pt x="60" y="72"/>
                </a:lnTo>
                <a:lnTo>
                  <a:pt x="70" y="83"/>
                </a:lnTo>
                <a:lnTo>
                  <a:pt x="74" y="86"/>
                </a:lnTo>
                <a:lnTo>
                  <a:pt x="75" y="86"/>
                </a:lnTo>
                <a:lnTo>
                  <a:pt x="85" y="90"/>
                </a:lnTo>
                <a:lnTo>
                  <a:pt x="100" y="101"/>
                </a:lnTo>
                <a:lnTo>
                  <a:pt x="108" y="105"/>
                </a:lnTo>
                <a:lnTo>
                  <a:pt x="115" y="110"/>
                </a:lnTo>
                <a:lnTo>
                  <a:pt x="123" y="126"/>
                </a:lnTo>
                <a:lnTo>
                  <a:pt x="118" y="141"/>
                </a:lnTo>
                <a:lnTo>
                  <a:pt x="124" y="144"/>
                </a:lnTo>
                <a:lnTo>
                  <a:pt x="130" y="134"/>
                </a:lnTo>
                <a:lnTo>
                  <a:pt x="135" y="128"/>
                </a:lnTo>
                <a:lnTo>
                  <a:pt x="138" y="124"/>
                </a:lnTo>
                <a:lnTo>
                  <a:pt x="130" y="117"/>
                </a:lnTo>
                <a:lnTo>
                  <a:pt x="133" y="104"/>
                </a:lnTo>
                <a:lnTo>
                  <a:pt x="141" y="106"/>
                </a:lnTo>
                <a:lnTo>
                  <a:pt x="151" y="113"/>
                </a:lnTo>
                <a:lnTo>
                  <a:pt x="153" y="106"/>
                </a:lnTo>
                <a:lnTo>
                  <a:pt x="136" y="98"/>
                </a:lnTo>
                <a:lnTo>
                  <a:pt x="120" y="88"/>
                </a:lnTo>
                <a:lnTo>
                  <a:pt x="122" y="82"/>
                </a:lnTo>
                <a:lnTo>
                  <a:pt x="117" y="81"/>
                </a:lnTo>
                <a:lnTo>
                  <a:pt x="100" y="76"/>
                </a:lnTo>
                <a:lnTo>
                  <a:pt x="93" y="65"/>
                </a:lnTo>
                <a:lnTo>
                  <a:pt x="87" y="56"/>
                </a:lnTo>
                <a:lnTo>
                  <a:pt x="74" y="47"/>
                </a:lnTo>
                <a:lnTo>
                  <a:pt x="69" y="34"/>
                </a:lnTo>
                <a:lnTo>
                  <a:pt x="67" y="27"/>
                </a:lnTo>
                <a:lnTo>
                  <a:pt x="79" y="21"/>
                </a:lnTo>
                <a:lnTo>
                  <a:pt x="86" y="22"/>
                </a:lnTo>
                <a:lnTo>
                  <a:pt x="82" y="12"/>
                </a:lnTo>
                <a:lnTo>
                  <a:pt x="85" y="8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8" name="Freeform 353">
            <a:extLst>
              <a:ext uri="{FF2B5EF4-FFF2-40B4-BE49-F238E27FC236}">
                <a16:creationId xmlns:a16="http://schemas.microsoft.com/office/drawing/2014/main" id="{9C455831-638A-4A3F-A898-E4160E8C7D79}"/>
              </a:ext>
            </a:extLst>
          </p:cNvPr>
          <p:cNvSpPr>
            <a:spLocks/>
          </p:cNvSpPr>
          <p:nvPr/>
        </p:nvSpPr>
        <p:spPr bwMode="gray">
          <a:xfrm>
            <a:off x="4716642" y="2512045"/>
            <a:ext cx="3441" cy="3894"/>
          </a:xfrm>
          <a:custGeom>
            <a:avLst/>
            <a:gdLst>
              <a:gd name="T0" fmla="*/ 3 w 3"/>
              <a:gd name="T1" fmla="*/ 1 h 1"/>
              <a:gd name="T2" fmla="*/ 3 w 3"/>
              <a:gd name="T3" fmla="*/ 0 h 1"/>
              <a:gd name="T4" fmla="*/ 2 w 3"/>
              <a:gd name="T5" fmla="*/ 0 h 1"/>
              <a:gd name="T6" fmla="*/ 2 w 3"/>
              <a:gd name="T7" fmla="*/ 1 h 1"/>
              <a:gd name="T8" fmla="*/ 0 w 3"/>
              <a:gd name="T9" fmla="*/ 1 h 1"/>
              <a:gd name="T10" fmla="*/ 2 w 3"/>
              <a:gd name="T11" fmla="*/ 1 h 1"/>
              <a:gd name="T12" fmla="*/ 3 w 3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0"/>
                </a:lnTo>
                <a:lnTo>
                  <a:pt x="2" y="0"/>
                </a:lnTo>
                <a:lnTo>
                  <a:pt x="2" y="1"/>
                </a:lnTo>
                <a:lnTo>
                  <a:pt x="0" y="1"/>
                </a:lnTo>
                <a:lnTo>
                  <a:pt x="2" y="1"/>
                </a:lnTo>
                <a:lnTo>
                  <a:pt x="3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09" name="Freeform 354">
            <a:extLst>
              <a:ext uri="{FF2B5EF4-FFF2-40B4-BE49-F238E27FC236}">
                <a16:creationId xmlns:a16="http://schemas.microsoft.com/office/drawing/2014/main" id="{216B5D99-AE60-4FD7-AC06-1FF70515A959}"/>
              </a:ext>
            </a:extLst>
          </p:cNvPr>
          <p:cNvSpPr>
            <a:spLocks/>
          </p:cNvSpPr>
          <p:nvPr/>
        </p:nvSpPr>
        <p:spPr bwMode="gray">
          <a:xfrm>
            <a:off x="4732126" y="2706762"/>
            <a:ext cx="77424" cy="56467"/>
          </a:xfrm>
          <a:custGeom>
            <a:avLst/>
            <a:gdLst>
              <a:gd name="T0" fmla="*/ 36 w 40"/>
              <a:gd name="T1" fmla="*/ 16 h 27"/>
              <a:gd name="T2" fmla="*/ 36 w 40"/>
              <a:gd name="T3" fmla="*/ 27 h 27"/>
              <a:gd name="T4" fmla="*/ 19 w 40"/>
              <a:gd name="T5" fmla="*/ 20 h 27"/>
              <a:gd name="T6" fmla="*/ 3 w 40"/>
              <a:gd name="T7" fmla="*/ 12 h 27"/>
              <a:gd name="T8" fmla="*/ 0 w 40"/>
              <a:gd name="T9" fmla="*/ 5 h 27"/>
              <a:gd name="T10" fmla="*/ 10 w 40"/>
              <a:gd name="T11" fmla="*/ 3 h 27"/>
              <a:gd name="T12" fmla="*/ 26 w 40"/>
              <a:gd name="T13" fmla="*/ 2 h 27"/>
              <a:gd name="T14" fmla="*/ 40 w 40"/>
              <a:gd name="T15" fmla="*/ 0 h 27"/>
              <a:gd name="T16" fmla="*/ 36 w 40"/>
              <a:gd name="T17" fmla="*/ 16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27">
                <a:moveTo>
                  <a:pt x="36" y="16"/>
                </a:moveTo>
                <a:lnTo>
                  <a:pt x="36" y="27"/>
                </a:lnTo>
                <a:lnTo>
                  <a:pt x="19" y="20"/>
                </a:lnTo>
                <a:lnTo>
                  <a:pt x="3" y="12"/>
                </a:lnTo>
                <a:lnTo>
                  <a:pt x="0" y="5"/>
                </a:lnTo>
                <a:lnTo>
                  <a:pt x="10" y="3"/>
                </a:lnTo>
                <a:lnTo>
                  <a:pt x="26" y="2"/>
                </a:lnTo>
                <a:lnTo>
                  <a:pt x="40" y="0"/>
                </a:lnTo>
                <a:lnTo>
                  <a:pt x="36" y="16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0" name="Freeform 355">
            <a:extLst>
              <a:ext uri="{FF2B5EF4-FFF2-40B4-BE49-F238E27FC236}">
                <a16:creationId xmlns:a16="http://schemas.microsoft.com/office/drawing/2014/main" id="{C74C59CD-D91F-4FAF-9638-A200FF8B92A6}"/>
              </a:ext>
            </a:extLst>
          </p:cNvPr>
          <p:cNvSpPr>
            <a:spLocks/>
          </p:cNvSpPr>
          <p:nvPr/>
        </p:nvSpPr>
        <p:spPr bwMode="gray">
          <a:xfrm>
            <a:off x="4616848" y="2603563"/>
            <a:ext cx="43014" cy="81779"/>
          </a:xfrm>
          <a:custGeom>
            <a:avLst/>
            <a:gdLst>
              <a:gd name="T0" fmla="*/ 12 w 21"/>
              <a:gd name="T1" fmla="*/ 34 h 39"/>
              <a:gd name="T2" fmla="*/ 7 w 21"/>
              <a:gd name="T3" fmla="*/ 39 h 39"/>
              <a:gd name="T4" fmla="*/ 3 w 21"/>
              <a:gd name="T5" fmla="*/ 30 h 39"/>
              <a:gd name="T6" fmla="*/ 2 w 21"/>
              <a:gd name="T7" fmla="*/ 18 h 39"/>
              <a:gd name="T8" fmla="*/ 0 w 21"/>
              <a:gd name="T9" fmla="*/ 6 h 39"/>
              <a:gd name="T10" fmla="*/ 13 w 21"/>
              <a:gd name="T11" fmla="*/ 0 h 39"/>
              <a:gd name="T12" fmla="*/ 21 w 21"/>
              <a:gd name="T13" fmla="*/ 12 h 39"/>
              <a:gd name="T14" fmla="*/ 19 w 21"/>
              <a:gd name="T15" fmla="*/ 33 h 39"/>
              <a:gd name="T16" fmla="*/ 12 w 21"/>
              <a:gd name="T17" fmla="*/ 34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" h="39">
                <a:moveTo>
                  <a:pt x="12" y="34"/>
                </a:moveTo>
                <a:lnTo>
                  <a:pt x="7" y="39"/>
                </a:lnTo>
                <a:lnTo>
                  <a:pt x="3" y="30"/>
                </a:lnTo>
                <a:lnTo>
                  <a:pt x="2" y="18"/>
                </a:lnTo>
                <a:lnTo>
                  <a:pt x="0" y="6"/>
                </a:lnTo>
                <a:lnTo>
                  <a:pt x="13" y="0"/>
                </a:lnTo>
                <a:lnTo>
                  <a:pt x="21" y="12"/>
                </a:lnTo>
                <a:lnTo>
                  <a:pt x="19" y="33"/>
                </a:lnTo>
                <a:lnTo>
                  <a:pt x="12" y="34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1" name="Freeform 356">
            <a:extLst>
              <a:ext uri="{FF2B5EF4-FFF2-40B4-BE49-F238E27FC236}">
                <a16:creationId xmlns:a16="http://schemas.microsoft.com/office/drawing/2014/main" id="{FAE6F66A-4E10-4A98-A97F-2208CCDB0D18}"/>
              </a:ext>
            </a:extLst>
          </p:cNvPr>
          <p:cNvSpPr>
            <a:spLocks/>
          </p:cNvSpPr>
          <p:nvPr/>
        </p:nvSpPr>
        <p:spPr bwMode="gray">
          <a:xfrm>
            <a:off x="4594481" y="2515938"/>
            <a:ext cx="3441" cy="5841"/>
          </a:xfrm>
          <a:custGeom>
            <a:avLst/>
            <a:gdLst>
              <a:gd name="T0" fmla="*/ 0 h 1"/>
              <a:gd name="T1" fmla="*/ 1 h 1"/>
              <a:gd name="T2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2" name="Freeform 357">
            <a:extLst>
              <a:ext uri="{FF2B5EF4-FFF2-40B4-BE49-F238E27FC236}">
                <a16:creationId xmlns:a16="http://schemas.microsoft.com/office/drawing/2014/main" id="{9B2DF9F5-15DD-4165-BE40-9F7823F0343B}"/>
              </a:ext>
            </a:extLst>
          </p:cNvPr>
          <p:cNvSpPr>
            <a:spLocks/>
          </p:cNvSpPr>
          <p:nvPr/>
        </p:nvSpPr>
        <p:spPr bwMode="gray">
          <a:xfrm>
            <a:off x="5072798" y="2582142"/>
            <a:ext cx="478315" cy="208347"/>
          </a:xfrm>
          <a:custGeom>
            <a:avLst/>
            <a:gdLst>
              <a:gd name="T0" fmla="*/ 167 w 250"/>
              <a:gd name="T1" fmla="*/ 81 h 97"/>
              <a:gd name="T2" fmla="*/ 142 w 250"/>
              <a:gd name="T3" fmla="*/ 85 h 97"/>
              <a:gd name="T4" fmla="*/ 136 w 250"/>
              <a:gd name="T5" fmla="*/ 97 h 97"/>
              <a:gd name="T6" fmla="*/ 135 w 250"/>
              <a:gd name="T7" fmla="*/ 93 h 97"/>
              <a:gd name="T8" fmla="*/ 130 w 250"/>
              <a:gd name="T9" fmla="*/ 85 h 97"/>
              <a:gd name="T10" fmla="*/ 111 w 250"/>
              <a:gd name="T11" fmla="*/ 87 h 97"/>
              <a:gd name="T12" fmla="*/ 86 w 250"/>
              <a:gd name="T13" fmla="*/ 91 h 97"/>
              <a:gd name="T14" fmla="*/ 62 w 250"/>
              <a:gd name="T15" fmla="*/ 88 h 97"/>
              <a:gd name="T16" fmla="*/ 44 w 250"/>
              <a:gd name="T17" fmla="*/ 87 h 97"/>
              <a:gd name="T18" fmla="*/ 29 w 250"/>
              <a:gd name="T19" fmla="*/ 85 h 97"/>
              <a:gd name="T20" fmla="*/ 30 w 250"/>
              <a:gd name="T21" fmla="*/ 80 h 97"/>
              <a:gd name="T22" fmla="*/ 21 w 250"/>
              <a:gd name="T23" fmla="*/ 75 h 97"/>
              <a:gd name="T24" fmla="*/ 16 w 250"/>
              <a:gd name="T25" fmla="*/ 66 h 97"/>
              <a:gd name="T26" fmla="*/ 4 w 250"/>
              <a:gd name="T27" fmla="*/ 55 h 97"/>
              <a:gd name="T28" fmla="*/ 12 w 250"/>
              <a:gd name="T29" fmla="*/ 57 h 97"/>
              <a:gd name="T30" fmla="*/ 9 w 250"/>
              <a:gd name="T31" fmla="*/ 49 h 97"/>
              <a:gd name="T32" fmla="*/ 0 w 250"/>
              <a:gd name="T33" fmla="*/ 39 h 97"/>
              <a:gd name="T34" fmla="*/ 15 w 250"/>
              <a:gd name="T35" fmla="*/ 26 h 97"/>
              <a:gd name="T36" fmla="*/ 35 w 250"/>
              <a:gd name="T37" fmla="*/ 24 h 97"/>
              <a:gd name="T38" fmla="*/ 41 w 250"/>
              <a:gd name="T39" fmla="*/ 19 h 97"/>
              <a:gd name="T40" fmla="*/ 59 w 250"/>
              <a:gd name="T41" fmla="*/ 14 h 97"/>
              <a:gd name="T42" fmla="*/ 89 w 250"/>
              <a:gd name="T43" fmla="*/ 1 h 97"/>
              <a:gd name="T44" fmla="*/ 111 w 250"/>
              <a:gd name="T45" fmla="*/ 1 h 97"/>
              <a:gd name="T46" fmla="*/ 125 w 250"/>
              <a:gd name="T47" fmla="*/ 8 h 97"/>
              <a:gd name="T48" fmla="*/ 159 w 250"/>
              <a:gd name="T49" fmla="*/ 15 h 97"/>
              <a:gd name="T50" fmla="*/ 195 w 250"/>
              <a:gd name="T51" fmla="*/ 7 h 97"/>
              <a:gd name="T52" fmla="*/ 220 w 250"/>
              <a:gd name="T53" fmla="*/ 12 h 97"/>
              <a:gd name="T54" fmla="*/ 231 w 250"/>
              <a:gd name="T55" fmla="*/ 31 h 97"/>
              <a:gd name="T56" fmla="*/ 237 w 250"/>
              <a:gd name="T57" fmla="*/ 40 h 97"/>
              <a:gd name="T58" fmla="*/ 242 w 250"/>
              <a:gd name="T59" fmla="*/ 66 h 97"/>
              <a:gd name="T60" fmla="*/ 243 w 250"/>
              <a:gd name="T61" fmla="*/ 78 h 97"/>
              <a:gd name="T62" fmla="*/ 221 w 250"/>
              <a:gd name="T63" fmla="*/ 75 h 97"/>
              <a:gd name="T64" fmla="*/ 214 w 250"/>
              <a:gd name="T65" fmla="*/ 76 h 97"/>
              <a:gd name="T66" fmla="*/ 188 w 250"/>
              <a:gd name="T67" fmla="*/ 82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50" h="97">
                <a:moveTo>
                  <a:pt x="188" y="82"/>
                </a:moveTo>
                <a:lnTo>
                  <a:pt x="167" y="81"/>
                </a:lnTo>
                <a:lnTo>
                  <a:pt x="148" y="82"/>
                </a:lnTo>
                <a:lnTo>
                  <a:pt x="142" y="85"/>
                </a:lnTo>
                <a:lnTo>
                  <a:pt x="142" y="92"/>
                </a:lnTo>
                <a:lnTo>
                  <a:pt x="136" y="97"/>
                </a:lnTo>
                <a:lnTo>
                  <a:pt x="135" y="96"/>
                </a:lnTo>
                <a:lnTo>
                  <a:pt x="135" y="93"/>
                </a:lnTo>
                <a:lnTo>
                  <a:pt x="136" y="81"/>
                </a:lnTo>
                <a:lnTo>
                  <a:pt x="130" y="85"/>
                </a:lnTo>
                <a:lnTo>
                  <a:pt x="120" y="84"/>
                </a:lnTo>
                <a:lnTo>
                  <a:pt x="111" y="87"/>
                </a:lnTo>
                <a:lnTo>
                  <a:pt x="96" y="94"/>
                </a:lnTo>
                <a:lnTo>
                  <a:pt x="86" y="91"/>
                </a:lnTo>
                <a:lnTo>
                  <a:pt x="64" y="81"/>
                </a:lnTo>
                <a:lnTo>
                  <a:pt x="62" y="88"/>
                </a:lnTo>
                <a:lnTo>
                  <a:pt x="56" y="92"/>
                </a:lnTo>
                <a:lnTo>
                  <a:pt x="44" y="87"/>
                </a:lnTo>
                <a:lnTo>
                  <a:pt x="36" y="84"/>
                </a:lnTo>
                <a:lnTo>
                  <a:pt x="29" y="85"/>
                </a:lnTo>
                <a:lnTo>
                  <a:pt x="22" y="84"/>
                </a:lnTo>
                <a:lnTo>
                  <a:pt x="30" y="80"/>
                </a:lnTo>
                <a:lnTo>
                  <a:pt x="20" y="79"/>
                </a:lnTo>
                <a:lnTo>
                  <a:pt x="21" y="75"/>
                </a:lnTo>
                <a:lnTo>
                  <a:pt x="15" y="69"/>
                </a:lnTo>
                <a:lnTo>
                  <a:pt x="16" y="66"/>
                </a:lnTo>
                <a:lnTo>
                  <a:pt x="5" y="61"/>
                </a:lnTo>
                <a:lnTo>
                  <a:pt x="4" y="55"/>
                </a:lnTo>
                <a:lnTo>
                  <a:pt x="8" y="56"/>
                </a:lnTo>
                <a:lnTo>
                  <a:pt x="12" y="57"/>
                </a:lnTo>
                <a:lnTo>
                  <a:pt x="9" y="51"/>
                </a:lnTo>
                <a:lnTo>
                  <a:pt x="9" y="49"/>
                </a:lnTo>
                <a:lnTo>
                  <a:pt x="8" y="40"/>
                </a:lnTo>
                <a:lnTo>
                  <a:pt x="0" y="39"/>
                </a:lnTo>
                <a:lnTo>
                  <a:pt x="2" y="27"/>
                </a:lnTo>
                <a:lnTo>
                  <a:pt x="15" y="26"/>
                </a:lnTo>
                <a:lnTo>
                  <a:pt x="18" y="22"/>
                </a:lnTo>
                <a:lnTo>
                  <a:pt x="35" y="24"/>
                </a:lnTo>
                <a:lnTo>
                  <a:pt x="45" y="19"/>
                </a:lnTo>
                <a:lnTo>
                  <a:pt x="41" y="19"/>
                </a:lnTo>
                <a:lnTo>
                  <a:pt x="34" y="13"/>
                </a:lnTo>
                <a:lnTo>
                  <a:pt x="59" y="14"/>
                </a:lnTo>
                <a:lnTo>
                  <a:pt x="77" y="3"/>
                </a:lnTo>
                <a:lnTo>
                  <a:pt x="89" y="1"/>
                </a:lnTo>
                <a:lnTo>
                  <a:pt x="102" y="0"/>
                </a:lnTo>
                <a:lnTo>
                  <a:pt x="111" y="1"/>
                </a:lnTo>
                <a:lnTo>
                  <a:pt x="120" y="4"/>
                </a:lnTo>
                <a:lnTo>
                  <a:pt x="125" y="8"/>
                </a:lnTo>
                <a:lnTo>
                  <a:pt x="142" y="12"/>
                </a:lnTo>
                <a:lnTo>
                  <a:pt x="159" y="15"/>
                </a:lnTo>
                <a:lnTo>
                  <a:pt x="176" y="15"/>
                </a:lnTo>
                <a:lnTo>
                  <a:pt x="195" y="7"/>
                </a:lnTo>
                <a:lnTo>
                  <a:pt x="212" y="6"/>
                </a:lnTo>
                <a:lnTo>
                  <a:pt x="220" y="12"/>
                </a:lnTo>
                <a:lnTo>
                  <a:pt x="226" y="22"/>
                </a:lnTo>
                <a:lnTo>
                  <a:pt x="231" y="31"/>
                </a:lnTo>
                <a:lnTo>
                  <a:pt x="243" y="36"/>
                </a:lnTo>
                <a:lnTo>
                  <a:pt x="237" y="40"/>
                </a:lnTo>
                <a:lnTo>
                  <a:pt x="238" y="49"/>
                </a:lnTo>
                <a:lnTo>
                  <a:pt x="242" y="66"/>
                </a:lnTo>
                <a:lnTo>
                  <a:pt x="250" y="76"/>
                </a:lnTo>
                <a:lnTo>
                  <a:pt x="243" y="78"/>
                </a:lnTo>
                <a:lnTo>
                  <a:pt x="239" y="74"/>
                </a:lnTo>
                <a:lnTo>
                  <a:pt x="221" y="75"/>
                </a:lnTo>
                <a:lnTo>
                  <a:pt x="218" y="78"/>
                </a:lnTo>
                <a:lnTo>
                  <a:pt x="214" y="76"/>
                </a:lnTo>
                <a:lnTo>
                  <a:pt x="201" y="79"/>
                </a:lnTo>
                <a:lnTo>
                  <a:pt x="188" y="82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3" name="Freeform 358">
            <a:extLst>
              <a:ext uri="{FF2B5EF4-FFF2-40B4-BE49-F238E27FC236}">
                <a16:creationId xmlns:a16="http://schemas.microsoft.com/office/drawing/2014/main" id="{AC47CC7A-22A4-4387-82EE-1F14BB30191F}"/>
              </a:ext>
            </a:extLst>
          </p:cNvPr>
          <p:cNvSpPr>
            <a:spLocks/>
          </p:cNvSpPr>
          <p:nvPr/>
        </p:nvSpPr>
        <p:spPr bwMode="gray">
          <a:xfrm>
            <a:off x="5065913" y="2582142"/>
            <a:ext cx="72265" cy="60360"/>
          </a:xfrm>
          <a:custGeom>
            <a:avLst/>
            <a:gdLst>
              <a:gd name="T0" fmla="*/ 4 w 38"/>
              <a:gd name="T1" fmla="*/ 0 h 28"/>
              <a:gd name="T2" fmla="*/ 2 w 38"/>
              <a:gd name="T3" fmla="*/ 3 h 28"/>
              <a:gd name="T4" fmla="*/ 4 w 38"/>
              <a:gd name="T5" fmla="*/ 9 h 28"/>
              <a:gd name="T6" fmla="*/ 0 w 38"/>
              <a:gd name="T7" fmla="*/ 19 h 28"/>
              <a:gd name="T8" fmla="*/ 8 w 38"/>
              <a:gd name="T9" fmla="*/ 21 h 28"/>
              <a:gd name="T10" fmla="*/ 3 w 38"/>
              <a:gd name="T11" fmla="*/ 28 h 28"/>
              <a:gd name="T12" fmla="*/ 18 w 38"/>
              <a:gd name="T13" fmla="*/ 18 h 28"/>
              <a:gd name="T14" fmla="*/ 38 w 38"/>
              <a:gd name="T15" fmla="*/ 14 h 28"/>
              <a:gd name="T16" fmla="*/ 32 w 38"/>
              <a:gd name="T17" fmla="*/ 9 h 28"/>
              <a:gd name="T18" fmla="*/ 22 w 38"/>
              <a:gd name="T19" fmla="*/ 0 h 28"/>
              <a:gd name="T20" fmla="*/ 4 w 38"/>
              <a:gd name="T21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8" h="28">
                <a:moveTo>
                  <a:pt x="4" y="0"/>
                </a:moveTo>
                <a:lnTo>
                  <a:pt x="2" y="3"/>
                </a:lnTo>
                <a:lnTo>
                  <a:pt x="4" y="9"/>
                </a:lnTo>
                <a:lnTo>
                  <a:pt x="0" y="19"/>
                </a:lnTo>
                <a:lnTo>
                  <a:pt x="8" y="21"/>
                </a:lnTo>
                <a:lnTo>
                  <a:pt x="3" y="28"/>
                </a:lnTo>
                <a:lnTo>
                  <a:pt x="18" y="18"/>
                </a:lnTo>
                <a:lnTo>
                  <a:pt x="38" y="14"/>
                </a:lnTo>
                <a:lnTo>
                  <a:pt x="32" y="9"/>
                </a:lnTo>
                <a:lnTo>
                  <a:pt x="22" y="0"/>
                </a:lnTo>
                <a:lnTo>
                  <a:pt x="4" y="0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4" name="Freeform 359">
            <a:extLst>
              <a:ext uri="{FF2B5EF4-FFF2-40B4-BE49-F238E27FC236}">
                <a16:creationId xmlns:a16="http://schemas.microsoft.com/office/drawing/2014/main" id="{8C785638-A514-477A-9F78-22E20E2CDB58}"/>
              </a:ext>
            </a:extLst>
          </p:cNvPr>
          <p:cNvSpPr>
            <a:spLocks/>
          </p:cNvSpPr>
          <p:nvPr/>
        </p:nvSpPr>
        <p:spPr bwMode="gray">
          <a:xfrm>
            <a:off x="4947195" y="2108981"/>
            <a:ext cx="209909" cy="147985"/>
          </a:xfrm>
          <a:custGeom>
            <a:avLst/>
            <a:gdLst>
              <a:gd name="T0" fmla="*/ 110 w 110"/>
              <a:gd name="T1" fmla="*/ 37 h 70"/>
              <a:gd name="T2" fmla="*/ 106 w 110"/>
              <a:gd name="T3" fmla="*/ 42 h 70"/>
              <a:gd name="T4" fmla="*/ 108 w 110"/>
              <a:gd name="T5" fmla="*/ 57 h 70"/>
              <a:gd name="T6" fmla="*/ 94 w 110"/>
              <a:gd name="T7" fmla="*/ 64 h 70"/>
              <a:gd name="T8" fmla="*/ 95 w 110"/>
              <a:gd name="T9" fmla="*/ 70 h 70"/>
              <a:gd name="T10" fmla="*/ 74 w 110"/>
              <a:gd name="T11" fmla="*/ 66 h 70"/>
              <a:gd name="T12" fmla="*/ 52 w 110"/>
              <a:gd name="T13" fmla="*/ 61 h 70"/>
              <a:gd name="T14" fmla="*/ 30 w 110"/>
              <a:gd name="T15" fmla="*/ 61 h 70"/>
              <a:gd name="T16" fmla="*/ 10 w 110"/>
              <a:gd name="T17" fmla="*/ 61 h 70"/>
              <a:gd name="T18" fmla="*/ 3 w 110"/>
              <a:gd name="T19" fmla="*/ 57 h 70"/>
              <a:gd name="T20" fmla="*/ 10 w 110"/>
              <a:gd name="T21" fmla="*/ 46 h 70"/>
              <a:gd name="T22" fmla="*/ 0 w 110"/>
              <a:gd name="T23" fmla="*/ 27 h 70"/>
              <a:gd name="T24" fmla="*/ 18 w 110"/>
              <a:gd name="T25" fmla="*/ 15 h 70"/>
              <a:gd name="T26" fmla="*/ 38 w 110"/>
              <a:gd name="T27" fmla="*/ 1 h 70"/>
              <a:gd name="T28" fmla="*/ 53 w 110"/>
              <a:gd name="T29" fmla="*/ 0 h 70"/>
              <a:gd name="T30" fmla="*/ 72 w 110"/>
              <a:gd name="T31" fmla="*/ 4 h 70"/>
              <a:gd name="T32" fmla="*/ 92 w 110"/>
              <a:gd name="T33" fmla="*/ 6 h 70"/>
              <a:gd name="T34" fmla="*/ 94 w 110"/>
              <a:gd name="T35" fmla="*/ 24 h 70"/>
              <a:gd name="T36" fmla="*/ 110 w 110"/>
              <a:gd name="T37" fmla="*/ 37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0" h="70">
                <a:moveTo>
                  <a:pt x="110" y="37"/>
                </a:moveTo>
                <a:lnTo>
                  <a:pt x="106" y="42"/>
                </a:lnTo>
                <a:lnTo>
                  <a:pt x="108" y="57"/>
                </a:lnTo>
                <a:lnTo>
                  <a:pt x="94" y="64"/>
                </a:lnTo>
                <a:lnTo>
                  <a:pt x="95" y="70"/>
                </a:lnTo>
                <a:lnTo>
                  <a:pt x="74" y="66"/>
                </a:lnTo>
                <a:lnTo>
                  <a:pt x="52" y="61"/>
                </a:lnTo>
                <a:lnTo>
                  <a:pt x="30" y="61"/>
                </a:lnTo>
                <a:lnTo>
                  <a:pt x="10" y="61"/>
                </a:lnTo>
                <a:lnTo>
                  <a:pt x="3" y="57"/>
                </a:lnTo>
                <a:lnTo>
                  <a:pt x="10" y="46"/>
                </a:lnTo>
                <a:lnTo>
                  <a:pt x="0" y="27"/>
                </a:lnTo>
                <a:lnTo>
                  <a:pt x="18" y="15"/>
                </a:lnTo>
                <a:lnTo>
                  <a:pt x="38" y="1"/>
                </a:lnTo>
                <a:lnTo>
                  <a:pt x="53" y="0"/>
                </a:lnTo>
                <a:lnTo>
                  <a:pt x="72" y="4"/>
                </a:lnTo>
                <a:lnTo>
                  <a:pt x="92" y="6"/>
                </a:lnTo>
                <a:lnTo>
                  <a:pt x="94" y="24"/>
                </a:lnTo>
                <a:lnTo>
                  <a:pt x="110" y="3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5" name="Freeform 360">
            <a:extLst>
              <a:ext uri="{FF2B5EF4-FFF2-40B4-BE49-F238E27FC236}">
                <a16:creationId xmlns:a16="http://schemas.microsoft.com/office/drawing/2014/main" id="{75EA88B0-3C1C-476F-8CC8-2452BB9D6206}"/>
              </a:ext>
            </a:extLst>
          </p:cNvPr>
          <p:cNvSpPr>
            <a:spLocks/>
          </p:cNvSpPr>
          <p:nvPr/>
        </p:nvSpPr>
        <p:spPr bwMode="gray">
          <a:xfrm>
            <a:off x="4601365" y="2073933"/>
            <a:ext cx="55059" cy="73992"/>
          </a:xfrm>
          <a:custGeom>
            <a:avLst/>
            <a:gdLst>
              <a:gd name="T0" fmla="*/ 17 w 29"/>
              <a:gd name="T1" fmla="*/ 29 h 32"/>
              <a:gd name="T2" fmla="*/ 16 w 29"/>
              <a:gd name="T3" fmla="*/ 32 h 32"/>
              <a:gd name="T4" fmla="*/ 6 w 29"/>
              <a:gd name="T5" fmla="*/ 30 h 32"/>
              <a:gd name="T6" fmla="*/ 4 w 29"/>
              <a:gd name="T7" fmla="*/ 27 h 32"/>
              <a:gd name="T8" fmla="*/ 1 w 29"/>
              <a:gd name="T9" fmla="*/ 20 h 32"/>
              <a:gd name="T10" fmla="*/ 0 w 29"/>
              <a:gd name="T11" fmla="*/ 6 h 32"/>
              <a:gd name="T12" fmla="*/ 7 w 29"/>
              <a:gd name="T13" fmla="*/ 3 h 32"/>
              <a:gd name="T14" fmla="*/ 10 w 29"/>
              <a:gd name="T15" fmla="*/ 6 h 32"/>
              <a:gd name="T16" fmla="*/ 10 w 29"/>
              <a:gd name="T17" fmla="*/ 2 h 32"/>
              <a:gd name="T18" fmla="*/ 19 w 29"/>
              <a:gd name="T19" fmla="*/ 0 h 32"/>
              <a:gd name="T20" fmla="*/ 23 w 29"/>
              <a:gd name="T21" fmla="*/ 6 h 32"/>
              <a:gd name="T22" fmla="*/ 29 w 29"/>
              <a:gd name="T23" fmla="*/ 6 h 32"/>
              <a:gd name="T24" fmla="*/ 25 w 29"/>
              <a:gd name="T25" fmla="*/ 12 h 32"/>
              <a:gd name="T26" fmla="*/ 18 w 29"/>
              <a:gd name="T27" fmla="*/ 19 h 32"/>
              <a:gd name="T28" fmla="*/ 18 w 29"/>
              <a:gd name="T29" fmla="*/ 20 h 32"/>
              <a:gd name="T30" fmla="*/ 17 w 29"/>
              <a:gd name="T31" fmla="*/ 29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9" h="32">
                <a:moveTo>
                  <a:pt x="17" y="29"/>
                </a:moveTo>
                <a:lnTo>
                  <a:pt x="16" y="32"/>
                </a:lnTo>
                <a:lnTo>
                  <a:pt x="6" y="30"/>
                </a:lnTo>
                <a:lnTo>
                  <a:pt x="4" y="27"/>
                </a:lnTo>
                <a:lnTo>
                  <a:pt x="1" y="20"/>
                </a:lnTo>
                <a:lnTo>
                  <a:pt x="0" y="6"/>
                </a:lnTo>
                <a:lnTo>
                  <a:pt x="7" y="3"/>
                </a:lnTo>
                <a:lnTo>
                  <a:pt x="10" y="6"/>
                </a:lnTo>
                <a:lnTo>
                  <a:pt x="10" y="2"/>
                </a:lnTo>
                <a:lnTo>
                  <a:pt x="19" y="0"/>
                </a:lnTo>
                <a:lnTo>
                  <a:pt x="23" y="6"/>
                </a:lnTo>
                <a:lnTo>
                  <a:pt x="29" y="6"/>
                </a:lnTo>
                <a:lnTo>
                  <a:pt x="25" y="12"/>
                </a:lnTo>
                <a:lnTo>
                  <a:pt x="18" y="19"/>
                </a:lnTo>
                <a:lnTo>
                  <a:pt x="18" y="20"/>
                </a:lnTo>
                <a:lnTo>
                  <a:pt x="17" y="29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6" name="Freeform 361">
            <a:extLst>
              <a:ext uri="{FF2B5EF4-FFF2-40B4-BE49-F238E27FC236}">
                <a16:creationId xmlns:a16="http://schemas.microsoft.com/office/drawing/2014/main" id="{BFC5AB4B-A943-40F1-8B02-D9EEAA4876C9}"/>
              </a:ext>
            </a:extLst>
          </p:cNvPr>
          <p:cNvSpPr>
            <a:spLocks/>
          </p:cNvSpPr>
          <p:nvPr/>
        </p:nvSpPr>
        <p:spPr bwMode="gray">
          <a:xfrm>
            <a:off x="4663303" y="2105087"/>
            <a:ext cx="34410" cy="35048"/>
          </a:xfrm>
          <a:custGeom>
            <a:avLst/>
            <a:gdLst>
              <a:gd name="T0" fmla="*/ 18 w 18"/>
              <a:gd name="T1" fmla="*/ 5 h 16"/>
              <a:gd name="T2" fmla="*/ 17 w 18"/>
              <a:gd name="T3" fmla="*/ 2 h 16"/>
              <a:gd name="T4" fmla="*/ 12 w 18"/>
              <a:gd name="T5" fmla="*/ 0 h 16"/>
              <a:gd name="T6" fmla="*/ 11 w 18"/>
              <a:gd name="T7" fmla="*/ 5 h 16"/>
              <a:gd name="T8" fmla="*/ 7 w 18"/>
              <a:gd name="T9" fmla="*/ 4 h 16"/>
              <a:gd name="T10" fmla="*/ 2 w 18"/>
              <a:gd name="T11" fmla="*/ 1 h 16"/>
              <a:gd name="T12" fmla="*/ 0 w 18"/>
              <a:gd name="T13" fmla="*/ 5 h 16"/>
              <a:gd name="T14" fmla="*/ 0 w 18"/>
              <a:gd name="T15" fmla="*/ 8 h 16"/>
              <a:gd name="T16" fmla="*/ 9 w 18"/>
              <a:gd name="T17" fmla="*/ 16 h 16"/>
              <a:gd name="T18" fmla="*/ 13 w 18"/>
              <a:gd name="T19" fmla="*/ 13 h 16"/>
              <a:gd name="T20" fmla="*/ 13 w 18"/>
              <a:gd name="T21" fmla="*/ 10 h 16"/>
              <a:gd name="T22" fmla="*/ 18 w 18"/>
              <a:gd name="T23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16">
                <a:moveTo>
                  <a:pt x="18" y="5"/>
                </a:moveTo>
                <a:lnTo>
                  <a:pt x="17" y="2"/>
                </a:lnTo>
                <a:lnTo>
                  <a:pt x="12" y="0"/>
                </a:lnTo>
                <a:lnTo>
                  <a:pt x="11" y="5"/>
                </a:lnTo>
                <a:lnTo>
                  <a:pt x="7" y="4"/>
                </a:lnTo>
                <a:lnTo>
                  <a:pt x="2" y="1"/>
                </a:lnTo>
                <a:lnTo>
                  <a:pt x="0" y="5"/>
                </a:lnTo>
                <a:lnTo>
                  <a:pt x="0" y="8"/>
                </a:lnTo>
                <a:lnTo>
                  <a:pt x="9" y="16"/>
                </a:lnTo>
                <a:lnTo>
                  <a:pt x="13" y="13"/>
                </a:lnTo>
                <a:lnTo>
                  <a:pt x="13" y="10"/>
                </a:lnTo>
                <a:lnTo>
                  <a:pt x="18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7" name="Freeform 362">
            <a:extLst>
              <a:ext uri="{FF2B5EF4-FFF2-40B4-BE49-F238E27FC236}">
                <a16:creationId xmlns:a16="http://schemas.microsoft.com/office/drawing/2014/main" id="{89FCD3C5-3D31-458B-AB52-F9AF5E89D2EB}"/>
              </a:ext>
            </a:extLst>
          </p:cNvPr>
          <p:cNvSpPr>
            <a:spLocks/>
          </p:cNvSpPr>
          <p:nvPr/>
        </p:nvSpPr>
        <p:spPr bwMode="gray">
          <a:xfrm>
            <a:off x="4606526" y="2048620"/>
            <a:ext cx="44736" cy="38943"/>
          </a:xfrm>
          <a:custGeom>
            <a:avLst/>
            <a:gdLst>
              <a:gd name="T0" fmla="*/ 19 w 24"/>
              <a:gd name="T1" fmla="*/ 12 h 17"/>
              <a:gd name="T2" fmla="*/ 1 w 24"/>
              <a:gd name="T3" fmla="*/ 12 h 17"/>
              <a:gd name="T4" fmla="*/ 0 w 24"/>
              <a:gd name="T5" fmla="*/ 17 h 17"/>
              <a:gd name="T6" fmla="*/ 0 w 24"/>
              <a:gd name="T7" fmla="*/ 9 h 17"/>
              <a:gd name="T8" fmla="*/ 12 w 24"/>
              <a:gd name="T9" fmla="*/ 7 h 17"/>
              <a:gd name="T10" fmla="*/ 24 w 24"/>
              <a:gd name="T11" fmla="*/ 0 h 17"/>
              <a:gd name="T12" fmla="*/ 19 w 24"/>
              <a:gd name="T13" fmla="*/ 1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" h="17">
                <a:moveTo>
                  <a:pt x="19" y="12"/>
                </a:moveTo>
                <a:lnTo>
                  <a:pt x="1" y="12"/>
                </a:lnTo>
                <a:lnTo>
                  <a:pt x="0" y="17"/>
                </a:lnTo>
                <a:lnTo>
                  <a:pt x="0" y="9"/>
                </a:lnTo>
                <a:lnTo>
                  <a:pt x="12" y="7"/>
                </a:lnTo>
                <a:lnTo>
                  <a:pt x="24" y="0"/>
                </a:lnTo>
                <a:lnTo>
                  <a:pt x="19" y="1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8" name="Freeform 363">
            <a:extLst>
              <a:ext uri="{FF2B5EF4-FFF2-40B4-BE49-F238E27FC236}">
                <a16:creationId xmlns:a16="http://schemas.microsoft.com/office/drawing/2014/main" id="{C4F98BFA-5E39-4A07-B46C-0719EB6AB4FF}"/>
              </a:ext>
            </a:extLst>
          </p:cNvPr>
          <p:cNvSpPr>
            <a:spLocks/>
          </p:cNvSpPr>
          <p:nvPr/>
        </p:nvSpPr>
        <p:spPr bwMode="gray">
          <a:xfrm>
            <a:off x="4637495" y="2122611"/>
            <a:ext cx="22367" cy="17526"/>
          </a:xfrm>
          <a:custGeom>
            <a:avLst/>
            <a:gdLst>
              <a:gd name="T0" fmla="*/ 13 w 13"/>
              <a:gd name="T1" fmla="*/ 4 h 8"/>
              <a:gd name="T2" fmla="*/ 9 w 13"/>
              <a:gd name="T3" fmla="*/ 0 h 8"/>
              <a:gd name="T4" fmla="*/ 0 w 13"/>
              <a:gd name="T5" fmla="*/ 2 h 8"/>
              <a:gd name="T6" fmla="*/ 10 w 13"/>
              <a:gd name="T7" fmla="*/ 8 h 8"/>
              <a:gd name="T8" fmla="*/ 13 w 13"/>
              <a:gd name="T9" fmla="*/ 4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8">
                <a:moveTo>
                  <a:pt x="13" y="4"/>
                </a:moveTo>
                <a:lnTo>
                  <a:pt x="9" y="0"/>
                </a:lnTo>
                <a:lnTo>
                  <a:pt x="0" y="2"/>
                </a:lnTo>
                <a:lnTo>
                  <a:pt x="10" y="8"/>
                </a:lnTo>
                <a:lnTo>
                  <a:pt x="13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19" name="Freeform 364">
            <a:extLst>
              <a:ext uri="{FF2B5EF4-FFF2-40B4-BE49-F238E27FC236}">
                <a16:creationId xmlns:a16="http://schemas.microsoft.com/office/drawing/2014/main" id="{14475AAF-4222-4ACA-8F9F-C906E2462265}"/>
              </a:ext>
            </a:extLst>
          </p:cNvPr>
          <p:cNvSpPr>
            <a:spLocks/>
          </p:cNvSpPr>
          <p:nvPr/>
        </p:nvSpPr>
        <p:spPr bwMode="gray">
          <a:xfrm>
            <a:off x="4685671" y="2140137"/>
            <a:ext cx="5161" cy="7789"/>
          </a:xfrm>
          <a:custGeom>
            <a:avLst/>
            <a:gdLst>
              <a:gd name="T0" fmla="*/ 2 w 2"/>
              <a:gd name="T1" fmla="*/ 1 h 3"/>
              <a:gd name="T2" fmla="*/ 0 w 2"/>
              <a:gd name="T3" fmla="*/ 0 h 3"/>
              <a:gd name="T4" fmla="*/ 0 w 2"/>
              <a:gd name="T5" fmla="*/ 3 h 3"/>
              <a:gd name="T6" fmla="*/ 2 w 2"/>
              <a:gd name="T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3">
                <a:moveTo>
                  <a:pt x="2" y="1"/>
                </a:moveTo>
                <a:lnTo>
                  <a:pt x="0" y="0"/>
                </a:lnTo>
                <a:lnTo>
                  <a:pt x="0" y="3"/>
                </a:lnTo>
                <a:lnTo>
                  <a:pt x="2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0" name="Freeform 365">
            <a:extLst>
              <a:ext uri="{FF2B5EF4-FFF2-40B4-BE49-F238E27FC236}">
                <a16:creationId xmlns:a16="http://schemas.microsoft.com/office/drawing/2014/main" id="{64FBB93E-307B-433B-BBBE-748AB079DF72}"/>
              </a:ext>
            </a:extLst>
          </p:cNvPr>
          <p:cNvSpPr>
            <a:spLocks/>
          </p:cNvSpPr>
          <p:nvPr/>
        </p:nvSpPr>
        <p:spPr bwMode="gray">
          <a:xfrm>
            <a:off x="4928270" y="1992152"/>
            <a:ext cx="103232" cy="52573"/>
          </a:xfrm>
          <a:custGeom>
            <a:avLst/>
            <a:gdLst>
              <a:gd name="T0" fmla="*/ 53 w 53"/>
              <a:gd name="T1" fmla="*/ 16 h 24"/>
              <a:gd name="T2" fmla="*/ 49 w 53"/>
              <a:gd name="T3" fmla="*/ 2 h 24"/>
              <a:gd name="T4" fmla="*/ 20 w 53"/>
              <a:gd name="T5" fmla="*/ 0 h 24"/>
              <a:gd name="T6" fmla="*/ 0 w 53"/>
              <a:gd name="T7" fmla="*/ 6 h 24"/>
              <a:gd name="T8" fmla="*/ 2 w 53"/>
              <a:gd name="T9" fmla="*/ 11 h 24"/>
              <a:gd name="T10" fmla="*/ 9 w 53"/>
              <a:gd name="T11" fmla="*/ 20 h 24"/>
              <a:gd name="T12" fmla="*/ 13 w 53"/>
              <a:gd name="T13" fmla="*/ 20 h 24"/>
              <a:gd name="T14" fmla="*/ 30 w 53"/>
              <a:gd name="T15" fmla="*/ 22 h 24"/>
              <a:gd name="T16" fmla="*/ 47 w 53"/>
              <a:gd name="T17" fmla="*/ 24 h 24"/>
              <a:gd name="T18" fmla="*/ 53 w 53"/>
              <a:gd name="T19" fmla="*/ 16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3" h="24">
                <a:moveTo>
                  <a:pt x="53" y="16"/>
                </a:moveTo>
                <a:lnTo>
                  <a:pt x="49" y="2"/>
                </a:lnTo>
                <a:lnTo>
                  <a:pt x="20" y="0"/>
                </a:lnTo>
                <a:lnTo>
                  <a:pt x="0" y="6"/>
                </a:lnTo>
                <a:lnTo>
                  <a:pt x="2" y="11"/>
                </a:lnTo>
                <a:lnTo>
                  <a:pt x="9" y="20"/>
                </a:lnTo>
                <a:lnTo>
                  <a:pt x="13" y="20"/>
                </a:lnTo>
                <a:lnTo>
                  <a:pt x="30" y="22"/>
                </a:lnTo>
                <a:lnTo>
                  <a:pt x="47" y="24"/>
                </a:lnTo>
                <a:lnTo>
                  <a:pt x="53" y="16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1" name="Freeform 366">
            <a:extLst>
              <a:ext uri="{FF2B5EF4-FFF2-40B4-BE49-F238E27FC236}">
                <a16:creationId xmlns:a16="http://schemas.microsoft.com/office/drawing/2014/main" id="{1F5E303C-8D74-4DAE-9C4F-A5B14B933EDA}"/>
              </a:ext>
            </a:extLst>
          </p:cNvPr>
          <p:cNvSpPr>
            <a:spLocks/>
          </p:cNvSpPr>
          <p:nvPr/>
        </p:nvSpPr>
        <p:spPr bwMode="gray">
          <a:xfrm>
            <a:off x="4885256" y="2034988"/>
            <a:ext cx="165173" cy="73992"/>
          </a:xfrm>
          <a:custGeom>
            <a:avLst/>
            <a:gdLst>
              <a:gd name="T0" fmla="*/ 44 w 85"/>
              <a:gd name="T1" fmla="*/ 24 h 34"/>
              <a:gd name="T2" fmla="*/ 24 w 85"/>
              <a:gd name="T3" fmla="*/ 26 h 34"/>
              <a:gd name="T4" fmla="*/ 4 w 85"/>
              <a:gd name="T5" fmla="*/ 28 h 34"/>
              <a:gd name="T6" fmla="*/ 0 w 85"/>
              <a:gd name="T7" fmla="*/ 30 h 34"/>
              <a:gd name="T8" fmla="*/ 6 w 85"/>
              <a:gd name="T9" fmla="*/ 9 h 34"/>
              <a:gd name="T10" fmla="*/ 17 w 85"/>
              <a:gd name="T11" fmla="*/ 9 h 34"/>
              <a:gd name="T12" fmla="*/ 31 w 85"/>
              <a:gd name="T13" fmla="*/ 19 h 34"/>
              <a:gd name="T14" fmla="*/ 37 w 85"/>
              <a:gd name="T15" fmla="*/ 13 h 34"/>
              <a:gd name="T16" fmla="*/ 36 w 85"/>
              <a:gd name="T17" fmla="*/ 0 h 34"/>
              <a:gd name="T18" fmla="*/ 53 w 85"/>
              <a:gd name="T19" fmla="*/ 2 h 34"/>
              <a:gd name="T20" fmla="*/ 70 w 85"/>
              <a:gd name="T21" fmla="*/ 4 h 34"/>
              <a:gd name="T22" fmla="*/ 78 w 85"/>
              <a:gd name="T23" fmla="*/ 15 h 34"/>
              <a:gd name="T24" fmla="*/ 85 w 85"/>
              <a:gd name="T25" fmla="*/ 33 h 34"/>
              <a:gd name="T26" fmla="*/ 70 w 85"/>
              <a:gd name="T27" fmla="*/ 34 h 34"/>
              <a:gd name="T28" fmla="*/ 44 w 85"/>
              <a:gd name="T29" fmla="*/ 2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5" h="34">
                <a:moveTo>
                  <a:pt x="44" y="24"/>
                </a:moveTo>
                <a:lnTo>
                  <a:pt x="24" y="26"/>
                </a:lnTo>
                <a:lnTo>
                  <a:pt x="4" y="28"/>
                </a:lnTo>
                <a:lnTo>
                  <a:pt x="0" y="30"/>
                </a:lnTo>
                <a:lnTo>
                  <a:pt x="6" y="9"/>
                </a:lnTo>
                <a:lnTo>
                  <a:pt x="17" y="9"/>
                </a:lnTo>
                <a:lnTo>
                  <a:pt x="31" y="19"/>
                </a:lnTo>
                <a:lnTo>
                  <a:pt x="37" y="13"/>
                </a:lnTo>
                <a:lnTo>
                  <a:pt x="36" y="0"/>
                </a:lnTo>
                <a:lnTo>
                  <a:pt x="53" y="2"/>
                </a:lnTo>
                <a:lnTo>
                  <a:pt x="70" y="4"/>
                </a:lnTo>
                <a:lnTo>
                  <a:pt x="78" y="15"/>
                </a:lnTo>
                <a:lnTo>
                  <a:pt x="85" y="33"/>
                </a:lnTo>
                <a:lnTo>
                  <a:pt x="70" y="34"/>
                </a:lnTo>
                <a:lnTo>
                  <a:pt x="44" y="24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2" name="Freeform 367">
            <a:extLst>
              <a:ext uri="{FF2B5EF4-FFF2-40B4-BE49-F238E27FC236}">
                <a16:creationId xmlns:a16="http://schemas.microsoft.com/office/drawing/2014/main" id="{93E6636D-3416-446E-85A7-4D360315FBCB}"/>
              </a:ext>
            </a:extLst>
          </p:cNvPr>
          <p:cNvSpPr>
            <a:spLocks/>
          </p:cNvSpPr>
          <p:nvPr/>
        </p:nvSpPr>
        <p:spPr bwMode="gray">
          <a:xfrm>
            <a:off x="4885256" y="2087562"/>
            <a:ext cx="134204" cy="77886"/>
          </a:xfrm>
          <a:custGeom>
            <a:avLst/>
            <a:gdLst>
              <a:gd name="T0" fmla="*/ 4 w 70"/>
              <a:gd name="T1" fmla="*/ 26 h 36"/>
              <a:gd name="T2" fmla="*/ 0 w 70"/>
              <a:gd name="T3" fmla="*/ 6 h 36"/>
              <a:gd name="T4" fmla="*/ 4 w 70"/>
              <a:gd name="T5" fmla="*/ 4 h 36"/>
              <a:gd name="T6" fmla="*/ 24 w 70"/>
              <a:gd name="T7" fmla="*/ 2 h 36"/>
              <a:gd name="T8" fmla="*/ 44 w 70"/>
              <a:gd name="T9" fmla="*/ 0 h 36"/>
              <a:gd name="T10" fmla="*/ 70 w 70"/>
              <a:gd name="T11" fmla="*/ 10 h 36"/>
              <a:gd name="T12" fmla="*/ 50 w 70"/>
              <a:gd name="T13" fmla="*/ 24 h 36"/>
              <a:gd name="T14" fmla="*/ 32 w 70"/>
              <a:gd name="T15" fmla="*/ 36 h 36"/>
              <a:gd name="T16" fmla="*/ 22 w 70"/>
              <a:gd name="T17" fmla="*/ 34 h 36"/>
              <a:gd name="T18" fmla="*/ 22 w 70"/>
              <a:gd name="T19" fmla="*/ 28 h 36"/>
              <a:gd name="T20" fmla="*/ 11 w 70"/>
              <a:gd name="T21" fmla="*/ 27 h 36"/>
              <a:gd name="T22" fmla="*/ 4 w 70"/>
              <a:gd name="T23" fmla="*/ 2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0" h="36">
                <a:moveTo>
                  <a:pt x="4" y="26"/>
                </a:moveTo>
                <a:lnTo>
                  <a:pt x="0" y="6"/>
                </a:lnTo>
                <a:lnTo>
                  <a:pt x="4" y="4"/>
                </a:lnTo>
                <a:lnTo>
                  <a:pt x="24" y="2"/>
                </a:lnTo>
                <a:lnTo>
                  <a:pt x="44" y="0"/>
                </a:lnTo>
                <a:lnTo>
                  <a:pt x="70" y="10"/>
                </a:lnTo>
                <a:lnTo>
                  <a:pt x="50" y="24"/>
                </a:lnTo>
                <a:lnTo>
                  <a:pt x="32" y="36"/>
                </a:lnTo>
                <a:lnTo>
                  <a:pt x="22" y="34"/>
                </a:lnTo>
                <a:lnTo>
                  <a:pt x="22" y="28"/>
                </a:lnTo>
                <a:lnTo>
                  <a:pt x="11" y="27"/>
                </a:lnTo>
                <a:lnTo>
                  <a:pt x="4" y="26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3" name="Freeform 368">
            <a:extLst>
              <a:ext uri="{FF2B5EF4-FFF2-40B4-BE49-F238E27FC236}">
                <a16:creationId xmlns:a16="http://schemas.microsoft.com/office/drawing/2014/main" id="{F55BEE07-7EE1-4501-B54C-EF670AE834FD}"/>
              </a:ext>
            </a:extLst>
          </p:cNvPr>
          <p:cNvSpPr>
            <a:spLocks/>
          </p:cNvSpPr>
          <p:nvPr/>
        </p:nvSpPr>
        <p:spPr bwMode="gray">
          <a:xfrm>
            <a:off x="4491249" y="2190762"/>
            <a:ext cx="87749" cy="91516"/>
          </a:xfrm>
          <a:custGeom>
            <a:avLst/>
            <a:gdLst>
              <a:gd name="T0" fmla="*/ 35 w 45"/>
              <a:gd name="T1" fmla="*/ 23 h 41"/>
              <a:gd name="T2" fmla="*/ 44 w 45"/>
              <a:gd name="T3" fmla="*/ 18 h 41"/>
              <a:gd name="T4" fmla="*/ 41 w 45"/>
              <a:gd name="T5" fmla="*/ 11 h 41"/>
              <a:gd name="T6" fmla="*/ 45 w 45"/>
              <a:gd name="T7" fmla="*/ 2 h 41"/>
              <a:gd name="T8" fmla="*/ 31 w 45"/>
              <a:gd name="T9" fmla="*/ 0 h 41"/>
              <a:gd name="T10" fmla="*/ 15 w 45"/>
              <a:gd name="T11" fmla="*/ 9 h 41"/>
              <a:gd name="T12" fmla="*/ 5 w 45"/>
              <a:gd name="T13" fmla="*/ 25 h 41"/>
              <a:gd name="T14" fmla="*/ 0 w 45"/>
              <a:gd name="T15" fmla="*/ 31 h 41"/>
              <a:gd name="T16" fmla="*/ 11 w 45"/>
              <a:gd name="T17" fmla="*/ 31 h 41"/>
              <a:gd name="T18" fmla="*/ 26 w 45"/>
              <a:gd name="T19" fmla="*/ 32 h 41"/>
              <a:gd name="T20" fmla="*/ 29 w 45"/>
              <a:gd name="T21" fmla="*/ 37 h 41"/>
              <a:gd name="T22" fmla="*/ 32 w 45"/>
              <a:gd name="T23" fmla="*/ 41 h 41"/>
              <a:gd name="T24" fmla="*/ 35 w 45"/>
              <a:gd name="T25" fmla="*/ 23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5" h="41">
                <a:moveTo>
                  <a:pt x="35" y="23"/>
                </a:moveTo>
                <a:lnTo>
                  <a:pt x="44" y="18"/>
                </a:lnTo>
                <a:lnTo>
                  <a:pt x="41" y="11"/>
                </a:lnTo>
                <a:lnTo>
                  <a:pt x="45" y="2"/>
                </a:lnTo>
                <a:lnTo>
                  <a:pt x="31" y="0"/>
                </a:lnTo>
                <a:lnTo>
                  <a:pt x="15" y="9"/>
                </a:lnTo>
                <a:lnTo>
                  <a:pt x="5" y="25"/>
                </a:lnTo>
                <a:lnTo>
                  <a:pt x="0" y="31"/>
                </a:lnTo>
                <a:lnTo>
                  <a:pt x="11" y="31"/>
                </a:lnTo>
                <a:lnTo>
                  <a:pt x="26" y="32"/>
                </a:lnTo>
                <a:lnTo>
                  <a:pt x="29" y="37"/>
                </a:lnTo>
                <a:lnTo>
                  <a:pt x="32" y="41"/>
                </a:lnTo>
                <a:lnTo>
                  <a:pt x="35" y="23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4" name="Freeform 369">
            <a:extLst>
              <a:ext uri="{FF2B5EF4-FFF2-40B4-BE49-F238E27FC236}">
                <a16:creationId xmlns:a16="http://schemas.microsoft.com/office/drawing/2014/main" id="{CAC294D9-BAD0-4C82-A6D5-A14E1D4937EF}"/>
              </a:ext>
            </a:extLst>
          </p:cNvPr>
          <p:cNvSpPr>
            <a:spLocks/>
          </p:cNvSpPr>
          <p:nvPr/>
        </p:nvSpPr>
        <p:spPr bwMode="gray">
          <a:xfrm>
            <a:off x="4740730" y="2147926"/>
            <a:ext cx="237438" cy="186928"/>
          </a:xfrm>
          <a:custGeom>
            <a:avLst/>
            <a:gdLst>
              <a:gd name="T0" fmla="*/ 51 w 124"/>
              <a:gd name="T1" fmla="*/ 4 h 87"/>
              <a:gd name="T2" fmla="*/ 50 w 124"/>
              <a:gd name="T3" fmla="*/ 0 h 87"/>
              <a:gd name="T4" fmla="*/ 33 w 124"/>
              <a:gd name="T5" fmla="*/ 2 h 87"/>
              <a:gd name="T6" fmla="*/ 17 w 124"/>
              <a:gd name="T7" fmla="*/ 6 h 87"/>
              <a:gd name="T8" fmla="*/ 0 w 124"/>
              <a:gd name="T9" fmla="*/ 10 h 87"/>
              <a:gd name="T10" fmla="*/ 5 w 124"/>
              <a:gd name="T11" fmla="*/ 15 h 87"/>
              <a:gd name="T12" fmla="*/ 2 w 124"/>
              <a:gd name="T13" fmla="*/ 16 h 87"/>
              <a:gd name="T14" fmla="*/ 3 w 124"/>
              <a:gd name="T15" fmla="*/ 30 h 87"/>
              <a:gd name="T16" fmla="*/ 10 w 124"/>
              <a:gd name="T17" fmla="*/ 47 h 87"/>
              <a:gd name="T18" fmla="*/ 11 w 124"/>
              <a:gd name="T19" fmla="*/ 59 h 87"/>
              <a:gd name="T20" fmla="*/ 14 w 124"/>
              <a:gd name="T21" fmla="*/ 59 h 87"/>
              <a:gd name="T22" fmla="*/ 30 w 124"/>
              <a:gd name="T23" fmla="*/ 65 h 87"/>
              <a:gd name="T24" fmla="*/ 33 w 124"/>
              <a:gd name="T25" fmla="*/ 69 h 87"/>
              <a:gd name="T26" fmla="*/ 39 w 124"/>
              <a:gd name="T27" fmla="*/ 69 h 87"/>
              <a:gd name="T28" fmla="*/ 48 w 124"/>
              <a:gd name="T29" fmla="*/ 69 h 87"/>
              <a:gd name="T30" fmla="*/ 63 w 124"/>
              <a:gd name="T31" fmla="*/ 80 h 87"/>
              <a:gd name="T32" fmla="*/ 77 w 124"/>
              <a:gd name="T33" fmla="*/ 81 h 87"/>
              <a:gd name="T34" fmla="*/ 80 w 124"/>
              <a:gd name="T35" fmla="*/ 83 h 87"/>
              <a:gd name="T36" fmla="*/ 90 w 124"/>
              <a:gd name="T37" fmla="*/ 83 h 87"/>
              <a:gd name="T38" fmla="*/ 110 w 124"/>
              <a:gd name="T39" fmla="*/ 87 h 87"/>
              <a:gd name="T40" fmla="*/ 112 w 124"/>
              <a:gd name="T41" fmla="*/ 82 h 87"/>
              <a:gd name="T42" fmla="*/ 123 w 124"/>
              <a:gd name="T43" fmla="*/ 66 h 87"/>
              <a:gd name="T44" fmla="*/ 124 w 124"/>
              <a:gd name="T45" fmla="*/ 59 h 87"/>
              <a:gd name="T46" fmla="*/ 118 w 124"/>
              <a:gd name="T47" fmla="*/ 42 h 87"/>
              <a:gd name="T48" fmla="*/ 111 w 124"/>
              <a:gd name="T49" fmla="*/ 38 h 87"/>
              <a:gd name="T50" fmla="*/ 118 w 124"/>
              <a:gd name="T51" fmla="*/ 27 h 87"/>
              <a:gd name="T52" fmla="*/ 108 w 124"/>
              <a:gd name="T53" fmla="*/ 8 h 87"/>
              <a:gd name="T54" fmla="*/ 86 w 124"/>
              <a:gd name="T55" fmla="*/ 5 h 87"/>
              <a:gd name="T56" fmla="*/ 64 w 124"/>
              <a:gd name="T57" fmla="*/ 4 h 87"/>
              <a:gd name="T58" fmla="*/ 51 w 124"/>
              <a:gd name="T59" fmla="*/ 4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4" h="87">
                <a:moveTo>
                  <a:pt x="51" y="4"/>
                </a:moveTo>
                <a:lnTo>
                  <a:pt x="50" y="0"/>
                </a:lnTo>
                <a:lnTo>
                  <a:pt x="33" y="2"/>
                </a:lnTo>
                <a:lnTo>
                  <a:pt x="17" y="6"/>
                </a:lnTo>
                <a:lnTo>
                  <a:pt x="0" y="10"/>
                </a:lnTo>
                <a:lnTo>
                  <a:pt x="5" y="15"/>
                </a:lnTo>
                <a:lnTo>
                  <a:pt x="2" y="16"/>
                </a:lnTo>
                <a:lnTo>
                  <a:pt x="3" y="30"/>
                </a:lnTo>
                <a:lnTo>
                  <a:pt x="10" y="47"/>
                </a:lnTo>
                <a:lnTo>
                  <a:pt x="11" y="59"/>
                </a:lnTo>
                <a:lnTo>
                  <a:pt x="14" y="59"/>
                </a:lnTo>
                <a:lnTo>
                  <a:pt x="30" y="65"/>
                </a:lnTo>
                <a:lnTo>
                  <a:pt x="33" y="69"/>
                </a:lnTo>
                <a:lnTo>
                  <a:pt x="39" y="69"/>
                </a:lnTo>
                <a:lnTo>
                  <a:pt x="48" y="69"/>
                </a:lnTo>
                <a:lnTo>
                  <a:pt x="63" y="80"/>
                </a:lnTo>
                <a:lnTo>
                  <a:pt x="77" y="81"/>
                </a:lnTo>
                <a:lnTo>
                  <a:pt x="80" y="83"/>
                </a:lnTo>
                <a:lnTo>
                  <a:pt x="90" y="83"/>
                </a:lnTo>
                <a:lnTo>
                  <a:pt x="110" y="87"/>
                </a:lnTo>
                <a:lnTo>
                  <a:pt x="112" y="82"/>
                </a:lnTo>
                <a:lnTo>
                  <a:pt x="123" y="66"/>
                </a:lnTo>
                <a:lnTo>
                  <a:pt x="124" y="59"/>
                </a:lnTo>
                <a:lnTo>
                  <a:pt x="118" y="42"/>
                </a:lnTo>
                <a:lnTo>
                  <a:pt x="111" y="38"/>
                </a:lnTo>
                <a:lnTo>
                  <a:pt x="118" y="27"/>
                </a:lnTo>
                <a:lnTo>
                  <a:pt x="108" y="8"/>
                </a:lnTo>
                <a:lnTo>
                  <a:pt x="86" y="5"/>
                </a:lnTo>
                <a:lnTo>
                  <a:pt x="64" y="4"/>
                </a:lnTo>
                <a:lnTo>
                  <a:pt x="51" y="4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5" name="Freeform 370">
            <a:extLst>
              <a:ext uri="{FF2B5EF4-FFF2-40B4-BE49-F238E27FC236}">
                <a16:creationId xmlns:a16="http://schemas.microsoft.com/office/drawing/2014/main" id="{9B33DB71-FD17-43D4-B1CA-D2BCE00196FE}"/>
              </a:ext>
            </a:extLst>
          </p:cNvPr>
          <p:cNvSpPr>
            <a:spLocks/>
          </p:cNvSpPr>
          <p:nvPr/>
        </p:nvSpPr>
        <p:spPr bwMode="gray">
          <a:xfrm>
            <a:off x="4904182" y="2364060"/>
            <a:ext cx="233995" cy="157722"/>
          </a:xfrm>
          <a:custGeom>
            <a:avLst/>
            <a:gdLst>
              <a:gd name="T0" fmla="*/ 111 w 122"/>
              <a:gd name="T1" fmla="*/ 59 h 72"/>
              <a:gd name="T2" fmla="*/ 110 w 122"/>
              <a:gd name="T3" fmla="*/ 71 h 72"/>
              <a:gd name="T4" fmla="*/ 86 w 122"/>
              <a:gd name="T5" fmla="*/ 66 h 72"/>
              <a:gd name="T6" fmla="*/ 66 w 122"/>
              <a:gd name="T7" fmla="*/ 72 h 72"/>
              <a:gd name="T8" fmla="*/ 51 w 122"/>
              <a:gd name="T9" fmla="*/ 70 h 72"/>
              <a:gd name="T10" fmla="*/ 37 w 122"/>
              <a:gd name="T11" fmla="*/ 67 h 72"/>
              <a:gd name="T12" fmla="*/ 34 w 122"/>
              <a:gd name="T13" fmla="*/ 64 h 72"/>
              <a:gd name="T14" fmla="*/ 33 w 122"/>
              <a:gd name="T15" fmla="*/ 59 h 72"/>
              <a:gd name="T16" fmla="*/ 28 w 122"/>
              <a:gd name="T17" fmla="*/ 56 h 72"/>
              <a:gd name="T18" fmla="*/ 25 w 122"/>
              <a:gd name="T19" fmla="*/ 56 h 72"/>
              <a:gd name="T20" fmla="*/ 19 w 122"/>
              <a:gd name="T21" fmla="*/ 53 h 72"/>
              <a:gd name="T22" fmla="*/ 0 w 122"/>
              <a:gd name="T23" fmla="*/ 34 h 72"/>
              <a:gd name="T24" fmla="*/ 8 w 122"/>
              <a:gd name="T25" fmla="*/ 31 h 72"/>
              <a:gd name="T26" fmla="*/ 18 w 122"/>
              <a:gd name="T27" fmla="*/ 17 h 72"/>
              <a:gd name="T28" fmla="*/ 30 w 122"/>
              <a:gd name="T29" fmla="*/ 5 h 72"/>
              <a:gd name="T30" fmla="*/ 31 w 122"/>
              <a:gd name="T31" fmla="*/ 5 h 72"/>
              <a:gd name="T32" fmla="*/ 55 w 122"/>
              <a:gd name="T33" fmla="*/ 7 h 72"/>
              <a:gd name="T34" fmla="*/ 75 w 122"/>
              <a:gd name="T35" fmla="*/ 0 h 72"/>
              <a:gd name="T36" fmla="*/ 76 w 122"/>
              <a:gd name="T37" fmla="*/ 0 h 72"/>
              <a:gd name="T38" fmla="*/ 86 w 122"/>
              <a:gd name="T39" fmla="*/ 10 h 72"/>
              <a:gd name="T40" fmla="*/ 96 w 122"/>
              <a:gd name="T41" fmla="*/ 19 h 72"/>
              <a:gd name="T42" fmla="*/ 99 w 122"/>
              <a:gd name="T43" fmla="*/ 32 h 72"/>
              <a:gd name="T44" fmla="*/ 103 w 122"/>
              <a:gd name="T45" fmla="*/ 46 h 72"/>
              <a:gd name="T46" fmla="*/ 114 w 122"/>
              <a:gd name="T47" fmla="*/ 46 h 72"/>
              <a:gd name="T48" fmla="*/ 121 w 122"/>
              <a:gd name="T49" fmla="*/ 48 h 72"/>
              <a:gd name="T50" fmla="*/ 122 w 122"/>
              <a:gd name="T51" fmla="*/ 52 h 72"/>
              <a:gd name="T52" fmla="*/ 116 w 122"/>
              <a:gd name="T53" fmla="*/ 55 h 72"/>
              <a:gd name="T54" fmla="*/ 114 w 122"/>
              <a:gd name="T55" fmla="*/ 54 h 72"/>
              <a:gd name="T56" fmla="*/ 111 w 122"/>
              <a:gd name="T57" fmla="*/ 59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22" h="72">
                <a:moveTo>
                  <a:pt x="111" y="59"/>
                </a:moveTo>
                <a:lnTo>
                  <a:pt x="110" y="71"/>
                </a:lnTo>
                <a:lnTo>
                  <a:pt x="86" y="66"/>
                </a:lnTo>
                <a:lnTo>
                  <a:pt x="66" y="72"/>
                </a:lnTo>
                <a:lnTo>
                  <a:pt x="51" y="70"/>
                </a:lnTo>
                <a:lnTo>
                  <a:pt x="37" y="67"/>
                </a:lnTo>
                <a:lnTo>
                  <a:pt x="34" y="64"/>
                </a:lnTo>
                <a:lnTo>
                  <a:pt x="33" y="59"/>
                </a:lnTo>
                <a:lnTo>
                  <a:pt x="28" y="56"/>
                </a:lnTo>
                <a:lnTo>
                  <a:pt x="25" y="56"/>
                </a:lnTo>
                <a:lnTo>
                  <a:pt x="19" y="53"/>
                </a:lnTo>
                <a:lnTo>
                  <a:pt x="0" y="34"/>
                </a:lnTo>
                <a:lnTo>
                  <a:pt x="8" y="31"/>
                </a:lnTo>
                <a:lnTo>
                  <a:pt x="18" y="17"/>
                </a:lnTo>
                <a:lnTo>
                  <a:pt x="30" y="5"/>
                </a:lnTo>
                <a:lnTo>
                  <a:pt x="31" y="5"/>
                </a:lnTo>
                <a:lnTo>
                  <a:pt x="55" y="7"/>
                </a:lnTo>
                <a:lnTo>
                  <a:pt x="75" y="0"/>
                </a:lnTo>
                <a:lnTo>
                  <a:pt x="76" y="0"/>
                </a:lnTo>
                <a:lnTo>
                  <a:pt x="86" y="10"/>
                </a:lnTo>
                <a:lnTo>
                  <a:pt x="96" y="19"/>
                </a:lnTo>
                <a:lnTo>
                  <a:pt x="99" y="32"/>
                </a:lnTo>
                <a:lnTo>
                  <a:pt x="103" y="46"/>
                </a:lnTo>
                <a:lnTo>
                  <a:pt x="114" y="46"/>
                </a:lnTo>
                <a:lnTo>
                  <a:pt x="121" y="48"/>
                </a:lnTo>
                <a:lnTo>
                  <a:pt x="122" y="52"/>
                </a:lnTo>
                <a:lnTo>
                  <a:pt x="116" y="55"/>
                </a:lnTo>
                <a:lnTo>
                  <a:pt x="114" y="54"/>
                </a:lnTo>
                <a:lnTo>
                  <a:pt x="111" y="59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6" name="Freeform 371">
            <a:extLst>
              <a:ext uri="{FF2B5EF4-FFF2-40B4-BE49-F238E27FC236}">
                <a16:creationId xmlns:a16="http://schemas.microsoft.com/office/drawing/2014/main" id="{DA14C8F0-93F2-4839-B041-5D466E65CABB}"/>
              </a:ext>
            </a:extLst>
          </p:cNvPr>
          <p:cNvSpPr>
            <a:spLocks/>
          </p:cNvSpPr>
          <p:nvPr/>
        </p:nvSpPr>
        <p:spPr bwMode="gray">
          <a:xfrm>
            <a:off x="4706318" y="2274489"/>
            <a:ext cx="153128" cy="81779"/>
          </a:xfrm>
          <a:custGeom>
            <a:avLst/>
            <a:gdLst>
              <a:gd name="T0" fmla="*/ 67 w 82"/>
              <a:gd name="T1" fmla="*/ 11 h 37"/>
              <a:gd name="T2" fmla="*/ 82 w 82"/>
              <a:gd name="T3" fmla="*/ 22 h 37"/>
              <a:gd name="T4" fmla="*/ 82 w 82"/>
              <a:gd name="T5" fmla="*/ 23 h 37"/>
              <a:gd name="T6" fmla="*/ 78 w 82"/>
              <a:gd name="T7" fmla="*/ 26 h 37"/>
              <a:gd name="T8" fmla="*/ 75 w 82"/>
              <a:gd name="T9" fmla="*/ 28 h 37"/>
              <a:gd name="T10" fmla="*/ 75 w 82"/>
              <a:gd name="T11" fmla="*/ 29 h 37"/>
              <a:gd name="T12" fmla="*/ 70 w 82"/>
              <a:gd name="T13" fmla="*/ 34 h 37"/>
              <a:gd name="T14" fmla="*/ 64 w 82"/>
              <a:gd name="T15" fmla="*/ 35 h 37"/>
              <a:gd name="T16" fmla="*/ 59 w 82"/>
              <a:gd name="T17" fmla="*/ 35 h 37"/>
              <a:gd name="T18" fmla="*/ 55 w 82"/>
              <a:gd name="T19" fmla="*/ 34 h 37"/>
              <a:gd name="T20" fmla="*/ 35 w 82"/>
              <a:gd name="T21" fmla="*/ 32 h 37"/>
              <a:gd name="T22" fmla="*/ 28 w 82"/>
              <a:gd name="T23" fmla="*/ 37 h 37"/>
              <a:gd name="T24" fmla="*/ 21 w 82"/>
              <a:gd name="T25" fmla="*/ 35 h 37"/>
              <a:gd name="T26" fmla="*/ 3 w 82"/>
              <a:gd name="T27" fmla="*/ 18 h 37"/>
              <a:gd name="T28" fmla="*/ 0 w 82"/>
              <a:gd name="T29" fmla="*/ 12 h 37"/>
              <a:gd name="T30" fmla="*/ 28 w 82"/>
              <a:gd name="T31" fmla="*/ 0 h 37"/>
              <a:gd name="T32" fmla="*/ 30 w 82"/>
              <a:gd name="T33" fmla="*/ 1 h 37"/>
              <a:gd name="T34" fmla="*/ 33 w 82"/>
              <a:gd name="T35" fmla="*/ 1 h 37"/>
              <a:gd name="T36" fmla="*/ 49 w 82"/>
              <a:gd name="T37" fmla="*/ 7 h 37"/>
              <a:gd name="T38" fmla="*/ 52 w 82"/>
              <a:gd name="T39" fmla="*/ 11 h 37"/>
              <a:gd name="T40" fmla="*/ 58 w 82"/>
              <a:gd name="T41" fmla="*/ 11 h 37"/>
              <a:gd name="T42" fmla="*/ 67 w 82"/>
              <a:gd name="T43" fmla="*/ 11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82" h="37">
                <a:moveTo>
                  <a:pt x="67" y="11"/>
                </a:moveTo>
                <a:lnTo>
                  <a:pt x="82" y="22"/>
                </a:lnTo>
                <a:lnTo>
                  <a:pt x="82" y="23"/>
                </a:lnTo>
                <a:lnTo>
                  <a:pt x="78" y="26"/>
                </a:lnTo>
                <a:lnTo>
                  <a:pt x="75" y="28"/>
                </a:lnTo>
                <a:lnTo>
                  <a:pt x="75" y="29"/>
                </a:lnTo>
                <a:lnTo>
                  <a:pt x="70" y="34"/>
                </a:lnTo>
                <a:lnTo>
                  <a:pt x="64" y="35"/>
                </a:lnTo>
                <a:lnTo>
                  <a:pt x="59" y="35"/>
                </a:lnTo>
                <a:lnTo>
                  <a:pt x="55" y="34"/>
                </a:lnTo>
                <a:lnTo>
                  <a:pt x="35" y="32"/>
                </a:lnTo>
                <a:lnTo>
                  <a:pt x="28" y="37"/>
                </a:lnTo>
                <a:lnTo>
                  <a:pt x="21" y="35"/>
                </a:lnTo>
                <a:lnTo>
                  <a:pt x="3" y="18"/>
                </a:lnTo>
                <a:lnTo>
                  <a:pt x="0" y="12"/>
                </a:lnTo>
                <a:lnTo>
                  <a:pt x="28" y="0"/>
                </a:lnTo>
                <a:lnTo>
                  <a:pt x="30" y="1"/>
                </a:lnTo>
                <a:lnTo>
                  <a:pt x="33" y="1"/>
                </a:lnTo>
                <a:lnTo>
                  <a:pt x="49" y="7"/>
                </a:lnTo>
                <a:lnTo>
                  <a:pt x="52" y="11"/>
                </a:lnTo>
                <a:lnTo>
                  <a:pt x="58" y="11"/>
                </a:lnTo>
                <a:lnTo>
                  <a:pt x="67" y="11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7" name="Freeform 372">
            <a:extLst>
              <a:ext uri="{FF2B5EF4-FFF2-40B4-BE49-F238E27FC236}">
                <a16:creationId xmlns:a16="http://schemas.microsoft.com/office/drawing/2014/main" id="{D7BD319D-F5A0-43B3-8BE9-66B3E970125C}"/>
              </a:ext>
            </a:extLst>
          </p:cNvPr>
          <p:cNvSpPr>
            <a:spLocks/>
          </p:cNvSpPr>
          <p:nvPr/>
        </p:nvSpPr>
        <p:spPr bwMode="gray">
          <a:xfrm>
            <a:off x="4475763" y="2260861"/>
            <a:ext cx="84308" cy="60360"/>
          </a:xfrm>
          <a:custGeom>
            <a:avLst/>
            <a:gdLst>
              <a:gd name="T0" fmla="*/ 10 w 45"/>
              <a:gd name="T1" fmla="*/ 0 h 28"/>
              <a:gd name="T2" fmla="*/ 0 w 45"/>
              <a:gd name="T3" fmla="*/ 4 h 28"/>
              <a:gd name="T4" fmla="*/ 5 w 45"/>
              <a:gd name="T5" fmla="*/ 10 h 28"/>
              <a:gd name="T6" fmla="*/ 21 w 45"/>
              <a:gd name="T7" fmla="*/ 20 h 28"/>
              <a:gd name="T8" fmla="*/ 27 w 45"/>
              <a:gd name="T9" fmla="*/ 19 h 28"/>
              <a:gd name="T10" fmla="*/ 28 w 45"/>
              <a:gd name="T11" fmla="*/ 22 h 28"/>
              <a:gd name="T12" fmla="*/ 41 w 45"/>
              <a:gd name="T13" fmla="*/ 28 h 28"/>
              <a:gd name="T14" fmla="*/ 41 w 45"/>
              <a:gd name="T15" fmla="*/ 26 h 28"/>
              <a:gd name="T16" fmla="*/ 45 w 45"/>
              <a:gd name="T17" fmla="*/ 19 h 28"/>
              <a:gd name="T18" fmla="*/ 45 w 45"/>
              <a:gd name="T19" fmla="*/ 11 h 28"/>
              <a:gd name="T20" fmla="*/ 42 w 45"/>
              <a:gd name="T21" fmla="*/ 10 h 28"/>
              <a:gd name="T22" fmla="*/ 39 w 45"/>
              <a:gd name="T23" fmla="*/ 6 h 28"/>
              <a:gd name="T24" fmla="*/ 36 w 45"/>
              <a:gd name="T25" fmla="*/ 1 h 28"/>
              <a:gd name="T26" fmla="*/ 21 w 45"/>
              <a:gd name="T27" fmla="*/ 0 h 28"/>
              <a:gd name="T28" fmla="*/ 10 w 45"/>
              <a:gd name="T29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5" h="28">
                <a:moveTo>
                  <a:pt x="10" y="0"/>
                </a:moveTo>
                <a:lnTo>
                  <a:pt x="0" y="4"/>
                </a:lnTo>
                <a:lnTo>
                  <a:pt x="5" y="10"/>
                </a:lnTo>
                <a:lnTo>
                  <a:pt x="21" y="20"/>
                </a:lnTo>
                <a:lnTo>
                  <a:pt x="27" y="19"/>
                </a:lnTo>
                <a:lnTo>
                  <a:pt x="28" y="22"/>
                </a:lnTo>
                <a:lnTo>
                  <a:pt x="41" y="28"/>
                </a:lnTo>
                <a:lnTo>
                  <a:pt x="41" y="26"/>
                </a:lnTo>
                <a:lnTo>
                  <a:pt x="45" y="19"/>
                </a:lnTo>
                <a:lnTo>
                  <a:pt x="45" y="11"/>
                </a:lnTo>
                <a:lnTo>
                  <a:pt x="42" y="10"/>
                </a:lnTo>
                <a:lnTo>
                  <a:pt x="39" y="6"/>
                </a:lnTo>
                <a:lnTo>
                  <a:pt x="36" y="1"/>
                </a:lnTo>
                <a:lnTo>
                  <a:pt x="21" y="0"/>
                </a:lnTo>
                <a:lnTo>
                  <a:pt x="10" y="0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8" name="Freeform 373">
            <a:extLst>
              <a:ext uri="{FF2B5EF4-FFF2-40B4-BE49-F238E27FC236}">
                <a16:creationId xmlns:a16="http://schemas.microsoft.com/office/drawing/2014/main" id="{62C0D1F8-82B1-4A33-8368-A5E810B5688D}"/>
              </a:ext>
            </a:extLst>
          </p:cNvPr>
          <p:cNvSpPr>
            <a:spLocks/>
          </p:cNvSpPr>
          <p:nvPr/>
        </p:nvSpPr>
        <p:spPr bwMode="gray">
          <a:xfrm>
            <a:off x="4556630" y="2140137"/>
            <a:ext cx="206467" cy="255077"/>
          </a:xfrm>
          <a:custGeom>
            <a:avLst/>
            <a:gdLst>
              <a:gd name="T0" fmla="*/ 27 w 108"/>
              <a:gd name="T1" fmla="*/ 21 h 117"/>
              <a:gd name="T2" fmla="*/ 29 w 108"/>
              <a:gd name="T3" fmla="*/ 23 h 117"/>
              <a:gd name="T4" fmla="*/ 29 w 108"/>
              <a:gd name="T5" fmla="*/ 20 h 117"/>
              <a:gd name="T6" fmla="*/ 34 w 108"/>
              <a:gd name="T7" fmla="*/ 17 h 117"/>
              <a:gd name="T8" fmla="*/ 42 w 108"/>
              <a:gd name="T9" fmla="*/ 20 h 117"/>
              <a:gd name="T10" fmla="*/ 37 w 108"/>
              <a:gd name="T11" fmla="*/ 17 h 117"/>
              <a:gd name="T12" fmla="*/ 33 w 108"/>
              <a:gd name="T13" fmla="*/ 9 h 117"/>
              <a:gd name="T14" fmla="*/ 33 w 108"/>
              <a:gd name="T15" fmla="*/ 8 h 117"/>
              <a:gd name="T16" fmla="*/ 30 w 108"/>
              <a:gd name="T17" fmla="*/ 0 h 117"/>
              <a:gd name="T18" fmla="*/ 40 w 108"/>
              <a:gd name="T19" fmla="*/ 2 h 117"/>
              <a:gd name="T20" fmla="*/ 42 w 108"/>
              <a:gd name="T21" fmla="*/ 2 h 117"/>
              <a:gd name="T22" fmla="*/ 45 w 108"/>
              <a:gd name="T23" fmla="*/ 7 h 117"/>
              <a:gd name="T24" fmla="*/ 58 w 108"/>
              <a:gd name="T25" fmla="*/ 8 h 117"/>
              <a:gd name="T26" fmla="*/ 57 w 108"/>
              <a:gd name="T27" fmla="*/ 13 h 117"/>
              <a:gd name="T28" fmla="*/ 61 w 108"/>
              <a:gd name="T29" fmla="*/ 14 h 117"/>
              <a:gd name="T30" fmla="*/ 78 w 108"/>
              <a:gd name="T31" fmla="*/ 7 h 117"/>
              <a:gd name="T32" fmla="*/ 77 w 108"/>
              <a:gd name="T33" fmla="*/ 8 h 117"/>
              <a:gd name="T34" fmla="*/ 91 w 108"/>
              <a:gd name="T35" fmla="*/ 13 h 117"/>
              <a:gd name="T36" fmla="*/ 97 w 108"/>
              <a:gd name="T37" fmla="*/ 13 h 117"/>
              <a:gd name="T38" fmla="*/ 102 w 108"/>
              <a:gd name="T39" fmla="*/ 18 h 117"/>
              <a:gd name="T40" fmla="*/ 99 w 108"/>
              <a:gd name="T41" fmla="*/ 19 h 117"/>
              <a:gd name="T42" fmla="*/ 100 w 108"/>
              <a:gd name="T43" fmla="*/ 33 h 117"/>
              <a:gd name="T44" fmla="*/ 107 w 108"/>
              <a:gd name="T45" fmla="*/ 50 h 117"/>
              <a:gd name="T46" fmla="*/ 108 w 108"/>
              <a:gd name="T47" fmla="*/ 62 h 117"/>
              <a:gd name="T48" fmla="*/ 106 w 108"/>
              <a:gd name="T49" fmla="*/ 61 h 117"/>
              <a:gd name="T50" fmla="*/ 78 w 108"/>
              <a:gd name="T51" fmla="*/ 73 h 117"/>
              <a:gd name="T52" fmla="*/ 81 w 108"/>
              <a:gd name="T53" fmla="*/ 79 h 117"/>
              <a:gd name="T54" fmla="*/ 99 w 108"/>
              <a:gd name="T55" fmla="*/ 96 h 117"/>
              <a:gd name="T56" fmla="*/ 89 w 108"/>
              <a:gd name="T57" fmla="*/ 104 h 117"/>
              <a:gd name="T58" fmla="*/ 90 w 108"/>
              <a:gd name="T59" fmla="*/ 113 h 117"/>
              <a:gd name="T60" fmla="*/ 87 w 108"/>
              <a:gd name="T61" fmla="*/ 114 h 117"/>
              <a:gd name="T62" fmla="*/ 72 w 108"/>
              <a:gd name="T63" fmla="*/ 114 h 117"/>
              <a:gd name="T64" fmla="*/ 61 w 108"/>
              <a:gd name="T65" fmla="*/ 114 h 117"/>
              <a:gd name="T66" fmla="*/ 58 w 108"/>
              <a:gd name="T67" fmla="*/ 117 h 117"/>
              <a:gd name="T68" fmla="*/ 47 w 108"/>
              <a:gd name="T69" fmla="*/ 115 h 117"/>
              <a:gd name="T70" fmla="*/ 35 w 108"/>
              <a:gd name="T71" fmla="*/ 113 h 117"/>
              <a:gd name="T72" fmla="*/ 22 w 108"/>
              <a:gd name="T73" fmla="*/ 114 h 117"/>
              <a:gd name="T74" fmla="*/ 28 w 108"/>
              <a:gd name="T75" fmla="*/ 92 h 117"/>
              <a:gd name="T76" fmla="*/ 7 w 108"/>
              <a:gd name="T77" fmla="*/ 85 h 117"/>
              <a:gd name="T78" fmla="*/ 6 w 108"/>
              <a:gd name="T79" fmla="*/ 84 h 117"/>
              <a:gd name="T80" fmla="*/ 6 w 108"/>
              <a:gd name="T81" fmla="*/ 83 h 117"/>
              <a:gd name="T82" fmla="*/ 3 w 108"/>
              <a:gd name="T83" fmla="*/ 74 h 117"/>
              <a:gd name="T84" fmla="*/ 3 w 108"/>
              <a:gd name="T85" fmla="*/ 66 h 117"/>
              <a:gd name="T86" fmla="*/ 0 w 108"/>
              <a:gd name="T87" fmla="*/ 65 h 117"/>
              <a:gd name="T88" fmla="*/ 3 w 108"/>
              <a:gd name="T89" fmla="*/ 47 h 117"/>
              <a:gd name="T90" fmla="*/ 12 w 108"/>
              <a:gd name="T91" fmla="*/ 42 h 117"/>
              <a:gd name="T92" fmla="*/ 9 w 108"/>
              <a:gd name="T93" fmla="*/ 35 h 117"/>
              <a:gd name="T94" fmla="*/ 13 w 108"/>
              <a:gd name="T95" fmla="*/ 26 h 117"/>
              <a:gd name="T96" fmla="*/ 12 w 108"/>
              <a:gd name="T97" fmla="*/ 25 h 117"/>
              <a:gd name="T98" fmla="*/ 13 w 108"/>
              <a:gd name="T99" fmla="*/ 19 h 117"/>
              <a:gd name="T100" fmla="*/ 27 w 108"/>
              <a:gd name="T101" fmla="*/ 21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08" h="117">
                <a:moveTo>
                  <a:pt x="27" y="21"/>
                </a:moveTo>
                <a:lnTo>
                  <a:pt x="29" y="23"/>
                </a:lnTo>
                <a:lnTo>
                  <a:pt x="29" y="20"/>
                </a:lnTo>
                <a:lnTo>
                  <a:pt x="34" y="17"/>
                </a:lnTo>
                <a:lnTo>
                  <a:pt x="42" y="20"/>
                </a:lnTo>
                <a:lnTo>
                  <a:pt x="37" y="17"/>
                </a:lnTo>
                <a:lnTo>
                  <a:pt x="33" y="9"/>
                </a:lnTo>
                <a:lnTo>
                  <a:pt x="33" y="8"/>
                </a:lnTo>
                <a:lnTo>
                  <a:pt x="30" y="0"/>
                </a:lnTo>
                <a:lnTo>
                  <a:pt x="40" y="2"/>
                </a:lnTo>
                <a:lnTo>
                  <a:pt x="42" y="2"/>
                </a:lnTo>
                <a:lnTo>
                  <a:pt x="45" y="7"/>
                </a:lnTo>
                <a:lnTo>
                  <a:pt x="58" y="8"/>
                </a:lnTo>
                <a:lnTo>
                  <a:pt x="57" y="13"/>
                </a:lnTo>
                <a:lnTo>
                  <a:pt x="61" y="14"/>
                </a:lnTo>
                <a:lnTo>
                  <a:pt x="78" y="7"/>
                </a:lnTo>
                <a:lnTo>
                  <a:pt x="77" y="8"/>
                </a:lnTo>
                <a:lnTo>
                  <a:pt x="91" y="13"/>
                </a:lnTo>
                <a:lnTo>
                  <a:pt x="97" y="13"/>
                </a:lnTo>
                <a:lnTo>
                  <a:pt x="102" y="18"/>
                </a:lnTo>
                <a:lnTo>
                  <a:pt x="99" y="19"/>
                </a:lnTo>
                <a:lnTo>
                  <a:pt x="100" y="33"/>
                </a:lnTo>
                <a:lnTo>
                  <a:pt x="107" y="50"/>
                </a:lnTo>
                <a:lnTo>
                  <a:pt x="108" y="62"/>
                </a:lnTo>
                <a:lnTo>
                  <a:pt x="106" y="61"/>
                </a:lnTo>
                <a:lnTo>
                  <a:pt x="78" y="73"/>
                </a:lnTo>
                <a:lnTo>
                  <a:pt x="81" y="79"/>
                </a:lnTo>
                <a:lnTo>
                  <a:pt x="99" y="96"/>
                </a:lnTo>
                <a:lnTo>
                  <a:pt x="89" y="104"/>
                </a:lnTo>
                <a:lnTo>
                  <a:pt x="90" y="113"/>
                </a:lnTo>
                <a:lnTo>
                  <a:pt x="87" y="114"/>
                </a:lnTo>
                <a:lnTo>
                  <a:pt x="72" y="114"/>
                </a:lnTo>
                <a:lnTo>
                  <a:pt x="61" y="114"/>
                </a:lnTo>
                <a:lnTo>
                  <a:pt x="58" y="117"/>
                </a:lnTo>
                <a:lnTo>
                  <a:pt x="47" y="115"/>
                </a:lnTo>
                <a:lnTo>
                  <a:pt x="35" y="113"/>
                </a:lnTo>
                <a:lnTo>
                  <a:pt x="22" y="114"/>
                </a:lnTo>
                <a:lnTo>
                  <a:pt x="28" y="92"/>
                </a:lnTo>
                <a:lnTo>
                  <a:pt x="7" y="85"/>
                </a:lnTo>
                <a:lnTo>
                  <a:pt x="6" y="84"/>
                </a:lnTo>
                <a:lnTo>
                  <a:pt x="6" y="83"/>
                </a:lnTo>
                <a:lnTo>
                  <a:pt x="3" y="74"/>
                </a:lnTo>
                <a:lnTo>
                  <a:pt x="3" y="66"/>
                </a:lnTo>
                <a:lnTo>
                  <a:pt x="0" y="65"/>
                </a:lnTo>
                <a:lnTo>
                  <a:pt x="3" y="47"/>
                </a:lnTo>
                <a:lnTo>
                  <a:pt x="12" y="42"/>
                </a:lnTo>
                <a:lnTo>
                  <a:pt x="9" y="35"/>
                </a:lnTo>
                <a:lnTo>
                  <a:pt x="13" y="26"/>
                </a:lnTo>
                <a:lnTo>
                  <a:pt x="12" y="25"/>
                </a:lnTo>
                <a:lnTo>
                  <a:pt x="13" y="19"/>
                </a:lnTo>
                <a:lnTo>
                  <a:pt x="27" y="21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9" name="Freeform 374">
            <a:extLst>
              <a:ext uri="{FF2B5EF4-FFF2-40B4-BE49-F238E27FC236}">
                <a16:creationId xmlns:a16="http://schemas.microsoft.com/office/drawing/2014/main" id="{169639E7-407D-475A-8C78-9641D90C2753}"/>
              </a:ext>
            </a:extLst>
          </p:cNvPr>
          <p:cNvSpPr>
            <a:spLocks/>
          </p:cNvSpPr>
          <p:nvPr/>
        </p:nvSpPr>
        <p:spPr bwMode="gray">
          <a:xfrm>
            <a:off x="4713199" y="2151821"/>
            <a:ext cx="15486" cy="9735"/>
          </a:xfrm>
          <a:custGeom>
            <a:avLst/>
            <a:gdLst>
              <a:gd name="T0" fmla="*/ 0 w 8"/>
              <a:gd name="T1" fmla="*/ 3 h 3"/>
              <a:gd name="T2" fmla="*/ 8 w 8"/>
              <a:gd name="T3" fmla="*/ 3 h 3"/>
              <a:gd name="T4" fmla="*/ 5 w 8"/>
              <a:gd name="T5" fmla="*/ 0 h 3"/>
              <a:gd name="T6" fmla="*/ 0 w 8"/>
              <a:gd name="T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3">
                <a:moveTo>
                  <a:pt x="0" y="3"/>
                </a:moveTo>
                <a:lnTo>
                  <a:pt x="8" y="3"/>
                </a:lnTo>
                <a:lnTo>
                  <a:pt x="5" y="0"/>
                </a:lnTo>
                <a:lnTo>
                  <a:pt x="0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0" name="Freeform 375">
            <a:extLst>
              <a:ext uri="{FF2B5EF4-FFF2-40B4-BE49-F238E27FC236}">
                <a16:creationId xmlns:a16="http://schemas.microsoft.com/office/drawing/2014/main" id="{4BE98D99-AB85-47F9-95AA-9040C6170B2C}"/>
              </a:ext>
            </a:extLst>
          </p:cNvPr>
          <p:cNvSpPr>
            <a:spLocks/>
          </p:cNvSpPr>
          <p:nvPr/>
        </p:nvSpPr>
        <p:spPr bwMode="gray">
          <a:xfrm>
            <a:off x="4553189" y="2303698"/>
            <a:ext cx="13763" cy="17526"/>
          </a:xfrm>
          <a:custGeom>
            <a:avLst/>
            <a:gdLst>
              <a:gd name="T0" fmla="*/ 4 w 7"/>
              <a:gd name="T1" fmla="*/ 0 h 10"/>
              <a:gd name="T2" fmla="*/ 0 w 7"/>
              <a:gd name="T3" fmla="*/ 7 h 10"/>
              <a:gd name="T4" fmla="*/ 0 w 7"/>
              <a:gd name="T5" fmla="*/ 9 h 10"/>
              <a:gd name="T6" fmla="*/ 7 w 7"/>
              <a:gd name="T7" fmla="*/ 10 h 10"/>
              <a:gd name="T8" fmla="*/ 7 w 7"/>
              <a:gd name="T9" fmla="*/ 9 h 10"/>
              <a:gd name="T10" fmla="*/ 4 w 7"/>
              <a:gd name="T11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10">
                <a:moveTo>
                  <a:pt x="4" y="0"/>
                </a:moveTo>
                <a:lnTo>
                  <a:pt x="0" y="7"/>
                </a:lnTo>
                <a:lnTo>
                  <a:pt x="0" y="9"/>
                </a:lnTo>
                <a:lnTo>
                  <a:pt x="7" y="10"/>
                </a:lnTo>
                <a:lnTo>
                  <a:pt x="7" y="9"/>
                </a:lnTo>
                <a:lnTo>
                  <a:pt x="4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1" name="Freeform 376">
            <a:extLst>
              <a:ext uri="{FF2B5EF4-FFF2-40B4-BE49-F238E27FC236}">
                <a16:creationId xmlns:a16="http://schemas.microsoft.com/office/drawing/2014/main" id="{A6DDF65A-2C04-4B64-9774-11C318E31DCB}"/>
              </a:ext>
            </a:extLst>
          </p:cNvPr>
          <p:cNvSpPr>
            <a:spLocks/>
          </p:cNvSpPr>
          <p:nvPr/>
        </p:nvSpPr>
        <p:spPr bwMode="gray">
          <a:xfrm>
            <a:off x="5050429" y="2348482"/>
            <a:ext cx="103232" cy="120724"/>
          </a:xfrm>
          <a:custGeom>
            <a:avLst/>
            <a:gdLst>
              <a:gd name="T0" fmla="*/ 11 w 55"/>
              <a:gd name="T1" fmla="*/ 0 h 56"/>
              <a:gd name="T2" fmla="*/ 0 w 55"/>
              <a:gd name="T3" fmla="*/ 8 h 56"/>
              <a:gd name="T4" fmla="*/ 1 w 55"/>
              <a:gd name="T5" fmla="*/ 8 h 56"/>
              <a:gd name="T6" fmla="*/ 11 w 55"/>
              <a:gd name="T7" fmla="*/ 18 h 56"/>
              <a:gd name="T8" fmla="*/ 21 w 55"/>
              <a:gd name="T9" fmla="*/ 27 h 56"/>
              <a:gd name="T10" fmla="*/ 24 w 55"/>
              <a:gd name="T11" fmla="*/ 40 h 56"/>
              <a:gd name="T12" fmla="*/ 28 w 55"/>
              <a:gd name="T13" fmla="*/ 54 h 56"/>
              <a:gd name="T14" fmla="*/ 39 w 55"/>
              <a:gd name="T15" fmla="*/ 54 h 56"/>
              <a:gd name="T16" fmla="*/ 46 w 55"/>
              <a:gd name="T17" fmla="*/ 56 h 56"/>
              <a:gd name="T18" fmla="*/ 46 w 55"/>
              <a:gd name="T19" fmla="*/ 49 h 56"/>
              <a:gd name="T20" fmla="*/ 55 w 55"/>
              <a:gd name="T21" fmla="*/ 38 h 56"/>
              <a:gd name="T22" fmla="*/ 46 w 55"/>
              <a:gd name="T23" fmla="*/ 28 h 56"/>
              <a:gd name="T24" fmla="*/ 36 w 55"/>
              <a:gd name="T25" fmla="*/ 20 h 56"/>
              <a:gd name="T26" fmla="*/ 25 w 55"/>
              <a:gd name="T27" fmla="*/ 10 h 56"/>
              <a:gd name="T28" fmla="*/ 16 w 55"/>
              <a:gd name="T29" fmla="*/ 1 h 56"/>
              <a:gd name="T30" fmla="*/ 11 w 55"/>
              <a:gd name="T31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5" h="56">
                <a:moveTo>
                  <a:pt x="11" y="0"/>
                </a:moveTo>
                <a:lnTo>
                  <a:pt x="0" y="8"/>
                </a:lnTo>
                <a:lnTo>
                  <a:pt x="1" y="8"/>
                </a:lnTo>
                <a:lnTo>
                  <a:pt x="11" y="18"/>
                </a:lnTo>
                <a:lnTo>
                  <a:pt x="21" y="27"/>
                </a:lnTo>
                <a:lnTo>
                  <a:pt x="24" y="40"/>
                </a:lnTo>
                <a:lnTo>
                  <a:pt x="28" y="54"/>
                </a:lnTo>
                <a:lnTo>
                  <a:pt x="39" y="54"/>
                </a:lnTo>
                <a:lnTo>
                  <a:pt x="46" y="56"/>
                </a:lnTo>
                <a:lnTo>
                  <a:pt x="46" y="49"/>
                </a:lnTo>
                <a:lnTo>
                  <a:pt x="55" y="38"/>
                </a:lnTo>
                <a:lnTo>
                  <a:pt x="46" y="28"/>
                </a:lnTo>
                <a:lnTo>
                  <a:pt x="36" y="20"/>
                </a:lnTo>
                <a:lnTo>
                  <a:pt x="25" y="10"/>
                </a:lnTo>
                <a:lnTo>
                  <a:pt x="16" y="1"/>
                </a:lnTo>
                <a:lnTo>
                  <a:pt x="11" y="0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2" name="Freeform 377">
            <a:extLst>
              <a:ext uri="{FF2B5EF4-FFF2-40B4-BE49-F238E27FC236}">
                <a16:creationId xmlns:a16="http://schemas.microsoft.com/office/drawing/2014/main" id="{FD2DEFA0-8C21-413F-A31E-20813A098BDE}"/>
              </a:ext>
            </a:extLst>
          </p:cNvPr>
          <p:cNvSpPr>
            <a:spLocks/>
          </p:cNvSpPr>
          <p:nvPr/>
        </p:nvSpPr>
        <p:spPr bwMode="gray">
          <a:xfrm>
            <a:off x="4525661" y="1641661"/>
            <a:ext cx="493799" cy="393327"/>
          </a:xfrm>
          <a:custGeom>
            <a:avLst/>
            <a:gdLst>
              <a:gd name="T0" fmla="*/ 147 w 258"/>
              <a:gd name="T1" fmla="*/ 23 h 183"/>
              <a:gd name="T2" fmla="*/ 144 w 258"/>
              <a:gd name="T3" fmla="*/ 21 h 183"/>
              <a:gd name="T4" fmla="*/ 140 w 258"/>
              <a:gd name="T5" fmla="*/ 23 h 183"/>
              <a:gd name="T6" fmla="*/ 129 w 258"/>
              <a:gd name="T7" fmla="*/ 22 h 183"/>
              <a:gd name="T8" fmla="*/ 124 w 258"/>
              <a:gd name="T9" fmla="*/ 32 h 183"/>
              <a:gd name="T10" fmla="*/ 123 w 258"/>
              <a:gd name="T11" fmla="*/ 38 h 183"/>
              <a:gd name="T12" fmla="*/ 112 w 258"/>
              <a:gd name="T13" fmla="*/ 41 h 183"/>
              <a:gd name="T14" fmla="*/ 105 w 258"/>
              <a:gd name="T15" fmla="*/ 41 h 183"/>
              <a:gd name="T16" fmla="*/ 104 w 258"/>
              <a:gd name="T17" fmla="*/ 47 h 183"/>
              <a:gd name="T18" fmla="*/ 98 w 258"/>
              <a:gd name="T19" fmla="*/ 52 h 183"/>
              <a:gd name="T20" fmla="*/ 88 w 258"/>
              <a:gd name="T21" fmla="*/ 58 h 183"/>
              <a:gd name="T22" fmla="*/ 80 w 258"/>
              <a:gd name="T23" fmla="*/ 65 h 183"/>
              <a:gd name="T24" fmla="*/ 80 w 258"/>
              <a:gd name="T25" fmla="*/ 69 h 183"/>
              <a:gd name="T26" fmla="*/ 78 w 258"/>
              <a:gd name="T27" fmla="*/ 80 h 183"/>
              <a:gd name="T28" fmla="*/ 67 w 258"/>
              <a:gd name="T29" fmla="*/ 86 h 183"/>
              <a:gd name="T30" fmla="*/ 63 w 258"/>
              <a:gd name="T31" fmla="*/ 90 h 183"/>
              <a:gd name="T32" fmla="*/ 50 w 258"/>
              <a:gd name="T33" fmla="*/ 101 h 183"/>
              <a:gd name="T34" fmla="*/ 64 w 258"/>
              <a:gd name="T35" fmla="*/ 98 h 183"/>
              <a:gd name="T36" fmla="*/ 51 w 258"/>
              <a:gd name="T37" fmla="*/ 106 h 183"/>
              <a:gd name="T38" fmla="*/ 37 w 258"/>
              <a:gd name="T39" fmla="*/ 108 h 183"/>
              <a:gd name="T40" fmla="*/ 32 w 258"/>
              <a:gd name="T41" fmla="*/ 112 h 183"/>
              <a:gd name="T42" fmla="*/ 19 w 258"/>
              <a:gd name="T43" fmla="*/ 116 h 183"/>
              <a:gd name="T44" fmla="*/ 24 w 258"/>
              <a:gd name="T45" fmla="*/ 118 h 183"/>
              <a:gd name="T46" fmla="*/ 20 w 258"/>
              <a:gd name="T47" fmla="*/ 124 h 183"/>
              <a:gd name="T48" fmla="*/ 8 w 258"/>
              <a:gd name="T49" fmla="*/ 123 h 183"/>
              <a:gd name="T50" fmla="*/ 0 w 258"/>
              <a:gd name="T51" fmla="*/ 125 h 183"/>
              <a:gd name="T52" fmla="*/ 0 w 258"/>
              <a:gd name="T53" fmla="*/ 130 h 183"/>
              <a:gd name="T54" fmla="*/ 2 w 258"/>
              <a:gd name="T55" fmla="*/ 135 h 183"/>
              <a:gd name="T56" fmla="*/ 24 w 258"/>
              <a:gd name="T57" fmla="*/ 136 h 183"/>
              <a:gd name="T58" fmla="*/ 22 w 258"/>
              <a:gd name="T59" fmla="*/ 141 h 183"/>
              <a:gd name="T60" fmla="*/ 2 w 258"/>
              <a:gd name="T61" fmla="*/ 143 h 183"/>
              <a:gd name="T62" fmla="*/ 7 w 258"/>
              <a:gd name="T63" fmla="*/ 146 h 183"/>
              <a:gd name="T64" fmla="*/ 7 w 258"/>
              <a:gd name="T65" fmla="*/ 152 h 183"/>
              <a:gd name="T66" fmla="*/ 19 w 258"/>
              <a:gd name="T67" fmla="*/ 148 h 183"/>
              <a:gd name="T68" fmla="*/ 9 w 258"/>
              <a:gd name="T69" fmla="*/ 159 h 183"/>
              <a:gd name="T70" fmla="*/ 4 w 258"/>
              <a:gd name="T71" fmla="*/ 166 h 183"/>
              <a:gd name="T72" fmla="*/ 13 w 258"/>
              <a:gd name="T73" fmla="*/ 166 h 183"/>
              <a:gd name="T74" fmla="*/ 8 w 258"/>
              <a:gd name="T75" fmla="*/ 178 h 183"/>
              <a:gd name="T76" fmla="*/ 52 w 258"/>
              <a:gd name="T77" fmla="*/ 168 h 183"/>
              <a:gd name="T78" fmla="*/ 64 w 258"/>
              <a:gd name="T79" fmla="*/ 158 h 183"/>
              <a:gd name="T80" fmla="*/ 80 w 258"/>
              <a:gd name="T81" fmla="*/ 156 h 183"/>
              <a:gd name="T82" fmla="*/ 86 w 258"/>
              <a:gd name="T83" fmla="*/ 135 h 183"/>
              <a:gd name="T84" fmla="*/ 76 w 258"/>
              <a:gd name="T85" fmla="*/ 102 h 183"/>
              <a:gd name="T86" fmla="*/ 90 w 258"/>
              <a:gd name="T87" fmla="*/ 89 h 183"/>
              <a:gd name="T88" fmla="*/ 106 w 258"/>
              <a:gd name="T89" fmla="*/ 65 h 183"/>
              <a:gd name="T90" fmla="*/ 132 w 258"/>
              <a:gd name="T91" fmla="*/ 39 h 183"/>
              <a:gd name="T92" fmla="*/ 150 w 258"/>
              <a:gd name="T93" fmla="*/ 27 h 183"/>
              <a:gd name="T94" fmla="*/ 174 w 258"/>
              <a:gd name="T95" fmla="*/ 29 h 183"/>
              <a:gd name="T96" fmla="*/ 205 w 258"/>
              <a:gd name="T97" fmla="*/ 29 h 183"/>
              <a:gd name="T98" fmla="*/ 240 w 258"/>
              <a:gd name="T99" fmla="*/ 18 h 183"/>
              <a:gd name="T100" fmla="*/ 258 w 258"/>
              <a:gd name="T101" fmla="*/ 21 h 183"/>
              <a:gd name="T102" fmla="*/ 246 w 258"/>
              <a:gd name="T103" fmla="*/ 17 h 183"/>
              <a:gd name="T104" fmla="*/ 248 w 258"/>
              <a:gd name="T105" fmla="*/ 5 h 183"/>
              <a:gd name="T106" fmla="*/ 229 w 258"/>
              <a:gd name="T107" fmla="*/ 12 h 183"/>
              <a:gd name="T108" fmla="*/ 224 w 258"/>
              <a:gd name="T109" fmla="*/ 0 h 183"/>
              <a:gd name="T110" fmla="*/ 208 w 258"/>
              <a:gd name="T111" fmla="*/ 3 h 183"/>
              <a:gd name="T112" fmla="*/ 198 w 258"/>
              <a:gd name="T113" fmla="*/ 3 h 183"/>
              <a:gd name="T114" fmla="*/ 178 w 258"/>
              <a:gd name="T115" fmla="*/ 12 h 183"/>
              <a:gd name="T116" fmla="*/ 160 w 258"/>
              <a:gd name="T117" fmla="*/ 12 h 183"/>
              <a:gd name="T118" fmla="*/ 159 w 258"/>
              <a:gd name="T119" fmla="*/ 16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58" h="183">
                <a:moveTo>
                  <a:pt x="152" y="18"/>
                </a:moveTo>
                <a:lnTo>
                  <a:pt x="152" y="20"/>
                </a:lnTo>
                <a:lnTo>
                  <a:pt x="147" y="23"/>
                </a:lnTo>
                <a:lnTo>
                  <a:pt x="148" y="15"/>
                </a:lnTo>
                <a:lnTo>
                  <a:pt x="147" y="20"/>
                </a:lnTo>
                <a:lnTo>
                  <a:pt x="144" y="21"/>
                </a:lnTo>
                <a:lnTo>
                  <a:pt x="142" y="16"/>
                </a:lnTo>
                <a:lnTo>
                  <a:pt x="139" y="20"/>
                </a:lnTo>
                <a:lnTo>
                  <a:pt x="140" y="23"/>
                </a:lnTo>
                <a:lnTo>
                  <a:pt x="133" y="22"/>
                </a:lnTo>
                <a:lnTo>
                  <a:pt x="134" y="23"/>
                </a:lnTo>
                <a:lnTo>
                  <a:pt x="129" y="22"/>
                </a:lnTo>
                <a:lnTo>
                  <a:pt x="126" y="26"/>
                </a:lnTo>
                <a:lnTo>
                  <a:pt x="126" y="32"/>
                </a:lnTo>
                <a:lnTo>
                  <a:pt x="124" y="32"/>
                </a:lnTo>
                <a:lnTo>
                  <a:pt x="112" y="34"/>
                </a:lnTo>
                <a:lnTo>
                  <a:pt x="124" y="35"/>
                </a:lnTo>
                <a:lnTo>
                  <a:pt x="123" y="38"/>
                </a:lnTo>
                <a:lnTo>
                  <a:pt x="115" y="38"/>
                </a:lnTo>
                <a:lnTo>
                  <a:pt x="114" y="39"/>
                </a:lnTo>
                <a:lnTo>
                  <a:pt x="112" y="41"/>
                </a:lnTo>
                <a:lnTo>
                  <a:pt x="111" y="44"/>
                </a:lnTo>
                <a:lnTo>
                  <a:pt x="108" y="40"/>
                </a:lnTo>
                <a:lnTo>
                  <a:pt x="105" y="41"/>
                </a:lnTo>
                <a:lnTo>
                  <a:pt x="97" y="46"/>
                </a:lnTo>
                <a:lnTo>
                  <a:pt x="108" y="45"/>
                </a:lnTo>
                <a:lnTo>
                  <a:pt x="104" y="47"/>
                </a:lnTo>
                <a:lnTo>
                  <a:pt x="105" y="50"/>
                </a:lnTo>
                <a:lnTo>
                  <a:pt x="98" y="50"/>
                </a:lnTo>
                <a:lnTo>
                  <a:pt x="98" y="52"/>
                </a:lnTo>
                <a:lnTo>
                  <a:pt x="105" y="54"/>
                </a:lnTo>
                <a:lnTo>
                  <a:pt x="96" y="54"/>
                </a:lnTo>
                <a:lnTo>
                  <a:pt x="88" y="58"/>
                </a:lnTo>
                <a:lnTo>
                  <a:pt x="82" y="62"/>
                </a:lnTo>
                <a:lnTo>
                  <a:pt x="84" y="62"/>
                </a:lnTo>
                <a:lnTo>
                  <a:pt x="80" y="65"/>
                </a:lnTo>
                <a:lnTo>
                  <a:pt x="82" y="65"/>
                </a:lnTo>
                <a:lnTo>
                  <a:pt x="90" y="66"/>
                </a:lnTo>
                <a:lnTo>
                  <a:pt x="80" y="69"/>
                </a:lnTo>
                <a:lnTo>
                  <a:pt x="76" y="72"/>
                </a:lnTo>
                <a:lnTo>
                  <a:pt x="78" y="76"/>
                </a:lnTo>
                <a:lnTo>
                  <a:pt x="78" y="80"/>
                </a:lnTo>
                <a:lnTo>
                  <a:pt x="80" y="80"/>
                </a:lnTo>
                <a:lnTo>
                  <a:pt x="67" y="84"/>
                </a:lnTo>
                <a:lnTo>
                  <a:pt x="67" y="86"/>
                </a:lnTo>
                <a:lnTo>
                  <a:pt x="72" y="83"/>
                </a:lnTo>
                <a:lnTo>
                  <a:pt x="69" y="89"/>
                </a:lnTo>
                <a:lnTo>
                  <a:pt x="63" y="90"/>
                </a:lnTo>
                <a:lnTo>
                  <a:pt x="60" y="92"/>
                </a:lnTo>
                <a:lnTo>
                  <a:pt x="52" y="98"/>
                </a:lnTo>
                <a:lnTo>
                  <a:pt x="50" y="101"/>
                </a:lnTo>
                <a:lnTo>
                  <a:pt x="54" y="104"/>
                </a:lnTo>
                <a:lnTo>
                  <a:pt x="60" y="100"/>
                </a:lnTo>
                <a:lnTo>
                  <a:pt x="64" y="98"/>
                </a:lnTo>
                <a:lnTo>
                  <a:pt x="64" y="101"/>
                </a:lnTo>
                <a:lnTo>
                  <a:pt x="56" y="106"/>
                </a:lnTo>
                <a:lnTo>
                  <a:pt x="51" y="106"/>
                </a:lnTo>
                <a:lnTo>
                  <a:pt x="43" y="105"/>
                </a:lnTo>
                <a:lnTo>
                  <a:pt x="42" y="106"/>
                </a:lnTo>
                <a:lnTo>
                  <a:pt x="37" y="108"/>
                </a:lnTo>
                <a:lnTo>
                  <a:pt x="33" y="112"/>
                </a:lnTo>
                <a:lnTo>
                  <a:pt x="34" y="113"/>
                </a:lnTo>
                <a:lnTo>
                  <a:pt x="32" y="112"/>
                </a:lnTo>
                <a:lnTo>
                  <a:pt x="34" y="116"/>
                </a:lnTo>
                <a:lnTo>
                  <a:pt x="20" y="112"/>
                </a:lnTo>
                <a:lnTo>
                  <a:pt x="19" y="116"/>
                </a:lnTo>
                <a:lnTo>
                  <a:pt x="24" y="116"/>
                </a:lnTo>
                <a:lnTo>
                  <a:pt x="28" y="116"/>
                </a:lnTo>
                <a:lnTo>
                  <a:pt x="24" y="118"/>
                </a:lnTo>
                <a:lnTo>
                  <a:pt x="14" y="119"/>
                </a:lnTo>
                <a:lnTo>
                  <a:pt x="21" y="123"/>
                </a:lnTo>
                <a:lnTo>
                  <a:pt x="20" y="124"/>
                </a:lnTo>
                <a:lnTo>
                  <a:pt x="13" y="120"/>
                </a:lnTo>
                <a:lnTo>
                  <a:pt x="14" y="123"/>
                </a:lnTo>
                <a:lnTo>
                  <a:pt x="8" y="123"/>
                </a:lnTo>
                <a:lnTo>
                  <a:pt x="9" y="125"/>
                </a:lnTo>
                <a:lnTo>
                  <a:pt x="3" y="125"/>
                </a:lnTo>
                <a:lnTo>
                  <a:pt x="0" y="125"/>
                </a:lnTo>
                <a:lnTo>
                  <a:pt x="0" y="128"/>
                </a:lnTo>
                <a:lnTo>
                  <a:pt x="15" y="129"/>
                </a:lnTo>
                <a:lnTo>
                  <a:pt x="0" y="130"/>
                </a:lnTo>
                <a:lnTo>
                  <a:pt x="4" y="134"/>
                </a:lnTo>
                <a:lnTo>
                  <a:pt x="1" y="135"/>
                </a:lnTo>
                <a:lnTo>
                  <a:pt x="2" y="135"/>
                </a:lnTo>
                <a:lnTo>
                  <a:pt x="0" y="138"/>
                </a:lnTo>
                <a:lnTo>
                  <a:pt x="15" y="137"/>
                </a:lnTo>
                <a:lnTo>
                  <a:pt x="24" y="136"/>
                </a:lnTo>
                <a:lnTo>
                  <a:pt x="25" y="135"/>
                </a:lnTo>
                <a:lnTo>
                  <a:pt x="26" y="140"/>
                </a:lnTo>
                <a:lnTo>
                  <a:pt x="22" y="141"/>
                </a:lnTo>
                <a:lnTo>
                  <a:pt x="14" y="140"/>
                </a:lnTo>
                <a:lnTo>
                  <a:pt x="0" y="141"/>
                </a:lnTo>
                <a:lnTo>
                  <a:pt x="2" y="143"/>
                </a:lnTo>
                <a:lnTo>
                  <a:pt x="2" y="144"/>
                </a:lnTo>
                <a:lnTo>
                  <a:pt x="0" y="144"/>
                </a:lnTo>
                <a:lnTo>
                  <a:pt x="7" y="146"/>
                </a:lnTo>
                <a:lnTo>
                  <a:pt x="4" y="149"/>
                </a:lnTo>
                <a:lnTo>
                  <a:pt x="1" y="152"/>
                </a:lnTo>
                <a:lnTo>
                  <a:pt x="7" y="152"/>
                </a:lnTo>
                <a:lnTo>
                  <a:pt x="9" y="154"/>
                </a:lnTo>
                <a:lnTo>
                  <a:pt x="14" y="149"/>
                </a:lnTo>
                <a:lnTo>
                  <a:pt x="19" y="148"/>
                </a:lnTo>
                <a:lnTo>
                  <a:pt x="15" y="153"/>
                </a:lnTo>
                <a:lnTo>
                  <a:pt x="15" y="149"/>
                </a:lnTo>
                <a:lnTo>
                  <a:pt x="9" y="159"/>
                </a:lnTo>
                <a:lnTo>
                  <a:pt x="10" y="159"/>
                </a:lnTo>
                <a:lnTo>
                  <a:pt x="4" y="161"/>
                </a:lnTo>
                <a:lnTo>
                  <a:pt x="4" y="166"/>
                </a:lnTo>
                <a:lnTo>
                  <a:pt x="9" y="164"/>
                </a:lnTo>
                <a:lnTo>
                  <a:pt x="13" y="162"/>
                </a:lnTo>
                <a:lnTo>
                  <a:pt x="13" y="166"/>
                </a:lnTo>
                <a:lnTo>
                  <a:pt x="13" y="170"/>
                </a:lnTo>
                <a:lnTo>
                  <a:pt x="8" y="171"/>
                </a:lnTo>
                <a:lnTo>
                  <a:pt x="8" y="178"/>
                </a:lnTo>
                <a:lnTo>
                  <a:pt x="18" y="183"/>
                </a:lnTo>
                <a:lnTo>
                  <a:pt x="33" y="183"/>
                </a:lnTo>
                <a:lnTo>
                  <a:pt x="52" y="168"/>
                </a:lnTo>
                <a:lnTo>
                  <a:pt x="60" y="168"/>
                </a:lnTo>
                <a:lnTo>
                  <a:pt x="61" y="160"/>
                </a:lnTo>
                <a:lnTo>
                  <a:pt x="64" y="158"/>
                </a:lnTo>
                <a:lnTo>
                  <a:pt x="67" y="167"/>
                </a:lnTo>
                <a:lnTo>
                  <a:pt x="73" y="171"/>
                </a:lnTo>
                <a:lnTo>
                  <a:pt x="80" y="156"/>
                </a:lnTo>
                <a:lnTo>
                  <a:pt x="81" y="143"/>
                </a:lnTo>
                <a:lnTo>
                  <a:pt x="81" y="140"/>
                </a:lnTo>
                <a:lnTo>
                  <a:pt x="86" y="135"/>
                </a:lnTo>
                <a:lnTo>
                  <a:pt x="78" y="130"/>
                </a:lnTo>
                <a:lnTo>
                  <a:pt x="76" y="116"/>
                </a:lnTo>
                <a:lnTo>
                  <a:pt x="76" y="102"/>
                </a:lnTo>
                <a:lnTo>
                  <a:pt x="86" y="96"/>
                </a:lnTo>
                <a:lnTo>
                  <a:pt x="96" y="95"/>
                </a:lnTo>
                <a:lnTo>
                  <a:pt x="90" y="89"/>
                </a:lnTo>
                <a:lnTo>
                  <a:pt x="98" y="71"/>
                </a:lnTo>
                <a:lnTo>
                  <a:pt x="97" y="68"/>
                </a:lnTo>
                <a:lnTo>
                  <a:pt x="106" y="65"/>
                </a:lnTo>
                <a:lnTo>
                  <a:pt x="111" y="57"/>
                </a:lnTo>
                <a:lnTo>
                  <a:pt x="117" y="42"/>
                </a:lnTo>
                <a:lnTo>
                  <a:pt x="132" y="39"/>
                </a:lnTo>
                <a:lnTo>
                  <a:pt x="133" y="34"/>
                </a:lnTo>
                <a:lnTo>
                  <a:pt x="151" y="34"/>
                </a:lnTo>
                <a:lnTo>
                  <a:pt x="150" y="27"/>
                </a:lnTo>
                <a:lnTo>
                  <a:pt x="154" y="27"/>
                </a:lnTo>
                <a:lnTo>
                  <a:pt x="162" y="23"/>
                </a:lnTo>
                <a:lnTo>
                  <a:pt x="174" y="29"/>
                </a:lnTo>
                <a:lnTo>
                  <a:pt x="186" y="32"/>
                </a:lnTo>
                <a:lnTo>
                  <a:pt x="199" y="33"/>
                </a:lnTo>
                <a:lnTo>
                  <a:pt x="205" y="29"/>
                </a:lnTo>
                <a:lnTo>
                  <a:pt x="208" y="18"/>
                </a:lnTo>
                <a:lnTo>
                  <a:pt x="223" y="14"/>
                </a:lnTo>
                <a:lnTo>
                  <a:pt x="240" y="18"/>
                </a:lnTo>
                <a:lnTo>
                  <a:pt x="241" y="27"/>
                </a:lnTo>
                <a:lnTo>
                  <a:pt x="252" y="21"/>
                </a:lnTo>
                <a:lnTo>
                  <a:pt x="258" y="21"/>
                </a:lnTo>
                <a:lnTo>
                  <a:pt x="258" y="16"/>
                </a:lnTo>
                <a:lnTo>
                  <a:pt x="252" y="16"/>
                </a:lnTo>
                <a:lnTo>
                  <a:pt x="246" y="17"/>
                </a:lnTo>
                <a:lnTo>
                  <a:pt x="237" y="12"/>
                </a:lnTo>
                <a:lnTo>
                  <a:pt x="258" y="10"/>
                </a:lnTo>
                <a:lnTo>
                  <a:pt x="248" y="5"/>
                </a:lnTo>
                <a:lnTo>
                  <a:pt x="238" y="4"/>
                </a:lnTo>
                <a:lnTo>
                  <a:pt x="230" y="5"/>
                </a:lnTo>
                <a:lnTo>
                  <a:pt x="229" y="12"/>
                </a:lnTo>
                <a:lnTo>
                  <a:pt x="228" y="8"/>
                </a:lnTo>
                <a:lnTo>
                  <a:pt x="226" y="5"/>
                </a:lnTo>
                <a:lnTo>
                  <a:pt x="224" y="0"/>
                </a:lnTo>
                <a:lnTo>
                  <a:pt x="218" y="3"/>
                </a:lnTo>
                <a:lnTo>
                  <a:pt x="212" y="9"/>
                </a:lnTo>
                <a:lnTo>
                  <a:pt x="208" y="3"/>
                </a:lnTo>
                <a:lnTo>
                  <a:pt x="196" y="12"/>
                </a:lnTo>
                <a:lnTo>
                  <a:pt x="201" y="4"/>
                </a:lnTo>
                <a:lnTo>
                  <a:pt x="198" y="3"/>
                </a:lnTo>
                <a:lnTo>
                  <a:pt x="190" y="3"/>
                </a:lnTo>
                <a:lnTo>
                  <a:pt x="190" y="5"/>
                </a:lnTo>
                <a:lnTo>
                  <a:pt x="178" y="12"/>
                </a:lnTo>
                <a:lnTo>
                  <a:pt x="171" y="12"/>
                </a:lnTo>
                <a:lnTo>
                  <a:pt x="172" y="11"/>
                </a:lnTo>
                <a:lnTo>
                  <a:pt x="160" y="12"/>
                </a:lnTo>
                <a:lnTo>
                  <a:pt x="168" y="14"/>
                </a:lnTo>
                <a:lnTo>
                  <a:pt x="166" y="16"/>
                </a:lnTo>
                <a:lnTo>
                  <a:pt x="159" y="16"/>
                </a:lnTo>
                <a:lnTo>
                  <a:pt x="152" y="18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3" name="Freeform 378">
            <a:extLst>
              <a:ext uri="{FF2B5EF4-FFF2-40B4-BE49-F238E27FC236}">
                <a16:creationId xmlns:a16="http://schemas.microsoft.com/office/drawing/2014/main" id="{EE9EF517-954D-4211-8540-E9DF1A20366B}"/>
              </a:ext>
            </a:extLst>
          </p:cNvPr>
          <p:cNvSpPr>
            <a:spLocks/>
          </p:cNvSpPr>
          <p:nvPr/>
        </p:nvSpPr>
        <p:spPr bwMode="gray">
          <a:xfrm>
            <a:off x="4601365" y="1398266"/>
            <a:ext cx="184099" cy="91516"/>
          </a:xfrm>
          <a:custGeom>
            <a:avLst/>
            <a:gdLst>
              <a:gd name="T0" fmla="*/ 23 w 96"/>
              <a:gd name="T1" fmla="*/ 3 h 42"/>
              <a:gd name="T2" fmla="*/ 10 w 96"/>
              <a:gd name="T3" fmla="*/ 3 h 42"/>
              <a:gd name="T4" fmla="*/ 0 w 96"/>
              <a:gd name="T5" fmla="*/ 5 h 42"/>
              <a:gd name="T6" fmla="*/ 2 w 96"/>
              <a:gd name="T7" fmla="*/ 9 h 42"/>
              <a:gd name="T8" fmla="*/ 10 w 96"/>
              <a:gd name="T9" fmla="*/ 9 h 42"/>
              <a:gd name="T10" fmla="*/ 10 w 96"/>
              <a:gd name="T11" fmla="*/ 12 h 42"/>
              <a:gd name="T12" fmla="*/ 4 w 96"/>
              <a:gd name="T13" fmla="*/ 13 h 42"/>
              <a:gd name="T14" fmla="*/ 15 w 96"/>
              <a:gd name="T15" fmla="*/ 18 h 42"/>
              <a:gd name="T16" fmla="*/ 26 w 96"/>
              <a:gd name="T17" fmla="*/ 21 h 42"/>
              <a:gd name="T18" fmla="*/ 33 w 96"/>
              <a:gd name="T19" fmla="*/ 19 h 42"/>
              <a:gd name="T20" fmla="*/ 39 w 96"/>
              <a:gd name="T21" fmla="*/ 15 h 42"/>
              <a:gd name="T22" fmla="*/ 40 w 96"/>
              <a:gd name="T23" fmla="*/ 18 h 42"/>
              <a:gd name="T24" fmla="*/ 51 w 96"/>
              <a:gd name="T25" fmla="*/ 15 h 42"/>
              <a:gd name="T26" fmla="*/ 52 w 96"/>
              <a:gd name="T27" fmla="*/ 19 h 42"/>
              <a:gd name="T28" fmla="*/ 29 w 96"/>
              <a:gd name="T29" fmla="*/ 23 h 42"/>
              <a:gd name="T30" fmla="*/ 27 w 96"/>
              <a:gd name="T31" fmla="*/ 26 h 42"/>
              <a:gd name="T32" fmla="*/ 54 w 96"/>
              <a:gd name="T33" fmla="*/ 26 h 42"/>
              <a:gd name="T34" fmla="*/ 44 w 96"/>
              <a:gd name="T35" fmla="*/ 27 h 42"/>
              <a:gd name="T36" fmla="*/ 48 w 96"/>
              <a:gd name="T37" fmla="*/ 30 h 42"/>
              <a:gd name="T38" fmla="*/ 32 w 96"/>
              <a:gd name="T39" fmla="*/ 31 h 42"/>
              <a:gd name="T40" fmla="*/ 50 w 96"/>
              <a:gd name="T41" fmla="*/ 37 h 42"/>
              <a:gd name="T42" fmla="*/ 57 w 96"/>
              <a:gd name="T43" fmla="*/ 42 h 42"/>
              <a:gd name="T44" fmla="*/ 59 w 96"/>
              <a:gd name="T45" fmla="*/ 38 h 42"/>
              <a:gd name="T46" fmla="*/ 68 w 96"/>
              <a:gd name="T47" fmla="*/ 30 h 42"/>
              <a:gd name="T48" fmla="*/ 72 w 96"/>
              <a:gd name="T49" fmla="*/ 24 h 42"/>
              <a:gd name="T50" fmla="*/ 75 w 96"/>
              <a:gd name="T51" fmla="*/ 20 h 42"/>
              <a:gd name="T52" fmla="*/ 96 w 96"/>
              <a:gd name="T53" fmla="*/ 15 h 42"/>
              <a:gd name="T54" fmla="*/ 71 w 96"/>
              <a:gd name="T55" fmla="*/ 11 h 42"/>
              <a:gd name="T56" fmla="*/ 69 w 96"/>
              <a:gd name="T57" fmla="*/ 6 h 42"/>
              <a:gd name="T58" fmla="*/ 62 w 96"/>
              <a:gd name="T59" fmla="*/ 7 h 42"/>
              <a:gd name="T60" fmla="*/ 60 w 96"/>
              <a:gd name="T61" fmla="*/ 5 h 42"/>
              <a:gd name="T62" fmla="*/ 48 w 96"/>
              <a:gd name="T63" fmla="*/ 0 h 42"/>
              <a:gd name="T64" fmla="*/ 50 w 96"/>
              <a:gd name="T65" fmla="*/ 13 h 42"/>
              <a:gd name="T66" fmla="*/ 34 w 96"/>
              <a:gd name="T67" fmla="*/ 3 h 42"/>
              <a:gd name="T68" fmla="*/ 27 w 96"/>
              <a:gd name="T69" fmla="*/ 7 h 42"/>
              <a:gd name="T70" fmla="*/ 20 w 96"/>
              <a:gd name="T71" fmla="*/ 5 h 42"/>
              <a:gd name="T72" fmla="*/ 23 w 96"/>
              <a:gd name="T73" fmla="*/ 3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6" h="42">
                <a:moveTo>
                  <a:pt x="23" y="3"/>
                </a:moveTo>
                <a:lnTo>
                  <a:pt x="10" y="3"/>
                </a:lnTo>
                <a:lnTo>
                  <a:pt x="0" y="5"/>
                </a:lnTo>
                <a:lnTo>
                  <a:pt x="2" y="9"/>
                </a:lnTo>
                <a:lnTo>
                  <a:pt x="10" y="9"/>
                </a:lnTo>
                <a:lnTo>
                  <a:pt x="10" y="12"/>
                </a:lnTo>
                <a:lnTo>
                  <a:pt x="4" y="13"/>
                </a:lnTo>
                <a:lnTo>
                  <a:pt x="15" y="18"/>
                </a:lnTo>
                <a:lnTo>
                  <a:pt x="26" y="21"/>
                </a:lnTo>
                <a:lnTo>
                  <a:pt x="33" y="19"/>
                </a:lnTo>
                <a:lnTo>
                  <a:pt x="39" y="15"/>
                </a:lnTo>
                <a:lnTo>
                  <a:pt x="40" y="18"/>
                </a:lnTo>
                <a:lnTo>
                  <a:pt x="51" y="15"/>
                </a:lnTo>
                <a:lnTo>
                  <a:pt x="52" y="19"/>
                </a:lnTo>
                <a:lnTo>
                  <a:pt x="29" y="23"/>
                </a:lnTo>
                <a:lnTo>
                  <a:pt x="27" y="26"/>
                </a:lnTo>
                <a:lnTo>
                  <a:pt x="54" y="26"/>
                </a:lnTo>
                <a:lnTo>
                  <a:pt x="44" y="27"/>
                </a:lnTo>
                <a:lnTo>
                  <a:pt x="48" y="30"/>
                </a:lnTo>
                <a:lnTo>
                  <a:pt x="32" y="31"/>
                </a:lnTo>
                <a:lnTo>
                  <a:pt x="50" y="37"/>
                </a:lnTo>
                <a:lnTo>
                  <a:pt x="57" y="42"/>
                </a:lnTo>
                <a:lnTo>
                  <a:pt x="59" y="38"/>
                </a:lnTo>
                <a:lnTo>
                  <a:pt x="68" y="30"/>
                </a:lnTo>
                <a:lnTo>
                  <a:pt x="72" y="24"/>
                </a:lnTo>
                <a:lnTo>
                  <a:pt x="75" y="20"/>
                </a:lnTo>
                <a:lnTo>
                  <a:pt x="96" y="15"/>
                </a:lnTo>
                <a:lnTo>
                  <a:pt x="71" y="11"/>
                </a:lnTo>
                <a:lnTo>
                  <a:pt x="69" y="6"/>
                </a:lnTo>
                <a:lnTo>
                  <a:pt x="62" y="7"/>
                </a:lnTo>
                <a:lnTo>
                  <a:pt x="60" y="5"/>
                </a:lnTo>
                <a:lnTo>
                  <a:pt x="48" y="0"/>
                </a:lnTo>
                <a:lnTo>
                  <a:pt x="50" y="13"/>
                </a:lnTo>
                <a:lnTo>
                  <a:pt x="34" y="3"/>
                </a:lnTo>
                <a:lnTo>
                  <a:pt x="27" y="7"/>
                </a:lnTo>
                <a:lnTo>
                  <a:pt x="20" y="5"/>
                </a:lnTo>
                <a:lnTo>
                  <a:pt x="23" y="3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4" name="Freeform 379">
            <a:extLst>
              <a:ext uri="{FF2B5EF4-FFF2-40B4-BE49-F238E27FC236}">
                <a16:creationId xmlns:a16="http://schemas.microsoft.com/office/drawing/2014/main" id="{5261C0A3-9355-4546-AC85-DB95156CB2A9}"/>
              </a:ext>
            </a:extLst>
          </p:cNvPr>
          <p:cNvSpPr>
            <a:spLocks/>
          </p:cNvSpPr>
          <p:nvPr/>
        </p:nvSpPr>
        <p:spPr bwMode="gray">
          <a:xfrm>
            <a:off x="4720083" y="1394373"/>
            <a:ext cx="158291" cy="25313"/>
          </a:xfrm>
          <a:custGeom>
            <a:avLst/>
            <a:gdLst>
              <a:gd name="T0" fmla="*/ 35 w 80"/>
              <a:gd name="T1" fmla="*/ 4 h 13"/>
              <a:gd name="T2" fmla="*/ 13 w 80"/>
              <a:gd name="T3" fmla="*/ 1 h 13"/>
              <a:gd name="T4" fmla="*/ 8 w 80"/>
              <a:gd name="T5" fmla="*/ 3 h 13"/>
              <a:gd name="T6" fmla="*/ 0 w 80"/>
              <a:gd name="T7" fmla="*/ 4 h 13"/>
              <a:gd name="T8" fmla="*/ 0 w 80"/>
              <a:gd name="T9" fmla="*/ 6 h 13"/>
              <a:gd name="T10" fmla="*/ 32 w 80"/>
              <a:gd name="T11" fmla="*/ 7 h 13"/>
              <a:gd name="T12" fmla="*/ 17 w 80"/>
              <a:gd name="T13" fmla="*/ 10 h 13"/>
              <a:gd name="T14" fmla="*/ 42 w 80"/>
              <a:gd name="T15" fmla="*/ 13 h 13"/>
              <a:gd name="T16" fmla="*/ 68 w 80"/>
              <a:gd name="T17" fmla="*/ 11 h 13"/>
              <a:gd name="T18" fmla="*/ 80 w 80"/>
              <a:gd name="T19" fmla="*/ 6 h 13"/>
              <a:gd name="T20" fmla="*/ 73 w 80"/>
              <a:gd name="T21" fmla="*/ 3 h 13"/>
              <a:gd name="T22" fmla="*/ 48 w 80"/>
              <a:gd name="T23" fmla="*/ 3 h 13"/>
              <a:gd name="T24" fmla="*/ 44 w 80"/>
              <a:gd name="T25" fmla="*/ 1 h 13"/>
              <a:gd name="T26" fmla="*/ 39 w 80"/>
              <a:gd name="T27" fmla="*/ 0 h 13"/>
              <a:gd name="T28" fmla="*/ 36 w 80"/>
              <a:gd name="T29" fmla="*/ 1 h 13"/>
              <a:gd name="T30" fmla="*/ 35 w 80"/>
              <a:gd name="T31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0" h="13">
                <a:moveTo>
                  <a:pt x="35" y="4"/>
                </a:moveTo>
                <a:lnTo>
                  <a:pt x="13" y="1"/>
                </a:lnTo>
                <a:lnTo>
                  <a:pt x="8" y="3"/>
                </a:lnTo>
                <a:lnTo>
                  <a:pt x="0" y="4"/>
                </a:lnTo>
                <a:lnTo>
                  <a:pt x="0" y="6"/>
                </a:lnTo>
                <a:lnTo>
                  <a:pt x="32" y="7"/>
                </a:lnTo>
                <a:lnTo>
                  <a:pt x="17" y="10"/>
                </a:lnTo>
                <a:lnTo>
                  <a:pt x="42" y="13"/>
                </a:lnTo>
                <a:lnTo>
                  <a:pt x="68" y="11"/>
                </a:lnTo>
                <a:lnTo>
                  <a:pt x="80" y="6"/>
                </a:lnTo>
                <a:lnTo>
                  <a:pt x="73" y="3"/>
                </a:lnTo>
                <a:lnTo>
                  <a:pt x="48" y="3"/>
                </a:lnTo>
                <a:lnTo>
                  <a:pt x="44" y="1"/>
                </a:lnTo>
                <a:lnTo>
                  <a:pt x="39" y="0"/>
                </a:lnTo>
                <a:lnTo>
                  <a:pt x="36" y="1"/>
                </a:lnTo>
                <a:lnTo>
                  <a:pt x="35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5" name="Freeform 380">
            <a:extLst>
              <a:ext uri="{FF2B5EF4-FFF2-40B4-BE49-F238E27FC236}">
                <a16:creationId xmlns:a16="http://schemas.microsoft.com/office/drawing/2014/main" id="{338E26C3-DE01-4026-A349-38934AA36D64}"/>
              </a:ext>
            </a:extLst>
          </p:cNvPr>
          <p:cNvSpPr>
            <a:spLocks/>
          </p:cNvSpPr>
          <p:nvPr/>
        </p:nvSpPr>
        <p:spPr bwMode="gray">
          <a:xfrm>
            <a:off x="4778581" y="1450842"/>
            <a:ext cx="72265" cy="17526"/>
          </a:xfrm>
          <a:custGeom>
            <a:avLst/>
            <a:gdLst>
              <a:gd name="T0" fmla="*/ 28 w 38"/>
              <a:gd name="T1" fmla="*/ 8 h 8"/>
              <a:gd name="T2" fmla="*/ 16 w 38"/>
              <a:gd name="T3" fmla="*/ 8 h 8"/>
              <a:gd name="T4" fmla="*/ 4 w 38"/>
              <a:gd name="T5" fmla="*/ 8 h 8"/>
              <a:gd name="T6" fmla="*/ 7 w 38"/>
              <a:gd name="T7" fmla="*/ 3 h 8"/>
              <a:gd name="T8" fmla="*/ 0 w 38"/>
              <a:gd name="T9" fmla="*/ 0 h 8"/>
              <a:gd name="T10" fmla="*/ 22 w 38"/>
              <a:gd name="T11" fmla="*/ 0 h 8"/>
              <a:gd name="T12" fmla="*/ 38 w 38"/>
              <a:gd name="T13" fmla="*/ 4 h 8"/>
              <a:gd name="T14" fmla="*/ 28 w 38"/>
              <a:gd name="T15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" h="8">
                <a:moveTo>
                  <a:pt x="28" y="8"/>
                </a:moveTo>
                <a:lnTo>
                  <a:pt x="16" y="8"/>
                </a:lnTo>
                <a:lnTo>
                  <a:pt x="4" y="8"/>
                </a:lnTo>
                <a:lnTo>
                  <a:pt x="7" y="3"/>
                </a:lnTo>
                <a:lnTo>
                  <a:pt x="0" y="0"/>
                </a:lnTo>
                <a:lnTo>
                  <a:pt x="22" y="0"/>
                </a:lnTo>
                <a:lnTo>
                  <a:pt x="38" y="4"/>
                </a:lnTo>
                <a:lnTo>
                  <a:pt x="28" y="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6" name="Freeform 381">
            <a:extLst>
              <a:ext uri="{FF2B5EF4-FFF2-40B4-BE49-F238E27FC236}">
                <a16:creationId xmlns:a16="http://schemas.microsoft.com/office/drawing/2014/main" id="{983759EE-0876-4F90-AE89-950CB50B24C7}"/>
              </a:ext>
            </a:extLst>
          </p:cNvPr>
          <p:cNvSpPr>
            <a:spLocks/>
          </p:cNvSpPr>
          <p:nvPr/>
        </p:nvSpPr>
        <p:spPr bwMode="gray">
          <a:xfrm>
            <a:off x="4716642" y="1705921"/>
            <a:ext cx="24088" cy="13630"/>
          </a:xfrm>
          <a:custGeom>
            <a:avLst/>
            <a:gdLst>
              <a:gd name="T0" fmla="*/ 7 w 13"/>
              <a:gd name="T1" fmla="*/ 0 h 7"/>
              <a:gd name="T2" fmla="*/ 3 w 13"/>
              <a:gd name="T3" fmla="*/ 6 h 7"/>
              <a:gd name="T4" fmla="*/ 0 w 13"/>
              <a:gd name="T5" fmla="*/ 7 h 7"/>
              <a:gd name="T6" fmla="*/ 5 w 13"/>
              <a:gd name="T7" fmla="*/ 6 h 7"/>
              <a:gd name="T8" fmla="*/ 7 w 13"/>
              <a:gd name="T9" fmla="*/ 7 h 7"/>
              <a:gd name="T10" fmla="*/ 13 w 13"/>
              <a:gd name="T11" fmla="*/ 1 h 7"/>
              <a:gd name="T12" fmla="*/ 9 w 13"/>
              <a:gd name="T13" fmla="*/ 4 h 7"/>
              <a:gd name="T14" fmla="*/ 7 w 13"/>
              <a:gd name="T1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7">
                <a:moveTo>
                  <a:pt x="7" y="0"/>
                </a:moveTo>
                <a:lnTo>
                  <a:pt x="3" y="6"/>
                </a:lnTo>
                <a:lnTo>
                  <a:pt x="0" y="7"/>
                </a:lnTo>
                <a:lnTo>
                  <a:pt x="5" y="6"/>
                </a:lnTo>
                <a:lnTo>
                  <a:pt x="7" y="7"/>
                </a:lnTo>
                <a:lnTo>
                  <a:pt x="13" y="1"/>
                </a:lnTo>
                <a:lnTo>
                  <a:pt x="9" y="4"/>
                </a:lnTo>
                <a:lnTo>
                  <a:pt x="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7" name="Freeform 382">
            <a:extLst>
              <a:ext uri="{FF2B5EF4-FFF2-40B4-BE49-F238E27FC236}">
                <a16:creationId xmlns:a16="http://schemas.microsoft.com/office/drawing/2014/main" id="{BCE8210B-B677-4FD1-8FDE-8AD01B8287E4}"/>
              </a:ext>
            </a:extLst>
          </p:cNvPr>
          <p:cNvSpPr>
            <a:spLocks/>
          </p:cNvSpPr>
          <p:nvPr/>
        </p:nvSpPr>
        <p:spPr bwMode="gray">
          <a:xfrm>
            <a:off x="4819876" y="1670869"/>
            <a:ext cx="261524" cy="307650"/>
          </a:xfrm>
          <a:custGeom>
            <a:avLst/>
            <a:gdLst>
              <a:gd name="T0" fmla="*/ 114 w 136"/>
              <a:gd name="T1" fmla="*/ 76 h 142"/>
              <a:gd name="T2" fmla="*/ 111 w 136"/>
              <a:gd name="T3" fmla="*/ 72 h 142"/>
              <a:gd name="T4" fmla="*/ 110 w 136"/>
              <a:gd name="T5" fmla="*/ 60 h 142"/>
              <a:gd name="T6" fmla="*/ 96 w 136"/>
              <a:gd name="T7" fmla="*/ 44 h 142"/>
              <a:gd name="T8" fmla="*/ 102 w 136"/>
              <a:gd name="T9" fmla="*/ 33 h 142"/>
              <a:gd name="T10" fmla="*/ 87 w 136"/>
              <a:gd name="T11" fmla="*/ 25 h 142"/>
              <a:gd name="T12" fmla="*/ 86 w 136"/>
              <a:gd name="T13" fmla="*/ 15 h 142"/>
              <a:gd name="T14" fmla="*/ 87 w 136"/>
              <a:gd name="T15" fmla="*/ 13 h 142"/>
              <a:gd name="T16" fmla="*/ 86 w 136"/>
              <a:gd name="T17" fmla="*/ 4 h 142"/>
              <a:gd name="T18" fmla="*/ 69 w 136"/>
              <a:gd name="T19" fmla="*/ 0 h 142"/>
              <a:gd name="T20" fmla="*/ 54 w 136"/>
              <a:gd name="T21" fmla="*/ 4 h 142"/>
              <a:gd name="T22" fmla="*/ 51 w 136"/>
              <a:gd name="T23" fmla="*/ 15 h 142"/>
              <a:gd name="T24" fmla="*/ 45 w 136"/>
              <a:gd name="T25" fmla="*/ 19 h 142"/>
              <a:gd name="T26" fmla="*/ 32 w 136"/>
              <a:gd name="T27" fmla="*/ 18 h 142"/>
              <a:gd name="T28" fmla="*/ 20 w 136"/>
              <a:gd name="T29" fmla="*/ 15 h 142"/>
              <a:gd name="T30" fmla="*/ 8 w 136"/>
              <a:gd name="T31" fmla="*/ 9 h 142"/>
              <a:gd name="T32" fmla="*/ 0 w 136"/>
              <a:gd name="T33" fmla="*/ 13 h 142"/>
              <a:gd name="T34" fmla="*/ 30 w 136"/>
              <a:gd name="T35" fmla="*/ 25 h 142"/>
              <a:gd name="T36" fmla="*/ 41 w 136"/>
              <a:gd name="T37" fmla="*/ 44 h 142"/>
              <a:gd name="T38" fmla="*/ 46 w 136"/>
              <a:gd name="T39" fmla="*/ 57 h 142"/>
              <a:gd name="T40" fmla="*/ 51 w 136"/>
              <a:gd name="T41" fmla="*/ 57 h 142"/>
              <a:gd name="T42" fmla="*/ 57 w 136"/>
              <a:gd name="T43" fmla="*/ 61 h 142"/>
              <a:gd name="T44" fmla="*/ 59 w 136"/>
              <a:gd name="T45" fmla="*/ 70 h 142"/>
              <a:gd name="T46" fmla="*/ 41 w 136"/>
              <a:gd name="T47" fmla="*/ 85 h 142"/>
              <a:gd name="T48" fmla="*/ 33 w 136"/>
              <a:gd name="T49" fmla="*/ 93 h 142"/>
              <a:gd name="T50" fmla="*/ 24 w 136"/>
              <a:gd name="T51" fmla="*/ 97 h 142"/>
              <a:gd name="T52" fmla="*/ 26 w 136"/>
              <a:gd name="T53" fmla="*/ 114 h 142"/>
              <a:gd name="T54" fmla="*/ 29 w 136"/>
              <a:gd name="T55" fmla="*/ 132 h 142"/>
              <a:gd name="T56" fmla="*/ 42 w 136"/>
              <a:gd name="T57" fmla="*/ 135 h 142"/>
              <a:gd name="T58" fmla="*/ 42 w 136"/>
              <a:gd name="T59" fmla="*/ 138 h 142"/>
              <a:gd name="T60" fmla="*/ 47 w 136"/>
              <a:gd name="T61" fmla="*/ 136 h 142"/>
              <a:gd name="T62" fmla="*/ 51 w 136"/>
              <a:gd name="T63" fmla="*/ 142 h 142"/>
              <a:gd name="T64" fmla="*/ 54 w 136"/>
              <a:gd name="T65" fmla="*/ 141 h 142"/>
              <a:gd name="T66" fmla="*/ 82 w 136"/>
              <a:gd name="T67" fmla="*/ 135 h 142"/>
              <a:gd name="T68" fmla="*/ 88 w 136"/>
              <a:gd name="T69" fmla="*/ 133 h 142"/>
              <a:gd name="T70" fmla="*/ 102 w 136"/>
              <a:gd name="T71" fmla="*/ 133 h 142"/>
              <a:gd name="T72" fmla="*/ 111 w 136"/>
              <a:gd name="T73" fmla="*/ 124 h 142"/>
              <a:gd name="T74" fmla="*/ 119 w 136"/>
              <a:gd name="T75" fmla="*/ 116 h 142"/>
              <a:gd name="T76" fmla="*/ 128 w 136"/>
              <a:gd name="T77" fmla="*/ 108 h 142"/>
              <a:gd name="T78" fmla="*/ 136 w 136"/>
              <a:gd name="T79" fmla="*/ 99 h 142"/>
              <a:gd name="T80" fmla="*/ 116 w 136"/>
              <a:gd name="T81" fmla="*/ 87 h 142"/>
              <a:gd name="T82" fmla="*/ 122 w 136"/>
              <a:gd name="T83" fmla="*/ 84 h 142"/>
              <a:gd name="T84" fmla="*/ 114 w 136"/>
              <a:gd name="T85" fmla="*/ 76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36" h="142">
                <a:moveTo>
                  <a:pt x="114" y="76"/>
                </a:moveTo>
                <a:lnTo>
                  <a:pt x="111" y="72"/>
                </a:lnTo>
                <a:lnTo>
                  <a:pt x="110" y="60"/>
                </a:lnTo>
                <a:lnTo>
                  <a:pt x="96" y="44"/>
                </a:lnTo>
                <a:lnTo>
                  <a:pt x="102" y="33"/>
                </a:lnTo>
                <a:lnTo>
                  <a:pt x="87" y="25"/>
                </a:lnTo>
                <a:lnTo>
                  <a:pt x="86" y="15"/>
                </a:lnTo>
                <a:lnTo>
                  <a:pt x="87" y="13"/>
                </a:lnTo>
                <a:lnTo>
                  <a:pt x="86" y="4"/>
                </a:lnTo>
                <a:lnTo>
                  <a:pt x="69" y="0"/>
                </a:lnTo>
                <a:lnTo>
                  <a:pt x="54" y="4"/>
                </a:lnTo>
                <a:lnTo>
                  <a:pt x="51" y="15"/>
                </a:lnTo>
                <a:lnTo>
                  <a:pt x="45" y="19"/>
                </a:lnTo>
                <a:lnTo>
                  <a:pt x="32" y="18"/>
                </a:lnTo>
                <a:lnTo>
                  <a:pt x="20" y="15"/>
                </a:lnTo>
                <a:lnTo>
                  <a:pt x="8" y="9"/>
                </a:lnTo>
                <a:lnTo>
                  <a:pt x="0" y="13"/>
                </a:lnTo>
                <a:lnTo>
                  <a:pt x="30" y="25"/>
                </a:lnTo>
                <a:lnTo>
                  <a:pt x="41" y="44"/>
                </a:lnTo>
                <a:lnTo>
                  <a:pt x="46" y="57"/>
                </a:lnTo>
                <a:lnTo>
                  <a:pt x="51" y="57"/>
                </a:lnTo>
                <a:lnTo>
                  <a:pt x="57" y="61"/>
                </a:lnTo>
                <a:lnTo>
                  <a:pt x="59" y="70"/>
                </a:lnTo>
                <a:lnTo>
                  <a:pt x="41" y="85"/>
                </a:lnTo>
                <a:lnTo>
                  <a:pt x="33" y="93"/>
                </a:lnTo>
                <a:lnTo>
                  <a:pt x="24" y="97"/>
                </a:lnTo>
                <a:lnTo>
                  <a:pt x="26" y="114"/>
                </a:lnTo>
                <a:lnTo>
                  <a:pt x="29" y="132"/>
                </a:lnTo>
                <a:lnTo>
                  <a:pt x="42" y="135"/>
                </a:lnTo>
                <a:lnTo>
                  <a:pt x="42" y="138"/>
                </a:lnTo>
                <a:lnTo>
                  <a:pt x="47" y="136"/>
                </a:lnTo>
                <a:lnTo>
                  <a:pt x="51" y="142"/>
                </a:lnTo>
                <a:lnTo>
                  <a:pt x="54" y="141"/>
                </a:lnTo>
                <a:lnTo>
                  <a:pt x="82" y="135"/>
                </a:lnTo>
                <a:lnTo>
                  <a:pt x="88" y="133"/>
                </a:lnTo>
                <a:lnTo>
                  <a:pt x="102" y="133"/>
                </a:lnTo>
                <a:lnTo>
                  <a:pt x="111" y="124"/>
                </a:lnTo>
                <a:lnTo>
                  <a:pt x="119" y="116"/>
                </a:lnTo>
                <a:lnTo>
                  <a:pt x="128" y="108"/>
                </a:lnTo>
                <a:lnTo>
                  <a:pt x="136" y="99"/>
                </a:lnTo>
                <a:lnTo>
                  <a:pt x="116" y="87"/>
                </a:lnTo>
                <a:lnTo>
                  <a:pt x="122" y="84"/>
                </a:lnTo>
                <a:lnTo>
                  <a:pt x="114" y="76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8" name="Freeform 383">
            <a:extLst>
              <a:ext uri="{FF2B5EF4-FFF2-40B4-BE49-F238E27FC236}">
                <a16:creationId xmlns:a16="http://schemas.microsoft.com/office/drawing/2014/main" id="{CD5E0FFD-39EC-4159-8B91-75FD1DD3E85C}"/>
              </a:ext>
            </a:extLst>
          </p:cNvPr>
          <p:cNvSpPr>
            <a:spLocks/>
          </p:cNvSpPr>
          <p:nvPr/>
        </p:nvSpPr>
        <p:spPr bwMode="gray">
          <a:xfrm>
            <a:off x="4640938" y="2399109"/>
            <a:ext cx="6882" cy="9735"/>
          </a:xfrm>
          <a:custGeom>
            <a:avLst/>
            <a:gdLst>
              <a:gd name="T0" fmla="*/ 1 w 2"/>
              <a:gd name="T1" fmla="*/ 0 h 3"/>
              <a:gd name="T2" fmla="*/ 0 w 2"/>
              <a:gd name="T3" fmla="*/ 3 h 3"/>
              <a:gd name="T4" fmla="*/ 2 w 2"/>
              <a:gd name="T5" fmla="*/ 3 h 3"/>
              <a:gd name="T6" fmla="*/ 1 w 2"/>
              <a:gd name="T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3">
                <a:moveTo>
                  <a:pt x="1" y="0"/>
                </a:moveTo>
                <a:lnTo>
                  <a:pt x="0" y="3"/>
                </a:lnTo>
                <a:lnTo>
                  <a:pt x="2" y="3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9" name="Freeform 384">
            <a:extLst>
              <a:ext uri="{FF2B5EF4-FFF2-40B4-BE49-F238E27FC236}">
                <a16:creationId xmlns:a16="http://schemas.microsoft.com/office/drawing/2014/main" id="{5452325C-D0E4-4A75-ABF2-9BA779CE1606}"/>
              </a:ext>
            </a:extLst>
          </p:cNvPr>
          <p:cNvSpPr>
            <a:spLocks/>
          </p:cNvSpPr>
          <p:nvPr/>
        </p:nvSpPr>
        <p:spPr bwMode="gray">
          <a:xfrm>
            <a:off x="4644379" y="2342641"/>
            <a:ext cx="180659" cy="83727"/>
          </a:xfrm>
          <a:custGeom>
            <a:avLst/>
            <a:gdLst>
              <a:gd name="T0" fmla="*/ 34 w 95"/>
              <a:gd name="T1" fmla="*/ 30 h 38"/>
              <a:gd name="T2" fmla="*/ 19 w 95"/>
              <a:gd name="T3" fmla="*/ 33 h 38"/>
              <a:gd name="T4" fmla="*/ 12 w 95"/>
              <a:gd name="T5" fmla="*/ 32 h 38"/>
              <a:gd name="T6" fmla="*/ 1 w 95"/>
              <a:gd name="T7" fmla="*/ 29 h 38"/>
              <a:gd name="T8" fmla="*/ 0 w 95"/>
              <a:gd name="T9" fmla="*/ 28 h 38"/>
              <a:gd name="T10" fmla="*/ 0 w 95"/>
              <a:gd name="T11" fmla="*/ 26 h 38"/>
              <a:gd name="T12" fmla="*/ 0 w 95"/>
              <a:gd name="T13" fmla="*/ 22 h 38"/>
              <a:gd name="T14" fmla="*/ 8 w 95"/>
              <a:gd name="T15" fmla="*/ 23 h 38"/>
              <a:gd name="T16" fmla="*/ 11 w 95"/>
              <a:gd name="T17" fmla="*/ 24 h 38"/>
              <a:gd name="T18" fmla="*/ 14 w 95"/>
              <a:gd name="T19" fmla="*/ 21 h 38"/>
              <a:gd name="T20" fmla="*/ 25 w 95"/>
              <a:gd name="T21" fmla="*/ 21 h 38"/>
              <a:gd name="T22" fmla="*/ 40 w 95"/>
              <a:gd name="T23" fmla="*/ 21 h 38"/>
              <a:gd name="T24" fmla="*/ 43 w 95"/>
              <a:gd name="T25" fmla="*/ 20 h 38"/>
              <a:gd name="T26" fmla="*/ 42 w 95"/>
              <a:gd name="T27" fmla="*/ 11 h 38"/>
              <a:gd name="T28" fmla="*/ 52 w 95"/>
              <a:gd name="T29" fmla="*/ 3 h 38"/>
              <a:gd name="T30" fmla="*/ 59 w 95"/>
              <a:gd name="T31" fmla="*/ 5 h 38"/>
              <a:gd name="T32" fmla="*/ 66 w 95"/>
              <a:gd name="T33" fmla="*/ 0 h 38"/>
              <a:gd name="T34" fmla="*/ 86 w 95"/>
              <a:gd name="T35" fmla="*/ 2 h 38"/>
              <a:gd name="T36" fmla="*/ 95 w 95"/>
              <a:gd name="T37" fmla="*/ 14 h 38"/>
              <a:gd name="T38" fmla="*/ 90 w 95"/>
              <a:gd name="T39" fmla="*/ 20 h 38"/>
              <a:gd name="T40" fmla="*/ 89 w 95"/>
              <a:gd name="T41" fmla="*/ 21 h 38"/>
              <a:gd name="T42" fmla="*/ 84 w 95"/>
              <a:gd name="T43" fmla="*/ 30 h 38"/>
              <a:gd name="T44" fmla="*/ 83 w 95"/>
              <a:gd name="T45" fmla="*/ 32 h 38"/>
              <a:gd name="T46" fmla="*/ 58 w 95"/>
              <a:gd name="T47" fmla="*/ 38 h 38"/>
              <a:gd name="T48" fmla="*/ 53 w 95"/>
              <a:gd name="T49" fmla="*/ 38 h 38"/>
              <a:gd name="T50" fmla="*/ 34 w 95"/>
              <a:gd name="T51" fmla="*/ 3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95" h="38">
                <a:moveTo>
                  <a:pt x="34" y="30"/>
                </a:moveTo>
                <a:lnTo>
                  <a:pt x="19" y="33"/>
                </a:lnTo>
                <a:lnTo>
                  <a:pt x="12" y="32"/>
                </a:lnTo>
                <a:lnTo>
                  <a:pt x="1" y="29"/>
                </a:lnTo>
                <a:lnTo>
                  <a:pt x="0" y="28"/>
                </a:lnTo>
                <a:lnTo>
                  <a:pt x="0" y="26"/>
                </a:lnTo>
                <a:lnTo>
                  <a:pt x="0" y="22"/>
                </a:lnTo>
                <a:lnTo>
                  <a:pt x="8" y="23"/>
                </a:lnTo>
                <a:lnTo>
                  <a:pt x="11" y="24"/>
                </a:lnTo>
                <a:lnTo>
                  <a:pt x="14" y="21"/>
                </a:lnTo>
                <a:lnTo>
                  <a:pt x="25" y="21"/>
                </a:lnTo>
                <a:lnTo>
                  <a:pt x="40" y="21"/>
                </a:lnTo>
                <a:lnTo>
                  <a:pt x="43" y="20"/>
                </a:lnTo>
                <a:lnTo>
                  <a:pt x="42" y="11"/>
                </a:lnTo>
                <a:lnTo>
                  <a:pt x="52" y="3"/>
                </a:lnTo>
                <a:lnTo>
                  <a:pt x="59" y="5"/>
                </a:lnTo>
                <a:lnTo>
                  <a:pt x="66" y="0"/>
                </a:lnTo>
                <a:lnTo>
                  <a:pt x="86" y="2"/>
                </a:lnTo>
                <a:lnTo>
                  <a:pt x="95" y="14"/>
                </a:lnTo>
                <a:lnTo>
                  <a:pt x="90" y="20"/>
                </a:lnTo>
                <a:lnTo>
                  <a:pt x="89" y="21"/>
                </a:lnTo>
                <a:lnTo>
                  <a:pt x="84" y="30"/>
                </a:lnTo>
                <a:lnTo>
                  <a:pt x="83" y="32"/>
                </a:lnTo>
                <a:lnTo>
                  <a:pt x="58" y="38"/>
                </a:lnTo>
                <a:lnTo>
                  <a:pt x="53" y="38"/>
                </a:lnTo>
                <a:lnTo>
                  <a:pt x="34" y="30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0" name="Freeform 385">
            <a:extLst>
              <a:ext uri="{FF2B5EF4-FFF2-40B4-BE49-F238E27FC236}">
                <a16:creationId xmlns:a16="http://schemas.microsoft.com/office/drawing/2014/main" id="{6652A95E-722B-4704-A4B3-3BF2E947D225}"/>
              </a:ext>
            </a:extLst>
          </p:cNvPr>
          <p:cNvSpPr>
            <a:spLocks/>
          </p:cNvSpPr>
          <p:nvPr/>
        </p:nvSpPr>
        <p:spPr bwMode="gray">
          <a:xfrm>
            <a:off x="4797507" y="2465313"/>
            <a:ext cx="99792" cy="95410"/>
          </a:xfrm>
          <a:custGeom>
            <a:avLst/>
            <a:gdLst>
              <a:gd name="T0" fmla="*/ 46 w 52"/>
              <a:gd name="T1" fmla="*/ 6 h 43"/>
              <a:gd name="T2" fmla="*/ 47 w 52"/>
              <a:gd name="T3" fmla="*/ 8 h 43"/>
              <a:gd name="T4" fmla="*/ 46 w 52"/>
              <a:gd name="T5" fmla="*/ 11 h 43"/>
              <a:gd name="T6" fmla="*/ 44 w 52"/>
              <a:gd name="T7" fmla="*/ 13 h 43"/>
              <a:gd name="T8" fmla="*/ 44 w 52"/>
              <a:gd name="T9" fmla="*/ 14 h 43"/>
              <a:gd name="T10" fmla="*/ 46 w 52"/>
              <a:gd name="T11" fmla="*/ 17 h 43"/>
              <a:gd name="T12" fmla="*/ 52 w 52"/>
              <a:gd name="T13" fmla="*/ 20 h 43"/>
              <a:gd name="T14" fmla="*/ 47 w 52"/>
              <a:gd name="T15" fmla="*/ 21 h 43"/>
              <a:gd name="T16" fmla="*/ 51 w 52"/>
              <a:gd name="T17" fmla="*/ 24 h 43"/>
              <a:gd name="T18" fmla="*/ 51 w 52"/>
              <a:gd name="T19" fmla="*/ 27 h 43"/>
              <a:gd name="T20" fmla="*/ 44 w 52"/>
              <a:gd name="T21" fmla="*/ 29 h 43"/>
              <a:gd name="T22" fmla="*/ 46 w 52"/>
              <a:gd name="T23" fmla="*/ 31 h 43"/>
              <a:gd name="T24" fmla="*/ 45 w 52"/>
              <a:gd name="T25" fmla="*/ 33 h 43"/>
              <a:gd name="T26" fmla="*/ 42 w 52"/>
              <a:gd name="T27" fmla="*/ 31 h 43"/>
              <a:gd name="T28" fmla="*/ 39 w 52"/>
              <a:gd name="T29" fmla="*/ 36 h 43"/>
              <a:gd name="T30" fmla="*/ 38 w 52"/>
              <a:gd name="T31" fmla="*/ 37 h 43"/>
              <a:gd name="T32" fmla="*/ 41 w 52"/>
              <a:gd name="T33" fmla="*/ 42 h 43"/>
              <a:gd name="T34" fmla="*/ 38 w 52"/>
              <a:gd name="T35" fmla="*/ 43 h 43"/>
              <a:gd name="T36" fmla="*/ 35 w 52"/>
              <a:gd name="T37" fmla="*/ 42 h 43"/>
              <a:gd name="T38" fmla="*/ 32 w 52"/>
              <a:gd name="T39" fmla="*/ 38 h 43"/>
              <a:gd name="T40" fmla="*/ 28 w 52"/>
              <a:gd name="T41" fmla="*/ 37 h 43"/>
              <a:gd name="T42" fmla="*/ 28 w 52"/>
              <a:gd name="T43" fmla="*/ 36 h 43"/>
              <a:gd name="T44" fmla="*/ 22 w 52"/>
              <a:gd name="T45" fmla="*/ 31 h 43"/>
              <a:gd name="T46" fmla="*/ 22 w 52"/>
              <a:gd name="T47" fmla="*/ 29 h 43"/>
              <a:gd name="T48" fmla="*/ 18 w 52"/>
              <a:gd name="T49" fmla="*/ 27 h 43"/>
              <a:gd name="T50" fmla="*/ 8 w 52"/>
              <a:gd name="T51" fmla="*/ 18 h 43"/>
              <a:gd name="T52" fmla="*/ 9 w 52"/>
              <a:gd name="T53" fmla="*/ 18 h 43"/>
              <a:gd name="T54" fmla="*/ 6 w 52"/>
              <a:gd name="T55" fmla="*/ 17 h 43"/>
              <a:gd name="T56" fmla="*/ 4 w 52"/>
              <a:gd name="T57" fmla="*/ 9 h 43"/>
              <a:gd name="T58" fmla="*/ 0 w 52"/>
              <a:gd name="T59" fmla="*/ 8 h 43"/>
              <a:gd name="T60" fmla="*/ 0 w 52"/>
              <a:gd name="T61" fmla="*/ 1 h 43"/>
              <a:gd name="T62" fmla="*/ 4 w 52"/>
              <a:gd name="T63" fmla="*/ 1 h 43"/>
              <a:gd name="T64" fmla="*/ 8 w 52"/>
              <a:gd name="T65" fmla="*/ 5 h 43"/>
              <a:gd name="T66" fmla="*/ 10 w 52"/>
              <a:gd name="T67" fmla="*/ 0 h 43"/>
              <a:gd name="T68" fmla="*/ 15 w 52"/>
              <a:gd name="T69" fmla="*/ 0 h 43"/>
              <a:gd name="T70" fmla="*/ 18 w 52"/>
              <a:gd name="T71" fmla="*/ 2 h 43"/>
              <a:gd name="T72" fmla="*/ 27 w 52"/>
              <a:gd name="T73" fmla="*/ 3 h 43"/>
              <a:gd name="T74" fmla="*/ 28 w 52"/>
              <a:gd name="T75" fmla="*/ 2 h 43"/>
              <a:gd name="T76" fmla="*/ 30 w 52"/>
              <a:gd name="T77" fmla="*/ 3 h 43"/>
              <a:gd name="T78" fmla="*/ 32 w 52"/>
              <a:gd name="T79" fmla="*/ 2 h 43"/>
              <a:gd name="T80" fmla="*/ 35 w 52"/>
              <a:gd name="T81" fmla="*/ 3 h 43"/>
              <a:gd name="T82" fmla="*/ 38 w 52"/>
              <a:gd name="T83" fmla="*/ 2 h 43"/>
              <a:gd name="T84" fmla="*/ 40 w 52"/>
              <a:gd name="T85" fmla="*/ 6 h 43"/>
              <a:gd name="T86" fmla="*/ 42 w 52"/>
              <a:gd name="T87" fmla="*/ 6 h 43"/>
              <a:gd name="T88" fmla="*/ 46 w 52"/>
              <a:gd name="T89" fmla="*/ 6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2" h="43">
                <a:moveTo>
                  <a:pt x="46" y="6"/>
                </a:moveTo>
                <a:lnTo>
                  <a:pt x="47" y="8"/>
                </a:lnTo>
                <a:lnTo>
                  <a:pt x="46" y="11"/>
                </a:lnTo>
                <a:lnTo>
                  <a:pt x="44" y="13"/>
                </a:lnTo>
                <a:lnTo>
                  <a:pt x="44" y="14"/>
                </a:lnTo>
                <a:lnTo>
                  <a:pt x="46" y="17"/>
                </a:lnTo>
                <a:lnTo>
                  <a:pt x="52" y="20"/>
                </a:lnTo>
                <a:lnTo>
                  <a:pt x="47" y="21"/>
                </a:lnTo>
                <a:lnTo>
                  <a:pt x="51" y="24"/>
                </a:lnTo>
                <a:lnTo>
                  <a:pt x="51" y="27"/>
                </a:lnTo>
                <a:lnTo>
                  <a:pt x="44" y="29"/>
                </a:lnTo>
                <a:lnTo>
                  <a:pt x="46" y="31"/>
                </a:lnTo>
                <a:lnTo>
                  <a:pt x="45" y="33"/>
                </a:lnTo>
                <a:lnTo>
                  <a:pt x="42" y="31"/>
                </a:lnTo>
                <a:lnTo>
                  <a:pt x="39" y="36"/>
                </a:lnTo>
                <a:lnTo>
                  <a:pt x="38" y="37"/>
                </a:lnTo>
                <a:lnTo>
                  <a:pt x="41" y="42"/>
                </a:lnTo>
                <a:lnTo>
                  <a:pt x="38" y="43"/>
                </a:lnTo>
                <a:lnTo>
                  <a:pt x="35" y="42"/>
                </a:lnTo>
                <a:lnTo>
                  <a:pt x="32" y="38"/>
                </a:lnTo>
                <a:lnTo>
                  <a:pt x="28" y="37"/>
                </a:lnTo>
                <a:lnTo>
                  <a:pt x="28" y="36"/>
                </a:lnTo>
                <a:lnTo>
                  <a:pt x="22" y="31"/>
                </a:lnTo>
                <a:lnTo>
                  <a:pt x="22" y="29"/>
                </a:lnTo>
                <a:lnTo>
                  <a:pt x="18" y="27"/>
                </a:lnTo>
                <a:lnTo>
                  <a:pt x="8" y="18"/>
                </a:lnTo>
                <a:lnTo>
                  <a:pt x="9" y="18"/>
                </a:lnTo>
                <a:lnTo>
                  <a:pt x="6" y="17"/>
                </a:lnTo>
                <a:lnTo>
                  <a:pt x="4" y="9"/>
                </a:lnTo>
                <a:lnTo>
                  <a:pt x="0" y="8"/>
                </a:lnTo>
                <a:lnTo>
                  <a:pt x="0" y="1"/>
                </a:lnTo>
                <a:lnTo>
                  <a:pt x="4" y="1"/>
                </a:lnTo>
                <a:lnTo>
                  <a:pt x="8" y="5"/>
                </a:lnTo>
                <a:lnTo>
                  <a:pt x="10" y="0"/>
                </a:lnTo>
                <a:lnTo>
                  <a:pt x="15" y="0"/>
                </a:lnTo>
                <a:lnTo>
                  <a:pt x="18" y="2"/>
                </a:lnTo>
                <a:lnTo>
                  <a:pt x="27" y="3"/>
                </a:lnTo>
                <a:lnTo>
                  <a:pt x="28" y="2"/>
                </a:lnTo>
                <a:lnTo>
                  <a:pt x="30" y="3"/>
                </a:lnTo>
                <a:lnTo>
                  <a:pt x="32" y="2"/>
                </a:lnTo>
                <a:lnTo>
                  <a:pt x="35" y="3"/>
                </a:lnTo>
                <a:lnTo>
                  <a:pt x="38" y="2"/>
                </a:lnTo>
                <a:lnTo>
                  <a:pt x="40" y="6"/>
                </a:lnTo>
                <a:lnTo>
                  <a:pt x="42" y="6"/>
                </a:lnTo>
                <a:lnTo>
                  <a:pt x="46" y="6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1" name="Freeform 386">
            <a:extLst>
              <a:ext uri="{FF2B5EF4-FFF2-40B4-BE49-F238E27FC236}">
                <a16:creationId xmlns:a16="http://schemas.microsoft.com/office/drawing/2014/main" id="{20986A4E-9FBE-43FF-94C8-7D285A3EDB19}"/>
              </a:ext>
            </a:extLst>
          </p:cNvPr>
          <p:cNvSpPr>
            <a:spLocks/>
          </p:cNvSpPr>
          <p:nvPr/>
        </p:nvSpPr>
        <p:spPr bwMode="gray">
          <a:xfrm>
            <a:off x="4747611" y="2420529"/>
            <a:ext cx="141087" cy="126566"/>
          </a:xfrm>
          <a:custGeom>
            <a:avLst/>
            <a:gdLst>
              <a:gd name="T0" fmla="*/ 66 w 73"/>
              <a:gd name="T1" fmla="*/ 27 h 58"/>
              <a:gd name="T2" fmla="*/ 68 w 73"/>
              <a:gd name="T3" fmla="*/ 27 h 58"/>
              <a:gd name="T4" fmla="*/ 70 w 73"/>
              <a:gd name="T5" fmla="*/ 23 h 58"/>
              <a:gd name="T6" fmla="*/ 73 w 73"/>
              <a:gd name="T7" fmla="*/ 22 h 58"/>
              <a:gd name="T8" fmla="*/ 73 w 73"/>
              <a:gd name="T9" fmla="*/ 21 h 58"/>
              <a:gd name="T10" fmla="*/ 68 w 73"/>
              <a:gd name="T11" fmla="*/ 20 h 58"/>
              <a:gd name="T12" fmla="*/ 67 w 73"/>
              <a:gd name="T13" fmla="*/ 20 h 58"/>
              <a:gd name="T14" fmla="*/ 68 w 73"/>
              <a:gd name="T15" fmla="*/ 17 h 58"/>
              <a:gd name="T16" fmla="*/ 67 w 73"/>
              <a:gd name="T17" fmla="*/ 17 h 58"/>
              <a:gd name="T18" fmla="*/ 64 w 73"/>
              <a:gd name="T19" fmla="*/ 11 h 58"/>
              <a:gd name="T20" fmla="*/ 46 w 73"/>
              <a:gd name="T21" fmla="*/ 10 h 58"/>
              <a:gd name="T22" fmla="*/ 34 w 73"/>
              <a:gd name="T23" fmla="*/ 0 h 58"/>
              <a:gd name="T24" fmla="*/ 34 w 73"/>
              <a:gd name="T25" fmla="*/ 2 h 58"/>
              <a:gd name="T26" fmla="*/ 32 w 73"/>
              <a:gd name="T27" fmla="*/ 2 h 58"/>
              <a:gd name="T28" fmla="*/ 32 w 73"/>
              <a:gd name="T29" fmla="*/ 3 h 58"/>
              <a:gd name="T30" fmla="*/ 28 w 73"/>
              <a:gd name="T31" fmla="*/ 3 h 58"/>
              <a:gd name="T32" fmla="*/ 26 w 73"/>
              <a:gd name="T33" fmla="*/ 4 h 58"/>
              <a:gd name="T34" fmla="*/ 23 w 73"/>
              <a:gd name="T35" fmla="*/ 5 h 58"/>
              <a:gd name="T36" fmla="*/ 24 w 73"/>
              <a:gd name="T37" fmla="*/ 9 h 58"/>
              <a:gd name="T38" fmla="*/ 24 w 73"/>
              <a:gd name="T39" fmla="*/ 10 h 58"/>
              <a:gd name="T40" fmla="*/ 25 w 73"/>
              <a:gd name="T41" fmla="*/ 12 h 58"/>
              <a:gd name="T42" fmla="*/ 23 w 73"/>
              <a:gd name="T43" fmla="*/ 12 h 58"/>
              <a:gd name="T44" fmla="*/ 19 w 73"/>
              <a:gd name="T45" fmla="*/ 14 h 58"/>
              <a:gd name="T46" fmla="*/ 19 w 73"/>
              <a:gd name="T47" fmla="*/ 16 h 58"/>
              <a:gd name="T48" fmla="*/ 20 w 73"/>
              <a:gd name="T49" fmla="*/ 17 h 58"/>
              <a:gd name="T50" fmla="*/ 17 w 73"/>
              <a:gd name="T51" fmla="*/ 18 h 58"/>
              <a:gd name="T52" fmla="*/ 14 w 73"/>
              <a:gd name="T53" fmla="*/ 16 h 58"/>
              <a:gd name="T54" fmla="*/ 13 w 73"/>
              <a:gd name="T55" fmla="*/ 17 h 58"/>
              <a:gd name="T56" fmla="*/ 11 w 73"/>
              <a:gd name="T57" fmla="*/ 15 h 58"/>
              <a:gd name="T58" fmla="*/ 8 w 73"/>
              <a:gd name="T59" fmla="*/ 18 h 58"/>
              <a:gd name="T60" fmla="*/ 2 w 73"/>
              <a:gd name="T61" fmla="*/ 17 h 58"/>
              <a:gd name="T62" fmla="*/ 0 w 73"/>
              <a:gd name="T63" fmla="*/ 16 h 58"/>
              <a:gd name="T64" fmla="*/ 2 w 73"/>
              <a:gd name="T65" fmla="*/ 21 h 58"/>
              <a:gd name="T66" fmla="*/ 6 w 73"/>
              <a:gd name="T67" fmla="*/ 27 h 58"/>
              <a:gd name="T68" fmla="*/ 8 w 73"/>
              <a:gd name="T69" fmla="*/ 23 h 58"/>
              <a:gd name="T70" fmla="*/ 18 w 73"/>
              <a:gd name="T71" fmla="*/ 38 h 58"/>
              <a:gd name="T72" fmla="*/ 22 w 73"/>
              <a:gd name="T73" fmla="*/ 41 h 58"/>
              <a:gd name="T74" fmla="*/ 35 w 73"/>
              <a:gd name="T75" fmla="*/ 50 h 58"/>
              <a:gd name="T76" fmla="*/ 50 w 73"/>
              <a:gd name="T77" fmla="*/ 58 h 58"/>
              <a:gd name="T78" fmla="*/ 53 w 73"/>
              <a:gd name="T79" fmla="*/ 58 h 58"/>
              <a:gd name="T80" fmla="*/ 54 w 73"/>
              <a:gd name="T81" fmla="*/ 58 h 58"/>
              <a:gd name="T82" fmla="*/ 54 w 73"/>
              <a:gd name="T83" fmla="*/ 57 h 58"/>
              <a:gd name="T84" fmla="*/ 48 w 73"/>
              <a:gd name="T85" fmla="*/ 52 h 58"/>
              <a:gd name="T86" fmla="*/ 48 w 73"/>
              <a:gd name="T87" fmla="*/ 50 h 58"/>
              <a:gd name="T88" fmla="*/ 44 w 73"/>
              <a:gd name="T89" fmla="*/ 48 h 58"/>
              <a:gd name="T90" fmla="*/ 34 w 73"/>
              <a:gd name="T91" fmla="*/ 39 h 58"/>
              <a:gd name="T92" fmla="*/ 35 w 73"/>
              <a:gd name="T93" fmla="*/ 39 h 58"/>
              <a:gd name="T94" fmla="*/ 32 w 73"/>
              <a:gd name="T95" fmla="*/ 38 h 58"/>
              <a:gd name="T96" fmla="*/ 30 w 73"/>
              <a:gd name="T97" fmla="*/ 30 h 58"/>
              <a:gd name="T98" fmla="*/ 26 w 73"/>
              <a:gd name="T99" fmla="*/ 29 h 58"/>
              <a:gd name="T100" fmla="*/ 26 w 73"/>
              <a:gd name="T101" fmla="*/ 22 h 58"/>
              <a:gd name="T102" fmla="*/ 30 w 73"/>
              <a:gd name="T103" fmla="*/ 22 h 58"/>
              <a:gd name="T104" fmla="*/ 34 w 73"/>
              <a:gd name="T105" fmla="*/ 26 h 58"/>
              <a:gd name="T106" fmla="*/ 36 w 73"/>
              <a:gd name="T107" fmla="*/ 21 h 58"/>
              <a:gd name="T108" fmla="*/ 41 w 73"/>
              <a:gd name="T109" fmla="*/ 21 h 58"/>
              <a:gd name="T110" fmla="*/ 44 w 73"/>
              <a:gd name="T111" fmla="*/ 23 h 58"/>
              <a:gd name="T112" fmla="*/ 53 w 73"/>
              <a:gd name="T113" fmla="*/ 24 h 58"/>
              <a:gd name="T114" fmla="*/ 54 w 73"/>
              <a:gd name="T115" fmla="*/ 23 h 58"/>
              <a:gd name="T116" fmla="*/ 56 w 73"/>
              <a:gd name="T117" fmla="*/ 24 h 58"/>
              <a:gd name="T118" fmla="*/ 58 w 73"/>
              <a:gd name="T119" fmla="*/ 23 h 58"/>
              <a:gd name="T120" fmla="*/ 61 w 73"/>
              <a:gd name="T121" fmla="*/ 24 h 58"/>
              <a:gd name="T122" fmla="*/ 64 w 73"/>
              <a:gd name="T123" fmla="*/ 23 h 58"/>
              <a:gd name="T124" fmla="*/ 66 w 73"/>
              <a:gd name="T125" fmla="*/ 27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3" h="58">
                <a:moveTo>
                  <a:pt x="66" y="27"/>
                </a:moveTo>
                <a:lnTo>
                  <a:pt x="68" y="27"/>
                </a:lnTo>
                <a:lnTo>
                  <a:pt x="70" y="23"/>
                </a:lnTo>
                <a:lnTo>
                  <a:pt x="73" y="22"/>
                </a:lnTo>
                <a:lnTo>
                  <a:pt x="73" y="21"/>
                </a:lnTo>
                <a:lnTo>
                  <a:pt x="68" y="20"/>
                </a:lnTo>
                <a:lnTo>
                  <a:pt x="67" y="20"/>
                </a:lnTo>
                <a:lnTo>
                  <a:pt x="68" y="17"/>
                </a:lnTo>
                <a:lnTo>
                  <a:pt x="67" y="17"/>
                </a:lnTo>
                <a:lnTo>
                  <a:pt x="64" y="11"/>
                </a:lnTo>
                <a:lnTo>
                  <a:pt x="46" y="10"/>
                </a:lnTo>
                <a:lnTo>
                  <a:pt x="34" y="0"/>
                </a:lnTo>
                <a:lnTo>
                  <a:pt x="34" y="2"/>
                </a:lnTo>
                <a:lnTo>
                  <a:pt x="32" y="2"/>
                </a:lnTo>
                <a:lnTo>
                  <a:pt x="32" y="3"/>
                </a:lnTo>
                <a:lnTo>
                  <a:pt x="28" y="3"/>
                </a:lnTo>
                <a:lnTo>
                  <a:pt x="26" y="4"/>
                </a:lnTo>
                <a:lnTo>
                  <a:pt x="23" y="5"/>
                </a:lnTo>
                <a:lnTo>
                  <a:pt x="24" y="9"/>
                </a:lnTo>
                <a:lnTo>
                  <a:pt x="24" y="10"/>
                </a:lnTo>
                <a:lnTo>
                  <a:pt x="25" y="12"/>
                </a:lnTo>
                <a:lnTo>
                  <a:pt x="23" y="12"/>
                </a:lnTo>
                <a:lnTo>
                  <a:pt x="19" y="14"/>
                </a:lnTo>
                <a:lnTo>
                  <a:pt x="19" y="16"/>
                </a:lnTo>
                <a:lnTo>
                  <a:pt x="20" y="17"/>
                </a:lnTo>
                <a:lnTo>
                  <a:pt x="17" y="18"/>
                </a:lnTo>
                <a:lnTo>
                  <a:pt x="14" y="16"/>
                </a:lnTo>
                <a:lnTo>
                  <a:pt x="13" y="17"/>
                </a:lnTo>
                <a:lnTo>
                  <a:pt x="11" y="15"/>
                </a:lnTo>
                <a:lnTo>
                  <a:pt x="8" y="18"/>
                </a:lnTo>
                <a:lnTo>
                  <a:pt x="2" y="17"/>
                </a:lnTo>
                <a:lnTo>
                  <a:pt x="0" y="16"/>
                </a:lnTo>
                <a:lnTo>
                  <a:pt x="2" y="21"/>
                </a:lnTo>
                <a:lnTo>
                  <a:pt x="6" y="27"/>
                </a:lnTo>
                <a:lnTo>
                  <a:pt x="8" y="23"/>
                </a:lnTo>
                <a:lnTo>
                  <a:pt x="18" y="38"/>
                </a:lnTo>
                <a:lnTo>
                  <a:pt x="22" y="41"/>
                </a:lnTo>
                <a:lnTo>
                  <a:pt x="35" y="50"/>
                </a:lnTo>
                <a:lnTo>
                  <a:pt x="50" y="58"/>
                </a:lnTo>
                <a:lnTo>
                  <a:pt x="53" y="58"/>
                </a:lnTo>
                <a:lnTo>
                  <a:pt x="54" y="58"/>
                </a:lnTo>
                <a:lnTo>
                  <a:pt x="54" y="57"/>
                </a:lnTo>
                <a:lnTo>
                  <a:pt x="48" y="52"/>
                </a:lnTo>
                <a:lnTo>
                  <a:pt x="48" y="50"/>
                </a:lnTo>
                <a:lnTo>
                  <a:pt x="44" y="48"/>
                </a:lnTo>
                <a:lnTo>
                  <a:pt x="34" y="39"/>
                </a:lnTo>
                <a:lnTo>
                  <a:pt x="35" y="39"/>
                </a:lnTo>
                <a:lnTo>
                  <a:pt x="32" y="38"/>
                </a:lnTo>
                <a:lnTo>
                  <a:pt x="30" y="30"/>
                </a:lnTo>
                <a:lnTo>
                  <a:pt x="26" y="29"/>
                </a:lnTo>
                <a:lnTo>
                  <a:pt x="26" y="22"/>
                </a:lnTo>
                <a:lnTo>
                  <a:pt x="30" y="22"/>
                </a:lnTo>
                <a:lnTo>
                  <a:pt x="34" y="26"/>
                </a:lnTo>
                <a:lnTo>
                  <a:pt x="36" y="21"/>
                </a:lnTo>
                <a:lnTo>
                  <a:pt x="41" y="21"/>
                </a:lnTo>
                <a:lnTo>
                  <a:pt x="44" y="23"/>
                </a:lnTo>
                <a:lnTo>
                  <a:pt x="53" y="24"/>
                </a:lnTo>
                <a:lnTo>
                  <a:pt x="54" y="23"/>
                </a:lnTo>
                <a:lnTo>
                  <a:pt x="56" y="24"/>
                </a:lnTo>
                <a:lnTo>
                  <a:pt x="58" y="23"/>
                </a:lnTo>
                <a:lnTo>
                  <a:pt x="61" y="24"/>
                </a:lnTo>
                <a:lnTo>
                  <a:pt x="64" y="23"/>
                </a:lnTo>
                <a:lnTo>
                  <a:pt x="66" y="27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2" name="Freeform 387">
            <a:extLst>
              <a:ext uri="{FF2B5EF4-FFF2-40B4-BE49-F238E27FC236}">
                <a16:creationId xmlns:a16="http://schemas.microsoft.com/office/drawing/2014/main" id="{91EDBE08-D037-4C62-997E-7308F1230A50}"/>
              </a:ext>
            </a:extLst>
          </p:cNvPr>
          <p:cNvSpPr>
            <a:spLocks/>
          </p:cNvSpPr>
          <p:nvPr/>
        </p:nvSpPr>
        <p:spPr bwMode="gray">
          <a:xfrm>
            <a:off x="4831917" y="2547092"/>
            <a:ext cx="37851" cy="17526"/>
          </a:xfrm>
          <a:custGeom>
            <a:avLst/>
            <a:gdLst>
              <a:gd name="T0" fmla="*/ 20 w 20"/>
              <a:gd name="T1" fmla="*/ 8 h 8"/>
              <a:gd name="T2" fmla="*/ 20 w 20"/>
              <a:gd name="T3" fmla="*/ 6 h 8"/>
              <a:gd name="T4" fmla="*/ 17 w 20"/>
              <a:gd name="T5" fmla="*/ 5 h 8"/>
              <a:gd name="T6" fmla="*/ 14 w 20"/>
              <a:gd name="T7" fmla="*/ 1 h 8"/>
              <a:gd name="T8" fmla="*/ 10 w 20"/>
              <a:gd name="T9" fmla="*/ 0 h 8"/>
              <a:gd name="T10" fmla="*/ 9 w 20"/>
              <a:gd name="T11" fmla="*/ 0 h 8"/>
              <a:gd name="T12" fmla="*/ 0 w 20"/>
              <a:gd name="T13" fmla="*/ 0 h 8"/>
              <a:gd name="T14" fmla="*/ 20 w 20"/>
              <a:gd name="T15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" h="8">
                <a:moveTo>
                  <a:pt x="20" y="8"/>
                </a:moveTo>
                <a:lnTo>
                  <a:pt x="20" y="6"/>
                </a:lnTo>
                <a:lnTo>
                  <a:pt x="17" y="5"/>
                </a:lnTo>
                <a:lnTo>
                  <a:pt x="14" y="1"/>
                </a:lnTo>
                <a:lnTo>
                  <a:pt x="10" y="0"/>
                </a:lnTo>
                <a:lnTo>
                  <a:pt x="9" y="0"/>
                </a:lnTo>
                <a:lnTo>
                  <a:pt x="0" y="0"/>
                </a:lnTo>
                <a:lnTo>
                  <a:pt x="20" y="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3" name="Freeform 388">
            <a:extLst>
              <a:ext uri="{FF2B5EF4-FFF2-40B4-BE49-F238E27FC236}">
                <a16:creationId xmlns:a16="http://schemas.microsoft.com/office/drawing/2014/main" id="{8CB42368-C011-418B-98E0-BA3C96F1DDE7}"/>
              </a:ext>
            </a:extLst>
          </p:cNvPr>
          <p:cNvSpPr>
            <a:spLocks/>
          </p:cNvSpPr>
          <p:nvPr/>
        </p:nvSpPr>
        <p:spPr bwMode="gray">
          <a:xfrm>
            <a:off x="4300266" y="2268650"/>
            <a:ext cx="306260" cy="295968"/>
          </a:xfrm>
          <a:custGeom>
            <a:avLst/>
            <a:gdLst>
              <a:gd name="T0" fmla="*/ 156 w 161"/>
              <a:gd name="T1" fmla="*/ 109 h 136"/>
              <a:gd name="T2" fmla="*/ 156 w 161"/>
              <a:gd name="T3" fmla="*/ 115 h 136"/>
              <a:gd name="T4" fmla="*/ 155 w 161"/>
              <a:gd name="T5" fmla="*/ 115 h 136"/>
              <a:gd name="T6" fmla="*/ 155 w 161"/>
              <a:gd name="T7" fmla="*/ 116 h 136"/>
              <a:gd name="T8" fmla="*/ 142 w 161"/>
              <a:gd name="T9" fmla="*/ 126 h 136"/>
              <a:gd name="T10" fmla="*/ 125 w 161"/>
              <a:gd name="T11" fmla="*/ 121 h 136"/>
              <a:gd name="T12" fmla="*/ 121 w 161"/>
              <a:gd name="T13" fmla="*/ 118 h 136"/>
              <a:gd name="T14" fmla="*/ 119 w 161"/>
              <a:gd name="T15" fmla="*/ 121 h 136"/>
              <a:gd name="T16" fmla="*/ 108 w 161"/>
              <a:gd name="T17" fmla="*/ 120 h 136"/>
              <a:gd name="T18" fmla="*/ 101 w 161"/>
              <a:gd name="T19" fmla="*/ 126 h 136"/>
              <a:gd name="T20" fmla="*/ 102 w 161"/>
              <a:gd name="T21" fmla="*/ 136 h 136"/>
              <a:gd name="T22" fmla="*/ 83 w 161"/>
              <a:gd name="T23" fmla="*/ 135 h 136"/>
              <a:gd name="T24" fmla="*/ 83 w 161"/>
              <a:gd name="T25" fmla="*/ 133 h 136"/>
              <a:gd name="T26" fmla="*/ 79 w 161"/>
              <a:gd name="T27" fmla="*/ 134 h 136"/>
              <a:gd name="T28" fmla="*/ 43 w 161"/>
              <a:gd name="T29" fmla="*/ 126 h 136"/>
              <a:gd name="T30" fmla="*/ 37 w 161"/>
              <a:gd name="T31" fmla="*/ 121 h 136"/>
              <a:gd name="T32" fmla="*/ 42 w 161"/>
              <a:gd name="T33" fmla="*/ 112 h 136"/>
              <a:gd name="T34" fmla="*/ 44 w 161"/>
              <a:gd name="T35" fmla="*/ 100 h 136"/>
              <a:gd name="T36" fmla="*/ 46 w 161"/>
              <a:gd name="T37" fmla="*/ 87 h 136"/>
              <a:gd name="T38" fmla="*/ 52 w 161"/>
              <a:gd name="T39" fmla="*/ 94 h 136"/>
              <a:gd name="T40" fmla="*/ 46 w 161"/>
              <a:gd name="T41" fmla="*/ 82 h 136"/>
              <a:gd name="T42" fmla="*/ 46 w 161"/>
              <a:gd name="T43" fmla="*/ 78 h 136"/>
              <a:gd name="T44" fmla="*/ 40 w 161"/>
              <a:gd name="T45" fmla="*/ 73 h 136"/>
              <a:gd name="T46" fmla="*/ 35 w 161"/>
              <a:gd name="T47" fmla="*/ 62 h 136"/>
              <a:gd name="T48" fmla="*/ 36 w 161"/>
              <a:gd name="T49" fmla="*/ 60 h 136"/>
              <a:gd name="T50" fmla="*/ 29 w 161"/>
              <a:gd name="T51" fmla="*/ 57 h 136"/>
              <a:gd name="T52" fmla="*/ 20 w 161"/>
              <a:gd name="T53" fmla="*/ 55 h 136"/>
              <a:gd name="T54" fmla="*/ 10 w 161"/>
              <a:gd name="T55" fmla="*/ 50 h 136"/>
              <a:gd name="T56" fmla="*/ 4 w 161"/>
              <a:gd name="T57" fmla="*/ 48 h 136"/>
              <a:gd name="T58" fmla="*/ 5 w 161"/>
              <a:gd name="T59" fmla="*/ 44 h 136"/>
              <a:gd name="T60" fmla="*/ 6 w 161"/>
              <a:gd name="T61" fmla="*/ 44 h 136"/>
              <a:gd name="T62" fmla="*/ 0 w 161"/>
              <a:gd name="T63" fmla="*/ 43 h 136"/>
              <a:gd name="T64" fmla="*/ 16 w 161"/>
              <a:gd name="T65" fmla="*/ 37 h 136"/>
              <a:gd name="T66" fmla="*/ 25 w 161"/>
              <a:gd name="T67" fmla="*/ 38 h 136"/>
              <a:gd name="T68" fmla="*/ 41 w 161"/>
              <a:gd name="T69" fmla="*/ 38 h 136"/>
              <a:gd name="T70" fmla="*/ 37 w 161"/>
              <a:gd name="T71" fmla="*/ 24 h 136"/>
              <a:gd name="T72" fmla="*/ 41 w 161"/>
              <a:gd name="T73" fmla="*/ 22 h 136"/>
              <a:gd name="T74" fmla="*/ 46 w 161"/>
              <a:gd name="T75" fmla="*/ 26 h 136"/>
              <a:gd name="T76" fmla="*/ 65 w 161"/>
              <a:gd name="T77" fmla="*/ 26 h 136"/>
              <a:gd name="T78" fmla="*/ 61 w 161"/>
              <a:gd name="T79" fmla="*/ 25 h 136"/>
              <a:gd name="T80" fmla="*/ 78 w 161"/>
              <a:gd name="T81" fmla="*/ 15 h 136"/>
              <a:gd name="T82" fmla="*/ 79 w 161"/>
              <a:gd name="T83" fmla="*/ 4 h 136"/>
              <a:gd name="T84" fmla="*/ 91 w 161"/>
              <a:gd name="T85" fmla="*/ 0 h 136"/>
              <a:gd name="T86" fmla="*/ 96 w 161"/>
              <a:gd name="T87" fmla="*/ 6 h 136"/>
              <a:gd name="T88" fmla="*/ 112 w 161"/>
              <a:gd name="T89" fmla="*/ 16 h 136"/>
              <a:gd name="T90" fmla="*/ 118 w 161"/>
              <a:gd name="T91" fmla="*/ 15 h 136"/>
              <a:gd name="T92" fmla="*/ 119 w 161"/>
              <a:gd name="T93" fmla="*/ 18 h 136"/>
              <a:gd name="T94" fmla="*/ 132 w 161"/>
              <a:gd name="T95" fmla="*/ 24 h 136"/>
              <a:gd name="T96" fmla="*/ 139 w 161"/>
              <a:gd name="T97" fmla="*/ 25 h 136"/>
              <a:gd name="T98" fmla="*/ 140 w 161"/>
              <a:gd name="T99" fmla="*/ 26 h 136"/>
              <a:gd name="T100" fmla="*/ 161 w 161"/>
              <a:gd name="T101" fmla="*/ 33 h 136"/>
              <a:gd name="T102" fmla="*/ 155 w 161"/>
              <a:gd name="T103" fmla="*/ 55 h 136"/>
              <a:gd name="T104" fmla="*/ 151 w 161"/>
              <a:gd name="T105" fmla="*/ 57 h 136"/>
              <a:gd name="T106" fmla="*/ 148 w 161"/>
              <a:gd name="T107" fmla="*/ 58 h 136"/>
              <a:gd name="T108" fmla="*/ 137 w 161"/>
              <a:gd name="T109" fmla="*/ 75 h 136"/>
              <a:gd name="T110" fmla="*/ 142 w 161"/>
              <a:gd name="T111" fmla="*/ 73 h 136"/>
              <a:gd name="T112" fmla="*/ 149 w 161"/>
              <a:gd name="T113" fmla="*/ 81 h 136"/>
              <a:gd name="T114" fmla="*/ 149 w 161"/>
              <a:gd name="T115" fmla="*/ 87 h 136"/>
              <a:gd name="T116" fmla="*/ 148 w 161"/>
              <a:gd name="T117" fmla="*/ 93 h 136"/>
              <a:gd name="T118" fmla="*/ 148 w 161"/>
              <a:gd name="T119" fmla="*/ 98 h 136"/>
              <a:gd name="T120" fmla="*/ 148 w 161"/>
              <a:gd name="T121" fmla="*/ 104 h 136"/>
              <a:gd name="T122" fmla="*/ 156 w 161"/>
              <a:gd name="T123" fmla="*/ 109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1" h="136">
                <a:moveTo>
                  <a:pt x="156" y="109"/>
                </a:moveTo>
                <a:lnTo>
                  <a:pt x="156" y="115"/>
                </a:lnTo>
                <a:lnTo>
                  <a:pt x="155" y="115"/>
                </a:lnTo>
                <a:lnTo>
                  <a:pt x="155" y="116"/>
                </a:lnTo>
                <a:lnTo>
                  <a:pt x="142" y="126"/>
                </a:lnTo>
                <a:lnTo>
                  <a:pt x="125" y="121"/>
                </a:lnTo>
                <a:lnTo>
                  <a:pt x="121" y="118"/>
                </a:lnTo>
                <a:lnTo>
                  <a:pt x="119" y="121"/>
                </a:lnTo>
                <a:lnTo>
                  <a:pt x="108" y="120"/>
                </a:lnTo>
                <a:lnTo>
                  <a:pt x="101" y="126"/>
                </a:lnTo>
                <a:lnTo>
                  <a:pt x="102" y="136"/>
                </a:lnTo>
                <a:lnTo>
                  <a:pt x="83" y="135"/>
                </a:lnTo>
                <a:lnTo>
                  <a:pt x="83" y="133"/>
                </a:lnTo>
                <a:lnTo>
                  <a:pt x="79" y="134"/>
                </a:lnTo>
                <a:lnTo>
                  <a:pt x="43" y="126"/>
                </a:lnTo>
                <a:lnTo>
                  <a:pt x="37" y="121"/>
                </a:lnTo>
                <a:lnTo>
                  <a:pt x="42" y="112"/>
                </a:lnTo>
                <a:lnTo>
                  <a:pt x="44" y="100"/>
                </a:lnTo>
                <a:lnTo>
                  <a:pt x="46" y="87"/>
                </a:lnTo>
                <a:lnTo>
                  <a:pt x="52" y="94"/>
                </a:lnTo>
                <a:lnTo>
                  <a:pt x="46" y="82"/>
                </a:lnTo>
                <a:lnTo>
                  <a:pt x="46" y="78"/>
                </a:lnTo>
                <a:lnTo>
                  <a:pt x="40" y="73"/>
                </a:lnTo>
                <a:lnTo>
                  <a:pt x="35" y="62"/>
                </a:lnTo>
                <a:lnTo>
                  <a:pt x="36" y="60"/>
                </a:lnTo>
                <a:lnTo>
                  <a:pt x="29" y="57"/>
                </a:lnTo>
                <a:lnTo>
                  <a:pt x="20" y="55"/>
                </a:lnTo>
                <a:lnTo>
                  <a:pt x="10" y="50"/>
                </a:lnTo>
                <a:lnTo>
                  <a:pt x="4" y="48"/>
                </a:lnTo>
                <a:lnTo>
                  <a:pt x="5" y="44"/>
                </a:lnTo>
                <a:lnTo>
                  <a:pt x="6" y="44"/>
                </a:lnTo>
                <a:lnTo>
                  <a:pt x="0" y="43"/>
                </a:lnTo>
                <a:lnTo>
                  <a:pt x="16" y="37"/>
                </a:lnTo>
                <a:lnTo>
                  <a:pt x="25" y="38"/>
                </a:lnTo>
                <a:lnTo>
                  <a:pt x="41" y="38"/>
                </a:lnTo>
                <a:lnTo>
                  <a:pt x="37" y="24"/>
                </a:lnTo>
                <a:lnTo>
                  <a:pt x="41" y="22"/>
                </a:lnTo>
                <a:lnTo>
                  <a:pt x="46" y="26"/>
                </a:lnTo>
                <a:lnTo>
                  <a:pt x="65" y="26"/>
                </a:lnTo>
                <a:lnTo>
                  <a:pt x="61" y="25"/>
                </a:lnTo>
                <a:lnTo>
                  <a:pt x="78" y="15"/>
                </a:lnTo>
                <a:lnTo>
                  <a:pt x="79" y="4"/>
                </a:lnTo>
                <a:lnTo>
                  <a:pt x="91" y="0"/>
                </a:lnTo>
                <a:lnTo>
                  <a:pt x="96" y="6"/>
                </a:lnTo>
                <a:lnTo>
                  <a:pt x="112" y="16"/>
                </a:lnTo>
                <a:lnTo>
                  <a:pt x="118" y="15"/>
                </a:lnTo>
                <a:lnTo>
                  <a:pt x="119" y="18"/>
                </a:lnTo>
                <a:lnTo>
                  <a:pt x="132" y="24"/>
                </a:lnTo>
                <a:lnTo>
                  <a:pt x="139" y="25"/>
                </a:lnTo>
                <a:lnTo>
                  <a:pt x="140" y="26"/>
                </a:lnTo>
                <a:lnTo>
                  <a:pt x="161" y="33"/>
                </a:lnTo>
                <a:lnTo>
                  <a:pt x="155" y="55"/>
                </a:lnTo>
                <a:lnTo>
                  <a:pt x="151" y="57"/>
                </a:lnTo>
                <a:lnTo>
                  <a:pt x="148" y="58"/>
                </a:lnTo>
                <a:lnTo>
                  <a:pt x="137" y="75"/>
                </a:lnTo>
                <a:lnTo>
                  <a:pt x="142" y="73"/>
                </a:lnTo>
                <a:lnTo>
                  <a:pt x="149" y="81"/>
                </a:lnTo>
                <a:lnTo>
                  <a:pt x="149" y="87"/>
                </a:lnTo>
                <a:lnTo>
                  <a:pt x="148" y="93"/>
                </a:lnTo>
                <a:lnTo>
                  <a:pt x="148" y="98"/>
                </a:lnTo>
                <a:lnTo>
                  <a:pt x="148" y="104"/>
                </a:lnTo>
                <a:lnTo>
                  <a:pt x="156" y="109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4" name="Freeform 389">
            <a:extLst>
              <a:ext uri="{FF2B5EF4-FFF2-40B4-BE49-F238E27FC236}">
                <a16:creationId xmlns:a16="http://schemas.microsoft.com/office/drawing/2014/main" id="{A0F81E4A-B198-4ED8-B8C1-43FC7949A090}"/>
              </a:ext>
            </a:extLst>
          </p:cNvPr>
          <p:cNvSpPr>
            <a:spLocks/>
          </p:cNvSpPr>
          <p:nvPr/>
        </p:nvSpPr>
        <p:spPr bwMode="gray">
          <a:xfrm>
            <a:off x="4628893" y="2550988"/>
            <a:ext cx="22367" cy="42837"/>
          </a:xfrm>
          <a:custGeom>
            <a:avLst/>
            <a:gdLst>
              <a:gd name="T0" fmla="*/ 8 w 12"/>
              <a:gd name="T1" fmla="*/ 22 h 22"/>
              <a:gd name="T2" fmla="*/ 2 w 12"/>
              <a:gd name="T3" fmla="*/ 18 h 22"/>
              <a:gd name="T4" fmla="*/ 0 w 12"/>
              <a:gd name="T5" fmla="*/ 10 h 22"/>
              <a:gd name="T6" fmla="*/ 8 w 12"/>
              <a:gd name="T7" fmla="*/ 0 h 22"/>
              <a:gd name="T8" fmla="*/ 12 w 12"/>
              <a:gd name="T9" fmla="*/ 10 h 22"/>
              <a:gd name="T10" fmla="*/ 8 w 12"/>
              <a:gd name="T11" fmla="*/ 2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" h="22">
                <a:moveTo>
                  <a:pt x="8" y="22"/>
                </a:moveTo>
                <a:lnTo>
                  <a:pt x="2" y="18"/>
                </a:lnTo>
                <a:lnTo>
                  <a:pt x="0" y="10"/>
                </a:lnTo>
                <a:lnTo>
                  <a:pt x="8" y="0"/>
                </a:lnTo>
                <a:lnTo>
                  <a:pt x="12" y="10"/>
                </a:lnTo>
                <a:lnTo>
                  <a:pt x="8" y="2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5" name="Freeform 390">
            <a:extLst>
              <a:ext uri="{FF2B5EF4-FFF2-40B4-BE49-F238E27FC236}">
                <a16:creationId xmlns:a16="http://schemas.microsoft.com/office/drawing/2014/main" id="{BA2C6B82-6564-4C1F-9205-34E83ECD7BDB}"/>
              </a:ext>
            </a:extLst>
          </p:cNvPr>
          <p:cNvSpPr>
            <a:spLocks/>
          </p:cNvSpPr>
          <p:nvPr/>
        </p:nvSpPr>
        <p:spPr bwMode="gray">
          <a:xfrm>
            <a:off x="4800948" y="2360164"/>
            <a:ext cx="161732" cy="87621"/>
          </a:xfrm>
          <a:custGeom>
            <a:avLst/>
            <a:gdLst>
              <a:gd name="T0" fmla="*/ 35 w 83"/>
              <a:gd name="T1" fmla="*/ 39 h 39"/>
              <a:gd name="T2" fmla="*/ 17 w 83"/>
              <a:gd name="T3" fmla="*/ 38 h 39"/>
              <a:gd name="T4" fmla="*/ 5 w 83"/>
              <a:gd name="T5" fmla="*/ 28 h 39"/>
              <a:gd name="T6" fmla="*/ 1 w 83"/>
              <a:gd name="T7" fmla="*/ 26 h 39"/>
              <a:gd name="T8" fmla="*/ 0 w 83"/>
              <a:gd name="T9" fmla="*/ 24 h 39"/>
              <a:gd name="T10" fmla="*/ 1 w 83"/>
              <a:gd name="T11" fmla="*/ 22 h 39"/>
              <a:gd name="T12" fmla="*/ 6 w 83"/>
              <a:gd name="T13" fmla="*/ 13 h 39"/>
              <a:gd name="T14" fmla="*/ 7 w 83"/>
              <a:gd name="T15" fmla="*/ 12 h 39"/>
              <a:gd name="T16" fmla="*/ 12 w 83"/>
              <a:gd name="T17" fmla="*/ 6 h 39"/>
              <a:gd name="T18" fmla="*/ 15 w 83"/>
              <a:gd name="T19" fmla="*/ 8 h 39"/>
              <a:gd name="T20" fmla="*/ 31 w 83"/>
              <a:gd name="T21" fmla="*/ 8 h 39"/>
              <a:gd name="T22" fmla="*/ 51 w 83"/>
              <a:gd name="T23" fmla="*/ 0 h 39"/>
              <a:gd name="T24" fmla="*/ 73 w 83"/>
              <a:gd name="T25" fmla="*/ 0 h 39"/>
              <a:gd name="T26" fmla="*/ 83 w 83"/>
              <a:gd name="T27" fmla="*/ 7 h 39"/>
              <a:gd name="T28" fmla="*/ 71 w 83"/>
              <a:gd name="T29" fmla="*/ 19 h 39"/>
              <a:gd name="T30" fmla="*/ 61 w 83"/>
              <a:gd name="T31" fmla="*/ 33 h 39"/>
              <a:gd name="T32" fmla="*/ 53 w 83"/>
              <a:gd name="T33" fmla="*/ 36 h 39"/>
              <a:gd name="T34" fmla="*/ 35 w 83"/>
              <a:gd name="T35" fmla="*/ 3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3" h="39">
                <a:moveTo>
                  <a:pt x="35" y="39"/>
                </a:moveTo>
                <a:lnTo>
                  <a:pt x="17" y="38"/>
                </a:lnTo>
                <a:lnTo>
                  <a:pt x="5" y="28"/>
                </a:lnTo>
                <a:lnTo>
                  <a:pt x="1" y="26"/>
                </a:lnTo>
                <a:lnTo>
                  <a:pt x="0" y="24"/>
                </a:lnTo>
                <a:lnTo>
                  <a:pt x="1" y="22"/>
                </a:lnTo>
                <a:lnTo>
                  <a:pt x="6" y="13"/>
                </a:lnTo>
                <a:lnTo>
                  <a:pt x="7" y="12"/>
                </a:lnTo>
                <a:lnTo>
                  <a:pt x="12" y="6"/>
                </a:lnTo>
                <a:lnTo>
                  <a:pt x="15" y="8"/>
                </a:lnTo>
                <a:lnTo>
                  <a:pt x="31" y="8"/>
                </a:lnTo>
                <a:lnTo>
                  <a:pt x="51" y="0"/>
                </a:lnTo>
                <a:lnTo>
                  <a:pt x="73" y="0"/>
                </a:lnTo>
                <a:lnTo>
                  <a:pt x="83" y="7"/>
                </a:lnTo>
                <a:lnTo>
                  <a:pt x="71" y="19"/>
                </a:lnTo>
                <a:lnTo>
                  <a:pt x="61" y="33"/>
                </a:lnTo>
                <a:lnTo>
                  <a:pt x="53" y="36"/>
                </a:lnTo>
                <a:lnTo>
                  <a:pt x="35" y="39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6" name="Freeform 392">
            <a:extLst>
              <a:ext uri="{FF2B5EF4-FFF2-40B4-BE49-F238E27FC236}">
                <a16:creationId xmlns:a16="http://schemas.microsoft.com/office/drawing/2014/main" id="{3DB7ECE0-2C26-43F1-A7BD-75AEE81935E6}"/>
              </a:ext>
            </a:extLst>
          </p:cNvPr>
          <p:cNvSpPr>
            <a:spLocks/>
          </p:cNvSpPr>
          <p:nvPr/>
        </p:nvSpPr>
        <p:spPr bwMode="gray">
          <a:xfrm>
            <a:off x="716350" y="1705921"/>
            <a:ext cx="232273" cy="138250"/>
          </a:xfrm>
          <a:custGeom>
            <a:avLst/>
            <a:gdLst>
              <a:gd name="T0" fmla="*/ 121 w 121"/>
              <a:gd name="T1" fmla="*/ 39 h 65"/>
              <a:gd name="T2" fmla="*/ 119 w 121"/>
              <a:gd name="T3" fmla="*/ 34 h 65"/>
              <a:gd name="T4" fmla="*/ 112 w 121"/>
              <a:gd name="T5" fmla="*/ 27 h 65"/>
              <a:gd name="T6" fmla="*/ 106 w 121"/>
              <a:gd name="T7" fmla="*/ 25 h 65"/>
              <a:gd name="T8" fmla="*/ 106 w 121"/>
              <a:gd name="T9" fmla="*/ 28 h 65"/>
              <a:gd name="T10" fmla="*/ 102 w 121"/>
              <a:gd name="T11" fmla="*/ 27 h 65"/>
              <a:gd name="T12" fmla="*/ 91 w 121"/>
              <a:gd name="T13" fmla="*/ 27 h 65"/>
              <a:gd name="T14" fmla="*/ 83 w 121"/>
              <a:gd name="T15" fmla="*/ 33 h 65"/>
              <a:gd name="T16" fmla="*/ 83 w 121"/>
              <a:gd name="T17" fmla="*/ 36 h 65"/>
              <a:gd name="T18" fmla="*/ 77 w 121"/>
              <a:gd name="T19" fmla="*/ 36 h 65"/>
              <a:gd name="T20" fmla="*/ 82 w 121"/>
              <a:gd name="T21" fmla="*/ 30 h 65"/>
              <a:gd name="T22" fmla="*/ 90 w 121"/>
              <a:gd name="T23" fmla="*/ 21 h 65"/>
              <a:gd name="T24" fmla="*/ 90 w 121"/>
              <a:gd name="T25" fmla="*/ 13 h 65"/>
              <a:gd name="T26" fmla="*/ 80 w 121"/>
              <a:gd name="T27" fmla="*/ 5 h 65"/>
              <a:gd name="T28" fmla="*/ 80 w 121"/>
              <a:gd name="T29" fmla="*/ 7 h 65"/>
              <a:gd name="T30" fmla="*/ 74 w 121"/>
              <a:gd name="T31" fmla="*/ 0 h 65"/>
              <a:gd name="T32" fmla="*/ 55 w 121"/>
              <a:gd name="T33" fmla="*/ 12 h 65"/>
              <a:gd name="T34" fmla="*/ 37 w 121"/>
              <a:gd name="T35" fmla="*/ 25 h 65"/>
              <a:gd name="T36" fmla="*/ 18 w 121"/>
              <a:gd name="T37" fmla="*/ 37 h 65"/>
              <a:gd name="T38" fmla="*/ 0 w 121"/>
              <a:gd name="T39" fmla="*/ 51 h 65"/>
              <a:gd name="T40" fmla="*/ 8 w 121"/>
              <a:gd name="T41" fmla="*/ 42 h 65"/>
              <a:gd name="T42" fmla="*/ 17 w 121"/>
              <a:gd name="T43" fmla="*/ 39 h 65"/>
              <a:gd name="T44" fmla="*/ 22 w 121"/>
              <a:gd name="T45" fmla="*/ 37 h 65"/>
              <a:gd name="T46" fmla="*/ 28 w 121"/>
              <a:gd name="T47" fmla="*/ 35 h 65"/>
              <a:gd name="T48" fmla="*/ 28 w 121"/>
              <a:gd name="T49" fmla="*/ 37 h 65"/>
              <a:gd name="T50" fmla="*/ 31 w 121"/>
              <a:gd name="T51" fmla="*/ 37 h 65"/>
              <a:gd name="T52" fmla="*/ 20 w 121"/>
              <a:gd name="T53" fmla="*/ 42 h 65"/>
              <a:gd name="T54" fmla="*/ 19 w 121"/>
              <a:gd name="T55" fmla="*/ 47 h 65"/>
              <a:gd name="T56" fmla="*/ 41 w 121"/>
              <a:gd name="T57" fmla="*/ 47 h 65"/>
              <a:gd name="T58" fmla="*/ 35 w 121"/>
              <a:gd name="T59" fmla="*/ 57 h 65"/>
              <a:gd name="T60" fmla="*/ 44 w 121"/>
              <a:gd name="T61" fmla="*/ 60 h 65"/>
              <a:gd name="T62" fmla="*/ 52 w 121"/>
              <a:gd name="T63" fmla="*/ 61 h 65"/>
              <a:gd name="T64" fmla="*/ 48 w 121"/>
              <a:gd name="T65" fmla="*/ 65 h 65"/>
              <a:gd name="T66" fmla="*/ 56 w 121"/>
              <a:gd name="T67" fmla="*/ 63 h 65"/>
              <a:gd name="T68" fmla="*/ 62 w 121"/>
              <a:gd name="T69" fmla="*/ 60 h 65"/>
              <a:gd name="T70" fmla="*/ 61 w 121"/>
              <a:gd name="T71" fmla="*/ 58 h 65"/>
              <a:gd name="T72" fmla="*/ 77 w 121"/>
              <a:gd name="T73" fmla="*/ 51 h 65"/>
              <a:gd name="T74" fmla="*/ 82 w 121"/>
              <a:gd name="T75" fmla="*/ 48 h 65"/>
              <a:gd name="T76" fmla="*/ 83 w 121"/>
              <a:gd name="T77" fmla="*/ 45 h 65"/>
              <a:gd name="T78" fmla="*/ 85 w 121"/>
              <a:gd name="T79" fmla="*/ 47 h 65"/>
              <a:gd name="T80" fmla="*/ 92 w 121"/>
              <a:gd name="T81" fmla="*/ 47 h 65"/>
              <a:gd name="T82" fmla="*/ 97 w 121"/>
              <a:gd name="T83" fmla="*/ 43 h 65"/>
              <a:gd name="T84" fmla="*/ 106 w 121"/>
              <a:gd name="T85" fmla="*/ 43 h 65"/>
              <a:gd name="T86" fmla="*/ 121 w 121"/>
              <a:gd name="T87" fmla="*/ 39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21" h="65">
                <a:moveTo>
                  <a:pt x="121" y="39"/>
                </a:moveTo>
                <a:lnTo>
                  <a:pt x="119" y="34"/>
                </a:lnTo>
                <a:lnTo>
                  <a:pt x="112" y="27"/>
                </a:lnTo>
                <a:lnTo>
                  <a:pt x="106" y="25"/>
                </a:lnTo>
                <a:lnTo>
                  <a:pt x="106" y="28"/>
                </a:lnTo>
                <a:lnTo>
                  <a:pt x="102" y="27"/>
                </a:lnTo>
                <a:lnTo>
                  <a:pt x="91" y="27"/>
                </a:lnTo>
                <a:lnTo>
                  <a:pt x="83" y="33"/>
                </a:lnTo>
                <a:lnTo>
                  <a:pt x="83" y="36"/>
                </a:lnTo>
                <a:lnTo>
                  <a:pt x="77" y="36"/>
                </a:lnTo>
                <a:lnTo>
                  <a:pt x="82" y="30"/>
                </a:lnTo>
                <a:lnTo>
                  <a:pt x="90" y="21"/>
                </a:lnTo>
                <a:lnTo>
                  <a:pt x="90" y="13"/>
                </a:lnTo>
                <a:lnTo>
                  <a:pt x="80" y="5"/>
                </a:lnTo>
                <a:lnTo>
                  <a:pt x="80" y="7"/>
                </a:lnTo>
                <a:lnTo>
                  <a:pt x="74" y="0"/>
                </a:lnTo>
                <a:lnTo>
                  <a:pt x="55" y="12"/>
                </a:lnTo>
                <a:lnTo>
                  <a:pt x="37" y="25"/>
                </a:lnTo>
                <a:lnTo>
                  <a:pt x="18" y="37"/>
                </a:lnTo>
                <a:lnTo>
                  <a:pt x="0" y="51"/>
                </a:lnTo>
                <a:lnTo>
                  <a:pt x="8" y="42"/>
                </a:lnTo>
                <a:lnTo>
                  <a:pt x="17" y="39"/>
                </a:lnTo>
                <a:lnTo>
                  <a:pt x="22" y="37"/>
                </a:lnTo>
                <a:lnTo>
                  <a:pt x="28" y="35"/>
                </a:lnTo>
                <a:lnTo>
                  <a:pt x="28" y="37"/>
                </a:lnTo>
                <a:lnTo>
                  <a:pt x="31" y="37"/>
                </a:lnTo>
                <a:lnTo>
                  <a:pt x="20" y="42"/>
                </a:lnTo>
                <a:lnTo>
                  <a:pt x="19" y="47"/>
                </a:lnTo>
                <a:lnTo>
                  <a:pt x="41" y="47"/>
                </a:lnTo>
                <a:lnTo>
                  <a:pt x="35" y="57"/>
                </a:lnTo>
                <a:lnTo>
                  <a:pt x="44" y="60"/>
                </a:lnTo>
                <a:lnTo>
                  <a:pt x="52" y="61"/>
                </a:lnTo>
                <a:lnTo>
                  <a:pt x="48" y="65"/>
                </a:lnTo>
                <a:lnTo>
                  <a:pt x="56" y="63"/>
                </a:lnTo>
                <a:lnTo>
                  <a:pt x="62" y="60"/>
                </a:lnTo>
                <a:lnTo>
                  <a:pt x="61" y="58"/>
                </a:lnTo>
                <a:lnTo>
                  <a:pt x="77" y="51"/>
                </a:lnTo>
                <a:lnTo>
                  <a:pt x="82" y="48"/>
                </a:lnTo>
                <a:lnTo>
                  <a:pt x="83" y="45"/>
                </a:lnTo>
                <a:lnTo>
                  <a:pt x="85" y="47"/>
                </a:lnTo>
                <a:lnTo>
                  <a:pt x="92" y="47"/>
                </a:lnTo>
                <a:lnTo>
                  <a:pt x="97" y="43"/>
                </a:lnTo>
                <a:lnTo>
                  <a:pt x="106" y="43"/>
                </a:lnTo>
                <a:lnTo>
                  <a:pt x="121" y="39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7" name="Freeform 393">
            <a:extLst>
              <a:ext uri="{FF2B5EF4-FFF2-40B4-BE49-F238E27FC236}">
                <a16:creationId xmlns:a16="http://schemas.microsoft.com/office/drawing/2014/main" id="{264BA599-92B2-4EAB-AC80-6738BDC0AA8A}"/>
              </a:ext>
            </a:extLst>
          </p:cNvPr>
          <p:cNvSpPr>
            <a:spLocks/>
          </p:cNvSpPr>
          <p:nvPr/>
        </p:nvSpPr>
        <p:spPr bwMode="gray">
          <a:xfrm>
            <a:off x="7662233" y="2161556"/>
            <a:ext cx="225391" cy="276496"/>
          </a:xfrm>
          <a:custGeom>
            <a:avLst/>
            <a:gdLst>
              <a:gd name="T0" fmla="*/ 104 w 117"/>
              <a:gd name="T1" fmla="*/ 89 h 130"/>
              <a:gd name="T2" fmla="*/ 89 w 117"/>
              <a:gd name="T3" fmla="*/ 76 h 130"/>
              <a:gd name="T4" fmla="*/ 73 w 117"/>
              <a:gd name="T5" fmla="*/ 63 h 130"/>
              <a:gd name="T6" fmla="*/ 56 w 117"/>
              <a:gd name="T7" fmla="*/ 48 h 130"/>
              <a:gd name="T8" fmla="*/ 39 w 117"/>
              <a:gd name="T9" fmla="*/ 35 h 130"/>
              <a:gd name="T10" fmla="*/ 36 w 117"/>
              <a:gd name="T11" fmla="*/ 30 h 130"/>
              <a:gd name="T12" fmla="*/ 20 w 117"/>
              <a:gd name="T13" fmla="*/ 15 h 130"/>
              <a:gd name="T14" fmla="*/ 3 w 117"/>
              <a:gd name="T15" fmla="*/ 0 h 130"/>
              <a:gd name="T16" fmla="*/ 0 w 117"/>
              <a:gd name="T17" fmla="*/ 1 h 130"/>
              <a:gd name="T18" fmla="*/ 13 w 117"/>
              <a:gd name="T19" fmla="*/ 11 h 130"/>
              <a:gd name="T20" fmla="*/ 12 w 117"/>
              <a:gd name="T21" fmla="*/ 16 h 130"/>
              <a:gd name="T22" fmla="*/ 6 w 117"/>
              <a:gd name="T23" fmla="*/ 16 h 130"/>
              <a:gd name="T24" fmla="*/ 19 w 117"/>
              <a:gd name="T25" fmla="*/ 30 h 130"/>
              <a:gd name="T26" fmla="*/ 32 w 117"/>
              <a:gd name="T27" fmla="*/ 43 h 130"/>
              <a:gd name="T28" fmla="*/ 45 w 117"/>
              <a:gd name="T29" fmla="*/ 57 h 130"/>
              <a:gd name="T30" fmla="*/ 56 w 117"/>
              <a:gd name="T31" fmla="*/ 72 h 130"/>
              <a:gd name="T32" fmla="*/ 66 w 117"/>
              <a:gd name="T33" fmla="*/ 88 h 130"/>
              <a:gd name="T34" fmla="*/ 77 w 117"/>
              <a:gd name="T35" fmla="*/ 101 h 130"/>
              <a:gd name="T36" fmla="*/ 87 w 117"/>
              <a:gd name="T37" fmla="*/ 114 h 130"/>
              <a:gd name="T38" fmla="*/ 98 w 117"/>
              <a:gd name="T39" fmla="*/ 130 h 130"/>
              <a:gd name="T40" fmla="*/ 102 w 117"/>
              <a:gd name="T41" fmla="*/ 130 h 130"/>
              <a:gd name="T42" fmla="*/ 99 w 117"/>
              <a:gd name="T43" fmla="*/ 119 h 130"/>
              <a:gd name="T44" fmla="*/ 113 w 117"/>
              <a:gd name="T45" fmla="*/ 125 h 130"/>
              <a:gd name="T46" fmla="*/ 117 w 117"/>
              <a:gd name="T47" fmla="*/ 130 h 130"/>
              <a:gd name="T48" fmla="*/ 108 w 117"/>
              <a:gd name="T49" fmla="*/ 118 h 130"/>
              <a:gd name="T50" fmla="*/ 84 w 117"/>
              <a:gd name="T51" fmla="*/ 100 h 130"/>
              <a:gd name="T52" fmla="*/ 78 w 117"/>
              <a:gd name="T53" fmla="*/ 79 h 130"/>
              <a:gd name="T54" fmla="*/ 83 w 117"/>
              <a:gd name="T55" fmla="*/ 79 h 130"/>
              <a:gd name="T56" fmla="*/ 98 w 117"/>
              <a:gd name="T57" fmla="*/ 85 h 130"/>
              <a:gd name="T58" fmla="*/ 104 w 117"/>
              <a:gd name="T59" fmla="*/ 89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17" h="130">
                <a:moveTo>
                  <a:pt x="104" y="89"/>
                </a:moveTo>
                <a:lnTo>
                  <a:pt x="89" y="76"/>
                </a:lnTo>
                <a:lnTo>
                  <a:pt x="73" y="63"/>
                </a:lnTo>
                <a:lnTo>
                  <a:pt x="56" y="48"/>
                </a:lnTo>
                <a:lnTo>
                  <a:pt x="39" y="35"/>
                </a:lnTo>
                <a:lnTo>
                  <a:pt x="36" y="30"/>
                </a:lnTo>
                <a:lnTo>
                  <a:pt x="20" y="15"/>
                </a:lnTo>
                <a:lnTo>
                  <a:pt x="3" y="0"/>
                </a:lnTo>
                <a:lnTo>
                  <a:pt x="0" y="1"/>
                </a:lnTo>
                <a:lnTo>
                  <a:pt x="13" y="11"/>
                </a:lnTo>
                <a:lnTo>
                  <a:pt x="12" y="16"/>
                </a:lnTo>
                <a:lnTo>
                  <a:pt x="6" y="16"/>
                </a:lnTo>
                <a:lnTo>
                  <a:pt x="19" y="30"/>
                </a:lnTo>
                <a:lnTo>
                  <a:pt x="32" y="43"/>
                </a:lnTo>
                <a:lnTo>
                  <a:pt x="45" y="57"/>
                </a:lnTo>
                <a:lnTo>
                  <a:pt x="56" y="72"/>
                </a:lnTo>
                <a:lnTo>
                  <a:pt x="66" y="88"/>
                </a:lnTo>
                <a:lnTo>
                  <a:pt x="77" y="101"/>
                </a:lnTo>
                <a:lnTo>
                  <a:pt x="87" y="114"/>
                </a:lnTo>
                <a:lnTo>
                  <a:pt x="98" y="130"/>
                </a:lnTo>
                <a:lnTo>
                  <a:pt x="102" y="130"/>
                </a:lnTo>
                <a:lnTo>
                  <a:pt x="99" y="119"/>
                </a:lnTo>
                <a:lnTo>
                  <a:pt x="113" y="125"/>
                </a:lnTo>
                <a:lnTo>
                  <a:pt x="117" y="130"/>
                </a:lnTo>
                <a:lnTo>
                  <a:pt x="108" y="118"/>
                </a:lnTo>
                <a:lnTo>
                  <a:pt x="84" y="100"/>
                </a:lnTo>
                <a:lnTo>
                  <a:pt x="78" y="79"/>
                </a:lnTo>
                <a:lnTo>
                  <a:pt x="83" y="79"/>
                </a:lnTo>
                <a:lnTo>
                  <a:pt x="98" y="85"/>
                </a:lnTo>
                <a:lnTo>
                  <a:pt x="104" y="8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8" name="Freeform 394">
            <a:extLst>
              <a:ext uri="{FF2B5EF4-FFF2-40B4-BE49-F238E27FC236}">
                <a16:creationId xmlns:a16="http://schemas.microsoft.com/office/drawing/2014/main" id="{4DF397B5-9231-4623-8DE1-80F08D5CC0AB}"/>
              </a:ext>
            </a:extLst>
          </p:cNvPr>
          <p:cNvSpPr>
            <a:spLocks/>
          </p:cNvSpPr>
          <p:nvPr/>
        </p:nvSpPr>
        <p:spPr bwMode="gray">
          <a:xfrm>
            <a:off x="5413466" y="1480048"/>
            <a:ext cx="233995" cy="95410"/>
          </a:xfrm>
          <a:custGeom>
            <a:avLst/>
            <a:gdLst>
              <a:gd name="T0" fmla="*/ 121 w 121"/>
              <a:gd name="T1" fmla="*/ 2 h 44"/>
              <a:gd name="T2" fmla="*/ 112 w 121"/>
              <a:gd name="T3" fmla="*/ 8 h 44"/>
              <a:gd name="T4" fmla="*/ 85 w 121"/>
              <a:gd name="T5" fmla="*/ 16 h 44"/>
              <a:gd name="T6" fmla="*/ 58 w 121"/>
              <a:gd name="T7" fmla="*/ 22 h 44"/>
              <a:gd name="T8" fmla="*/ 52 w 121"/>
              <a:gd name="T9" fmla="*/ 23 h 44"/>
              <a:gd name="T10" fmla="*/ 55 w 121"/>
              <a:gd name="T11" fmla="*/ 25 h 44"/>
              <a:gd name="T12" fmla="*/ 53 w 121"/>
              <a:gd name="T13" fmla="*/ 26 h 44"/>
              <a:gd name="T14" fmla="*/ 47 w 121"/>
              <a:gd name="T15" fmla="*/ 28 h 44"/>
              <a:gd name="T16" fmla="*/ 48 w 121"/>
              <a:gd name="T17" fmla="*/ 30 h 44"/>
              <a:gd name="T18" fmla="*/ 38 w 121"/>
              <a:gd name="T19" fmla="*/ 29 h 44"/>
              <a:gd name="T20" fmla="*/ 41 w 121"/>
              <a:gd name="T21" fmla="*/ 34 h 44"/>
              <a:gd name="T22" fmla="*/ 37 w 121"/>
              <a:gd name="T23" fmla="*/ 35 h 44"/>
              <a:gd name="T24" fmla="*/ 40 w 121"/>
              <a:gd name="T25" fmla="*/ 40 h 44"/>
              <a:gd name="T26" fmla="*/ 26 w 121"/>
              <a:gd name="T27" fmla="*/ 37 h 44"/>
              <a:gd name="T28" fmla="*/ 40 w 121"/>
              <a:gd name="T29" fmla="*/ 41 h 44"/>
              <a:gd name="T30" fmla="*/ 32 w 121"/>
              <a:gd name="T31" fmla="*/ 41 h 44"/>
              <a:gd name="T32" fmla="*/ 35 w 121"/>
              <a:gd name="T33" fmla="*/ 44 h 44"/>
              <a:gd name="T34" fmla="*/ 7 w 121"/>
              <a:gd name="T35" fmla="*/ 42 h 44"/>
              <a:gd name="T36" fmla="*/ 12 w 121"/>
              <a:gd name="T37" fmla="*/ 40 h 44"/>
              <a:gd name="T38" fmla="*/ 0 w 121"/>
              <a:gd name="T39" fmla="*/ 40 h 44"/>
              <a:gd name="T40" fmla="*/ 12 w 121"/>
              <a:gd name="T41" fmla="*/ 34 h 44"/>
              <a:gd name="T42" fmla="*/ 16 w 121"/>
              <a:gd name="T43" fmla="*/ 34 h 44"/>
              <a:gd name="T44" fmla="*/ 11 w 121"/>
              <a:gd name="T45" fmla="*/ 31 h 44"/>
              <a:gd name="T46" fmla="*/ 13 w 121"/>
              <a:gd name="T47" fmla="*/ 29 h 44"/>
              <a:gd name="T48" fmla="*/ 19 w 121"/>
              <a:gd name="T49" fmla="*/ 25 h 44"/>
              <a:gd name="T50" fmla="*/ 16 w 121"/>
              <a:gd name="T51" fmla="*/ 24 h 44"/>
              <a:gd name="T52" fmla="*/ 17 w 121"/>
              <a:gd name="T53" fmla="*/ 23 h 44"/>
              <a:gd name="T54" fmla="*/ 11 w 121"/>
              <a:gd name="T55" fmla="*/ 22 h 44"/>
              <a:gd name="T56" fmla="*/ 18 w 121"/>
              <a:gd name="T57" fmla="*/ 19 h 44"/>
              <a:gd name="T58" fmla="*/ 25 w 121"/>
              <a:gd name="T59" fmla="*/ 18 h 44"/>
              <a:gd name="T60" fmla="*/ 47 w 121"/>
              <a:gd name="T61" fmla="*/ 11 h 44"/>
              <a:gd name="T62" fmla="*/ 50 w 121"/>
              <a:gd name="T63" fmla="*/ 8 h 44"/>
              <a:gd name="T64" fmla="*/ 92 w 121"/>
              <a:gd name="T65" fmla="*/ 4 h 44"/>
              <a:gd name="T66" fmla="*/ 110 w 121"/>
              <a:gd name="T67" fmla="*/ 0 h 44"/>
              <a:gd name="T68" fmla="*/ 121 w 121"/>
              <a:gd name="T69" fmla="*/ 2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21" h="44">
                <a:moveTo>
                  <a:pt x="121" y="2"/>
                </a:moveTo>
                <a:lnTo>
                  <a:pt x="112" y="8"/>
                </a:lnTo>
                <a:lnTo>
                  <a:pt x="85" y="16"/>
                </a:lnTo>
                <a:lnTo>
                  <a:pt x="58" y="22"/>
                </a:lnTo>
                <a:lnTo>
                  <a:pt x="52" y="23"/>
                </a:lnTo>
                <a:lnTo>
                  <a:pt x="55" y="25"/>
                </a:lnTo>
                <a:lnTo>
                  <a:pt x="53" y="26"/>
                </a:lnTo>
                <a:lnTo>
                  <a:pt x="47" y="28"/>
                </a:lnTo>
                <a:lnTo>
                  <a:pt x="48" y="30"/>
                </a:lnTo>
                <a:lnTo>
                  <a:pt x="38" y="29"/>
                </a:lnTo>
                <a:lnTo>
                  <a:pt x="41" y="34"/>
                </a:lnTo>
                <a:lnTo>
                  <a:pt x="37" y="35"/>
                </a:lnTo>
                <a:lnTo>
                  <a:pt x="40" y="40"/>
                </a:lnTo>
                <a:lnTo>
                  <a:pt x="26" y="37"/>
                </a:lnTo>
                <a:lnTo>
                  <a:pt x="40" y="41"/>
                </a:lnTo>
                <a:lnTo>
                  <a:pt x="32" y="41"/>
                </a:lnTo>
                <a:lnTo>
                  <a:pt x="35" y="44"/>
                </a:lnTo>
                <a:lnTo>
                  <a:pt x="7" y="42"/>
                </a:lnTo>
                <a:lnTo>
                  <a:pt x="12" y="40"/>
                </a:lnTo>
                <a:lnTo>
                  <a:pt x="0" y="40"/>
                </a:lnTo>
                <a:lnTo>
                  <a:pt x="12" y="34"/>
                </a:lnTo>
                <a:lnTo>
                  <a:pt x="16" y="34"/>
                </a:lnTo>
                <a:lnTo>
                  <a:pt x="11" y="31"/>
                </a:lnTo>
                <a:lnTo>
                  <a:pt x="13" y="29"/>
                </a:lnTo>
                <a:lnTo>
                  <a:pt x="19" y="25"/>
                </a:lnTo>
                <a:lnTo>
                  <a:pt x="16" y="24"/>
                </a:lnTo>
                <a:lnTo>
                  <a:pt x="17" y="23"/>
                </a:lnTo>
                <a:lnTo>
                  <a:pt x="11" y="22"/>
                </a:lnTo>
                <a:lnTo>
                  <a:pt x="18" y="19"/>
                </a:lnTo>
                <a:lnTo>
                  <a:pt x="25" y="18"/>
                </a:lnTo>
                <a:lnTo>
                  <a:pt x="47" y="11"/>
                </a:lnTo>
                <a:lnTo>
                  <a:pt x="50" y="8"/>
                </a:lnTo>
                <a:lnTo>
                  <a:pt x="92" y="4"/>
                </a:lnTo>
                <a:lnTo>
                  <a:pt x="110" y="0"/>
                </a:lnTo>
                <a:lnTo>
                  <a:pt x="121" y="2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9" name="Freeform 395">
            <a:extLst>
              <a:ext uri="{FF2B5EF4-FFF2-40B4-BE49-F238E27FC236}">
                <a16:creationId xmlns:a16="http://schemas.microsoft.com/office/drawing/2014/main" id="{C74948FC-A417-4FD1-8CFD-824AE2C9EC25}"/>
              </a:ext>
            </a:extLst>
          </p:cNvPr>
          <p:cNvSpPr>
            <a:spLocks/>
          </p:cNvSpPr>
          <p:nvPr/>
        </p:nvSpPr>
        <p:spPr bwMode="gray">
          <a:xfrm>
            <a:off x="5394540" y="1575459"/>
            <a:ext cx="137644" cy="77886"/>
          </a:xfrm>
          <a:custGeom>
            <a:avLst/>
            <a:gdLst>
              <a:gd name="T0" fmla="*/ 71 w 71"/>
              <a:gd name="T1" fmla="*/ 34 h 35"/>
              <a:gd name="T2" fmla="*/ 45 w 71"/>
              <a:gd name="T3" fmla="*/ 23 h 35"/>
              <a:gd name="T4" fmla="*/ 36 w 71"/>
              <a:gd name="T5" fmla="*/ 10 h 35"/>
              <a:gd name="T6" fmla="*/ 38 w 71"/>
              <a:gd name="T7" fmla="*/ 8 h 35"/>
              <a:gd name="T8" fmla="*/ 39 w 71"/>
              <a:gd name="T9" fmla="*/ 5 h 35"/>
              <a:gd name="T10" fmla="*/ 40 w 71"/>
              <a:gd name="T11" fmla="*/ 2 h 35"/>
              <a:gd name="T12" fmla="*/ 14 w 71"/>
              <a:gd name="T13" fmla="*/ 0 h 35"/>
              <a:gd name="T14" fmla="*/ 10 w 71"/>
              <a:gd name="T15" fmla="*/ 5 h 35"/>
              <a:gd name="T16" fmla="*/ 6 w 71"/>
              <a:gd name="T17" fmla="*/ 9 h 35"/>
              <a:gd name="T18" fmla="*/ 10 w 71"/>
              <a:gd name="T19" fmla="*/ 11 h 35"/>
              <a:gd name="T20" fmla="*/ 5 w 71"/>
              <a:gd name="T21" fmla="*/ 17 h 35"/>
              <a:gd name="T22" fmla="*/ 0 w 71"/>
              <a:gd name="T23" fmla="*/ 18 h 35"/>
              <a:gd name="T24" fmla="*/ 8 w 71"/>
              <a:gd name="T25" fmla="*/ 24 h 35"/>
              <a:gd name="T26" fmla="*/ 16 w 71"/>
              <a:gd name="T27" fmla="*/ 24 h 35"/>
              <a:gd name="T28" fmla="*/ 22 w 71"/>
              <a:gd name="T29" fmla="*/ 24 h 35"/>
              <a:gd name="T30" fmla="*/ 27 w 71"/>
              <a:gd name="T31" fmla="*/ 26 h 35"/>
              <a:gd name="T32" fmla="*/ 32 w 71"/>
              <a:gd name="T33" fmla="*/ 30 h 35"/>
              <a:gd name="T34" fmla="*/ 30 w 71"/>
              <a:gd name="T35" fmla="*/ 32 h 35"/>
              <a:gd name="T36" fmla="*/ 40 w 71"/>
              <a:gd name="T37" fmla="*/ 34 h 35"/>
              <a:gd name="T38" fmla="*/ 48 w 71"/>
              <a:gd name="T39" fmla="*/ 35 h 35"/>
              <a:gd name="T40" fmla="*/ 58 w 71"/>
              <a:gd name="T41" fmla="*/ 35 h 35"/>
              <a:gd name="T42" fmla="*/ 66 w 71"/>
              <a:gd name="T43" fmla="*/ 35 h 35"/>
              <a:gd name="T44" fmla="*/ 71 w 71"/>
              <a:gd name="T45" fmla="*/ 34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71" h="35">
                <a:moveTo>
                  <a:pt x="71" y="34"/>
                </a:moveTo>
                <a:lnTo>
                  <a:pt x="45" y="23"/>
                </a:lnTo>
                <a:lnTo>
                  <a:pt x="36" y="10"/>
                </a:lnTo>
                <a:lnTo>
                  <a:pt x="38" y="8"/>
                </a:lnTo>
                <a:lnTo>
                  <a:pt x="39" y="5"/>
                </a:lnTo>
                <a:lnTo>
                  <a:pt x="40" y="2"/>
                </a:lnTo>
                <a:lnTo>
                  <a:pt x="14" y="0"/>
                </a:lnTo>
                <a:lnTo>
                  <a:pt x="10" y="5"/>
                </a:lnTo>
                <a:lnTo>
                  <a:pt x="6" y="9"/>
                </a:lnTo>
                <a:lnTo>
                  <a:pt x="10" y="11"/>
                </a:lnTo>
                <a:lnTo>
                  <a:pt x="5" y="17"/>
                </a:lnTo>
                <a:lnTo>
                  <a:pt x="0" y="18"/>
                </a:lnTo>
                <a:lnTo>
                  <a:pt x="8" y="24"/>
                </a:lnTo>
                <a:lnTo>
                  <a:pt x="16" y="24"/>
                </a:lnTo>
                <a:lnTo>
                  <a:pt x="22" y="24"/>
                </a:lnTo>
                <a:lnTo>
                  <a:pt x="27" y="26"/>
                </a:lnTo>
                <a:lnTo>
                  <a:pt x="32" y="30"/>
                </a:lnTo>
                <a:lnTo>
                  <a:pt x="30" y="32"/>
                </a:lnTo>
                <a:lnTo>
                  <a:pt x="40" y="34"/>
                </a:lnTo>
                <a:lnTo>
                  <a:pt x="48" y="35"/>
                </a:lnTo>
                <a:lnTo>
                  <a:pt x="58" y="35"/>
                </a:lnTo>
                <a:lnTo>
                  <a:pt x="66" y="35"/>
                </a:lnTo>
                <a:lnTo>
                  <a:pt x="71" y="34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0" name="Freeform 396">
            <a:extLst>
              <a:ext uri="{FF2B5EF4-FFF2-40B4-BE49-F238E27FC236}">
                <a16:creationId xmlns:a16="http://schemas.microsoft.com/office/drawing/2014/main" id="{4B144D3E-0F18-4C8C-930C-88ECE146911F}"/>
              </a:ext>
            </a:extLst>
          </p:cNvPr>
          <p:cNvSpPr>
            <a:spLocks/>
          </p:cNvSpPr>
          <p:nvPr/>
        </p:nvSpPr>
        <p:spPr bwMode="gray">
          <a:xfrm>
            <a:off x="6896586" y="1497574"/>
            <a:ext cx="160014" cy="44784"/>
          </a:xfrm>
          <a:custGeom>
            <a:avLst/>
            <a:gdLst>
              <a:gd name="T0" fmla="*/ 84 w 84"/>
              <a:gd name="T1" fmla="*/ 9 h 20"/>
              <a:gd name="T2" fmla="*/ 31 w 84"/>
              <a:gd name="T3" fmla="*/ 0 h 20"/>
              <a:gd name="T4" fmla="*/ 37 w 84"/>
              <a:gd name="T5" fmla="*/ 3 h 20"/>
              <a:gd name="T6" fmla="*/ 31 w 84"/>
              <a:gd name="T7" fmla="*/ 3 h 20"/>
              <a:gd name="T8" fmla="*/ 36 w 84"/>
              <a:gd name="T9" fmla="*/ 6 h 20"/>
              <a:gd name="T10" fmla="*/ 11 w 84"/>
              <a:gd name="T11" fmla="*/ 2 h 20"/>
              <a:gd name="T12" fmla="*/ 0 w 84"/>
              <a:gd name="T13" fmla="*/ 4 h 20"/>
              <a:gd name="T14" fmla="*/ 0 w 84"/>
              <a:gd name="T15" fmla="*/ 5 h 20"/>
              <a:gd name="T16" fmla="*/ 5 w 84"/>
              <a:gd name="T17" fmla="*/ 9 h 20"/>
              <a:gd name="T18" fmla="*/ 8 w 84"/>
              <a:gd name="T19" fmla="*/ 11 h 20"/>
              <a:gd name="T20" fmla="*/ 41 w 84"/>
              <a:gd name="T21" fmla="*/ 20 h 20"/>
              <a:gd name="T22" fmla="*/ 42 w 84"/>
              <a:gd name="T23" fmla="*/ 16 h 20"/>
              <a:gd name="T24" fmla="*/ 67 w 84"/>
              <a:gd name="T25" fmla="*/ 16 h 20"/>
              <a:gd name="T26" fmla="*/ 79 w 84"/>
              <a:gd name="T27" fmla="*/ 16 h 20"/>
              <a:gd name="T28" fmla="*/ 73 w 84"/>
              <a:gd name="T29" fmla="*/ 14 h 20"/>
              <a:gd name="T30" fmla="*/ 83 w 84"/>
              <a:gd name="T31" fmla="*/ 12 h 20"/>
              <a:gd name="T32" fmla="*/ 84 w 84"/>
              <a:gd name="T33" fmla="*/ 9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84" h="20">
                <a:moveTo>
                  <a:pt x="84" y="9"/>
                </a:moveTo>
                <a:lnTo>
                  <a:pt x="31" y="0"/>
                </a:lnTo>
                <a:lnTo>
                  <a:pt x="37" y="3"/>
                </a:lnTo>
                <a:lnTo>
                  <a:pt x="31" y="3"/>
                </a:lnTo>
                <a:lnTo>
                  <a:pt x="36" y="6"/>
                </a:lnTo>
                <a:lnTo>
                  <a:pt x="11" y="2"/>
                </a:lnTo>
                <a:lnTo>
                  <a:pt x="0" y="4"/>
                </a:lnTo>
                <a:lnTo>
                  <a:pt x="0" y="5"/>
                </a:lnTo>
                <a:lnTo>
                  <a:pt x="5" y="9"/>
                </a:lnTo>
                <a:lnTo>
                  <a:pt x="8" y="11"/>
                </a:lnTo>
                <a:lnTo>
                  <a:pt x="41" y="20"/>
                </a:lnTo>
                <a:lnTo>
                  <a:pt x="42" y="16"/>
                </a:lnTo>
                <a:lnTo>
                  <a:pt x="67" y="16"/>
                </a:lnTo>
                <a:lnTo>
                  <a:pt x="79" y="16"/>
                </a:lnTo>
                <a:lnTo>
                  <a:pt x="73" y="14"/>
                </a:lnTo>
                <a:lnTo>
                  <a:pt x="83" y="12"/>
                </a:lnTo>
                <a:lnTo>
                  <a:pt x="84" y="9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1" name="Freeform 397">
            <a:extLst>
              <a:ext uri="{FF2B5EF4-FFF2-40B4-BE49-F238E27FC236}">
                <a16:creationId xmlns:a16="http://schemas.microsoft.com/office/drawing/2014/main" id="{CC17B7AF-1C04-48CF-B7C1-CF00AA1DD43C}"/>
              </a:ext>
            </a:extLst>
          </p:cNvPr>
          <p:cNvSpPr>
            <a:spLocks/>
          </p:cNvSpPr>
          <p:nvPr/>
        </p:nvSpPr>
        <p:spPr bwMode="gray">
          <a:xfrm>
            <a:off x="6007058" y="1398266"/>
            <a:ext cx="122159" cy="35048"/>
          </a:xfrm>
          <a:custGeom>
            <a:avLst/>
            <a:gdLst>
              <a:gd name="T0" fmla="*/ 55 w 63"/>
              <a:gd name="T1" fmla="*/ 4 h 15"/>
              <a:gd name="T2" fmla="*/ 39 w 63"/>
              <a:gd name="T3" fmla="*/ 2 h 15"/>
              <a:gd name="T4" fmla="*/ 32 w 63"/>
              <a:gd name="T5" fmla="*/ 3 h 15"/>
              <a:gd name="T6" fmla="*/ 27 w 63"/>
              <a:gd name="T7" fmla="*/ 0 h 15"/>
              <a:gd name="T8" fmla="*/ 2 w 63"/>
              <a:gd name="T9" fmla="*/ 3 h 15"/>
              <a:gd name="T10" fmla="*/ 0 w 63"/>
              <a:gd name="T11" fmla="*/ 7 h 15"/>
              <a:gd name="T12" fmla="*/ 8 w 63"/>
              <a:gd name="T13" fmla="*/ 8 h 15"/>
              <a:gd name="T14" fmla="*/ 20 w 63"/>
              <a:gd name="T15" fmla="*/ 13 h 15"/>
              <a:gd name="T16" fmla="*/ 63 w 63"/>
              <a:gd name="T17" fmla="*/ 15 h 15"/>
              <a:gd name="T18" fmla="*/ 60 w 63"/>
              <a:gd name="T19" fmla="*/ 12 h 15"/>
              <a:gd name="T20" fmla="*/ 55 w 63"/>
              <a:gd name="T21" fmla="*/ 4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3" h="15">
                <a:moveTo>
                  <a:pt x="55" y="4"/>
                </a:moveTo>
                <a:lnTo>
                  <a:pt x="39" y="2"/>
                </a:lnTo>
                <a:lnTo>
                  <a:pt x="32" y="3"/>
                </a:lnTo>
                <a:lnTo>
                  <a:pt x="27" y="0"/>
                </a:lnTo>
                <a:lnTo>
                  <a:pt x="2" y="3"/>
                </a:lnTo>
                <a:lnTo>
                  <a:pt x="0" y="7"/>
                </a:lnTo>
                <a:lnTo>
                  <a:pt x="8" y="8"/>
                </a:lnTo>
                <a:lnTo>
                  <a:pt x="20" y="13"/>
                </a:lnTo>
                <a:lnTo>
                  <a:pt x="63" y="15"/>
                </a:lnTo>
                <a:lnTo>
                  <a:pt x="60" y="12"/>
                </a:lnTo>
                <a:lnTo>
                  <a:pt x="55" y="4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2" name="Freeform 398">
            <a:extLst>
              <a:ext uri="{FF2B5EF4-FFF2-40B4-BE49-F238E27FC236}">
                <a16:creationId xmlns:a16="http://schemas.microsoft.com/office/drawing/2014/main" id="{41295350-2706-4F10-B47B-AB813935B771}"/>
              </a:ext>
            </a:extLst>
          </p:cNvPr>
          <p:cNvSpPr>
            <a:spLocks/>
          </p:cNvSpPr>
          <p:nvPr/>
        </p:nvSpPr>
        <p:spPr bwMode="gray">
          <a:xfrm>
            <a:off x="6144703" y="1415790"/>
            <a:ext cx="92910" cy="38943"/>
          </a:xfrm>
          <a:custGeom>
            <a:avLst/>
            <a:gdLst>
              <a:gd name="T0" fmla="*/ 48 w 48"/>
              <a:gd name="T1" fmla="*/ 11 h 18"/>
              <a:gd name="T2" fmla="*/ 23 w 48"/>
              <a:gd name="T3" fmla="*/ 4 h 18"/>
              <a:gd name="T4" fmla="*/ 17 w 48"/>
              <a:gd name="T5" fmla="*/ 7 h 18"/>
              <a:gd name="T6" fmla="*/ 13 w 48"/>
              <a:gd name="T7" fmla="*/ 1 h 18"/>
              <a:gd name="T8" fmla="*/ 6 w 48"/>
              <a:gd name="T9" fmla="*/ 0 h 18"/>
              <a:gd name="T10" fmla="*/ 9 w 48"/>
              <a:gd name="T11" fmla="*/ 2 h 18"/>
              <a:gd name="T12" fmla="*/ 0 w 48"/>
              <a:gd name="T13" fmla="*/ 4 h 18"/>
              <a:gd name="T14" fmla="*/ 2 w 48"/>
              <a:gd name="T15" fmla="*/ 5 h 18"/>
              <a:gd name="T16" fmla="*/ 7 w 48"/>
              <a:gd name="T17" fmla="*/ 8 h 18"/>
              <a:gd name="T18" fmla="*/ 1 w 48"/>
              <a:gd name="T19" fmla="*/ 11 h 18"/>
              <a:gd name="T20" fmla="*/ 5 w 48"/>
              <a:gd name="T21" fmla="*/ 18 h 18"/>
              <a:gd name="T22" fmla="*/ 48 w 48"/>
              <a:gd name="T23" fmla="*/ 11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8" h="18">
                <a:moveTo>
                  <a:pt x="48" y="11"/>
                </a:moveTo>
                <a:lnTo>
                  <a:pt x="23" y="4"/>
                </a:lnTo>
                <a:lnTo>
                  <a:pt x="17" y="7"/>
                </a:lnTo>
                <a:lnTo>
                  <a:pt x="13" y="1"/>
                </a:lnTo>
                <a:lnTo>
                  <a:pt x="6" y="0"/>
                </a:lnTo>
                <a:lnTo>
                  <a:pt x="9" y="2"/>
                </a:lnTo>
                <a:lnTo>
                  <a:pt x="0" y="4"/>
                </a:lnTo>
                <a:lnTo>
                  <a:pt x="2" y="5"/>
                </a:lnTo>
                <a:lnTo>
                  <a:pt x="7" y="8"/>
                </a:lnTo>
                <a:lnTo>
                  <a:pt x="1" y="11"/>
                </a:lnTo>
                <a:lnTo>
                  <a:pt x="5" y="18"/>
                </a:lnTo>
                <a:lnTo>
                  <a:pt x="48" y="1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3" name="Freeform 399">
            <a:extLst>
              <a:ext uri="{FF2B5EF4-FFF2-40B4-BE49-F238E27FC236}">
                <a16:creationId xmlns:a16="http://schemas.microsoft.com/office/drawing/2014/main" id="{AE0DAC21-3616-432D-B203-E12D00D888B9}"/>
              </a:ext>
            </a:extLst>
          </p:cNvPr>
          <p:cNvSpPr>
            <a:spLocks/>
          </p:cNvSpPr>
          <p:nvPr/>
        </p:nvSpPr>
        <p:spPr bwMode="gray">
          <a:xfrm>
            <a:off x="5953722" y="1376849"/>
            <a:ext cx="99792" cy="21419"/>
          </a:xfrm>
          <a:custGeom>
            <a:avLst/>
            <a:gdLst>
              <a:gd name="T0" fmla="*/ 52 w 52"/>
              <a:gd name="T1" fmla="*/ 5 h 10"/>
              <a:gd name="T2" fmla="*/ 29 w 52"/>
              <a:gd name="T3" fmla="*/ 0 h 10"/>
              <a:gd name="T4" fmla="*/ 2 w 52"/>
              <a:gd name="T5" fmla="*/ 2 h 10"/>
              <a:gd name="T6" fmla="*/ 10 w 52"/>
              <a:gd name="T7" fmla="*/ 4 h 10"/>
              <a:gd name="T8" fmla="*/ 8 w 52"/>
              <a:gd name="T9" fmla="*/ 6 h 10"/>
              <a:gd name="T10" fmla="*/ 0 w 52"/>
              <a:gd name="T11" fmla="*/ 7 h 10"/>
              <a:gd name="T12" fmla="*/ 16 w 52"/>
              <a:gd name="T13" fmla="*/ 8 h 10"/>
              <a:gd name="T14" fmla="*/ 12 w 52"/>
              <a:gd name="T15" fmla="*/ 10 h 10"/>
              <a:gd name="T16" fmla="*/ 50 w 52"/>
              <a:gd name="T17" fmla="*/ 10 h 10"/>
              <a:gd name="T18" fmla="*/ 46 w 52"/>
              <a:gd name="T19" fmla="*/ 6 h 10"/>
              <a:gd name="T20" fmla="*/ 52 w 52"/>
              <a:gd name="T21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" h="10">
                <a:moveTo>
                  <a:pt x="52" y="5"/>
                </a:moveTo>
                <a:lnTo>
                  <a:pt x="29" y="0"/>
                </a:lnTo>
                <a:lnTo>
                  <a:pt x="2" y="2"/>
                </a:lnTo>
                <a:lnTo>
                  <a:pt x="10" y="4"/>
                </a:lnTo>
                <a:lnTo>
                  <a:pt x="8" y="6"/>
                </a:lnTo>
                <a:lnTo>
                  <a:pt x="0" y="7"/>
                </a:lnTo>
                <a:lnTo>
                  <a:pt x="16" y="8"/>
                </a:lnTo>
                <a:lnTo>
                  <a:pt x="12" y="10"/>
                </a:lnTo>
                <a:lnTo>
                  <a:pt x="50" y="10"/>
                </a:lnTo>
                <a:lnTo>
                  <a:pt x="46" y="6"/>
                </a:lnTo>
                <a:lnTo>
                  <a:pt x="52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4" name="Freeform 400">
            <a:extLst>
              <a:ext uri="{FF2B5EF4-FFF2-40B4-BE49-F238E27FC236}">
                <a16:creationId xmlns:a16="http://schemas.microsoft.com/office/drawing/2014/main" id="{57CA70B3-67C2-4F6B-9E99-853E1F2E2D44}"/>
              </a:ext>
            </a:extLst>
          </p:cNvPr>
          <p:cNvSpPr>
            <a:spLocks/>
          </p:cNvSpPr>
          <p:nvPr/>
        </p:nvSpPr>
        <p:spPr bwMode="gray">
          <a:xfrm>
            <a:off x="7072082" y="1515097"/>
            <a:ext cx="103232" cy="21419"/>
          </a:xfrm>
          <a:custGeom>
            <a:avLst/>
            <a:gdLst>
              <a:gd name="T0" fmla="*/ 54 w 54"/>
              <a:gd name="T1" fmla="*/ 6 h 10"/>
              <a:gd name="T2" fmla="*/ 13 w 54"/>
              <a:gd name="T3" fmla="*/ 2 h 10"/>
              <a:gd name="T4" fmla="*/ 0 w 54"/>
              <a:gd name="T5" fmla="*/ 0 h 10"/>
              <a:gd name="T6" fmla="*/ 5 w 54"/>
              <a:gd name="T7" fmla="*/ 4 h 10"/>
              <a:gd name="T8" fmla="*/ 49 w 54"/>
              <a:gd name="T9" fmla="*/ 10 h 10"/>
              <a:gd name="T10" fmla="*/ 54 w 54"/>
              <a:gd name="T11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10">
                <a:moveTo>
                  <a:pt x="54" y="6"/>
                </a:moveTo>
                <a:lnTo>
                  <a:pt x="13" y="2"/>
                </a:lnTo>
                <a:lnTo>
                  <a:pt x="0" y="0"/>
                </a:lnTo>
                <a:lnTo>
                  <a:pt x="5" y="4"/>
                </a:lnTo>
                <a:lnTo>
                  <a:pt x="49" y="10"/>
                </a:lnTo>
                <a:lnTo>
                  <a:pt x="54" y="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5" name="Freeform 401">
            <a:extLst>
              <a:ext uri="{FF2B5EF4-FFF2-40B4-BE49-F238E27FC236}">
                <a16:creationId xmlns:a16="http://schemas.microsoft.com/office/drawing/2014/main" id="{4FB2079F-ADFF-400E-ADA1-34F532A06BD6}"/>
              </a:ext>
            </a:extLst>
          </p:cNvPr>
          <p:cNvSpPr>
            <a:spLocks/>
          </p:cNvSpPr>
          <p:nvPr/>
        </p:nvSpPr>
        <p:spPr bwMode="gray">
          <a:xfrm>
            <a:off x="4878374" y="2144030"/>
            <a:ext cx="49896" cy="17526"/>
          </a:xfrm>
          <a:custGeom>
            <a:avLst/>
            <a:gdLst>
              <a:gd name="T0" fmla="*/ 9 w 27"/>
              <a:gd name="T1" fmla="*/ 0 h 8"/>
              <a:gd name="T2" fmla="*/ 7 w 27"/>
              <a:gd name="T3" fmla="*/ 2 h 8"/>
              <a:gd name="T4" fmla="*/ 0 w 27"/>
              <a:gd name="T5" fmla="*/ 1 h 8"/>
              <a:gd name="T6" fmla="*/ 0 w 27"/>
              <a:gd name="T7" fmla="*/ 2 h 8"/>
              <a:gd name="T8" fmla="*/ 3 w 27"/>
              <a:gd name="T9" fmla="*/ 4 h 8"/>
              <a:gd name="T10" fmla="*/ 0 w 27"/>
              <a:gd name="T11" fmla="*/ 4 h 8"/>
              <a:gd name="T12" fmla="*/ 0 w 27"/>
              <a:gd name="T13" fmla="*/ 7 h 8"/>
              <a:gd name="T14" fmla="*/ 6 w 27"/>
              <a:gd name="T15" fmla="*/ 7 h 8"/>
              <a:gd name="T16" fmla="*/ 27 w 27"/>
              <a:gd name="T17" fmla="*/ 8 h 8"/>
              <a:gd name="T18" fmla="*/ 27 w 27"/>
              <a:gd name="T19" fmla="*/ 2 h 8"/>
              <a:gd name="T20" fmla="*/ 16 w 27"/>
              <a:gd name="T21" fmla="*/ 1 h 8"/>
              <a:gd name="T22" fmla="*/ 9 w 27"/>
              <a:gd name="T2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" h="8">
                <a:moveTo>
                  <a:pt x="9" y="0"/>
                </a:moveTo>
                <a:lnTo>
                  <a:pt x="7" y="2"/>
                </a:lnTo>
                <a:lnTo>
                  <a:pt x="0" y="1"/>
                </a:lnTo>
                <a:lnTo>
                  <a:pt x="0" y="2"/>
                </a:lnTo>
                <a:lnTo>
                  <a:pt x="3" y="4"/>
                </a:lnTo>
                <a:lnTo>
                  <a:pt x="0" y="4"/>
                </a:lnTo>
                <a:lnTo>
                  <a:pt x="0" y="7"/>
                </a:lnTo>
                <a:lnTo>
                  <a:pt x="6" y="7"/>
                </a:lnTo>
                <a:lnTo>
                  <a:pt x="27" y="8"/>
                </a:lnTo>
                <a:lnTo>
                  <a:pt x="27" y="2"/>
                </a:lnTo>
                <a:lnTo>
                  <a:pt x="16" y="1"/>
                </a:lnTo>
                <a:lnTo>
                  <a:pt x="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6" name="Freeform 402">
            <a:extLst>
              <a:ext uri="{FF2B5EF4-FFF2-40B4-BE49-F238E27FC236}">
                <a16:creationId xmlns:a16="http://schemas.microsoft.com/office/drawing/2014/main" id="{E0098059-93E4-4756-9DCA-CF99C180897E}"/>
              </a:ext>
            </a:extLst>
          </p:cNvPr>
          <p:cNvSpPr>
            <a:spLocks/>
          </p:cNvSpPr>
          <p:nvPr/>
        </p:nvSpPr>
        <p:spPr bwMode="gray">
          <a:xfrm>
            <a:off x="7025627" y="1563775"/>
            <a:ext cx="80867" cy="17526"/>
          </a:xfrm>
          <a:custGeom>
            <a:avLst/>
            <a:gdLst>
              <a:gd name="T0" fmla="*/ 41 w 41"/>
              <a:gd name="T1" fmla="*/ 9 h 9"/>
              <a:gd name="T2" fmla="*/ 0 w 41"/>
              <a:gd name="T3" fmla="*/ 6 h 9"/>
              <a:gd name="T4" fmla="*/ 15 w 41"/>
              <a:gd name="T5" fmla="*/ 0 h 9"/>
              <a:gd name="T6" fmla="*/ 38 w 41"/>
              <a:gd name="T7" fmla="*/ 6 h 9"/>
              <a:gd name="T8" fmla="*/ 41 w 41"/>
              <a:gd name="T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" h="9">
                <a:moveTo>
                  <a:pt x="41" y="9"/>
                </a:moveTo>
                <a:lnTo>
                  <a:pt x="0" y="6"/>
                </a:lnTo>
                <a:lnTo>
                  <a:pt x="15" y="0"/>
                </a:lnTo>
                <a:lnTo>
                  <a:pt x="38" y="6"/>
                </a:lnTo>
                <a:lnTo>
                  <a:pt x="41" y="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7" name="Freeform 403">
            <a:extLst>
              <a:ext uri="{FF2B5EF4-FFF2-40B4-BE49-F238E27FC236}">
                <a16:creationId xmlns:a16="http://schemas.microsoft.com/office/drawing/2014/main" id="{808011EA-30FD-43DC-BD54-02BC6F842155}"/>
              </a:ext>
            </a:extLst>
          </p:cNvPr>
          <p:cNvSpPr>
            <a:spLocks/>
          </p:cNvSpPr>
          <p:nvPr/>
        </p:nvSpPr>
        <p:spPr bwMode="gray">
          <a:xfrm>
            <a:off x="5363571" y="1684501"/>
            <a:ext cx="46455" cy="25313"/>
          </a:xfrm>
          <a:custGeom>
            <a:avLst/>
            <a:gdLst>
              <a:gd name="T0" fmla="*/ 23 w 23"/>
              <a:gd name="T1" fmla="*/ 5 h 11"/>
              <a:gd name="T2" fmla="*/ 6 w 23"/>
              <a:gd name="T3" fmla="*/ 11 h 11"/>
              <a:gd name="T4" fmla="*/ 0 w 23"/>
              <a:gd name="T5" fmla="*/ 3 h 11"/>
              <a:gd name="T6" fmla="*/ 6 w 23"/>
              <a:gd name="T7" fmla="*/ 0 h 11"/>
              <a:gd name="T8" fmla="*/ 23 w 23"/>
              <a:gd name="T9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" h="11">
                <a:moveTo>
                  <a:pt x="23" y="5"/>
                </a:moveTo>
                <a:lnTo>
                  <a:pt x="6" y="11"/>
                </a:lnTo>
                <a:lnTo>
                  <a:pt x="0" y="3"/>
                </a:lnTo>
                <a:lnTo>
                  <a:pt x="6" y="0"/>
                </a:lnTo>
                <a:lnTo>
                  <a:pt x="23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8" name="Freeform 404">
            <a:extLst>
              <a:ext uri="{FF2B5EF4-FFF2-40B4-BE49-F238E27FC236}">
                <a16:creationId xmlns:a16="http://schemas.microsoft.com/office/drawing/2014/main" id="{37C769A6-9E9F-45F0-8808-4B9F41C72A4A}"/>
              </a:ext>
            </a:extLst>
          </p:cNvPr>
          <p:cNvSpPr>
            <a:spLocks/>
          </p:cNvSpPr>
          <p:nvPr/>
        </p:nvSpPr>
        <p:spPr bwMode="gray">
          <a:xfrm>
            <a:off x="941741" y="1628033"/>
            <a:ext cx="56778" cy="11683"/>
          </a:xfrm>
          <a:custGeom>
            <a:avLst/>
            <a:gdLst>
              <a:gd name="T0" fmla="*/ 27 w 30"/>
              <a:gd name="T1" fmla="*/ 6 h 7"/>
              <a:gd name="T2" fmla="*/ 0 w 30"/>
              <a:gd name="T3" fmla="*/ 7 h 7"/>
              <a:gd name="T4" fmla="*/ 15 w 30"/>
              <a:gd name="T5" fmla="*/ 0 h 7"/>
              <a:gd name="T6" fmla="*/ 30 w 30"/>
              <a:gd name="T7" fmla="*/ 4 h 7"/>
              <a:gd name="T8" fmla="*/ 27 w 30"/>
              <a:gd name="T9" fmla="*/ 6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7">
                <a:moveTo>
                  <a:pt x="27" y="6"/>
                </a:moveTo>
                <a:lnTo>
                  <a:pt x="0" y="7"/>
                </a:lnTo>
                <a:lnTo>
                  <a:pt x="15" y="0"/>
                </a:lnTo>
                <a:lnTo>
                  <a:pt x="30" y="4"/>
                </a:lnTo>
                <a:lnTo>
                  <a:pt x="27" y="6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9" name="Freeform 405">
            <a:extLst>
              <a:ext uri="{FF2B5EF4-FFF2-40B4-BE49-F238E27FC236}">
                <a16:creationId xmlns:a16="http://schemas.microsoft.com/office/drawing/2014/main" id="{A2C4D34F-C664-448B-99AC-98E0A4666065}"/>
              </a:ext>
            </a:extLst>
          </p:cNvPr>
          <p:cNvSpPr>
            <a:spLocks/>
          </p:cNvSpPr>
          <p:nvPr/>
        </p:nvSpPr>
        <p:spPr bwMode="gray">
          <a:xfrm>
            <a:off x="5203559" y="1384636"/>
            <a:ext cx="75704" cy="13630"/>
          </a:xfrm>
          <a:custGeom>
            <a:avLst/>
            <a:gdLst>
              <a:gd name="T0" fmla="*/ 38 w 38"/>
              <a:gd name="T1" fmla="*/ 1 h 7"/>
              <a:gd name="T2" fmla="*/ 14 w 38"/>
              <a:gd name="T3" fmla="*/ 4 h 7"/>
              <a:gd name="T4" fmla="*/ 7 w 38"/>
              <a:gd name="T5" fmla="*/ 7 h 7"/>
              <a:gd name="T6" fmla="*/ 0 w 38"/>
              <a:gd name="T7" fmla="*/ 6 h 7"/>
              <a:gd name="T8" fmla="*/ 7 w 38"/>
              <a:gd name="T9" fmla="*/ 4 h 7"/>
              <a:gd name="T10" fmla="*/ 20 w 38"/>
              <a:gd name="T11" fmla="*/ 1 h 7"/>
              <a:gd name="T12" fmla="*/ 31 w 38"/>
              <a:gd name="T13" fmla="*/ 0 h 7"/>
              <a:gd name="T14" fmla="*/ 38 w 38"/>
              <a:gd name="T15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" h="7">
                <a:moveTo>
                  <a:pt x="38" y="1"/>
                </a:moveTo>
                <a:lnTo>
                  <a:pt x="14" y="4"/>
                </a:lnTo>
                <a:lnTo>
                  <a:pt x="7" y="7"/>
                </a:lnTo>
                <a:lnTo>
                  <a:pt x="0" y="6"/>
                </a:lnTo>
                <a:lnTo>
                  <a:pt x="7" y="4"/>
                </a:lnTo>
                <a:lnTo>
                  <a:pt x="20" y="1"/>
                </a:lnTo>
                <a:lnTo>
                  <a:pt x="31" y="0"/>
                </a:lnTo>
                <a:lnTo>
                  <a:pt x="38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0" name="Freeform 406">
            <a:extLst>
              <a:ext uri="{FF2B5EF4-FFF2-40B4-BE49-F238E27FC236}">
                <a16:creationId xmlns:a16="http://schemas.microsoft.com/office/drawing/2014/main" id="{693D28E4-00D7-433E-A2C8-D0E8082EA343}"/>
              </a:ext>
            </a:extLst>
          </p:cNvPr>
          <p:cNvSpPr>
            <a:spLocks/>
          </p:cNvSpPr>
          <p:nvPr/>
        </p:nvSpPr>
        <p:spPr bwMode="gray">
          <a:xfrm>
            <a:off x="8006346" y="2459472"/>
            <a:ext cx="27529" cy="38943"/>
          </a:xfrm>
          <a:custGeom>
            <a:avLst/>
            <a:gdLst>
              <a:gd name="T0" fmla="*/ 13 w 13"/>
              <a:gd name="T1" fmla="*/ 0 h 17"/>
              <a:gd name="T2" fmla="*/ 2 w 13"/>
              <a:gd name="T3" fmla="*/ 4 h 17"/>
              <a:gd name="T4" fmla="*/ 0 w 13"/>
              <a:gd name="T5" fmla="*/ 17 h 17"/>
              <a:gd name="T6" fmla="*/ 6 w 13"/>
              <a:gd name="T7" fmla="*/ 10 h 17"/>
              <a:gd name="T8" fmla="*/ 11 w 13"/>
              <a:gd name="T9" fmla="*/ 3 h 17"/>
              <a:gd name="T10" fmla="*/ 13 w 13"/>
              <a:gd name="T11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" h="17">
                <a:moveTo>
                  <a:pt x="13" y="0"/>
                </a:moveTo>
                <a:lnTo>
                  <a:pt x="2" y="4"/>
                </a:lnTo>
                <a:lnTo>
                  <a:pt x="0" y="17"/>
                </a:lnTo>
                <a:lnTo>
                  <a:pt x="6" y="10"/>
                </a:lnTo>
                <a:lnTo>
                  <a:pt x="11" y="3"/>
                </a:lnTo>
                <a:lnTo>
                  <a:pt x="1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1" name="Freeform 407">
            <a:extLst>
              <a:ext uri="{FF2B5EF4-FFF2-40B4-BE49-F238E27FC236}">
                <a16:creationId xmlns:a16="http://schemas.microsoft.com/office/drawing/2014/main" id="{001CE4A2-DDD7-460F-8E76-85EA7AE62A65}"/>
              </a:ext>
            </a:extLst>
          </p:cNvPr>
          <p:cNvSpPr>
            <a:spLocks/>
          </p:cNvSpPr>
          <p:nvPr/>
        </p:nvSpPr>
        <p:spPr bwMode="gray">
          <a:xfrm>
            <a:off x="7856657" y="1628033"/>
            <a:ext cx="30969" cy="21419"/>
          </a:xfrm>
          <a:custGeom>
            <a:avLst/>
            <a:gdLst>
              <a:gd name="T0" fmla="*/ 2 w 14"/>
              <a:gd name="T1" fmla="*/ 0 h 10"/>
              <a:gd name="T2" fmla="*/ 0 w 14"/>
              <a:gd name="T3" fmla="*/ 4 h 10"/>
              <a:gd name="T4" fmla="*/ 8 w 14"/>
              <a:gd name="T5" fmla="*/ 10 h 10"/>
              <a:gd name="T6" fmla="*/ 14 w 14"/>
              <a:gd name="T7" fmla="*/ 8 h 10"/>
              <a:gd name="T8" fmla="*/ 2 w 14"/>
              <a:gd name="T9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10">
                <a:moveTo>
                  <a:pt x="2" y="0"/>
                </a:moveTo>
                <a:lnTo>
                  <a:pt x="0" y="4"/>
                </a:lnTo>
                <a:lnTo>
                  <a:pt x="8" y="10"/>
                </a:lnTo>
                <a:lnTo>
                  <a:pt x="14" y="8"/>
                </a:lnTo>
                <a:lnTo>
                  <a:pt x="2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2" name="Freeform 408">
            <a:extLst>
              <a:ext uri="{FF2B5EF4-FFF2-40B4-BE49-F238E27FC236}">
                <a16:creationId xmlns:a16="http://schemas.microsoft.com/office/drawing/2014/main" id="{1B0E920D-D080-47CC-9371-DC4A534CA740}"/>
              </a:ext>
            </a:extLst>
          </p:cNvPr>
          <p:cNvSpPr>
            <a:spLocks/>
          </p:cNvSpPr>
          <p:nvPr/>
        </p:nvSpPr>
        <p:spPr bwMode="gray">
          <a:xfrm>
            <a:off x="5551113" y="1657239"/>
            <a:ext cx="49896" cy="17526"/>
          </a:xfrm>
          <a:custGeom>
            <a:avLst/>
            <a:gdLst>
              <a:gd name="T0" fmla="*/ 25 w 25"/>
              <a:gd name="T1" fmla="*/ 7 h 7"/>
              <a:gd name="T2" fmla="*/ 4 w 25"/>
              <a:gd name="T3" fmla="*/ 0 h 7"/>
              <a:gd name="T4" fmla="*/ 0 w 25"/>
              <a:gd name="T5" fmla="*/ 1 h 7"/>
              <a:gd name="T6" fmla="*/ 16 w 25"/>
              <a:gd name="T7" fmla="*/ 7 h 7"/>
              <a:gd name="T8" fmla="*/ 25 w 25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" h="7">
                <a:moveTo>
                  <a:pt x="25" y="7"/>
                </a:moveTo>
                <a:lnTo>
                  <a:pt x="4" y="0"/>
                </a:lnTo>
                <a:lnTo>
                  <a:pt x="0" y="1"/>
                </a:lnTo>
                <a:lnTo>
                  <a:pt x="16" y="7"/>
                </a:lnTo>
                <a:lnTo>
                  <a:pt x="25" y="7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3" name="Freeform 409">
            <a:extLst>
              <a:ext uri="{FF2B5EF4-FFF2-40B4-BE49-F238E27FC236}">
                <a16:creationId xmlns:a16="http://schemas.microsoft.com/office/drawing/2014/main" id="{3FAC7444-B7F3-40E1-B5E8-8EB9E11E8113}"/>
              </a:ext>
            </a:extLst>
          </p:cNvPr>
          <p:cNvSpPr>
            <a:spLocks/>
          </p:cNvSpPr>
          <p:nvPr/>
        </p:nvSpPr>
        <p:spPr bwMode="gray">
          <a:xfrm>
            <a:off x="4900740" y="2021360"/>
            <a:ext cx="27529" cy="17526"/>
          </a:xfrm>
          <a:custGeom>
            <a:avLst/>
            <a:gdLst>
              <a:gd name="T0" fmla="*/ 15 w 15"/>
              <a:gd name="T1" fmla="*/ 1 h 7"/>
              <a:gd name="T2" fmla="*/ 2 w 15"/>
              <a:gd name="T3" fmla="*/ 7 h 7"/>
              <a:gd name="T4" fmla="*/ 0 w 15"/>
              <a:gd name="T5" fmla="*/ 2 h 7"/>
              <a:gd name="T6" fmla="*/ 12 w 15"/>
              <a:gd name="T7" fmla="*/ 0 h 7"/>
              <a:gd name="T8" fmla="*/ 15 w 15"/>
              <a:gd name="T9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7">
                <a:moveTo>
                  <a:pt x="15" y="1"/>
                </a:moveTo>
                <a:lnTo>
                  <a:pt x="2" y="7"/>
                </a:lnTo>
                <a:lnTo>
                  <a:pt x="0" y="2"/>
                </a:lnTo>
                <a:lnTo>
                  <a:pt x="12" y="0"/>
                </a:lnTo>
                <a:lnTo>
                  <a:pt x="15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4" name="Freeform 410">
            <a:extLst>
              <a:ext uri="{FF2B5EF4-FFF2-40B4-BE49-F238E27FC236}">
                <a16:creationId xmlns:a16="http://schemas.microsoft.com/office/drawing/2014/main" id="{BAB6B26A-F489-4585-9888-C9E7D5C83AB6}"/>
              </a:ext>
            </a:extLst>
          </p:cNvPr>
          <p:cNvSpPr>
            <a:spLocks/>
          </p:cNvSpPr>
          <p:nvPr/>
        </p:nvSpPr>
        <p:spPr bwMode="gray">
          <a:xfrm>
            <a:off x="8006346" y="1999941"/>
            <a:ext cx="18926" cy="21419"/>
          </a:xfrm>
          <a:custGeom>
            <a:avLst/>
            <a:gdLst>
              <a:gd name="T0" fmla="*/ 8 w 8"/>
              <a:gd name="T1" fmla="*/ 4 h 11"/>
              <a:gd name="T2" fmla="*/ 3 w 8"/>
              <a:gd name="T3" fmla="*/ 11 h 11"/>
              <a:gd name="T4" fmla="*/ 0 w 8"/>
              <a:gd name="T5" fmla="*/ 5 h 11"/>
              <a:gd name="T6" fmla="*/ 3 w 8"/>
              <a:gd name="T7" fmla="*/ 0 h 11"/>
              <a:gd name="T8" fmla="*/ 8 w 8"/>
              <a:gd name="T9" fmla="*/ 4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11">
                <a:moveTo>
                  <a:pt x="8" y="4"/>
                </a:moveTo>
                <a:lnTo>
                  <a:pt x="3" y="11"/>
                </a:lnTo>
                <a:lnTo>
                  <a:pt x="0" y="5"/>
                </a:lnTo>
                <a:lnTo>
                  <a:pt x="3" y="0"/>
                </a:lnTo>
                <a:lnTo>
                  <a:pt x="8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5" name="Freeform 411">
            <a:extLst>
              <a:ext uri="{FF2B5EF4-FFF2-40B4-BE49-F238E27FC236}">
                <a16:creationId xmlns:a16="http://schemas.microsoft.com/office/drawing/2014/main" id="{4D4926CA-6867-4CAC-AE2E-BF7CD2A01AE7}"/>
              </a:ext>
            </a:extLst>
          </p:cNvPr>
          <p:cNvSpPr>
            <a:spLocks/>
          </p:cNvSpPr>
          <p:nvPr/>
        </p:nvSpPr>
        <p:spPr bwMode="gray">
          <a:xfrm>
            <a:off x="7700086" y="1674765"/>
            <a:ext cx="34410" cy="9735"/>
          </a:xfrm>
          <a:custGeom>
            <a:avLst/>
            <a:gdLst>
              <a:gd name="T0" fmla="*/ 18 w 18"/>
              <a:gd name="T1" fmla="*/ 1 h 4"/>
              <a:gd name="T2" fmla="*/ 17 w 18"/>
              <a:gd name="T3" fmla="*/ 4 h 4"/>
              <a:gd name="T4" fmla="*/ 0 w 18"/>
              <a:gd name="T5" fmla="*/ 0 h 4"/>
              <a:gd name="T6" fmla="*/ 16 w 18"/>
              <a:gd name="T7" fmla="*/ 0 h 4"/>
              <a:gd name="T8" fmla="*/ 18 w 18"/>
              <a:gd name="T9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4">
                <a:moveTo>
                  <a:pt x="18" y="1"/>
                </a:moveTo>
                <a:lnTo>
                  <a:pt x="17" y="4"/>
                </a:lnTo>
                <a:lnTo>
                  <a:pt x="0" y="0"/>
                </a:lnTo>
                <a:lnTo>
                  <a:pt x="16" y="0"/>
                </a:lnTo>
                <a:lnTo>
                  <a:pt x="18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6" name="Freeform 412">
            <a:extLst>
              <a:ext uri="{FF2B5EF4-FFF2-40B4-BE49-F238E27FC236}">
                <a16:creationId xmlns:a16="http://schemas.microsoft.com/office/drawing/2014/main" id="{86B9F700-77D3-413C-8EC6-71472264B15A}"/>
              </a:ext>
            </a:extLst>
          </p:cNvPr>
          <p:cNvSpPr>
            <a:spLocks/>
          </p:cNvSpPr>
          <p:nvPr/>
        </p:nvSpPr>
        <p:spPr bwMode="gray">
          <a:xfrm>
            <a:off x="5728327" y="1571566"/>
            <a:ext cx="30969" cy="7789"/>
          </a:xfrm>
          <a:custGeom>
            <a:avLst/>
            <a:gdLst>
              <a:gd name="T0" fmla="*/ 17 w 17"/>
              <a:gd name="T1" fmla="*/ 5 h 5"/>
              <a:gd name="T2" fmla="*/ 0 w 17"/>
              <a:gd name="T3" fmla="*/ 5 h 5"/>
              <a:gd name="T4" fmla="*/ 3 w 17"/>
              <a:gd name="T5" fmla="*/ 0 h 5"/>
              <a:gd name="T6" fmla="*/ 11 w 17"/>
              <a:gd name="T7" fmla="*/ 4 h 5"/>
              <a:gd name="T8" fmla="*/ 17 w 17"/>
              <a:gd name="T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5">
                <a:moveTo>
                  <a:pt x="17" y="5"/>
                </a:moveTo>
                <a:lnTo>
                  <a:pt x="0" y="5"/>
                </a:lnTo>
                <a:lnTo>
                  <a:pt x="3" y="0"/>
                </a:lnTo>
                <a:lnTo>
                  <a:pt x="11" y="4"/>
                </a:lnTo>
                <a:lnTo>
                  <a:pt x="17" y="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7" name="Freeform 413">
            <a:extLst>
              <a:ext uri="{FF2B5EF4-FFF2-40B4-BE49-F238E27FC236}">
                <a16:creationId xmlns:a16="http://schemas.microsoft.com/office/drawing/2014/main" id="{D9A3E0C9-E7BE-4354-B614-11FF98FE73D2}"/>
              </a:ext>
            </a:extLst>
          </p:cNvPr>
          <p:cNvSpPr>
            <a:spLocks/>
          </p:cNvSpPr>
          <p:nvPr/>
        </p:nvSpPr>
        <p:spPr bwMode="gray">
          <a:xfrm>
            <a:off x="5406585" y="1384636"/>
            <a:ext cx="49896" cy="9735"/>
          </a:xfrm>
          <a:custGeom>
            <a:avLst/>
            <a:gdLst>
              <a:gd name="T0" fmla="*/ 27 w 27"/>
              <a:gd name="T1" fmla="*/ 0 h 3"/>
              <a:gd name="T2" fmla="*/ 0 w 27"/>
              <a:gd name="T3" fmla="*/ 1 h 3"/>
              <a:gd name="T4" fmla="*/ 15 w 27"/>
              <a:gd name="T5" fmla="*/ 3 h 3"/>
              <a:gd name="T6" fmla="*/ 27 w 27"/>
              <a:gd name="T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7" h="3">
                <a:moveTo>
                  <a:pt x="27" y="0"/>
                </a:moveTo>
                <a:lnTo>
                  <a:pt x="0" y="1"/>
                </a:lnTo>
                <a:lnTo>
                  <a:pt x="15" y="3"/>
                </a:lnTo>
                <a:lnTo>
                  <a:pt x="2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8" name="Freeform 414">
            <a:extLst>
              <a:ext uri="{FF2B5EF4-FFF2-40B4-BE49-F238E27FC236}">
                <a16:creationId xmlns:a16="http://schemas.microsoft.com/office/drawing/2014/main" id="{088F575F-5435-462F-A2E7-1B42953C91D1}"/>
              </a:ext>
            </a:extLst>
          </p:cNvPr>
          <p:cNvSpPr>
            <a:spLocks/>
          </p:cNvSpPr>
          <p:nvPr/>
        </p:nvSpPr>
        <p:spPr bwMode="gray">
          <a:xfrm>
            <a:off x="5456481" y="1380743"/>
            <a:ext cx="49896" cy="3894"/>
          </a:xfrm>
          <a:custGeom>
            <a:avLst/>
            <a:gdLst>
              <a:gd name="T0" fmla="*/ 25 w 25"/>
              <a:gd name="T1" fmla="*/ 1 h 3"/>
              <a:gd name="T2" fmla="*/ 0 w 25"/>
              <a:gd name="T3" fmla="*/ 3 h 3"/>
              <a:gd name="T4" fmla="*/ 20 w 25"/>
              <a:gd name="T5" fmla="*/ 0 h 3"/>
              <a:gd name="T6" fmla="*/ 25 w 25"/>
              <a:gd name="T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5" h="3">
                <a:moveTo>
                  <a:pt x="25" y="1"/>
                </a:moveTo>
                <a:lnTo>
                  <a:pt x="0" y="3"/>
                </a:lnTo>
                <a:lnTo>
                  <a:pt x="20" y="0"/>
                </a:lnTo>
                <a:lnTo>
                  <a:pt x="25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9" name="Freeform 415">
            <a:extLst>
              <a:ext uri="{FF2B5EF4-FFF2-40B4-BE49-F238E27FC236}">
                <a16:creationId xmlns:a16="http://schemas.microsoft.com/office/drawing/2014/main" id="{9DC22BF5-3BB1-4915-9BCF-E36641ED8301}"/>
              </a:ext>
            </a:extLst>
          </p:cNvPr>
          <p:cNvSpPr>
            <a:spLocks/>
          </p:cNvSpPr>
          <p:nvPr/>
        </p:nvSpPr>
        <p:spPr bwMode="gray">
          <a:xfrm>
            <a:off x="6475051" y="1544305"/>
            <a:ext cx="34410" cy="9735"/>
          </a:xfrm>
          <a:custGeom>
            <a:avLst/>
            <a:gdLst>
              <a:gd name="T0" fmla="*/ 17 w 18"/>
              <a:gd name="T1" fmla="*/ 0 h 4"/>
              <a:gd name="T2" fmla="*/ 0 w 18"/>
              <a:gd name="T3" fmla="*/ 1 h 4"/>
              <a:gd name="T4" fmla="*/ 18 w 18"/>
              <a:gd name="T5" fmla="*/ 4 h 4"/>
              <a:gd name="T6" fmla="*/ 17 w 18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4">
                <a:moveTo>
                  <a:pt x="17" y="0"/>
                </a:moveTo>
                <a:lnTo>
                  <a:pt x="0" y="1"/>
                </a:lnTo>
                <a:lnTo>
                  <a:pt x="18" y="4"/>
                </a:lnTo>
                <a:lnTo>
                  <a:pt x="17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0" name="Freeform 416">
            <a:extLst>
              <a:ext uri="{FF2B5EF4-FFF2-40B4-BE49-F238E27FC236}">
                <a16:creationId xmlns:a16="http://schemas.microsoft.com/office/drawing/2014/main" id="{E80CB733-AF7D-45BC-8EBF-55F0F41E4B97}"/>
              </a:ext>
            </a:extLst>
          </p:cNvPr>
          <p:cNvSpPr>
            <a:spLocks/>
          </p:cNvSpPr>
          <p:nvPr/>
        </p:nvSpPr>
        <p:spPr bwMode="gray">
          <a:xfrm>
            <a:off x="8075167" y="2282278"/>
            <a:ext cx="8604" cy="21419"/>
          </a:xfrm>
          <a:custGeom>
            <a:avLst/>
            <a:gdLst>
              <a:gd name="T0" fmla="*/ 4 w 4"/>
              <a:gd name="T1" fmla="*/ 1 h 9"/>
              <a:gd name="T2" fmla="*/ 1 w 4"/>
              <a:gd name="T3" fmla="*/ 9 h 9"/>
              <a:gd name="T4" fmla="*/ 0 w 4"/>
              <a:gd name="T5" fmla="*/ 0 h 9"/>
              <a:gd name="T6" fmla="*/ 4 w 4"/>
              <a:gd name="T7" fmla="*/ 1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9">
                <a:moveTo>
                  <a:pt x="4" y="1"/>
                </a:moveTo>
                <a:lnTo>
                  <a:pt x="1" y="9"/>
                </a:lnTo>
                <a:lnTo>
                  <a:pt x="0" y="0"/>
                </a:lnTo>
                <a:lnTo>
                  <a:pt x="4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1" name="Freeform 417">
            <a:extLst>
              <a:ext uri="{FF2B5EF4-FFF2-40B4-BE49-F238E27FC236}">
                <a16:creationId xmlns:a16="http://schemas.microsoft.com/office/drawing/2014/main" id="{444432D2-B3F3-4B02-A3E6-0064F027F60A}"/>
              </a:ext>
            </a:extLst>
          </p:cNvPr>
          <p:cNvSpPr>
            <a:spLocks/>
          </p:cNvSpPr>
          <p:nvPr/>
        </p:nvSpPr>
        <p:spPr bwMode="gray">
          <a:xfrm>
            <a:off x="7987420" y="2494519"/>
            <a:ext cx="12045" cy="21419"/>
          </a:xfrm>
          <a:custGeom>
            <a:avLst/>
            <a:gdLst>
              <a:gd name="T0" fmla="*/ 6 w 6"/>
              <a:gd name="T1" fmla="*/ 0 h 10"/>
              <a:gd name="T2" fmla="*/ 0 w 6"/>
              <a:gd name="T3" fmla="*/ 10 h 10"/>
              <a:gd name="T4" fmla="*/ 0 w 6"/>
              <a:gd name="T5" fmla="*/ 2 h 10"/>
              <a:gd name="T6" fmla="*/ 6 w 6"/>
              <a:gd name="T7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10">
                <a:moveTo>
                  <a:pt x="6" y="0"/>
                </a:moveTo>
                <a:lnTo>
                  <a:pt x="0" y="10"/>
                </a:lnTo>
                <a:lnTo>
                  <a:pt x="0" y="2"/>
                </a:lnTo>
                <a:lnTo>
                  <a:pt x="6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2" name="Freeform 418">
            <a:extLst>
              <a:ext uri="{FF2B5EF4-FFF2-40B4-BE49-F238E27FC236}">
                <a16:creationId xmlns:a16="http://schemas.microsoft.com/office/drawing/2014/main" id="{102CDD2C-55E9-44A8-9869-3672509C94B3}"/>
              </a:ext>
            </a:extLst>
          </p:cNvPr>
          <p:cNvSpPr>
            <a:spLocks/>
          </p:cNvSpPr>
          <p:nvPr/>
        </p:nvSpPr>
        <p:spPr bwMode="gray">
          <a:xfrm>
            <a:off x="7006701" y="1554040"/>
            <a:ext cx="18926" cy="7789"/>
          </a:xfrm>
          <a:custGeom>
            <a:avLst/>
            <a:gdLst>
              <a:gd name="T0" fmla="*/ 8 w 8"/>
              <a:gd name="T1" fmla="*/ 0 h 3"/>
              <a:gd name="T2" fmla="*/ 0 w 8"/>
              <a:gd name="T3" fmla="*/ 0 h 3"/>
              <a:gd name="T4" fmla="*/ 8 w 8"/>
              <a:gd name="T5" fmla="*/ 3 h 3"/>
              <a:gd name="T6" fmla="*/ 8 w 8"/>
              <a:gd name="T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3">
                <a:moveTo>
                  <a:pt x="8" y="0"/>
                </a:moveTo>
                <a:lnTo>
                  <a:pt x="0" y="0"/>
                </a:lnTo>
                <a:lnTo>
                  <a:pt x="8" y="3"/>
                </a:lnTo>
                <a:lnTo>
                  <a:pt x="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3" name="Freeform 419">
            <a:extLst>
              <a:ext uri="{FF2B5EF4-FFF2-40B4-BE49-F238E27FC236}">
                <a16:creationId xmlns:a16="http://schemas.microsoft.com/office/drawing/2014/main" id="{9A6FE4E4-465D-43C3-BACF-4B3AE98D8025}"/>
              </a:ext>
            </a:extLst>
          </p:cNvPr>
          <p:cNvSpPr>
            <a:spLocks/>
          </p:cNvSpPr>
          <p:nvPr/>
        </p:nvSpPr>
        <p:spPr bwMode="gray">
          <a:xfrm>
            <a:off x="5181190" y="1384636"/>
            <a:ext cx="49896" cy="3894"/>
          </a:xfrm>
          <a:custGeom>
            <a:avLst/>
            <a:gdLst>
              <a:gd name="T0" fmla="*/ 25 w 25"/>
              <a:gd name="T1" fmla="*/ 0 h 1"/>
              <a:gd name="T2" fmla="*/ 0 w 25"/>
              <a:gd name="T3" fmla="*/ 1 h 1"/>
              <a:gd name="T4" fmla="*/ 5 w 25"/>
              <a:gd name="T5" fmla="*/ 0 h 1"/>
              <a:gd name="T6" fmla="*/ 25 w 25"/>
              <a:gd name="T7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5" h="1">
                <a:moveTo>
                  <a:pt x="25" y="0"/>
                </a:moveTo>
                <a:lnTo>
                  <a:pt x="0" y="1"/>
                </a:lnTo>
                <a:lnTo>
                  <a:pt x="5" y="0"/>
                </a:lnTo>
                <a:lnTo>
                  <a:pt x="25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4" name="Freeform 420">
            <a:extLst>
              <a:ext uri="{FF2B5EF4-FFF2-40B4-BE49-F238E27FC236}">
                <a16:creationId xmlns:a16="http://schemas.microsoft.com/office/drawing/2014/main" id="{1DD7F757-7755-4271-9DAA-65CDB7B46949}"/>
              </a:ext>
            </a:extLst>
          </p:cNvPr>
          <p:cNvSpPr>
            <a:spLocks/>
          </p:cNvSpPr>
          <p:nvPr/>
        </p:nvSpPr>
        <p:spPr bwMode="gray">
          <a:xfrm>
            <a:off x="5878016" y="1600772"/>
            <a:ext cx="22367" cy="5841"/>
          </a:xfrm>
          <a:custGeom>
            <a:avLst/>
            <a:gdLst>
              <a:gd name="T0" fmla="*/ 11 w 11"/>
              <a:gd name="T1" fmla="*/ 0 h 4"/>
              <a:gd name="T2" fmla="*/ 0 w 11"/>
              <a:gd name="T3" fmla="*/ 4 h 4"/>
              <a:gd name="T4" fmla="*/ 0 w 11"/>
              <a:gd name="T5" fmla="*/ 0 h 4"/>
              <a:gd name="T6" fmla="*/ 11 w 11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1" h="4">
                <a:moveTo>
                  <a:pt x="11" y="0"/>
                </a:moveTo>
                <a:lnTo>
                  <a:pt x="0" y="4"/>
                </a:lnTo>
                <a:lnTo>
                  <a:pt x="0" y="0"/>
                </a:lnTo>
                <a:lnTo>
                  <a:pt x="1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5" name="Freeform 421">
            <a:extLst>
              <a:ext uri="{FF2B5EF4-FFF2-40B4-BE49-F238E27FC236}">
                <a16:creationId xmlns:a16="http://schemas.microsoft.com/office/drawing/2014/main" id="{1793C532-A59C-45D3-85EB-408E421A8A0E}"/>
              </a:ext>
            </a:extLst>
          </p:cNvPr>
          <p:cNvSpPr>
            <a:spLocks/>
          </p:cNvSpPr>
          <p:nvPr/>
        </p:nvSpPr>
        <p:spPr bwMode="gray">
          <a:xfrm>
            <a:off x="5375614" y="1394373"/>
            <a:ext cx="34410" cy="3894"/>
          </a:xfrm>
          <a:custGeom>
            <a:avLst/>
            <a:gdLst>
              <a:gd name="T0" fmla="*/ 18 w 18"/>
              <a:gd name="T1" fmla="*/ 0 h 2"/>
              <a:gd name="T2" fmla="*/ 0 w 18"/>
              <a:gd name="T3" fmla="*/ 0 h 2"/>
              <a:gd name="T4" fmla="*/ 8 w 18"/>
              <a:gd name="T5" fmla="*/ 2 h 2"/>
              <a:gd name="T6" fmla="*/ 18 w 18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2">
                <a:moveTo>
                  <a:pt x="18" y="0"/>
                </a:moveTo>
                <a:lnTo>
                  <a:pt x="0" y="0"/>
                </a:lnTo>
                <a:lnTo>
                  <a:pt x="8" y="2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6" name="Freeform 422">
            <a:extLst>
              <a:ext uri="{FF2B5EF4-FFF2-40B4-BE49-F238E27FC236}">
                <a16:creationId xmlns:a16="http://schemas.microsoft.com/office/drawing/2014/main" id="{9D3011FE-1580-4449-8B0C-B46B02502AAF}"/>
              </a:ext>
            </a:extLst>
          </p:cNvPr>
          <p:cNvSpPr>
            <a:spLocks/>
          </p:cNvSpPr>
          <p:nvPr/>
        </p:nvSpPr>
        <p:spPr bwMode="gray">
          <a:xfrm>
            <a:off x="8171519" y="2126506"/>
            <a:ext cx="37851" cy="25313"/>
          </a:xfrm>
          <a:custGeom>
            <a:avLst/>
            <a:gdLst>
              <a:gd name="T0" fmla="*/ 20 w 20"/>
              <a:gd name="T1" fmla="*/ 11 h 11"/>
              <a:gd name="T2" fmla="*/ 0 w 20"/>
              <a:gd name="T3" fmla="*/ 0 h 11"/>
              <a:gd name="T4" fmla="*/ 17 w 20"/>
              <a:gd name="T5" fmla="*/ 7 h 11"/>
              <a:gd name="T6" fmla="*/ 20 w 20"/>
              <a:gd name="T7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" h="11">
                <a:moveTo>
                  <a:pt x="20" y="11"/>
                </a:moveTo>
                <a:lnTo>
                  <a:pt x="0" y="0"/>
                </a:lnTo>
                <a:lnTo>
                  <a:pt x="17" y="7"/>
                </a:lnTo>
                <a:lnTo>
                  <a:pt x="20" y="1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7" name="Freeform 423">
            <a:extLst>
              <a:ext uri="{FF2B5EF4-FFF2-40B4-BE49-F238E27FC236}">
                <a16:creationId xmlns:a16="http://schemas.microsoft.com/office/drawing/2014/main" id="{AE15A1F3-2E60-4244-8A43-16A6B99E59DC}"/>
              </a:ext>
            </a:extLst>
          </p:cNvPr>
          <p:cNvSpPr>
            <a:spLocks/>
          </p:cNvSpPr>
          <p:nvPr/>
        </p:nvSpPr>
        <p:spPr bwMode="gray">
          <a:xfrm>
            <a:off x="6865615" y="1505361"/>
            <a:ext cx="22367" cy="13630"/>
          </a:xfrm>
          <a:custGeom>
            <a:avLst/>
            <a:gdLst>
              <a:gd name="T0" fmla="*/ 10 w 11"/>
              <a:gd name="T1" fmla="*/ 4 h 6"/>
              <a:gd name="T2" fmla="*/ 0 w 11"/>
              <a:gd name="T3" fmla="*/ 0 h 6"/>
              <a:gd name="T4" fmla="*/ 11 w 11"/>
              <a:gd name="T5" fmla="*/ 6 h 6"/>
              <a:gd name="T6" fmla="*/ 10 w 11"/>
              <a:gd name="T7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1" h="6">
                <a:moveTo>
                  <a:pt x="10" y="4"/>
                </a:moveTo>
                <a:lnTo>
                  <a:pt x="0" y="0"/>
                </a:lnTo>
                <a:lnTo>
                  <a:pt x="11" y="6"/>
                </a:lnTo>
                <a:lnTo>
                  <a:pt x="10" y="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8" name="Freeform 424">
            <a:extLst>
              <a:ext uri="{FF2B5EF4-FFF2-40B4-BE49-F238E27FC236}">
                <a16:creationId xmlns:a16="http://schemas.microsoft.com/office/drawing/2014/main" id="{BD9F6D44-4208-4DA5-B7D1-A65E0BC0C96A}"/>
              </a:ext>
            </a:extLst>
          </p:cNvPr>
          <p:cNvSpPr>
            <a:spLocks/>
          </p:cNvSpPr>
          <p:nvPr/>
        </p:nvSpPr>
        <p:spPr bwMode="gray">
          <a:xfrm>
            <a:off x="4900740" y="2009678"/>
            <a:ext cx="18926" cy="3894"/>
          </a:xfrm>
          <a:custGeom>
            <a:avLst/>
            <a:gdLst>
              <a:gd name="T0" fmla="*/ 10 w 10"/>
              <a:gd name="T1" fmla="*/ 1 h 1"/>
              <a:gd name="T2" fmla="*/ 0 w 10"/>
              <a:gd name="T3" fmla="*/ 1 h 1"/>
              <a:gd name="T4" fmla="*/ 3 w 10"/>
              <a:gd name="T5" fmla="*/ 0 h 1"/>
              <a:gd name="T6" fmla="*/ 10 w 10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" h="1">
                <a:moveTo>
                  <a:pt x="10" y="1"/>
                </a:moveTo>
                <a:lnTo>
                  <a:pt x="0" y="1"/>
                </a:lnTo>
                <a:lnTo>
                  <a:pt x="3" y="0"/>
                </a:lnTo>
                <a:lnTo>
                  <a:pt x="10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9" name="Freeform 425">
            <a:extLst>
              <a:ext uri="{FF2B5EF4-FFF2-40B4-BE49-F238E27FC236}">
                <a16:creationId xmlns:a16="http://schemas.microsoft.com/office/drawing/2014/main" id="{6F5841EA-8622-4FA6-A093-9A61147D8D0C}"/>
              </a:ext>
            </a:extLst>
          </p:cNvPr>
          <p:cNvSpPr>
            <a:spLocks/>
          </p:cNvSpPr>
          <p:nvPr/>
        </p:nvSpPr>
        <p:spPr bwMode="gray">
          <a:xfrm>
            <a:off x="4716642" y="2512045"/>
            <a:ext cx="5161" cy="3894"/>
          </a:xfrm>
          <a:custGeom>
            <a:avLst/>
            <a:gdLst>
              <a:gd name="T0" fmla="*/ 3 w 3"/>
              <a:gd name="T1" fmla="*/ 1 h 1"/>
              <a:gd name="T2" fmla="*/ 3 w 3"/>
              <a:gd name="T3" fmla="*/ 0 h 1"/>
              <a:gd name="T4" fmla="*/ 2 w 3"/>
              <a:gd name="T5" fmla="*/ 0 h 1"/>
              <a:gd name="T6" fmla="*/ 2 w 3"/>
              <a:gd name="T7" fmla="*/ 1 h 1"/>
              <a:gd name="T8" fmla="*/ 0 w 3"/>
              <a:gd name="T9" fmla="*/ 1 h 1"/>
              <a:gd name="T10" fmla="*/ 2 w 3"/>
              <a:gd name="T11" fmla="*/ 1 h 1"/>
              <a:gd name="T12" fmla="*/ 3 w 3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0"/>
                </a:lnTo>
                <a:lnTo>
                  <a:pt x="2" y="0"/>
                </a:lnTo>
                <a:lnTo>
                  <a:pt x="2" y="1"/>
                </a:lnTo>
                <a:lnTo>
                  <a:pt x="0" y="1"/>
                </a:lnTo>
                <a:lnTo>
                  <a:pt x="2" y="1"/>
                </a:lnTo>
                <a:lnTo>
                  <a:pt x="3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0" name="Freeform 426">
            <a:extLst>
              <a:ext uri="{FF2B5EF4-FFF2-40B4-BE49-F238E27FC236}">
                <a16:creationId xmlns:a16="http://schemas.microsoft.com/office/drawing/2014/main" id="{E79E94EA-970C-4B78-90A6-20678CC1D712}"/>
              </a:ext>
            </a:extLst>
          </p:cNvPr>
          <p:cNvSpPr>
            <a:spLocks/>
          </p:cNvSpPr>
          <p:nvPr/>
        </p:nvSpPr>
        <p:spPr bwMode="gray">
          <a:xfrm>
            <a:off x="4809552" y="2321223"/>
            <a:ext cx="141087" cy="56467"/>
          </a:xfrm>
          <a:custGeom>
            <a:avLst/>
            <a:gdLst>
              <a:gd name="T0" fmla="*/ 27 w 74"/>
              <a:gd name="T1" fmla="*/ 0 h 26"/>
              <a:gd name="T2" fmla="*/ 27 w 74"/>
              <a:gd name="T3" fmla="*/ 1 h 26"/>
              <a:gd name="T4" fmla="*/ 23 w 74"/>
              <a:gd name="T5" fmla="*/ 4 h 26"/>
              <a:gd name="T6" fmla="*/ 20 w 74"/>
              <a:gd name="T7" fmla="*/ 6 h 26"/>
              <a:gd name="T8" fmla="*/ 20 w 74"/>
              <a:gd name="T9" fmla="*/ 7 h 26"/>
              <a:gd name="T10" fmla="*/ 15 w 74"/>
              <a:gd name="T11" fmla="*/ 12 h 26"/>
              <a:gd name="T12" fmla="*/ 9 w 74"/>
              <a:gd name="T13" fmla="*/ 13 h 26"/>
              <a:gd name="T14" fmla="*/ 4 w 74"/>
              <a:gd name="T15" fmla="*/ 13 h 26"/>
              <a:gd name="T16" fmla="*/ 0 w 74"/>
              <a:gd name="T17" fmla="*/ 12 h 26"/>
              <a:gd name="T18" fmla="*/ 9 w 74"/>
              <a:gd name="T19" fmla="*/ 24 h 26"/>
              <a:gd name="T20" fmla="*/ 12 w 74"/>
              <a:gd name="T21" fmla="*/ 26 h 26"/>
              <a:gd name="T22" fmla="*/ 28 w 74"/>
              <a:gd name="T23" fmla="*/ 26 h 26"/>
              <a:gd name="T24" fmla="*/ 48 w 74"/>
              <a:gd name="T25" fmla="*/ 18 h 26"/>
              <a:gd name="T26" fmla="*/ 70 w 74"/>
              <a:gd name="T27" fmla="*/ 18 h 26"/>
              <a:gd name="T28" fmla="*/ 74 w 74"/>
              <a:gd name="T29" fmla="*/ 7 h 26"/>
              <a:gd name="T30" fmla="*/ 54 w 74"/>
              <a:gd name="T31" fmla="*/ 3 h 26"/>
              <a:gd name="T32" fmla="*/ 44 w 74"/>
              <a:gd name="T33" fmla="*/ 3 h 26"/>
              <a:gd name="T34" fmla="*/ 41 w 74"/>
              <a:gd name="T35" fmla="*/ 1 h 26"/>
              <a:gd name="T36" fmla="*/ 27 w 74"/>
              <a:gd name="T37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4" h="26">
                <a:moveTo>
                  <a:pt x="27" y="0"/>
                </a:moveTo>
                <a:lnTo>
                  <a:pt x="27" y="1"/>
                </a:lnTo>
                <a:lnTo>
                  <a:pt x="23" y="4"/>
                </a:lnTo>
                <a:lnTo>
                  <a:pt x="20" y="6"/>
                </a:lnTo>
                <a:lnTo>
                  <a:pt x="20" y="7"/>
                </a:lnTo>
                <a:lnTo>
                  <a:pt x="15" y="12"/>
                </a:lnTo>
                <a:lnTo>
                  <a:pt x="9" y="13"/>
                </a:lnTo>
                <a:lnTo>
                  <a:pt x="4" y="13"/>
                </a:lnTo>
                <a:lnTo>
                  <a:pt x="0" y="12"/>
                </a:lnTo>
                <a:lnTo>
                  <a:pt x="9" y="24"/>
                </a:lnTo>
                <a:lnTo>
                  <a:pt x="12" y="26"/>
                </a:lnTo>
                <a:lnTo>
                  <a:pt x="28" y="26"/>
                </a:lnTo>
                <a:lnTo>
                  <a:pt x="48" y="18"/>
                </a:lnTo>
                <a:lnTo>
                  <a:pt x="70" y="18"/>
                </a:lnTo>
                <a:lnTo>
                  <a:pt x="74" y="7"/>
                </a:lnTo>
                <a:lnTo>
                  <a:pt x="54" y="3"/>
                </a:lnTo>
                <a:lnTo>
                  <a:pt x="44" y="3"/>
                </a:lnTo>
                <a:lnTo>
                  <a:pt x="41" y="1"/>
                </a:lnTo>
                <a:lnTo>
                  <a:pt x="27" y="0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1" name="Freeform 427">
            <a:extLst>
              <a:ext uri="{FF2B5EF4-FFF2-40B4-BE49-F238E27FC236}">
                <a16:creationId xmlns:a16="http://schemas.microsoft.com/office/drawing/2014/main" id="{5ECB10D9-FDB3-42FB-9D50-56274A11A80F}"/>
              </a:ext>
            </a:extLst>
          </p:cNvPr>
          <p:cNvSpPr>
            <a:spLocks/>
          </p:cNvSpPr>
          <p:nvPr/>
        </p:nvSpPr>
        <p:spPr bwMode="gray">
          <a:xfrm>
            <a:off x="4740730" y="2412740"/>
            <a:ext cx="72265" cy="46732"/>
          </a:xfrm>
          <a:custGeom>
            <a:avLst/>
            <a:gdLst>
              <a:gd name="T0" fmla="*/ 6 w 38"/>
              <a:gd name="T1" fmla="*/ 21 h 22"/>
              <a:gd name="T2" fmla="*/ 12 w 38"/>
              <a:gd name="T3" fmla="*/ 22 h 22"/>
              <a:gd name="T4" fmla="*/ 15 w 38"/>
              <a:gd name="T5" fmla="*/ 19 h 22"/>
              <a:gd name="T6" fmla="*/ 17 w 38"/>
              <a:gd name="T7" fmla="*/ 21 h 22"/>
              <a:gd name="T8" fmla="*/ 18 w 38"/>
              <a:gd name="T9" fmla="*/ 20 h 22"/>
              <a:gd name="T10" fmla="*/ 21 w 38"/>
              <a:gd name="T11" fmla="*/ 22 h 22"/>
              <a:gd name="T12" fmla="*/ 24 w 38"/>
              <a:gd name="T13" fmla="*/ 21 h 22"/>
              <a:gd name="T14" fmla="*/ 23 w 38"/>
              <a:gd name="T15" fmla="*/ 20 h 22"/>
              <a:gd name="T16" fmla="*/ 23 w 38"/>
              <a:gd name="T17" fmla="*/ 18 h 22"/>
              <a:gd name="T18" fmla="*/ 27 w 38"/>
              <a:gd name="T19" fmla="*/ 16 h 22"/>
              <a:gd name="T20" fmla="*/ 29 w 38"/>
              <a:gd name="T21" fmla="*/ 16 h 22"/>
              <a:gd name="T22" fmla="*/ 28 w 38"/>
              <a:gd name="T23" fmla="*/ 14 h 22"/>
              <a:gd name="T24" fmla="*/ 28 w 38"/>
              <a:gd name="T25" fmla="*/ 13 h 22"/>
              <a:gd name="T26" fmla="*/ 27 w 38"/>
              <a:gd name="T27" fmla="*/ 9 h 22"/>
              <a:gd name="T28" fmla="*/ 30 w 38"/>
              <a:gd name="T29" fmla="*/ 8 h 22"/>
              <a:gd name="T30" fmla="*/ 32 w 38"/>
              <a:gd name="T31" fmla="*/ 7 h 22"/>
              <a:gd name="T32" fmla="*/ 36 w 38"/>
              <a:gd name="T33" fmla="*/ 7 h 22"/>
              <a:gd name="T34" fmla="*/ 36 w 38"/>
              <a:gd name="T35" fmla="*/ 6 h 22"/>
              <a:gd name="T36" fmla="*/ 38 w 38"/>
              <a:gd name="T37" fmla="*/ 6 h 22"/>
              <a:gd name="T38" fmla="*/ 38 w 38"/>
              <a:gd name="T39" fmla="*/ 4 h 22"/>
              <a:gd name="T40" fmla="*/ 34 w 38"/>
              <a:gd name="T41" fmla="*/ 2 h 22"/>
              <a:gd name="T42" fmla="*/ 33 w 38"/>
              <a:gd name="T43" fmla="*/ 0 h 22"/>
              <a:gd name="T44" fmla="*/ 8 w 38"/>
              <a:gd name="T45" fmla="*/ 6 h 22"/>
              <a:gd name="T46" fmla="*/ 3 w 38"/>
              <a:gd name="T47" fmla="*/ 6 h 22"/>
              <a:gd name="T48" fmla="*/ 0 w 38"/>
              <a:gd name="T49" fmla="*/ 10 h 22"/>
              <a:gd name="T50" fmla="*/ 4 w 38"/>
              <a:gd name="T51" fmla="*/ 20 h 22"/>
              <a:gd name="T52" fmla="*/ 6 w 38"/>
              <a:gd name="T53" fmla="*/ 2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8" h="22">
                <a:moveTo>
                  <a:pt x="6" y="21"/>
                </a:moveTo>
                <a:lnTo>
                  <a:pt x="12" y="22"/>
                </a:lnTo>
                <a:lnTo>
                  <a:pt x="15" y="19"/>
                </a:lnTo>
                <a:lnTo>
                  <a:pt x="17" y="21"/>
                </a:lnTo>
                <a:lnTo>
                  <a:pt x="18" y="20"/>
                </a:lnTo>
                <a:lnTo>
                  <a:pt x="21" y="22"/>
                </a:lnTo>
                <a:lnTo>
                  <a:pt x="24" y="21"/>
                </a:lnTo>
                <a:lnTo>
                  <a:pt x="23" y="20"/>
                </a:lnTo>
                <a:lnTo>
                  <a:pt x="23" y="18"/>
                </a:lnTo>
                <a:lnTo>
                  <a:pt x="27" y="16"/>
                </a:lnTo>
                <a:lnTo>
                  <a:pt x="29" y="16"/>
                </a:lnTo>
                <a:lnTo>
                  <a:pt x="28" y="14"/>
                </a:lnTo>
                <a:lnTo>
                  <a:pt x="28" y="13"/>
                </a:lnTo>
                <a:lnTo>
                  <a:pt x="27" y="9"/>
                </a:lnTo>
                <a:lnTo>
                  <a:pt x="30" y="8"/>
                </a:lnTo>
                <a:lnTo>
                  <a:pt x="32" y="7"/>
                </a:lnTo>
                <a:lnTo>
                  <a:pt x="36" y="7"/>
                </a:lnTo>
                <a:lnTo>
                  <a:pt x="36" y="6"/>
                </a:lnTo>
                <a:lnTo>
                  <a:pt x="38" y="6"/>
                </a:lnTo>
                <a:lnTo>
                  <a:pt x="38" y="4"/>
                </a:lnTo>
                <a:lnTo>
                  <a:pt x="34" y="2"/>
                </a:lnTo>
                <a:lnTo>
                  <a:pt x="33" y="0"/>
                </a:lnTo>
                <a:lnTo>
                  <a:pt x="8" y="6"/>
                </a:lnTo>
                <a:lnTo>
                  <a:pt x="3" y="6"/>
                </a:lnTo>
                <a:lnTo>
                  <a:pt x="0" y="10"/>
                </a:lnTo>
                <a:lnTo>
                  <a:pt x="4" y="20"/>
                </a:lnTo>
                <a:lnTo>
                  <a:pt x="6" y="21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2" name="Freeform 428">
            <a:extLst>
              <a:ext uri="{FF2B5EF4-FFF2-40B4-BE49-F238E27FC236}">
                <a16:creationId xmlns:a16="http://schemas.microsoft.com/office/drawing/2014/main" id="{4B073652-BF46-4A27-88CD-6EC9C528A5B7}"/>
              </a:ext>
            </a:extLst>
          </p:cNvPr>
          <p:cNvSpPr>
            <a:spLocks/>
          </p:cNvSpPr>
          <p:nvPr/>
        </p:nvSpPr>
        <p:spPr bwMode="gray">
          <a:xfrm>
            <a:off x="4659863" y="1696184"/>
            <a:ext cx="249481" cy="430323"/>
          </a:xfrm>
          <a:custGeom>
            <a:avLst/>
            <a:gdLst>
              <a:gd name="T0" fmla="*/ 90 w 130"/>
              <a:gd name="T1" fmla="*/ 77 h 197"/>
              <a:gd name="T2" fmla="*/ 76 w 130"/>
              <a:gd name="T3" fmla="*/ 85 h 197"/>
              <a:gd name="T4" fmla="*/ 68 w 130"/>
              <a:gd name="T5" fmla="*/ 92 h 197"/>
              <a:gd name="T6" fmla="*/ 65 w 130"/>
              <a:gd name="T7" fmla="*/ 103 h 197"/>
              <a:gd name="T8" fmla="*/ 81 w 130"/>
              <a:gd name="T9" fmla="*/ 125 h 197"/>
              <a:gd name="T10" fmla="*/ 75 w 130"/>
              <a:gd name="T11" fmla="*/ 138 h 197"/>
              <a:gd name="T12" fmla="*/ 71 w 130"/>
              <a:gd name="T13" fmla="*/ 135 h 197"/>
              <a:gd name="T14" fmla="*/ 83 w 130"/>
              <a:gd name="T15" fmla="*/ 138 h 197"/>
              <a:gd name="T16" fmla="*/ 74 w 130"/>
              <a:gd name="T17" fmla="*/ 141 h 197"/>
              <a:gd name="T18" fmla="*/ 60 w 130"/>
              <a:gd name="T19" fmla="*/ 149 h 197"/>
              <a:gd name="T20" fmla="*/ 64 w 130"/>
              <a:gd name="T21" fmla="*/ 152 h 197"/>
              <a:gd name="T22" fmla="*/ 65 w 130"/>
              <a:gd name="T23" fmla="*/ 162 h 197"/>
              <a:gd name="T24" fmla="*/ 62 w 130"/>
              <a:gd name="T25" fmla="*/ 173 h 197"/>
              <a:gd name="T26" fmla="*/ 41 w 130"/>
              <a:gd name="T27" fmla="*/ 189 h 197"/>
              <a:gd name="T28" fmla="*/ 26 w 130"/>
              <a:gd name="T29" fmla="*/ 197 h 197"/>
              <a:gd name="T30" fmla="*/ 18 w 130"/>
              <a:gd name="T31" fmla="*/ 175 h 197"/>
              <a:gd name="T32" fmla="*/ 9 w 130"/>
              <a:gd name="T33" fmla="*/ 155 h 197"/>
              <a:gd name="T34" fmla="*/ 4 w 130"/>
              <a:gd name="T35" fmla="*/ 153 h 197"/>
              <a:gd name="T36" fmla="*/ 3 w 130"/>
              <a:gd name="T37" fmla="*/ 144 h 197"/>
              <a:gd name="T38" fmla="*/ 11 w 130"/>
              <a:gd name="T39" fmla="*/ 116 h 197"/>
              <a:gd name="T40" fmla="*/ 16 w 130"/>
              <a:gd name="T41" fmla="*/ 108 h 197"/>
              <a:gd name="T42" fmla="*/ 6 w 130"/>
              <a:gd name="T43" fmla="*/ 89 h 197"/>
              <a:gd name="T44" fmla="*/ 16 w 130"/>
              <a:gd name="T45" fmla="*/ 69 h 197"/>
              <a:gd name="T46" fmla="*/ 20 w 130"/>
              <a:gd name="T47" fmla="*/ 62 h 197"/>
              <a:gd name="T48" fmla="*/ 27 w 130"/>
              <a:gd name="T49" fmla="*/ 41 h 197"/>
              <a:gd name="T50" fmla="*/ 41 w 130"/>
              <a:gd name="T51" fmla="*/ 30 h 197"/>
              <a:gd name="T52" fmla="*/ 62 w 130"/>
              <a:gd name="T53" fmla="*/ 12 h 197"/>
              <a:gd name="T54" fmla="*/ 81 w 130"/>
              <a:gd name="T55" fmla="*/ 7 h 197"/>
              <a:gd name="T56" fmla="*/ 84 w 130"/>
              <a:gd name="T57" fmla="*/ 0 h 197"/>
              <a:gd name="T58" fmla="*/ 125 w 130"/>
              <a:gd name="T59" fmla="*/ 31 h 197"/>
              <a:gd name="T60" fmla="*/ 116 w 130"/>
              <a:gd name="T61" fmla="*/ 44 h 197"/>
              <a:gd name="T62" fmla="*/ 111 w 130"/>
              <a:gd name="T63" fmla="*/ 48 h 197"/>
              <a:gd name="T64" fmla="*/ 102 w 130"/>
              <a:gd name="T65" fmla="*/ 51 h 197"/>
              <a:gd name="T66" fmla="*/ 104 w 130"/>
              <a:gd name="T67" fmla="*/ 66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0" h="197">
                <a:moveTo>
                  <a:pt x="104" y="66"/>
                </a:moveTo>
                <a:lnTo>
                  <a:pt x="90" y="77"/>
                </a:lnTo>
                <a:lnTo>
                  <a:pt x="81" y="81"/>
                </a:lnTo>
                <a:lnTo>
                  <a:pt x="76" y="85"/>
                </a:lnTo>
                <a:lnTo>
                  <a:pt x="69" y="86"/>
                </a:lnTo>
                <a:lnTo>
                  <a:pt x="68" y="92"/>
                </a:lnTo>
                <a:lnTo>
                  <a:pt x="65" y="95"/>
                </a:lnTo>
                <a:lnTo>
                  <a:pt x="65" y="103"/>
                </a:lnTo>
                <a:lnTo>
                  <a:pt x="68" y="119"/>
                </a:lnTo>
                <a:lnTo>
                  <a:pt x="81" y="125"/>
                </a:lnTo>
                <a:lnTo>
                  <a:pt x="87" y="131"/>
                </a:lnTo>
                <a:lnTo>
                  <a:pt x="75" y="138"/>
                </a:lnTo>
                <a:lnTo>
                  <a:pt x="71" y="133"/>
                </a:lnTo>
                <a:lnTo>
                  <a:pt x="71" y="135"/>
                </a:lnTo>
                <a:lnTo>
                  <a:pt x="57" y="137"/>
                </a:lnTo>
                <a:lnTo>
                  <a:pt x="83" y="138"/>
                </a:lnTo>
                <a:lnTo>
                  <a:pt x="75" y="144"/>
                </a:lnTo>
                <a:lnTo>
                  <a:pt x="74" y="141"/>
                </a:lnTo>
                <a:lnTo>
                  <a:pt x="66" y="149"/>
                </a:lnTo>
                <a:lnTo>
                  <a:pt x="60" y="149"/>
                </a:lnTo>
                <a:lnTo>
                  <a:pt x="65" y="152"/>
                </a:lnTo>
                <a:lnTo>
                  <a:pt x="64" y="152"/>
                </a:lnTo>
                <a:lnTo>
                  <a:pt x="63" y="158"/>
                </a:lnTo>
                <a:lnTo>
                  <a:pt x="65" y="162"/>
                </a:lnTo>
                <a:lnTo>
                  <a:pt x="64" y="162"/>
                </a:lnTo>
                <a:lnTo>
                  <a:pt x="62" y="173"/>
                </a:lnTo>
                <a:lnTo>
                  <a:pt x="60" y="185"/>
                </a:lnTo>
                <a:lnTo>
                  <a:pt x="41" y="189"/>
                </a:lnTo>
                <a:lnTo>
                  <a:pt x="39" y="197"/>
                </a:lnTo>
                <a:lnTo>
                  <a:pt x="26" y="197"/>
                </a:lnTo>
                <a:lnTo>
                  <a:pt x="21" y="185"/>
                </a:lnTo>
                <a:lnTo>
                  <a:pt x="18" y="175"/>
                </a:lnTo>
                <a:lnTo>
                  <a:pt x="8" y="159"/>
                </a:lnTo>
                <a:lnTo>
                  <a:pt x="9" y="155"/>
                </a:lnTo>
                <a:lnTo>
                  <a:pt x="5" y="153"/>
                </a:lnTo>
                <a:lnTo>
                  <a:pt x="4" y="153"/>
                </a:lnTo>
                <a:lnTo>
                  <a:pt x="0" y="145"/>
                </a:lnTo>
                <a:lnTo>
                  <a:pt x="3" y="144"/>
                </a:lnTo>
                <a:lnTo>
                  <a:pt x="10" y="129"/>
                </a:lnTo>
                <a:lnTo>
                  <a:pt x="11" y="116"/>
                </a:lnTo>
                <a:lnTo>
                  <a:pt x="11" y="113"/>
                </a:lnTo>
                <a:lnTo>
                  <a:pt x="16" y="108"/>
                </a:lnTo>
                <a:lnTo>
                  <a:pt x="8" y="103"/>
                </a:lnTo>
                <a:lnTo>
                  <a:pt x="6" y="89"/>
                </a:lnTo>
                <a:lnTo>
                  <a:pt x="6" y="75"/>
                </a:lnTo>
                <a:lnTo>
                  <a:pt x="16" y="69"/>
                </a:lnTo>
                <a:lnTo>
                  <a:pt x="26" y="68"/>
                </a:lnTo>
                <a:lnTo>
                  <a:pt x="20" y="62"/>
                </a:lnTo>
                <a:lnTo>
                  <a:pt x="28" y="44"/>
                </a:lnTo>
                <a:lnTo>
                  <a:pt x="27" y="41"/>
                </a:lnTo>
                <a:lnTo>
                  <a:pt x="36" y="38"/>
                </a:lnTo>
                <a:lnTo>
                  <a:pt x="41" y="30"/>
                </a:lnTo>
                <a:lnTo>
                  <a:pt x="47" y="15"/>
                </a:lnTo>
                <a:lnTo>
                  <a:pt x="62" y="12"/>
                </a:lnTo>
                <a:lnTo>
                  <a:pt x="63" y="7"/>
                </a:lnTo>
                <a:lnTo>
                  <a:pt x="81" y="7"/>
                </a:lnTo>
                <a:lnTo>
                  <a:pt x="80" y="0"/>
                </a:lnTo>
                <a:lnTo>
                  <a:pt x="84" y="0"/>
                </a:lnTo>
                <a:lnTo>
                  <a:pt x="114" y="12"/>
                </a:lnTo>
                <a:lnTo>
                  <a:pt x="125" y="31"/>
                </a:lnTo>
                <a:lnTo>
                  <a:pt x="130" y="44"/>
                </a:lnTo>
                <a:lnTo>
                  <a:pt x="116" y="44"/>
                </a:lnTo>
                <a:lnTo>
                  <a:pt x="112" y="45"/>
                </a:lnTo>
                <a:lnTo>
                  <a:pt x="111" y="48"/>
                </a:lnTo>
                <a:lnTo>
                  <a:pt x="108" y="48"/>
                </a:lnTo>
                <a:lnTo>
                  <a:pt x="102" y="51"/>
                </a:lnTo>
                <a:lnTo>
                  <a:pt x="100" y="59"/>
                </a:lnTo>
                <a:lnTo>
                  <a:pt x="104" y="66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3" name="Freeform 429">
            <a:extLst>
              <a:ext uri="{FF2B5EF4-FFF2-40B4-BE49-F238E27FC236}">
                <a16:creationId xmlns:a16="http://schemas.microsoft.com/office/drawing/2014/main" id="{E7D89FB1-6FE3-404F-A378-BFA0CEC02447}"/>
              </a:ext>
            </a:extLst>
          </p:cNvPr>
          <p:cNvSpPr>
            <a:spLocks/>
          </p:cNvSpPr>
          <p:nvPr/>
        </p:nvSpPr>
        <p:spPr bwMode="gray">
          <a:xfrm>
            <a:off x="4819876" y="2048620"/>
            <a:ext cx="12045" cy="25313"/>
          </a:xfrm>
          <a:custGeom>
            <a:avLst/>
            <a:gdLst>
              <a:gd name="T0" fmla="*/ 6 w 6"/>
              <a:gd name="T1" fmla="*/ 0 h 12"/>
              <a:gd name="T2" fmla="*/ 6 w 6"/>
              <a:gd name="T3" fmla="*/ 3 h 12"/>
              <a:gd name="T4" fmla="*/ 4 w 6"/>
              <a:gd name="T5" fmla="*/ 10 h 12"/>
              <a:gd name="T6" fmla="*/ 3 w 6"/>
              <a:gd name="T7" fmla="*/ 12 h 12"/>
              <a:gd name="T8" fmla="*/ 0 w 6"/>
              <a:gd name="T9" fmla="*/ 7 h 12"/>
              <a:gd name="T10" fmla="*/ 6 w 6"/>
              <a:gd name="T1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" h="12">
                <a:moveTo>
                  <a:pt x="6" y="0"/>
                </a:moveTo>
                <a:lnTo>
                  <a:pt x="6" y="3"/>
                </a:lnTo>
                <a:lnTo>
                  <a:pt x="4" y="10"/>
                </a:lnTo>
                <a:lnTo>
                  <a:pt x="3" y="12"/>
                </a:lnTo>
                <a:lnTo>
                  <a:pt x="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4" name="Freeform 430">
            <a:extLst>
              <a:ext uri="{FF2B5EF4-FFF2-40B4-BE49-F238E27FC236}">
                <a16:creationId xmlns:a16="http://schemas.microsoft.com/office/drawing/2014/main" id="{F21ACB49-F95B-4D11-B95C-7ACCF31959D2}"/>
              </a:ext>
            </a:extLst>
          </p:cNvPr>
          <p:cNvSpPr>
            <a:spLocks/>
          </p:cNvSpPr>
          <p:nvPr/>
        </p:nvSpPr>
        <p:spPr bwMode="gray">
          <a:xfrm>
            <a:off x="4560071" y="2385479"/>
            <a:ext cx="106675" cy="60360"/>
          </a:xfrm>
          <a:custGeom>
            <a:avLst/>
            <a:gdLst>
              <a:gd name="T0" fmla="*/ 53 w 55"/>
              <a:gd name="T1" fmla="*/ 16 h 27"/>
              <a:gd name="T2" fmla="*/ 49 w 55"/>
              <a:gd name="T3" fmla="*/ 20 h 27"/>
              <a:gd name="T4" fmla="*/ 41 w 55"/>
              <a:gd name="T5" fmla="*/ 20 h 27"/>
              <a:gd name="T6" fmla="*/ 36 w 55"/>
              <a:gd name="T7" fmla="*/ 26 h 27"/>
              <a:gd name="T8" fmla="*/ 27 w 55"/>
              <a:gd name="T9" fmla="*/ 20 h 27"/>
              <a:gd name="T10" fmla="*/ 20 w 55"/>
              <a:gd name="T11" fmla="*/ 26 h 27"/>
              <a:gd name="T12" fmla="*/ 12 w 55"/>
              <a:gd name="T13" fmla="*/ 27 h 27"/>
              <a:gd name="T14" fmla="*/ 5 w 55"/>
              <a:gd name="T15" fmla="*/ 19 h 27"/>
              <a:gd name="T16" fmla="*/ 0 w 55"/>
              <a:gd name="T17" fmla="*/ 21 h 27"/>
              <a:gd name="T18" fmla="*/ 11 w 55"/>
              <a:gd name="T19" fmla="*/ 4 h 27"/>
              <a:gd name="T20" fmla="*/ 14 w 55"/>
              <a:gd name="T21" fmla="*/ 3 h 27"/>
              <a:gd name="T22" fmla="*/ 18 w 55"/>
              <a:gd name="T23" fmla="*/ 1 h 27"/>
              <a:gd name="T24" fmla="*/ 31 w 55"/>
              <a:gd name="T25" fmla="*/ 0 h 27"/>
              <a:gd name="T26" fmla="*/ 43 w 55"/>
              <a:gd name="T27" fmla="*/ 2 h 27"/>
              <a:gd name="T28" fmla="*/ 43 w 55"/>
              <a:gd name="T29" fmla="*/ 6 h 27"/>
              <a:gd name="T30" fmla="*/ 42 w 55"/>
              <a:gd name="T31" fmla="*/ 8 h 27"/>
              <a:gd name="T32" fmla="*/ 42 w 55"/>
              <a:gd name="T33" fmla="*/ 9 h 27"/>
              <a:gd name="T34" fmla="*/ 44 w 55"/>
              <a:gd name="T35" fmla="*/ 9 h 27"/>
              <a:gd name="T36" fmla="*/ 55 w 55"/>
              <a:gd name="T37" fmla="*/ 12 h 27"/>
              <a:gd name="T38" fmla="*/ 55 w 55"/>
              <a:gd name="T39" fmla="*/ 13 h 27"/>
              <a:gd name="T40" fmla="*/ 53 w 55"/>
              <a:gd name="T41" fmla="*/ 16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55" h="27">
                <a:moveTo>
                  <a:pt x="53" y="16"/>
                </a:moveTo>
                <a:lnTo>
                  <a:pt x="49" y="20"/>
                </a:lnTo>
                <a:lnTo>
                  <a:pt x="41" y="20"/>
                </a:lnTo>
                <a:lnTo>
                  <a:pt x="36" y="26"/>
                </a:lnTo>
                <a:lnTo>
                  <a:pt x="27" y="20"/>
                </a:lnTo>
                <a:lnTo>
                  <a:pt x="20" y="26"/>
                </a:lnTo>
                <a:lnTo>
                  <a:pt x="12" y="27"/>
                </a:lnTo>
                <a:lnTo>
                  <a:pt x="5" y="19"/>
                </a:lnTo>
                <a:lnTo>
                  <a:pt x="0" y="21"/>
                </a:lnTo>
                <a:lnTo>
                  <a:pt x="11" y="4"/>
                </a:lnTo>
                <a:lnTo>
                  <a:pt x="14" y="3"/>
                </a:lnTo>
                <a:lnTo>
                  <a:pt x="18" y="1"/>
                </a:lnTo>
                <a:lnTo>
                  <a:pt x="31" y="0"/>
                </a:lnTo>
                <a:lnTo>
                  <a:pt x="43" y="2"/>
                </a:lnTo>
                <a:lnTo>
                  <a:pt x="43" y="6"/>
                </a:lnTo>
                <a:lnTo>
                  <a:pt x="42" y="8"/>
                </a:lnTo>
                <a:lnTo>
                  <a:pt x="42" y="9"/>
                </a:lnTo>
                <a:lnTo>
                  <a:pt x="44" y="9"/>
                </a:lnTo>
                <a:lnTo>
                  <a:pt x="55" y="12"/>
                </a:lnTo>
                <a:lnTo>
                  <a:pt x="55" y="13"/>
                </a:lnTo>
                <a:lnTo>
                  <a:pt x="53" y="16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5" name="Freeform 431">
            <a:extLst>
              <a:ext uri="{FF2B5EF4-FFF2-40B4-BE49-F238E27FC236}">
                <a16:creationId xmlns:a16="http://schemas.microsoft.com/office/drawing/2014/main" id="{05CC77AD-A9B4-4B43-9E58-B598C0B53695}"/>
              </a:ext>
            </a:extLst>
          </p:cNvPr>
          <p:cNvSpPr>
            <a:spLocks/>
          </p:cNvSpPr>
          <p:nvPr/>
        </p:nvSpPr>
        <p:spPr bwMode="gray">
          <a:xfrm>
            <a:off x="4943754" y="2221916"/>
            <a:ext cx="440462" cy="272603"/>
          </a:xfrm>
          <a:custGeom>
            <a:avLst/>
            <a:gdLst>
              <a:gd name="T0" fmla="*/ 121 w 229"/>
              <a:gd name="T1" fmla="*/ 0 h 126"/>
              <a:gd name="T2" fmla="*/ 110 w 229"/>
              <a:gd name="T3" fmla="*/ 4 h 126"/>
              <a:gd name="T4" fmla="*/ 96 w 229"/>
              <a:gd name="T5" fmla="*/ 11 h 126"/>
              <a:gd name="T6" fmla="*/ 97 w 229"/>
              <a:gd name="T7" fmla="*/ 17 h 126"/>
              <a:gd name="T8" fmla="*/ 76 w 229"/>
              <a:gd name="T9" fmla="*/ 13 h 126"/>
              <a:gd name="T10" fmla="*/ 54 w 229"/>
              <a:gd name="T11" fmla="*/ 8 h 126"/>
              <a:gd name="T12" fmla="*/ 32 w 229"/>
              <a:gd name="T13" fmla="*/ 8 h 126"/>
              <a:gd name="T14" fmla="*/ 12 w 229"/>
              <a:gd name="T15" fmla="*/ 8 h 126"/>
              <a:gd name="T16" fmla="*/ 18 w 229"/>
              <a:gd name="T17" fmla="*/ 25 h 126"/>
              <a:gd name="T18" fmla="*/ 17 w 229"/>
              <a:gd name="T19" fmla="*/ 32 h 126"/>
              <a:gd name="T20" fmla="*/ 6 w 229"/>
              <a:gd name="T21" fmla="*/ 48 h 126"/>
              <a:gd name="T22" fmla="*/ 4 w 229"/>
              <a:gd name="T23" fmla="*/ 53 h 126"/>
              <a:gd name="T24" fmla="*/ 0 w 229"/>
              <a:gd name="T25" fmla="*/ 64 h 126"/>
              <a:gd name="T26" fmla="*/ 10 w 229"/>
              <a:gd name="T27" fmla="*/ 71 h 126"/>
              <a:gd name="T28" fmla="*/ 11 w 229"/>
              <a:gd name="T29" fmla="*/ 71 h 126"/>
              <a:gd name="T30" fmla="*/ 35 w 229"/>
              <a:gd name="T31" fmla="*/ 73 h 126"/>
              <a:gd name="T32" fmla="*/ 55 w 229"/>
              <a:gd name="T33" fmla="*/ 66 h 126"/>
              <a:gd name="T34" fmla="*/ 66 w 229"/>
              <a:gd name="T35" fmla="*/ 58 h 126"/>
              <a:gd name="T36" fmla="*/ 71 w 229"/>
              <a:gd name="T37" fmla="*/ 59 h 126"/>
              <a:gd name="T38" fmla="*/ 80 w 229"/>
              <a:gd name="T39" fmla="*/ 68 h 126"/>
              <a:gd name="T40" fmla="*/ 91 w 229"/>
              <a:gd name="T41" fmla="*/ 78 h 126"/>
              <a:gd name="T42" fmla="*/ 101 w 229"/>
              <a:gd name="T43" fmla="*/ 86 h 126"/>
              <a:gd name="T44" fmla="*/ 110 w 229"/>
              <a:gd name="T45" fmla="*/ 96 h 126"/>
              <a:gd name="T46" fmla="*/ 121 w 229"/>
              <a:gd name="T47" fmla="*/ 90 h 126"/>
              <a:gd name="T48" fmla="*/ 125 w 229"/>
              <a:gd name="T49" fmla="*/ 92 h 126"/>
              <a:gd name="T50" fmla="*/ 124 w 229"/>
              <a:gd name="T51" fmla="*/ 84 h 126"/>
              <a:gd name="T52" fmla="*/ 126 w 229"/>
              <a:gd name="T53" fmla="*/ 90 h 126"/>
              <a:gd name="T54" fmla="*/ 136 w 229"/>
              <a:gd name="T55" fmla="*/ 91 h 126"/>
              <a:gd name="T56" fmla="*/ 122 w 229"/>
              <a:gd name="T57" fmla="*/ 94 h 126"/>
              <a:gd name="T58" fmla="*/ 127 w 229"/>
              <a:gd name="T59" fmla="*/ 96 h 126"/>
              <a:gd name="T60" fmla="*/ 138 w 229"/>
              <a:gd name="T61" fmla="*/ 100 h 126"/>
              <a:gd name="T62" fmla="*/ 150 w 229"/>
              <a:gd name="T63" fmla="*/ 101 h 126"/>
              <a:gd name="T64" fmla="*/ 137 w 229"/>
              <a:gd name="T65" fmla="*/ 110 h 126"/>
              <a:gd name="T66" fmla="*/ 145 w 229"/>
              <a:gd name="T67" fmla="*/ 114 h 126"/>
              <a:gd name="T68" fmla="*/ 151 w 229"/>
              <a:gd name="T69" fmla="*/ 120 h 126"/>
              <a:gd name="T70" fmla="*/ 154 w 229"/>
              <a:gd name="T71" fmla="*/ 126 h 126"/>
              <a:gd name="T72" fmla="*/ 172 w 229"/>
              <a:gd name="T73" fmla="*/ 119 h 126"/>
              <a:gd name="T74" fmla="*/ 180 w 229"/>
              <a:gd name="T75" fmla="*/ 118 h 126"/>
              <a:gd name="T76" fmla="*/ 188 w 229"/>
              <a:gd name="T77" fmla="*/ 113 h 126"/>
              <a:gd name="T78" fmla="*/ 178 w 229"/>
              <a:gd name="T79" fmla="*/ 112 h 126"/>
              <a:gd name="T80" fmla="*/ 166 w 229"/>
              <a:gd name="T81" fmla="*/ 103 h 126"/>
              <a:gd name="T82" fmla="*/ 168 w 229"/>
              <a:gd name="T83" fmla="*/ 95 h 126"/>
              <a:gd name="T84" fmla="*/ 167 w 229"/>
              <a:gd name="T85" fmla="*/ 100 h 126"/>
              <a:gd name="T86" fmla="*/ 170 w 229"/>
              <a:gd name="T87" fmla="*/ 96 h 126"/>
              <a:gd name="T88" fmla="*/ 188 w 229"/>
              <a:gd name="T89" fmla="*/ 90 h 126"/>
              <a:gd name="T90" fmla="*/ 208 w 229"/>
              <a:gd name="T91" fmla="*/ 83 h 126"/>
              <a:gd name="T92" fmla="*/ 215 w 229"/>
              <a:gd name="T93" fmla="*/ 82 h 126"/>
              <a:gd name="T94" fmla="*/ 218 w 229"/>
              <a:gd name="T95" fmla="*/ 72 h 126"/>
              <a:gd name="T96" fmla="*/ 229 w 229"/>
              <a:gd name="T97" fmla="*/ 67 h 126"/>
              <a:gd name="T98" fmla="*/ 221 w 229"/>
              <a:gd name="T99" fmla="*/ 46 h 126"/>
              <a:gd name="T100" fmla="*/ 202 w 229"/>
              <a:gd name="T101" fmla="*/ 40 h 126"/>
              <a:gd name="T102" fmla="*/ 184 w 229"/>
              <a:gd name="T103" fmla="*/ 34 h 126"/>
              <a:gd name="T104" fmla="*/ 175 w 229"/>
              <a:gd name="T105" fmla="*/ 35 h 126"/>
              <a:gd name="T106" fmla="*/ 158 w 229"/>
              <a:gd name="T107" fmla="*/ 22 h 126"/>
              <a:gd name="T108" fmla="*/ 143 w 229"/>
              <a:gd name="T109" fmla="*/ 7 h 126"/>
              <a:gd name="T110" fmla="*/ 140 w 229"/>
              <a:gd name="T111" fmla="*/ 2 h 126"/>
              <a:gd name="T112" fmla="*/ 121 w 229"/>
              <a:gd name="T113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9" h="126">
                <a:moveTo>
                  <a:pt x="121" y="0"/>
                </a:moveTo>
                <a:lnTo>
                  <a:pt x="110" y="4"/>
                </a:lnTo>
                <a:lnTo>
                  <a:pt x="96" y="11"/>
                </a:lnTo>
                <a:lnTo>
                  <a:pt x="97" y="17"/>
                </a:lnTo>
                <a:lnTo>
                  <a:pt x="76" y="13"/>
                </a:lnTo>
                <a:lnTo>
                  <a:pt x="54" y="8"/>
                </a:lnTo>
                <a:lnTo>
                  <a:pt x="32" y="8"/>
                </a:lnTo>
                <a:lnTo>
                  <a:pt x="12" y="8"/>
                </a:lnTo>
                <a:lnTo>
                  <a:pt x="18" y="25"/>
                </a:lnTo>
                <a:lnTo>
                  <a:pt x="17" y="32"/>
                </a:lnTo>
                <a:lnTo>
                  <a:pt x="6" y="48"/>
                </a:lnTo>
                <a:lnTo>
                  <a:pt x="4" y="53"/>
                </a:lnTo>
                <a:lnTo>
                  <a:pt x="0" y="64"/>
                </a:lnTo>
                <a:lnTo>
                  <a:pt x="10" y="71"/>
                </a:lnTo>
                <a:lnTo>
                  <a:pt x="11" y="71"/>
                </a:lnTo>
                <a:lnTo>
                  <a:pt x="35" y="73"/>
                </a:lnTo>
                <a:lnTo>
                  <a:pt x="55" y="66"/>
                </a:lnTo>
                <a:lnTo>
                  <a:pt x="66" y="58"/>
                </a:lnTo>
                <a:lnTo>
                  <a:pt x="71" y="59"/>
                </a:lnTo>
                <a:lnTo>
                  <a:pt x="80" y="68"/>
                </a:lnTo>
                <a:lnTo>
                  <a:pt x="91" y="78"/>
                </a:lnTo>
                <a:lnTo>
                  <a:pt x="101" y="86"/>
                </a:lnTo>
                <a:lnTo>
                  <a:pt x="110" y="96"/>
                </a:lnTo>
                <a:lnTo>
                  <a:pt x="121" y="90"/>
                </a:lnTo>
                <a:lnTo>
                  <a:pt x="125" y="92"/>
                </a:lnTo>
                <a:lnTo>
                  <a:pt x="124" y="84"/>
                </a:lnTo>
                <a:lnTo>
                  <a:pt x="126" y="90"/>
                </a:lnTo>
                <a:lnTo>
                  <a:pt x="136" y="91"/>
                </a:lnTo>
                <a:lnTo>
                  <a:pt x="122" y="94"/>
                </a:lnTo>
                <a:lnTo>
                  <a:pt x="127" y="96"/>
                </a:lnTo>
                <a:lnTo>
                  <a:pt x="138" y="100"/>
                </a:lnTo>
                <a:lnTo>
                  <a:pt x="150" y="101"/>
                </a:lnTo>
                <a:lnTo>
                  <a:pt x="137" y="110"/>
                </a:lnTo>
                <a:lnTo>
                  <a:pt x="145" y="114"/>
                </a:lnTo>
                <a:lnTo>
                  <a:pt x="151" y="120"/>
                </a:lnTo>
                <a:lnTo>
                  <a:pt x="154" y="126"/>
                </a:lnTo>
                <a:lnTo>
                  <a:pt x="172" y="119"/>
                </a:lnTo>
                <a:lnTo>
                  <a:pt x="180" y="118"/>
                </a:lnTo>
                <a:lnTo>
                  <a:pt x="188" y="113"/>
                </a:lnTo>
                <a:lnTo>
                  <a:pt x="178" y="112"/>
                </a:lnTo>
                <a:lnTo>
                  <a:pt x="166" y="103"/>
                </a:lnTo>
                <a:lnTo>
                  <a:pt x="168" y="95"/>
                </a:lnTo>
                <a:lnTo>
                  <a:pt x="167" y="100"/>
                </a:lnTo>
                <a:lnTo>
                  <a:pt x="170" y="96"/>
                </a:lnTo>
                <a:lnTo>
                  <a:pt x="188" y="90"/>
                </a:lnTo>
                <a:lnTo>
                  <a:pt x="208" y="83"/>
                </a:lnTo>
                <a:lnTo>
                  <a:pt x="215" y="82"/>
                </a:lnTo>
                <a:lnTo>
                  <a:pt x="218" y="72"/>
                </a:lnTo>
                <a:lnTo>
                  <a:pt x="229" y="67"/>
                </a:lnTo>
                <a:lnTo>
                  <a:pt x="221" y="46"/>
                </a:lnTo>
                <a:lnTo>
                  <a:pt x="202" y="40"/>
                </a:lnTo>
                <a:lnTo>
                  <a:pt x="184" y="34"/>
                </a:lnTo>
                <a:lnTo>
                  <a:pt x="175" y="35"/>
                </a:lnTo>
                <a:lnTo>
                  <a:pt x="158" y="22"/>
                </a:lnTo>
                <a:lnTo>
                  <a:pt x="143" y="7"/>
                </a:lnTo>
                <a:lnTo>
                  <a:pt x="140" y="2"/>
                </a:lnTo>
                <a:lnTo>
                  <a:pt x="12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6" name="Freeform 432">
            <a:extLst>
              <a:ext uri="{FF2B5EF4-FFF2-40B4-BE49-F238E27FC236}">
                <a16:creationId xmlns:a16="http://schemas.microsoft.com/office/drawing/2014/main" id="{90BA96CF-2E08-4CB5-90ED-A359DDE97B53}"/>
              </a:ext>
            </a:extLst>
          </p:cNvPr>
          <p:cNvSpPr>
            <a:spLocks/>
          </p:cNvSpPr>
          <p:nvPr/>
        </p:nvSpPr>
        <p:spPr bwMode="gray">
          <a:xfrm>
            <a:off x="4869772" y="2438052"/>
            <a:ext cx="111836" cy="142144"/>
          </a:xfrm>
          <a:custGeom>
            <a:avLst/>
            <a:gdLst>
              <a:gd name="T0" fmla="*/ 9 w 57"/>
              <a:gd name="T1" fmla="*/ 13 h 67"/>
              <a:gd name="T2" fmla="*/ 9 w 57"/>
              <a:gd name="T3" fmla="*/ 14 h 67"/>
              <a:gd name="T4" fmla="*/ 6 w 57"/>
              <a:gd name="T5" fmla="*/ 15 h 67"/>
              <a:gd name="T6" fmla="*/ 4 w 57"/>
              <a:gd name="T7" fmla="*/ 19 h 67"/>
              <a:gd name="T8" fmla="*/ 8 w 57"/>
              <a:gd name="T9" fmla="*/ 19 h 67"/>
              <a:gd name="T10" fmla="*/ 9 w 57"/>
              <a:gd name="T11" fmla="*/ 21 h 67"/>
              <a:gd name="T12" fmla="*/ 8 w 57"/>
              <a:gd name="T13" fmla="*/ 24 h 67"/>
              <a:gd name="T14" fmla="*/ 6 w 57"/>
              <a:gd name="T15" fmla="*/ 26 h 67"/>
              <a:gd name="T16" fmla="*/ 6 w 57"/>
              <a:gd name="T17" fmla="*/ 27 h 67"/>
              <a:gd name="T18" fmla="*/ 8 w 57"/>
              <a:gd name="T19" fmla="*/ 30 h 67"/>
              <a:gd name="T20" fmla="*/ 14 w 57"/>
              <a:gd name="T21" fmla="*/ 33 h 67"/>
              <a:gd name="T22" fmla="*/ 9 w 57"/>
              <a:gd name="T23" fmla="*/ 34 h 67"/>
              <a:gd name="T24" fmla="*/ 13 w 57"/>
              <a:gd name="T25" fmla="*/ 37 h 67"/>
              <a:gd name="T26" fmla="*/ 13 w 57"/>
              <a:gd name="T27" fmla="*/ 40 h 67"/>
              <a:gd name="T28" fmla="*/ 6 w 57"/>
              <a:gd name="T29" fmla="*/ 42 h 67"/>
              <a:gd name="T30" fmla="*/ 8 w 57"/>
              <a:gd name="T31" fmla="*/ 44 h 67"/>
              <a:gd name="T32" fmla="*/ 7 w 57"/>
              <a:gd name="T33" fmla="*/ 46 h 67"/>
              <a:gd name="T34" fmla="*/ 4 w 57"/>
              <a:gd name="T35" fmla="*/ 44 h 67"/>
              <a:gd name="T36" fmla="*/ 1 w 57"/>
              <a:gd name="T37" fmla="*/ 49 h 67"/>
              <a:gd name="T38" fmla="*/ 0 w 57"/>
              <a:gd name="T39" fmla="*/ 50 h 67"/>
              <a:gd name="T40" fmla="*/ 3 w 57"/>
              <a:gd name="T41" fmla="*/ 55 h 67"/>
              <a:gd name="T42" fmla="*/ 0 w 57"/>
              <a:gd name="T43" fmla="*/ 56 h 67"/>
              <a:gd name="T44" fmla="*/ 0 w 57"/>
              <a:gd name="T45" fmla="*/ 58 h 67"/>
              <a:gd name="T46" fmla="*/ 8 w 57"/>
              <a:gd name="T47" fmla="*/ 63 h 67"/>
              <a:gd name="T48" fmla="*/ 13 w 57"/>
              <a:gd name="T49" fmla="*/ 67 h 67"/>
              <a:gd name="T50" fmla="*/ 15 w 57"/>
              <a:gd name="T51" fmla="*/ 56 h 67"/>
              <a:gd name="T52" fmla="*/ 24 w 57"/>
              <a:gd name="T53" fmla="*/ 58 h 67"/>
              <a:gd name="T54" fmla="*/ 27 w 57"/>
              <a:gd name="T55" fmla="*/ 67 h 67"/>
              <a:gd name="T56" fmla="*/ 30 w 57"/>
              <a:gd name="T57" fmla="*/ 66 h 67"/>
              <a:gd name="T58" fmla="*/ 30 w 57"/>
              <a:gd name="T59" fmla="*/ 64 h 67"/>
              <a:gd name="T60" fmla="*/ 34 w 57"/>
              <a:gd name="T61" fmla="*/ 62 h 67"/>
              <a:gd name="T62" fmla="*/ 37 w 57"/>
              <a:gd name="T63" fmla="*/ 63 h 67"/>
              <a:gd name="T64" fmla="*/ 39 w 57"/>
              <a:gd name="T65" fmla="*/ 61 h 67"/>
              <a:gd name="T66" fmla="*/ 40 w 57"/>
              <a:gd name="T67" fmla="*/ 61 h 67"/>
              <a:gd name="T68" fmla="*/ 44 w 57"/>
              <a:gd name="T69" fmla="*/ 62 h 67"/>
              <a:gd name="T70" fmla="*/ 45 w 57"/>
              <a:gd name="T71" fmla="*/ 61 h 67"/>
              <a:gd name="T72" fmla="*/ 50 w 57"/>
              <a:gd name="T73" fmla="*/ 60 h 67"/>
              <a:gd name="T74" fmla="*/ 54 w 57"/>
              <a:gd name="T75" fmla="*/ 63 h 67"/>
              <a:gd name="T76" fmla="*/ 55 w 57"/>
              <a:gd name="T77" fmla="*/ 62 h 67"/>
              <a:gd name="T78" fmla="*/ 51 w 57"/>
              <a:gd name="T79" fmla="*/ 56 h 67"/>
              <a:gd name="T80" fmla="*/ 57 w 57"/>
              <a:gd name="T81" fmla="*/ 49 h 67"/>
              <a:gd name="T82" fmla="*/ 51 w 57"/>
              <a:gd name="T83" fmla="*/ 39 h 67"/>
              <a:gd name="T84" fmla="*/ 52 w 57"/>
              <a:gd name="T85" fmla="*/ 30 h 67"/>
              <a:gd name="T86" fmla="*/ 51 w 57"/>
              <a:gd name="T87" fmla="*/ 25 h 67"/>
              <a:gd name="T88" fmla="*/ 46 w 57"/>
              <a:gd name="T89" fmla="*/ 22 h 67"/>
              <a:gd name="T90" fmla="*/ 43 w 57"/>
              <a:gd name="T91" fmla="*/ 22 h 67"/>
              <a:gd name="T92" fmla="*/ 37 w 57"/>
              <a:gd name="T93" fmla="*/ 19 h 67"/>
              <a:gd name="T94" fmla="*/ 18 w 57"/>
              <a:gd name="T95" fmla="*/ 0 h 67"/>
              <a:gd name="T96" fmla="*/ 0 w 57"/>
              <a:gd name="T97" fmla="*/ 3 h 67"/>
              <a:gd name="T98" fmla="*/ 3 w 57"/>
              <a:gd name="T99" fmla="*/ 9 h 67"/>
              <a:gd name="T100" fmla="*/ 4 w 57"/>
              <a:gd name="T101" fmla="*/ 9 h 67"/>
              <a:gd name="T102" fmla="*/ 3 w 57"/>
              <a:gd name="T103" fmla="*/ 12 h 67"/>
              <a:gd name="T104" fmla="*/ 4 w 57"/>
              <a:gd name="T105" fmla="*/ 12 h 67"/>
              <a:gd name="T106" fmla="*/ 9 w 57"/>
              <a:gd name="T107" fmla="*/ 1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" h="67">
                <a:moveTo>
                  <a:pt x="9" y="13"/>
                </a:moveTo>
                <a:lnTo>
                  <a:pt x="9" y="14"/>
                </a:lnTo>
                <a:lnTo>
                  <a:pt x="6" y="15"/>
                </a:lnTo>
                <a:lnTo>
                  <a:pt x="4" y="19"/>
                </a:lnTo>
                <a:lnTo>
                  <a:pt x="8" y="19"/>
                </a:lnTo>
                <a:lnTo>
                  <a:pt x="9" y="21"/>
                </a:lnTo>
                <a:lnTo>
                  <a:pt x="8" y="24"/>
                </a:lnTo>
                <a:lnTo>
                  <a:pt x="6" y="26"/>
                </a:lnTo>
                <a:lnTo>
                  <a:pt x="6" y="27"/>
                </a:lnTo>
                <a:lnTo>
                  <a:pt x="8" y="30"/>
                </a:lnTo>
                <a:lnTo>
                  <a:pt x="14" y="33"/>
                </a:lnTo>
                <a:lnTo>
                  <a:pt x="9" y="34"/>
                </a:lnTo>
                <a:lnTo>
                  <a:pt x="13" y="37"/>
                </a:lnTo>
                <a:lnTo>
                  <a:pt x="13" y="40"/>
                </a:lnTo>
                <a:lnTo>
                  <a:pt x="6" y="42"/>
                </a:lnTo>
                <a:lnTo>
                  <a:pt x="8" y="44"/>
                </a:lnTo>
                <a:lnTo>
                  <a:pt x="7" y="46"/>
                </a:lnTo>
                <a:lnTo>
                  <a:pt x="4" y="44"/>
                </a:lnTo>
                <a:lnTo>
                  <a:pt x="1" y="49"/>
                </a:lnTo>
                <a:lnTo>
                  <a:pt x="0" y="50"/>
                </a:lnTo>
                <a:lnTo>
                  <a:pt x="3" y="55"/>
                </a:lnTo>
                <a:lnTo>
                  <a:pt x="0" y="56"/>
                </a:lnTo>
                <a:lnTo>
                  <a:pt x="0" y="58"/>
                </a:lnTo>
                <a:lnTo>
                  <a:pt x="8" y="63"/>
                </a:lnTo>
                <a:lnTo>
                  <a:pt x="13" y="67"/>
                </a:lnTo>
                <a:lnTo>
                  <a:pt x="15" y="56"/>
                </a:lnTo>
                <a:lnTo>
                  <a:pt x="24" y="58"/>
                </a:lnTo>
                <a:lnTo>
                  <a:pt x="27" y="67"/>
                </a:lnTo>
                <a:lnTo>
                  <a:pt x="30" y="66"/>
                </a:lnTo>
                <a:lnTo>
                  <a:pt x="30" y="64"/>
                </a:lnTo>
                <a:lnTo>
                  <a:pt x="34" y="62"/>
                </a:lnTo>
                <a:lnTo>
                  <a:pt x="37" y="63"/>
                </a:lnTo>
                <a:lnTo>
                  <a:pt x="39" y="61"/>
                </a:lnTo>
                <a:lnTo>
                  <a:pt x="40" y="61"/>
                </a:lnTo>
                <a:lnTo>
                  <a:pt x="44" y="62"/>
                </a:lnTo>
                <a:lnTo>
                  <a:pt x="45" y="61"/>
                </a:lnTo>
                <a:lnTo>
                  <a:pt x="50" y="60"/>
                </a:lnTo>
                <a:lnTo>
                  <a:pt x="54" y="63"/>
                </a:lnTo>
                <a:lnTo>
                  <a:pt x="55" y="62"/>
                </a:lnTo>
                <a:lnTo>
                  <a:pt x="51" y="56"/>
                </a:lnTo>
                <a:lnTo>
                  <a:pt x="57" y="49"/>
                </a:lnTo>
                <a:lnTo>
                  <a:pt x="51" y="39"/>
                </a:lnTo>
                <a:lnTo>
                  <a:pt x="52" y="30"/>
                </a:lnTo>
                <a:lnTo>
                  <a:pt x="51" y="25"/>
                </a:lnTo>
                <a:lnTo>
                  <a:pt x="46" y="22"/>
                </a:lnTo>
                <a:lnTo>
                  <a:pt x="43" y="22"/>
                </a:lnTo>
                <a:lnTo>
                  <a:pt x="37" y="19"/>
                </a:lnTo>
                <a:lnTo>
                  <a:pt x="18" y="0"/>
                </a:lnTo>
                <a:lnTo>
                  <a:pt x="0" y="3"/>
                </a:lnTo>
                <a:lnTo>
                  <a:pt x="3" y="9"/>
                </a:lnTo>
                <a:lnTo>
                  <a:pt x="4" y="9"/>
                </a:lnTo>
                <a:lnTo>
                  <a:pt x="3" y="12"/>
                </a:lnTo>
                <a:lnTo>
                  <a:pt x="4" y="12"/>
                </a:lnTo>
                <a:lnTo>
                  <a:pt x="9" y="13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7" name="Freeform 433">
            <a:extLst>
              <a:ext uri="{FF2B5EF4-FFF2-40B4-BE49-F238E27FC236}">
                <a16:creationId xmlns:a16="http://schemas.microsoft.com/office/drawing/2014/main" id="{E02CAEFC-F947-4137-A11F-C2F0012882B3}"/>
              </a:ext>
            </a:extLst>
          </p:cNvPr>
          <p:cNvSpPr>
            <a:spLocks/>
          </p:cNvSpPr>
          <p:nvPr/>
        </p:nvSpPr>
        <p:spPr bwMode="gray">
          <a:xfrm>
            <a:off x="1363278" y="1614401"/>
            <a:ext cx="1765291" cy="975528"/>
          </a:xfrm>
          <a:custGeom>
            <a:avLst/>
            <a:gdLst>
              <a:gd name="T0" fmla="*/ 785 w 1026"/>
              <a:gd name="T1" fmla="*/ 79 h 501"/>
              <a:gd name="T2" fmla="*/ 840 w 1026"/>
              <a:gd name="T3" fmla="*/ 40 h 501"/>
              <a:gd name="T4" fmla="*/ 759 w 1026"/>
              <a:gd name="T5" fmla="*/ 70 h 501"/>
              <a:gd name="T6" fmla="*/ 730 w 1026"/>
              <a:gd name="T7" fmla="*/ 39 h 501"/>
              <a:gd name="T8" fmla="*/ 731 w 1026"/>
              <a:gd name="T9" fmla="*/ 17 h 501"/>
              <a:gd name="T10" fmla="*/ 708 w 1026"/>
              <a:gd name="T11" fmla="*/ 10 h 501"/>
              <a:gd name="T12" fmla="*/ 699 w 1026"/>
              <a:gd name="T13" fmla="*/ 39 h 501"/>
              <a:gd name="T14" fmla="*/ 645 w 1026"/>
              <a:gd name="T15" fmla="*/ 76 h 501"/>
              <a:gd name="T16" fmla="*/ 664 w 1026"/>
              <a:gd name="T17" fmla="*/ 56 h 501"/>
              <a:gd name="T18" fmla="*/ 627 w 1026"/>
              <a:gd name="T19" fmla="*/ 58 h 501"/>
              <a:gd name="T20" fmla="*/ 517 w 1026"/>
              <a:gd name="T21" fmla="*/ 53 h 501"/>
              <a:gd name="T22" fmla="*/ 505 w 1026"/>
              <a:gd name="T23" fmla="*/ 85 h 501"/>
              <a:gd name="T24" fmla="*/ 431 w 1026"/>
              <a:gd name="T25" fmla="*/ 60 h 501"/>
              <a:gd name="T26" fmla="*/ 352 w 1026"/>
              <a:gd name="T27" fmla="*/ 37 h 501"/>
              <a:gd name="T28" fmla="*/ 328 w 1026"/>
              <a:gd name="T29" fmla="*/ 22 h 501"/>
              <a:gd name="T30" fmla="*/ 228 w 1026"/>
              <a:gd name="T31" fmla="*/ 43 h 501"/>
              <a:gd name="T32" fmla="*/ 103 w 1026"/>
              <a:gd name="T33" fmla="*/ 89 h 501"/>
              <a:gd name="T34" fmla="*/ 23 w 1026"/>
              <a:gd name="T35" fmla="*/ 187 h 501"/>
              <a:gd name="T36" fmla="*/ 66 w 1026"/>
              <a:gd name="T37" fmla="*/ 246 h 501"/>
              <a:gd name="T38" fmla="*/ 50 w 1026"/>
              <a:gd name="T39" fmla="*/ 276 h 501"/>
              <a:gd name="T40" fmla="*/ 47 w 1026"/>
              <a:gd name="T41" fmla="*/ 297 h 501"/>
              <a:gd name="T42" fmla="*/ 51 w 1026"/>
              <a:gd name="T43" fmla="*/ 313 h 501"/>
              <a:gd name="T44" fmla="*/ 50 w 1026"/>
              <a:gd name="T45" fmla="*/ 325 h 501"/>
              <a:gd name="T46" fmla="*/ 54 w 1026"/>
              <a:gd name="T47" fmla="*/ 340 h 501"/>
              <a:gd name="T48" fmla="*/ 51 w 1026"/>
              <a:gd name="T49" fmla="*/ 346 h 501"/>
              <a:gd name="T50" fmla="*/ 77 w 1026"/>
              <a:gd name="T51" fmla="*/ 352 h 501"/>
              <a:gd name="T52" fmla="*/ 74 w 1026"/>
              <a:gd name="T53" fmla="*/ 371 h 501"/>
              <a:gd name="T54" fmla="*/ 514 w 1026"/>
              <a:gd name="T55" fmla="*/ 385 h 501"/>
              <a:gd name="T56" fmla="*/ 598 w 1026"/>
              <a:gd name="T57" fmla="*/ 423 h 501"/>
              <a:gd name="T58" fmla="*/ 595 w 1026"/>
              <a:gd name="T59" fmla="*/ 497 h 501"/>
              <a:gd name="T60" fmla="*/ 706 w 1026"/>
              <a:gd name="T61" fmla="*/ 445 h 501"/>
              <a:gd name="T62" fmla="*/ 817 w 1026"/>
              <a:gd name="T63" fmla="*/ 403 h 501"/>
              <a:gd name="T64" fmla="*/ 864 w 1026"/>
              <a:gd name="T65" fmla="*/ 424 h 501"/>
              <a:gd name="T66" fmla="*/ 846 w 1026"/>
              <a:gd name="T67" fmla="*/ 446 h 501"/>
              <a:gd name="T68" fmla="*/ 871 w 1026"/>
              <a:gd name="T69" fmla="*/ 448 h 501"/>
              <a:gd name="T70" fmla="*/ 885 w 1026"/>
              <a:gd name="T71" fmla="*/ 428 h 501"/>
              <a:gd name="T72" fmla="*/ 846 w 1026"/>
              <a:gd name="T73" fmla="*/ 391 h 501"/>
              <a:gd name="T74" fmla="*/ 850 w 1026"/>
              <a:gd name="T75" fmla="*/ 373 h 501"/>
              <a:gd name="T76" fmla="*/ 805 w 1026"/>
              <a:gd name="T77" fmla="*/ 387 h 501"/>
              <a:gd name="T78" fmla="*/ 997 w 1026"/>
              <a:gd name="T79" fmla="*/ 331 h 501"/>
              <a:gd name="T80" fmla="*/ 1026 w 1026"/>
              <a:gd name="T81" fmla="*/ 297 h 501"/>
              <a:gd name="T82" fmla="*/ 966 w 1026"/>
              <a:gd name="T83" fmla="*/ 297 h 501"/>
              <a:gd name="T84" fmla="*/ 990 w 1026"/>
              <a:gd name="T85" fmla="*/ 271 h 501"/>
              <a:gd name="T86" fmla="*/ 977 w 1026"/>
              <a:gd name="T87" fmla="*/ 265 h 501"/>
              <a:gd name="T88" fmla="*/ 965 w 1026"/>
              <a:gd name="T89" fmla="*/ 245 h 501"/>
              <a:gd name="T90" fmla="*/ 974 w 1026"/>
              <a:gd name="T91" fmla="*/ 230 h 501"/>
              <a:gd name="T92" fmla="*/ 959 w 1026"/>
              <a:gd name="T93" fmla="*/ 214 h 501"/>
              <a:gd name="T94" fmla="*/ 955 w 1026"/>
              <a:gd name="T95" fmla="*/ 186 h 501"/>
              <a:gd name="T96" fmla="*/ 932 w 1026"/>
              <a:gd name="T97" fmla="*/ 207 h 501"/>
              <a:gd name="T98" fmla="*/ 895 w 1026"/>
              <a:gd name="T99" fmla="*/ 218 h 501"/>
              <a:gd name="T100" fmla="*/ 893 w 1026"/>
              <a:gd name="T101" fmla="*/ 197 h 501"/>
              <a:gd name="T102" fmla="*/ 879 w 1026"/>
              <a:gd name="T103" fmla="*/ 164 h 501"/>
              <a:gd name="T104" fmla="*/ 840 w 1026"/>
              <a:gd name="T105" fmla="*/ 149 h 501"/>
              <a:gd name="T106" fmla="*/ 790 w 1026"/>
              <a:gd name="T107" fmla="*/ 193 h 501"/>
              <a:gd name="T108" fmla="*/ 721 w 1026"/>
              <a:gd name="T109" fmla="*/ 287 h 501"/>
              <a:gd name="T110" fmla="*/ 681 w 1026"/>
              <a:gd name="T111" fmla="*/ 332 h 501"/>
              <a:gd name="T112" fmla="*/ 668 w 1026"/>
              <a:gd name="T113" fmla="*/ 266 h 501"/>
              <a:gd name="T114" fmla="*/ 574 w 1026"/>
              <a:gd name="T115" fmla="*/ 237 h 501"/>
              <a:gd name="T116" fmla="*/ 567 w 1026"/>
              <a:gd name="T117" fmla="*/ 200 h 501"/>
              <a:gd name="T118" fmla="*/ 644 w 1026"/>
              <a:gd name="T119" fmla="*/ 144 h 501"/>
              <a:gd name="T120" fmla="*/ 658 w 1026"/>
              <a:gd name="T121" fmla="*/ 124 h 501"/>
              <a:gd name="T122" fmla="*/ 731 w 1026"/>
              <a:gd name="T123" fmla="*/ 102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26" h="501">
                <a:moveTo>
                  <a:pt x="755" y="87"/>
                </a:moveTo>
                <a:lnTo>
                  <a:pt x="750" y="82"/>
                </a:lnTo>
                <a:lnTo>
                  <a:pt x="766" y="84"/>
                </a:lnTo>
                <a:lnTo>
                  <a:pt x="774" y="87"/>
                </a:lnTo>
                <a:lnTo>
                  <a:pt x="780" y="86"/>
                </a:lnTo>
                <a:lnTo>
                  <a:pt x="775" y="77"/>
                </a:lnTo>
                <a:lnTo>
                  <a:pt x="781" y="78"/>
                </a:lnTo>
                <a:lnTo>
                  <a:pt x="785" y="79"/>
                </a:lnTo>
                <a:lnTo>
                  <a:pt x="790" y="85"/>
                </a:lnTo>
                <a:lnTo>
                  <a:pt x="818" y="73"/>
                </a:lnTo>
                <a:lnTo>
                  <a:pt x="824" y="66"/>
                </a:lnTo>
                <a:lnTo>
                  <a:pt x="821" y="58"/>
                </a:lnTo>
                <a:lnTo>
                  <a:pt x="824" y="52"/>
                </a:lnTo>
                <a:lnTo>
                  <a:pt x="838" y="47"/>
                </a:lnTo>
                <a:lnTo>
                  <a:pt x="830" y="46"/>
                </a:lnTo>
                <a:lnTo>
                  <a:pt x="840" y="40"/>
                </a:lnTo>
                <a:lnTo>
                  <a:pt x="824" y="37"/>
                </a:lnTo>
                <a:lnTo>
                  <a:pt x="835" y="33"/>
                </a:lnTo>
                <a:lnTo>
                  <a:pt x="800" y="33"/>
                </a:lnTo>
                <a:lnTo>
                  <a:pt x="797" y="42"/>
                </a:lnTo>
                <a:lnTo>
                  <a:pt x="799" y="45"/>
                </a:lnTo>
                <a:lnTo>
                  <a:pt x="797" y="49"/>
                </a:lnTo>
                <a:lnTo>
                  <a:pt x="787" y="49"/>
                </a:lnTo>
                <a:lnTo>
                  <a:pt x="759" y="70"/>
                </a:lnTo>
                <a:lnTo>
                  <a:pt x="751" y="71"/>
                </a:lnTo>
                <a:lnTo>
                  <a:pt x="748" y="59"/>
                </a:lnTo>
                <a:lnTo>
                  <a:pt x="753" y="56"/>
                </a:lnTo>
                <a:lnTo>
                  <a:pt x="759" y="46"/>
                </a:lnTo>
                <a:lnTo>
                  <a:pt x="750" y="40"/>
                </a:lnTo>
                <a:lnTo>
                  <a:pt x="728" y="56"/>
                </a:lnTo>
                <a:lnTo>
                  <a:pt x="734" y="43"/>
                </a:lnTo>
                <a:lnTo>
                  <a:pt x="730" y="39"/>
                </a:lnTo>
                <a:lnTo>
                  <a:pt x="740" y="38"/>
                </a:lnTo>
                <a:lnTo>
                  <a:pt x="734" y="36"/>
                </a:lnTo>
                <a:lnTo>
                  <a:pt x="720" y="33"/>
                </a:lnTo>
                <a:lnTo>
                  <a:pt x="719" y="32"/>
                </a:lnTo>
                <a:lnTo>
                  <a:pt x="728" y="27"/>
                </a:lnTo>
                <a:lnTo>
                  <a:pt x="728" y="26"/>
                </a:lnTo>
                <a:lnTo>
                  <a:pt x="735" y="26"/>
                </a:lnTo>
                <a:lnTo>
                  <a:pt x="731" y="17"/>
                </a:lnTo>
                <a:lnTo>
                  <a:pt x="735" y="7"/>
                </a:lnTo>
                <a:lnTo>
                  <a:pt x="728" y="3"/>
                </a:lnTo>
                <a:lnTo>
                  <a:pt x="724" y="2"/>
                </a:lnTo>
                <a:lnTo>
                  <a:pt x="727" y="0"/>
                </a:lnTo>
                <a:lnTo>
                  <a:pt x="718" y="2"/>
                </a:lnTo>
                <a:lnTo>
                  <a:pt x="724" y="2"/>
                </a:lnTo>
                <a:lnTo>
                  <a:pt x="706" y="6"/>
                </a:lnTo>
                <a:lnTo>
                  <a:pt x="708" y="10"/>
                </a:lnTo>
                <a:lnTo>
                  <a:pt x="695" y="10"/>
                </a:lnTo>
                <a:lnTo>
                  <a:pt x="690" y="19"/>
                </a:lnTo>
                <a:lnTo>
                  <a:pt x="693" y="20"/>
                </a:lnTo>
                <a:lnTo>
                  <a:pt x="685" y="23"/>
                </a:lnTo>
                <a:lnTo>
                  <a:pt x="679" y="31"/>
                </a:lnTo>
                <a:lnTo>
                  <a:pt x="706" y="38"/>
                </a:lnTo>
                <a:lnTo>
                  <a:pt x="698" y="40"/>
                </a:lnTo>
                <a:lnTo>
                  <a:pt x="699" y="39"/>
                </a:lnTo>
                <a:lnTo>
                  <a:pt x="693" y="42"/>
                </a:lnTo>
                <a:lnTo>
                  <a:pt x="686" y="49"/>
                </a:lnTo>
                <a:lnTo>
                  <a:pt x="698" y="45"/>
                </a:lnTo>
                <a:lnTo>
                  <a:pt x="693" y="50"/>
                </a:lnTo>
                <a:lnTo>
                  <a:pt x="668" y="58"/>
                </a:lnTo>
                <a:lnTo>
                  <a:pt x="658" y="70"/>
                </a:lnTo>
                <a:lnTo>
                  <a:pt x="653" y="76"/>
                </a:lnTo>
                <a:lnTo>
                  <a:pt x="645" y="76"/>
                </a:lnTo>
                <a:lnTo>
                  <a:pt x="645" y="79"/>
                </a:lnTo>
                <a:lnTo>
                  <a:pt x="645" y="76"/>
                </a:lnTo>
                <a:lnTo>
                  <a:pt x="646" y="76"/>
                </a:lnTo>
                <a:lnTo>
                  <a:pt x="654" y="73"/>
                </a:lnTo>
                <a:lnTo>
                  <a:pt x="650" y="72"/>
                </a:lnTo>
                <a:lnTo>
                  <a:pt x="654" y="69"/>
                </a:lnTo>
                <a:lnTo>
                  <a:pt x="647" y="70"/>
                </a:lnTo>
                <a:lnTo>
                  <a:pt x="664" y="56"/>
                </a:lnTo>
                <a:lnTo>
                  <a:pt x="653" y="58"/>
                </a:lnTo>
                <a:lnTo>
                  <a:pt x="655" y="56"/>
                </a:lnTo>
                <a:lnTo>
                  <a:pt x="641" y="52"/>
                </a:lnTo>
                <a:lnTo>
                  <a:pt x="632" y="56"/>
                </a:lnTo>
                <a:lnTo>
                  <a:pt x="635" y="60"/>
                </a:lnTo>
                <a:lnTo>
                  <a:pt x="644" y="63"/>
                </a:lnTo>
                <a:lnTo>
                  <a:pt x="631" y="63"/>
                </a:lnTo>
                <a:lnTo>
                  <a:pt x="627" y="58"/>
                </a:lnTo>
                <a:lnTo>
                  <a:pt x="624" y="63"/>
                </a:lnTo>
                <a:lnTo>
                  <a:pt x="600" y="63"/>
                </a:lnTo>
                <a:lnTo>
                  <a:pt x="578" y="62"/>
                </a:lnTo>
                <a:lnTo>
                  <a:pt x="570" y="58"/>
                </a:lnTo>
                <a:lnTo>
                  <a:pt x="560" y="58"/>
                </a:lnTo>
                <a:lnTo>
                  <a:pt x="557" y="51"/>
                </a:lnTo>
                <a:lnTo>
                  <a:pt x="552" y="45"/>
                </a:lnTo>
                <a:lnTo>
                  <a:pt x="517" y="53"/>
                </a:lnTo>
                <a:lnTo>
                  <a:pt x="524" y="57"/>
                </a:lnTo>
                <a:lnTo>
                  <a:pt x="541" y="52"/>
                </a:lnTo>
                <a:lnTo>
                  <a:pt x="552" y="51"/>
                </a:lnTo>
                <a:lnTo>
                  <a:pt x="531" y="58"/>
                </a:lnTo>
                <a:lnTo>
                  <a:pt x="520" y="59"/>
                </a:lnTo>
                <a:lnTo>
                  <a:pt x="512" y="78"/>
                </a:lnTo>
                <a:lnTo>
                  <a:pt x="508" y="73"/>
                </a:lnTo>
                <a:lnTo>
                  <a:pt x="505" y="85"/>
                </a:lnTo>
                <a:lnTo>
                  <a:pt x="500" y="72"/>
                </a:lnTo>
                <a:lnTo>
                  <a:pt x="508" y="72"/>
                </a:lnTo>
                <a:lnTo>
                  <a:pt x="506" y="65"/>
                </a:lnTo>
                <a:lnTo>
                  <a:pt x="500" y="69"/>
                </a:lnTo>
                <a:lnTo>
                  <a:pt x="500" y="63"/>
                </a:lnTo>
                <a:lnTo>
                  <a:pt x="491" y="60"/>
                </a:lnTo>
                <a:lnTo>
                  <a:pt x="447" y="65"/>
                </a:lnTo>
                <a:lnTo>
                  <a:pt x="431" y="60"/>
                </a:lnTo>
                <a:lnTo>
                  <a:pt x="448" y="56"/>
                </a:lnTo>
                <a:lnTo>
                  <a:pt x="455" y="53"/>
                </a:lnTo>
                <a:lnTo>
                  <a:pt x="441" y="45"/>
                </a:lnTo>
                <a:lnTo>
                  <a:pt x="435" y="46"/>
                </a:lnTo>
                <a:lnTo>
                  <a:pt x="405" y="39"/>
                </a:lnTo>
                <a:lnTo>
                  <a:pt x="375" y="31"/>
                </a:lnTo>
                <a:lnTo>
                  <a:pt x="359" y="38"/>
                </a:lnTo>
                <a:lnTo>
                  <a:pt x="352" y="37"/>
                </a:lnTo>
                <a:lnTo>
                  <a:pt x="358" y="33"/>
                </a:lnTo>
                <a:lnTo>
                  <a:pt x="360" y="27"/>
                </a:lnTo>
                <a:lnTo>
                  <a:pt x="357" y="30"/>
                </a:lnTo>
                <a:lnTo>
                  <a:pt x="351" y="32"/>
                </a:lnTo>
                <a:lnTo>
                  <a:pt x="345" y="37"/>
                </a:lnTo>
                <a:lnTo>
                  <a:pt x="339" y="39"/>
                </a:lnTo>
                <a:lnTo>
                  <a:pt x="333" y="29"/>
                </a:lnTo>
                <a:lnTo>
                  <a:pt x="328" y="22"/>
                </a:lnTo>
                <a:lnTo>
                  <a:pt x="330" y="26"/>
                </a:lnTo>
                <a:lnTo>
                  <a:pt x="305" y="32"/>
                </a:lnTo>
                <a:lnTo>
                  <a:pt x="306" y="31"/>
                </a:lnTo>
                <a:lnTo>
                  <a:pt x="280" y="36"/>
                </a:lnTo>
                <a:lnTo>
                  <a:pt x="306" y="26"/>
                </a:lnTo>
                <a:lnTo>
                  <a:pt x="287" y="29"/>
                </a:lnTo>
                <a:lnTo>
                  <a:pt x="258" y="37"/>
                </a:lnTo>
                <a:lnTo>
                  <a:pt x="228" y="43"/>
                </a:lnTo>
                <a:lnTo>
                  <a:pt x="225" y="49"/>
                </a:lnTo>
                <a:lnTo>
                  <a:pt x="215" y="47"/>
                </a:lnTo>
                <a:lnTo>
                  <a:pt x="213" y="50"/>
                </a:lnTo>
                <a:lnTo>
                  <a:pt x="190" y="42"/>
                </a:lnTo>
                <a:lnTo>
                  <a:pt x="167" y="33"/>
                </a:lnTo>
                <a:lnTo>
                  <a:pt x="146" y="52"/>
                </a:lnTo>
                <a:lnTo>
                  <a:pt x="124" y="70"/>
                </a:lnTo>
                <a:lnTo>
                  <a:pt x="103" y="89"/>
                </a:lnTo>
                <a:lnTo>
                  <a:pt x="81" y="106"/>
                </a:lnTo>
                <a:lnTo>
                  <a:pt x="60" y="125"/>
                </a:lnTo>
                <a:lnTo>
                  <a:pt x="40" y="144"/>
                </a:lnTo>
                <a:lnTo>
                  <a:pt x="20" y="163"/>
                </a:lnTo>
                <a:lnTo>
                  <a:pt x="0" y="180"/>
                </a:lnTo>
                <a:lnTo>
                  <a:pt x="26" y="180"/>
                </a:lnTo>
                <a:lnTo>
                  <a:pt x="19" y="185"/>
                </a:lnTo>
                <a:lnTo>
                  <a:pt x="23" y="187"/>
                </a:lnTo>
                <a:lnTo>
                  <a:pt x="21" y="205"/>
                </a:lnTo>
                <a:lnTo>
                  <a:pt x="33" y="200"/>
                </a:lnTo>
                <a:lnTo>
                  <a:pt x="44" y="196"/>
                </a:lnTo>
                <a:lnTo>
                  <a:pt x="61" y="189"/>
                </a:lnTo>
                <a:lnTo>
                  <a:pt x="66" y="207"/>
                </a:lnTo>
                <a:lnTo>
                  <a:pt x="63" y="223"/>
                </a:lnTo>
                <a:lnTo>
                  <a:pt x="59" y="238"/>
                </a:lnTo>
                <a:lnTo>
                  <a:pt x="66" y="246"/>
                </a:lnTo>
                <a:lnTo>
                  <a:pt x="72" y="254"/>
                </a:lnTo>
                <a:lnTo>
                  <a:pt x="58" y="269"/>
                </a:lnTo>
                <a:lnTo>
                  <a:pt x="71" y="258"/>
                </a:lnTo>
                <a:lnTo>
                  <a:pt x="71" y="263"/>
                </a:lnTo>
                <a:lnTo>
                  <a:pt x="59" y="269"/>
                </a:lnTo>
                <a:lnTo>
                  <a:pt x="61" y="269"/>
                </a:lnTo>
                <a:lnTo>
                  <a:pt x="53" y="276"/>
                </a:lnTo>
                <a:lnTo>
                  <a:pt x="50" y="276"/>
                </a:lnTo>
                <a:lnTo>
                  <a:pt x="50" y="281"/>
                </a:lnTo>
                <a:lnTo>
                  <a:pt x="47" y="277"/>
                </a:lnTo>
                <a:lnTo>
                  <a:pt x="46" y="284"/>
                </a:lnTo>
                <a:lnTo>
                  <a:pt x="53" y="284"/>
                </a:lnTo>
                <a:lnTo>
                  <a:pt x="48" y="284"/>
                </a:lnTo>
                <a:lnTo>
                  <a:pt x="48" y="287"/>
                </a:lnTo>
                <a:lnTo>
                  <a:pt x="46" y="285"/>
                </a:lnTo>
                <a:lnTo>
                  <a:pt x="47" y="297"/>
                </a:lnTo>
                <a:lnTo>
                  <a:pt x="64" y="286"/>
                </a:lnTo>
                <a:lnTo>
                  <a:pt x="58" y="296"/>
                </a:lnTo>
                <a:lnTo>
                  <a:pt x="61" y="298"/>
                </a:lnTo>
                <a:lnTo>
                  <a:pt x="53" y="296"/>
                </a:lnTo>
                <a:lnTo>
                  <a:pt x="52" y="306"/>
                </a:lnTo>
                <a:lnTo>
                  <a:pt x="54" y="305"/>
                </a:lnTo>
                <a:lnTo>
                  <a:pt x="46" y="316"/>
                </a:lnTo>
                <a:lnTo>
                  <a:pt x="51" y="313"/>
                </a:lnTo>
                <a:lnTo>
                  <a:pt x="50" y="317"/>
                </a:lnTo>
                <a:lnTo>
                  <a:pt x="70" y="306"/>
                </a:lnTo>
                <a:lnTo>
                  <a:pt x="63" y="314"/>
                </a:lnTo>
                <a:lnTo>
                  <a:pt x="63" y="321"/>
                </a:lnTo>
                <a:lnTo>
                  <a:pt x="60" y="316"/>
                </a:lnTo>
                <a:lnTo>
                  <a:pt x="44" y="324"/>
                </a:lnTo>
                <a:lnTo>
                  <a:pt x="46" y="327"/>
                </a:lnTo>
                <a:lnTo>
                  <a:pt x="50" y="325"/>
                </a:lnTo>
                <a:lnTo>
                  <a:pt x="59" y="326"/>
                </a:lnTo>
                <a:lnTo>
                  <a:pt x="44" y="331"/>
                </a:lnTo>
                <a:lnTo>
                  <a:pt x="39" y="332"/>
                </a:lnTo>
                <a:lnTo>
                  <a:pt x="46" y="333"/>
                </a:lnTo>
                <a:lnTo>
                  <a:pt x="38" y="336"/>
                </a:lnTo>
                <a:lnTo>
                  <a:pt x="48" y="340"/>
                </a:lnTo>
                <a:lnTo>
                  <a:pt x="52" y="338"/>
                </a:lnTo>
                <a:lnTo>
                  <a:pt x="54" y="340"/>
                </a:lnTo>
                <a:lnTo>
                  <a:pt x="50" y="341"/>
                </a:lnTo>
                <a:lnTo>
                  <a:pt x="57" y="341"/>
                </a:lnTo>
                <a:lnTo>
                  <a:pt x="52" y="344"/>
                </a:lnTo>
                <a:lnTo>
                  <a:pt x="64" y="340"/>
                </a:lnTo>
                <a:lnTo>
                  <a:pt x="66" y="337"/>
                </a:lnTo>
                <a:lnTo>
                  <a:pt x="59" y="344"/>
                </a:lnTo>
                <a:lnTo>
                  <a:pt x="53" y="344"/>
                </a:lnTo>
                <a:lnTo>
                  <a:pt x="51" y="346"/>
                </a:lnTo>
                <a:lnTo>
                  <a:pt x="61" y="344"/>
                </a:lnTo>
                <a:lnTo>
                  <a:pt x="61" y="347"/>
                </a:lnTo>
                <a:lnTo>
                  <a:pt x="71" y="341"/>
                </a:lnTo>
                <a:lnTo>
                  <a:pt x="66" y="350"/>
                </a:lnTo>
                <a:lnTo>
                  <a:pt x="74" y="346"/>
                </a:lnTo>
                <a:lnTo>
                  <a:pt x="63" y="354"/>
                </a:lnTo>
                <a:lnTo>
                  <a:pt x="70" y="358"/>
                </a:lnTo>
                <a:lnTo>
                  <a:pt x="77" y="352"/>
                </a:lnTo>
                <a:lnTo>
                  <a:pt x="72" y="361"/>
                </a:lnTo>
                <a:lnTo>
                  <a:pt x="74" y="361"/>
                </a:lnTo>
                <a:lnTo>
                  <a:pt x="68" y="361"/>
                </a:lnTo>
                <a:lnTo>
                  <a:pt x="74" y="364"/>
                </a:lnTo>
                <a:lnTo>
                  <a:pt x="80" y="361"/>
                </a:lnTo>
                <a:lnTo>
                  <a:pt x="77" y="366"/>
                </a:lnTo>
                <a:lnTo>
                  <a:pt x="80" y="367"/>
                </a:lnTo>
                <a:lnTo>
                  <a:pt x="74" y="371"/>
                </a:lnTo>
                <a:lnTo>
                  <a:pt x="79" y="373"/>
                </a:lnTo>
                <a:lnTo>
                  <a:pt x="448" y="373"/>
                </a:lnTo>
                <a:lnTo>
                  <a:pt x="460" y="372"/>
                </a:lnTo>
                <a:lnTo>
                  <a:pt x="467" y="366"/>
                </a:lnTo>
                <a:lnTo>
                  <a:pt x="465" y="376"/>
                </a:lnTo>
                <a:lnTo>
                  <a:pt x="480" y="380"/>
                </a:lnTo>
                <a:lnTo>
                  <a:pt x="500" y="387"/>
                </a:lnTo>
                <a:lnTo>
                  <a:pt x="514" y="385"/>
                </a:lnTo>
                <a:lnTo>
                  <a:pt x="525" y="391"/>
                </a:lnTo>
                <a:lnTo>
                  <a:pt x="544" y="385"/>
                </a:lnTo>
                <a:lnTo>
                  <a:pt x="555" y="393"/>
                </a:lnTo>
                <a:lnTo>
                  <a:pt x="567" y="401"/>
                </a:lnTo>
                <a:lnTo>
                  <a:pt x="579" y="407"/>
                </a:lnTo>
                <a:lnTo>
                  <a:pt x="591" y="416"/>
                </a:lnTo>
                <a:lnTo>
                  <a:pt x="592" y="424"/>
                </a:lnTo>
                <a:lnTo>
                  <a:pt x="598" y="423"/>
                </a:lnTo>
                <a:lnTo>
                  <a:pt x="597" y="428"/>
                </a:lnTo>
                <a:lnTo>
                  <a:pt x="607" y="436"/>
                </a:lnTo>
                <a:lnTo>
                  <a:pt x="605" y="452"/>
                </a:lnTo>
                <a:lnTo>
                  <a:pt x="601" y="468"/>
                </a:lnTo>
                <a:lnTo>
                  <a:pt x="594" y="478"/>
                </a:lnTo>
                <a:lnTo>
                  <a:pt x="577" y="494"/>
                </a:lnTo>
                <a:lnTo>
                  <a:pt x="580" y="501"/>
                </a:lnTo>
                <a:lnTo>
                  <a:pt x="595" y="497"/>
                </a:lnTo>
                <a:lnTo>
                  <a:pt x="611" y="491"/>
                </a:lnTo>
                <a:lnTo>
                  <a:pt x="626" y="485"/>
                </a:lnTo>
                <a:lnTo>
                  <a:pt x="641" y="481"/>
                </a:lnTo>
                <a:lnTo>
                  <a:pt x="644" y="470"/>
                </a:lnTo>
                <a:lnTo>
                  <a:pt x="660" y="468"/>
                </a:lnTo>
                <a:lnTo>
                  <a:pt x="678" y="466"/>
                </a:lnTo>
                <a:lnTo>
                  <a:pt x="693" y="456"/>
                </a:lnTo>
                <a:lnTo>
                  <a:pt x="706" y="445"/>
                </a:lnTo>
                <a:lnTo>
                  <a:pt x="734" y="444"/>
                </a:lnTo>
                <a:lnTo>
                  <a:pt x="760" y="443"/>
                </a:lnTo>
                <a:lnTo>
                  <a:pt x="771" y="436"/>
                </a:lnTo>
                <a:lnTo>
                  <a:pt x="785" y="425"/>
                </a:lnTo>
                <a:lnTo>
                  <a:pt x="797" y="412"/>
                </a:lnTo>
                <a:lnTo>
                  <a:pt x="808" y="400"/>
                </a:lnTo>
                <a:lnTo>
                  <a:pt x="810" y="403"/>
                </a:lnTo>
                <a:lnTo>
                  <a:pt x="817" y="403"/>
                </a:lnTo>
                <a:lnTo>
                  <a:pt x="826" y="406"/>
                </a:lnTo>
                <a:lnTo>
                  <a:pt x="819" y="428"/>
                </a:lnTo>
                <a:lnTo>
                  <a:pt x="824" y="439"/>
                </a:lnTo>
                <a:lnTo>
                  <a:pt x="826" y="441"/>
                </a:lnTo>
                <a:lnTo>
                  <a:pt x="839" y="436"/>
                </a:lnTo>
                <a:lnTo>
                  <a:pt x="839" y="438"/>
                </a:lnTo>
                <a:lnTo>
                  <a:pt x="859" y="431"/>
                </a:lnTo>
                <a:lnTo>
                  <a:pt x="864" y="424"/>
                </a:lnTo>
                <a:lnTo>
                  <a:pt x="865" y="426"/>
                </a:lnTo>
                <a:lnTo>
                  <a:pt x="867" y="426"/>
                </a:lnTo>
                <a:lnTo>
                  <a:pt x="857" y="434"/>
                </a:lnTo>
                <a:lnTo>
                  <a:pt x="878" y="436"/>
                </a:lnTo>
                <a:lnTo>
                  <a:pt x="865" y="440"/>
                </a:lnTo>
                <a:lnTo>
                  <a:pt x="865" y="438"/>
                </a:lnTo>
                <a:lnTo>
                  <a:pt x="841" y="448"/>
                </a:lnTo>
                <a:lnTo>
                  <a:pt x="846" y="446"/>
                </a:lnTo>
                <a:lnTo>
                  <a:pt x="833" y="453"/>
                </a:lnTo>
                <a:lnTo>
                  <a:pt x="838" y="450"/>
                </a:lnTo>
                <a:lnTo>
                  <a:pt x="831" y="459"/>
                </a:lnTo>
                <a:lnTo>
                  <a:pt x="835" y="468"/>
                </a:lnTo>
                <a:lnTo>
                  <a:pt x="845" y="465"/>
                </a:lnTo>
                <a:lnTo>
                  <a:pt x="865" y="450"/>
                </a:lnTo>
                <a:lnTo>
                  <a:pt x="867" y="451"/>
                </a:lnTo>
                <a:lnTo>
                  <a:pt x="871" y="448"/>
                </a:lnTo>
                <a:lnTo>
                  <a:pt x="873" y="450"/>
                </a:lnTo>
                <a:lnTo>
                  <a:pt x="891" y="444"/>
                </a:lnTo>
                <a:lnTo>
                  <a:pt x="910" y="438"/>
                </a:lnTo>
                <a:lnTo>
                  <a:pt x="905" y="436"/>
                </a:lnTo>
                <a:lnTo>
                  <a:pt x="908" y="434"/>
                </a:lnTo>
                <a:lnTo>
                  <a:pt x="902" y="426"/>
                </a:lnTo>
                <a:lnTo>
                  <a:pt x="895" y="431"/>
                </a:lnTo>
                <a:lnTo>
                  <a:pt x="885" y="428"/>
                </a:lnTo>
                <a:lnTo>
                  <a:pt x="874" y="424"/>
                </a:lnTo>
                <a:lnTo>
                  <a:pt x="867" y="421"/>
                </a:lnTo>
                <a:lnTo>
                  <a:pt x="867" y="407"/>
                </a:lnTo>
                <a:lnTo>
                  <a:pt x="861" y="406"/>
                </a:lnTo>
                <a:lnTo>
                  <a:pt x="873" y="394"/>
                </a:lnTo>
                <a:lnTo>
                  <a:pt x="860" y="396"/>
                </a:lnTo>
                <a:lnTo>
                  <a:pt x="859" y="392"/>
                </a:lnTo>
                <a:lnTo>
                  <a:pt x="846" y="391"/>
                </a:lnTo>
                <a:lnTo>
                  <a:pt x="850" y="390"/>
                </a:lnTo>
                <a:lnTo>
                  <a:pt x="864" y="390"/>
                </a:lnTo>
                <a:lnTo>
                  <a:pt x="881" y="383"/>
                </a:lnTo>
                <a:lnTo>
                  <a:pt x="884" y="377"/>
                </a:lnTo>
                <a:lnTo>
                  <a:pt x="886" y="377"/>
                </a:lnTo>
                <a:lnTo>
                  <a:pt x="886" y="373"/>
                </a:lnTo>
                <a:lnTo>
                  <a:pt x="870" y="367"/>
                </a:lnTo>
                <a:lnTo>
                  <a:pt x="850" y="373"/>
                </a:lnTo>
                <a:lnTo>
                  <a:pt x="830" y="379"/>
                </a:lnTo>
                <a:lnTo>
                  <a:pt x="814" y="387"/>
                </a:lnTo>
                <a:lnTo>
                  <a:pt x="799" y="399"/>
                </a:lnTo>
                <a:lnTo>
                  <a:pt x="778" y="411"/>
                </a:lnTo>
                <a:lnTo>
                  <a:pt x="791" y="399"/>
                </a:lnTo>
                <a:lnTo>
                  <a:pt x="806" y="387"/>
                </a:lnTo>
                <a:lnTo>
                  <a:pt x="790" y="383"/>
                </a:lnTo>
                <a:lnTo>
                  <a:pt x="805" y="387"/>
                </a:lnTo>
                <a:lnTo>
                  <a:pt x="825" y="373"/>
                </a:lnTo>
                <a:lnTo>
                  <a:pt x="846" y="366"/>
                </a:lnTo>
                <a:lnTo>
                  <a:pt x="860" y="352"/>
                </a:lnTo>
                <a:lnTo>
                  <a:pt x="891" y="352"/>
                </a:lnTo>
                <a:lnTo>
                  <a:pt x="922" y="351"/>
                </a:lnTo>
                <a:lnTo>
                  <a:pt x="948" y="351"/>
                </a:lnTo>
                <a:lnTo>
                  <a:pt x="974" y="337"/>
                </a:lnTo>
                <a:lnTo>
                  <a:pt x="997" y="331"/>
                </a:lnTo>
                <a:lnTo>
                  <a:pt x="1024" y="317"/>
                </a:lnTo>
                <a:lnTo>
                  <a:pt x="1017" y="313"/>
                </a:lnTo>
                <a:lnTo>
                  <a:pt x="1024" y="312"/>
                </a:lnTo>
                <a:lnTo>
                  <a:pt x="1014" y="311"/>
                </a:lnTo>
                <a:lnTo>
                  <a:pt x="1022" y="310"/>
                </a:lnTo>
                <a:lnTo>
                  <a:pt x="1022" y="306"/>
                </a:lnTo>
                <a:lnTo>
                  <a:pt x="1025" y="301"/>
                </a:lnTo>
                <a:lnTo>
                  <a:pt x="1026" y="297"/>
                </a:lnTo>
                <a:lnTo>
                  <a:pt x="1017" y="292"/>
                </a:lnTo>
                <a:lnTo>
                  <a:pt x="1018" y="292"/>
                </a:lnTo>
                <a:lnTo>
                  <a:pt x="1008" y="293"/>
                </a:lnTo>
                <a:lnTo>
                  <a:pt x="1012" y="284"/>
                </a:lnTo>
                <a:lnTo>
                  <a:pt x="998" y="285"/>
                </a:lnTo>
                <a:lnTo>
                  <a:pt x="1006" y="285"/>
                </a:lnTo>
                <a:lnTo>
                  <a:pt x="984" y="292"/>
                </a:lnTo>
                <a:lnTo>
                  <a:pt x="966" y="297"/>
                </a:lnTo>
                <a:lnTo>
                  <a:pt x="972" y="296"/>
                </a:lnTo>
                <a:lnTo>
                  <a:pt x="965" y="292"/>
                </a:lnTo>
                <a:lnTo>
                  <a:pt x="974" y="292"/>
                </a:lnTo>
                <a:lnTo>
                  <a:pt x="999" y="283"/>
                </a:lnTo>
                <a:lnTo>
                  <a:pt x="982" y="285"/>
                </a:lnTo>
                <a:lnTo>
                  <a:pt x="1014" y="277"/>
                </a:lnTo>
                <a:lnTo>
                  <a:pt x="994" y="269"/>
                </a:lnTo>
                <a:lnTo>
                  <a:pt x="990" y="271"/>
                </a:lnTo>
                <a:lnTo>
                  <a:pt x="994" y="266"/>
                </a:lnTo>
                <a:lnTo>
                  <a:pt x="982" y="272"/>
                </a:lnTo>
                <a:lnTo>
                  <a:pt x="987" y="267"/>
                </a:lnTo>
                <a:lnTo>
                  <a:pt x="986" y="266"/>
                </a:lnTo>
                <a:lnTo>
                  <a:pt x="979" y="267"/>
                </a:lnTo>
                <a:lnTo>
                  <a:pt x="982" y="265"/>
                </a:lnTo>
                <a:lnTo>
                  <a:pt x="974" y="269"/>
                </a:lnTo>
                <a:lnTo>
                  <a:pt x="977" y="265"/>
                </a:lnTo>
                <a:lnTo>
                  <a:pt x="979" y="263"/>
                </a:lnTo>
                <a:lnTo>
                  <a:pt x="980" y="256"/>
                </a:lnTo>
                <a:lnTo>
                  <a:pt x="977" y="259"/>
                </a:lnTo>
                <a:lnTo>
                  <a:pt x="977" y="257"/>
                </a:lnTo>
                <a:lnTo>
                  <a:pt x="972" y="251"/>
                </a:lnTo>
                <a:lnTo>
                  <a:pt x="964" y="247"/>
                </a:lnTo>
                <a:lnTo>
                  <a:pt x="970" y="247"/>
                </a:lnTo>
                <a:lnTo>
                  <a:pt x="965" y="245"/>
                </a:lnTo>
                <a:lnTo>
                  <a:pt x="970" y="244"/>
                </a:lnTo>
                <a:lnTo>
                  <a:pt x="964" y="243"/>
                </a:lnTo>
                <a:lnTo>
                  <a:pt x="968" y="243"/>
                </a:lnTo>
                <a:lnTo>
                  <a:pt x="962" y="238"/>
                </a:lnTo>
                <a:lnTo>
                  <a:pt x="965" y="238"/>
                </a:lnTo>
                <a:lnTo>
                  <a:pt x="968" y="240"/>
                </a:lnTo>
                <a:lnTo>
                  <a:pt x="978" y="234"/>
                </a:lnTo>
                <a:lnTo>
                  <a:pt x="974" y="230"/>
                </a:lnTo>
                <a:lnTo>
                  <a:pt x="970" y="227"/>
                </a:lnTo>
                <a:lnTo>
                  <a:pt x="975" y="224"/>
                </a:lnTo>
                <a:lnTo>
                  <a:pt x="970" y="219"/>
                </a:lnTo>
                <a:lnTo>
                  <a:pt x="968" y="217"/>
                </a:lnTo>
                <a:lnTo>
                  <a:pt x="962" y="218"/>
                </a:lnTo>
                <a:lnTo>
                  <a:pt x="972" y="214"/>
                </a:lnTo>
                <a:lnTo>
                  <a:pt x="970" y="212"/>
                </a:lnTo>
                <a:lnTo>
                  <a:pt x="959" y="214"/>
                </a:lnTo>
                <a:lnTo>
                  <a:pt x="972" y="206"/>
                </a:lnTo>
                <a:lnTo>
                  <a:pt x="967" y="203"/>
                </a:lnTo>
                <a:lnTo>
                  <a:pt x="962" y="203"/>
                </a:lnTo>
                <a:lnTo>
                  <a:pt x="967" y="197"/>
                </a:lnTo>
                <a:lnTo>
                  <a:pt x="965" y="196"/>
                </a:lnTo>
                <a:lnTo>
                  <a:pt x="960" y="187"/>
                </a:lnTo>
                <a:lnTo>
                  <a:pt x="960" y="185"/>
                </a:lnTo>
                <a:lnTo>
                  <a:pt x="955" y="186"/>
                </a:lnTo>
                <a:lnTo>
                  <a:pt x="960" y="183"/>
                </a:lnTo>
                <a:lnTo>
                  <a:pt x="952" y="186"/>
                </a:lnTo>
                <a:lnTo>
                  <a:pt x="952" y="190"/>
                </a:lnTo>
                <a:lnTo>
                  <a:pt x="945" y="190"/>
                </a:lnTo>
                <a:lnTo>
                  <a:pt x="947" y="196"/>
                </a:lnTo>
                <a:lnTo>
                  <a:pt x="944" y="197"/>
                </a:lnTo>
                <a:lnTo>
                  <a:pt x="938" y="203"/>
                </a:lnTo>
                <a:lnTo>
                  <a:pt x="932" y="207"/>
                </a:lnTo>
                <a:lnTo>
                  <a:pt x="928" y="213"/>
                </a:lnTo>
                <a:lnTo>
                  <a:pt x="926" y="206"/>
                </a:lnTo>
                <a:lnTo>
                  <a:pt x="914" y="213"/>
                </a:lnTo>
                <a:lnTo>
                  <a:pt x="904" y="220"/>
                </a:lnTo>
                <a:lnTo>
                  <a:pt x="905" y="214"/>
                </a:lnTo>
                <a:lnTo>
                  <a:pt x="899" y="217"/>
                </a:lnTo>
                <a:lnTo>
                  <a:pt x="902" y="210"/>
                </a:lnTo>
                <a:lnTo>
                  <a:pt x="895" y="218"/>
                </a:lnTo>
                <a:lnTo>
                  <a:pt x="880" y="224"/>
                </a:lnTo>
                <a:lnTo>
                  <a:pt x="899" y="214"/>
                </a:lnTo>
                <a:lnTo>
                  <a:pt x="897" y="204"/>
                </a:lnTo>
                <a:lnTo>
                  <a:pt x="880" y="207"/>
                </a:lnTo>
                <a:lnTo>
                  <a:pt x="877" y="206"/>
                </a:lnTo>
                <a:lnTo>
                  <a:pt x="884" y="204"/>
                </a:lnTo>
                <a:lnTo>
                  <a:pt x="887" y="205"/>
                </a:lnTo>
                <a:lnTo>
                  <a:pt x="893" y="197"/>
                </a:lnTo>
                <a:lnTo>
                  <a:pt x="890" y="194"/>
                </a:lnTo>
                <a:lnTo>
                  <a:pt x="894" y="186"/>
                </a:lnTo>
                <a:lnTo>
                  <a:pt x="878" y="185"/>
                </a:lnTo>
                <a:lnTo>
                  <a:pt x="897" y="184"/>
                </a:lnTo>
                <a:lnTo>
                  <a:pt x="899" y="176"/>
                </a:lnTo>
                <a:lnTo>
                  <a:pt x="902" y="170"/>
                </a:lnTo>
                <a:lnTo>
                  <a:pt x="897" y="171"/>
                </a:lnTo>
                <a:lnTo>
                  <a:pt x="879" y="164"/>
                </a:lnTo>
                <a:lnTo>
                  <a:pt x="884" y="159"/>
                </a:lnTo>
                <a:lnTo>
                  <a:pt x="879" y="159"/>
                </a:lnTo>
                <a:lnTo>
                  <a:pt x="875" y="154"/>
                </a:lnTo>
                <a:lnTo>
                  <a:pt x="877" y="151"/>
                </a:lnTo>
                <a:lnTo>
                  <a:pt x="864" y="146"/>
                </a:lnTo>
                <a:lnTo>
                  <a:pt x="850" y="151"/>
                </a:lnTo>
                <a:lnTo>
                  <a:pt x="835" y="151"/>
                </a:lnTo>
                <a:lnTo>
                  <a:pt x="840" y="149"/>
                </a:lnTo>
                <a:lnTo>
                  <a:pt x="815" y="146"/>
                </a:lnTo>
                <a:lnTo>
                  <a:pt x="806" y="158"/>
                </a:lnTo>
                <a:lnTo>
                  <a:pt x="807" y="164"/>
                </a:lnTo>
                <a:lnTo>
                  <a:pt x="798" y="174"/>
                </a:lnTo>
                <a:lnTo>
                  <a:pt x="801" y="174"/>
                </a:lnTo>
                <a:lnTo>
                  <a:pt x="798" y="185"/>
                </a:lnTo>
                <a:lnTo>
                  <a:pt x="793" y="191"/>
                </a:lnTo>
                <a:lnTo>
                  <a:pt x="790" y="193"/>
                </a:lnTo>
                <a:lnTo>
                  <a:pt x="770" y="209"/>
                </a:lnTo>
                <a:lnTo>
                  <a:pt x="784" y="225"/>
                </a:lnTo>
                <a:lnTo>
                  <a:pt x="777" y="239"/>
                </a:lnTo>
                <a:lnTo>
                  <a:pt x="768" y="254"/>
                </a:lnTo>
                <a:lnTo>
                  <a:pt x="748" y="263"/>
                </a:lnTo>
                <a:lnTo>
                  <a:pt x="730" y="272"/>
                </a:lnTo>
                <a:lnTo>
                  <a:pt x="720" y="276"/>
                </a:lnTo>
                <a:lnTo>
                  <a:pt x="721" y="287"/>
                </a:lnTo>
                <a:lnTo>
                  <a:pt x="717" y="312"/>
                </a:lnTo>
                <a:lnTo>
                  <a:pt x="710" y="321"/>
                </a:lnTo>
                <a:lnTo>
                  <a:pt x="705" y="330"/>
                </a:lnTo>
                <a:lnTo>
                  <a:pt x="701" y="333"/>
                </a:lnTo>
                <a:lnTo>
                  <a:pt x="699" y="326"/>
                </a:lnTo>
                <a:lnTo>
                  <a:pt x="690" y="337"/>
                </a:lnTo>
                <a:lnTo>
                  <a:pt x="691" y="343"/>
                </a:lnTo>
                <a:lnTo>
                  <a:pt x="681" y="332"/>
                </a:lnTo>
                <a:lnTo>
                  <a:pt x="671" y="337"/>
                </a:lnTo>
                <a:lnTo>
                  <a:pt x="681" y="330"/>
                </a:lnTo>
                <a:lnTo>
                  <a:pt x="671" y="317"/>
                </a:lnTo>
                <a:lnTo>
                  <a:pt x="675" y="312"/>
                </a:lnTo>
                <a:lnTo>
                  <a:pt x="673" y="299"/>
                </a:lnTo>
                <a:lnTo>
                  <a:pt x="679" y="284"/>
                </a:lnTo>
                <a:lnTo>
                  <a:pt x="686" y="267"/>
                </a:lnTo>
                <a:lnTo>
                  <a:pt x="668" y="266"/>
                </a:lnTo>
                <a:lnTo>
                  <a:pt x="653" y="265"/>
                </a:lnTo>
                <a:lnTo>
                  <a:pt x="648" y="267"/>
                </a:lnTo>
                <a:lnTo>
                  <a:pt x="654" y="264"/>
                </a:lnTo>
                <a:lnTo>
                  <a:pt x="641" y="257"/>
                </a:lnTo>
                <a:lnTo>
                  <a:pt x="628" y="252"/>
                </a:lnTo>
                <a:lnTo>
                  <a:pt x="614" y="237"/>
                </a:lnTo>
                <a:lnTo>
                  <a:pt x="597" y="232"/>
                </a:lnTo>
                <a:lnTo>
                  <a:pt x="574" y="237"/>
                </a:lnTo>
                <a:lnTo>
                  <a:pt x="575" y="236"/>
                </a:lnTo>
                <a:lnTo>
                  <a:pt x="571" y="237"/>
                </a:lnTo>
                <a:lnTo>
                  <a:pt x="581" y="217"/>
                </a:lnTo>
                <a:lnTo>
                  <a:pt x="580" y="207"/>
                </a:lnTo>
                <a:lnTo>
                  <a:pt x="568" y="210"/>
                </a:lnTo>
                <a:lnTo>
                  <a:pt x="564" y="216"/>
                </a:lnTo>
                <a:lnTo>
                  <a:pt x="568" y="207"/>
                </a:lnTo>
                <a:lnTo>
                  <a:pt x="567" y="200"/>
                </a:lnTo>
                <a:lnTo>
                  <a:pt x="586" y="178"/>
                </a:lnTo>
                <a:lnTo>
                  <a:pt x="612" y="159"/>
                </a:lnTo>
                <a:lnTo>
                  <a:pt x="615" y="154"/>
                </a:lnTo>
                <a:lnTo>
                  <a:pt x="628" y="150"/>
                </a:lnTo>
                <a:lnTo>
                  <a:pt x="625" y="149"/>
                </a:lnTo>
                <a:lnTo>
                  <a:pt x="630" y="150"/>
                </a:lnTo>
                <a:lnTo>
                  <a:pt x="635" y="145"/>
                </a:lnTo>
                <a:lnTo>
                  <a:pt x="644" y="144"/>
                </a:lnTo>
                <a:lnTo>
                  <a:pt x="644" y="140"/>
                </a:lnTo>
                <a:lnTo>
                  <a:pt x="665" y="137"/>
                </a:lnTo>
                <a:lnTo>
                  <a:pt x="666" y="131"/>
                </a:lnTo>
                <a:lnTo>
                  <a:pt x="651" y="127"/>
                </a:lnTo>
                <a:lnTo>
                  <a:pt x="654" y="126"/>
                </a:lnTo>
                <a:lnTo>
                  <a:pt x="639" y="125"/>
                </a:lnTo>
                <a:lnTo>
                  <a:pt x="639" y="120"/>
                </a:lnTo>
                <a:lnTo>
                  <a:pt x="658" y="124"/>
                </a:lnTo>
                <a:lnTo>
                  <a:pt x="677" y="127"/>
                </a:lnTo>
                <a:lnTo>
                  <a:pt x="681" y="122"/>
                </a:lnTo>
                <a:lnTo>
                  <a:pt x="686" y="119"/>
                </a:lnTo>
                <a:lnTo>
                  <a:pt x="693" y="122"/>
                </a:lnTo>
                <a:lnTo>
                  <a:pt x="693" y="119"/>
                </a:lnTo>
                <a:lnTo>
                  <a:pt x="700" y="120"/>
                </a:lnTo>
                <a:lnTo>
                  <a:pt x="728" y="106"/>
                </a:lnTo>
                <a:lnTo>
                  <a:pt x="731" y="102"/>
                </a:lnTo>
                <a:lnTo>
                  <a:pt x="706" y="98"/>
                </a:lnTo>
                <a:lnTo>
                  <a:pt x="691" y="91"/>
                </a:lnTo>
                <a:lnTo>
                  <a:pt x="719" y="96"/>
                </a:lnTo>
                <a:lnTo>
                  <a:pt x="728" y="100"/>
                </a:lnTo>
                <a:lnTo>
                  <a:pt x="755" y="87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8" name="Freeform 434">
            <a:extLst>
              <a:ext uri="{FF2B5EF4-FFF2-40B4-BE49-F238E27FC236}">
                <a16:creationId xmlns:a16="http://schemas.microsoft.com/office/drawing/2014/main" id="{EE94791A-49CA-4A8F-A540-9ED4B4510F98}"/>
              </a:ext>
            </a:extLst>
          </p:cNvPr>
          <p:cNvSpPr>
            <a:spLocks/>
          </p:cNvSpPr>
          <p:nvPr/>
        </p:nvSpPr>
        <p:spPr bwMode="gray">
          <a:xfrm>
            <a:off x="2688105" y="1561829"/>
            <a:ext cx="481756" cy="356332"/>
          </a:xfrm>
          <a:custGeom>
            <a:avLst/>
            <a:gdLst>
              <a:gd name="T0" fmla="*/ 184 w 253"/>
              <a:gd name="T1" fmla="*/ 36 h 164"/>
              <a:gd name="T2" fmla="*/ 175 w 253"/>
              <a:gd name="T3" fmla="*/ 30 h 164"/>
              <a:gd name="T4" fmla="*/ 164 w 253"/>
              <a:gd name="T5" fmla="*/ 29 h 164"/>
              <a:gd name="T6" fmla="*/ 147 w 253"/>
              <a:gd name="T7" fmla="*/ 34 h 164"/>
              <a:gd name="T8" fmla="*/ 151 w 253"/>
              <a:gd name="T9" fmla="*/ 24 h 164"/>
              <a:gd name="T10" fmla="*/ 159 w 253"/>
              <a:gd name="T11" fmla="*/ 21 h 164"/>
              <a:gd name="T12" fmla="*/ 120 w 253"/>
              <a:gd name="T13" fmla="*/ 21 h 164"/>
              <a:gd name="T14" fmla="*/ 116 w 253"/>
              <a:gd name="T15" fmla="*/ 23 h 164"/>
              <a:gd name="T16" fmla="*/ 108 w 253"/>
              <a:gd name="T17" fmla="*/ 22 h 164"/>
              <a:gd name="T18" fmla="*/ 98 w 253"/>
              <a:gd name="T19" fmla="*/ 20 h 164"/>
              <a:gd name="T20" fmla="*/ 84 w 253"/>
              <a:gd name="T21" fmla="*/ 5 h 164"/>
              <a:gd name="T22" fmla="*/ 67 w 253"/>
              <a:gd name="T23" fmla="*/ 11 h 164"/>
              <a:gd name="T24" fmla="*/ 62 w 253"/>
              <a:gd name="T25" fmla="*/ 20 h 164"/>
              <a:gd name="T26" fmla="*/ 55 w 253"/>
              <a:gd name="T27" fmla="*/ 30 h 164"/>
              <a:gd name="T28" fmla="*/ 43 w 253"/>
              <a:gd name="T29" fmla="*/ 23 h 164"/>
              <a:gd name="T30" fmla="*/ 22 w 253"/>
              <a:gd name="T31" fmla="*/ 12 h 164"/>
              <a:gd name="T32" fmla="*/ 4 w 253"/>
              <a:gd name="T33" fmla="*/ 44 h 164"/>
              <a:gd name="T34" fmla="*/ 28 w 253"/>
              <a:gd name="T35" fmla="*/ 50 h 164"/>
              <a:gd name="T36" fmla="*/ 68 w 253"/>
              <a:gd name="T37" fmla="*/ 48 h 164"/>
              <a:gd name="T38" fmla="*/ 104 w 253"/>
              <a:gd name="T39" fmla="*/ 45 h 164"/>
              <a:gd name="T40" fmla="*/ 114 w 253"/>
              <a:gd name="T41" fmla="*/ 56 h 164"/>
              <a:gd name="T42" fmla="*/ 110 w 253"/>
              <a:gd name="T43" fmla="*/ 68 h 164"/>
              <a:gd name="T44" fmla="*/ 136 w 253"/>
              <a:gd name="T45" fmla="*/ 68 h 164"/>
              <a:gd name="T46" fmla="*/ 129 w 253"/>
              <a:gd name="T47" fmla="*/ 95 h 164"/>
              <a:gd name="T48" fmla="*/ 159 w 253"/>
              <a:gd name="T49" fmla="*/ 102 h 164"/>
              <a:gd name="T50" fmla="*/ 123 w 253"/>
              <a:gd name="T51" fmla="*/ 98 h 164"/>
              <a:gd name="T52" fmla="*/ 88 w 253"/>
              <a:gd name="T53" fmla="*/ 119 h 164"/>
              <a:gd name="T54" fmla="*/ 55 w 253"/>
              <a:gd name="T55" fmla="*/ 125 h 164"/>
              <a:gd name="T56" fmla="*/ 92 w 253"/>
              <a:gd name="T57" fmla="*/ 125 h 164"/>
              <a:gd name="T58" fmla="*/ 104 w 253"/>
              <a:gd name="T59" fmla="*/ 125 h 164"/>
              <a:gd name="T60" fmla="*/ 114 w 253"/>
              <a:gd name="T61" fmla="*/ 138 h 164"/>
              <a:gd name="T62" fmla="*/ 133 w 253"/>
              <a:gd name="T63" fmla="*/ 153 h 164"/>
              <a:gd name="T64" fmla="*/ 157 w 253"/>
              <a:gd name="T65" fmla="*/ 147 h 164"/>
              <a:gd name="T66" fmla="*/ 169 w 253"/>
              <a:gd name="T67" fmla="*/ 147 h 164"/>
              <a:gd name="T68" fmla="*/ 184 w 253"/>
              <a:gd name="T69" fmla="*/ 153 h 164"/>
              <a:gd name="T70" fmla="*/ 193 w 253"/>
              <a:gd name="T71" fmla="*/ 142 h 164"/>
              <a:gd name="T72" fmla="*/ 192 w 253"/>
              <a:gd name="T73" fmla="*/ 129 h 164"/>
              <a:gd name="T74" fmla="*/ 186 w 253"/>
              <a:gd name="T75" fmla="*/ 122 h 164"/>
              <a:gd name="T76" fmla="*/ 180 w 253"/>
              <a:gd name="T77" fmla="*/ 118 h 164"/>
              <a:gd name="T78" fmla="*/ 176 w 253"/>
              <a:gd name="T79" fmla="*/ 108 h 164"/>
              <a:gd name="T80" fmla="*/ 184 w 253"/>
              <a:gd name="T81" fmla="*/ 104 h 164"/>
              <a:gd name="T82" fmla="*/ 193 w 253"/>
              <a:gd name="T83" fmla="*/ 99 h 164"/>
              <a:gd name="T84" fmla="*/ 218 w 253"/>
              <a:gd name="T85" fmla="*/ 100 h 164"/>
              <a:gd name="T86" fmla="*/ 202 w 253"/>
              <a:gd name="T87" fmla="*/ 113 h 164"/>
              <a:gd name="T88" fmla="*/ 212 w 253"/>
              <a:gd name="T89" fmla="*/ 118 h 164"/>
              <a:gd name="T90" fmla="*/ 224 w 253"/>
              <a:gd name="T91" fmla="*/ 106 h 164"/>
              <a:gd name="T92" fmla="*/ 232 w 253"/>
              <a:gd name="T93" fmla="*/ 105 h 164"/>
              <a:gd name="T94" fmla="*/ 248 w 253"/>
              <a:gd name="T95" fmla="*/ 99 h 164"/>
              <a:gd name="T96" fmla="*/ 242 w 253"/>
              <a:gd name="T97" fmla="*/ 94 h 164"/>
              <a:gd name="T98" fmla="*/ 230 w 253"/>
              <a:gd name="T99" fmla="*/ 94 h 164"/>
              <a:gd name="T100" fmla="*/ 229 w 253"/>
              <a:gd name="T101" fmla="*/ 88 h 164"/>
              <a:gd name="T102" fmla="*/ 230 w 253"/>
              <a:gd name="T103" fmla="*/ 84 h 164"/>
              <a:gd name="T104" fmla="*/ 224 w 253"/>
              <a:gd name="T105" fmla="*/ 77 h 164"/>
              <a:gd name="T106" fmla="*/ 213 w 253"/>
              <a:gd name="T107" fmla="*/ 77 h 164"/>
              <a:gd name="T108" fmla="*/ 201 w 253"/>
              <a:gd name="T109" fmla="*/ 74 h 164"/>
              <a:gd name="T110" fmla="*/ 196 w 253"/>
              <a:gd name="T111" fmla="*/ 68 h 164"/>
              <a:gd name="T112" fmla="*/ 204 w 253"/>
              <a:gd name="T113" fmla="*/ 63 h 164"/>
              <a:gd name="T114" fmla="*/ 200 w 253"/>
              <a:gd name="T115" fmla="*/ 60 h 164"/>
              <a:gd name="T116" fmla="*/ 186 w 253"/>
              <a:gd name="T117" fmla="*/ 56 h 164"/>
              <a:gd name="T118" fmla="*/ 184 w 253"/>
              <a:gd name="T119" fmla="*/ 54 h 164"/>
              <a:gd name="T120" fmla="*/ 195 w 253"/>
              <a:gd name="T121" fmla="*/ 41 h 164"/>
              <a:gd name="T122" fmla="*/ 172 w 253"/>
              <a:gd name="T123" fmla="*/ 50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3" h="164">
                <a:moveTo>
                  <a:pt x="177" y="44"/>
                </a:moveTo>
                <a:lnTo>
                  <a:pt x="174" y="44"/>
                </a:lnTo>
                <a:lnTo>
                  <a:pt x="190" y="38"/>
                </a:lnTo>
                <a:lnTo>
                  <a:pt x="184" y="36"/>
                </a:lnTo>
                <a:lnTo>
                  <a:pt x="170" y="40"/>
                </a:lnTo>
                <a:lnTo>
                  <a:pt x="178" y="35"/>
                </a:lnTo>
                <a:lnTo>
                  <a:pt x="188" y="34"/>
                </a:lnTo>
                <a:lnTo>
                  <a:pt x="175" y="30"/>
                </a:lnTo>
                <a:lnTo>
                  <a:pt x="164" y="35"/>
                </a:lnTo>
                <a:lnTo>
                  <a:pt x="165" y="33"/>
                </a:lnTo>
                <a:lnTo>
                  <a:pt x="159" y="35"/>
                </a:lnTo>
                <a:lnTo>
                  <a:pt x="164" y="29"/>
                </a:lnTo>
                <a:lnTo>
                  <a:pt x="159" y="33"/>
                </a:lnTo>
                <a:lnTo>
                  <a:pt x="164" y="27"/>
                </a:lnTo>
                <a:lnTo>
                  <a:pt x="162" y="28"/>
                </a:lnTo>
                <a:lnTo>
                  <a:pt x="147" y="34"/>
                </a:lnTo>
                <a:lnTo>
                  <a:pt x="153" y="29"/>
                </a:lnTo>
                <a:lnTo>
                  <a:pt x="150" y="29"/>
                </a:lnTo>
                <a:lnTo>
                  <a:pt x="164" y="24"/>
                </a:lnTo>
                <a:lnTo>
                  <a:pt x="151" y="24"/>
                </a:lnTo>
                <a:lnTo>
                  <a:pt x="145" y="27"/>
                </a:lnTo>
                <a:lnTo>
                  <a:pt x="151" y="22"/>
                </a:lnTo>
                <a:lnTo>
                  <a:pt x="141" y="26"/>
                </a:lnTo>
                <a:lnTo>
                  <a:pt x="159" y="21"/>
                </a:lnTo>
                <a:lnTo>
                  <a:pt x="152" y="16"/>
                </a:lnTo>
                <a:lnTo>
                  <a:pt x="127" y="16"/>
                </a:lnTo>
                <a:lnTo>
                  <a:pt x="135" y="22"/>
                </a:lnTo>
                <a:lnTo>
                  <a:pt x="120" y="21"/>
                </a:lnTo>
                <a:lnTo>
                  <a:pt x="124" y="26"/>
                </a:lnTo>
                <a:lnTo>
                  <a:pt x="117" y="23"/>
                </a:lnTo>
                <a:lnTo>
                  <a:pt x="118" y="24"/>
                </a:lnTo>
                <a:lnTo>
                  <a:pt x="116" y="23"/>
                </a:lnTo>
                <a:lnTo>
                  <a:pt x="116" y="18"/>
                </a:lnTo>
                <a:lnTo>
                  <a:pt x="114" y="20"/>
                </a:lnTo>
                <a:lnTo>
                  <a:pt x="108" y="20"/>
                </a:lnTo>
                <a:lnTo>
                  <a:pt x="108" y="22"/>
                </a:lnTo>
                <a:lnTo>
                  <a:pt x="103" y="22"/>
                </a:lnTo>
                <a:lnTo>
                  <a:pt x="98" y="23"/>
                </a:lnTo>
                <a:lnTo>
                  <a:pt x="102" y="18"/>
                </a:lnTo>
                <a:lnTo>
                  <a:pt x="98" y="20"/>
                </a:lnTo>
                <a:lnTo>
                  <a:pt x="111" y="14"/>
                </a:lnTo>
                <a:lnTo>
                  <a:pt x="109" y="2"/>
                </a:lnTo>
                <a:lnTo>
                  <a:pt x="82" y="4"/>
                </a:lnTo>
                <a:lnTo>
                  <a:pt x="84" y="5"/>
                </a:lnTo>
                <a:lnTo>
                  <a:pt x="75" y="6"/>
                </a:lnTo>
                <a:lnTo>
                  <a:pt x="68" y="8"/>
                </a:lnTo>
                <a:lnTo>
                  <a:pt x="79" y="10"/>
                </a:lnTo>
                <a:lnTo>
                  <a:pt x="67" y="11"/>
                </a:lnTo>
                <a:lnTo>
                  <a:pt x="75" y="14"/>
                </a:lnTo>
                <a:lnTo>
                  <a:pt x="60" y="12"/>
                </a:lnTo>
                <a:lnTo>
                  <a:pt x="58" y="20"/>
                </a:lnTo>
                <a:lnTo>
                  <a:pt x="62" y="20"/>
                </a:lnTo>
                <a:lnTo>
                  <a:pt x="63" y="23"/>
                </a:lnTo>
                <a:lnTo>
                  <a:pt x="52" y="22"/>
                </a:lnTo>
                <a:lnTo>
                  <a:pt x="50" y="26"/>
                </a:lnTo>
                <a:lnTo>
                  <a:pt x="55" y="30"/>
                </a:lnTo>
                <a:lnTo>
                  <a:pt x="46" y="36"/>
                </a:lnTo>
                <a:lnTo>
                  <a:pt x="31" y="36"/>
                </a:lnTo>
                <a:lnTo>
                  <a:pt x="50" y="32"/>
                </a:lnTo>
                <a:lnTo>
                  <a:pt x="43" y="23"/>
                </a:lnTo>
                <a:lnTo>
                  <a:pt x="58" y="8"/>
                </a:lnTo>
                <a:lnTo>
                  <a:pt x="75" y="0"/>
                </a:lnTo>
                <a:lnTo>
                  <a:pt x="42" y="4"/>
                </a:lnTo>
                <a:lnTo>
                  <a:pt x="22" y="12"/>
                </a:lnTo>
                <a:lnTo>
                  <a:pt x="0" y="32"/>
                </a:lnTo>
                <a:lnTo>
                  <a:pt x="22" y="36"/>
                </a:lnTo>
                <a:lnTo>
                  <a:pt x="2" y="38"/>
                </a:lnTo>
                <a:lnTo>
                  <a:pt x="4" y="44"/>
                </a:lnTo>
                <a:lnTo>
                  <a:pt x="18" y="46"/>
                </a:lnTo>
                <a:lnTo>
                  <a:pt x="19" y="45"/>
                </a:lnTo>
                <a:lnTo>
                  <a:pt x="24" y="45"/>
                </a:lnTo>
                <a:lnTo>
                  <a:pt x="28" y="50"/>
                </a:lnTo>
                <a:lnTo>
                  <a:pt x="67" y="51"/>
                </a:lnTo>
                <a:lnTo>
                  <a:pt x="57" y="46"/>
                </a:lnTo>
                <a:lnTo>
                  <a:pt x="75" y="53"/>
                </a:lnTo>
                <a:lnTo>
                  <a:pt x="68" y="48"/>
                </a:lnTo>
                <a:lnTo>
                  <a:pt x="98" y="51"/>
                </a:lnTo>
                <a:lnTo>
                  <a:pt x="96" y="45"/>
                </a:lnTo>
                <a:lnTo>
                  <a:pt x="104" y="41"/>
                </a:lnTo>
                <a:lnTo>
                  <a:pt x="104" y="45"/>
                </a:lnTo>
                <a:lnTo>
                  <a:pt x="111" y="47"/>
                </a:lnTo>
                <a:lnTo>
                  <a:pt x="108" y="52"/>
                </a:lnTo>
                <a:lnTo>
                  <a:pt x="116" y="53"/>
                </a:lnTo>
                <a:lnTo>
                  <a:pt x="114" y="56"/>
                </a:lnTo>
                <a:lnTo>
                  <a:pt x="118" y="54"/>
                </a:lnTo>
                <a:lnTo>
                  <a:pt x="121" y="63"/>
                </a:lnTo>
                <a:lnTo>
                  <a:pt x="111" y="65"/>
                </a:lnTo>
                <a:lnTo>
                  <a:pt x="110" y="68"/>
                </a:lnTo>
                <a:lnTo>
                  <a:pt x="123" y="63"/>
                </a:lnTo>
                <a:lnTo>
                  <a:pt x="129" y="64"/>
                </a:lnTo>
                <a:lnTo>
                  <a:pt x="133" y="70"/>
                </a:lnTo>
                <a:lnTo>
                  <a:pt x="136" y="68"/>
                </a:lnTo>
                <a:lnTo>
                  <a:pt x="135" y="74"/>
                </a:lnTo>
                <a:lnTo>
                  <a:pt x="141" y="74"/>
                </a:lnTo>
                <a:lnTo>
                  <a:pt x="139" y="89"/>
                </a:lnTo>
                <a:lnTo>
                  <a:pt x="129" y="95"/>
                </a:lnTo>
                <a:lnTo>
                  <a:pt x="145" y="96"/>
                </a:lnTo>
                <a:lnTo>
                  <a:pt x="152" y="90"/>
                </a:lnTo>
                <a:lnTo>
                  <a:pt x="164" y="99"/>
                </a:lnTo>
                <a:lnTo>
                  <a:pt x="159" y="102"/>
                </a:lnTo>
                <a:lnTo>
                  <a:pt x="147" y="102"/>
                </a:lnTo>
                <a:lnTo>
                  <a:pt x="142" y="104"/>
                </a:lnTo>
                <a:lnTo>
                  <a:pt x="145" y="98"/>
                </a:lnTo>
                <a:lnTo>
                  <a:pt x="123" y="98"/>
                </a:lnTo>
                <a:lnTo>
                  <a:pt x="108" y="104"/>
                </a:lnTo>
                <a:lnTo>
                  <a:pt x="111" y="112"/>
                </a:lnTo>
                <a:lnTo>
                  <a:pt x="86" y="117"/>
                </a:lnTo>
                <a:lnTo>
                  <a:pt x="88" y="119"/>
                </a:lnTo>
                <a:lnTo>
                  <a:pt x="86" y="122"/>
                </a:lnTo>
                <a:lnTo>
                  <a:pt x="86" y="116"/>
                </a:lnTo>
                <a:lnTo>
                  <a:pt x="68" y="114"/>
                </a:lnTo>
                <a:lnTo>
                  <a:pt x="55" y="125"/>
                </a:lnTo>
                <a:lnTo>
                  <a:pt x="68" y="129"/>
                </a:lnTo>
                <a:lnTo>
                  <a:pt x="81" y="126"/>
                </a:lnTo>
                <a:lnTo>
                  <a:pt x="82" y="125"/>
                </a:lnTo>
                <a:lnTo>
                  <a:pt x="92" y="125"/>
                </a:lnTo>
                <a:lnTo>
                  <a:pt x="96" y="120"/>
                </a:lnTo>
                <a:lnTo>
                  <a:pt x="98" y="124"/>
                </a:lnTo>
                <a:lnTo>
                  <a:pt x="98" y="129"/>
                </a:lnTo>
                <a:lnTo>
                  <a:pt x="104" y="125"/>
                </a:lnTo>
                <a:lnTo>
                  <a:pt x="109" y="125"/>
                </a:lnTo>
                <a:lnTo>
                  <a:pt x="106" y="131"/>
                </a:lnTo>
                <a:lnTo>
                  <a:pt x="114" y="135"/>
                </a:lnTo>
                <a:lnTo>
                  <a:pt x="114" y="138"/>
                </a:lnTo>
                <a:lnTo>
                  <a:pt x="122" y="140"/>
                </a:lnTo>
                <a:lnTo>
                  <a:pt x="115" y="142"/>
                </a:lnTo>
                <a:lnTo>
                  <a:pt x="120" y="147"/>
                </a:lnTo>
                <a:lnTo>
                  <a:pt x="133" y="153"/>
                </a:lnTo>
                <a:lnTo>
                  <a:pt x="150" y="159"/>
                </a:lnTo>
                <a:lnTo>
                  <a:pt x="168" y="164"/>
                </a:lnTo>
                <a:lnTo>
                  <a:pt x="166" y="158"/>
                </a:lnTo>
                <a:lnTo>
                  <a:pt x="157" y="147"/>
                </a:lnTo>
                <a:lnTo>
                  <a:pt x="147" y="137"/>
                </a:lnTo>
                <a:lnTo>
                  <a:pt x="159" y="142"/>
                </a:lnTo>
                <a:lnTo>
                  <a:pt x="162" y="138"/>
                </a:lnTo>
                <a:lnTo>
                  <a:pt x="169" y="147"/>
                </a:lnTo>
                <a:lnTo>
                  <a:pt x="170" y="144"/>
                </a:lnTo>
                <a:lnTo>
                  <a:pt x="174" y="148"/>
                </a:lnTo>
                <a:lnTo>
                  <a:pt x="182" y="150"/>
                </a:lnTo>
                <a:lnTo>
                  <a:pt x="184" y="153"/>
                </a:lnTo>
                <a:lnTo>
                  <a:pt x="184" y="149"/>
                </a:lnTo>
                <a:lnTo>
                  <a:pt x="188" y="148"/>
                </a:lnTo>
                <a:lnTo>
                  <a:pt x="190" y="138"/>
                </a:lnTo>
                <a:lnTo>
                  <a:pt x="193" y="142"/>
                </a:lnTo>
                <a:lnTo>
                  <a:pt x="195" y="137"/>
                </a:lnTo>
                <a:lnTo>
                  <a:pt x="196" y="134"/>
                </a:lnTo>
                <a:lnTo>
                  <a:pt x="193" y="132"/>
                </a:lnTo>
                <a:lnTo>
                  <a:pt x="192" y="129"/>
                </a:lnTo>
                <a:lnTo>
                  <a:pt x="193" y="126"/>
                </a:lnTo>
                <a:lnTo>
                  <a:pt x="192" y="124"/>
                </a:lnTo>
                <a:lnTo>
                  <a:pt x="189" y="123"/>
                </a:lnTo>
                <a:lnTo>
                  <a:pt x="186" y="122"/>
                </a:lnTo>
                <a:lnTo>
                  <a:pt x="182" y="118"/>
                </a:lnTo>
                <a:lnTo>
                  <a:pt x="181" y="120"/>
                </a:lnTo>
                <a:lnTo>
                  <a:pt x="183" y="117"/>
                </a:lnTo>
                <a:lnTo>
                  <a:pt x="180" y="118"/>
                </a:lnTo>
                <a:lnTo>
                  <a:pt x="181" y="113"/>
                </a:lnTo>
                <a:lnTo>
                  <a:pt x="181" y="110"/>
                </a:lnTo>
                <a:lnTo>
                  <a:pt x="174" y="111"/>
                </a:lnTo>
                <a:lnTo>
                  <a:pt x="176" y="108"/>
                </a:lnTo>
                <a:lnTo>
                  <a:pt x="175" y="105"/>
                </a:lnTo>
                <a:lnTo>
                  <a:pt x="172" y="101"/>
                </a:lnTo>
                <a:lnTo>
                  <a:pt x="181" y="106"/>
                </a:lnTo>
                <a:lnTo>
                  <a:pt x="184" y="104"/>
                </a:lnTo>
                <a:lnTo>
                  <a:pt x="183" y="99"/>
                </a:lnTo>
                <a:lnTo>
                  <a:pt x="189" y="99"/>
                </a:lnTo>
                <a:lnTo>
                  <a:pt x="188" y="98"/>
                </a:lnTo>
                <a:lnTo>
                  <a:pt x="193" y="99"/>
                </a:lnTo>
                <a:lnTo>
                  <a:pt x="202" y="102"/>
                </a:lnTo>
                <a:lnTo>
                  <a:pt x="206" y="101"/>
                </a:lnTo>
                <a:lnTo>
                  <a:pt x="199" y="106"/>
                </a:lnTo>
                <a:lnTo>
                  <a:pt x="218" y="100"/>
                </a:lnTo>
                <a:lnTo>
                  <a:pt x="208" y="105"/>
                </a:lnTo>
                <a:lnTo>
                  <a:pt x="201" y="110"/>
                </a:lnTo>
                <a:lnTo>
                  <a:pt x="204" y="110"/>
                </a:lnTo>
                <a:lnTo>
                  <a:pt x="202" y="113"/>
                </a:lnTo>
                <a:lnTo>
                  <a:pt x="208" y="113"/>
                </a:lnTo>
                <a:lnTo>
                  <a:pt x="206" y="118"/>
                </a:lnTo>
                <a:lnTo>
                  <a:pt x="210" y="114"/>
                </a:lnTo>
                <a:lnTo>
                  <a:pt x="212" y="118"/>
                </a:lnTo>
                <a:lnTo>
                  <a:pt x="218" y="118"/>
                </a:lnTo>
                <a:lnTo>
                  <a:pt x="218" y="112"/>
                </a:lnTo>
                <a:lnTo>
                  <a:pt x="219" y="112"/>
                </a:lnTo>
                <a:lnTo>
                  <a:pt x="224" y="106"/>
                </a:lnTo>
                <a:lnTo>
                  <a:pt x="228" y="110"/>
                </a:lnTo>
                <a:lnTo>
                  <a:pt x="230" y="107"/>
                </a:lnTo>
                <a:lnTo>
                  <a:pt x="236" y="106"/>
                </a:lnTo>
                <a:lnTo>
                  <a:pt x="232" y="105"/>
                </a:lnTo>
                <a:lnTo>
                  <a:pt x="240" y="104"/>
                </a:lnTo>
                <a:lnTo>
                  <a:pt x="235" y="102"/>
                </a:lnTo>
                <a:lnTo>
                  <a:pt x="241" y="100"/>
                </a:lnTo>
                <a:lnTo>
                  <a:pt x="248" y="99"/>
                </a:lnTo>
                <a:lnTo>
                  <a:pt x="246" y="96"/>
                </a:lnTo>
                <a:lnTo>
                  <a:pt x="253" y="96"/>
                </a:lnTo>
                <a:lnTo>
                  <a:pt x="244" y="92"/>
                </a:lnTo>
                <a:lnTo>
                  <a:pt x="242" y="94"/>
                </a:lnTo>
                <a:lnTo>
                  <a:pt x="238" y="94"/>
                </a:lnTo>
                <a:lnTo>
                  <a:pt x="238" y="92"/>
                </a:lnTo>
                <a:lnTo>
                  <a:pt x="230" y="95"/>
                </a:lnTo>
                <a:lnTo>
                  <a:pt x="230" y="94"/>
                </a:lnTo>
                <a:lnTo>
                  <a:pt x="235" y="87"/>
                </a:lnTo>
                <a:lnTo>
                  <a:pt x="232" y="90"/>
                </a:lnTo>
                <a:lnTo>
                  <a:pt x="220" y="89"/>
                </a:lnTo>
                <a:lnTo>
                  <a:pt x="229" y="88"/>
                </a:lnTo>
                <a:lnTo>
                  <a:pt x="219" y="88"/>
                </a:lnTo>
                <a:lnTo>
                  <a:pt x="226" y="87"/>
                </a:lnTo>
                <a:lnTo>
                  <a:pt x="220" y="87"/>
                </a:lnTo>
                <a:lnTo>
                  <a:pt x="230" y="84"/>
                </a:lnTo>
                <a:lnTo>
                  <a:pt x="229" y="83"/>
                </a:lnTo>
                <a:lnTo>
                  <a:pt x="223" y="82"/>
                </a:lnTo>
                <a:lnTo>
                  <a:pt x="220" y="81"/>
                </a:lnTo>
                <a:lnTo>
                  <a:pt x="224" y="77"/>
                </a:lnTo>
                <a:lnTo>
                  <a:pt x="217" y="82"/>
                </a:lnTo>
                <a:lnTo>
                  <a:pt x="214" y="78"/>
                </a:lnTo>
                <a:lnTo>
                  <a:pt x="211" y="80"/>
                </a:lnTo>
                <a:lnTo>
                  <a:pt x="213" y="77"/>
                </a:lnTo>
                <a:lnTo>
                  <a:pt x="207" y="80"/>
                </a:lnTo>
                <a:lnTo>
                  <a:pt x="211" y="76"/>
                </a:lnTo>
                <a:lnTo>
                  <a:pt x="205" y="76"/>
                </a:lnTo>
                <a:lnTo>
                  <a:pt x="201" y="74"/>
                </a:lnTo>
                <a:lnTo>
                  <a:pt x="195" y="74"/>
                </a:lnTo>
                <a:lnTo>
                  <a:pt x="205" y="71"/>
                </a:lnTo>
                <a:lnTo>
                  <a:pt x="189" y="69"/>
                </a:lnTo>
                <a:lnTo>
                  <a:pt x="196" y="68"/>
                </a:lnTo>
                <a:lnTo>
                  <a:pt x="188" y="66"/>
                </a:lnTo>
                <a:lnTo>
                  <a:pt x="200" y="66"/>
                </a:lnTo>
                <a:lnTo>
                  <a:pt x="196" y="65"/>
                </a:lnTo>
                <a:lnTo>
                  <a:pt x="204" y="63"/>
                </a:lnTo>
                <a:lnTo>
                  <a:pt x="192" y="63"/>
                </a:lnTo>
                <a:lnTo>
                  <a:pt x="196" y="60"/>
                </a:lnTo>
                <a:lnTo>
                  <a:pt x="192" y="60"/>
                </a:lnTo>
                <a:lnTo>
                  <a:pt x="200" y="60"/>
                </a:lnTo>
                <a:lnTo>
                  <a:pt x="193" y="59"/>
                </a:lnTo>
                <a:lnTo>
                  <a:pt x="216" y="62"/>
                </a:lnTo>
                <a:lnTo>
                  <a:pt x="198" y="56"/>
                </a:lnTo>
                <a:lnTo>
                  <a:pt x="186" y="56"/>
                </a:lnTo>
                <a:lnTo>
                  <a:pt x="214" y="53"/>
                </a:lnTo>
                <a:lnTo>
                  <a:pt x="210" y="46"/>
                </a:lnTo>
                <a:lnTo>
                  <a:pt x="193" y="52"/>
                </a:lnTo>
                <a:lnTo>
                  <a:pt x="184" y="54"/>
                </a:lnTo>
                <a:lnTo>
                  <a:pt x="202" y="47"/>
                </a:lnTo>
                <a:lnTo>
                  <a:pt x="186" y="51"/>
                </a:lnTo>
                <a:lnTo>
                  <a:pt x="210" y="42"/>
                </a:lnTo>
                <a:lnTo>
                  <a:pt x="195" y="41"/>
                </a:lnTo>
                <a:lnTo>
                  <a:pt x="190" y="41"/>
                </a:lnTo>
                <a:lnTo>
                  <a:pt x="196" y="39"/>
                </a:lnTo>
                <a:lnTo>
                  <a:pt x="181" y="44"/>
                </a:lnTo>
                <a:lnTo>
                  <a:pt x="172" y="50"/>
                </a:lnTo>
                <a:lnTo>
                  <a:pt x="177" y="44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9" name="Freeform 435">
            <a:extLst>
              <a:ext uri="{FF2B5EF4-FFF2-40B4-BE49-F238E27FC236}">
                <a16:creationId xmlns:a16="http://schemas.microsoft.com/office/drawing/2014/main" id="{01E7385B-9E41-42DD-BD80-A67904AE18A9}"/>
              </a:ext>
            </a:extLst>
          </p:cNvPr>
          <p:cNvSpPr>
            <a:spLocks/>
          </p:cNvSpPr>
          <p:nvPr/>
        </p:nvSpPr>
        <p:spPr bwMode="gray">
          <a:xfrm>
            <a:off x="2832633" y="1341800"/>
            <a:ext cx="586710" cy="151878"/>
          </a:xfrm>
          <a:custGeom>
            <a:avLst/>
            <a:gdLst>
              <a:gd name="T0" fmla="*/ 76 w 307"/>
              <a:gd name="T1" fmla="*/ 52 h 71"/>
              <a:gd name="T2" fmla="*/ 57 w 307"/>
              <a:gd name="T3" fmla="*/ 58 h 71"/>
              <a:gd name="T4" fmla="*/ 46 w 307"/>
              <a:gd name="T5" fmla="*/ 53 h 71"/>
              <a:gd name="T6" fmla="*/ 55 w 307"/>
              <a:gd name="T7" fmla="*/ 49 h 71"/>
              <a:gd name="T8" fmla="*/ 36 w 307"/>
              <a:gd name="T9" fmla="*/ 46 h 71"/>
              <a:gd name="T10" fmla="*/ 84 w 307"/>
              <a:gd name="T11" fmla="*/ 41 h 71"/>
              <a:gd name="T12" fmla="*/ 64 w 307"/>
              <a:gd name="T13" fmla="*/ 28 h 71"/>
              <a:gd name="T14" fmla="*/ 91 w 307"/>
              <a:gd name="T15" fmla="*/ 27 h 71"/>
              <a:gd name="T16" fmla="*/ 103 w 307"/>
              <a:gd name="T17" fmla="*/ 31 h 71"/>
              <a:gd name="T18" fmla="*/ 96 w 307"/>
              <a:gd name="T19" fmla="*/ 25 h 71"/>
              <a:gd name="T20" fmla="*/ 141 w 307"/>
              <a:gd name="T21" fmla="*/ 19 h 71"/>
              <a:gd name="T22" fmla="*/ 163 w 307"/>
              <a:gd name="T23" fmla="*/ 15 h 71"/>
              <a:gd name="T24" fmla="*/ 117 w 307"/>
              <a:gd name="T25" fmla="*/ 18 h 71"/>
              <a:gd name="T26" fmla="*/ 70 w 307"/>
              <a:gd name="T27" fmla="*/ 22 h 71"/>
              <a:gd name="T28" fmla="*/ 109 w 307"/>
              <a:gd name="T29" fmla="*/ 17 h 71"/>
              <a:gd name="T30" fmla="*/ 63 w 307"/>
              <a:gd name="T31" fmla="*/ 23 h 71"/>
              <a:gd name="T32" fmla="*/ 48 w 307"/>
              <a:gd name="T33" fmla="*/ 19 h 71"/>
              <a:gd name="T34" fmla="*/ 93 w 307"/>
              <a:gd name="T35" fmla="*/ 16 h 71"/>
              <a:gd name="T36" fmla="*/ 46 w 307"/>
              <a:gd name="T37" fmla="*/ 17 h 71"/>
              <a:gd name="T38" fmla="*/ 75 w 307"/>
              <a:gd name="T39" fmla="*/ 15 h 71"/>
              <a:gd name="T40" fmla="*/ 39 w 307"/>
              <a:gd name="T41" fmla="*/ 12 h 71"/>
              <a:gd name="T42" fmla="*/ 87 w 307"/>
              <a:gd name="T43" fmla="*/ 7 h 71"/>
              <a:gd name="T44" fmla="*/ 147 w 307"/>
              <a:gd name="T45" fmla="*/ 11 h 71"/>
              <a:gd name="T46" fmla="*/ 139 w 307"/>
              <a:gd name="T47" fmla="*/ 1 h 71"/>
              <a:gd name="T48" fmla="*/ 187 w 307"/>
              <a:gd name="T49" fmla="*/ 4 h 71"/>
              <a:gd name="T50" fmla="*/ 177 w 307"/>
              <a:gd name="T51" fmla="*/ 0 h 71"/>
              <a:gd name="T52" fmla="*/ 241 w 307"/>
              <a:gd name="T53" fmla="*/ 3 h 71"/>
              <a:gd name="T54" fmla="*/ 307 w 307"/>
              <a:gd name="T55" fmla="*/ 6 h 71"/>
              <a:gd name="T56" fmla="*/ 264 w 307"/>
              <a:gd name="T57" fmla="*/ 12 h 71"/>
              <a:gd name="T58" fmla="*/ 220 w 307"/>
              <a:gd name="T59" fmla="*/ 18 h 71"/>
              <a:gd name="T60" fmla="*/ 271 w 307"/>
              <a:gd name="T61" fmla="*/ 13 h 71"/>
              <a:gd name="T62" fmla="*/ 225 w 307"/>
              <a:gd name="T63" fmla="*/ 23 h 71"/>
              <a:gd name="T64" fmla="*/ 177 w 307"/>
              <a:gd name="T65" fmla="*/ 31 h 71"/>
              <a:gd name="T66" fmla="*/ 132 w 307"/>
              <a:gd name="T67" fmla="*/ 36 h 71"/>
              <a:gd name="T68" fmla="*/ 157 w 307"/>
              <a:gd name="T69" fmla="*/ 40 h 71"/>
              <a:gd name="T70" fmla="*/ 124 w 307"/>
              <a:gd name="T71" fmla="*/ 42 h 71"/>
              <a:gd name="T72" fmla="*/ 151 w 307"/>
              <a:gd name="T73" fmla="*/ 45 h 71"/>
              <a:gd name="T74" fmla="*/ 112 w 307"/>
              <a:gd name="T75" fmla="*/ 53 h 71"/>
              <a:gd name="T76" fmla="*/ 109 w 307"/>
              <a:gd name="T77" fmla="*/ 59 h 71"/>
              <a:gd name="T78" fmla="*/ 77 w 307"/>
              <a:gd name="T79" fmla="*/ 60 h 71"/>
              <a:gd name="T80" fmla="*/ 102 w 307"/>
              <a:gd name="T81" fmla="*/ 69 h 71"/>
              <a:gd name="T82" fmla="*/ 70 w 307"/>
              <a:gd name="T83" fmla="*/ 71 h 71"/>
              <a:gd name="T84" fmla="*/ 35 w 307"/>
              <a:gd name="T85" fmla="*/ 70 h 71"/>
              <a:gd name="T86" fmla="*/ 0 w 307"/>
              <a:gd name="T87" fmla="*/ 69 h 71"/>
              <a:gd name="T88" fmla="*/ 24 w 307"/>
              <a:gd name="T89" fmla="*/ 61 h 71"/>
              <a:gd name="T90" fmla="*/ 19 w 307"/>
              <a:gd name="T91" fmla="*/ 55 h 71"/>
              <a:gd name="T92" fmla="*/ 57 w 307"/>
              <a:gd name="T93" fmla="*/ 59 h 71"/>
              <a:gd name="T94" fmla="*/ 76 w 307"/>
              <a:gd name="T95" fmla="*/ 52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7" h="71">
                <a:moveTo>
                  <a:pt x="76" y="52"/>
                </a:moveTo>
                <a:lnTo>
                  <a:pt x="57" y="58"/>
                </a:lnTo>
                <a:lnTo>
                  <a:pt x="46" y="53"/>
                </a:lnTo>
                <a:lnTo>
                  <a:pt x="55" y="49"/>
                </a:lnTo>
                <a:lnTo>
                  <a:pt x="36" y="46"/>
                </a:lnTo>
                <a:lnTo>
                  <a:pt x="84" y="41"/>
                </a:lnTo>
                <a:lnTo>
                  <a:pt x="64" y="28"/>
                </a:lnTo>
                <a:lnTo>
                  <a:pt x="91" y="27"/>
                </a:lnTo>
                <a:lnTo>
                  <a:pt x="103" y="31"/>
                </a:lnTo>
                <a:lnTo>
                  <a:pt x="96" y="25"/>
                </a:lnTo>
                <a:lnTo>
                  <a:pt x="141" y="19"/>
                </a:lnTo>
                <a:lnTo>
                  <a:pt x="163" y="15"/>
                </a:lnTo>
                <a:lnTo>
                  <a:pt x="117" y="18"/>
                </a:lnTo>
                <a:lnTo>
                  <a:pt x="70" y="22"/>
                </a:lnTo>
                <a:lnTo>
                  <a:pt x="109" y="17"/>
                </a:lnTo>
                <a:lnTo>
                  <a:pt x="63" y="23"/>
                </a:lnTo>
                <a:lnTo>
                  <a:pt x="48" y="19"/>
                </a:lnTo>
                <a:lnTo>
                  <a:pt x="93" y="16"/>
                </a:lnTo>
                <a:lnTo>
                  <a:pt x="46" y="17"/>
                </a:lnTo>
                <a:lnTo>
                  <a:pt x="75" y="15"/>
                </a:lnTo>
                <a:lnTo>
                  <a:pt x="39" y="12"/>
                </a:lnTo>
                <a:lnTo>
                  <a:pt x="87" y="7"/>
                </a:lnTo>
                <a:lnTo>
                  <a:pt x="147" y="11"/>
                </a:lnTo>
                <a:lnTo>
                  <a:pt x="139" y="1"/>
                </a:lnTo>
                <a:lnTo>
                  <a:pt x="187" y="4"/>
                </a:lnTo>
                <a:lnTo>
                  <a:pt x="177" y="0"/>
                </a:lnTo>
                <a:lnTo>
                  <a:pt x="241" y="3"/>
                </a:lnTo>
                <a:lnTo>
                  <a:pt x="307" y="6"/>
                </a:lnTo>
                <a:lnTo>
                  <a:pt x="264" y="12"/>
                </a:lnTo>
                <a:lnTo>
                  <a:pt x="220" y="18"/>
                </a:lnTo>
                <a:lnTo>
                  <a:pt x="271" y="13"/>
                </a:lnTo>
                <a:lnTo>
                  <a:pt x="225" y="23"/>
                </a:lnTo>
                <a:lnTo>
                  <a:pt x="177" y="31"/>
                </a:lnTo>
                <a:lnTo>
                  <a:pt x="132" y="36"/>
                </a:lnTo>
                <a:lnTo>
                  <a:pt x="157" y="40"/>
                </a:lnTo>
                <a:lnTo>
                  <a:pt x="124" y="42"/>
                </a:lnTo>
                <a:lnTo>
                  <a:pt x="151" y="45"/>
                </a:lnTo>
                <a:lnTo>
                  <a:pt x="112" y="53"/>
                </a:lnTo>
                <a:lnTo>
                  <a:pt x="109" y="59"/>
                </a:lnTo>
                <a:lnTo>
                  <a:pt x="77" y="60"/>
                </a:lnTo>
                <a:lnTo>
                  <a:pt x="102" y="69"/>
                </a:lnTo>
                <a:lnTo>
                  <a:pt x="70" y="71"/>
                </a:lnTo>
                <a:lnTo>
                  <a:pt x="35" y="70"/>
                </a:lnTo>
                <a:lnTo>
                  <a:pt x="0" y="69"/>
                </a:lnTo>
                <a:lnTo>
                  <a:pt x="24" y="61"/>
                </a:lnTo>
                <a:lnTo>
                  <a:pt x="19" y="55"/>
                </a:lnTo>
                <a:lnTo>
                  <a:pt x="57" y="59"/>
                </a:lnTo>
                <a:lnTo>
                  <a:pt x="76" y="52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0" name="Freeform 436">
            <a:extLst>
              <a:ext uri="{FF2B5EF4-FFF2-40B4-BE49-F238E27FC236}">
                <a16:creationId xmlns:a16="http://schemas.microsoft.com/office/drawing/2014/main" id="{253A93AB-F9F4-4ADD-883F-2768B6E37E7F}"/>
              </a:ext>
            </a:extLst>
          </p:cNvPr>
          <p:cNvSpPr>
            <a:spLocks/>
          </p:cNvSpPr>
          <p:nvPr/>
        </p:nvSpPr>
        <p:spPr bwMode="gray">
          <a:xfrm>
            <a:off x="2120323" y="1575459"/>
            <a:ext cx="326905" cy="138250"/>
          </a:xfrm>
          <a:custGeom>
            <a:avLst/>
            <a:gdLst>
              <a:gd name="T0" fmla="*/ 112 w 171"/>
              <a:gd name="T1" fmla="*/ 58 h 64"/>
              <a:gd name="T2" fmla="*/ 106 w 171"/>
              <a:gd name="T3" fmla="*/ 53 h 64"/>
              <a:gd name="T4" fmla="*/ 101 w 171"/>
              <a:gd name="T5" fmla="*/ 52 h 64"/>
              <a:gd name="T6" fmla="*/ 83 w 171"/>
              <a:gd name="T7" fmla="*/ 58 h 64"/>
              <a:gd name="T8" fmla="*/ 54 w 171"/>
              <a:gd name="T9" fmla="*/ 62 h 64"/>
              <a:gd name="T10" fmla="*/ 25 w 171"/>
              <a:gd name="T11" fmla="*/ 64 h 64"/>
              <a:gd name="T12" fmla="*/ 27 w 171"/>
              <a:gd name="T13" fmla="*/ 57 h 64"/>
              <a:gd name="T14" fmla="*/ 0 w 171"/>
              <a:gd name="T15" fmla="*/ 50 h 64"/>
              <a:gd name="T16" fmla="*/ 5 w 171"/>
              <a:gd name="T17" fmla="*/ 42 h 64"/>
              <a:gd name="T18" fmla="*/ 36 w 171"/>
              <a:gd name="T19" fmla="*/ 41 h 64"/>
              <a:gd name="T20" fmla="*/ 66 w 171"/>
              <a:gd name="T21" fmla="*/ 40 h 64"/>
              <a:gd name="T22" fmla="*/ 37 w 171"/>
              <a:gd name="T23" fmla="*/ 35 h 64"/>
              <a:gd name="T24" fmla="*/ 7 w 171"/>
              <a:gd name="T25" fmla="*/ 34 h 64"/>
              <a:gd name="T26" fmla="*/ 5 w 171"/>
              <a:gd name="T27" fmla="*/ 30 h 64"/>
              <a:gd name="T28" fmla="*/ 43 w 171"/>
              <a:gd name="T29" fmla="*/ 24 h 64"/>
              <a:gd name="T30" fmla="*/ 15 w 171"/>
              <a:gd name="T31" fmla="*/ 24 h 64"/>
              <a:gd name="T32" fmla="*/ 23 w 171"/>
              <a:gd name="T33" fmla="*/ 22 h 64"/>
              <a:gd name="T34" fmla="*/ 9 w 171"/>
              <a:gd name="T35" fmla="*/ 22 h 64"/>
              <a:gd name="T36" fmla="*/ 28 w 171"/>
              <a:gd name="T37" fmla="*/ 14 h 64"/>
              <a:gd name="T38" fmla="*/ 27 w 171"/>
              <a:gd name="T39" fmla="*/ 11 h 64"/>
              <a:gd name="T40" fmla="*/ 53 w 171"/>
              <a:gd name="T41" fmla="*/ 5 h 64"/>
              <a:gd name="T42" fmla="*/ 79 w 171"/>
              <a:gd name="T43" fmla="*/ 0 h 64"/>
              <a:gd name="T44" fmla="*/ 82 w 171"/>
              <a:gd name="T45" fmla="*/ 3 h 64"/>
              <a:gd name="T46" fmla="*/ 70 w 171"/>
              <a:gd name="T47" fmla="*/ 10 h 64"/>
              <a:gd name="T48" fmla="*/ 79 w 171"/>
              <a:gd name="T49" fmla="*/ 8 h 64"/>
              <a:gd name="T50" fmla="*/ 89 w 171"/>
              <a:gd name="T51" fmla="*/ 5 h 64"/>
              <a:gd name="T52" fmla="*/ 100 w 171"/>
              <a:gd name="T53" fmla="*/ 10 h 64"/>
              <a:gd name="T54" fmla="*/ 93 w 171"/>
              <a:gd name="T55" fmla="*/ 14 h 64"/>
              <a:gd name="T56" fmla="*/ 97 w 171"/>
              <a:gd name="T57" fmla="*/ 14 h 64"/>
              <a:gd name="T58" fmla="*/ 112 w 171"/>
              <a:gd name="T59" fmla="*/ 11 h 64"/>
              <a:gd name="T60" fmla="*/ 113 w 171"/>
              <a:gd name="T61" fmla="*/ 9 h 64"/>
              <a:gd name="T62" fmla="*/ 114 w 171"/>
              <a:gd name="T63" fmla="*/ 5 h 64"/>
              <a:gd name="T64" fmla="*/ 126 w 171"/>
              <a:gd name="T65" fmla="*/ 10 h 64"/>
              <a:gd name="T66" fmla="*/ 119 w 171"/>
              <a:gd name="T67" fmla="*/ 22 h 64"/>
              <a:gd name="T68" fmla="*/ 130 w 171"/>
              <a:gd name="T69" fmla="*/ 18 h 64"/>
              <a:gd name="T70" fmla="*/ 139 w 171"/>
              <a:gd name="T71" fmla="*/ 3 h 64"/>
              <a:gd name="T72" fmla="*/ 156 w 171"/>
              <a:gd name="T73" fmla="*/ 2 h 64"/>
              <a:gd name="T74" fmla="*/ 160 w 171"/>
              <a:gd name="T75" fmla="*/ 11 h 64"/>
              <a:gd name="T76" fmla="*/ 149 w 171"/>
              <a:gd name="T77" fmla="*/ 28 h 64"/>
              <a:gd name="T78" fmla="*/ 150 w 171"/>
              <a:gd name="T79" fmla="*/ 36 h 64"/>
              <a:gd name="T80" fmla="*/ 154 w 171"/>
              <a:gd name="T81" fmla="*/ 36 h 64"/>
              <a:gd name="T82" fmla="*/ 171 w 171"/>
              <a:gd name="T83" fmla="*/ 42 h 64"/>
              <a:gd name="T84" fmla="*/ 168 w 171"/>
              <a:gd name="T85" fmla="*/ 45 h 64"/>
              <a:gd name="T86" fmla="*/ 161 w 171"/>
              <a:gd name="T87" fmla="*/ 48 h 64"/>
              <a:gd name="T88" fmla="*/ 162 w 171"/>
              <a:gd name="T89" fmla="*/ 45 h 64"/>
              <a:gd name="T90" fmla="*/ 155 w 171"/>
              <a:gd name="T91" fmla="*/ 47 h 64"/>
              <a:gd name="T92" fmla="*/ 151 w 171"/>
              <a:gd name="T93" fmla="*/ 47 h 64"/>
              <a:gd name="T94" fmla="*/ 143 w 171"/>
              <a:gd name="T95" fmla="*/ 51 h 64"/>
              <a:gd name="T96" fmla="*/ 139 w 171"/>
              <a:gd name="T97" fmla="*/ 50 h 64"/>
              <a:gd name="T98" fmla="*/ 135 w 171"/>
              <a:gd name="T99" fmla="*/ 56 h 64"/>
              <a:gd name="T100" fmla="*/ 151 w 171"/>
              <a:gd name="T101" fmla="*/ 51 h 64"/>
              <a:gd name="T102" fmla="*/ 149 w 171"/>
              <a:gd name="T103" fmla="*/ 54 h 64"/>
              <a:gd name="T104" fmla="*/ 144 w 171"/>
              <a:gd name="T105" fmla="*/ 58 h 64"/>
              <a:gd name="T106" fmla="*/ 112 w 171"/>
              <a:gd name="T107" fmla="*/ 58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71" h="64">
                <a:moveTo>
                  <a:pt x="112" y="58"/>
                </a:moveTo>
                <a:lnTo>
                  <a:pt x="106" y="53"/>
                </a:lnTo>
                <a:lnTo>
                  <a:pt x="101" y="52"/>
                </a:lnTo>
                <a:lnTo>
                  <a:pt x="83" y="58"/>
                </a:lnTo>
                <a:lnTo>
                  <a:pt x="54" y="62"/>
                </a:lnTo>
                <a:lnTo>
                  <a:pt x="25" y="64"/>
                </a:lnTo>
                <a:lnTo>
                  <a:pt x="27" y="57"/>
                </a:lnTo>
                <a:lnTo>
                  <a:pt x="0" y="50"/>
                </a:lnTo>
                <a:lnTo>
                  <a:pt x="5" y="42"/>
                </a:lnTo>
                <a:lnTo>
                  <a:pt x="36" y="41"/>
                </a:lnTo>
                <a:lnTo>
                  <a:pt x="66" y="40"/>
                </a:lnTo>
                <a:lnTo>
                  <a:pt x="37" y="35"/>
                </a:lnTo>
                <a:lnTo>
                  <a:pt x="7" y="34"/>
                </a:lnTo>
                <a:lnTo>
                  <a:pt x="5" y="30"/>
                </a:lnTo>
                <a:lnTo>
                  <a:pt x="43" y="24"/>
                </a:lnTo>
                <a:lnTo>
                  <a:pt x="15" y="24"/>
                </a:lnTo>
                <a:lnTo>
                  <a:pt x="23" y="22"/>
                </a:lnTo>
                <a:lnTo>
                  <a:pt x="9" y="22"/>
                </a:lnTo>
                <a:lnTo>
                  <a:pt x="28" y="14"/>
                </a:lnTo>
                <a:lnTo>
                  <a:pt x="27" y="11"/>
                </a:lnTo>
                <a:lnTo>
                  <a:pt x="53" y="5"/>
                </a:lnTo>
                <a:lnTo>
                  <a:pt x="79" y="0"/>
                </a:lnTo>
                <a:lnTo>
                  <a:pt x="82" y="3"/>
                </a:lnTo>
                <a:lnTo>
                  <a:pt x="70" y="10"/>
                </a:lnTo>
                <a:lnTo>
                  <a:pt x="79" y="8"/>
                </a:lnTo>
                <a:lnTo>
                  <a:pt x="89" y="5"/>
                </a:lnTo>
                <a:lnTo>
                  <a:pt x="100" y="10"/>
                </a:lnTo>
                <a:lnTo>
                  <a:pt x="93" y="14"/>
                </a:lnTo>
                <a:lnTo>
                  <a:pt x="97" y="14"/>
                </a:lnTo>
                <a:lnTo>
                  <a:pt x="112" y="11"/>
                </a:lnTo>
                <a:lnTo>
                  <a:pt x="113" y="9"/>
                </a:lnTo>
                <a:lnTo>
                  <a:pt x="114" y="5"/>
                </a:lnTo>
                <a:lnTo>
                  <a:pt x="126" y="10"/>
                </a:lnTo>
                <a:lnTo>
                  <a:pt x="119" y="22"/>
                </a:lnTo>
                <a:lnTo>
                  <a:pt x="130" y="18"/>
                </a:lnTo>
                <a:lnTo>
                  <a:pt x="139" y="3"/>
                </a:lnTo>
                <a:lnTo>
                  <a:pt x="156" y="2"/>
                </a:lnTo>
                <a:lnTo>
                  <a:pt x="160" y="11"/>
                </a:lnTo>
                <a:lnTo>
                  <a:pt x="149" y="28"/>
                </a:lnTo>
                <a:lnTo>
                  <a:pt x="150" y="36"/>
                </a:lnTo>
                <a:lnTo>
                  <a:pt x="154" y="36"/>
                </a:lnTo>
                <a:lnTo>
                  <a:pt x="171" y="42"/>
                </a:lnTo>
                <a:lnTo>
                  <a:pt x="168" y="45"/>
                </a:lnTo>
                <a:lnTo>
                  <a:pt x="161" y="48"/>
                </a:lnTo>
                <a:lnTo>
                  <a:pt x="162" y="45"/>
                </a:lnTo>
                <a:lnTo>
                  <a:pt x="155" y="47"/>
                </a:lnTo>
                <a:lnTo>
                  <a:pt x="151" y="47"/>
                </a:lnTo>
                <a:lnTo>
                  <a:pt x="143" y="51"/>
                </a:lnTo>
                <a:lnTo>
                  <a:pt x="139" y="50"/>
                </a:lnTo>
                <a:lnTo>
                  <a:pt x="135" y="56"/>
                </a:lnTo>
                <a:lnTo>
                  <a:pt x="151" y="51"/>
                </a:lnTo>
                <a:lnTo>
                  <a:pt x="149" y="54"/>
                </a:lnTo>
                <a:lnTo>
                  <a:pt x="144" y="58"/>
                </a:lnTo>
                <a:lnTo>
                  <a:pt x="112" y="58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1" name="Freeform 437">
            <a:extLst>
              <a:ext uri="{FF2B5EF4-FFF2-40B4-BE49-F238E27FC236}">
                <a16:creationId xmlns:a16="http://schemas.microsoft.com/office/drawing/2014/main" id="{B635C0D3-7F6D-4B3B-98C8-7706363EADE3}"/>
              </a:ext>
            </a:extLst>
          </p:cNvPr>
          <p:cNvSpPr>
            <a:spLocks/>
          </p:cNvSpPr>
          <p:nvPr/>
        </p:nvSpPr>
        <p:spPr bwMode="gray">
          <a:xfrm>
            <a:off x="2022250" y="1544305"/>
            <a:ext cx="237438" cy="95410"/>
          </a:xfrm>
          <a:custGeom>
            <a:avLst/>
            <a:gdLst>
              <a:gd name="T0" fmla="*/ 56 w 123"/>
              <a:gd name="T1" fmla="*/ 30 h 43"/>
              <a:gd name="T2" fmla="*/ 37 w 123"/>
              <a:gd name="T3" fmla="*/ 40 h 43"/>
              <a:gd name="T4" fmla="*/ 9 w 123"/>
              <a:gd name="T5" fmla="*/ 43 h 43"/>
              <a:gd name="T6" fmla="*/ 5 w 123"/>
              <a:gd name="T7" fmla="*/ 35 h 43"/>
              <a:gd name="T8" fmla="*/ 0 w 123"/>
              <a:gd name="T9" fmla="*/ 30 h 43"/>
              <a:gd name="T10" fmla="*/ 18 w 123"/>
              <a:gd name="T11" fmla="*/ 22 h 43"/>
              <a:gd name="T12" fmla="*/ 24 w 123"/>
              <a:gd name="T13" fmla="*/ 18 h 43"/>
              <a:gd name="T14" fmla="*/ 45 w 123"/>
              <a:gd name="T15" fmla="*/ 8 h 43"/>
              <a:gd name="T16" fmla="*/ 44 w 123"/>
              <a:gd name="T17" fmla="*/ 1 h 43"/>
              <a:gd name="T18" fmla="*/ 83 w 123"/>
              <a:gd name="T19" fmla="*/ 0 h 43"/>
              <a:gd name="T20" fmla="*/ 92 w 123"/>
              <a:gd name="T21" fmla="*/ 4 h 43"/>
              <a:gd name="T22" fmla="*/ 95 w 123"/>
              <a:gd name="T23" fmla="*/ 5 h 43"/>
              <a:gd name="T24" fmla="*/ 115 w 123"/>
              <a:gd name="T25" fmla="*/ 4 h 43"/>
              <a:gd name="T26" fmla="*/ 123 w 123"/>
              <a:gd name="T27" fmla="*/ 12 h 43"/>
              <a:gd name="T28" fmla="*/ 96 w 123"/>
              <a:gd name="T29" fmla="*/ 19 h 43"/>
              <a:gd name="T30" fmla="*/ 68 w 123"/>
              <a:gd name="T31" fmla="*/ 26 h 43"/>
              <a:gd name="T32" fmla="*/ 56 w 123"/>
              <a:gd name="T33" fmla="*/ 3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3" h="43">
                <a:moveTo>
                  <a:pt x="56" y="30"/>
                </a:moveTo>
                <a:lnTo>
                  <a:pt x="37" y="40"/>
                </a:lnTo>
                <a:lnTo>
                  <a:pt x="9" y="43"/>
                </a:lnTo>
                <a:lnTo>
                  <a:pt x="5" y="35"/>
                </a:lnTo>
                <a:lnTo>
                  <a:pt x="0" y="30"/>
                </a:lnTo>
                <a:lnTo>
                  <a:pt x="18" y="22"/>
                </a:lnTo>
                <a:lnTo>
                  <a:pt x="24" y="18"/>
                </a:lnTo>
                <a:lnTo>
                  <a:pt x="45" y="8"/>
                </a:lnTo>
                <a:lnTo>
                  <a:pt x="44" y="1"/>
                </a:lnTo>
                <a:lnTo>
                  <a:pt x="83" y="0"/>
                </a:lnTo>
                <a:lnTo>
                  <a:pt x="92" y="4"/>
                </a:lnTo>
                <a:lnTo>
                  <a:pt x="95" y="5"/>
                </a:lnTo>
                <a:lnTo>
                  <a:pt x="115" y="4"/>
                </a:lnTo>
                <a:lnTo>
                  <a:pt x="123" y="12"/>
                </a:lnTo>
                <a:lnTo>
                  <a:pt x="96" y="19"/>
                </a:lnTo>
                <a:lnTo>
                  <a:pt x="68" y="26"/>
                </a:lnTo>
                <a:lnTo>
                  <a:pt x="56" y="3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2" name="Freeform 438">
            <a:extLst>
              <a:ext uri="{FF2B5EF4-FFF2-40B4-BE49-F238E27FC236}">
                <a16:creationId xmlns:a16="http://schemas.microsoft.com/office/drawing/2014/main" id="{CD75E002-BED9-4292-85C4-6CBE0E9E6E86}"/>
              </a:ext>
            </a:extLst>
          </p:cNvPr>
          <p:cNvSpPr>
            <a:spLocks/>
          </p:cNvSpPr>
          <p:nvPr/>
        </p:nvSpPr>
        <p:spPr bwMode="gray">
          <a:xfrm>
            <a:off x="2994365" y="2255018"/>
            <a:ext cx="160014" cy="165509"/>
          </a:xfrm>
          <a:custGeom>
            <a:avLst/>
            <a:gdLst>
              <a:gd name="T0" fmla="*/ 42 w 83"/>
              <a:gd name="T1" fmla="*/ 61 h 76"/>
              <a:gd name="T2" fmla="*/ 44 w 83"/>
              <a:gd name="T3" fmla="*/ 57 h 76"/>
              <a:gd name="T4" fmla="*/ 20 w 83"/>
              <a:gd name="T5" fmla="*/ 61 h 76"/>
              <a:gd name="T6" fmla="*/ 0 w 83"/>
              <a:gd name="T7" fmla="*/ 58 h 76"/>
              <a:gd name="T8" fmla="*/ 5 w 83"/>
              <a:gd name="T9" fmla="*/ 52 h 76"/>
              <a:gd name="T10" fmla="*/ 15 w 83"/>
              <a:gd name="T11" fmla="*/ 46 h 76"/>
              <a:gd name="T12" fmla="*/ 4 w 83"/>
              <a:gd name="T13" fmla="*/ 46 h 76"/>
              <a:gd name="T14" fmla="*/ 9 w 83"/>
              <a:gd name="T15" fmla="*/ 44 h 76"/>
              <a:gd name="T16" fmla="*/ 21 w 83"/>
              <a:gd name="T17" fmla="*/ 38 h 76"/>
              <a:gd name="T18" fmla="*/ 22 w 83"/>
              <a:gd name="T19" fmla="*/ 39 h 76"/>
              <a:gd name="T20" fmla="*/ 24 w 83"/>
              <a:gd name="T21" fmla="*/ 34 h 76"/>
              <a:gd name="T22" fmla="*/ 21 w 83"/>
              <a:gd name="T23" fmla="*/ 32 h 76"/>
              <a:gd name="T24" fmla="*/ 27 w 83"/>
              <a:gd name="T25" fmla="*/ 30 h 76"/>
              <a:gd name="T26" fmla="*/ 40 w 83"/>
              <a:gd name="T27" fmla="*/ 13 h 76"/>
              <a:gd name="T28" fmla="*/ 54 w 83"/>
              <a:gd name="T29" fmla="*/ 1 h 76"/>
              <a:gd name="T30" fmla="*/ 60 w 83"/>
              <a:gd name="T31" fmla="*/ 0 h 76"/>
              <a:gd name="T32" fmla="*/ 66 w 83"/>
              <a:gd name="T33" fmla="*/ 0 h 76"/>
              <a:gd name="T34" fmla="*/ 57 w 83"/>
              <a:gd name="T35" fmla="*/ 4 h 76"/>
              <a:gd name="T36" fmla="*/ 59 w 83"/>
              <a:gd name="T37" fmla="*/ 7 h 76"/>
              <a:gd name="T38" fmla="*/ 54 w 83"/>
              <a:gd name="T39" fmla="*/ 12 h 76"/>
              <a:gd name="T40" fmla="*/ 39 w 83"/>
              <a:gd name="T41" fmla="*/ 30 h 76"/>
              <a:gd name="T42" fmla="*/ 51 w 83"/>
              <a:gd name="T43" fmla="*/ 21 h 76"/>
              <a:gd name="T44" fmla="*/ 48 w 83"/>
              <a:gd name="T45" fmla="*/ 24 h 76"/>
              <a:gd name="T46" fmla="*/ 58 w 83"/>
              <a:gd name="T47" fmla="*/ 24 h 76"/>
              <a:gd name="T48" fmla="*/ 50 w 83"/>
              <a:gd name="T49" fmla="*/ 28 h 76"/>
              <a:gd name="T50" fmla="*/ 50 w 83"/>
              <a:gd name="T51" fmla="*/ 31 h 76"/>
              <a:gd name="T52" fmla="*/ 58 w 83"/>
              <a:gd name="T53" fmla="*/ 32 h 76"/>
              <a:gd name="T54" fmla="*/ 57 w 83"/>
              <a:gd name="T55" fmla="*/ 36 h 76"/>
              <a:gd name="T56" fmla="*/ 69 w 83"/>
              <a:gd name="T57" fmla="*/ 31 h 76"/>
              <a:gd name="T58" fmla="*/ 68 w 83"/>
              <a:gd name="T59" fmla="*/ 34 h 76"/>
              <a:gd name="T60" fmla="*/ 78 w 83"/>
              <a:gd name="T61" fmla="*/ 33 h 76"/>
              <a:gd name="T62" fmla="*/ 70 w 83"/>
              <a:gd name="T63" fmla="*/ 42 h 76"/>
              <a:gd name="T64" fmla="*/ 72 w 83"/>
              <a:gd name="T65" fmla="*/ 44 h 76"/>
              <a:gd name="T66" fmla="*/ 68 w 83"/>
              <a:gd name="T67" fmla="*/ 48 h 76"/>
              <a:gd name="T68" fmla="*/ 83 w 83"/>
              <a:gd name="T69" fmla="*/ 45 h 76"/>
              <a:gd name="T70" fmla="*/ 69 w 83"/>
              <a:gd name="T71" fmla="*/ 52 h 76"/>
              <a:gd name="T72" fmla="*/ 71 w 83"/>
              <a:gd name="T73" fmla="*/ 56 h 76"/>
              <a:gd name="T74" fmla="*/ 70 w 83"/>
              <a:gd name="T75" fmla="*/ 56 h 76"/>
              <a:gd name="T76" fmla="*/ 69 w 83"/>
              <a:gd name="T77" fmla="*/ 61 h 76"/>
              <a:gd name="T78" fmla="*/ 82 w 83"/>
              <a:gd name="T79" fmla="*/ 51 h 76"/>
              <a:gd name="T80" fmla="*/ 76 w 83"/>
              <a:gd name="T81" fmla="*/ 61 h 76"/>
              <a:gd name="T82" fmla="*/ 82 w 83"/>
              <a:gd name="T83" fmla="*/ 57 h 76"/>
              <a:gd name="T84" fmla="*/ 83 w 83"/>
              <a:gd name="T85" fmla="*/ 62 h 76"/>
              <a:gd name="T86" fmla="*/ 72 w 83"/>
              <a:gd name="T87" fmla="*/ 76 h 76"/>
              <a:gd name="T88" fmla="*/ 68 w 83"/>
              <a:gd name="T89" fmla="*/ 73 h 76"/>
              <a:gd name="T90" fmla="*/ 68 w 83"/>
              <a:gd name="T91" fmla="*/ 69 h 76"/>
              <a:gd name="T92" fmla="*/ 60 w 83"/>
              <a:gd name="T93" fmla="*/ 72 h 76"/>
              <a:gd name="T94" fmla="*/ 66 w 83"/>
              <a:gd name="T95" fmla="*/ 61 h 76"/>
              <a:gd name="T96" fmla="*/ 64 w 83"/>
              <a:gd name="T97" fmla="*/ 56 h 76"/>
              <a:gd name="T98" fmla="*/ 57 w 83"/>
              <a:gd name="T99" fmla="*/ 64 h 76"/>
              <a:gd name="T100" fmla="*/ 60 w 83"/>
              <a:gd name="T101" fmla="*/ 61 h 76"/>
              <a:gd name="T102" fmla="*/ 41 w 83"/>
              <a:gd name="T103" fmla="*/ 73 h 76"/>
              <a:gd name="T104" fmla="*/ 40 w 83"/>
              <a:gd name="T105" fmla="*/ 69 h 76"/>
              <a:gd name="T106" fmla="*/ 57 w 83"/>
              <a:gd name="T107" fmla="*/ 60 h 76"/>
              <a:gd name="T108" fmla="*/ 52 w 83"/>
              <a:gd name="T109" fmla="*/ 61 h 76"/>
              <a:gd name="T110" fmla="*/ 54 w 83"/>
              <a:gd name="T111" fmla="*/ 57 h 76"/>
              <a:gd name="T112" fmla="*/ 48 w 83"/>
              <a:gd name="T113" fmla="*/ 60 h 76"/>
              <a:gd name="T114" fmla="*/ 42 w 83"/>
              <a:gd name="T115" fmla="*/ 63 h 76"/>
              <a:gd name="T116" fmla="*/ 38 w 83"/>
              <a:gd name="T117" fmla="*/ 62 h 76"/>
              <a:gd name="T118" fmla="*/ 42 w 83"/>
              <a:gd name="T119" fmla="*/ 61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3" h="76">
                <a:moveTo>
                  <a:pt x="42" y="61"/>
                </a:moveTo>
                <a:lnTo>
                  <a:pt x="44" y="57"/>
                </a:lnTo>
                <a:lnTo>
                  <a:pt x="20" y="61"/>
                </a:lnTo>
                <a:lnTo>
                  <a:pt x="0" y="58"/>
                </a:lnTo>
                <a:lnTo>
                  <a:pt x="5" y="52"/>
                </a:lnTo>
                <a:lnTo>
                  <a:pt x="15" y="46"/>
                </a:lnTo>
                <a:lnTo>
                  <a:pt x="4" y="46"/>
                </a:lnTo>
                <a:lnTo>
                  <a:pt x="9" y="44"/>
                </a:lnTo>
                <a:lnTo>
                  <a:pt x="21" y="38"/>
                </a:lnTo>
                <a:lnTo>
                  <a:pt x="22" y="39"/>
                </a:lnTo>
                <a:lnTo>
                  <a:pt x="24" y="34"/>
                </a:lnTo>
                <a:lnTo>
                  <a:pt x="21" y="32"/>
                </a:lnTo>
                <a:lnTo>
                  <a:pt x="27" y="30"/>
                </a:lnTo>
                <a:lnTo>
                  <a:pt x="40" y="13"/>
                </a:lnTo>
                <a:lnTo>
                  <a:pt x="54" y="1"/>
                </a:lnTo>
                <a:lnTo>
                  <a:pt x="60" y="0"/>
                </a:lnTo>
                <a:lnTo>
                  <a:pt x="66" y="0"/>
                </a:lnTo>
                <a:lnTo>
                  <a:pt x="57" y="4"/>
                </a:lnTo>
                <a:lnTo>
                  <a:pt x="59" y="7"/>
                </a:lnTo>
                <a:lnTo>
                  <a:pt x="54" y="12"/>
                </a:lnTo>
                <a:lnTo>
                  <a:pt x="39" y="30"/>
                </a:lnTo>
                <a:lnTo>
                  <a:pt x="51" y="21"/>
                </a:lnTo>
                <a:lnTo>
                  <a:pt x="48" y="24"/>
                </a:lnTo>
                <a:lnTo>
                  <a:pt x="58" y="24"/>
                </a:lnTo>
                <a:lnTo>
                  <a:pt x="50" y="28"/>
                </a:lnTo>
                <a:lnTo>
                  <a:pt x="50" y="31"/>
                </a:lnTo>
                <a:lnTo>
                  <a:pt x="58" y="32"/>
                </a:lnTo>
                <a:lnTo>
                  <a:pt x="57" y="36"/>
                </a:lnTo>
                <a:lnTo>
                  <a:pt x="69" y="31"/>
                </a:lnTo>
                <a:lnTo>
                  <a:pt x="68" y="34"/>
                </a:lnTo>
                <a:lnTo>
                  <a:pt x="78" y="33"/>
                </a:lnTo>
                <a:lnTo>
                  <a:pt x="70" y="42"/>
                </a:lnTo>
                <a:lnTo>
                  <a:pt x="72" y="44"/>
                </a:lnTo>
                <a:lnTo>
                  <a:pt x="68" y="48"/>
                </a:lnTo>
                <a:lnTo>
                  <a:pt x="83" y="45"/>
                </a:lnTo>
                <a:lnTo>
                  <a:pt x="69" y="52"/>
                </a:lnTo>
                <a:lnTo>
                  <a:pt x="71" y="56"/>
                </a:lnTo>
                <a:lnTo>
                  <a:pt x="70" y="56"/>
                </a:lnTo>
                <a:lnTo>
                  <a:pt x="69" y="61"/>
                </a:lnTo>
                <a:lnTo>
                  <a:pt x="82" y="51"/>
                </a:lnTo>
                <a:lnTo>
                  <a:pt x="76" y="61"/>
                </a:lnTo>
                <a:lnTo>
                  <a:pt x="82" y="57"/>
                </a:lnTo>
                <a:lnTo>
                  <a:pt x="83" y="62"/>
                </a:lnTo>
                <a:lnTo>
                  <a:pt x="72" y="76"/>
                </a:lnTo>
                <a:lnTo>
                  <a:pt x="68" y="73"/>
                </a:lnTo>
                <a:lnTo>
                  <a:pt x="68" y="69"/>
                </a:lnTo>
                <a:lnTo>
                  <a:pt x="60" y="72"/>
                </a:lnTo>
                <a:lnTo>
                  <a:pt x="66" y="61"/>
                </a:lnTo>
                <a:lnTo>
                  <a:pt x="64" y="56"/>
                </a:lnTo>
                <a:lnTo>
                  <a:pt x="57" y="64"/>
                </a:lnTo>
                <a:lnTo>
                  <a:pt x="60" y="61"/>
                </a:lnTo>
                <a:lnTo>
                  <a:pt x="41" y="73"/>
                </a:lnTo>
                <a:lnTo>
                  <a:pt x="40" y="69"/>
                </a:lnTo>
                <a:lnTo>
                  <a:pt x="57" y="60"/>
                </a:lnTo>
                <a:lnTo>
                  <a:pt x="52" y="61"/>
                </a:lnTo>
                <a:lnTo>
                  <a:pt x="54" y="57"/>
                </a:lnTo>
                <a:lnTo>
                  <a:pt x="48" y="60"/>
                </a:lnTo>
                <a:lnTo>
                  <a:pt x="42" y="63"/>
                </a:lnTo>
                <a:lnTo>
                  <a:pt x="38" y="62"/>
                </a:lnTo>
                <a:lnTo>
                  <a:pt x="42" y="61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3" name="Freeform 439">
            <a:extLst>
              <a:ext uri="{FF2B5EF4-FFF2-40B4-BE49-F238E27FC236}">
                <a16:creationId xmlns:a16="http://schemas.microsoft.com/office/drawing/2014/main" id="{49CBA05B-4E77-4B3E-BC41-231998A58DDF}"/>
              </a:ext>
            </a:extLst>
          </p:cNvPr>
          <p:cNvSpPr>
            <a:spLocks/>
          </p:cNvSpPr>
          <p:nvPr/>
        </p:nvSpPr>
        <p:spPr bwMode="gray">
          <a:xfrm>
            <a:off x="2688105" y="1483943"/>
            <a:ext cx="278732" cy="52573"/>
          </a:xfrm>
          <a:custGeom>
            <a:avLst/>
            <a:gdLst>
              <a:gd name="T0" fmla="*/ 58 w 146"/>
              <a:gd name="T1" fmla="*/ 13 h 25"/>
              <a:gd name="T2" fmla="*/ 44 w 146"/>
              <a:gd name="T3" fmla="*/ 7 h 25"/>
              <a:gd name="T4" fmla="*/ 64 w 146"/>
              <a:gd name="T5" fmla="*/ 7 h 25"/>
              <a:gd name="T6" fmla="*/ 26 w 146"/>
              <a:gd name="T7" fmla="*/ 5 h 25"/>
              <a:gd name="T8" fmla="*/ 33 w 146"/>
              <a:gd name="T9" fmla="*/ 0 h 25"/>
              <a:gd name="T10" fmla="*/ 0 w 146"/>
              <a:gd name="T11" fmla="*/ 1 h 25"/>
              <a:gd name="T12" fmla="*/ 31 w 146"/>
              <a:gd name="T13" fmla="*/ 6 h 25"/>
              <a:gd name="T14" fmla="*/ 25 w 146"/>
              <a:gd name="T15" fmla="*/ 16 h 25"/>
              <a:gd name="T16" fmla="*/ 20 w 146"/>
              <a:gd name="T17" fmla="*/ 25 h 25"/>
              <a:gd name="T18" fmla="*/ 51 w 146"/>
              <a:gd name="T19" fmla="*/ 25 h 25"/>
              <a:gd name="T20" fmla="*/ 81 w 146"/>
              <a:gd name="T21" fmla="*/ 24 h 25"/>
              <a:gd name="T22" fmla="*/ 111 w 146"/>
              <a:gd name="T23" fmla="*/ 24 h 25"/>
              <a:gd name="T24" fmla="*/ 142 w 146"/>
              <a:gd name="T25" fmla="*/ 23 h 25"/>
              <a:gd name="T26" fmla="*/ 146 w 146"/>
              <a:gd name="T27" fmla="*/ 17 h 25"/>
              <a:gd name="T28" fmla="*/ 122 w 146"/>
              <a:gd name="T29" fmla="*/ 12 h 25"/>
              <a:gd name="T30" fmla="*/ 91 w 146"/>
              <a:gd name="T31" fmla="*/ 12 h 25"/>
              <a:gd name="T32" fmla="*/ 58 w 146"/>
              <a:gd name="T33" fmla="*/ 13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46" h="25">
                <a:moveTo>
                  <a:pt x="58" y="13"/>
                </a:moveTo>
                <a:lnTo>
                  <a:pt x="44" y="7"/>
                </a:lnTo>
                <a:lnTo>
                  <a:pt x="64" y="7"/>
                </a:lnTo>
                <a:lnTo>
                  <a:pt x="26" y="5"/>
                </a:lnTo>
                <a:lnTo>
                  <a:pt x="33" y="0"/>
                </a:lnTo>
                <a:lnTo>
                  <a:pt x="0" y="1"/>
                </a:lnTo>
                <a:lnTo>
                  <a:pt x="31" y="6"/>
                </a:lnTo>
                <a:lnTo>
                  <a:pt x="25" y="16"/>
                </a:lnTo>
                <a:lnTo>
                  <a:pt x="20" y="25"/>
                </a:lnTo>
                <a:lnTo>
                  <a:pt x="51" y="25"/>
                </a:lnTo>
                <a:lnTo>
                  <a:pt x="81" y="24"/>
                </a:lnTo>
                <a:lnTo>
                  <a:pt x="111" y="24"/>
                </a:lnTo>
                <a:lnTo>
                  <a:pt x="142" y="23"/>
                </a:lnTo>
                <a:lnTo>
                  <a:pt x="146" y="17"/>
                </a:lnTo>
                <a:lnTo>
                  <a:pt x="122" y="12"/>
                </a:lnTo>
                <a:lnTo>
                  <a:pt x="91" y="12"/>
                </a:lnTo>
                <a:lnTo>
                  <a:pt x="58" y="13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4" name="Freeform 440">
            <a:extLst>
              <a:ext uri="{FF2B5EF4-FFF2-40B4-BE49-F238E27FC236}">
                <a16:creationId xmlns:a16="http://schemas.microsoft.com/office/drawing/2014/main" id="{CAD60727-48FC-4969-8934-FE4C8B485D20}"/>
              </a:ext>
            </a:extLst>
          </p:cNvPr>
          <p:cNvSpPr>
            <a:spLocks/>
          </p:cNvSpPr>
          <p:nvPr/>
        </p:nvSpPr>
        <p:spPr bwMode="gray">
          <a:xfrm>
            <a:off x="2782737" y="1380743"/>
            <a:ext cx="180659" cy="70097"/>
          </a:xfrm>
          <a:custGeom>
            <a:avLst/>
            <a:gdLst>
              <a:gd name="T0" fmla="*/ 20 w 94"/>
              <a:gd name="T1" fmla="*/ 9 h 33"/>
              <a:gd name="T2" fmla="*/ 13 w 94"/>
              <a:gd name="T3" fmla="*/ 5 h 33"/>
              <a:gd name="T4" fmla="*/ 44 w 94"/>
              <a:gd name="T5" fmla="*/ 0 h 33"/>
              <a:gd name="T6" fmla="*/ 83 w 94"/>
              <a:gd name="T7" fmla="*/ 6 h 33"/>
              <a:gd name="T8" fmla="*/ 74 w 94"/>
              <a:gd name="T9" fmla="*/ 16 h 33"/>
              <a:gd name="T10" fmla="*/ 94 w 94"/>
              <a:gd name="T11" fmla="*/ 19 h 33"/>
              <a:gd name="T12" fmla="*/ 60 w 94"/>
              <a:gd name="T13" fmla="*/ 25 h 33"/>
              <a:gd name="T14" fmla="*/ 46 w 94"/>
              <a:gd name="T15" fmla="*/ 31 h 33"/>
              <a:gd name="T16" fmla="*/ 40 w 94"/>
              <a:gd name="T17" fmla="*/ 27 h 33"/>
              <a:gd name="T18" fmla="*/ 38 w 94"/>
              <a:gd name="T19" fmla="*/ 33 h 33"/>
              <a:gd name="T20" fmla="*/ 6 w 94"/>
              <a:gd name="T21" fmla="*/ 23 h 33"/>
              <a:gd name="T22" fmla="*/ 44 w 94"/>
              <a:gd name="T23" fmla="*/ 19 h 33"/>
              <a:gd name="T24" fmla="*/ 0 w 94"/>
              <a:gd name="T25" fmla="*/ 15 h 33"/>
              <a:gd name="T26" fmla="*/ 20 w 94"/>
              <a:gd name="T27" fmla="*/ 9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4" h="33">
                <a:moveTo>
                  <a:pt x="20" y="9"/>
                </a:moveTo>
                <a:lnTo>
                  <a:pt x="13" y="5"/>
                </a:lnTo>
                <a:lnTo>
                  <a:pt x="44" y="0"/>
                </a:lnTo>
                <a:lnTo>
                  <a:pt x="83" y="6"/>
                </a:lnTo>
                <a:lnTo>
                  <a:pt x="74" y="16"/>
                </a:lnTo>
                <a:lnTo>
                  <a:pt x="94" y="19"/>
                </a:lnTo>
                <a:lnTo>
                  <a:pt x="60" y="25"/>
                </a:lnTo>
                <a:lnTo>
                  <a:pt x="46" y="31"/>
                </a:lnTo>
                <a:lnTo>
                  <a:pt x="40" y="27"/>
                </a:lnTo>
                <a:lnTo>
                  <a:pt x="38" y="33"/>
                </a:lnTo>
                <a:lnTo>
                  <a:pt x="6" y="23"/>
                </a:lnTo>
                <a:lnTo>
                  <a:pt x="44" y="19"/>
                </a:lnTo>
                <a:lnTo>
                  <a:pt x="0" y="15"/>
                </a:lnTo>
                <a:lnTo>
                  <a:pt x="20" y="9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5" name="Freeform 441">
            <a:extLst>
              <a:ext uri="{FF2B5EF4-FFF2-40B4-BE49-F238E27FC236}">
                <a16:creationId xmlns:a16="http://schemas.microsoft.com/office/drawing/2014/main" id="{000499F6-D1D2-4220-986A-F740D89C7DBC}"/>
              </a:ext>
            </a:extLst>
          </p:cNvPr>
          <p:cNvSpPr>
            <a:spLocks/>
          </p:cNvSpPr>
          <p:nvPr/>
        </p:nvSpPr>
        <p:spPr bwMode="gray">
          <a:xfrm>
            <a:off x="2270010" y="1483943"/>
            <a:ext cx="237438" cy="60360"/>
          </a:xfrm>
          <a:custGeom>
            <a:avLst/>
            <a:gdLst>
              <a:gd name="T0" fmla="*/ 35 w 125"/>
              <a:gd name="T1" fmla="*/ 29 h 29"/>
              <a:gd name="T2" fmla="*/ 22 w 125"/>
              <a:gd name="T3" fmla="*/ 25 h 29"/>
              <a:gd name="T4" fmla="*/ 63 w 125"/>
              <a:gd name="T5" fmla="*/ 18 h 29"/>
              <a:gd name="T6" fmla="*/ 31 w 125"/>
              <a:gd name="T7" fmla="*/ 18 h 29"/>
              <a:gd name="T8" fmla="*/ 0 w 125"/>
              <a:gd name="T9" fmla="*/ 18 h 29"/>
              <a:gd name="T10" fmla="*/ 30 w 125"/>
              <a:gd name="T11" fmla="*/ 13 h 29"/>
              <a:gd name="T12" fmla="*/ 17 w 125"/>
              <a:gd name="T13" fmla="*/ 12 h 29"/>
              <a:gd name="T14" fmla="*/ 36 w 125"/>
              <a:gd name="T15" fmla="*/ 11 h 29"/>
              <a:gd name="T16" fmla="*/ 28 w 125"/>
              <a:gd name="T17" fmla="*/ 7 h 29"/>
              <a:gd name="T18" fmla="*/ 64 w 125"/>
              <a:gd name="T19" fmla="*/ 10 h 29"/>
              <a:gd name="T20" fmla="*/ 88 w 125"/>
              <a:gd name="T21" fmla="*/ 16 h 29"/>
              <a:gd name="T22" fmla="*/ 89 w 125"/>
              <a:gd name="T23" fmla="*/ 5 h 29"/>
              <a:gd name="T24" fmla="*/ 109 w 125"/>
              <a:gd name="T25" fmla="*/ 0 h 29"/>
              <a:gd name="T26" fmla="*/ 102 w 125"/>
              <a:gd name="T27" fmla="*/ 12 h 29"/>
              <a:gd name="T28" fmla="*/ 125 w 125"/>
              <a:gd name="T29" fmla="*/ 12 h 29"/>
              <a:gd name="T30" fmla="*/ 107 w 125"/>
              <a:gd name="T31" fmla="*/ 22 h 29"/>
              <a:gd name="T32" fmla="*/ 91 w 125"/>
              <a:gd name="T33" fmla="*/ 21 h 29"/>
              <a:gd name="T34" fmla="*/ 63 w 125"/>
              <a:gd name="T35" fmla="*/ 25 h 29"/>
              <a:gd name="T36" fmla="*/ 35 w 125"/>
              <a:gd name="T37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25" h="29">
                <a:moveTo>
                  <a:pt x="35" y="29"/>
                </a:moveTo>
                <a:lnTo>
                  <a:pt x="22" y="25"/>
                </a:lnTo>
                <a:lnTo>
                  <a:pt x="63" y="18"/>
                </a:lnTo>
                <a:lnTo>
                  <a:pt x="31" y="18"/>
                </a:lnTo>
                <a:lnTo>
                  <a:pt x="0" y="18"/>
                </a:lnTo>
                <a:lnTo>
                  <a:pt x="30" y="13"/>
                </a:lnTo>
                <a:lnTo>
                  <a:pt x="17" y="12"/>
                </a:lnTo>
                <a:lnTo>
                  <a:pt x="36" y="11"/>
                </a:lnTo>
                <a:lnTo>
                  <a:pt x="28" y="7"/>
                </a:lnTo>
                <a:lnTo>
                  <a:pt x="64" y="10"/>
                </a:lnTo>
                <a:lnTo>
                  <a:pt x="88" y="16"/>
                </a:lnTo>
                <a:lnTo>
                  <a:pt x="89" y="5"/>
                </a:lnTo>
                <a:lnTo>
                  <a:pt x="109" y="0"/>
                </a:lnTo>
                <a:lnTo>
                  <a:pt x="102" y="12"/>
                </a:lnTo>
                <a:lnTo>
                  <a:pt x="125" y="12"/>
                </a:lnTo>
                <a:lnTo>
                  <a:pt x="107" y="22"/>
                </a:lnTo>
                <a:lnTo>
                  <a:pt x="91" y="21"/>
                </a:lnTo>
                <a:lnTo>
                  <a:pt x="63" y="25"/>
                </a:lnTo>
                <a:lnTo>
                  <a:pt x="35" y="29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6" name="Freeform 442">
            <a:extLst>
              <a:ext uri="{FF2B5EF4-FFF2-40B4-BE49-F238E27FC236}">
                <a16:creationId xmlns:a16="http://schemas.microsoft.com/office/drawing/2014/main" id="{55520D4E-40BC-4A1D-9388-ADEA7E91E820}"/>
              </a:ext>
            </a:extLst>
          </p:cNvPr>
          <p:cNvSpPr>
            <a:spLocks/>
          </p:cNvSpPr>
          <p:nvPr/>
        </p:nvSpPr>
        <p:spPr bwMode="gray">
          <a:xfrm>
            <a:off x="2584873" y="1797435"/>
            <a:ext cx="153128" cy="81779"/>
          </a:xfrm>
          <a:custGeom>
            <a:avLst/>
            <a:gdLst>
              <a:gd name="T0" fmla="*/ 55 w 79"/>
              <a:gd name="T1" fmla="*/ 29 h 39"/>
              <a:gd name="T2" fmla="*/ 48 w 79"/>
              <a:gd name="T3" fmla="*/ 27 h 39"/>
              <a:gd name="T4" fmla="*/ 49 w 79"/>
              <a:gd name="T5" fmla="*/ 24 h 39"/>
              <a:gd name="T6" fmla="*/ 43 w 79"/>
              <a:gd name="T7" fmla="*/ 28 h 39"/>
              <a:gd name="T8" fmla="*/ 18 w 79"/>
              <a:gd name="T9" fmla="*/ 39 h 39"/>
              <a:gd name="T10" fmla="*/ 17 w 79"/>
              <a:gd name="T11" fmla="*/ 30 h 39"/>
              <a:gd name="T12" fmla="*/ 0 w 79"/>
              <a:gd name="T13" fmla="*/ 31 h 39"/>
              <a:gd name="T14" fmla="*/ 17 w 79"/>
              <a:gd name="T15" fmla="*/ 24 h 39"/>
              <a:gd name="T16" fmla="*/ 27 w 79"/>
              <a:gd name="T17" fmla="*/ 11 h 39"/>
              <a:gd name="T18" fmla="*/ 37 w 79"/>
              <a:gd name="T19" fmla="*/ 0 h 39"/>
              <a:gd name="T20" fmla="*/ 43 w 79"/>
              <a:gd name="T21" fmla="*/ 4 h 39"/>
              <a:gd name="T22" fmla="*/ 42 w 79"/>
              <a:gd name="T23" fmla="*/ 9 h 39"/>
              <a:gd name="T24" fmla="*/ 48 w 79"/>
              <a:gd name="T25" fmla="*/ 6 h 39"/>
              <a:gd name="T26" fmla="*/ 68 w 79"/>
              <a:gd name="T27" fmla="*/ 19 h 39"/>
              <a:gd name="T28" fmla="*/ 61 w 79"/>
              <a:gd name="T29" fmla="*/ 27 h 39"/>
              <a:gd name="T30" fmla="*/ 77 w 79"/>
              <a:gd name="T31" fmla="*/ 27 h 39"/>
              <a:gd name="T32" fmla="*/ 79 w 79"/>
              <a:gd name="T33" fmla="*/ 30 h 39"/>
              <a:gd name="T34" fmla="*/ 65 w 79"/>
              <a:gd name="T35" fmla="*/ 34 h 39"/>
              <a:gd name="T36" fmla="*/ 55 w 79"/>
              <a:gd name="T37" fmla="*/ 2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9" h="39">
                <a:moveTo>
                  <a:pt x="55" y="29"/>
                </a:moveTo>
                <a:lnTo>
                  <a:pt x="48" y="27"/>
                </a:lnTo>
                <a:lnTo>
                  <a:pt x="49" y="24"/>
                </a:lnTo>
                <a:lnTo>
                  <a:pt x="43" y="28"/>
                </a:lnTo>
                <a:lnTo>
                  <a:pt x="18" y="39"/>
                </a:lnTo>
                <a:lnTo>
                  <a:pt x="17" y="30"/>
                </a:lnTo>
                <a:lnTo>
                  <a:pt x="0" y="31"/>
                </a:lnTo>
                <a:lnTo>
                  <a:pt x="17" y="24"/>
                </a:lnTo>
                <a:lnTo>
                  <a:pt x="27" y="11"/>
                </a:lnTo>
                <a:lnTo>
                  <a:pt x="37" y="0"/>
                </a:lnTo>
                <a:lnTo>
                  <a:pt x="43" y="4"/>
                </a:lnTo>
                <a:lnTo>
                  <a:pt x="42" y="9"/>
                </a:lnTo>
                <a:lnTo>
                  <a:pt x="48" y="6"/>
                </a:lnTo>
                <a:lnTo>
                  <a:pt x="68" y="19"/>
                </a:lnTo>
                <a:lnTo>
                  <a:pt x="61" y="27"/>
                </a:lnTo>
                <a:lnTo>
                  <a:pt x="77" y="27"/>
                </a:lnTo>
                <a:lnTo>
                  <a:pt x="79" y="30"/>
                </a:lnTo>
                <a:lnTo>
                  <a:pt x="65" y="34"/>
                </a:lnTo>
                <a:lnTo>
                  <a:pt x="55" y="29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7" name="Freeform 443">
            <a:extLst>
              <a:ext uri="{FF2B5EF4-FFF2-40B4-BE49-F238E27FC236}">
                <a16:creationId xmlns:a16="http://schemas.microsoft.com/office/drawing/2014/main" id="{B272A7F9-3A71-4237-9114-FC4458DE1066}"/>
              </a:ext>
            </a:extLst>
          </p:cNvPr>
          <p:cNvSpPr>
            <a:spLocks/>
          </p:cNvSpPr>
          <p:nvPr/>
        </p:nvSpPr>
        <p:spPr bwMode="gray">
          <a:xfrm>
            <a:off x="2476477" y="1567671"/>
            <a:ext cx="130763" cy="60360"/>
          </a:xfrm>
          <a:custGeom>
            <a:avLst/>
            <a:gdLst>
              <a:gd name="T0" fmla="*/ 70 w 70"/>
              <a:gd name="T1" fmla="*/ 0 h 28"/>
              <a:gd name="T2" fmla="*/ 29 w 70"/>
              <a:gd name="T3" fmla="*/ 0 h 28"/>
              <a:gd name="T4" fmla="*/ 34 w 70"/>
              <a:gd name="T5" fmla="*/ 6 h 28"/>
              <a:gd name="T6" fmla="*/ 25 w 70"/>
              <a:gd name="T7" fmla="*/ 12 h 28"/>
              <a:gd name="T8" fmla="*/ 0 w 70"/>
              <a:gd name="T9" fmla="*/ 12 h 28"/>
              <a:gd name="T10" fmla="*/ 15 w 70"/>
              <a:gd name="T11" fmla="*/ 20 h 28"/>
              <a:gd name="T12" fmla="*/ 30 w 70"/>
              <a:gd name="T13" fmla="*/ 28 h 28"/>
              <a:gd name="T14" fmla="*/ 33 w 70"/>
              <a:gd name="T15" fmla="*/ 24 h 28"/>
              <a:gd name="T16" fmla="*/ 51 w 70"/>
              <a:gd name="T17" fmla="*/ 24 h 28"/>
              <a:gd name="T18" fmla="*/ 60 w 70"/>
              <a:gd name="T19" fmla="*/ 12 h 28"/>
              <a:gd name="T20" fmla="*/ 70 w 70"/>
              <a:gd name="T21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0" h="28">
                <a:moveTo>
                  <a:pt x="70" y="0"/>
                </a:moveTo>
                <a:lnTo>
                  <a:pt x="29" y="0"/>
                </a:lnTo>
                <a:lnTo>
                  <a:pt x="34" y="6"/>
                </a:lnTo>
                <a:lnTo>
                  <a:pt x="25" y="12"/>
                </a:lnTo>
                <a:lnTo>
                  <a:pt x="0" y="12"/>
                </a:lnTo>
                <a:lnTo>
                  <a:pt x="15" y="20"/>
                </a:lnTo>
                <a:lnTo>
                  <a:pt x="30" y="28"/>
                </a:lnTo>
                <a:lnTo>
                  <a:pt x="33" y="24"/>
                </a:lnTo>
                <a:lnTo>
                  <a:pt x="51" y="24"/>
                </a:lnTo>
                <a:lnTo>
                  <a:pt x="60" y="12"/>
                </a:lnTo>
                <a:lnTo>
                  <a:pt x="70" y="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8" name="Freeform 444">
            <a:extLst>
              <a:ext uri="{FF2B5EF4-FFF2-40B4-BE49-F238E27FC236}">
                <a16:creationId xmlns:a16="http://schemas.microsoft.com/office/drawing/2014/main" id="{8DA9495B-82E1-42F3-9968-25E52967CDA2}"/>
              </a:ext>
            </a:extLst>
          </p:cNvPr>
          <p:cNvSpPr>
            <a:spLocks/>
          </p:cNvSpPr>
          <p:nvPr/>
        </p:nvSpPr>
        <p:spPr bwMode="gray">
          <a:xfrm>
            <a:off x="2600357" y="1554040"/>
            <a:ext cx="137644" cy="60360"/>
          </a:xfrm>
          <a:custGeom>
            <a:avLst/>
            <a:gdLst>
              <a:gd name="T0" fmla="*/ 44 w 72"/>
              <a:gd name="T1" fmla="*/ 15 h 27"/>
              <a:gd name="T2" fmla="*/ 20 w 72"/>
              <a:gd name="T3" fmla="*/ 17 h 27"/>
              <a:gd name="T4" fmla="*/ 24 w 72"/>
              <a:gd name="T5" fmla="*/ 19 h 27"/>
              <a:gd name="T6" fmla="*/ 13 w 72"/>
              <a:gd name="T7" fmla="*/ 26 h 27"/>
              <a:gd name="T8" fmla="*/ 0 w 72"/>
              <a:gd name="T9" fmla="*/ 27 h 27"/>
              <a:gd name="T10" fmla="*/ 2 w 72"/>
              <a:gd name="T11" fmla="*/ 25 h 27"/>
              <a:gd name="T12" fmla="*/ 16 w 72"/>
              <a:gd name="T13" fmla="*/ 7 h 27"/>
              <a:gd name="T14" fmla="*/ 24 w 72"/>
              <a:gd name="T15" fmla="*/ 6 h 27"/>
              <a:gd name="T16" fmla="*/ 23 w 72"/>
              <a:gd name="T17" fmla="*/ 2 h 27"/>
              <a:gd name="T18" fmla="*/ 31 w 72"/>
              <a:gd name="T19" fmla="*/ 0 h 27"/>
              <a:gd name="T20" fmla="*/ 72 w 72"/>
              <a:gd name="T21" fmla="*/ 2 h 27"/>
              <a:gd name="T22" fmla="*/ 62 w 72"/>
              <a:gd name="T23" fmla="*/ 7 h 27"/>
              <a:gd name="T24" fmla="*/ 44 w 72"/>
              <a:gd name="T25" fmla="*/ 15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2" h="27">
                <a:moveTo>
                  <a:pt x="44" y="15"/>
                </a:moveTo>
                <a:lnTo>
                  <a:pt x="20" y="17"/>
                </a:lnTo>
                <a:lnTo>
                  <a:pt x="24" y="19"/>
                </a:lnTo>
                <a:lnTo>
                  <a:pt x="13" y="26"/>
                </a:lnTo>
                <a:lnTo>
                  <a:pt x="0" y="27"/>
                </a:lnTo>
                <a:lnTo>
                  <a:pt x="2" y="25"/>
                </a:lnTo>
                <a:lnTo>
                  <a:pt x="16" y="7"/>
                </a:lnTo>
                <a:lnTo>
                  <a:pt x="24" y="6"/>
                </a:lnTo>
                <a:lnTo>
                  <a:pt x="23" y="2"/>
                </a:lnTo>
                <a:lnTo>
                  <a:pt x="31" y="0"/>
                </a:lnTo>
                <a:lnTo>
                  <a:pt x="72" y="2"/>
                </a:lnTo>
                <a:lnTo>
                  <a:pt x="62" y="7"/>
                </a:lnTo>
                <a:lnTo>
                  <a:pt x="44" y="15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9" name="Freeform 445">
            <a:extLst>
              <a:ext uri="{FF2B5EF4-FFF2-40B4-BE49-F238E27FC236}">
                <a16:creationId xmlns:a16="http://schemas.microsoft.com/office/drawing/2014/main" id="{D114229C-4498-4432-AEFB-B1A829303AAC}"/>
              </a:ext>
            </a:extLst>
          </p:cNvPr>
          <p:cNvSpPr>
            <a:spLocks/>
          </p:cNvSpPr>
          <p:nvPr/>
        </p:nvSpPr>
        <p:spPr bwMode="gray">
          <a:xfrm>
            <a:off x="1401131" y="2282278"/>
            <a:ext cx="72265" cy="77886"/>
          </a:xfrm>
          <a:custGeom>
            <a:avLst/>
            <a:gdLst>
              <a:gd name="T0" fmla="*/ 27 w 38"/>
              <a:gd name="T1" fmla="*/ 25 h 36"/>
              <a:gd name="T2" fmla="*/ 24 w 38"/>
              <a:gd name="T3" fmla="*/ 26 h 36"/>
              <a:gd name="T4" fmla="*/ 14 w 38"/>
              <a:gd name="T5" fmla="*/ 26 h 36"/>
              <a:gd name="T6" fmla="*/ 18 w 38"/>
              <a:gd name="T7" fmla="*/ 24 h 36"/>
              <a:gd name="T8" fmla="*/ 13 w 38"/>
              <a:gd name="T9" fmla="*/ 22 h 36"/>
              <a:gd name="T10" fmla="*/ 7 w 38"/>
              <a:gd name="T11" fmla="*/ 20 h 36"/>
              <a:gd name="T12" fmla="*/ 16 w 38"/>
              <a:gd name="T13" fmla="*/ 16 h 36"/>
              <a:gd name="T14" fmla="*/ 8 w 38"/>
              <a:gd name="T15" fmla="*/ 13 h 36"/>
              <a:gd name="T16" fmla="*/ 7 w 38"/>
              <a:gd name="T17" fmla="*/ 10 h 36"/>
              <a:gd name="T18" fmla="*/ 2 w 38"/>
              <a:gd name="T19" fmla="*/ 9 h 36"/>
              <a:gd name="T20" fmla="*/ 1 w 38"/>
              <a:gd name="T21" fmla="*/ 7 h 36"/>
              <a:gd name="T22" fmla="*/ 7 w 38"/>
              <a:gd name="T23" fmla="*/ 3 h 36"/>
              <a:gd name="T24" fmla="*/ 4 w 38"/>
              <a:gd name="T25" fmla="*/ 3 h 36"/>
              <a:gd name="T26" fmla="*/ 0 w 38"/>
              <a:gd name="T27" fmla="*/ 0 h 36"/>
              <a:gd name="T28" fmla="*/ 13 w 38"/>
              <a:gd name="T29" fmla="*/ 2 h 36"/>
              <a:gd name="T30" fmla="*/ 26 w 38"/>
              <a:gd name="T31" fmla="*/ 4 h 36"/>
              <a:gd name="T32" fmla="*/ 30 w 38"/>
              <a:gd name="T33" fmla="*/ 12 h 36"/>
              <a:gd name="T34" fmla="*/ 37 w 38"/>
              <a:gd name="T35" fmla="*/ 21 h 36"/>
              <a:gd name="T36" fmla="*/ 38 w 38"/>
              <a:gd name="T37" fmla="*/ 33 h 36"/>
              <a:gd name="T38" fmla="*/ 38 w 38"/>
              <a:gd name="T39" fmla="*/ 36 h 36"/>
              <a:gd name="T40" fmla="*/ 19 w 38"/>
              <a:gd name="T41" fmla="*/ 31 h 36"/>
              <a:gd name="T42" fmla="*/ 27 w 38"/>
              <a:gd name="T43" fmla="*/ 25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8" h="36">
                <a:moveTo>
                  <a:pt x="27" y="25"/>
                </a:moveTo>
                <a:lnTo>
                  <a:pt x="24" y="26"/>
                </a:lnTo>
                <a:lnTo>
                  <a:pt x="14" y="26"/>
                </a:lnTo>
                <a:lnTo>
                  <a:pt x="18" y="24"/>
                </a:lnTo>
                <a:lnTo>
                  <a:pt x="13" y="22"/>
                </a:lnTo>
                <a:lnTo>
                  <a:pt x="7" y="20"/>
                </a:lnTo>
                <a:lnTo>
                  <a:pt x="16" y="16"/>
                </a:lnTo>
                <a:lnTo>
                  <a:pt x="8" y="13"/>
                </a:lnTo>
                <a:lnTo>
                  <a:pt x="7" y="10"/>
                </a:lnTo>
                <a:lnTo>
                  <a:pt x="2" y="9"/>
                </a:lnTo>
                <a:lnTo>
                  <a:pt x="1" y="7"/>
                </a:lnTo>
                <a:lnTo>
                  <a:pt x="7" y="3"/>
                </a:lnTo>
                <a:lnTo>
                  <a:pt x="4" y="3"/>
                </a:lnTo>
                <a:lnTo>
                  <a:pt x="0" y="0"/>
                </a:lnTo>
                <a:lnTo>
                  <a:pt x="13" y="2"/>
                </a:lnTo>
                <a:lnTo>
                  <a:pt x="26" y="4"/>
                </a:lnTo>
                <a:lnTo>
                  <a:pt x="30" y="12"/>
                </a:lnTo>
                <a:lnTo>
                  <a:pt x="37" y="21"/>
                </a:lnTo>
                <a:lnTo>
                  <a:pt x="38" y="33"/>
                </a:lnTo>
                <a:lnTo>
                  <a:pt x="38" y="36"/>
                </a:lnTo>
                <a:lnTo>
                  <a:pt x="19" y="31"/>
                </a:lnTo>
                <a:lnTo>
                  <a:pt x="27" y="25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0" name="Freeform 446">
            <a:extLst>
              <a:ext uri="{FF2B5EF4-FFF2-40B4-BE49-F238E27FC236}">
                <a16:creationId xmlns:a16="http://schemas.microsoft.com/office/drawing/2014/main" id="{369D614A-C20C-4EBB-9F2F-E7894EFE2AD1}"/>
              </a:ext>
            </a:extLst>
          </p:cNvPr>
          <p:cNvSpPr>
            <a:spLocks/>
          </p:cNvSpPr>
          <p:nvPr/>
        </p:nvSpPr>
        <p:spPr bwMode="gray">
          <a:xfrm>
            <a:off x="2204629" y="1466420"/>
            <a:ext cx="172055" cy="44784"/>
          </a:xfrm>
          <a:custGeom>
            <a:avLst/>
            <a:gdLst>
              <a:gd name="T0" fmla="*/ 54 w 90"/>
              <a:gd name="T1" fmla="*/ 10 h 19"/>
              <a:gd name="T2" fmla="*/ 56 w 90"/>
              <a:gd name="T3" fmla="*/ 8 h 19"/>
              <a:gd name="T4" fmla="*/ 44 w 90"/>
              <a:gd name="T5" fmla="*/ 12 h 19"/>
              <a:gd name="T6" fmla="*/ 34 w 90"/>
              <a:gd name="T7" fmla="*/ 14 h 19"/>
              <a:gd name="T8" fmla="*/ 32 w 90"/>
              <a:gd name="T9" fmla="*/ 13 h 19"/>
              <a:gd name="T10" fmla="*/ 26 w 90"/>
              <a:gd name="T11" fmla="*/ 18 h 19"/>
              <a:gd name="T12" fmla="*/ 16 w 90"/>
              <a:gd name="T13" fmla="*/ 19 h 19"/>
              <a:gd name="T14" fmla="*/ 16 w 90"/>
              <a:gd name="T15" fmla="*/ 16 h 19"/>
              <a:gd name="T16" fmla="*/ 9 w 90"/>
              <a:gd name="T17" fmla="*/ 17 h 19"/>
              <a:gd name="T18" fmla="*/ 0 w 90"/>
              <a:gd name="T19" fmla="*/ 17 h 19"/>
              <a:gd name="T20" fmla="*/ 6 w 90"/>
              <a:gd name="T21" fmla="*/ 13 h 19"/>
              <a:gd name="T22" fmla="*/ 38 w 90"/>
              <a:gd name="T23" fmla="*/ 6 h 19"/>
              <a:gd name="T24" fmla="*/ 61 w 90"/>
              <a:gd name="T25" fmla="*/ 1 h 19"/>
              <a:gd name="T26" fmla="*/ 76 w 90"/>
              <a:gd name="T27" fmla="*/ 0 h 19"/>
              <a:gd name="T28" fmla="*/ 90 w 90"/>
              <a:gd name="T29" fmla="*/ 1 h 19"/>
              <a:gd name="T30" fmla="*/ 78 w 90"/>
              <a:gd name="T31" fmla="*/ 5 h 19"/>
              <a:gd name="T32" fmla="*/ 80 w 90"/>
              <a:gd name="T33" fmla="*/ 6 h 19"/>
              <a:gd name="T34" fmla="*/ 75 w 90"/>
              <a:gd name="T35" fmla="*/ 7 h 19"/>
              <a:gd name="T36" fmla="*/ 61 w 90"/>
              <a:gd name="T37" fmla="*/ 11 h 19"/>
              <a:gd name="T38" fmla="*/ 54 w 90"/>
              <a:gd name="T39" fmla="*/ 14 h 19"/>
              <a:gd name="T40" fmla="*/ 54 w 90"/>
              <a:gd name="T41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0" h="19">
                <a:moveTo>
                  <a:pt x="54" y="10"/>
                </a:moveTo>
                <a:lnTo>
                  <a:pt x="56" y="8"/>
                </a:lnTo>
                <a:lnTo>
                  <a:pt x="44" y="12"/>
                </a:lnTo>
                <a:lnTo>
                  <a:pt x="34" y="14"/>
                </a:lnTo>
                <a:lnTo>
                  <a:pt x="32" y="13"/>
                </a:lnTo>
                <a:lnTo>
                  <a:pt x="26" y="18"/>
                </a:lnTo>
                <a:lnTo>
                  <a:pt x="16" y="19"/>
                </a:lnTo>
                <a:lnTo>
                  <a:pt x="16" y="16"/>
                </a:lnTo>
                <a:lnTo>
                  <a:pt x="9" y="17"/>
                </a:lnTo>
                <a:lnTo>
                  <a:pt x="0" y="17"/>
                </a:lnTo>
                <a:lnTo>
                  <a:pt x="6" y="13"/>
                </a:lnTo>
                <a:lnTo>
                  <a:pt x="38" y="6"/>
                </a:lnTo>
                <a:lnTo>
                  <a:pt x="61" y="1"/>
                </a:lnTo>
                <a:lnTo>
                  <a:pt x="76" y="0"/>
                </a:lnTo>
                <a:lnTo>
                  <a:pt x="90" y="1"/>
                </a:lnTo>
                <a:lnTo>
                  <a:pt x="78" y="5"/>
                </a:lnTo>
                <a:lnTo>
                  <a:pt x="80" y="6"/>
                </a:lnTo>
                <a:lnTo>
                  <a:pt x="75" y="7"/>
                </a:lnTo>
                <a:lnTo>
                  <a:pt x="61" y="11"/>
                </a:lnTo>
                <a:lnTo>
                  <a:pt x="54" y="14"/>
                </a:lnTo>
                <a:lnTo>
                  <a:pt x="54" y="1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1" name="Freeform 447">
            <a:extLst>
              <a:ext uri="{FF2B5EF4-FFF2-40B4-BE49-F238E27FC236}">
                <a16:creationId xmlns:a16="http://schemas.microsoft.com/office/drawing/2014/main" id="{8963CB89-127B-4069-B84C-C061AA6AD46B}"/>
              </a:ext>
            </a:extLst>
          </p:cNvPr>
          <p:cNvSpPr>
            <a:spLocks/>
          </p:cNvSpPr>
          <p:nvPr/>
        </p:nvSpPr>
        <p:spPr bwMode="gray">
          <a:xfrm>
            <a:off x="2553902" y="1489785"/>
            <a:ext cx="106675" cy="38943"/>
          </a:xfrm>
          <a:custGeom>
            <a:avLst/>
            <a:gdLst>
              <a:gd name="T0" fmla="*/ 26 w 56"/>
              <a:gd name="T1" fmla="*/ 6 h 19"/>
              <a:gd name="T2" fmla="*/ 17 w 56"/>
              <a:gd name="T3" fmla="*/ 3 h 19"/>
              <a:gd name="T4" fmla="*/ 22 w 56"/>
              <a:gd name="T5" fmla="*/ 4 h 19"/>
              <a:gd name="T6" fmla="*/ 14 w 56"/>
              <a:gd name="T7" fmla="*/ 6 h 19"/>
              <a:gd name="T8" fmla="*/ 14 w 56"/>
              <a:gd name="T9" fmla="*/ 8 h 19"/>
              <a:gd name="T10" fmla="*/ 14 w 56"/>
              <a:gd name="T11" fmla="*/ 9 h 19"/>
              <a:gd name="T12" fmla="*/ 0 w 56"/>
              <a:gd name="T13" fmla="*/ 10 h 19"/>
              <a:gd name="T14" fmla="*/ 36 w 56"/>
              <a:gd name="T15" fmla="*/ 10 h 19"/>
              <a:gd name="T16" fmla="*/ 14 w 56"/>
              <a:gd name="T17" fmla="*/ 15 h 19"/>
              <a:gd name="T18" fmla="*/ 13 w 56"/>
              <a:gd name="T19" fmla="*/ 16 h 19"/>
              <a:gd name="T20" fmla="*/ 35 w 56"/>
              <a:gd name="T21" fmla="*/ 19 h 19"/>
              <a:gd name="T22" fmla="*/ 37 w 56"/>
              <a:gd name="T23" fmla="*/ 16 h 19"/>
              <a:gd name="T24" fmla="*/ 40 w 56"/>
              <a:gd name="T25" fmla="*/ 14 h 19"/>
              <a:gd name="T26" fmla="*/ 47 w 56"/>
              <a:gd name="T27" fmla="*/ 14 h 19"/>
              <a:gd name="T28" fmla="*/ 50 w 56"/>
              <a:gd name="T29" fmla="*/ 10 h 19"/>
              <a:gd name="T30" fmla="*/ 46 w 56"/>
              <a:gd name="T31" fmla="*/ 10 h 19"/>
              <a:gd name="T32" fmla="*/ 56 w 56"/>
              <a:gd name="T33" fmla="*/ 3 h 19"/>
              <a:gd name="T34" fmla="*/ 53 w 56"/>
              <a:gd name="T35" fmla="*/ 0 h 19"/>
              <a:gd name="T36" fmla="*/ 44 w 56"/>
              <a:gd name="T37" fmla="*/ 1 h 19"/>
              <a:gd name="T38" fmla="*/ 29 w 56"/>
              <a:gd name="T39" fmla="*/ 1 h 19"/>
              <a:gd name="T40" fmla="*/ 35 w 56"/>
              <a:gd name="T41" fmla="*/ 6 h 19"/>
              <a:gd name="T42" fmla="*/ 30 w 56"/>
              <a:gd name="T43" fmla="*/ 7 h 19"/>
              <a:gd name="T44" fmla="*/ 26 w 56"/>
              <a:gd name="T45" fmla="*/ 6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6" h="19">
                <a:moveTo>
                  <a:pt x="26" y="6"/>
                </a:moveTo>
                <a:lnTo>
                  <a:pt x="17" y="3"/>
                </a:lnTo>
                <a:lnTo>
                  <a:pt x="22" y="4"/>
                </a:lnTo>
                <a:lnTo>
                  <a:pt x="14" y="6"/>
                </a:lnTo>
                <a:lnTo>
                  <a:pt x="14" y="8"/>
                </a:lnTo>
                <a:lnTo>
                  <a:pt x="14" y="9"/>
                </a:lnTo>
                <a:lnTo>
                  <a:pt x="0" y="10"/>
                </a:lnTo>
                <a:lnTo>
                  <a:pt x="36" y="10"/>
                </a:lnTo>
                <a:lnTo>
                  <a:pt x="14" y="15"/>
                </a:lnTo>
                <a:lnTo>
                  <a:pt x="13" y="16"/>
                </a:lnTo>
                <a:lnTo>
                  <a:pt x="35" y="19"/>
                </a:lnTo>
                <a:lnTo>
                  <a:pt x="37" y="16"/>
                </a:lnTo>
                <a:lnTo>
                  <a:pt x="40" y="14"/>
                </a:lnTo>
                <a:lnTo>
                  <a:pt x="47" y="14"/>
                </a:lnTo>
                <a:lnTo>
                  <a:pt x="50" y="10"/>
                </a:lnTo>
                <a:lnTo>
                  <a:pt x="46" y="10"/>
                </a:lnTo>
                <a:lnTo>
                  <a:pt x="56" y="3"/>
                </a:lnTo>
                <a:lnTo>
                  <a:pt x="53" y="0"/>
                </a:lnTo>
                <a:lnTo>
                  <a:pt x="44" y="1"/>
                </a:lnTo>
                <a:lnTo>
                  <a:pt x="29" y="1"/>
                </a:lnTo>
                <a:lnTo>
                  <a:pt x="35" y="6"/>
                </a:lnTo>
                <a:lnTo>
                  <a:pt x="30" y="7"/>
                </a:lnTo>
                <a:lnTo>
                  <a:pt x="26" y="6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2" name="Freeform 448">
            <a:extLst>
              <a:ext uri="{FF2B5EF4-FFF2-40B4-BE49-F238E27FC236}">
                <a16:creationId xmlns:a16="http://schemas.microsoft.com/office/drawing/2014/main" id="{E0CF3B1A-5EA6-4637-BEB1-D98E10DD13B4}"/>
              </a:ext>
            </a:extLst>
          </p:cNvPr>
          <p:cNvSpPr>
            <a:spLocks/>
          </p:cNvSpPr>
          <p:nvPr/>
        </p:nvSpPr>
        <p:spPr bwMode="gray">
          <a:xfrm>
            <a:off x="2595195" y="1419686"/>
            <a:ext cx="92910" cy="38943"/>
          </a:xfrm>
          <a:custGeom>
            <a:avLst/>
            <a:gdLst>
              <a:gd name="T0" fmla="*/ 31 w 49"/>
              <a:gd name="T1" fmla="*/ 4 h 17"/>
              <a:gd name="T2" fmla="*/ 31 w 49"/>
              <a:gd name="T3" fmla="*/ 3 h 17"/>
              <a:gd name="T4" fmla="*/ 43 w 49"/>
              <a:gd name="T5" fmla="*/ 4 h 17"/>
              <a:gd name="T6" fmla="*/ 46 w 49"/>
              <a:gd name="T7" fmla="*/ 5 h 17"/>
              <a:gd name="T8" fmla="*/ 45 w 49"/>
              <a:gd name="T9" fmla="*/ 10 h 17"/>
              <a:gd name="T10" fmla="*/ 49 w 49"/>
              <a:gd name="T11" fmla="*/ 15 h 17"/>
              <a:gd name="T12" fmla="*/ 36 w 49"/>
              <a:gd name="T13" fmla="*/ 17 h 17"/>
              <a:gd name="T14" fmla="*/ 22 w 49"/>
              <a:gd name="T15" fmla="*/ 12 h 17"/>
              <a:gd name="T16" fmla="*/ 0 w 49"/>
              <a:gd name="T17" fmla="*/ 11 h 17"/>
              <a:gd name="T18" fmla="*/ 4 w 49"/>
              <a:gd name="T19" fmla="*/ 9 h 17"/>
              <a:gd name="T20" fmla="*/ 16 w 49"/>
              <a:gd name="T21" fmla="*/ 8 h 17"/>
              <a:gd name="T22" fmla="*/ 15 w 49"/>
              <a:gd name="T23" fmla="*/ 4 h 17"/>
              <a:gd name="T24" fmla="*/ 7 w 49"/>
              <a:gd name="T25" fmla="*/ 5 h 17"/>
              <a:gd name="T26" fmla="*/ 4 w 49"/>
              <a:gd name="T27" fmla="*/ 2 h 17"/>
              <a:gd name="T28" fmla="*/ 31 w 49"/>
              <a:gd name="T29" fmla="*/ 0 h 17"/>
              <a:gd name="T30" fmla="*/ 31 w 49"/>
              <a:gd name="T31" fmla="*/ 4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9" h="17">
                <a:moveTo>
                  <a:pt x="31" y="4"/>
                </a:moveTo>
                <a:lnTo>
                  <a:pt x="31" y="3"/>
                </a:lnTo>
                <a:lnTo>
                  <a:pt x="43" y="4"/>
                </a:lnTo>
                <a:lnTo>
                  <a:pt x="46" y="5"/>
                </a:lnTo>
                <a:lnTo>
                  <a:pt x="45" y="10"/>
                </a:lnTo>
                <a:lnTo>
                  <a:pt x="49" y="15"/>
                </a:lnTo>
                <a:lnTo>
                  <a:pt x="36" y="17"/>
                </a:lnTo>
                <a:lnTo>
                  <a:pt x="22" y="12"/>
                </a:lnTo>
                <a:lnTo>
                  <a:pt x="0" y="11"/>
                </a:lnTo>
                <a:lnTo>
                  <a:pt x="4" y="9"/>
                </a:lnTo>
                <a:lnTo>
                  <a:pt x="16" y="8"/>
                </a:lnTo>
                <a:lnTo>
                  <a:pt x="15" y="4"/>
                </a:lnTo>
                <a:lnTo>
                  <a:pt x="7" y="5"/>
                </a:lnTo>
                <a:lnTo>
                  <a:pt x="4" y="2"/>
                </a:lnTo>
                <a:lnTo>
                  <a:pt x="31" y="0"/>
                </a:lnTo>
                <a:lnTo>
                  <a:pt x="31" y="4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3" name="Freeform 449">
            <a:extLst>
              <a:ext uri="{FF2B5EF4-FFF2-40B4-BE49-F238E27FC236}">
                <a16:creationId xmlns:a16="http://schemas.microsoft.com/office/drawing/2014/main" id="{26C6A0E9-477E-4DD8-959A-B3E33868DC4B}"/>
              </a:ext>
            </a:extLst>
          </p:cNvPr>
          <p:cNvSpPr>
            <a:spLocks/>
          </p:cNvSpPr>
          <p:nvPr/>
        </p:nvSpPr>
        <p:spPr bwMode="gray">
          <a:xfrm>
            <a:off x="2447228" y="1674765"/>
            <a:ext cx="79147" cy="42837"/>
          </a:xfrm>
          <a:custGeom>
            <a:avLst/>
            <a:gdLst>
              <a:gd name="T0" fmla="*/ 37 w 43"/>
              <a:gd name="T1" fmla="*/ 10 h 19"/>
              <a:gd name="T2" fmla="*/ 38 w 43"/>
              <a:gd name="T3" fmla="*/ 8 h 19"/>
              <a:gd name="T4" fmla="*/ 26 w 43"/>
              <a:gd name="T5" fmla="*/ 0 h 19"/>
              <a:gd name="T6" fmla="*/ 20 w 43"/>
              <a:gd name="T7" fmla="*/ 5 h 19"/>
              <a:gd name="T8" fmla="*/ 19 w 43"/>
              <a:gd name="T9" fmla="*/ 4 h 19"/>
              <a:gd name="T10" fmla="*/ 15 w 43"/>
              <a:gd name="T11" fmla="*/ 7 h 19"/>
              <a:gd name="T12" fmla="*/ 0 w 43"/>
              <a:gd name="T13" fmla="*/ 11 h 19"/>
              <a:gd name="T14" fmla="*/ 25 w 43"/>
              <a:gd name="T15" fmla="*/ 19 h 19"/>
              <a:gd name="T16" fmla="*/ 43 w 43"/>
              <a:gd name="T17" fmla="*/ 13 h 19"/>
              <a:gd name="T18" fmla="*/ 38 w 43"/>
              <a:gd name="T19" fmla="*/ 14 h 19"/>
              <a:gd name="T20" fmla="*/ 37 w 43"/>
              <a:gd name="T21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3" h="19">
                <a:moveTo>
                  <a:pt x="37" y="10"/>
                </a:moveTo>
                <a:lnTo>
                  <a:pt x="38" y="8"/>
                </a:lnTo>
                <a:lnTo>
                  <a:pt x="26" y="0"/>
                </a:lnTo>
                <a:lnTo>
                  <a:pt x="20" y="5"/>
                </a:lnTo>
                <a:lnTo>
                  <a:pt x="19" y="4"/>
                </a:lnTo>
                <a:lnTo>
                  <a:pt x="15" y="7"/>
                </a:lnTo>
                <a:lnTo>
                  <a:pt x="0" y="11"/>
                </a:lnTo>
                <a:lnTo>
                  <a:pt x="25" y="19"/>
                </a:lnTo>
                <a:lnTo>
                  <a:pt x="43" y="13"/>
                </a:lnTo>
                <a:lnTo>
                  <a:pt x="38" y="14"/>
                </a:lnTo>
                <a:lnTo>
                  <a:pt x="37" y="1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4" name="Freeform 450">
            <a:extLst>
              <a:ext uri="{FF2B5EF4-FFF2-40B4-BE49-F238E27FC236}">
                <a16:creationId xmlns:a16="http://schemas.microsoft.com/office/drawing/2014/main" id="{0B453A5D-77A1-4D23-8943-60600CCA6078}"/>
              </a:ext>
            </a:extLst>
          </p:cNvPr>
          <p:cNvSpPr>
            <a:spLocks/>
          </p:cNvSpPr>
          <p:nvPr/>
        </p:nvSpPr>
        <p:spPr bwMode="gray">
          <a:xfrm>
            <a:off x="2901455" y="1567671"/>
            <a:ext cx="80867" cy="25313"/>
          </a:xfrm>
          <a:custGeom>
            <a:avLst/>
            <a:gdLst>
              <a:gd name="T0" fmla="*/ 30 w 43"/>
              <a:gd name="T1" fmla="*/ 0 h 13"/>
              <a:gd name="T2" fmla="*/ 3 w 43"/>
              <a:gd name="T3" fmla="*/ 1 h 13"/>
              <a:gd name="T4" fmla="*/ 0 w 43"/>
              <a:gd name="T5" fmla="*/ 6 h 13"/>
              <a:gd name="T6" fmla="*/ 4 w 43"/>
              <a:gd name="T7" fmla="*/ 8 h 13"/>
              <a:gd name="T8" fmla="*/ 9 w 43"/>
              <a:gd name="T9" fmla="*/ 13 h 13"/>
              <a:gd name="T10" fmla="*/ 43 w 43"/>
              <a:gd name="T11" fmla="*/ 10 h 13"/>
              <a:gd name="T12" fmla="*/ 30 w 43"/>
              <a:gd name="T13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3" h="13">
                <a:moveTo>
                  <a:pt x="30" y="0"/>
                </a:moveTo>
                <a:lnTo>
                  <a:pt x="3" y="1"/>
                </a:lnTo>
                <a:lnTo>
                  <a:pt x="0" y="6"/>
                </a:lnTo>
                <a:lnTo>
                  <a:pt x="4" y="8"/>
                </a:lnTo>
                <a:lnTo>
                  <a:pt x="9" y="13"/>
                </a:lnTo>
                <a:lnTo>
                  <a:pt x="43" y="10"/>
                </a:lnTo>
                <a:lnTo>
                  <a:pt x="30" y="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5" name="Freeform 451">
            <a:extLst>
              <a:ext uri="{FF2B5EF4-FFF2-40B4-BE49-F238E27FC236}">
                <a16:creationId xmlns:a16="http://schemas.microsoft.com/office/drawing/2014/main" id="{56F1CD6D-0448-46DB-BB57-3E4A6924056A}"/>
              </a:ext>
            </a:extLst>
          </p:cNvPr>
          <p:cNvSpPr>
            <a:spLocks/>
          </p:cNvSpPr>
          <p:nvPr/>
        </p:nvSpPr>
        <p:spPr bwMode="gray">
          <a:xfrm>
            <a:off x="2863603" y="1723444"/>
            <a:ext cx="49896" cy="29206"/>
          </a:xfrm>
          <a:custGeom>
            <a:avLst/>
            <a:gdLst>
              <a:gd name="T0" fmla="*/ 23 w 26"/>
              <a:gd name="T1" fmla="*/ 9 h 14"/>
              <a:gd name="T2" fmla="*/ 2 w 26"/>
              <a:gd name="T3" fmla="*/ 14 h 14"/>
              <a:gd name="T4" fmla="*/ 0 w 26"/>
              <a:gd name="T5" fmla="*/ 8 h 14"/>
              <a:gd name="T6" fmla="*/ 17 w 26"/>
              <a:gd name="T7" fmla="*/ 0 h 14"/>
              <a:gd name="T8" fmla="*/ 26 w 26"/>
              <a:gd name="T9" fmla="*/ 3 h 14"/>
              <a:gd name="T10" fmla="*/ 23 w 26"/>
              <a:gd name="T11" fmla="*/ 9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" h="14">
                <a:moveTo>
                  <a:pt x="23" y="9"/>
                </a:moveTo>
                <a:lnTo>
                  <a:pt x="2" y="14"/>
                </a:lnTo>
                <a:lnTo>
                  <a:pt x="0" y="8"/>
                </a:lnTo>
                <a:lnTo>
                  <a:pt x="17" y="0"/>
                </a:lnTo>
                <a:lnTo>
                  <a:pt x="26" y="3"/>
                </a:lnTo>
                <a:lnTo>
                  <a:pt x="23" y="9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6" name="Freeform 452">
            <a:extLst>
              <a:ext uri="{FF2B5EF4-FFF2-40B4-BE49-F238E27FC236}">
                <a16:creationId xmlns:a16="http://schemas.microsoft.com/office/drawing/2014/main" id="{F04CA2C2-379D-4099-822A-5943ED864058}"/>
              </a:ext>
            </a:extLst>
          </p:cNvPr>
          <p:cNvSpPr>
            <a:spLocks/>
          </p:cNvSpPr>
          <p:nvPr/>
        </p:nvSpPr>
        <p:spPr bwMode="gray">
          <a:xfrm>
            <a:off x="2710474" y="1433316"/>
            <a:ext cx="58500" cy="25313"/>
          </a:xfrm>
          <a:custGeom>
            <a:avLst/>
            <a:gdLst>
              <a:gd name="T0" fmla="*/ 0 w 30"/>
              <a:gd name="T1" fmla="*/ 5 h 11"/>
              <a:gd name="T2" fmla="*/ 4 w 30"/>
              <a:gd name="T3" fmla="*/ 0 h 11"/>
              <a:gd name="T4" fmla="*/ 30 w 30"/>
              <a:gd name="T5" fmla="*/ 5 h 11"/>
              <a:gd name="T6" fmla="*/ 26 w 30"/>
              <a:gd name="T7" fmla="*/ 8 h 11"/>
              <a:gd name="T8" fmla="*/ 3 w 30"/>
              <a:gd name="T9" fmla="*/ 11 h 11"/>
              <a:gd name="T10" fmla="*/ 1 w 30"/>
              <a:gd name="T11" fmla="*/ 8 h 11"/>
              <a:gd name="T12" fmla="*/ 0 w 30"/>
              <a:gd name="T13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" h="11">
                <a:moveTo>
                  <a:pt x="0" y="5"/>
                </a:moveTo>
                <a:lnTo>
                  <a:pt x="4" y="0"/>
                </a:lnTo>
                <a:lnTo>
                  <a:pt x="30" y="5"/>
                </a:lnTo>
                <a:lnTo>
                  <a:pt x="26" y="8"/>
                </a:lnTo>
                <a:lnTo>
                  <a:pt x="3" y="11"/>
                </a:lnTo>
                <a:lnTo>
                  <a:pt x="1" y="8"/>
                </a:lnTo>
                <a:lnTo>
                  <a:pt x="0" y="5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7" name="Freeform 453">
            <a:extLst>
              <a:ext uri="{FF2B5EF4-FFF2-40B4-BE49-F238E27FC236}">
                <a16:creationId xmlns:a16="http://schemas.microsoft.com/office/drawing/2014/main" id="{232A22A5-5849-44B7-9D85-CF5B62856AD1}"/>
              </a:ext>
            </a:extLst>
          </p:cNvPr>
          <p:cNvSpPr>
            <a:spLocks/>
          </p:cNvSpPr>
          <p:nvPr/>
        </p:nvSpPr>
        <p:spPr bwMode="gray">
          <a:xfrm>
            <a:off x="2645093" y="1515097"/>
            <a:ext cx="61941" cy="21419"/>
          </a:xfrm>
          <a:custGeom>
            <a:avLst/>
            <a:gdLst>
              <a:gd name="T0" fmla="*/ 8 w 31"/>
              <a:gd name="T1" fmla="*/ 9 h 10"/>
              <a:gd name="T2" fmla="*/ 0 w 31"/>
              <a:gd name="T3" fmla="*/ 7 h 10"/>
              <a:gd name="T4" fmla="*/ 24 w 31"/>
              <a:gd name="T5" fmla="*/ 0 h 10"/>
              <a:gd name="T6" fmla="*/ 31 w 31"/>
              <a:gd name="T7" fmla="*/ 6 h 10"/>
              <a:gd name="T8" fmla="*/ 28 w 31"/>
              <a:gd name="T9" fmla="*/ 10 h 10"/>
              <a:gd name="T10" fmla="*/ 8 w 31"/>
              <a:gd name="T11" fmla="*/ 9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" h="10">
                <a:moveTo>
                  <a:pt x="8" y="9"/>
                </a:moveTo>
                <a:lnTo>
                  <a:pt x="0" y="7"/>
                </a:lnTo>
                <a:lnTo>
                  <a:pt x="24" y="0"/>
                </a:lnTo>
                <a:lnTo>
                  <a:pt x="31" y="6"/>
                </a:lnTo>
                <a:lnTo>
                  <a:pt x="28" y="10"/>
                </a:lnTo>
                <a:lnTo>
                  <a:pt x="8" y="9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8" name="Freeform 454">
            <a:extLst>
              <a:ext uri="{FF2B5EF4-FFF2-40B4-BE49-F238E27FC236}">
                <a16:creationId xmlns:a16="http://schemas.microsoft.com/office/drawing/2014/main" id="{CBFD0564-069D-4D8D-B368-B7B96C820D1D}"/>
              </a:ext>
            </a:extLst>
          </p:cNvPr>
          <p:cNvSpPr>
            <a:spLocks/>
          </p:cNvSpPr>
          <p:nvPr/>
        </p:nvSpPr>
        <p:spPr bwMode="gray">
          <a:xfrm>
            <a:off x="2416259" y="1567671"/>
            <a:ext cx="49896" cy="21419"/>
          </a:xfrm>
          <a:custGeom>
            <a:avLst/>
            <a:gdLst>
              <a:gd name="T0" fmla="*/ 7 w 25"/>
              <a:gd name="T1" fmla="*/ 10 h 10"/>
              <a:gd name="T2" fmla="*/ 0 w 25"/>
              <a:gd name="T3" fmla="*/ 2 h 10"/>
              <a:gd name="T4" fmla="*/ 22 w 25"/>
              <a:gd name="T5" fmla="*/ 0 h 10"/>
              <a:gd name="T6" fmla="*/ 25 w 25"/>
              <a:gd name="T7" fmla="*/ 2 h 10"/>
              <a:gd name="T8" fmla="*/ 7 w 25"/>
              <a:gd name="T9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" h="10">
                <a:moveTo>
                  <a:pt x="7" y="10"/>
                </a:moveTo>
                <a:lnTo>
                  <a:pt x="0" y="2"/>
                </a:lnTo>
                <a:lnTo>
                  <a:pt x="22" y="0"/>
                </a:lnTo>
                <a:lnTo>
                  <a:pt x="25" y="2"/>
                </a:lnTo>
                <a:lnTo>
                  <a:pt x="7" y="1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9" name="Freeform 455">
            <a:extLst>
              <a:ext uri="{FF2B5EF4-FFF2-40B4-BE49-F238E27FC236}">
                <a16:creationId xmlns:a16="http://schemas.microsoft.com/office/drawing/2014/main" id="{0F75C702-8670-417C-9181-BD63746FC2CE}"/>
              </a:ext>
            </a:extLst>
          </p:cNvPr>
          <p:cNvSpPr>
            <a:spLocks/>
          </p:cNvSpPr>
          <p:nvPr/>
        </p:nvSpPr>
        <p:spPr bwMode="gray">
          <a:xfrm>
            <a:off x="3147494" y="1328169"/>
            <a:ext cx="1068464" cy="650352"/>
          </a:xfrm>
          <a:custGeom>
            <a:avLst/>
            <a:gdLst>
              <a:gd name="T0" fmla="*/ 95 w 557"/>
              <a:gd name="T1" fmla="*/ 238 h 300"/>
              <a:gd name="T2" fmla="*/ 113 w 557"/>
              <a:gd name="T3" fmla="*/ 233 h 300"/>
              <a:gd name="T4" fmla="*/ 98 w 557"/>
              <a:gd name="T5" fmla="*/ 247 h 300"/>
              <a:gd name="T6" fmla="*/ 110 w 557"/>
              <a:gd name="T7" fmla="*/ 257 h 300"/>
              <a:gd name="T8" fmla="*/ 116 w 557"/>
              <a:gd name="T9" fmla="*/ 271 h 300"/>
              <a:gd name="T10" fmla="*/ 116 w 557"/>
              <a:gd name="T11" fmla="*/ 282 h 300"/>
              <a:gd name="T12" fmla="*/ 133 w 557"/>
              <a:gd name="T13" fmla="*/ 286 h 300"/>
              <a:gd name="T14" fmla="*/ 151 w 557"/>
              <a:gd name="T15" fmla="*/ 291 h 300"/>
              <a:gd name="T16" fmla="*/ 163 w 557"/>
              <a:gd name="T17" fmla="*/ 295 h 300"/>
              <a:gd name="T18" fmla="*/ 175 w 557"/>
              <a:gd name="T19" fmla="*/ 288 h 300"/>
              <a:gd name="T20" fmla="*/ 181 w 557"/>
              <a:gd name="T21" fmla="*/ 281 h 300"/>
              <a:gd name="T22" fmla="*/ 187 w 557"/>
              <a:gd name="T23" fmla="*/ 265 h 300"/>
              <a:gd name="T24" fmla="*/ 204 w 557"/>
              <a:gd name="T25" fmla="*/ 253 h 300"/>
              <a:gd name="T26" fmla="*/ 218 w 557"/>
              <a:gd name="T27" fmla="*/ 245 h 300"/>
              <a:gd name="T28" fmla="*/ 237 w 557"/>
              <a:gd name="T29" fmla="*/ 220 h 300"/>
              <a:gd name="T30" fmla="*/ 264 w 557"/>
              <a:gd name="T31" fmla="*/ 215 h 300"/>
              <a:gd name="T32" fmla="*/ 324 w 557"/>
              <a:gd name="T33" fmla="*/ 189 h 300"/>
              <a:gd name="T34" fmla="*/ 375 w 557"/>
              <a:gd name="T35" fmla="*/ 178 h 300"/>
              <a:gd name="T36" fmla="*/ 401 w 557"/>
              <a:gd name="T37" fmla="*/ 154 h 300"/>
              <a:gd name="T38" fmla="*/ 381 w 557"/>
              <a:gd name="T39" fmla="*/ 145 h 300"/>
              <a:gd name="T40" fmla="*/ 399 w 557"/>
              <a:gd name="T41" fmla="*/ 138 h 300"/>
              <a:gd name="T42" fmla="*/ 440 w 557"/>
              <a:gd name="T43" fmla="*/ 147 h 300"/>
              <a:gd name="T44" fmla="*/ 411 w 557"/>
              <a:gd name="T45" fmla="*/ 129 h 300"/>
              <a:gd name="T46" fmla="*/ 415 w 557"/>
              <a:gd name="T47" fmla="*/ 119 h 300"/>
              <a:gd name="T48" fmla="*/ 416 w 557"/>
              <a:gd name="T49" fmla="*/ 112 h 300"/>
              <a:gd name="T50" fmla="*/ 462 w 557"/>
              <a:gd name="T51" fmla="*/ 112 h 300"/>
              <a:gd name="T52" fmla="*/ 474 w 557"/>
              <a:gd name="T53" fmla="*/ 97 h 300"/>
              <a:gd name="T54" fmla="*/ 475 w 557"/>
              <a:gd name="T55" fmla="*/ 91 h 300"/>
              <a:gd name="T56" fmla="*/ 451 w 557"/>
              <a:gd name="T57" fmla="*/ 73 h 300"/>
              <a:gd name="T58" fmla="*/ 469 w 557"/>
              <a:gd name="T59" fmla="*/ 59 h 300"/>
              <a:gd name="T60" fmla="*/ 491 w 557"/>
              <a:gd name="T61" fmla="*/ 37 h 300"/>
              <a:gd name="T62" fmla="*/ 481 w 557"/>
              <a:gd name="T63" fmla="*/ 29 h 300"/>
              <a:gd name="T64" fmla="*/ 487 w 557"/>
              <a:gd name="T65" fmla="*/ 19 h 300"/>
              <a:gd name="T66" fmla="*/ 443 w 557"/>
              <a:gd name="T67" fmla="*/ 18 h 300"/>
              <a:gd name="T68" fmla="*/ 451 w 557"/>
              <a:gd name="T69" fmla="*/ 5 h 300"/>
              <a:gd name="T70" fmla="*/ 336 w 557"/>
              <a:gd name="T71" fmla="*/ 5 h 300"/>
              <a:gd name="T72" fmla="*/ 324 w 557"/>
              <a:gd name="T73" fmla="*/ 11 h 300"/>
              <a:gd name="T74" fmla="*/ 234 w 557"/>
              <a:gd name="T75" fmla="*/ 11 h 300"/>
              <a:gd name="T76" fmla="*/ 155 w 557"/>
              <a:gd name="T77" fmla="*/ 16 h 300"/>
              <a:gd name="T78" fmla="*/ 113 w 557"/>
              <a:gd name="T79" fmla="*/ 25 h 300"/>
              <a:gd name="T80" fmla="*/ 41 w 557"/>
              <a:gd name="T81" fmla="*/ 47 h 300"/>
              <a:gd name="T82" fmla="*/ 30 w 557"/>
              <a:gd name="T83" fmla="*/ 64 h 300"/>
              <a:gd name="T84" fmla="*/ 12 w 557"/>
              <a:gd name="T85" fmla="*/ 71 h 300"/>
              <a:gd name="T86" fmla="*/ 59 w 557"/>
              <a:gd name="T87" fmla="*/ 78 h 300"/>
              <a:gd name="T88" fmla="*/ 111 w 557"/>
              <a:gd name="T89" fmla="*/ 105 h 300"/>
              <a:gd name="T90" fmla="*/ 114 w 557"/>
              <a:gd name="T91" fmla="*/ 129 h 300"/>
              <a:gd name="T92" fmla="*/ 129 w 557"/>
              <a:gd name="T93" fmla="*/ 135 h 300"/>
              <a:gd name="T94" fmla="*/ 140 w 557"/>
              <a:gd name="T95" fmla="*/ 142 h 300"/>
              <a:gd name="T96" fmla="*/ 146 w 557"/>
              <a:gd name="T97" fmla="*/ 154 h 300"/>
              <a:gd name="T98" fmla="*/ 139 w 557"/>
              <a:gd name="T99" fmla="*/ 169 h 300"/>
              <a:gd name="T100" fmla="*/ 111 w 557"/>
              <a:gd name="T101" fmla="*/ 184 h 300"/>
              <a:gd name="T102" fmla="*/ 115 w 557"/>
              <a:gd name="T103" fmla="*/ 187 h 300"/>
              <a:gd name="T104" fmla="*/ 133 w 557"/>
              <a:gd name="T105" fmla="*/ 189 h 300"/>
              <a:gd name="T106" fmla="*/ 120 w 557"/>
              <a:gd name="T107" fmla="*/ 195 h 300"/>
              <a:gd name="T108" fmla="*/ 99 w 557"/>
              <a:gd name="T109" fmla="*/ 204 h 300"/>
              <a:gd name="T110" fmla="*/ 125 w 557"/>
              <a:gd name="T111" fmla="*/ 202 h 300"/>
              <a:gd name="T112" fmla="*/ 97 w 557"/>
              <a:gd name="T113" fmla="*/ 221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57" h="300">
                <a:moveTo>
                  <a:pt x="117" y="219"/>
                </a:moveTo>
                <a:lnTo>
                  <a:pt x="103" y="221"/>
                </a:lnTo>
                <a:lnTo>
                  <a:pt x="98" y="225"/>
                </a:lnTo>
                <a:lnTo>
                  <a:pt x="97" y="229"/>
                </a:lnTo>
                <a:lnTo>
                  <a:pt x="107" y="228"/>
                </a:lnTo>
                <a:lnTo>
                  <a:pt x="102" y="229"/>
                </a:lnTo>
                <a:lnTo>
                  <a:pt x="95" y="238"/>
                </a:lnTo>
                <a:lnTo>
                  <a:pt x="103" y="235"/>
                </a:lnTo>
                <a:lnTo>
                  <a:pt x="110" y="233"/>
                </a:lnTo>
                <a:lnTo>
                  <a:pt x="113" y="225"/>
                </a:lnTo>
                <a:lnTo>
                  <a:pt x="114" y="228"/>
                </a:lnTo>
                <a:lnTo>
                  <a:pt x="119" y="231"/>
                </a:lnTo>
                <a:lnTo>
                  <a:pt x="120" y="235"/>
                </a:lnTo>
                <a:lnTo>
                  <a:pt x="113" y="233"/>
                </a:lnTo>
                <a:lnTo>
                  <a:pt x="114" y="237"/>
                </a:lnTo>
                <a:lnTo>
                  <a:pt x="102" y="239"/>
                </a:lnTo>
                <a:lnTo>
                  <a:pt x="111" y="239"/>
                </a:lnTo>
                <a:lnTo>
                  <a:pt x="115" y="239"/>
                </a:lnTo>
                <a:lnTo>
                  <a:pt x="98" y="243"/>
                </a:lnTo>
                <a:lnTo>
                  <a:pt x="103" y="244"/>
                </a:lnTo>
                <a:lnTo>
                  <a:pt x="98" y="247"/>
                </a:lnTo>
                <a:lnTo>
                  <a:pt x="104" y="247"/>
                </a:lnTo>
                <a:lnTo>
                  <a:pt x="101" y="250"/>
                </a:lnTo>
                <a:lnTo>
                  <a:pt x="107" y="251"/>
                </a:lnTo>
                <a:lnTo>
                  <a:pt x="101" y="252"/>
                </a:lnTo>
                <a:lnTo>
                  <a:pt x="107" y="255"/>
                </a:lnTo>
                <a:lnTo>
                  <a:pt x="107" y="258"/>
                </a:lnTo>
                <a:lnTo>
                  <a:pt x="110" y="257"/>
                </a:lnTo>
                <a:lnTo>
                  <a:pt x="107" y="259"/>
                </a:lnTo>
                <a:lnTo>
                  <a:pt x="105" y="262"/>
                </a:lnTo>
                <a:lnTo>
                  <a:pt x="110" y="268"/>
                </a:lnTo>
                <a:lnTo>
                  <a:pt x="110" y="269"/>
                </a:lnTo>
                <a:lnTo>
                  <a:pt x="115" y="270"/>
                </a:lnTo>
                <a:lnTo>
                  <a:pt x="113" y="273"/>
                </a:lnTo>
                <a:lnTo>
                  <a:pt x="116" y="271"/>
                </a:lnTo>
                <a:lnTo>
                  <a:pt x="115" y="275"/>
                </a:lnTo>
                <a:lnTo>
                  <a:pt x="117" y="276"/>
                </a:lnTo>
                <a:lnTo>
                  <a:pt x="113" y="277"/>
                </a:lnTo>
                <a:lnTo>
                  <a:pt x="119" y="277"/>
                </a:lnTo>
                <a:lnTo>
                  <a:pt x="116" y="279"/>
                </a:lnTo>
                <a:lnTo>
                  <a:pt x="116" y="280"/>
                </a:lnTo>
                <a:lnTo>
                  <a:pt x="116" y="282"/>
                </a:lnTo>
                <a:lnTo>
                  <a:pt x="122" y="281"/>
                </a:lnTo>
                <a:lnTo>
                  <a:pt x="122" y="285"/>
                </a:lnTo>
                <a:lnTo>
                  <a:pt x="120" y="286"/>
                </a:lnTo>
                <a:lnTo>
                  <a:pt x="122" y="286"/>
                </a:lnTo>
                <a:lnTo>
                  <a:pt x="121" y="287"/>
                </a:lnTo>
                <a:lnTo>
                  <a:pt x="126" y="287"/>
                </a:lnTo>
                <a:lnTo>
                  <a:pt x="133" y="286"/>
                </a:lnTo>
                <a:lnTo>
                  <a:pt x="146" y="282"/>
                </a:lnTo>
                <a:lnTo>
                  <a:pt x="146" y="285"/>
                </a:lnTo>
                <a:lnTo>
                  <a:pt x="151" y="282"/>
                </a:lnTo>
                <a:lnTo>
                  <a:pt x="144" y="288"/>
                </a:lnTo>
                <a:lnTo>
                  <a:pt x="150" y="287"/>
                </a:lnTo>
                <a:lnTo>
                  <a:pt x="145" y="292"/>
                </a:lnTo>
                <a:lnTo>
                  <a:pt x="151" y="291"/>
                </a:lnTo>
                <a:lnTo>
                  <a:pt x="151" y="292"/>
                </a:lnTo>
                <a:lnTo>
                  <a:pt x="156" y="292"/>
                </a:lnTo>
                <a:lnTo>
                  <a:pt x="150" y="297"/>
                </a:lnTo>
                <a:lnTo>
                  <a:pt x="157" y="293"/>
                </a:lnTo>
                <a:lnTo>
                  <a:pt x="150" y="298"/>
                </a:lnTo>
                <a:lnTo>
                  <a:pt x="153" y="300"/>
                </a:lnTo>
                <a:lnTo>
                  <a:pt x="163" y="295"/>
                </a:lnTo>
                <a:lnTo>
                  <a:pt x="170" y="299"/>
                </a:lnTo>
                <a:lnTo>
                  <a:pt x="171" y="297"/>
                </a:lnTo>
                <a:lnTo>
                  <a:pt x="170" y="294"/>
                </a:lnTo>
                <a:lnTo>
                  <a:pt x="163" y="292"/>
                </a:lnTo>
                <a:lnTo>
                  <a:pt x="174" y="292"/>
                </a:lnTo>
                <a:lnTo>
                  <a:pt x="176" y="291"/>
                </a:lnTo>
                <a:lnTo>
                  <a:pt x="175" y="288"/>
                </a:lnTo>
                <a:lnTo>
                  <a:pt x="176" y="288"/>
                </a:lnTo>
                <a:lnTo>
                  <a:pt x="174" y="287"/>
                </a:lnTo>
                <a:lnTo>
                  <a:pt x="181" y="287"/>
                </a:lnTo>
                <a:lnTo>
                  <a:pt x="175" y="285"/>
                </a:lnTo>
                <a:lnTo>
                  <a:pt x="181" y="285"/>
                </a:lnTo>
                <a:lnTo>
                  <a:pt x="181" y="282"/>
                </a:lnTo>
                <a:lnTo>
                  <a:pt x="181" y="281"/>
                </a:lnTo>
                <a:lnTo>
                  <a:pt x="185" y="281"/>
                </a:lnTo>
                <a:lnTo>
                  <a:pt x="182" y="277"/>
                </a:lnTo>
                <a:lnTo>
                  <a:pt x="187" y="277"/>
                </a:lnTo>
                <a:lnTo>
                  <a:pt x="186" y="275"/>
                </a:lnTo>
                <a:lnTo>
                  <a:pt x="191" y="271"/>
                </a:lnTo>
                <a:lnTo>
                  <a:pt x="191" y="270"/>
                </a:lnTo>
                <a:lnTo>
                  <a:pt x="187" y="265"/>
                </a:lnTo>
                <a:lnTo>
                  <a:pt x="189" y="265"/>
                </a:lnTo>
                <a:lnTo>
                  <a:pt x="186" y="261"/>
                </a:lnTo>
                <a:lnTo>
                  <a:pt x="195" y="258"/>
                </a:lnTo>
                <a:lnTo>
                  <a:pt x="201" y="257"/>
                </a:lnTo>
                <a:lnTo>
                  <a:pt x="200" y="256"/>
                </a:lnTo>
                <a:lnTo>
                  <a:pt x="199" y="253"/>
                </a:lnTo>
                <a:lnTo>
                  <a:pt x="204" y="253"/>
                </a:lnTo>
                <a:lnTo>
                  <a:pt x="205" y="251"/>
                </a:lnTo>
                <a:lnTo>
                  <a:pt x="209" y="251"/>
                </a:lnTo>
                <a:lnTo>
                  <a:pt x="206" y="250"/>
                </a:lnTo>
                <a:lnTo>
                  <a:pt x="210" y="250"/>
                </a:lnTo>
                <a:lnTo>
                  <a:pt x="213" y="247"/>
                </a:lnTo>
                <a:lnTo>
                  <a:pt x="209" y="245"/>
                </a:lnTo>
                <a:lnTo>
                  <a:pt x="218" y="245"/>
                </a:lnTo>
                <a:lnTo>
                  <a:pt x="216" y="240"/>
                </a:lnTo>
                <a:lnTo>
                  <a:pt x="210" y="238"/>
                </a:lnTo>
                <a:lnTo>
                  <a:pt x="221" y="235"/>
                </a:lnTo>
                <a:lnTo>
                  <a:pt x="221" y="227"/>
                </a:lnTo>
                <a:lnTo>
                  <a:pt x="231" y="226"/>
                </a:lnTo>
                <a:lnTo>
                  <a:pt x="230" y="222"/>
                </a:lnTo>
                <a:lnTo>
                  <a:pt x="237" y="220"/>
                </a:lnTo>
                <a:lnTo>
                  <a:pt x="242" y="219"/>
                </a:lnTo>
                <a:lnTo>
                  <a:pt x="253" y="216"/>
                </a:lnTo>
                <a:lnTo>
                  <a:pt x="252" y="215"/>
                </a:lnTo>
                <a:lnTo>
                  <a:pt x="259" y="210"/>
                </a:lnTo>
                <a:lnTo>
                  <a:pt x="264" y="210"/>
                </a:lnTo>
                <a:lnTo>
                  <a:pt x="259" y="215"/>
                </a:lnTo>
                <a:lnTo>
                  <a:pt x="264" y="215"/>
                </a:lnTo>
                <a:lnTo>
                  <a:pt x="281" y="211"/>
                </a:lnTo>
                <a:lnTo>
                  <a:pt x="281" y="209"/>
                </a:lnTo>
                <a:lnTo>
                  <a:pt x="287" y="209"/>
                </a:lnTo>
                <a:lnTo>
                  <a:pt x="296" y="207"/>
                </a:lnTo>
                <a:lnTo>
                  <a:pt x="297" y="204"/>
                </a:lnTo>
                <a:lnTo>
                  <a:pt x="308" y="196"/>
                </a:lnTo>
                <a:lnTo>
                  <a:pt x="324" y="189"/>
                </a:lnTo>
                <a:lnTo>
                  <a:pt x="324" y="184"/>
                </a:lnTo>
                <a:lnTo>
                  <a:pt x="325" y="179"/>
                </a:lnTo>
                <a:lnTo>
                  <a:pt x="337" y="186"/>
                </a:lnTo>
                <a:lnTo>
                  <a:pt x="343" y="184"/>
                </a:lnTo>
                <a:lnTo>
                  <a:pt x="349" y="183"/>
                </a:lnTo>
                <a:lnTo>
                  <a:pt x="353" y="183"/>
                </a:lnTo>
                <a:lnTo>
                  <a:pt x="375" y="178"/>
                </a:lnTo>
                <a:lnTo>
                  <a:pt x="398" y="173"/>
                </a:lnTo>
                <a:lnTo>
                  <a:pt x="405" y="169"/>
                </a:lnTo>
                <a:lnTo>
                  <a:pt x="414" y="166"/>
                </a:lnTo>
                <a:lnTo>
                  <a:pt x="419" y="162"/>
                </a:lnTo>
                <a:lnTo>
                  <a:pt x="425" y="160"/>
                </a:lnTo>
                <a:lnTo>
                  <a:pt x="432" y="157"/>
                </a:lnTo>
                <a:lnTo>
                  <a:pt x="401" y="154"/>
                </a:lnTo>
                <a:lnTo>
                  <a:pt x="375" y="159"/>
                </a:lnTo>
                <a:lnTo>
                  <a:pt x="374" y="157"/>
                </a:lnTo>
                <a:lnTo>
                  <a:pt x="392" y="153"/>
                </a:lnTo>
                <a:lnTo>
                  <a:pt x="366" y="153"/>
                </a:lnTo>
                <a:lnTo>
                  <a:pt x="379" y="148"/>
                </a:lnTo>
                <a:lnTo>
                  <a:pt x="379" y="147"/>
                </a:lnTo>
                <a:lnTo>
                  <a:pt x="381" y="145"/>
                </a:lnTo>
                <a:lnTo>
                  <a:pt x="404" y="144"/>
                </a:lnTo>
                <a:lnTo>
                  <a:pt x="403" y="139"/>
                </a:lnTo>
                <a:lnTo>
                  <a:pt x="402" y="139"/>
                </a:lnTo>
                <a:lnTo>
                  <a:pt x="381" y="138"/>
                </a:lnTo>
                <a:lnTo>
                  <a:pt x="389" y="137"/>
                </a:lnTo>
                <a:lnTo>
                  <a:pt x="379" y="132"/>
                </a:lnTo>
                <a:lnTo>
                  <a:pt x="399" y="138"/>
                </a:lnTo>
                <a:lnTo>
                  <a:pt x="416" y="144"/>
                </a:lnTo>
                <a:lnTo>
                  <a:pt x="423" y="153"/>
                </a:lnTo>
                <a:lnTo>
                  <a:pt x="432" y="151"/>
                </a:lnTo>
                <a:lnTo>
                  <a:pt x="434" y="148"/>
                </a:lnTo>
                <a:lnTo>
                  <a:pt x="435" y="153"/>
                </a:lnTo>
                <a:lnTo>
                  <a:pt x="440" y="151"/>
                </a:lnTo>
                <a:lnTo>
                  <a:pt x="440" y="147"/>
                </a:lnTo>
                <a:lnTo>
                  <a:pt x="441" y="139"/>
                </a:lnTo>
                <a:lnTo>
                  <a:pt x="435" y="141"/>
                </a:lnTo>
                <a:lnTo>
                  <a:pt x="438" y="137"/>
                </a:lnTo>
                <a:lnTo>
                  <a:pt x="434" y="137"/>
                </a:lnTo>
                <a:lnTo>
                  <a:pt x="432" y="136"/>
                </a:lnTo>
                <a:lnTo>
                  <a:pt x="434" y="133"/>
                </a:lnTo>
                <a:lnTo>
                  <a:pt x="411" y="129"/>
                </a:lnTo>
                <a:lnTo>
                  <a:pt x="408" y="130"/>
                </a:lnTo>
                <a:lnTo>
                  <a:pt x="409" y="127"/>
                </a:lnTo>
                <a:lnTo>
                  <a:pt x="417" y="124"/>
                </a:lnTo>
                <a:lnTo>
                  <a:pt x="403" y="124"/>
                </a:lnTo>
                <a:lnTo>
                  <a:pt x="397" y="124"/>
                </a:lnTo>
                <a:lnTo>
                  <a:pt x="395" y="123"/>
                </a:lnTo>
                <a:lnTo>
                  <a:pt x="415" y="119"/>
                </a:lnTo>
                <a:lnTo>
                  <a:pt x="393" y="119"/>
                </a:lnTo>
                <a:lnTo>
                  <a:pt x="392" y="120"/>
                </a:lnTo>
                <a:lnTo>
                  <a:pt x="392" y="118"/>
                </a:lnTo>
                <a:lnTo>
                  <a:pt x="398" y="115"/>
                </a:lnTo>
                <a:lnTo>
                  <a:pt x="396" y="114"/>
                </a:lnTo>
                <a:lnTo>
                  <a:pt x="411" y="114"/>
                </a:lnTo>
                <a:lnTo>
                  <a:pt x="416" y="112"/>
                </a:lnTo>
                <a:lnTo>
                  <a:pt x="415" y="109"/>
                </a:lnTo>
                <a:lnTo>
                  <a:pt x="422" y="111"/>
                </a:lnTo>
                <a:lnTo>
                  <a:pt x="433" y="111"/>
                </a:lnTo>
                <a:lnTo>
                  <a:pt x="440" y="113"/>
                </a:lnTo>
                <a:lnTo>
                  <a:pt x="427" y="112"/>
                </a:lnTo>
                <a:lnTo>
                  <a:pt x="446" y="115"/>
                </a:lnTo>
                <a:lnTo>
                  <a:pt x="462" y="112"/>
                </a:lnTo>
                <a:lnTo>
                  <a:pt x="463" y="108"/>
                </a:lnTo>
                <a:lnTo>
                  <a:pt x="450" y="108"/>
                </a:lnTo>
                <a:lnTo>
                  <a:pt x="449" y="109"/>
                </a:lnTo>
                <a:lnTo>
                  <a:pt x="445" y="105"/>
                </a:lnTo>
                <a:lnTo>
                  <a:pt x="450" y="100"/>
                </a:lnTo>
                <a:lnTo>
                  <a:pt x="476" y="102"/>
                </a:lnTo>
                <a:lnTo>
                  <a:pt x="474" y="97"/>
                </a:lnTo>
                <a:lnTo>
                  <a:pt x="463" y="97"/>
                </a:lnTo>
                <a:lnTo>
                  <a:pt x="462" y="93"/>
                </a:lnTo>
                <a:lnTo>
                  <a:pt x="451" y="93"/>
                </a:lnTo>
                <a:lnTo>
                  <a:pt x="462" y="91"/>
                </a:lnTo>
                <a:lnTo>
                  <a:pt x="451" y="88"/>
                </a:lnTo>
                <a:lnTo>
                  <a:pt x="452" y="87"/>
                </a:lnTo>
                <a:lnTo>
                  <a:pt x="475" y="91"/>
                </a:lnTo>
                <a:lnTo>
                  <a:pt x="474" y="83"/>
                </a:lnTo>
                <a:lnTo>
                  <a:pt x="457" y="82"/>
                </a:lnTo>
                <a:lnTo>
                  <a:pt x="476" y="81"/>
                </a:lnTo>
                <a:lnTo>
                  <a:pt x="465" y="79"/>
                </a:lnTo>
                <a:lnTo>
                  <a:pt x="459" y="77"/>
                </a:lnTo>
                <a:lnTo>
                  <a:pt x="456" y="77"/>
                </a:lnTo>
                <a:lnTo>
                  <a:pt x="451" y="73"/>
                </a:lnTo>
                <a:lnTo>
                  <a:pt x="465" y="72"/>
                </a:lnTo>
                <a:lnTo>
                  <a:pt x="492" y="71"/>
                </a:lnTo>
                <a:lnTo>
                  <a:pt x="492" y="66"/>
                </a:lnTo>
                <a:lnTo>
                  <a:pt x="476" y="65"/>
                </a:lnTo>
                <a:lnTo>
                  <a:pt x="469" y="63"/>
                </a:lnTo>
                <a:lnTo>
                  <a:pt x="487" y="63"/>
                </a:lnTo>
                <a:lnTo>
                  <a:pt x="469" y="59"/>
                </a:lnTo>
                <a:lnTo>
                  <a:pt x="464" y="63"/>
                </a:lnTo>
                <a:lnTo>
                  <a:pt x="461" y="60"/>
                </a:lnTo>
                <a:lnTo>
                  <a:pt x="468" y="51"/>
                </a:lnTo>
                <a:lnTo>
                  <a:pt x="482" y="47"/>
                </a:lnTo>
                <a:lnTo>
                  <a:pt x="488" y="43"/>
                </a:lnTo>
                <a:lnTo>
                  <a:pt x="483" y="43"/>
                </a:lnTo>
                <a:lnTo>
                  <a:pt x="491" y="37"/>
                </a:lnTo>
                <a:lnTo>
                  <a:pt x="501" y="36"/>
                </a:lnTo>
                <a:lnTo>
                  <a:pt x="503" y="33"/>
                </a:lnTo>
                <a:lnTo>
                  <a:pt x="482" y="36"/>
                </a:lnTo>
                <a:lnTo>
                  <a:pt x="480" y="34"/>
                </a:lnTo>
                <a:lnTo>
                  <a:pt x="499" y="33"/>
                </a:lnTo>
                <a:lnTo>
                  <a:pt x="519" y="29"/>
                </a:lnTo>
                <a:lnTo>
                  <a:pt x="481" y="29"/>
                </a:lnTo>
                <a:lnTo>
                  <a:pt x="534" y="25"/>
                </a:lnTo>
                <a:lnTo>
                  <a:pt x="531" y="24"/>
                </a:lnTo>
                <a:lnTo>
                  <a:pt x="557" y="19"/>
                </a:lnTo>
                <a:lnTo>
                  <a:pt x="524" y="16"/>
                </a:lnTo>
                <a:lnTo>
                  <a:pt x="507" y="19"/>
                </a:lnTo>
                <a:lnTo>
                  <a:pt x="488" y="21"/>
                </a:lnTo>
                <a:lnTo>
                  <a:pt x="487" y="19"/>
                </a:lnTo>
                <a:lnTo>
                  <a:pt x="452" y="28"/>
                </a:lnTo>
                <a:lnTo>
                  <a:pt x="464" y="22"/>
                </a:lnTo>
                <a:lnTo>
                  <a:pt x="473" y="16"/>
                </a:lnTo>
                <a:lnTo>
                  <a:pt x="459" y="15"/>
                </a:lnTo>
                <a:lnTo>
                  <a:pt x="455" y="17"/>
                </a:lnTo>
                <a:lnTo>
                  <a:pt x="429" y="21"/>
                </a:lnTo>
                <a:lnTo>
                  <a:pt x="443" y="18"/>
                </a:lnTo>
                <a:lnTo>
                  <a:pt x="445" y="16"/>
                </a:lnTo>
                <a:lnTo>
                  <a:pt x="384" y="18"/>
                </a:lnTo>
                <a:lnTo>
                  <a:pt x="402" y="13"/>
                </a:lnTo>
                <a:lnTo>
                  <a:pt x="438" y="13"/>
                </a:lnTo>
                <a:lnTo>
                  <a:pt x="480" y="10"/>
                </a:lnTo>
                <a:lnTo>
                  <a:pt x="450" y="7"/>
                </a:lnTo>
                <a:lnTo>
                  <a:pt x="451" y="5"/>
                </a:lnTo>
                <a:lnTo>
                  <a:pt x="367" y="6"/>
                </a:lnTo>
                <a:lnTo>
                  <a:pt x="379" y="6"/>
                </a:lnTo>
                <a:lnTo>
                  <a:pt x="443" y="4"/>
                </a:lnTo>
                <a:lnTo>
                  <a:pt x="417" y="0"/>
                </a:lnTo>
                <a:lnTo>
                  <a:pt x="337" y="3"/>
                </a:lnTo>
                <a:lnTo>
                  <a:pt x="343" y="4"/>
                </a:lnTo>
                <a:lnTo>
                  <a:pt x="336" y="5"/>
                </a:lnTo>
                <a:lnTo>
                  <a:pt x="335" y="6"/>
                </a:lnTo>
                <a:lnTo>
                  <a:pt x="314" y="5"/>
                </a:lnTo>
                <a:lnTo>
                  <a:pt x="287" y="4"/>
                </a:lnTo>
                <a:lnTo>
                  <a:pt x="290" y="6"/>
                </a:lnTo>
                <a:lnTo>
                  <a:pt x="270" y="6"/>
                </a:lnTo>
                <a:lnTo>
                  <a:pt x="306" y="7"/>
                </a:lnTo>
                <a:lnTo>
                  <a:pt x="324" y="11"/>
                </a:lnTo>
                <a:lnTo>
                  <a:pt x="307" y="9"/>
                </a:lnTo>
                <a:lnTo>
                  <a:pt x="282" y="9"/>
                </a:lnTo>
                <a:lnTo>
                  <a:pt x="293" y="12"/>
                </a:lnTo>
                <a:lnTo>
                  <a:pt x="283" y="12"/>
                </a:lnTo>
                <a:lnTo>
                  <a:pt x="282" y="15"/>
                </a:lnTo>
                <a:lnTo>
                  <a:pt x="282" y="17"/>
                </a:lnTo>
                <a:lnTo>
                  <a:pt x="234" y="11"/>
                </a:lnTo>
                <a:lnTo>
                  <a:pt x="231" y="16"/>
                </a:lnTo>
                <a:lnTo>
                  <a:pt x="231" y="18"/>
                </a:lnTo>
                <a:lnTo>
                  <a:pt x="210" y="15"/>
                </a:lnTo>
                <a:lnTo>
                  <a:pt x="200" y="19"/>
                </a:lnTo>
                <a:lnTo>
                  <a:pt x="198" y="19"/>
                </a:lnTo>
                <a:lnTo>
                  <a:pt x="201" y="12"/>
                </a:lnTo>
                <a:lnTo>
                  <a:pt x="155" y="16"/>
                </a:lnTo>
                <a:lnTo>
                  <a:pt x="169" y="21"/>
                </a:lnTo>
                <a:lnTo>
                  <a:pt x="157" y="18"/>
                </a:lnTo>
                <a:lnTo>
                  <a:pt x="135" y="17"/>
                </a:lnTo>
                <a:lnTo>
                  <a:pt x="135" y="19"/>
                </a:lnTo>
                <a:lnTo>
                  <a:pt x="132" y="23"/>
                </a:lnTo>
                <a:lnTo>
                  <a:pt x="115" y="23"/>
                </a:lnTo>
                <a:lnTo>
                  <a:pt x="113" y="25"/>
                </a:lnTo>
                <a:lnTo>
                  <a:pt x="110" y="24"/>
                </a:lnTo>
                <a:lnTo>
                  <a:pt x="67" y="33"/>
                </a:lnTo>
                <a:lnTo>
                  <a:pt x="95" y="33"/>
                </a:lnTo>
                <a:lnTo>
                  <a:pt x="87" y="34"/>
                </a:lnTo>
                <a:lnTo>
                  <a:pt x="85" y="37"/>
                </a:lnTo>
                <a:lnTo>
                  <a:pt x="75" y="43"/>
                </a:lnTo>
                <a:lnTo>
                  <a:pt x="41" y="47"/>
                </a:lnTo>
                <a:lnTo>
                  <a:pt x="5" y="53"/>
                </a:lnTo>
                <a:lnTo>
                  <a:pt x="1" y="55"/>
                </a:lnTo>
                <a:lnTo>
                  <a:pt x="1" y="58"/>
                </a:lnTo>
                <a:lnTo>
                  <a:pt x="21" y="60"/>
                </a:lnTo>
                <a:lnTo>
                  <a:pt x="18" y="63"/>
                </a:lnTo>
                <a:lnTo>
                  <a:pt x="15" y="63"/>
                </a:lnTo>
                <a:lnTo>
                  <a:pt x="30" y="64"/>
                </a:lnTo>
                <a:lnTo>
                  <a:pt x="50" y="63"/>
                </a:lnTo>
                <a:lnTo>
                  <a:pt x="48" y="66"/>
                </a:lnTo>
                <a:lnTo>
                  <a:pt x="24" y="67"/>
                </a:lnTo>
                <a:lnTo>
                  <a:pt x="42" y="69"/>
                </a:lnTo>
                <a:lnTo>
                  <a:pt x="35" y="67"/>
                </a:lnTo>
                <a:lnTo>
                  <a:pt x="0" y="70"/>
                </a:lnTo>
                <a:lnTo>
                  <a:pt x="12" y="71"/>
                </a:lnTo>
                <a:lnTo>
                  <a:pt x="21" y="75"/>
                </a:lnTo>
                <a:lnTo>
                  <a:pt x="11" y="77"/>
                </a:lnTo>
                <a:lnTo>
                  <a:pt x="35" y="83"/>
                </a:lnTo>
                <a:lnTo>
                  <a:pt x="31" y="81"/>
                </a:lnTo>
                <a:lnTo>
                  <a:pt x="37" y="81"/>
                </a:lnTo>
                <a:lnTo>
                  <a:pt x="43" y="81"/>
                </a:lnTo>
                <a:lnTo>
                  <a:pt x="59" y="78"/>
                </a:lnTo>
                <a:lnTo>
                  <a:pt x="66" y="78"/>
                </a:lnTo>
                <a:lnTo>
                  <a:pt x="109" y="85"/>
                </a:lnTo>
                <a:lnTo>
                  <a:pt x="105" y="90"/>
                </a:lnTo>
                <a:lnTo>
                  <a:pt x="115" y="96"/>
                </a:lnTo>
                <a:lnTo>
                  <a:pt x="117" y="99"/>
                </a:lnTo>
                <a:lnTo>
                  <a:pt x="115" y="102"/>
                </a:lnTo>
                <a:lnTo>
                  <a:pt x="111" y="105"/>
                </a:lnTo>
                <a:lnTo>
                  <a:pt x="119" y="105"/>
                </a:lnTo>
                <a:lnTo>
                  <a:pt x="119" y="109"/>
                </a:lnTo>
                <a:lnTo>
                  <a:pt x="120" y="113"/>
                </a:lnTo>
                <a:lnTo>
                  <a:pt x="117" y="118"/>
                </a:lnTo>
                <a:lnTo>
                  <a:pt x="121" y="119"/>
                </a:lnTo>
                <a:lnTo>
                  <a:pt x="120" y="126"/>
                </a:lnTo>
                <a:lnTo>
                  <a:pt x="114" y="129"/>
                </a:lnTo>
                <a:lnTo>
                  <a:pt x="110" y="132"/>
                </a:lnTo>
                <a:lnTo>
                  <a:pt x="117" y="132"/>
                </a:lnTo>
                <a:lnTo>
                  <a:pt x="104" y="136"/>
                </a:lnTo>
                <a:lnTo>
                  <a:pt x="110" y="141"/>
                </a:lnTo>
                <a:lnTo>
                  <a:pt x="122" y="137"/>
                </a:lnTo>
                <a:lnTo>
                  <a:pt x="127" y="129"/>
                </a:lnTo>
                <a:lnTo>
                  <a:pt x="129" y="135"/>
                </a:lnTo>
                <a:lnTo>
                  <a:pt x="135" y="132"/>
                </a:lnTo>
                <a:lnTo>
                  <a:pt x="133" y="135"/>
                </a:lnTo>
                <a:lnTo>
                  <a:pt x="143" y="137"/>
                </a:lnTo>
                <a:lnTo>
                  <a:pt x="133" y="139"/>
                </a:lnTo>
                <a:lnTo>
                  <a:pt x="143" y="139"/>
                </a:lnTo>
                <a:lnTo>
                  <a:pt x="135" y="142"/>
                </a:lnTo>
                <a:lnTo>
                  <a:pt x="140" y="142"/>
                </a:lnTo>
                <a:lnTo>
                  <a:pt x="138" y="143"/>
                </a:lnTo>
                <a:lnTo>
                  <a:pt x="145" y="145"/>
                </a:lnTo>
                <a:lnTo>
                  <a:pt x="139" y="145"/>
                </a:lnTo>
                <a:lnTo>
                  <a:pt x="146" y="148"/>
                </a:lnTo>
                <a:lnTo>
                  <a:pt x="145" y="149"/>
                </a:lnTo>
                <a:lnTo>
                  <a:pt x="145" y="151"/>
                </a:lnTo>
                <a:lnTo>
                  <a:pt x="146" y="154"/>
                </a:lnTo>
                <a:lnTo>
                  <a:pt x="114" y="148"/>
                </a:lnTo>
                <a:lnTo>
                  <a:pt x="111" y="153"/>
                </a:lnTo>
                <a:lnTo>
                  <a:pt x="146" y="160"/>
                </a:lnTo>
                <a:lnTo>
                  <a:pt x="140" y="163"/>
                </a:lnTo>
                <a:lnTo>
                  <a:pt x="141" y="166"/>
                </a:lnTo>
                <a:lnTo>
                  <a:pt x="138" y="168"/>
                </a:lnTo>
                <a:lnTo>
                  <a:pt x="139" y="169"/>
                </a:lnTo>
                <a:lnTo>
                  <a:pt x="143" y="171"/>
                </a:lnTo>
                <a:lnTo>
                  <a:pt x="143" y="172"/>
                </a:lnTo>
                <a:lnTo>
                  <a:pt x="138" y="171"/>
                </a:lnTo>
                <a:lnTo>
                  <a:pt x="133" y="174"/>
                </a:lnTo>
                <a:lnTo>
                  <a:pt x="137" y="175"/>
                </a:lnTo>
                <a:lnTo>
                  <a:pt x="110" y="181"/>
                </a:lnTo>
                <a:lnTo>
                  <a:pt x="111" y="184"/>
                </a:lnTo>
                <a:lnTo>
                  <a:pt x="128" y="181"/>
                </a:lnTo>
                <a:lnTo>
                  <a:pt x="133" y="179"/>
                </a:lnTo>
                <a:lnTo>
                  <a:pt x="128" y="184"/>
                </a:lnTo>
                <a:lnTo>
                  <a:pt x="133" y="186"/>
                </a:lnTo>
                <a:lnTo>
                  <a:pt x="111" y="184"/>
                </a:lnTo>
                <a:lnTo>
                  <a:pt x="108" y="184"/>
                </a:lnTo>
                <a:lnTo>
                  <a:pt x="115" y="187"/>
                </a:lnTo>
                <a:lnTo>
                  <a:pt x="105" y="186"/>
                </a:lnTo>
                <a:lnTo>
                  <a:pt x="98" y="191"/>
                </a:lnTo>
                <a:lnTo>
                  <a:pt x="119" y="187"/>
                </a:lnTo>
                <a:lnTo>
                  <a:pt x="116" y="189"/>
                </a:lnTo>
                <a:lnTo>
                  <a:pt x="123" y="190"/>
                </a:lnTo>
                <a:lnTo>
                  <a:pt x="128" y="187"/>
                </a:lnTo>
                <a:lnTo>
                  <a:pt x="133" y="189"/>
                </a:lnTo>
                <a:lnTo>
                  <a:pt x="127" y="190"/>
                </a:lnTo>
                <a:lnTo>
                  <a:pt x="134" y="190"/>
                </a:lnTo>
                <a:lnTo>
                  <a:pt x="131" y="191"/>
                </a:lnTo>
                <a:lnTo>
                  <a:pt x="132" y="193"/>
                </a:lnTo>
                <a:lnTo>
                  <a:pt x="113" y="190"/>
                </a:lnTo>
                <a:lnTo>
                  <a:pt x="95" y="196"/>
                </a:lnTo>
                <a:lnTo>
                  <a:pt x="120" y="195"/>
                </a:lnTo>
                <a:lnTo>
                  <a:pt x="126" y="197"/>
                </a:lnTo>
                <a:lnTo>
                  <a:pt x="120" y="196"/>
                </a:lnTo>
                <a:lnTo>
                  <a:pt x="93" y="198"/>
                </a:lnTo>
                <a:lnTo>
                  <a:pt x="97" y="201"/>
                </a:lnTo>
                <a:lnTo>
                  <a:pt x="107" y="201"/>
                </a:lnTo>
                <a:lnTo>
                  <a:pt x="102" y="203"/>
                </a:lnTo>
                <a:lnTo>
                  <a:pt x="99" y="204"/>
                </a:lnTo>
                <a:lnTo>
                  <a:pt x="97" y="204"/>
                </a:lnTo>
                <a:lnTo>
                  <a:pt x="103" y="207"/>
                </a:lnTo>
                <a:lnTo>
                  <a:pt x="93" y="207"/>
                </a:lnTo>
                <a:lnTo>
                  <a:pt x="91" y="211"/>
                </a:lnTo>
                <a:lnTo>
                  <a:pt x="110" y="205"/>
                </a:lnTo>
                <a:lnTo>
                  <a:pt x="129" y="199"/>
                </a:lnTo>
                <a:lnTo>
                  <a:pt x="125" y="202"/>
                </a:lnTo>
                <a:lnTo>
                  <a:pt x="91" y="214"/>
                </a:lnTo>
                <a:lnTo>
                  <a:pt x="96" y="214"/>
                </a:lnTo>
                <a:lnTo>
                  <a:pt x="92" y="215"/>
                </a:lnTo>
                <a:lnTo>
                  <a:pt x="109" y="213"/>
                </a:lnTo>
                <a:lnTo>
                  <a:pt x="93" y="217"/>
                </a:lnTo>
                <a:lnTo>
                  <a:pt x="95" y="219"/>
                </a:lnTo>
                <a:lnTo>
                  <a:pt x="97" y="221"/>
                </a:lnTo>
                <a:lnTo>
                  <a:pt x="104" y="220"/>
                </a:lnTo>
                <a:lnTo>
                  <a:pt x="117" y="21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0" name="Freeform 456">
            <a:extLst>
              <a:ext uri="{FF2B5EF4-FFF2-40B4-BE49-F238E27FC236}">
                <a16:creationId xmlns:a16="http://schemas.microsoft.com/office/drawing/2014/main" id="{CDE0DFEF-C809-4FAE-8D51-5460AD22CA6A}"/>
              </a:ext>
            </a:extLst>
          </p:cNvPr>
          <p:cNvSpPr>
            <a:spLocks/>
          </p:cNvSpPr>
          <p:nvPr/>
        </p:nvSpPr>
        <p:spPr bwMode="gray">
          <a:xfrm>
            <a:off x="3341916" y="1663080"/>
            <a:ext cx="53337" cy="29206"/>
          </a:xfrm>
          <a:custGeom>
            <a:avLst/>
            <a:gdLst>
              <a:gd name="T0" fmla="*/ 27 w 27"/>
              <a:gd name="T1" fmla="*/ 8 h 13"/>
              <a:gd name="T2" fmla="*/ 7 w 27"/>
              <a:gd name="T3" fmla="*/ 0 h 13"/>
              <a:gd name="T4" fmla="*/ 0 w 27"/>
              <a:gd name="T5" fmla="*/ 4 h 13"/>
              <a:gd name="T6" fmla="*/ 1 w 27"/>
              <a:gd name="T7" fmla="*/ 5 h 13"/>
              <a:gd name="T8" fmla="*/ 0 w 27"/>
              <a:gd name="T9" fmla="*/ 7 h 13"/>
              <a:gd name="T10" fmla="*/ 2 w 27"/>
              <a:gd name="T11" fmla="*/ 10 h 13"/>
              <a:gd name="T12" fmla="*/ 8 w 27"/>
              <a:gd name="T13" fmla="*/ 12 h 13"/>
              <a:gd name="T14" fmla="*/ 5 w 27"/>
              <a:gd name="T15" fmla="*/ 13 h 13"/>
              <a:gd name="T16" fmla="*/ 27 w 27"/>
              <a:gd name="T17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7" h="13">
                <a:moveTo>
                  <a:pt x="27" y="8"/>
                </a:moveTo>
                <a:lnTo>
                  <a:pt x="7" y="0"/>
                </a:lnTo>
                <a:lnTo>
                  <a:pt x="0" y="4"/>
                </a:lnTo>
                <a:lnTo>
                  <a:pt x="1" y="5"/>
                </a:lnTo>
                <a:lnTo>
                  <a:pt x="0" y="7"/>
                </a:lnTo>
                <a:lnTo>
                  <a:pt x="2" y="10"/>
                </a:lnTo>
                <a:lnTo>
                  <a:pt x="8" y="12"/>
                </a:lnTo>
                <a:lnTo>
                  <a:pt x="5" y="13"/>
                </a:lnTo>
                <a:lnTo>
                  <a:pt x="27" y="8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1" name="Freeform 457">
            <a:extLst>
              <a:ext uri="{FF2B5EF4-FFF2-40B4-BE49-F238E27FC236}">
                <a16:creationId xmlns:a16="http://schemas.microsoft.com/office/drawing/2014/main" id="{0722A175-F49E-4172-90B8-8406317DC2D0}"/>
              </a:ext>
            </a:extLst>
          </p:cNvPr>
          <p:cNvSpPr>
            <a:spLocks/>
          </p:cNvSpPr>
          <p:nvPr/>
        </p:nvSpPr>
        <p:spPr bwMode="gray">
          <a:xfrm>
            <a:off x="3913142" y="1774070"/>
            <a:ext cx="221951" cy="91516"/>
          </a:xfrm>
          <a:custGeom>
            <a:avLst/>
            <a:gdLst>
              <a:gd name="T0" fmla="*/ 89 w 116"/>
              <a:gd name="T1" fmla="*/ 0 h 42"/>
              <a:gd name="T2" fmla="*/ 87 w 116"/>
              <a:gd name="T3" fmla="*/ 2 h 42"/>
              <a:gd name="T4" fmla="*/ 77 w 116"/>
              <a:gd name="T5" fmla="*/ 6 h 42"/>
              <a:gd name="T6" fmla="*/ 69 w 116"/>
              <a:gd name="T7" fmla="*/ 3 h 42"/>
              <a:gd name="T8" fmla="*/ 68 w 116"/>
              <a:gd name="T9" fmla="*/ 9 h 42"/>
              <a:gd name="T10" fmla="*/ 68 w 116"/>
              <a:gd name="T11" fmla="*/ 8 h 42"/>
              <a:gd name="T12" fmla="*/ 58 w 116"/>
              <a:gd name="T13" fmla="*/ 5 h 42"/>
              <a:gd name="T14" fmla="*/ 54 w 116"/>
              <a:gd name="T15" fmla="*/ 8 h 42"/>
              <a:gd name="T16" fmla="*/ 47 w 116"/>
              <a:gd name="T17" fmla="*/ 5 h 42"/>
              <a:gd name="T18" fmla="*/ 41 w 116"/>
              <a:gd name="T19" fmla="*/ 13 h 42"/>
              <a:gd name="T20" fmla="*/ 35 w 116"/>
              <a:gd name="T21" fmla="*/ 15 h 42"/>
              <a:gd name="T22" fmla="*/ 30 w 116"/>
              <a:gd name="T23" fmla="*/ 11 h 42"/>
              <a:gd name="T24" fmla="*/ 34 w 116"/>
              <a:gd name="T25" fmla="*/ 8 h 42"/>
              <a:gd name="T26" fmla="*/ 18 w 116"/>
              <a:gd name="T27" fmla="*/ 0 h 42"/>
              <a:gd name="T28" fmla="*/ 22 w 116"/>
              <a:gd name="T29" fmla="*/ 3 h 42"/>
              <a:gd name="T30" fmla="*/ 23 w 116"/>
              <a:gd name="T31" fmla="*/ 7 h 42"/>
              <a:gd name="T32" fmla="*/ 15 w 116"/>
              <a:gd name="T33" fmla="*/ 3 h 42"/>
              <a:gd name="T34" fmla="*/ 12 w 116"/>
              <a:gd name="T35" fmla="*/ 6 h 42"/>
              <a:gd name="T36" fmla="*/ 11 w 116"/>
              <a:gd name="T37" fmla="*/ 8 h 42"/>
              <a:gd name="T38" fmla="*/ 14 w 116"/>
              <a:gd name="T39" fmla="*/ 9 h 42"/>
              <a:gd name="T40" fmla="*/ 4 w 116"/>
              <a:gd name="T41" fmla="*/ 8 h 42"/>
              <a:gd name="T42" fmla="*/ 6 w 116"/>
              <a:gd name="T43" fmla="*/ 12 h 42"/>
              <a:gd name="T44" fmla="*/ 0 w 116"/>
              <a:gd name="T45" fmla="*/ 12 h 42"/>
              <a:gd name="T46" fmla="*/ 24 w 116"/>
              <a:gd name="T47" fmla="*/ 13 h 42"/>
              <a:gd name="T48" fmla="*/ 21 w 116"/>
              <a:gd name="T49" fmla="*/ 17 h 42"/>
              <a:gd name="T50" fmla="*/ 24 w 116"/>
              <a:gd name="T51" fmla="*/ 19 h 42"/>
              <a:gd name="T52" fmla="*/ 3 w 116"/>
              <a:gd name="T53" fmla="*/ 21 h 42"/>
              <a:gd name="T54" fmla="*/ 20 w 116"/>
              <a:gd name="T55" fmla="*/ 25 h 42"/>
              <a:gd name="T56" fmla="*/ 26 w 116"/>
              <a:gd name="T57" fmla="*/ 26 h 42"/>
              <a:gd name="T58" fmla="*/ 23 w 116"/>
              <a:gd name="T59" fmla="*/ 29 h 42"/>
              <a:gd name="T60" fmla="*/ 26 w 116"/>
              <a:gd name="T61" fmla="*/ 29 h 42"/>
              <a:gd name="T62" fmla="*/ 23 w 116"/>
              <a:gd name="T63" fmla="*/ 31 h 42"/>
              <a:gd name="T64" fmla="*/ 14 w 116"/>
              <a:gd name="T65" fmla="*/ 35 h 42"/>
              <a:gd name="T66" fmla="*/ 22 w 116"/>
              <a:gd name="T67" fmla="*/ 37 h 42"/>
              <a:gd name="T68" fmla="*/ 38 w 116"/>
              <a:gd name="T69" fmla="*/ 38 h 42"/>
              <a:gd name="T70" fmla="*/ 62 w 116"/>
              <a:gd name="T71" fmla="*/ 42 h 42"/>
              <a:gd name="T72" fmla="*/ 80 w 116"/>
              <a:gd name="T73" fmla="*/ 36 h 42"/>
              <a:gd name="T74" fmla="*/ 96 w 116"/>
              <a:gd name="T75" fmla="*/ 30 h 42"/>
              <a:gd name="T76" fmla="*/ 107 w 116"/>
              <a:gd name="T77" fmla="*/ 24 h 42"/>
              <a:gd name="T78" fmla="*/ 112 w 116"/>
              <a:gd name="T79" fmla="*/ 20 h 42"/>
              <a:gd name="T80" fmla="*/ 116 w 116"/>
              <a:gd name="T81" fmla="*/ 20 h 42"/>
              <a:gd name="T82" fmla="*/ 111 w 116"/>
              <a:gd name="T83" fmla="*/ 17 h 42"/>
              <a:gd name="T84" fmla="*/ 116 w 116"/>
              <a:gd name="T85" fmla="*/ 15 h 42"/>
              <a:gd name="T86" fmla="*/ 116 w 116"/>
              <a:gd name="T87" fmla="*/ 13 h 42"/>
              <a:gd name="T88" fmla="*/ 106 w 116"/>
              <a:gd name="T89" fmla="*/ 13 h 42"/>
              <a:gd name="T90" fmla="*/ 108 w 116"/>
              <a:gd name="T91" fmla="*/ 11 h 42"/>
              <a:gd name="T92" fmla="*/ 104 w 116"/>
              <a:gd name="T93" fmla="*/ 9 h 42"/>
              <a:gd name="T94" fmla="*/ 102 w 116"/>
              <a:gd name="T95" fmla="*/ 6 h 42"/>
              <a:gd name="T96" fmla="*/ 107 w 116"/>
              <a:gd name="T97" fmla="*/ 1 h 42"/>
              <a:gd name="T98" fmla="*/ 99 w 116"/>
              <a:gd name="T99" fmla="*/ 2 h 42"/>
              <a:gd name="T100" fmla="*/ 89 w 116"/>
              <a:gd name="T101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16" h="42">
                <a:moveTo>
                  <a:pt x="89" y="0"/>
                </a:moveTo>
                <a:lnTo>
                  <a:pt x="87" y="2"/>
                </a:lnTo>
                <a:lnTo>
                  <a:pt x="77" y="6"/>
                </a:lnTo>
                <a:lnTo>
                  <a:pt x="69" y="3"/>
                </a:lnTo>
                <a:lnTo>
                  <a:pt x="68" y="9"/>
                </a:lnTo>
                <a:lnTo>
                  <a:pt x="68" y="8"/>
                </a:lnTo>
                <a:lnTo>
                  <a:pt x="58" y="5"/>
                </a:lnTo>
                <a:lnTo>
                  <a:pt x="54" y="8"/>
                </a:lnTo>
                <a:lnTo>
                  <a:pt x="47" y="5"/>
                </a:lnTo>
                <a:lnTo>
                  <a:pt x="41" y="13"/>
                </a:lnTo>
                <a:lnTo>
                  <a:pt x="35" y="15"/>
                </a:lnTo>
                <a:lnTo>
                  <a:pt x="30" y="11"/>
                </a:lnTo>
                <a:lnTo>
                  <a:pt x="34" y="8"/>
                </a:lnTo>
                <a:lnTo>
                  <a:pt x="18" y="0"/>
                </a:lnTo>
                <a:lnTo>
                  <a:pt x="22" y="3"/>
                </a:lnTo>
                <a:lnTo>
                  <a:pt x="23" y="7"/>
                </a:lnTo>
                <a:lnTo>
                  <a:pt x="15" y="3"/>
                </a:lnTo>
                <a:lnTo>
                  <a:pt x="12" y="6"/>
                </a:lnTo>
                <a:lnTo>
                  <a:pt x="11" y="8"/>
                </a:lnTo>
                <a:lnTo>
                  <a:pt x="14" y="9"/>
                </a:lnTo>
                <a:lnTo>
                  <a:pt x="4" y="8"/>
                </a:lnTo>
                <a:lnTo>
                  <a:pt x="6" y="12"/>
                </a:lnTo>
                <a:lnTo>
                  <a:pt x="0" y="12"/>
                </a:lnTo>
                <a:lnTo>
                  <a:pt x="24" y="13"/>
                </a:lnTo>
                <a:lnTo>
                  <a:pt x="21" y="17"/>
                </a:lnTo>
                <a:lnTo>
                  <a:pt x="24" y="19"/>
                </a:lnTo>
                <a:lnTo>
                  <a:pt x="3" y="21"/>
                </a:lnTo>
                <a:lnTo>
                  <a:pt x="20" y="25"/>
                </a:lnTo>
                <a:lnTo>
                  <a:pt x="26" y="26"/>
                </a:lnTo>
                <a:lnTo>
                  <a:pt x="23" y="29"/>
                </a:lnTo>
                <a:lnTo>
                  <a:pt x="26" y="29"/>
                </a:lnTo>
                <a:lnTo>
                  <a:pt x="23" y="31"/>
                </a:lnTo>
                <a:lnTo>
                  <a:pt x="14" y="35"/>
                </a:lnTo>
                <a:lnTo>
                  <a:pt x="22" y="37"/>
                </a:lnTo>
                <a:lnTo>
                  <a:pt x="38" y="38"/>
                </a:lnTo>
                <a:lnTo>
                  <a:pt x="62" y="42"/>
                </a:lnTo>
                <a:lnTo>
                  <a:pt x="80" y="36"/>
                </a:lnTo>
                <a:lnTo>
                  <a:pt x="96" y="30"/>
                </a:lnTo>
                <a:lnTo>
                  <a:pt x="107" y="24"/>
                </a:lnTo>
                <a:lnTo>
                  <a:pt x="112" y="20"/>
                </a:lnTo>
                <a:lnTo>
                  <a:pt x="116" y="20"/>
                </a:lnTo>
                <a:lnTo>
                  <a:pt x="111" y="17"/>
                </a:lnTo>
                <a:lnTo>
                  <a:pt x="116" y="15"/>
                </a:lnTo>
                <a:lnTo>
                  <a:pt x="116" y="13"/>
                </a:lnTo>
                <a:lnTo>
                  <a:pt x="106" y="13"/>
                </a:lnTo>
                <a:lnTo>
                  <a:pt x="108" y="11"/>
                </a:lnTo>
                <a:lnTo>
                  <a:pt x="104" y="9"/>
                </a:lnTo>
                <a:lnTo>
                  <a:pt x="102" y="6"/>
                </a:lnTo>
                <a:lnTo>
                  <a:pt x="107" y="1"/>
                </a:lnTo>
                <a:lnTo>
                  <a:pt x="99" y="2"/>
                </a:lnTo>
                <a:lnTo>
                  <a:pt x="89" y="0"/>
                </a:lnTo>
                <a:close/>
              </a:path>
            </a:pathLst>
          </a:custGeom>
          <a:solidFill>
            <a:schemeClr val="accent1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2" name="Freeform 458">
            <a:extLst>
              <a:ext uri="{FF2B5EF4-FFF2-40B4-BE49-F238E27FC236}">
                <a16:creationId xmlns:a16="http://schemas.microsoft.com/office/drawing/2014/main" id="{AE7A0324-CB4B-4F52-BDCA-85B6AE38B9CD}"/>
              </a:ext>
            </a:extLst>
          </p:cNvPr>
          <p:cNvSpPr>
            <a:spLocks/>
          </p:cNvSpPr>
          <p:nvPr/>
        </p:nvSpPr>
        <p:spPr bwMode="gray">
          <a:xfrm>
            <a:off x="4178107" y="2130400"/>
            <a:ext cx="94630" cy="124620"/>
          </a:xfrm>
          <a:custGeom>
            <a:avLst/>
            <a:gdLst>
              <a:gd name="T0" fmla="*/ 51 w 51"/>
              <a:gd name="T1" fmla="*/ 42 h 58"/>
              <a:gd name="T2" fmla="*/ 51 w 51"/>
              <a:gd name="T3" fmla="*/ 30 h 58"/>
              <a:gd name="T4" fmla="*/ 51 w 51"/>
              <a:gd name="T5" fmla="*/ 18 h 58"/>
              <a:gd name="T6" fmla="*/ 43 w 51"/>
              <a:gd name="T7" fmla="*/ 14 h 58"/>
              <a:gd name="T8" fmla="*/ 40 w 51"/>
              <a:gd name="T9" fmla="*/ 16 h 58"/>
              <a:gd name="T10" fmla="*/ 30 w 51"/>
              <a:gd name="T11" fmla="*/ 14 h 58"/>
              <a:gd name="T12" fmla="*/ 39 w 51"/>
              <a:gd name="T13" fmla="*/ 4 h 58"/>
              <a:gd name="T14" fmla="*/ 41 w 51"/>
              <a:gd name="T15" fmla="*/ 0 h 58"/>
              <a:gd name="T16" fmla="*/ 36 w 51"/>
              <a:gd name="T17" fmla="*/ 2 h 58"/>
              <a:gd name="T18" fmla="*/ 31 w 51"/>
              <a:gd name="T19" fmla="*/ 2 h 58"/>
              <a:gd name="T20" fmla="*/ 22 w 51"/>
              <a:gd name="T21" fmla="*/ 7 h 58"/>
              <a:gd name="T22" fmla="*/ 25 w 51"/>
              <a:gd name="T23" fmla="*/ 10 h 58"/>
              <a:gd name="T24" fmla="*/ 22 w 51"/>
              <a:gd name="T25" fmla="*/ 14 h 58"/>
              <a:gd name="T26" fmla="*/ 7 w 51"/>
              <a:gd name="T27" fmla="*/ 17 h 58"/>
              <a:gd name="T28" fmla="*/ 9 w 51"/>
              <a:gd name="T29" fmla="*/ 20 h 58"/>
              <a:gd name="T30" fmla="*/ 3 w 51"/>
              <a:gd name="T31" fmla="*/ 26 h 58"/>
              <a:gd name="T32" fmla="*/ 16 w 51"/>
              <a:gd name="T33" fmla="*/ 30 h 58"/>
              <a:gd name="T34" fmla="*/ 6 w 51"/>
              <a:gd name="T35" fmla="*/ 41 h 58"/>
              <a:gd name="T36" fmla="*/ 17 w 51"/>
              <a:gd name="T37" fmla="*/ 38 h 58"/>
              <a:gd name="T38" fmla="*/ 6 w 51"/>
              <a:gd name="T39" fmla="*/ 44 h 58"/>
              <a:gd name="T40" fmla="*/ 0 w 51"/>
              <a:gd name="T41" fmla="*/ 47 h 58"/>
              <a:gd name="T42" fmla="*/ 4 w 51"/>
              <a:gd name="T43" fmla="*/ 48 h 58"/>
              <a:gd name="T44" fmla="*/ 0 w 51"/>
              <a:gd name="T45" fmla="*/ 50 h 58"/>
              <a:gd name="T46" fmla="*/ 5 w 51"/>
              <a:gd name="T47" fmla="*/ 53 h 58"/>
              <a:gd name="T48" fmla="*/ 4 w 51"/>
              <a:gd name="T49" fmla="*/ 55 h 58"/>
              <a:gd name="T50" fmla="*/ 9 w 51"/>
              <a:gd name="T51" fmla="*/ 55 h 58"/>
              <a:gd name="T52" fmla="*/ 7 w 51"/>
              <a:gd name="T53" fmla="*/ 58 h 58"/>
              <a:gd name="T54" fmla="*/ 21 w 51"/>
              <a:gd name="T55" fmla="*/ 55 h 58"/>
              <a:gd name="T56" fmla="*/ 33 w 51"/>
              <a:gd name="T57" fmla="*/ 49 h 58"/>
              <a:gd name="T58" fmla="*/ 45 w 51"/>
              <a:gd name="T59" fmla="*/ 48 h 58"/>
              <a:gd name="T60" fmla="*/ 51 w 51"/>
              <a:gd name="T61" fmla="*/ 42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1" h="58">
                <a:moveTo>
                  <a:pt x="51" y="42"/>
                </a:moveTo>
                <a:lnTo>
                  <a:pt x="51" y="30"/>
                </a:lnTo>
                <a:lnTo>
                  <a:pt x="51" y="18"/>
                </a:lnTo>
                <a:lnTo>
                  <a:pt x="43" y="14"/>
                </a:lnTo>
                <a:lnTo>
                  <a:pt x="40" y="16"/>
                </a:lnTo>
                <a:lnTo>
                  <a:pt x="30" y="14"/>
                </a:lnTo>
                <a:lnTo>
                  <a:pt x="39" y="4"/>
                </a:lnTo>
                <a:lnTo>
                  <a:pt x="41" y="0"/>
                </a:lnTo>
                <a:lnTo>
                  <a:pt x="36" y="2"/>
                </a:lnTo>
                <a:lnTo>
                  <a:pt x="31" y="2"/>
                </a:lnTo>
                <a:lnTo>
                  <a:pt x="22" y="7"/>
                </a:lnTo>
                <a:lnTo>
                  <a:pt x="25" y="10"/>
                </a:lnTo>
                <a:lnTo>
                  <a:pt x="22" y="14"/>
                </a:lnTo>
                <a:lnTo>
                  <a:pt x="7" y="17"/>
                </a:lnTo>
                <a:lnTo>
                  <a:pt x="9" y="20"/>
                </a:lnTo>
                <a:lnTo>
                  <a:pt x="3" y="26"/>
                </a:lnTo>
                <a:lnTo>
                  <a:pt x="16" y="30"/>
                </a:lnTo>
                <a:lnTo>
                  <a:pt x="6" y="41"/>
                </a:lnTo>
                <a:lnTo>
                  <a:pt x="17" y="38"/>
                </a:lnTo>
                <a:lnTo>
                  <a:pt x="6" y="44"/>
                </a:lnTo>
                <a:lnTo>
                  <a:pt x="0" y="47"/>
                </a:lnTo>
                <a:lnTo>
                  <a:pt x="4" y="48"/>
                </a:lnTo>
                <a:lnTo>
                  <a:pt x="0" y="50"/>
                </a:lnTo>
                <a:lnTo>
                  <a:pt x="5" y="53"/>
                </a:lnTo>
                <a:lnTo>
                  <a:pt x="4" y="55"/>
                </a:lnTo>
                <a:lnTo>
                  <a:pt x="9" y="55"/>
                </a:lnTo>
                <a:lnTo>
                  <a:pt x="7" y="58"/>
                </a:lnTo>
                <a:lnTo>
                  <a:pt x="21" y="55"/>
                </a:lnTo>
                <a:lnTo>
                  <a:pt x="33" y="49"/>
                </a:lnTo>
                <a:lnTo>
                  <a:pt x="45" y="48"/>
                </a:lnTo>
                <a:lnTo>
                  <a:pt x="51" y="42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3" name="Freeform 459">
            <a:extLst>
              <a:ext uri="{FF2B5EF4-FFF2-40B4-BE49-F238E27FC236}">
                <a16:creationId xmlns:a16="http://schemas.microsoft.com/office/drawing/2014/main" id="{8430F632-8945-4C9F-B237-C6DEA432FB3B}"/>
              </a:ext>
            </a:extLst>
          </p:cNvPr>
          <p:cNvSpPr>
            <a:spLocks/>
          </p:cNvSpPr>
          <p:nvPr/>
        </p:nvSpPr>
        <p:spPr bwMode="gray">
          <a:xfrm>
            <a:off x="4281341" y="2021360"/>
            <a:ext cx="175497" cy="282338"/>
          </a:xfrm>
          <a:custGeom>
            <a:avLst/>
            <a:gdLst>
              <a:gd name="T0" fmla="*/ 8 w 92"/>
              <a:gd name="T1" fmla="*/ 39 h 129"/>
              <a:gd name="T2" fmla="*/ 15 w 92"/>
              <a:gd name="T3" fmla="*/ 40 h 129"/>
              <a:gd name="T4" fmla="*/ 10 w 92"/>
              <a:gd name="T5" fmla="*/ 52 h 129"/>
              <a:gd name="T6" fmla="*/ 18 w 92"/>
              <a:gd name="T7" fmla="*/ 57 h 129"/>
              <a:gd name="T8" fmla="*/ 28 w 92"/>
              <a:gd name="T9" fmla="*/ 60 h 129"/>
              <a:gd name="T10" fmla="*/ 34 w 92"/>
              <a:gd name="T11" fmla="*/ 79 h 129"/>
              <a:gd name="T12" fmla="*/ 15 w 92"/>
              <a:gd name="T13" fmla="*/ 86 h 129"/>
              <a:gd name="T14" fmla="*/ 21 w 92"/>
              <a:gd name="T15" fmla="*/ 92 h 129"/>
              <a:gd name="T16" fmla="*/ 8 w 92"/>
              <a:gd name="T17" fmla="*/ 104 h 129"/>
              <a:gd name="T18" fmla="*/ 26 w 92"/>
              <a:gd name="T19" fmla="*/ 109 h 129"/>
              <a:gd name="T20" fmla="*/ 34 w 92"/>
              <a:gd name="T21" fmla="*/ 109 h 129"/>
              <a:gd name="T22" fmla="*/ 12 w 92"/>
              <a:gd name="T23" fmla="*/ 121 h 129"/>
              <a:gd name="T24" fmla="*/ 4 w 92"/>
              <a:gd name="T25" fmla="*/ 129 h 129"/>
              <a:gd name="T26" fmla="*/ 22 w 92"/>
              <a:gd name="T27" fmla="*/ 127 h 129"/>
              <a:gd name="T28" fmla="*/ 38 w 92"/>
              <a:gd name="T29" fmla="*/ 121 h 129"/>
              <a:gd name="T30" fmla="*/ 72 w 92"/>
              <a:gd name="T31" fmla="*/ 120 h 129"/>
              <a:gd name="T32" fmla="*/ 77 w 92"/>
              <a:gd name="T33" fmla="*/ 108 h 129"/>
              <a:gd name="T34" fmla="*/ 92 w 92"/>
              <a:gd name="T35" fmla="*/ 93 h 129"/>
              <a:gd name="T36" fmla="*/ 72 w 92"/>
              <a:gd name="T37" fmla="*/ 87 h 129"/>
              <a:gd name="T38" fmla="*/ 64 w 92"/>
              <a:gd name="T39" fmla="*/ 74 h 129"/>
              <a:gd name="T40" fmla="*/ 68 w 92"/>
              <a:gd name="T41" fmla="*/ 69 h 129"/>
              <a:gd name="T42" fmla="*/ 46 w 92"/>
              <a:gd name="T43" fmla="*/ 40 h 129"/>
              <a:gd name="T44" fmla="*/ 39 w 92"/>
              <a:gd name="T45" fmla="*/ 36 h 129"/>
              <a:gd name="T46" fmla="*/ 36 w 92"/>
              <a:gd name="T47" fmla="*/ 32 h 129"/>
              <a:gd name="T48" fmla="*/ 26 w 92"/>
              <a:gd name="T49" fmla="*/ 15 h 129"/>
              <a:gd name="T50" fmla="*/ 24 w 92"/>
              <a:gd name="T51" fmla="*/ 12 h 129"/>
              <a:gd name="T52" fmla="*/ 15 w 92"/>
              <a:gd name="T53" fmla="*/ 0 h 129"/>
              <a:gd name="T54" fmla="*/ 10 w 92"/>
              <a:gd name="T55" fmla="*/ 9 h 129"/>
              <a:gd name="T56" fmla="*/ 5 w 92"/>
              <a:gd name="T57" fmla="*/ 16 h 129"/>
              <a:gd name="T58" fmla="*/ 4 w 92"/>
              <a:gd name="T59" fmla="*/ 21 h 129"/>
              <a:gd name="T60" fmla="*/ 2 w 92"/>
              <a:gd name="T61" fmla="*/ 28 h 129"/>
              <a:gd name="T62" fmla="*/ 9 w 92"/>
              <a:gd name="T63" fmla="*/ 28 h 129"/>
              <a:gd name="T64" fmla="*/ 2 w 92"/>
              <a:gd name="T65" fmla="*/ 5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2" h="129">
                <a:moveTo>
                  <a:pt x="2" y="50"/>
                </a:moveTo>
                <a:lnTo>
                  <a:pt x="8" y="39"/>
                </a:lnTo>
                <a:lnTo>
                  <a:pt x="11" y="39"/>
                </a:lnTo>
                <a:lnTo>
                  <a:pt x="15" y="40"/>
                </a:lnTo>
                <a:lnTo>
                  <a:pt x="14" y="44"/>
                </a:lnTo>
                <a:lnTo>
                  <a:pt x="10" y="52"/>
                </a:lnTo>
                <a:lnTo>
                  <a:pt x="12" y="58"/>
                </a:lnTo>
                <a:lnTo>
                  <a:pt x="18" y="57"/>
                </a:lnTo>
                <a:lnTo>
                  <a:pt x="32" y="55"/>
                </a:lnTo>
                <a:lnTo>
                  <a:pt x="28" y="60"/>
                </a:lnTo>
                <a:lnTo>
                  <a:pt x="34" y="67"/>
                </a:lnTo>
                <a:lnTo>
                  <a:pt x="34" y="79"/>
                </a:lnTo>
                <a:lnTo>
                  <a:pt x="30" y="80"/>
                </a:lnTo>
                <a:lnTo>
                  <a:pt x="15" y="86"/>
                </a:lnTo>
                <a:lnTo>
                  <a:pt x="17" y="86"/>
                </a:lnTo>
                <a:lnTo>
                  <a:pt x="21" y="92"/>
                </a:lnTo>
                <a:lnTo>
                  <a:pt x="10" y="100"/>
                </a:lnTo>
                <a:lnTo>
                  <a:pt x="8" y="104"/>
                </a:lnTo>
                <a:lnTo>
                  <a:pt x="21" y="105"/>
                </a:lnTo>
                <a:lnTo>
                  <a:pt x="26" y="109"/>
                </a:lnTo>
                <a:lnTo>
                  <a:pt x="40" y="104"/>
                </a:lnTo>
                <a:lnTo>
                  <a:pt x="34" y="109"/>
                </a:lnTo>
                <a:lnTo>
                  <a:pt x="23" y="112"/>
                </a:lnTo>
                <a:lnTo>
                  <a:pt x="12" y="121"/>
                </a:lnTo>
                <a:lnTo>
                  <a:pt x="0" y="128"/>
                </a:lnTo>
                <a:lnTo>
                  <a:pt x="4" y="129"/>
                </a:lnTo>
                <a:lnTo>
                  <a:pt x="8" y="129"/>
                </a:lnTo>
                <a:lnTo>
                  <a:pt x="22" y="127"/>
                </a:lnTo>
                <a:lnTo>
                  <a:pt x="27" y="123"/>
                </a:lnTo>
                <a:lnTo>
                  <a:pt x="38" y="121"/>
                </a:lnTo>
                <a:lnTo>
                  <a:pt x="52" y="120"/>
                </a:lnTo>
                <a:lnTo>
                  <a:pt x="72" y="120"/>
                </a:lnTo>
                <a:lnTo>
                  <a:pt x="87" y="110"/>
                </a:lnTo>
                <a:lnTo>
                  <a:pt x="77" y="108"/>
                </a:lnTo>
                <a:lnTo>
                  <a:pt x="81" y="104"/>
                </a:lnTo>
                <a:lnTo>
                  <a:pt x="92" y="93"/>
                </a:lnTo>
                <a:lnTo>
                  <a:pt x="87" y="87"/>
                </a:lnTo>
                <a:lnTo>
                  <a:pt x="72" y="87"/>
                </a:lnTo>
                <a:lnTo>
                  <a:pt x="74" y="84"/>
                </a:lnTo>
                <a:lnTo>
                  <a:pt x="64" y="74"/>
                </a:lnTo>
                <a:lnTo>
                  <a:pt x="69" y="75"/>
                </a:lnTo>
                <a:lnTo>
                  <a:pt x="68" y="69"/>
                </a:lnTo>
                <a:lnTo>
                  <a:pt x="58" y="61"/>
                </a:lnTo>
                <a:lnTo>
                  <a:pt x="46" y="40"/>
                </a:lnTo>
                <a:lnTo>
                  <a:pt x="29" y="39"/>
                </a:lnTo>
                <a:lnTo>
                  <a:pt x="39" y="36"/>
                </a:lnTo>
                <a:lnTo>
                  <a:pt x="33" y="33"/>
                </a:lnTo>
                <a:lnTo>
                  <a:pt x="36" y="32"/>
                </a:lnTo>
                <a:lnTo>
                  <a:pt x="48" y="15"/>
                </a:lnTo>
                <a:lnTo>
                  <a:pt x="26" y="15"/>
                </a:lnTo>
                <a:lnTo>
                  <a:pt x="21" y="14"/>
                </a:lnTo>
                <a:lnTo>
                  <a:pt x="24" y="12"/>
                </a:lnTo>
                <a:lnTo>
                  <a:pt x="34" y="2"/>
                </a:lnTo>
                <a:lnTo>
                  <a:pt x="15" y="0"/>
                </a:lnTo>
                <a:lnTo>
                  <a:pt x="11" y="6"/>
                </a:lnTo>
                <a:lnTo>
                  <a:pt x="10" y="9"/>
                </a:lnTo>
                <a:lnTo>
                  <a:pt x="6" y="12"/>
                </a:lnTo>
                <a:lnTo>
                  <a:pt x="5" y="16"/>
                </a:lnTo>
                <a:lnTo>
                  <a:pt x="5" y="18"/>
                </a:lnTo>
                <a:lnTo>
                  <a:pt x="4" y="21"/>
                </a:lnTo>
                <a:lnTo>
                  <a:pt x="0" y="27"/>
                </a:lnTo>
                <a:lnTo>
                  <a:pt x="2" y="28"/>
                </a:lnTo>
                <a:lnTo>
                  <a:pt x="0" y="31"/>
                </a:lnTo>
                <a:lnTo>
                  <a:pt x="9" y="28"/>
                </a:lnTo>
                <a:lnTo>
                  <a:pt x="8" y="30"/>
                </a:lnTo>
                <a:lnTo>
                  <a:pt x="2" y="50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4" name="Freeform 460">
            <a:extLst>
              <a:ext uri="{FF2B5EF4-FFF2-40B4-BE49-F238E27FC236}">
                <a16:creationId xmlns:a16="http://schemas.microsoft.com/office/drawing/2014/main" id="{F865931C-BAE0-4EBD-B853-FFC0EAB620F2}"/>
              </a:ext>
            </a:extLst>
          </p:cNvPr>
          <p:cNvSpPr>
            <a:spLocks/>
          </p:cNvSpPr>
          <p:nvPr/>
        </p:nvSpPr>
        <p:spPr bwMode="gray">
          <a:xfrm>
            <a:off x="4234886" y="2130400"/>
            <a:ext cx="49896" cy="38943"/>
          </a:xfrm>
          <a:custGeom>
            <a:avLst/>
            <a:gdLst>
              <a:gd name="T0" fmla="*/ 28 w 28"/>
              <a:gd name="T1" fmla="*/ 13 h 18"/>
              <a:gd name="T2" fmla="*/ 27 w 28"/>
              <a:gd name="T3" fmla="*/ 8 h 18"/>
              <a:gd name="T4" fmla="*/ 19 w 28"/>
              <a:gd name="T5" fmla="*/ 0 h 18"/>
              <a:gd name="T6" fmla="*/ 9 w 28"/>
              <a:gd name="T7" fmla="*/ 4 h 18"/>
              <a:gd name="T8" fmla="*/ 0 w 28"/>
              <a:gd name="T9" fmla="*/ 14 h 18"/>
              <a:gd name="T10" fmla="*/ 10 w 28"/>
              <a:gd name="T11" fmla="*/ 16 h 18"/>
              <a:gd name="T12" fmla="*/ 13 w 28"/>
              <a:gd name="T13" fmla="*/ 14 h 18"/>
              <a:gd name="T14" fmla="*/ 21 w 28"/>
              <a:gd name="T15" fmla="*/ 18 h 18"/>
              <a:gd name="T16" fmla="*/ 28 w 28"/>
              <a:gd name="T17" fmla="*/ 13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18">
                <a:moveTo>
                  <a:pt x="28" y="13"/>
                </a:moveTo>
                <a:lnTo>
                  <a:pt x="27" y="8"/>
                </a:lnTo>
                <a:lnTo>
                  <a:pt x="19" y="0"/>
                </a:lnTo>
                <a:lnTo>
                  <a:pt x="9" y="4"/>
                </a:lnTo>
                <a:lnTo>
                  <a:pt x="0" y="14"/>
                </a:lnTo>
                <a:lnTo>
                  <a:pt x="10" y="16"/>
                </a:lnTo>
                <a:lnTo>
                  <a:pt x="13" y="14"/>
                </a:lnTo>
                <a:lnTo>
                  <a:pt x="21" y="18"/>
                </a:lnTo>
                <a:lnTo>
                  <a:pt x="28" y="1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5" name="Freeform 461">
            <a:extLst>
              <a:ext uri="{FF2B5EF4-FFF2-40B4-BE49-F238E27FC236}">
                <a16:creationId xmlns:a16="http://schemas.microsoft.com/office/drawing/2014/main" id="{0E959A35-2FEE-42D7-8412-FF32679D6460}"/>
              </a:ext>
            </a:extLst>
          </p:cNvPr>
          <p:cNvSpPr>
            <a:spLocks/>
          </p:cNvSpPr>
          <p:nvPr/>
        </p:nvSpPr>
        <p:spPr bwMode="gray">
          <a:xfrm>
            <a:off x="4265856" y="2056408"/>
            <a:ext cx="22367" cy="13630"/>
          </a:xfrm>
          <a:custGeom>
            <a:avLst/>
            <a:gdLst>
              <a:gd name="T0" fmla="*/ 7 w 12"/>
              <a:gd name="T1" fmla="*/ 1 h 7"/>
              <a:gd name="T2" fmla="*/ 4 w 12"/>
              <a:gd name="T3" fmla="*/ 0 h 7"/>
              <a:gd name="T4" fmla="*/ 0 w 12"/>
              <a:gd name="T5" fmla="*/ 4 h 7"/>
              <a:gd name="T6" fmla="*/ 11 w 12"/>
              <a:gd name="T7" fmla="*/ 7 h 7"/>
              <a:gd name="T8" fmla="*/ 12 w 12"/>
              <a:gd name="T9" fmla="*/ 5 h 7"/>
              <a:gd name="T10" fmla="*/ 7 w 12"/>
              <a:gd name="T11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" h="7">
                <a:moveTo>
                  <a:pt x="7" y="1"/>
                </a:moveTo>
                <a:lnTo>
                  <a:pt x="4" y="0"/>
                </a:lnTo>
                <a:lnTo>
                  <a:pt x="0" y="4"/>
                </a:lnTo>
                <a:lnTo>
                  <a:pt x="11" y="7"/>
                </a:lnTo>
                <a:lnTo>
                  <a:pt x="12" y="5"/>
                </a:lnTo>
                <a:lnTo>
                  <a:pt x="7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6" name="Freeform 462">
            <a:extLst>
              <a:ext uri="{FF2B5EF4-FFF2-40B4-BE49-F238E27FC236}">
                <a16:creationId xmlns:a16="http://schemas.microsoft.com/office/drawing/2014/main" id="{55A6A8F0-58EA-4BD5-BA56-97853635444A}"/>
              </a:ext>
            </a:extLst>
          </p:cNvPr>
          <p:cNvSpPr>
            <a:spLocks/>
          </p:cNvSpPr>
          <p:nvPr/>
        </p:nvSpPr>
        <p:spPr bwMode="gray">
          <a:xfrm>
            <a:off x="4260694" y="2031095"/>
            <a:ext cx="20647" cy="11683"/>
          </a:xfrm>
          <a:custGeom>
            <a:avLst/>
            <a:gdLst>
              <a:gd name="T0" fmla="*/ 9 w 9"/>
              <a:gd name="T1" fmla="*/ 3 h 7"/>
              <a:gd name="T2" fmla="*/ 8 w 9"/>
              <a:gd name="T3" fmla="*/ 0 h 7"/>
              <a:gd name="T4" fmla="*/ 1 w 9"/>
              <a:gd name="T5" fmla="*/ 4 h 7"/>
              <a:gd name="T6" fmla="*/ 0 w 9"/>
              <a:gd name="T7" fmla="*/ 7 h 7"/>
              <a:gd name="T8" fmla="*/ 9 w 9"/>
              <a:gd name="T9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7">
                <a:moveTo>
                  <a:pt x="9" y="3"/>
                </a:moveTo>
                <a:lnTo>
                  <a:pt x="8" y="0"/>
                </a:lnTo>
                <a:lnTo>
                  <a:pt x="1" y="4"/>
                </a:lnTo>
                <a:lnTo>
                  <a:pt x="0" y="7"/>
                </a:lnTo>
                <a:lnTo>
                  <a:pt x="9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7" name="Freeform 463">
            <a:extLst>
              <a:ext uri="{FF2B5EF4-FFF2-40B4-BE49-F238E27FC236}">
                <a16:creationId xmlns:a16="http://schemas.microsoft.com/office/drawing/2014/main" id="{7613B545-6454-4687-A230-05327696B29F}"/>
              </a:ext>
            </a:extLst>
          </p:cNvPr>
          <p:cNvSpPr>
            <a:spLocks/>
          </p:cNvSpPr>
          <p:nvPr/>
        </p:nvSpPr>
        <p:spPr bwMode="gray">
          <a:xfrm>
            <a:off x="4384575" y="1960998"/>
            <a:ext cx="6882" cy="17526"/>
          </a:xfrm>
          <a:custGeom>
            <a:avLst/>
            <a:gdLst>
              <a:gd name="T0" fmla="*/ 3 w 5"/>
              <a:gd name="T1" fmla="*/ 0 h 7"/>
              <a:gd name="T2" fmla="*/ 1 w 5"/>
              <a:gd name="T3" fmla="*/ 2 h 7"/>
              <a:gd name="T4" fmla="*/ 0 w 5"/>
              <a:gd name="T5" fmla="*/ 5 h 7"/>
              <a:gd name="T6" fmla="*/ 1 w 5"/>
              <a:gd name="T7" fmla="*/ 7 h 7"/>
              <a:gd name="T8" fmla="*/ 5 w 5"/>
              <a:gd name="T9" fmla="*/ 0 h 7"/>
              <a:gd name="T10" fmla="*/ 3 w 5"/>
              <a:gd name="T11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7">
                <a:moveTo>
                  <a:pt x="3" y="0"/>
                </a:moveTo>
                <a:lnTo>
                  <a:pt x="1" y="2"/>
                </a:lnTo>
                <a:lnTo>
                  <a:pt x="0" y="5"/>
                </a:lnTo>
                <a:lnTo>
                  <a:pt x="1" y="7"/>
                </a:lnTo>
                <a:lnTo>
                  <a:pt x="5" y="0"/>
                </a:lnTo>
                <a:lnTo>
                  <a:pt x="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8" name="Freeform 464">
            <a:extLst>
              <a:ext uri="{FF2B5EF4-FFF2-40B4-BE49-F238E27FC236}">
                <a16:creationId xmlns:a16="http://schemas.microsoft.com/office/drawing/2014/main" id="{D02C8A1F-EA9A-4E20-9D45-97E03B765C2F}"/>
              </a:ext>
            </a:extLst>
          </p:cNvPr>
          <p:cNvSpPr>
            <a:spLocks/>
          </p:cNvSpPr>
          <p:nvPr/>
        </p:nvSpPr>
        <p:spPr bwMode="gray">
          <a:xfrm>
            <a:off x="4276180" y="2091457"/>
            <a:ext cx="12045" cy="3894"/>
          </a:xfrm>
          <a:custGeom>
            <a:avLst/>
            <a:gdLst>
              <a:gd name="T0" fmla="*/ 0 w 6"/>
              <a:gd name="T1" fmla="*/ 2 h 2"/>
              <a:gd name="T2" fmla="*/ 6 w 6"/>
              <a:gd name="T3" fmla="*/ 0 h 2"/>
              <a:gd name="T4" fmla="*/ 0 w 6"/>
              <a:gd name="T5" fmla="*/ 0 h 2"/>
              <a:gd name="T6" fmla="*/ 0 w 6"/>
              <a:gd name="T7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2">
                <a:moveTo>
                  <a:pt x="0" y="2"/>
                </a:moveTo>
                <a:lnTo>
                  <a:pt x="6" y="0"/>
                </a:ln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9" name="Freeform 465">
            <a:extLst>
              <a:ext uri="{FF2B5EF4-FFF2-40B4-BE49-F238E27FC236}">
                <a16:creationId xmlns:a16="http://schemas.microsoft.com/office/drawing/2014/main" id="{CE65DB64-E9B7-49D8-89DF-07095DDAA09B}"/>
              </a:ext>
            </a:extLst>
          </p:cNvPr>
          <p:cNvSpPr>
            <a:spLocks/>
          </p:cNvSpPr>
          <p:nvPr/>
        </p:nvSpPr>
        <p:spPr bwMode="gray">
          <a:xfrm>
            <a:off x="4310590" y="2190762"/>
            <a:ext cx="8604" cy="9735"/>
          </a:xfrm>
          <a:custGeom>
            <a:avLst/>
            <a:gdLst>
              <a:gd name="T0" fmla="*/ 5 w 5"/>
              <a:gd name="T1" fmla="*/ 3 h 4"/>
              <a:gd name="T2" fmla="*/ 1 w 5"/>
              <a:gd name="T3" fmla="*/ 0 h 4"/>
              <a:gd name="T4" fmla="*/ 0 w 5"/>
              <a:gd name="T5" fmla="*/ 4 h 4"/>
              <a:gd name="T6" fmla="*/ 5 w 5"/>
              <a:gd name="T7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4">
                <a:moveTo>
                  <a:pt x="5" y="3"/>
                </a:moveTo>
                <a:lnTo>
                  <a:pt x="1" y="0"/>
                </a:lnTo>
                <a:lnTo>
                  <a:pt x="0" y="4"/>
                </a:lnTo>
                <a:lnTo>
                  <a:pt x="5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0" name="Freeform 466">
            <a:extLst>
              <a:ext uri="{FF2B5EF4-FFF2-40B4-BE49-F238E27FC236}">
                <a16:creationId xmlns:a16="http://schemas.microsoft.com/office/drawing/2014/main" id="{3ABCB0A5-3012-449D-9DD4-923CB9EA88F2}"/>
              </a:ext>
            </a:extLst>
          </p:cNvPr>
          <p:cNvSpPr>
            <a:spLocks/>
          </p:cNvSpPr>
          <p:nvPr/>
        </p:nvSpPr>
        <p:spPr bwMode="gray">
          <a:xfrm>
            <a:off x="4453398" y="2554881"/>
            <a:ext cx="3441" cy="7789"/>
          </a:xfrm>
          <a:custGeom>
            <a:avLst/>
            <a:gdLst>
              <a:gd name="T0" fmla="*/ 4 w 4"/>
              <a:gd name="T1" fmla="*/ 0 h 2"/>
              <a:gd name="T2" fmla="*/ 0 w 4"/>
              <a:gd name="T3" fmla="*/ 1 h 2"/>
              <a:gd name="T4" fmla="*/ 0 w 4"/>
              <a:gd name="T5" fmla="*/ 2 h 2"/>
              <a:gd name="T6" fmla="*/ 4 w 4"/>
              <a:gd name="T7" fmla="*/ 2 h 2"/>
              <a:gd name="T8" fmla="*/ 4 w 4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2">
                <a:moveTo>
                  <a:pt x="4" y="0"/>
                </a:moveTo>
                <a:lnTo>
                  <a:pt x="0" y="1"/>
                </a:lnTo>
                <a:lnTo>
                  <a:pt x="0" y="2"/>
                </a:lnTo>
                <a:lnTo>
                  <a:pt x="4" y="2"/>
                </a:lnTo>
                <a:lnTo>
                  <a:pt x="4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1" name="Freeform 467">
            <a:extLst>
              <a:ext uri="{FF2B5EF4-FFF2-40B4-BE49-F238E27FC236}">
                <a16:creationId xmlns:a16="http://schemas.microsoft.com/office/drawing/2014/main" id="{710872CE-5D14-4466-BFA8-C88EB072E027}"/>
              </a:ext>
            </a:extLst>
          </p:cNvPr>
          <p:cNvSpPr>
            <a:spLocks/>
          </p:cNvSpPr>
          <p:nvPr/>
        </p:nvSpPr>
        <p:spPr bwMode="gray">
          <a:xfrm>
            <a:off x="3760012" y="2720390"/>
            <a:ext cx="18926" cy="3894"/>
          </a:xfrm>
          <a:custGeom>
            <a:avLst/>
            <a:gdLst>
              <a:gd name="T0" fmla="*/ 2 w 10"/>
              <a:gd name="T1" fmla="*/ 3 h 3"/>
              <a:gd name="T2" fmla="*/ 0 w 10"/>
              <a:gd name="T3" fmla="*/ 0 h 3"/>
              <a:gd name="T4" fmla="*/ 10 w 10"/>
              <a:gd name="T5" fmla="*/ 2 h 3"/>
              <a:gd name="T6" fmla="*/ 2 w 10"/>
              <a:gd name="T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" h="3">
                <a:moveTo>
                  <a:pt x="2" y="3"/>
                </a:moveTo>
                <a:lnTo>
                  <a:pt x="0" y="0"/>
                </a:lnTo>
                <a:lnTo>
                  <a:pt x="10" y="2"/>
                </a:lnTo>
                <a:lnTo>
                  <a:pt x="2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2" name="Freeform 468">
            <a:extLst>
              <a:ext uri="{FF2B5EF4-FFF2-40B4-BE49-F238E27FC236}">
                <a16:creationId xmlns:a16="http://schemas.microsoft.com/office/drawing/2014/main" id="{502E6B53-6437-4DB6-A727-4DFE4DBA59C0}"/>
              </a:ext>
            </a:extLst>
          </p:cNvPr>
          <p:cNvSpPr>
            <a:spLocks/>
          </p:cNvSpPr>
          <p:nvPr/>
        </p:nvSpPr>
        <p:spPr bwMode="gray">
          <a:xfrm>
            <a:off x="3694631" y="2697025"/>
            <a:ext cx="12045" cy="5841"/>
          </a:xfrm>
          <a:custGeom>
            <a:avLst/>
            <a:gdLst>
              <a:gd name="T0" fmla="*/ 3 w 7"/>
              <a:gd name="T1" fmla="*/ 0 h 2"/>
              <a:gd name="T2" fmla="*/ 0 w 7"/>
              <a:gd name="T3" fmla="*/ 2 h 2"/>
              <a:gd name="T4" fmla="*/ 7 w 7"/>
              <a:gd name="T5" fmla="*/ 2 h 2"/>
              <a:gd name="T6" fmla="*/ 3 w 7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2">
                <a:moveTo>
                  <a:pt x="3" y="0"/>
                </a:moveTo>
                <a:lnTo>
                  <a:pt x="0" y="2"/>
                </a:lnTo>
                <a:lnTo>
                  <a:pt x="7" y="2"/>
                </a:lnTo>
                <a:lnTo>
                  <a:pt x="3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3" name="Freeform 469">
            <a:extLst>
              <a:ext uri="{FF2B5EF4-FFF2-40B4-BE49-F238E27FC236}">
                <a16:creationId xmlns:a16="http://schemas.microsoft.com/office/drawing/2014/main" id="{19D72B00-EC3E-4670-A0F7-68CF26495C0B}"/>
              </a:ext>
            </a:extLst>
          </p:cNvPr>
          <p:cNvSpPr>
            <a:spLocks/>
          </p:cNvSpPr>
          <p:nvPr/>
        </p:nvSpPr>
        <p:spPr bwMode="gray">
          <a:xfrm>
            <a:off x="3725602" y="2689236"/>
            <a:ext cx="6882" cy="3894"/>
          </a:xfrm>
          <a:custGeom>
            <a:avLst/>
            <a:gdLst>
              <a:gd name="T0" fmla="*/ 4 w 4"/>
              <a:gd name="T1" fmla="*/ 1 h 2"/>
              <a:gd name="T2" fmla="*/ 0 w 4"/>
              <a:gd name="T3" fmla="*/ 2 h 2"/>
              <a:gd name="T4" fmla="*/ 1 w 4"/>
              <a:gd name="T5" fmla="*/ 0 h 2"/>
              <a:gd name="T6" fmla="*/ 4 w 4"/>
              <a:gd name="T7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2">
                <a:moveTo>
                  <a:pt x="4" y="1"/>
                </a:moveTo>
                <a:lnTo>
                  <a:pt x="0" y="2"/>
                </a:lnTo>
                <a:lnTo>
                  <a:pt x="1" y="0"/>
                </a:lnTo>
                <a:lnTo>
                  <a:pt x="4" y="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4" name="Freeform 470">
            <a:extLst>
              <a:ext uri="{FF2B5EF4-FFF2-40B4-BE49-F238E27FC236}">
                <a16:creationId xmlns:a16="http://schemas.microsoft.com/office/drawing/2014/main" id="{4998E802-791D-4787-88B5-8AAC069C7158}"/>
              </a:ext>
            </a:extLst>
          </p:cNvPr>
          <p:cNvSpPr>
            <a:spLocks/>
          </p:cNvSpPr>
          <p:nvPr/>
        </p:nvSpPr>
        <p:spPr bwMode="gray">
          <a:xfrm>
            <a:off x="2732841" y="2915107"/>
            <a:ext cx="8604" cy="3894"/>
          </a:xfrm>
          <a:custGeom>
            <a:avLst/>
            <a:gdLst>
              <a:gd name="T0" fmla="*/ 2 w 2"/>
              <a:gd name="T1" fmla="*/ 0 h 1"/>
              <a:gd name="T2" fmla="*/ 1 w 2"/>
              <a:gd name="T3" fmla="*/ 1 h 1"/>
              <a:gd name="T4" fmla="*/ 0 w 2"/>
              <a:gd name="T5" fmla="*/ 1 h 1"/>
              <a:gd name="T6" fmla="*/ 1 w 2"/>
              <a:gd name="T7" fmla="*/ 1 h 1"/>
              <a:gd name="T8" fmla="*/ 2 w 2"/>
              <a:gd name="T9" fmla="*/ 1 h 1"/>
              <a:gd name="T10" fmla="*/ 2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1" y="1"/>
                </a:lnTo>
                <a:lnTo>
                  <a:pt x="0" y="1"/>
                </a:lnTo>
                <a:lnTo>
                  <a:pt x="1" y="1"/>
                </a:lnTo>
                <a:lnTo>
                  <a:pt x="2" y="1"/>
                </a:lnTo>
                <a:lnTo>
                  <a:pt x="2" y="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5" name="Freeform 471">
            <a:extLst>
              <a:ext uri="{FF2B5EF4-FFF2-40B4-BE49-F238E27FC236}">
                <a16:creationId xmlns:a16="http://schemas.microsoft.com/office/drawing/2014/main" id="{DDE2115B-758C-4420-9046-DB45B842FCC9}"/>
              </a:ext>
            </a:extLst>
          </p:cNvPr>
          <p:cNvSpPr>
            <a:spLocks/>
          </p:cNvSpPr>
          <p:nvPr/>
        </p:nvSpPr>
        <p:spPr bwMode="gray">
          <a:xfrm>
            <a:off x="4178107" y="2576300"/>
            <a:ext cx="79147" cy="173298"/>
          </a:xfrm>
          <a:custGeom>
            <a:avLst/>
            <a:gdLst>
              <a:gd name="T0" fmla="*/ 19 w 43"/>
              <a:gd name="T1" fmla="*/ 0 h 80"/>
              <a:gd name="T2" fmla="*/ 12 w 43"/>
              <a:gd name="T3" fmla="*/ 2 h 80"/>
              <a:gd name="T4" fmla="*/ 12 w 43"/>
              <a:gd name="T5" fmla="*/ 20 h 80"/>
              <a:gd name="T6" fmla="*/ 7 w 43"/>
              <a:gd name="T7" fmla="*/ 32 h 80"/>
              <a:gd name="T8" fmla="*/ 3 w 43"/>
              <a:gd name="T9" fmla="*/ 42 h 80"/>
              <a:gd name="T10" fmla="*/ 0 w 43"/>
              <a:gd name="T11" fmla="*/ 53 h 80"/>
              <a:gd name="T12" fmla="*/ 6 w 43"/>
              <a:gd name="T13" fmla="*/ 58 h 80"/>
              <a:gd name="T14" fmla="*/ 9 w 43"/>
              <a:gd name="T15" fmla="*/ 58 h 80"/>
              <a:gd name="T16" fmla="*/ 7 w 43"/>
              <a:gd name="T17" fmla="*/ 80 h 80"/>
              <a:gd name="T18" fmla="*/ 27 w 43"/>
              <a:gd name="T19" fmla="*/ 78 h 80"/>
              <a:gd name="T20" fmla="*/ 27 w 43"/>
              <a:gd name="T21" fmla="*/ 74 h 80"/>
              <a:gd name="T22" fmla="*/ 31 w 43"/>
              <a:gd name="T23" fmla="*/ 64 h 80"/>
              <a:gd name="T24" fmla="*/ 30 w 43"/>
              <a:gd name="T25" fmla="*/ 60 h 80"/>
              <a:gd name="T26" fmla="*/ 31 w 43"/>
              <a:gd name="T27" fmla="*/ 52 h 80"/>
              <a:gd name="T28" fmla="*/ 27 w 43"/>
              <a:gd name="T29" fmla="*/ 39 h 80"/>
              <a:gd name="T30" fmla="*/ 31 w 43"/>
              <a:gd name="T31" fmla="*/ 38 h 80"/>
              <a:gd name="T32" fmla="*/ 36 w 43"/>
              <a:gd name="T33" fmla="*/ 18 h 80"/>
              <a:gd name="T34" fmla="*/ 43 w 43"/>
              <a:gd name="T35" fmla="*/ 10 h 80"/>
              <a:gd name="T36" fmla="*/ 41 w 43"/>
              <a:gd name="T37" fmla="*/ 3 h 80"/>
              <a:gd name="T38" fmla="*/ 23 w 43"/>
              <a:gd name="T39" fmla="*/ 3 h 80"/>
              <a:gd name="T40" fmla="*/ 19 w 43"/>
              <a:gd name="T41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3" h="80">
                <a:moveTo>
                  <a:pt x="19" y="0"/>
                </a:moveTo>
                <a:lnTo>
                  <a:pt x="12" y="2"/>
                </a:lnTo>
                <a:lnTo>
                  <a:pt x="12" y="20"/>
                </a:lnTo>
                <a:lnTo>
                  <a:pt x="7" y="32"/>
                </a:lnTo>
                <a:lnTo>
                  <a:pt x="3" y="42"/>
                </a:lnTo>
                <a:lnTo>
                  <a:pt x="0" y="53"/>
                </a:lnTo>
                <a:lnTo>
                  <a:pt x="6" y="58"/>
                </a:lnTo>
                <a:lnTo>
                  <a:pt x="9" y="58"/>
                </a:lnTo>
                <a:lnTo>
                  <a:pt x="7" y="80"/>
                </a:lnTo>
                <a:lnTo>
                  <a:pt x="27" y="78"/>
                </a:lnTo>
                <a:lnTo>
                  <a:pt x="27" y="74"/>
                </a:lnTo>
                <a:lnTo>
                  <a:pt x="31" y="64"/>
                </a:lnTo>
                <a:lnTo>
                  <a:pt x="30" y="60"/>
                </a:lnTo>
                <a:lnTo>
                  <a:pt x="31" y="52"/>
                </a:lnTo>
                <a:lnTo>
                  <a:pt x="27" y="39"/>
                </a:lnTo>
                <a:lnTo>
                  <a:pt x="31" y="38"/>
                </a:lnTo>
                <a:lnTo>
                  <a:pt x="36" y="18"/>
                </a:lnTo>
                <a:lnTo>
                  <a:pt x="43" y="10"/>
                </a:lnTo>
                <a:lnTo>
                  <a:pt x="41" y="3"/>
                </a:lnTo>
                <a:lnTo>
                  <a:pt x="23" y="3"/>
                </a:lnTo>
                <a:lnTo>
                  <a:pt x="19" y="0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6" name="Freeform 472">
            <a:extLst>
              <a:ext uri="{FF2B5EF4-FFF2-40B4-BE49-F238E27FC236}">
                <a16:creationId xmlns:a16="http://schemas.microsoft.com/office/drawing/2014/main" id="{3E5EF199-FF25-4C00-9AAF-3D4B6DD450DB}"/>
              </a:ext>
            </a:extLst>
          </p:cNvPr>
          <p:cNvSpPr>
            <a:spLocks/>
          </p:cNvSpPr>
          <p:nvPr/>
        </p:nvSpPr>
        <p:spPr bwMode="gray">
          <a:xfrm>
            <a:off x="4191872" y="2515938"/>
            <a:ext cx="302818" cy="264814"/>
          </a:xfrm>
          <a:custGeom>
            <a:avLst/>
            <a:gdLst>
              <a:gd name="T0" fmla="*/ 32 w 158"/>
              <a:gd name="T1" fmla="*/ 30 h 121"/>
              <a:gd name="T2" fmla="*/ 14 w 158"/>
              <a:gd name="T3" fmla="*/ 30 h 121"/>
              <a:gd name="T4" fmla="*/ 10 w 158"/>
              <a:gd name="T5" fmla="*/ 27 h 121"/>
              <a:gd name="T6" fmla="*/ 3 w 158"/>
              <a:gd name="T7" fmla="*/ 29 h 121"/>
              <a:gd name="T8" fmla="*/ 2 w 158"/>
              <a:gd name="T9" fmla="*/ 24 h 121"/>
              <a:gd name="T10" fmla="*/ 1 w 158"/>
              <a:gd name="T11" fmla="*/ 20 h 121"/>
              <a:gd name="T12" fmla="*/ 1 w 158"/>
              <a:gd name="T13" fmla="*/ 19 h 121"/>
              <a:gd name="T14" fmla="*/ 0 w 158"/>
              <a:gd name="T15" fmla="*/ 15 h 121"/>
              <a:gd name="T16" fmla="*/ 0 w 158"/>
              <a:gd name="T17" fmla="*/ 9 h 121"/>
              <a:gd name="T18" fmla="*/ 19 w 158"/>
              <a:gd name="T19" fmla="*/ 0 h 121"/>
              <a:gd name="T20" fmla="*/ 34 w 158"/>
              <a:gd name="T21" fmla="*/ 2 h 121"/>
              <a:gd name="T22" fmla="*/ 50 w 158"/>
              <a:gd name="T23" fmla="*/ 3 h 121"/>
              <a:gd name="T24" fmla="*/ 64 w 158"/>
              <a:gd name="T25" fmla="*/ 5 h 121"/>
              <a:gd name="T26" fmla="*/ 79 w 158"/>
              <a:gd name="T27" fmla="*/ 5 h 121"/>
              <a:gd name="T28" fmla="*/ 93 w 158"/>
              <a:gd name="T29" fmla="*/ 6 h 121"/>
              <a:gd name="T30" fmla="*/ 99 w 158"/>
              <a:gd name="T31" fmla="*/ 11 h 121"/>
              <a:gd name="T32" fmla="*/ 135 w 158"/>
              <a:gd name="T33" fmla="*/ 19 h 121"/>
              <a:gd name="T34" fmla="*/ 135 w 158"/>
              <a:gd name="T35" fmla="*/ 20 h 121"/>
              <a:gd name="T36" fmla="*/ 139 w 158"/>
              <a:gd name="T37" fmla="*/ 20 h 121"/>
              <a:gd name="T38" fmla="*/ 158 w 158"/>
              <a:gd name="T39" fmla="*/ 21 h 121"/>
              <a:gd name="T40" fmla="*/ 154 w 158"/>
              <a:gd name="T41" fmla="*/ 32 h 121"/>
              <a:gd name="T42" fmla="*/ 140 w 158"/>
              <a:gd name="T43" fmla="*/ 39 h 121"/>
              <a:gd name="T44" fmla="*/ 127 w 158"/>
              <a:gd name="T45" fmla="*/ 47 h 121"/>
              <a:gd name="T46" fmla="*/ 120 w 158"/>
              <a:gd name="T47" fmla="*/ 59 h 121"/>
              <a:gd name="T48" fmla="*/ 111 w 158"/>
              <a:gd name="T49" fmla="*/ 69 h 121"/>
              <a:gd name="T50" fmla="*/ 117 w 158"/>
              <a:gd name="T51" fmla="*/ 81 h 121"/>
              <a:gd name="T52" fmla="*/ 106 w 158"/>
              <a:gd name="T53" fmla="*/ 95 h 121"/>
              <a:gd name="T54" fmla="*/ 103 w 158"/>
              <a:gd name="T55" fmla="*/ 98 h 121"/>
              <a:gd name="T56" fmla="*/ 92 w 158"/>
              <a:gd name="T57" fmla="*/ 104 h 121"/>
              <a:gd name="T58" fmla="*/ 86 w 158"/>
              <a:gd name="T59" fmla="*/ 111 h 121"/>
              <a:gd name="T60" fmla="*/ 70 w 158"/>
              <a:gd name="T61" fmla="*/ 113 h 121"/>
              <a:gd name="T62" fmla="*/ 55 w 158"/>
              <a:gd name="T63" fmla="*/ 115 h 121"/>
              <a:gd name="T64" fmla="*/ 44 w 158"/>
              <a:gd name="T65" fmla="*/ 121 h 121"/>
              <a:gd name="T66" fmla="*/ 36 w 158"/>
              <a:gd name="T67" fmla="*/ 121 h 121"/>
              <a:gd name="T68" fmla="*/ 32 w 158"/>
              <a:gd name="T69" fmla="*/ 109 h 121"/>
              <a:gd name="T70" fmla="*/ 22 w 158"/>
              <a:gd name="T71" fmla="*/ 104 h 121"/>
              <a:gd name="T72" fmla="*/ 18 w 158"/>
              <a:gd name="T73" fmla="*/ 105 h 121"/>
              <a:gd name="T74" fmla="*/ 18 w 158"/>
              <a:gd name="T75" fmla="*/ 101 h 121"/>
              <a:gd name="T76" fmla="*/ 22 w 158"/>
              <a:gd name="T77" fmla="*/ 91 h 121"/>
              <a:gd name="T78" fmla="*/ 21 w 158"/>
              <a:gd name="T79" fmla="*/ 87 h 121"/>
              <a:gd name="T80" fmla="*/ 22 w 158"/>
              <a:gd name="T81" fmla="*/ 79 h 121"/>
              <a:gd name="T82" fmla="*/ 18 w 158"/>
              <a:gd name="T83" fmla="*/ 66 h 121"/>
              <a:gd name="T84" fmla="*/ 22 w 158"/>
              <a:gd name="T85" fmla="*/ 65 h 121"/>
              <a:gd name="T86" fmla="*/ 27 w 158"/>
              <a:gd name="T87" fmla="*/ 45 h 121"/>
              <a:gd name="T88" fmla="*/ 34 w 158"/>
              <a:gd name="T89" fmla="*/ 37 h 121"/>
              <a:gd name="T90" fmla="*/ 32 w 158"/>
              <a:gd name="T91" fmla="*/ 30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58" h="121">
                <a:moveTo>
                  <a:pt x="32" y="30"/>
                </a:moveTo>
                <a:lnTo>
                  <a:pt x="14" y="30"/>
                </a:lnTo>
                <a:lnTo>
                  <a:pt x="10" y="27"/>
                </a:lnTo>
                <a:lnTo>
                  <a:pt x="3" y="29"/>
                </a:lnTo>
                <a:lnTo>
                  <a:pt x="2" y="24"/>
                </a:lnTo>
                <a:lnTo>
                  <a:pt x="1" y="20"/>
                </a:lnTo>
                <a:lnTo>
                  <a:pt x="1" y="19"/>
                </a:lnTo>
                <a:lnTo>
                  <a:pt x="0" y="15"/>
                </a:lnTo>
                <a:lnTo>
                  <a:pt x="0" y="9"/>
                </a:lnTo>
                <a:lnTo>
                  <a:pt x="19" y="0"/>
                </a:lnTo>
                <a:lnTo>
                  <a:pt x="34" y="2"/>
                </a:lnTo>
                <a:lnTo>
                  <a:pt x="50" y="3"/>
                </a:lnTo>
                <a:lnTo>
                  <a:pt x="64" y="5"/>
                </a:lnTo>
                <a:lnTo>
                  <a:pt x="79" y="5"/>
                </a:lnTo>
                <a:lnTo>
                  <a:pt x="93" y="6"/>
                </a:lnTo>
                <a:lnTo>
                  <a:pt x="99" y="11"/>
                </a:lnTo>
                <a:lnTo>
                  <a:pt x="135" y="19"/>
                </a:lnTo>
                <a:lnTo>
                  <a:pt x="135" y="20"/>
                </a:lnTo>
                <a:lnTo>
                  <a:pt x="139" y="20"/>
                </a:lnTo>
                <a:lnTo>
                  <a:pt x="158" y="21"/>
                </a:lnTo>
                <a:lnTo>
                  <a:pt x="154" y="32"/>
                </a:lnTo>
                <a:lnTo>
                  <a:pt x="140" y="39"/>
                </a:lnTo>
                <a:lnTo>
                  <a:pt x="127" y="47"/>
                </a:lnTo>
                <a:lnTo>
                  <a:pt x="120" y="59"/>
                </a:lnTo>
                <a:lnTo>
                  <a:pt x="111" y="69"/>
                </a:lnTo>
                <a:lnTo>
                  <a:pt x="117" y="81"/>
                </a:lnTo>
                <a:lnTo>
                  <a:pt x="106" y="95"/>
                </a:lnTo>
                <a:lnTo>
                  <a:pt x="103" y="98"/>
                </a:lnTo>
                <a:lnTo>
                  <a:pt x="92" y="104"/>
                </a:lnTo>
                <a:lnTo>
                  <a:pt x="86" y="111"/>
                </a:lnTo>
                <a:lnTo>
                  <a:pt x="70" y="113"/>
                </a:lnTo>
                <a:lnTo>
                  <a:pt x="55" y="115"/>
                </a:lnTo>
                <a:lnTo>
                  <a:pt x="44" y="121"/>
                </a:lnTo>
                <a:lnTo>
                  <a:pt x="36" y="121"/>
                </a:lnTo>
                <a:lnTo>
                  <a:pt x="32" y="109"/>
                </a:lnTo>
                <a:lnTo>
                  <a:pt x="22" y="104"/>
                </a:lnTo>
                <a:lnTo>
                  <a:pt x="18" y="105"/>
                </a:lnTo>
                <a:lnTo>
                  <a:pt x="18" y="101"/>
                </a:lnTo>
                <a:lnTo>
                  <a:pt x="22" y="91"/>
                </a:lnTo>
                <a:lnTo>
                  <a:pt x="21" y="87"/>
                </a:lnTo>
                <a:lnTo>
                  <a:pt x="22" y="79"/>
                </a:lnTo>
                <a:lnTo>
                  <a:pt x="18" y="66"/>
                </a:lnTo>
                <a:lnTo>
                  <a:pt x="22" y="65"/>
                </a:lnTo>
                <a:lnTo>
                  <a:pt x="27" y="45"/>
                </a:lnTo>
                <a:lnTo>
                  <a:pt x="34" y="37"/>
                </a:lnTo>
                <a:lnTo>
                  <a:pt x="32" y="30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7" name="Freeform 473">
            <a:extLst>
              <a:ext uri="{FF2B5EF4-FFF2-40B4-BE49-F238E27FC236}">
                <a16:creationId xmlns:a16="http://schemas.microsoft.com/office/drawing/2014/main" id="{D5B9F813-D09D-4E85-AFD0-7F0BC51BED58}"/>
              </a:ext>
            </a:extLst>
          </p:cNvPr>
          <p:cNvSpPr>
            <a:spLocks/>
          </p:cNvSpPr>
          <p:nvPr/>
        </p:nvSpPr>
        <p:spPr bwMode="gray">
          <a:xfrm>
            <a:off x="4475763" y="2654188"/>
            <a:ext cx="27529" cy="13630"/>
          </a:xfrm>
          <a:custGeom>
            <a:avLst/>
            <a:gdLst>
              <a:gd name="T0" fmla="*/ 14 w 14"/>
              <a:gd name="T1" fmla="*/ 3 h 7"/>
              <a:gd name="T2" fmla="*/ 6 w 14"/>
              <a:gd name="T3" fmla="*/ 7 h 7"/>
              <a:gd name="T4" fmla="*/ 0 w 14"/>
              <a:gd name="T5" fmla="*/ 3 h 7"/>
              <a:gd name="T6" fmla="*/ 9 w 14"/>
              <a:gd name="T7" fmla="*/ 0 h 7"/>
              <a:gd name="T8" fmla="*/ 14 w 14"/>
              <a:gd name="T9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4" y="3"/>
                </a:moveTo>
                <a:lnTo>
                  <a:pt x="6" y="7"/>
                </a:lnTo>
                <a:lnTo>
                  <a:pt x="0" y="3"/>
                </a:lnTo>
                <a:lnTo>
                  <a:pt x="9" y="0"/>
                </a:lnTo>
                <a:lnTo>
                  <a:pt x="14" y="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8" name="Freeform 474">
            <a:extLst>
              <a:ext uri="{FF2B5EF4-FFF2-40B4-BE49-F238E27FC236}">
                <a16:creationId xmlns:a16="http://schemas.microsoft.com/office/drawing/2014/main" id="{6EBE2232-2D64-403A-8B69-E3FE7165D38B}"/>
              </a:ext>
            </a:extLst>
          </p:cNvPr>
          <p:cNvSpPr>
            <a:spLocks/>
          </p:cNvSpPr>
          <p:nvPr/>
        </p:nvSpPr>
        <p:spPr bwMode="gray">
          <a:xfrm>
            <a:off x="1292194" y="2319866"/>
            <a:ext cx="1481398" cy="833387"/>
          </a:xfrm>
          <a:custGeom>
            <a:avLst/>
            <a:gdLst>
              <a:gd name="T0" fmla="*/ 852 w 861"/>
              <a:gd name="T1" fmla="*/ 37 h 428"/>
              <a:gd name="T2" fmla="*/ 806 w 861"/>
              <a:gd name="T3" fmla="*/ 70 h 428"/>
              <a:gd name="T4" fmla="*/ 713 w 861"/>
              <a:gd name="T5" fmla="*/ 100 h 428"/>
              <a:gd name="T6" fmla="*/ 646 w 861"/>
              <a:gd name="T7" fmla="*/ 125 h 428"/>
              <a:gd name="T8" fmla="*/ 636 w 861"/>
              <a:gd name="T9" fmla="*/ 101 h 428"/>
              <a:gd name="T10" fmla="*/ 627 w 861"/>
              <a:gd name="T11" fmla="*/ 58 h 428"/>
              <a:gd name="T12" fmla="*/ 578 w 861"/>
              <a:gd name="T13" fmla="*/ 19 h 428"/>
              <a:gd name="T14" fmla="*/ 499 w 861"/>
              <a:gd name="T15" fmla="*/ 10 h 428"/>
              <a:gd name="T16" fmla="*/ 113 w 861"/>
              <a:gd name="T17" fmla="*/ 7 h 428"/>
              <a:gd name="T18" fmla="*/ 95 w 861"/>
              <a:gd name="T19" fmla="*/ 38 h 428"/>
              <a:gd name="T20" fmla="*/ 105 w 861"/>
              <a:gd name="T21" fmla="*/ 21 h 428"/>
              <a:gd name="T22" fmla="*/ 71 w 861"/>
              <a:gd name="T23" fmla="*/ 50 h 428"/>
              <a:gd name="T24" fmla="*/ 61 w 861"/>
              <a:gd name="T25" fmla="*/ 64 h 428"/>
              <a:gd name="T26" fmla="*/ 1 w 861"/>
              <a:gd name="T27" fmla="*/ 157 h 428"/>
              <a:gd name="T28" fmla="*/ 2 w 861"/>
              <a:gd name="T29" fmla="*/ 197 h 428"/>
              <a:gd name="T30" fmla="*/ 8 w 861"/>
              <a:gd name="T31" fmla="*/ 206 h 428"/>
              <a:gd name="T32" fmla="*/ 12 w 861"/>
              <a:gd name="T33" fmla="*/ 246 h 428"/>
              <a:gd name="T34" fmla="*/ 48 w 861"/>
              <a:gd name="T35" fmla="*/ 298 h 428"/>
              <a:gd name="T36" fmla="*/ 120 w 861"/>
              <a:gd name="T37" fmla="*/ 313 h 428"/>
              <a:gd name="T38" fmla="*/ 202 w 861"/>
              <a:gd name="T39" fmla="*/ 311 h 428"/>
              <a:gd name="T40" fmla="*/ 249 w 861"/>
              <a:gd name="T41" fmla="*/ 347 h 428"/>
              <a:gd name="T42" fmla="*/ 300 w 861"/>
              <a:gd name="T43" fmla="*/ 411 h 428"/>
              <a:gd name="T44" fmla="*/ 320 w 861"/>
              <a:gd name="T45" fmla="*/ 391 h 428"/>
              <a:gd name="T46" fmla="*/ 339 w 861"/>
              <a:gd name="T47" fmla="*/ 367 h 428"/>
              <a:gd name="T48" fmla="*/ 367 w 861"/>
              <a:gd name="T49" fmla="*/ 354 h 428"/>
              <a:gd name="T50" fmla="*/ 385 w 861"/>
              <a:gd name="T51" fmla="*/ 346 h 428"/>
              <a:gd name="T52" fmla="*/ 432 w 861"/>
              <a:gd name="T53" fmla="*/ 357 h 428"/>
              <a:gd name="T54" fmla="*/ 454 w 861"/>
              <a:gd name="T55" fmla="*/ 357 h 428"/>
              <a:gd name="T56" fmla="*/ 438 w 861"/>
              <a:gd name="T57" fmla="*/ 339 h 428"/>
              <a:gd name="T58" fmla="*/ 483 w 861"/>
              <a:gd name="T59" fmla="*/ 338 h 428"/>
              <a:gd name="T60" fmla="*/ 507 w 861"/>
              <a:gd name="T61" fmla="*/ 339 h 428"/>
              <a:gd name="T62" fmla="*/ 534 w 861"/>
              <a:gd name="T63" fmla="*/ 341 h 428"/>
              <a:gd name="T64" fmla="*/ 547 w 861"/>
              <a:gd name="T65" fmla="*/ 385 h 428"/>
              <a:gd name="T66" fmla="*/ 554 w 861"/>
              <a:gd name="T67" fmla="*/ 405 h 428"/>
              <a:gd name="T68" fmla="*/ 574 w 861"/>
              <a:gd name="T69" fmla="*/ 426 h 428"/>
              <a:gd name="T70" fmla="*/ 581 w 861"/>
              <a:gd name="T71" fmla="*/ 380 h 428"/>
              <a:gd name="T72" fmla="*/ 582 w 861"/>
              <a:gd name="T73" fmla="*/ 320 h 428"/>
              <a:gd name="T74" fmla="*/ 598 w 861"/>
              <a:gd name="T75" fmla="*/ 299 h 428"/>
              <a:gd name="T76" fmla="*/ 654 w 861"/>
              <a:gd name="T77" fmla="*/ 260 h 428"/>
              <a:gd name="T78" fmla="*/ 663 w 861"/>
              <a:gd name="T79" fmla="*/ 245 h 428"/>
              <a:gd name="T80" fmla="*/ 672 w 861"/>
              <a:gd name="T81" fmla="*/ 233 h 428"/>
              <a:gd name="T82" fmla="*/ 686 w 861"/>
              <a:gd name="T83" fmla="*/ 223 h 428"/>
              <a:gd name="T84" fmla="*/ 682 w 861"/>
              <a:gd name="T85" fmla="*/ 217 h 428"/>
              <a:gd name="T86" fmla="*/ 679 w 861"/>
              <a:gd name="T87" fmla="*/ 192 h 428"/>
              <a:gd name="T88" fmla="*/ 685 w 861"/>
              <a:gd name="T89" fmla="*/ 188 h 428"/>
              <a:gd name="T90" fmla="*/ 693 w 861"/>
              <a:gd name="T91" fmla="*/ 188 h 428"/>
              <a:gd name="T92" fmla="*/ 692 w 861"/>
              <a:gd name="T93" fmla="*/ 207 h 428"/>
              <a:gd name="T94" fmla="*/ 706 w 861"/>
              <a:gd name="T95" fmla="*/ 171 h 428"/>
              <a:gd name="T96" fmla="*/ 733 w 861"/>
              <a:gd name="T97" fmla="*/ 157 h 428"/>
              <a:gd name="T98" fmla="*/ 774 w 861"/>
              <a:gd name="T99" fmla="*/ 140 h 428"/>
              <a:gd name="T100" fmla="*/ 800 w 861"/>
              <a:gd name="T101" fmla="*/ 135 h 428"/>
              <a:gd name="T102" fmla="*/ 793 w 861"/>
              <a:gd name="T103" fmla="*/ 117 h 428"/>
              <a:gd name="T104" fmla="*/ 832 w 861"/>
              <a:gd name="T105" fmla="*/ 87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61" h="428">
                <a:moveTo>
                  <a:pt x="860" y="79"/>
                </a:moveTo>
                <a:lnTo>
                  <a:pt x="859" y="72"/>
                </a:lnTo>
                <a:lnTo>
                  <a:pt x="854" y="61"/>
                </a:lnTo>
                <a:lnTo>
                  <a:pt x="861" y="40"/>
                </a:lnTo>
                <a:lnTo>
                  <a:pt x="852" y="37"/>
                </a:lnTo>
                <a:lnTo>
                  <a:pt x="845" y="37"/>
                </a:lnTo>
                <a:lnTo>
                  <a:pt x="843" y="33"/>
                </a:lnTo>
                <a:lnTo>
                  <a:pt x="832" y="46"/>
                </a:lnTo>
                <a:lnTo>
                  <a:pt x="820" y="59"/>
                </a:lnTo>
                <a:lnTo>
                  <a:pt x="806" y="70"/>
                </a:lnTo>
                <a:lnTo>
                  <a:pt x="795" y="77"/>
                </a:lnTo>
                <a:lnTo>
                  <a:pt x="769" y="78"/>
                </a:lnTo>
                <a:lnTo>
                  <a:pt x="741" y="79"/>
                </a:lnTo>
                <a:lnTo>
                  <a:pt x="728" y="90"/>
                </a:lnTo>
                <a:lnTo>
                  <a:pt x="713" y="100"/>
                </a:lnTo>
                <a:lnTo>
                  <a:pt x="695" y="101"/>
                </a:lnTo>
                <a:lnTo>
                  <a:pt x="679" y="103"/>
                </a:lnTo>
                <a:lnTo>
                  <a:pt x="676" y="115"/>
                </a:lnTo>
                <a:lnTo>
                  <a:pt x="661" y="119"/>
                </a:lnTo>
                <a:lnTo>
                  <a:pt x="646" y="125"/>
                </a:lnTo>
                <a:lnTo>
                  <a:pt x="630" y="130"/>
                </a:lnTo>
                <a:lnTo>
                  <a:pt x="615" y="135"/>
                </a:lnTo>
                <a:lnTo>
                  <a:pt x="612" y="128"/>
                </a:lnTo>
                <a:lnTo>
                  <a:pt x="629" y="111"/>
                </a:lnTo>
                <a:lnTo>
                  <a:pt x="636" y="101"/>
                </a:lnTo>
                <a:lnTo>
                  <a:pt x="640" y="86"/>
                </a:lnTo>
                <a:lnTo>
                  <a:pt x="642" y="70"/>
                </a:lnTo>
                <a:lnTo>
                  <a:pt x="632" y="61"/>
                </a:lnTo>
                <a:lnTo>
                  <a:pt x="633" y="57"/>
                </a:lnTo>
                <a:lnTo>
                  <a:pt x="627" y="58"/>
                </a:lnTo>
                <a:lnTo>
                  <a:pt x="626" y="50"/>
                </a:lnTo>
                <a:lnTo>
                  <a:pt x="614" y="41"/>
                </a:lnTo>
                <a:lnTo>
                  <a:pt x="602" y="34"/>
                </a:lnTo>
                <a:lnTo>
                  <a:pt x="590" y="27"/>
                </a:lnTo>
                <a:lnTo>
                  <a:pt x="578" y="19"/>
                </a:lnTo>
                <a:lnTo>
                  <a:pt x="560" y="24"/>
                </a:lnTo>
                <a:lnTo>
                  <a:pt x="548" y="19"/>
                </a:lnTo>
                <a:lnTo>
                  <a:pt x="535" y="21"/>
                </a:lnTo>
                <a:lnTo>
                  <a:pt x="515" y="13"/>
                </a:lnTo>
                <a:lnTo>
                  <a:pt x="499" y="10"/>
                </a:lnTo>
                <a:lnTo>
                  <a:pt x="502" y="0"/>
                </a:lnTo>
                <a:lnTo>
                  <a:pt x="495" y="6"/>
                </a:lnTo>
                <a:lnTo>
                  <a:pt x="472" y="6"/>
                </a:lnTo>
                <a:lnTo>
                  <a:pt x="447" y="6"/>
                </a:lnTo>
                <a:lnTo>
                  <a:pt x="113" y="7"/>
                </a:lnTo>
                <a:lnTo>
                  <a:pt x="109" y="20"/>
                </a:lnTo>
                <a:lnTo>
                  <a:pt x="102" y="34"/>
                </a:lnTo>
                <a:lnTo>
                  <a:pt x="91" y="40"/>
                </a:lnTo>
                <a:lnTo>
                  <a:pt x="93" y="37"/>
                </a:lnTo>
                <a:lnTo>
                  <a:pt x="95" y="38"/>
                </a:lnTo>
                <a:lnTo>
                  <a:pt x="106" y="26"/>
                </a:lnTo>
                <a:lnTo>
                  <a:pt x="92" y="34"/>
                </a:lnTo>
                <a:lnTo>
                  <a:pt x="91" y="34"/>
                </a:lnTo>
                <a:lnTo>
                  <a:pt x="100" y="28"/>
                </a:lnTo>
                <a:lnTo>
                  <a:pt x="105" y="21"/>
                </a:lnTo>
                <a:lnTo>
                  <a:pt x="82" y="18"/>
                </a:lnTo>
                <a:lnTo>
                  <a:pt x="75" y="40"/>
                </a:lnTo>
                <a:lnTo>
                  <a:pt x="73" y="43"/>
                </a:lnTo>
                <a:lnTo>
                  <a:pt x="72" y="46"/>
                </a:lnTo>
                <a:lnTo>
                  <a:pt x="71" y="50"/>
                </a:lnTo>
                <a:lnTo>
                  <a:pt x="71" y="47"/>
                </a:lnTo>
                <a:lnTo>
                  <a:pt x="66" y="53"/>
                </a:lnTo>
                <a:lnTo>
                  <a:pt x="76" y="57"/>
                </a:lnTo>
                <a:lnTo>
                  <a:pt x="68" y="57"/>
                </a:lnTo>
                <a:lnTo>
                  <a:pt x="61" y="64"/>
                </a:lnTo>
                <a:lnTo>
                  <a:pt x="44" y="87"/>
                </a:lnTo>
                <a:lnTo>
                  <a:pt x="27" y="111"/>
                </a:lnTo>
                <a:lnTo>
                  <a:pt x="21" y="126"/>
                </a:lnTo>
                <a:lnTo>
                  <a:pt x="16" y="139"/>
                </a:lnTo>
                <a:lnTo>
                  <a:pt x="1" y="157"/>
                </a:lnTo>
                <a:lnTo>
                  <a:pt x="2" y="163"/>
                </a:lnTo>
                <a:lnTo>
                  <a:pt x="0" y="177"/>
                </a:lnTo>
                <a:lnTo>
                  <a:pt x="2" y="187"/>
                </a:lnTo>
                <a:lnTo>
                  <a:pt x="4" y="199"/>
                </a:lnTo>
                <a:lnTo>
                  <a:pt x="2" y="197"/>
                </a:lnTo>
                <a:lnTo>
                  <a:pt x="2" y="199"/>
                </a:lnTo>
                <a:lnTo>
                  <a:pt x="9" y="200"/>
                </a:lnTo>
                <a:lnTo>
                  <a:pt x="13" y="199"/>
                </a:lnTo>
                <a:lnTo>
                  <a:pt x="11" y="208"/>
                </a:lnTo>
                <a:lnTo>
                  <a:pt x="8" y="206"/>
                </a:lnTo>
                <a:lnTo>
                  <a:pt x="4" y="208"/>
                </a:lnTo>
                <a:lnTo>
                  <a:pt x="9" y="219"/>
                </a:lnTo>
                <a:lnTo>
                  <a:pt x="6" y="226"/>
                </a:lnTo>
                <a:lnTo>
                  <a:pt x="8" y="235"/>
                </a:lnTo>
                <a:lnTo>
                  <a:pt x="12" y="246"/>
                </a:lnTo>
                <a:lnTo>
                  <a:pt x="9" y="261"/>
                </a:lnTo>
                <a:lnTo>
                  <a:pt x="18" y="263"/>
                </a:lnTo>
                <a:lnTo>
                  <a:pt x="33" y="271"/>
                </a:lnTo>
                <a:lnTo>
                  <a:pt x="48" y="283"/>
                </a:lnTo>
                <a:lnTo>
                  <a:pt x="48" y="298"/>
                </a:lnTo>
                <a:lnTo>
                  <a:pt x="67" y="297"/>
                </a:lnTo>
                <a:lnTo>
                  <a:pt x="85" y="295"/>
                </a:lnTo>
                <a:lnTo>
                  <a:pt x="96" y="301"/>
                </a:lnTo>
                <a:lnTo>
                  <a:pt x="108" y="307"/>
                </a:lnTo>
                <a:lnTo>
                  <a:pt x="120" y="313"/>
                </a:lnTo>
                <a:lnTo>
                  <a:pt x="132" y="319"/>
                </a:lnTo>
                <a:lnTo>
                  <a:pt x="154" y="319"/>
                </a:lnTo>
                <a:lnTo>
                  <a:pt x="175" y="319"/>
                </a:lnTo>
                <a:lnTo>
                  <a:pt x="178" y="311"/>
                </a:lnTo>
                <a:lnTo>
                  <a:pt x="202" y="311"/>
                </a:lnTo>
                <a:lnTo>
                  <a:pt x="216" y="328"/>
                </a:lnTo>
                <a:lnTo>
                  <a:pt x="220" y="346"/>
                </a:lnTo>
                <a:lnTo>
                  <a:pt x="229" y="354"/>
                </a:lnTo>
                <a:lnTo>
                  <a:pt x="239" y="360"/>
                </a:lnTo>
                <a:lnTo>
                  <a:pt x="249" y="347"/>
                </a:lnTo>
                <a:lnTo>
                  <a:pt x="271" y="350"/>
                </a:lnTo>
                <a:lnTo>
                  <a:pt x="278" y="366"/>
                </a:lnTo>
                <a:lnTo>
                  <a:pt x="286" y="384"/>
                </a:lnTo>
                <a:lnTo>
                  <a:pt x="291" y="404"/>
                </a:lnTo>
                <a:lnTo>
                  <a:pt x="300" y="411"/>
                </a:lnTo>
                <a:lnTo>
                  <a:pt x="319" y="415"/>
                </a:lnTo>
                <a:lnTo>
                  <a:pt x="318" y="395"/>
                </a:lnTo>
                <a:lnTo>
                  <a:pt x="316" y="392"/>
                </a:lnTo>
                <a:lnTo>
                  <a:pt x="315" y="388"/>
                </a:lnTo>
                <a:lnTo>
                  <a:pt x="320" y="391"/>
                </a:lnTo>
                <a:lnTo>
                  <a:pt x="323" y="381"/>
                </a:lnTo>
                <a:lnTo>
                  <a:pt x="327" y="379"/>
                </a:lnTo>
                <a:lnTo>
                  <a:pt x="335" y="372"/>
                </a:lnTo>
                <a:lnTo>
                  <a:pt x="339" y="370"/>
                </a:lnTo>
                <a:lnTo>
                  <a:pt x="339" y="367"/>
                </a:lnTo>
                <a:lnTo>
                  <a:pt x="347" y="367"/>
                </a:lnTo>
                <a:lnTo>
                  <a:pt x="343" y="370"/>
                </a:lnTo>
                <a:lnTo>
                  <a:pt x="352" y="366"/>
                </a:lnTo>
                <a:lnTo>
                  <a:pt x="348" y="366"/>
                </a:lnTo>
                <a:lnTo>
                  <a:pt x="367" y="354"/>
                </a:lnTo>
                <a:lnTo>
                  <a:pt x="368" y="348"/>
                </a:lnTo>
                <a:lnTo>
                  <a:pt x="373" y="351"/>
                </a:lnTo>
                <a:lnTo>
                  <a:pt x="372" y="352"/>
                </a:lnTo>
                <a:lnTo>
                  <a:pt x="383" y="346"/>
                </a:lnTo>
                <a:lnTo>
                  <a:pt x="385" y="346"/>
                </a:lnTo>
                <a:lnTo>
                  <a:pt x="398" y="347"/>
                </a:lnTo>
                <a:lnTo>
                  <a:pt x="409" y="348"/>
                </a:lnTo>
                <a:lnTo>
                  <a:pt x="418" y="347"/>
                </a:lnTo>
                <a:lnTo>
                  <a:pt x="422" y="354"/>
                </a:lnTo>
                <a:lnTo>
                  <a:pt x="432" y="357"/>
                </a:lnTo>
                <a:lnTo>
                  <a:pt x="439" y="357"/>
                </a:lnTo>
                <a:lnTo>
                  <a:pt x="439" y="351"/>
                </a:lnTo>
                <a:lnTo>
                  <a:pt x="452" y="358"/>
                </a:lnTo>
                <a:lnTo>
                  <a:pt x="448" y="361"/>
                </a:lnTo>
                <a:lnTo>
                  <a:pt x="454" y="357"/>
                </a:lnTo>
                <a:lnTo>
                  <a:pt x="447" y="348"/>
                </a:lnTo>
                <a:lnTo>
                  <a:pt x="452" y="345"/>
                </a:lnTo>
                <a:lnTo>
                  <a:pt x="449" y="344"/>
                </a:lnTo>
                <a:lnTo>
                  <a:pt x="448" y="341"/>
                </a:lnTo>
                <a:lnTo>
                  <a:pt x="438" y="339"/>
                </a:lnTo>
                <a:lnTo>
                  <a:pt x="448" y="339"/>
                </a:lnTo>
                <a:lnTo>
                  <a:pt x="473" y="338"/>
                </a:lnTo>
                <a:lnTo>
                  <a:pt x="476" y="330"/>
                </a:lnTo>
                <a:lnTo>
                  <a:pt x="476" y="338"/>
                </a:lnTo>
                <a:lnTo>
                  <a:pt x="483" y="338"/>
                </a:lnTo>
                <a:lnTo>
                  <a:pt x="492" y="334"/>
                </a:lnTo>
                <a:lnTo>
                  <a:pt x="487" y="337"/>
                </a:lnTo>
                <a:lnTo>
                  <a:pt x="502" y="337"/>
                </a:lnTo>
                <a:lnTo>
                  <a:pt x="498" y="337"/>
                </a:lnTo>
                <a:lnTo>
                  <a:pt x="507" y="339"/>
                </a:lnTo>
                <a:lnTo>
                  <a:pt x="509" y="339"/>
                </a:lnTo>
                <a:lnTo>
                  <a:pt x="513" y="344"/>
                </a:lnTo>
                <a:lnTo>
                  <a:pt x="509" y="340"/>
                </a:lnTo>
                <a:lnTo>
                  <a:pt x="513" y="348"/>
                </a:lnTo>
                <a:lnTo>
                  <a:pt x="534" y="341"/>
                </a:lnTo>
                <a:lnTo>
                  <a:pt x="542" y="352"/>
                </a:lnTo>
                <a:lnTo>
                  <a:pt x="550" y="365"/>
                </a:lnTo>
                <a:lnTo>
                  <a:pt x="546" y="385"/>
                </a:lnTo>
                <a:lnTo>
                  <a:pt x="545" y="381"/>
                </a:lnTo>
                <a:lnTo>
                  <a:pt x="547" y="385"/>
                </a:lnTo>
                <a:lnTo>
                  <a:pt x="550" y="380"/>
                </a:lnTo>
                <a:lnTo>
                  <a:pt x="547" y="391"/>
                </a:lnTo>
                <a:lnTo>
                  <a:pt x="552" y="398"/>
                </a:lnTo>
                <a:lnTo>
                  <a:pt x="554" y="399"/>
                </a:lnTo>
                <a:lnTo>
                  <a:pt x="554" y="405"/>
                </a:lnTo>
                <a:lnTo>
                  <a:pt x="556" y="401"/>
                </a:lnTo>
                <a:lnTo>
                  <a:pt x="555" y="406"/>
                </a:lnTo>
                <a:lnTo>
                  <a:pt x="556" y="417"/>
                </a:lnTo>
                <a:lnTo>
                  <a:pt x="563" y="428"/>
                </a:lnTo>
                <a:lnTo>
                  <a:pt x="574" y="426"/>
                </a:lnTo>
                <a:lnTo>
                  <a:pt x="580" y="412"/>
                </a:lnTo>
                <a:lnTo>
                  <a:pt x="585" y="398"/>
                </a:lnTo>
                <a:lnTo>
                  <a:pt x="582" y="381"/>
                </a:lnTo>
                <a:lnTo>
                  <a:pt x="580" y="367"/>
                </a:lnTo>
                <a:lnTo>
                  <a:pt x="581" y="380"/>
                </a:lnTo>
                <a:lnTo>
                  <a:pt x="580" y="367"/>
                </a:lnTo>
                <a:lnTo>
                  <a:pt x="578" y="352"/>
                </a:lnTo>
                <a:lnTo>
                  <a:pt x="578" y="338"/>
                </a:lnTo>
                <a:lnTo>
                  <a:pt x="576" y="324"/>
                </a:lnTo>
                <a:lnTo>
                  <a:pt x="582" y="320"/>
                </a:lnTo>
                <a:lnTo>
                  <a:pt x="582" y="318"/>
                </a:lnTo>
                <a:lnTo>
                  <a:pt x="588" y="310"/>
                </a:lnTo>
                <a:lnTo>
                  <a:pt x="593" y="301"/>
                </a:lnTo>
                <a:lnTo>
                  <a:pt x="594" y="300"/>
                </a:lnTo>
                <a:lnTo>
                  <a:pt x="598" y="299"/>
                </a:lnTo>
                <a:lnTo>
                  <a:pt x="620" y="285"/>
                </a:lnTo>
                <a:lnTo>
                  <a:pt x="622" y="285"/>
                </a:lnTo>
                <a:lnTo>
                  <a:pt x="636" y="273"/>
                </a:lnTo>
                <a:lnTo>
                  <a:pt x="643" y="271"/>
                </a:lnTo>
                <a:lnTo>
                  <a:pt x="654" y="260"/>
                </a:lnTo>
                <a:lnTo>
                  <a:pt x="673" y="253"/>
                </a:lnTo>
                <a:lnTo>
                  <a:pt x="661" y="251"/>
                </a:lnTo>
                <a:lnTo>
                  <a:pt x="669" y="252"/>
                </a:lnTo>
                <a:lnTo>
                  <a:pt x="670" y="248"/>
                </a:lnTo>
                <a:lnTo>
                  <a:pt x="663" y="245"/>
                </a:lnTo>
                <a:lnTo>
                  <a:pt x="680" y="245"/>
                </a:lnTo>
                <a:lnTo>
                  <a:pt x="683" y="237"/>
                </a:lnTo>
                <a:lnTo>
                  <a:pt x="680" y="239"/>
                </a:lnTo>
                <a:lnTo>
                  <a:pt x="675" y="237"/>
                </a:lnTo>
                <a:lnTo>
                  <a:pt x="672" y="233"/>
                </a:lnTo>
                <a:lnTo>
                  <a:pt x="672" y="232"/>
                </a:lnTo>
                <a:lnTo>
                  <a:pt x="676" y="233"/>
                </a:lnTo>
                <a:lnTo>
                  <a:pt x="682" y="232"/>
                </a:lnTo>
                <a:lnTo>
                  <a:pt x="685" y="235"/>
                </a:lnTo>
                <a:lnTo>
                  <a:pt x="686" y="223"/>
                </a:lnTo>
                <a:lnTo>
                  <a:pt x="687" y="239"/>
                </a:lnTo>
                <a:lnTo>
                  <a:pt x="682" y="219"/>
                </a:lnTo>
                <a:lnTo>
                  <a:pt x="676" y="217"/>
                </a:lnTo>
                <a:lnTo>
                  <a:pt x="673" y="212"/>
                </a:lnTo>
                <a:lnTo>
                  <a:pt x="682" y="217"/>
                </a:lnTo>
                <a:lnTo>
                  <a:pt x="679" y="208"/>
                </a:lnTo>
                <a:lnTo>
                  <a:pt x="685" y="212"/>
                </a:lnTo>
                <a:lnTo>
                  <a:pt x="676" y="198"/>
                </a:lnTo>
                <a:lnTo>
                  <a:pt x="686" y="205"/>
                </a:lnTo>
                <a:lnTo>
                  <a:pt x="679" y="192"/>
                </a:lnTo>
                <a:lnTo>
                  <a:pt x="674" y="192"/>
                </a:lnTo>
                <a:lnTo>
                  <a:pt x="681" y="186"/>
                </a:lnTo>
                <a:lnTo>
                  <a:pt x="679" y="192"/>
                </a:lnTo>
                <a:lnTo>
                  <a:pt x="687" y="198"/>
                </a:lnTo>
                <a:lnTo>
                  <a:pt x="685" y="188"/>
                </a:lnTo>
                <a:lnTo>
                  <a:pt x="689" y="193"/>
                </a:lnTo>
                <a:lnTo>
                  <a:pt x="692" y="178"/>
                </a:lnTo>
                <a:lnTo>
                  <a:pt x="701" y="173"/>
                </a:lnTo>
                <a:lnTo>
                  <a:pt x="694" y="185"/>
                </a:lnTo>
                <a:lnTo>
                  <a:pt x="693" y="188"/>
                </a:lnTo>
                <a:lnTo>
                  <a:pt x="690" y="193"/>
                </a:lnTo>
                <a:lnTo>
                  <a:pt x="695" y="197"/>
                </a:lnTo>
                <a:lnTo>
                  <a:pt x="693" y="200"/>
                </a:lnTo>
                <a:lnTo>
                  <a:pt x="694" y="205"/>
                </a:lnTo>
                <a:lnTo>
                  <a:pt x="692" y="207"/>
                </a:lnTo>
                <a:lnTo>
                  <a:pt x="687" y="213"/>
                </a:lnTo>
                <a:lnTo>
                  <a:pt x="707" y="192"/>
                </a:lnTo>
                <a:lnTo>
                  <a:pt x="705" y="173"/>
                </a:lnTo>
                <a:lnTo>
                  <a:pt x="714" y="166"/>
                </a:lnTo>
                <a:lnTo>
                  <a:pt x="706" y="171"/>
                </a:lnTo>
                <a:lnTo>
                  <a:pt x="712" y="179"/>
                </a:lnTo>
                <a:lnTo>
                  <a:pt x="712" y="183"/>
                </a:lnTo>
                <a:lnTo>
                  <a:pt x="729" y="166"/>
                </a:lnTo>
                <a:lnTo>
                  <a:pt x="729" y="168"/>
                </a:lnTo>
                <a:lnTo>
                  <a:pt x="733" y="157"/>
                </a:lnTo>
                <a:lnTo>
                  <a:pt x="740" y="145"/>
                </a:lnTo>
                <a:lnTo>
                  <a:pt x="736" y="150"/>
                </a:lnTo>
                <a:lnTo>
                  <a:pt x="742" y="147"/>
                </a:lnTo>
                <a:lnTo>
                  <a:pt x="759" y="143"/>
                </a:lnTo>
                <a:lnTo>
                  <a:pt x="774" y="140"/>
                </a:lnTo>
                <a:lnTo>
                  <a:pt x="779" y="135"/>
                </a:lnTo>
                <a:lnTo>
                  <a:pt x="781" y="135"/>
                </a:lnTo>
                <a:lnTo>
                  <a:pt x="788" y="139"/>
                </a:lnTo>
                <a:lnTo>
                  <a:pt x="790" y="139"/>
                </a:lnTo>
                <a:lnTo>
                  <a:pt x="800" y="135"/>
                </a:lnTo>
                <a:lnTo>
                  <a:pt x="800" y="128"/>
                </a:lnTo>
                <a:lnTo>
                  <a:pt x="800" y="132"/>
                </a:lnTo>
                <a:lnTo>
                  <a:pt x="792" y="130"/>
                </a:lnTo>
                <a:lnTo>
                  <a:pt x="793" y="119"/>
                </a:lnTo>
                <a:lnTo>
                  <a:pt x="793" y="117"/>
                </a:lnTo>
                <a:lnTo>
                  <a:pt x="810" y="98"/>
                </a:lnTo>
                <a:lnTo>
                  <a:pt x="814" y="94"/>
                </a:lnTo>
                <a:lnTo>
                  <a:pt x="817" y="97"/>
                </a:lnTo>
                <a:lnTo>
                  <a:pt x="830" y="84"/>
                </a:lnTo>
                <a:lnTo>
                  <a:pt x="832" y="87"/>
                </a:lnTo>
                <a:lnTo>
                  <a:pt x="834" y="86"/>
                </a:lnTo>
                <a:lnTo>
                  <a:pt x="841" y="87"/>
                </a:lnTo>
                <a:lnTo>
                  <a:pt x="860" y="79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29" name="Freeform 475">
            <a:extLst>
              <a:ext uri="{FF2B5EF4-FFF2-40B4-BE49-F238E27FC236}">
                <a16:creationId xmlns:a16="http://schemas.microsoft.com/office/drawing/2014/main" id="{4BC81C12-92A8-4E33-8328-FAE78C9CB32E}"/>
              </a:ext>
            </a:extLst>
          </p:cNvPr>
          <p:cNvSpPr>
            <a:spLocks/>
          </p:cNvSpPr>
          <p:nvPr/>
        </p:nvSpPr>
        <p:spPr bwMode="gray">
          <a:xfrm>
            <a:off x="707746" y="1631926"/>
            <a:ext cx="942865" cy="515997"/>
          </a:xfrm>
          <a:custGeom>
            <a:avLst/>
            <a:gdLst>
              <a:gd name="T0" fmla="*/ 395 w 492"/>
              <a:gd name="T1" fmla="*/ 205 h 236"/>
              <a:gd name="T2" fmla="*/ 382 w 492"/>
              <a:gd name="T3" fmla="*/ 167 h 236"/>
              <a:gd name="T4" fmla="*/ 359 w 492"/>
              <a:gd name="T5" fmla="*/ 157 h 236"/>
              <a:gd name="T6" fmla="*/ 378 w 492"/>
              <a:gd name="T7" fmla="*/ 120 h 236"/>
              <a:gd name="T8" fmla="*/ 454 w 492"/>
              <a:gd name="T9" fmla="*/ 54 h 236"/>
              <a:gd name="T10" fmla="*/ 447 w 492"/>
              <a:gd name="T11" fmla="*/ 13 h 236"/>
              <a:gd name="T12" fmla="*/ 383 w 492"/>
              <a:gd name="T13" fmla="*/ 6 h 236"/>
              <a:gd name="T14" fmla="*/ 370 w 492"/>
              <a:gd name="T15" fmla="*/ 1 h 236"/>
              <a:gd name="T16" fmla="*/ 317 w 492"/>
              <a:gd name="T17" fmla="*/ 8 h 236"/>
              <a:gd name="T18" fmla="*/ 289 w 492"/>
              <a:gd name="T19" fmla="*/ 13 h 236"/>
              <a:gd name="T20" fmla="*/ 205 w 492"/>
              <a:gd name="T21" fmla="*/ 39 h 236"/>
              <a:gd name="T22" fmla="*/ 223 w 492"/>
              <a:gd name="T23" fmla="*/ 65 h 236"/>
              <a:gd name="T24" fmla="*/ 215 w 492"/>
              <a:gd name="T25" fmla="*/ 67 h 236"/>
              <a:gd name="T26" fmla="*/ 198 w 492"/>
              <a:gd name="T27" fmla="*/ 63 h 236"/>
              <a:gd name="T28" fmla="*/ 138 w 492"/>
              <a:gd name="T29" fmla="*/ 84 h 236"/>
              <a:gd name="T30" fmla="*/ 196 w 492"/>
              <a:gd name="T31" fmla="*/ 87 h 236"/>
              <a:gd name="T32" fmla="*/ 161 w 492"/>
              <a:gd name="T33" fmla="*/ 108 h 236"/>
              <a:gd name="T34" fmla="*/ 115 w 492"/>
              <a:gd name="T35" fmla="*/ 120 h 236"/>
              <a:gd name="T36" fmla="*/ 85 w 492"/>
              <a:gd name="T37" fmla="*/ 132 h 236"/>
              <a:gd name="T38" fmla="*/ 96 w 492"/>
              <a:gd name="T39" fmla="*/ 135 h 236"/>
              <a:gd name="T40" fmla="*/ 93 w 492"/>
              <a:gd name="T41" fmla="*/ 146 h 236"/>
              <a:gd name="T42" fmla="*/ 72 w 492"/>
              <a:gd name="T43" fmla="*/ 151 h 236"/>
              <a:gd name="T44" fmla="*/ 97 w 492"/>
              <a:gd name="T45" fmla="*/ 158 h 236"/>
              <a:gd name="T46" fmla="*/ 78 w 492"/>
              <a:gd name="T47" fmla="*/ 179 h 236"/>
              <a:gd name="T48" fmla="*/ 123 w 492"/>
              <a:gd name="T49" fmla="*/ 173 h 236"/>
              <a:gd name="T50" fmla="*/ 142 w 492"/>
              <a:gd name="T51" fmla="*/ 173 h 236"/>
              <a:gd name="T52" fmla="*/ 111 w 492"/>
              <a:gd name="T53" fmla="*/ 194 h 236"/>
              <a:gd name="T54" fmla="*/ 51 w 492"/>
              <a:gd name="T55" fmla="*/ 221 h 236"/>
              <a:gd name="T56" fmla="*/ 33 w 492"/>
              <a:gd name="T57" fmla="*/ 219 h 236"/>
              <a:gd name="T58" fmla="*/ 11 w 492"/>
              <a:gd name="T59" fmla="*/ 230 h 236"/>
              <a:gd name="T60" fmla="*/ 29 w 492"/>
              <a:gd name="T61" fmla="*/ 225 h 236"/>
              <a:gd name="T62" fmla="*/ 72 w 492"/>
              <a:gd name="T63" fmla="*/ 218 h 236"/>
              <a:gd name="T64" fmla="*/ 150 w 492"/>
              <a:gd name="T65" fmla="*/ 188 h 236"/>
              <a:gd name="T66" fmla="*/ 203 w 492"/>
              <a:gd name="T67" fmla="*/ 159 h 236"/>
              <a:gd name="T68" fmla="*/ 265 w 492"/>
              <a:gd name="T69" fmla="*/ 137 h 236"/>
              <a:gd name="T70" fmla="*/ 231 w 492"/>
              <a:gd name="T71" fmla="*/ 147 h 236"/>
              <a:gd name="T72" fmla="*/ 213 w 492"/>
              <a:gd name="T73" fmla="*/ 169 h 236"/>
              <a:gd name="T74" fmla="*/ 233 w 492"/>
              <a:gd name="T75" fmla="*/ 163 h 236"/>
              <a:gd name="T76" fmla="*/ 250 w 492"/>
              <a:gd name="T77" fmla="*/ 159 h 236"/>
              <a:gd name="T78" fmla="*/ 263 w 492"/>
              <a:gd name="T79" fmla="*/ 147 h 236"/>
              <a:gd name="T80" fmla="*/ 279 w 492"/>
              <a:gd name="T81" fmla="*/ 144 h 236"/>
              <a:gd name="T82" fmla="*/ 289 w 492"/>
              <a:gd name="T83" fmla="*/ 146 h 236"/>
              <a:gd name="T84" fmla="*/ 289 w 492"/>
              <a:gd name="T85" fmla="*/ 151 h 236"/>
              <a:gd name="T86" fmla="*/ 304 w 492"/>
              <a:gd name="T87" fmla="*/ 156 h 236"/>
              <a:gd name="T88" fmla="*/ 352 w 492"/>
              <a:gd name="T89" fmla="*/ 159 h 236"/>
              <a:gd name="T90" fmla="*/ 348 w 492"/>
              <a:gd name="T91" fmla="*/ 164 h 236"/>
              <a:gd name="T92" fmla="*/ 367 w 492"/>
              <a:gd name="T93" fmla="*/ 174 h 236"/>
              <a:gd name="T94" fmla="*/ 376 w 492"/>
              <a:gd name="T95" fmla="*/ 180 h 236"/>
              <a:gd name="T96" fmla="*/ 388 w 492"/>
              <a:gd name="T97" fmla="*/ 179 h 236"/>
              <a:gd name="T98" fmla="*/ 390 w 492"/>
              <a:gd name="T99" fmla="*/ 188 h 236"/>
              <a:gd name="T100" fmla="*/ 389 w 492"/>
              <a:gd name="T101" fmla="*/ 193 h 236"/>
              <a:gd name="T102" fmla="*/ 389 w 492"/>
              <a:gd name="T103" fmla="*/ 207 h 236"/>
              <a:gd name="T104" fmla="*/ 383 w 492"/>
              <a:gd name="T105" fmla="*/ 222 h 236"/>
              <a:gd name="T106" fmla="*/ 394 w 492"/>
              <a:gd name="T107" fmla="*/ 228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2" h="236">
                <a:moveTo>
                  <a:pt x="399" y="229"/>
                </a:moveTo>
                <a:lnTo>
                  <a:pt x="407" y="219"/>
                </a:lnTo>
                <a:lnTo>
                  <a:pt x="401" y="212"/>
                </a:lnTo>
                <a:lnTo>
                  <a:pt x="395" y="205"/>
                </a:lnTo>
                <a:lnTo>
                  <a:pt x="399" y="191"/>
                </a:lnTo>
                <a:lnTo>
                  <a:pt x="401" y="177"/>
                </a:lnTo>
                <a:lnTo>
                  <a:pt x="397" y="161"/>
                </a:lnTo>
                <a:lnTo>
                  <a:pt x="382" y="167"/>
                </a:lnTo>
                <a:lnTo>
                  <a:pt x="372" y="171"/>
                </a:lnTo>
                <a:lnTo>
                  <a:pt x="361" y="175"/>
                </a:lnTo>
                <a:lnTo>
                  <a:pt x="363" y="159"/>
                </a:lnTo>
                <a:lnTo>
                  <a:pt x="359" y="157"/>
                </a:lnTo>
                <a:lnTo>
                  <a:pt x="365" y="153"/>
                </a:lnTo>
                <a:lnTo>
                  <a:pt x="342" y="153"/>
                </a:lnTo>
                <a:lnTo>
                  <a:pt x="360" y="137"/>
                </a:lnTo>
                <a:lnTo>
                  <a:pt x="378" y="120"/>
                </a:lnTo>
                <a:lnTo>
                  <a:pt x="396" y="103"/>
                </a:lnTo>
                <a:lnTo>
                  <a:pt x="415" y="86"/>
                </a:lnTo>
                <a:lnTo>
                  <a:pt x="435" y="71"/>
                </a:lnTo>
                <a:lnTo>
                  <a:pt x="454" y="54"/>
                </a:lnTo>
                <a:lnTo>
                  <a:pt x="473" y="38"/>
                </a:lnTo>
                <a:lnTo>
                  <a:pt x="492" y="21"/>
                </a:lnTo>
                <a:lnTo>
                  <a:pt x="468" y="15"/>
                </a:lnTo>
                <a:lnTo>
                  <a:pt x="447" y="13"/>
                </a:lnTo>
                <a:lnTo>
                  <a:pt x="424" y="12"/>
                </a:lnTo>
                <a:lnTo>
                  <a:pt x="395" y="9"/>
                </a:lnTo>
                <a:lnTo>
                  <a:pt x="394" y="8"/>
                </a:lnTo>
                <a:lnTo>
                  <a:pt x="383" y="6"/>
                </a:lnTo>
                <a:lnTo>
                  <a:pt x="377" y="5"/>
                </a:lnTo>
                <a:lnTo>
                  <a:pt x="373" y="3"/>
                </a:lnTo>
                <a:lnTo>
                  <a:pt x="363" y="5"/>
                </a:lnTo>
                <a:lnTo>
                  <a:pt x="370" y="1"/>
                </a:lnTo>
                <a:lnTo>
                  <a:pt x="363" y="0"/>
                </a:lnTo>
                <a:lnTo>
                  <a:pt x="333" y="7"/>
                </a:lnTo>
                <a:lnTo>
                  <a:pt x="328" y="6"/>
                </a:lnTo>
                <a:lnTo>
                  <a:pt x="317" y="8"/>
                </a:lnTo>
                <a:lnTo>
                  <a:pt x="316" y="11"/>
                </a:lnTo>
                <a:lnTo>
                  <a:pt x="310" y="14"/>
                </a:lnTo>
                <a:lnTo>
                  <a:pt x="313" y="9"/>
                </a:lnTo>
                <a:lnTo>
                  <a:pt x="289" y="13"/>
                </a:lnTo>
                <a:lnTo>
                  <a:pt x="264" y="23"/>
                </a:lnTo>
                <a:lnTo>
                  <a:pt x="239" y="31"/>
                </a:lnTo>
                <a:lnTo>
                  <a:pt x="217" y="32"/>
                </a:lnTo>
                <a:lnTo>
                  <a:pt x="205" y="39"/>
                </a:lnTo>
                <a:lnTo>
                  <a:pt x="214" y="53"/>
                </a:lnTo>
                <a:lnTo>
                  <a:pt x="210" y="56"/>
                </a:lnTo>
                <a:lnTo>
                  <a:pt x="228" y="60"/>
                </a:lnTo>
                <a:lnTo>
                  <a:pt x="223" y="65"/>
                </a:lnTo>
                <a:lnTo>
                  <a:pt x="237" y="65"/>
                </a:lnTo>
                <a:lnTo>
                  <a:pt x="219" y="65"/>
                </a:lnTo>
                <a:lnTo>
                  <a:pt x="217" y="60"/>
                </a:lnTo>
                <a:lnTo>
                  <a:pt x="215" y="67"/>
                </a:lnTo>
                <a:lnTo>
                  <a:pt x="220" y="71"/>
                </a:lnTo>
                <a:lnTo>
                  <a:pt x="211" y="71"/>
                </a:lnTo>
                <a:lnTo>
                  <a:pt x="189" y="69"/>
                </a:lnTo>
                <a:lnTo>
                  <a:pt x="198" y="63"/>
                </a:lnTo>
                <a:lnTo>
                  <a:pt x="171" y="69"/>
                </a:lnTo>
                <a:lnTo>
                  <a:pt x="135" y="78"/>
                </a:lnTo>
                <a:lnTo>
                  <a:pt x="147" y="83"/>
                </a:lnTo>
                <a:lnTo>
                  <a:pt x="138" y="84"/>
                </a:lnTo>
                <a:lnTo>
                  <a:pt x="136" y="92"/>
                </a:lnTo>
                <a:lnTo>
                  <a:pt x="167" y="92"/>
                </a:lnTo>
                <a:lnTo>
                  <a:pt x="171" y="95"/>
                </a:lnTo>
                <a:lnTo>
                  <a:pt x="196" y="87"/>
                </a:lnTo>
                <a:lnTo>
                  <a:pt x="191" y="93"/>
                </a:lnTo>
                <a:lnTo>
                  <a:pt x="186" y="95"/>
                </a:lnTo>
                <a:lnTo>
                  <a:pt x="180" y="103"/>
                </a:lnTo>
                <a:lnTo>
                  <a:pt x="161" y="108"/>
                </a:lnTo>
                <a:lnTo>
                  <a:pt x="133" y="115"/>
                </a:lnTo>
                <a:lnTo>
                  <a:pt x="138" y="111"/>
                </a:lnTo>
                <a:lnTo>
                  <a:pt x="127" y="114"/>
                </a:lnTo>
                <a:lnTo>
                  <a:pt x="115" y="120"/>
                </a:lnTo>
                <a:lnTo>
                  <a:pt x="117" y="120"/>
                </a:lnTo>
                <a:lnTo>
                  <a:pt x="112" y="122"/>
                </a:lnTo>
                <a:lnTo>
                  <a:pt x="93" y="131"/>
                </a:lnTo>
                <a:lnTo>
                  <a:pt x="85" y="132"/>
                </a:lnTo>
                <a:lnTo>
                  <a:pt x="87" y="134"/>
                </a:lnTo>
                <a:lnTo>
                  <a:pt x="81" y="135"/>
                </a:lnTo>
                <a:lnTo>
                  <a:pt x="83" y="140"/>
                </a:lnTo>
                <a:lnTo>
                  <a:pt x="96" y="135"/>
                </a:lnTo>
                <a:lnTo>
                  <a:pt x="83" y="141"/>
                </a:lnTo>
                <a:lnTo>
                  <a:pt x="84" y="144"/>
                </a:lnTo>
                <a:lnTo>
                  <a:pt x="97" y="145"/>
                </a:lnTo>
                <a:lnTo>
                  <a:pt x="93" y="146"/>
                </a:lnTo>
                <a:lnTo>
                  <a:pt x="95" y="149"/>
                </a:lnTo>
                <a:lnTo>
                  <a:pt x="87" y="149"/>
                </a:lnTo>
                <a:lnTo>
                  <a:pt x="82" y="146"/>
                </a:lnTo>
                <a:lnTo>
                  <a:pt x="72" y="151"/>
                </a:lnTo>
                <a:lnTo>
                  <a:pt x="77" y="161"/>
                </a:lnTo>
                <a:lnTo>
                  <a:pt x="97" y="156"/>
                </a:lnTo>
                <a:lnTo>
                  <a:pt x="109" y="149"/>
                </a:lnTo>
                <a:lnTo>
                  <a:pt x="97" y="158"/>
                </a:lnTo>
                <a:lnTo>
                  <a:pt x="89" y="168"/>
                </a:lnTo>
                <a:lnTo>
                  <a:pt x="85" y="171"/>
                </a:lnTo>
                <a:lnTo>
                  <a:pt x="85" y="173"/>
                </a:lnTo>
                <a:lnTo>
                  <a:pt x="78" y="179"/>
                </a:lnTo>
                <a:lnTo>
                  <a:pt x="102" y="174"/>
                </a:lnTo>
                <a:lnTo>
                  <a:pt x="108" y="175"/>
                </a:lnTo>
                <a:lnTo>
                  <a:pt x="108" y="182"/>
                </a:lnTo>
                <a:lnTo>
                  <a:pt x="123" y="173"/>
                </a:lnTo>
                <a:lnTo>
                  <a:pt x="126" y="173"/>
                </a:lnTo>
                <a:lnTo>
                  <a:pt x="118" y="176"/>
                </a:lnTo>
                <a:lnTo>
                  <a:pt x="119" y="179"/>
                </a:lnTo>
                <a:lnTo>
                  <a:pt x="142" y="173"/>
                </a:lnTo>
                <a:lnTo>
                  <a:pt x="121" y="185"/>
                </a:lnTo>
                <a:lnTo>
                  <a:pt x="125" y="185"/>
                </a:lnTo>
                <a:lnTo>
                  <a:pt x="121" y="185"/>
                </a:lnTo>
                <a:lnTo>
                  <a:pt x="111" y="194"/>
                </a:lnTo>
                <a:lnTo>
                  <a:pt x="103" y="195"/>
                </a:lnTo>
                <a:lnTo>
                  <a:pt x="84" y="206"/>
                </a:lnTo>
                <a:lnTo>
                  <a:pt x="53" y="216"/>
                </a:lnTo>
                <a:lnTo>
                  <a:pt x="51" y="221"/>
                </a:lnTo>
                <a:lnTo>
                  <a:pt x="46" y="221"/>
                </a:lnTo>
                <a:lnTo>
                  <a:pt x="42" y="223"/>
                </a:lnTo>
                <a:lnTo>
                  <a:pt x="42" y="219"/>
                </a:lnTo>
                <a:lnTo>
                  <a:pt x="33" y="219"/>
                </a:lnTo>
                <a:lnTo>
                  <a:pt x="0" y="234"/>
                </a:lnTo>
                <a:lnTo>
                  <a:pt x="1" y="233"/>
                </a:lnTo>
                <a:lnTo>
                  <a:pt x="4" y="234"/>
                </a:lnTo>
                <a:lnTo>
                  <a:pt x="11" y="230"/>
                </a:lnTo>
                <a:lnTo>
                  <a:pt x="12" y="231"/>
                </a:lnTo>
                <a:lnTo>
                  <a:pt x="28" y="225"/>
                </a:lnTo>
                <a:lnTo>
                  <a:pt x="35" y="225"/>
                </a:lnTo>
                <a:lnTo>
                  <a:pt x="29" y="225"/>
                </a:lnTo>
                <a:lnTo>
                  <a:pt x="45" y="223"/>
                </a:lnTo>
                <a:lnTo>
                  <a:pt x="55" y="223"/>
                </a:lnTo>
                <a:lnTo>
                  <a:pt x="58" y="222"/>
                </a:lnTo>
                <a:lnTo>
                  <a:pt x="72" y="218"/>
                </a:lnTo>
                <a:lnTo>
                  <a:pt x="76" y="217"/>
                </a:lnTo>
                <a:lnTo>
                  <a:pt x="79" y="213"/>
                </a:lnTo>
                <a:lnTo>
                  <a:pt x="117" y="200"/>
                </a:lnTo>
                <a:lnTo>
                  <a:pt x="150" y="188"/>
                </a:lnTo>
                <a:lnTo>
                  <a:pt x="179" y="175"/>
                </a:lnTo>
                <a:lnTo>
                  <a:pt x="173" y="171"/>
                </a:lnTo>
                <a:lnTo>
                  <a:pt x="198" y="161"/>
                </a:lnTo>
                <a:lnTo>
                  <a:pt x="203" y="159"/>
                </a:lnTo>
                <a:lnTo>
                  <a:pt x="208" y="155"/>
                </a:lnTo>
                <a:lnTo>
                  <a:pt x="228" y="146"/>
                </a:lnTo>
                <a:lnTo>
                  <a:pt x="250" y="139"/>
                </a:lnTo>
                <a:lnTo>
                  <a:pt x="265" y="137"/>
                </a:lnTo>
                <a:lnTo>
                  <a:pt x="256" y="140"/>
                </a:lnTo>
                <a:lnTo>
                  <a:pt x="258" y="145"/>
                </a:lnTo>
                <a:lnTo>
                  <a:pt x="253" y="144"/>
                </a:lnTo>
                <a:lnTo>
                  <a:pt x="231" y="147"/>
                </a:lnTo>
                <a:lnTo>
                  <a:pt x="210" y="163"/>
                </a:lnTo>
                <a:lnTo>
                  <a:pt x="221" y="162"/>
                </a:lnTo>
                <a:lnTo>
                  <a:pt x="204" y="168"/>
                </a:lnTo>
                <a:lnTo>
                  <a:pt x="213" y="169"/>
                </a:lnTo>
                <a:lnTo>
                  <a:pt x="228" y="162"/>
                </a:lnTo>
                <a:lnTo>
                  <a:pt x="223" y="165"/>
                </a:lnTo>
                <a:lnTo>
                  <a:pt x="229" y="163"/>
                </a:lnTo>
                <a:lnTo>
                  <a:pt x="233" y="163"/>
                </a:lnTo>
                <a:lnTo>
                  <a:pt x="234" y="161"/>
                </a:lnTo>
                <a:lnTo>
                  <a:pt x="235" y="162"/>
                </a:lnTo>
                <a:lnTo>
                  <a:pt x="243" y="158"/>
                </a:lnTo>
                <a:lnTo>
                  <a:pt x="250" y="159"/>
                </a:lnTo>
                <a:lnTo>
                  <a:pt x="264" y="152"/>
                </a:lnTo>
                <a:lnTo>
                  <a:pt x="262" y="151"/>
                </a:lnTo>
                <a:lnTo>
                  <a:pt x="265" y="149"/>
                </a:lnTo>
                <a:lnTo>
                  <a:pt x="263" y="147"/>
                </a:lnTo>
                <a:lnTo>
                  <a:pt x="270" y="145"/>
                </a:lnTo>
                <a:lnTo>
                  <a:pt x="282" y="139"/>
                </a:lnTo>
                <a:lnTo>
                  <a:pt x="273" y="144"/>
                </a:lnTo>
                <a:lnTo>
                  <a:pt x="279" y="144"/>
                </a:lnTo>
                <a:lnTo>
                  <a:pt x="277" y="145"/>
                </a:lnTo>
                <a:lnTo>
                  <a:pt x="295" y="141"/>
                </a:lnTo>
                <a:lnTo>
                  <a:pt x="291" y="143"/>
                </a:lnTo>
                <a:lnTo>
                  <a:pt x="289" y="146"/>
                </a:lnTo>
                <a:lnTo>
                  <a:pt x="287" y="147"/>
                </a:lnTo>
                <a:lnTo>
                  <a:pt x="292" y="147"/>
                </a:lnTo>
                <a:lnTo>
                  <a:pt x="293" y="147"/>
                </a:lnTo>
                <a:lnTo>
                  <a:pt x="289" y="151"/>
                </a:lnTo>
                <a:lnTo>
                  <a:pt x="293" y="153"/>
                </a:lnTo>
                <a:lnTo>
                  <a:pt x="305" y="149"/>
                </a:lnTo>
                <a:lnTo>
                  <a:pt x="300" y="152"/>
                </a:lnTo>
                <a:lnTo>
                  <a:pt x="304" y="156"/>
                </a:lnTo>
                <a:lnTo>
                  <a:pt x="319" y="157"/>
                </a:lnTo>
                <a:lnTo>
                  <a:pt x="335" y="158"/>
                </a:lnTo>
                <a:lnTo>
                  <a:pt x="335" y="162"/>
                </a:lnTo>
                <a:lnTo>
                  <a:pt x="352" y="159"/>
                </a:lnTo>
                <a:lnTo>
                  <a:pt x="358" y="161"/>
                </a:lnTo>
                <a:lnTo>
                  <a:pt x="352" y="163"/>
                </a:lnTo>
                <a:lnTo>
                  <a:pt x="355" y="159"/>
                </a:lnTo>
                <a:lnTo>
                  <a:pt x="348" y="164"/>
                </a:lnTo>
                <a:lnTo>
                  <a:pt x="355" y="174"/>
                </a:lnTo>
                <a:lnTo>
                  <a:pt x="364" y="185"/>
                </a:lnTo>
                <a:lnTo>
                  <a:pt x="370" y="183"/>
                </a:lnTo>
                <a:lnTo>
                  <a:pt x="367" y="174"/>
                </a:lnTo>
                <a:lnTo>
                  <a:pt x="372" y="175"/>
                </a:lnTo>
                <a:lnTo>
                  <a:pt x="378" y="174"/>
                </a:lnTo>
                <a:lnTo>
                  <a:pt x="379" y="175"/>
                </a:lnTo>
                <a:lnTo>
                  <a:pt x="376" y="180"/>
                </a:lnTo>
                <a:lnTo>
                  <a:pt x="376" y="182"/>
                </a:lnTo>
                <a:lnTo>
                  <a:pt x="377" y="185"/>
                </a:lnTo>
                <a:lnTo>
                  <a:pt x="389" y="170"/>
                </a:lnTo>
                <a:lnTo>
                  <a:pt x="388" y="179"/>
                </a:lnTo>
                <a:lnTo>
                  <a:pt x="390" y="185"/>
                </a:lnTo>
                <a:lnTo>
                  <a:pt x="393" y="183"/>
                </a:lnTo>
                <a:lnTo>
                  <a:pt x="394" y="187"/>
                </a:lnTo>
                <a:lnTo>
                  <a:pt x="390" y="188"/>
                </a:lnTo>
                <a:lnTo>
                  <a:pt x="397" y="189"/>
                </a:lnTo>
                <a:lnTo>
                  <a:pt x="393" y="189"/>
                </a:lnTo>
                <a:lnTo>
                  <a:pt x="393" y="194"/>
                </a:lnTo>
                <a:lnTo>
                  <a:pt x="389" y="193"/>
                </a:lnTo>
                <a:lnTo>
                  <a:pt x="390" y="198"/>
                </a:lnTo>
                <a:lnTo>
                  <a:pt x="385" y="199"/>
                </a:lnTo>
                <a:lnTo>
                  <a:pt x="387" y="200"/>
                </a:lnTo>
                <a:lnTo>
                  <a:pt x="389" y="207"/>
                </a:lnTo>
                <a:lnTo>
                  <a:pt x="394" y="215"/>
                </a:lnTo>
                <a:lnTo>
                  <a:pt x="389" y="216"/>
                </a:lnTo>
                <a:lnTo>
                  <a:pt x="377" y="224"/>
                </a:lnTo>
                <a:lnTo>
                  <a:pt x="383" y="222"/>
                </a:lnTo>
                <a:lnTo>
                  <a:pt x="397" y="217"/>
                </a:lnTo>
                <a:lnTo>
                  <a:pt x="389" y="229"/>
                </a:lnTo>
                <a:lnTo>
                  <a:pt x="384" y="230"/>
                </a:lnTo>
                <a:lnTo>
                  <a:pt x="394" y="228"/>
                </a:lnTo>
                <a:lnTo>
                  <a:pt x="388" y="231"/>
                </a:lnTo>
                <a:lnTo>
                  <a:pt x="384" y="236"/>
                </a:lnTo>
                <a:lnTo>
                  <a:pt x="399" y="229"/>
                </a:lnTo>
                <a:close/>
              </a:path>
            </a:pathLst>
          </a:custGeom>
          <a:solidFill>
            <a:schemeClr val="accent4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0" name="Freeform 476">
            <a:extLst>
              <a:ext uri="{FF2B5EF4-FFF2-40B4-BE49-F238E27FC236}">
                <a16:creationId xmlns:a16="http://schemas.microsoft.com/office/drawing/2014/main" id="{F8C03CF3-2FAF-4191-982A-1F54679C2077}"/>
              </a:ext>
            </a:extLst>
          </p:cNvPr>
          <p:cNvSpPr>
            <a:spLocks/>
          </p:cNvSpPr>
          <p:nvPr/>
        </p:nvSpPr>
        <p:spPr bwMode="gray">
          <a:xfrm>
            <a:off x="972712" y="2042779"/>
            <a:ext cx="65381" cy="38943"/>
          </a:xfrm>
          <a:custGeom>
            <a:avLst/>
            <a:gdLst>
              <a:gd name="T0" fmla="*/ 35 w 35"/>
              <a:gd name="T1" fmla="*/ 5 h 19"/>
              <a:gd name="T2" fmla="*/ 31 w 35"/>
              <a:gd name="T3" fmla="*/ 5 h 19"/>
              <a:gd name="T4" fmla="*/ 34 w 35"/>
              <a:gd name="T5" fmla="*/ 1 h 19"/>
              <a:gd name="T6" fmla="*/ 31 w 35"/>
              <a:gd name="T7" fmla="*/ 1 h 19"/>
              <a:gd name="T8" fmla="*/ 28 w 35"/>
              <a:gd name="T9" fmla="*/ 0 h 19"/>
              <a:gd name="T10" fmla="*/ 25 w 35"/>
              <a:gd name="T11" fmla="*/ 4 h 19"/>
              <a:gd name="T12" fmla="*/ 22 w 35"/>
              <a:gd name="T13" fmla="*/ 3 h 19"/>
              <a:gd name="T14" fmla="*/ 17 w 35"/>
              <a:gd name="T15" fmla="*/ 4 h 19"/>
              <a:gd name="T16" fmla="*/ 12 w 35"/>
              <a:gd name="T17" fmla="*/ 11 h 19"/>
              <a:gd name="T18" fmla="*/ 11 w 35"/>
              <a:gd name="T19" fmla="*/ 5 h 19"/>
              <a:gd name="T20" fmla="*/ 1 w 35"/>
              <a:gd name="T21" fmla="*/ 11 h 19"/>
              <a:gd name="T22" fmla="*/ 1 w 35"/>
              <a:gd name="T23" fmla="*/ 16 h 19"/>
              <a:gd name="T24" fmla="*/ 3 w 35"/>
              <a:gd name="T25" fmla="*/ 13 h 19"/>
              <a:gd name="T26" fmla="*/ 6 w 35"/>
              <a:gd name="T27" fmla="*/ 13 h 19"/>
              <a:gd name="T28" fmla="*/ 0 w 35"/>
              <a:gd name="T29" fmla="*/ 19 h 19"/>
              <a:gd name="T30" fmla="*/ 7 w 35"/>
              <a:gd name="T31" fmla="*/ 15 h 19"/>
              <a:gd name="T32" fmla="*/ 23 w 35"/>
              <a:gd name="T33" fmla="*/ 10 h 19"/>
              <a:gd name="T34" fmla="*/ 25 w 35"/>
              <a:gd name="T35" fmla="*/ 9 h 19"/>
              <a:gd name="T36" fmla="*/ 35 w 35"/>
              <a:gd name="T37" fmla="*/ 5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5" h="19">
                <a:moveTo>
                  <a:pt x="35" y="5"/>
                </a:moveTo>
                <a:lnTo>
                  <a:pt x="31" y="5"/>
                </a:lnTo>
                <a:lnTo>
                  <a:pt x="34" y="1"/>
                </a:lnTo>
                <a:lnTo>
                  <a:pt x="31" y="1"/>
                </a:lnTo>
                <a:lnTo>
                  <a:pt x="28" y="0"/>
                </a:lnTo>
                <a:lnTo>
                  <a:pt x="25" y="4"/>
                </a:lnTo>
                <a:lnTo>
                  <a:pt x="22" y="3"/>
                </a:lnTo>
                <a:lnTo>
                  <a:pt x="17" y="4"/>
                </a:lnTo>
                <a:lnTo>
                  <a:pt x="12" y="11"/>
                </a:lnTo>
                <a:lnTo>
                  <a:pt x="11" y="5"/>
                </a:lnTo>
                <a:lnTo>
                  <a:pt x="1" y="11"/>
                </a:lnTo>
                <a:lnTo>
                  <a:pt x="1" y="16"/>
                </a:lnTo>
                <a:lnTo>
                  <a:pt x="3" y="13"/>
                </a:lnTo>
                <a:lnTo>
                  <a:pt x="6" y="13"/>
                </a:lnTo>
                <a:lnTo>
                  <a:pt x="0" y="19"/>
                </a:lnTo>
                <a:lnTo>
                  <a:pt x="7" y="15"/>
                </a:lnTo>
                <a:lnTo>
                  <a:pt x="23" y="10"/>
                </a:lnTo>
                <a:lnTo>
                  <a:pt x="25" y="9"/>
                </a:lnTo>
                <a:lnTo>
                  <a:pt x="35" y="5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1" name="Freeform 478">
            <a:extLst>
              <a:ext uri="{FF2B5EF4-FFF2-40B4-BE49-F238E27FC236}">
                <a16:creationId xmlns:a16="http://schemas.microsoft.com/office/drawing/2014/main" id="{CEBCDE2C-0E71-4C93-AE95-450559EA9B98}"/>
              </a:ext>
            </a:extLst>
          </p:cNvPr>
          <p:cNvSpPr>
            <a:spLocks/>
          </p:cNvSpPr>
          <p:nvPr/>
        </p:nvSpPr>
        <p:spPr bwMode="gray">
          <a:xfrm>
            <a:off x="810980" y="1861691"/>
            <a:ext cx="58500" cy="21419"/>
          </a:xfrm>
          <a:custGeom>
            <a:avLst/>
            <a:gdLst>
              <a:gd name="T0" fmla="*/ 30 w 30"/>
              <a:gd name="T1" fmla="*/ 5 h 10"/>
              <a:gd name="T2" fmla="*/ 16 w 30"/>
              <a:gd name="T3" fmla="*/ 10 h 10"/>
              <a:gd name="T4" fmla="*/ 10 w 30"/>
              <a:gd name="T5" fmla="*/ 4 h 10"/>
              <a:gd name="T6" fmla="*/ 12 w 30"/>
              <a:gd name="T7" fmla="*/ 6 h 10"/>
              <a:gd name="T8" fmla="*/ 0 w 30"/>
              <a:gd name="T9" fmla="*/ 5 h 10"/>
              <a:gd name="T10" fmla="*/ 4 w 30"/>
              <a:gd name="T11" fmla="*/ 0 h 10"/>
              <a:gd name="T12" fmla="*/ 16 w 30"/>
              <a:gd name="T13" fmla="*/ 0 h 10"/>
              <a:gd name="T14" fmla="*/ 30 w 30"/>
              <a:gd name="T15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0" h="10">
                <a:moveTo>
                  <a:pt x="30" y="5"/>
                </a:moveTo>
                <a:lnTo>
                  <a:pt x="16" y="10"/>
                </a:lnTo>
                <a:lnTo>
                  <a:pt x="10" y="4"/>
                </a:lnTo>
                <a:lnTo>
                  <a:pt x="12" y="6"/>
                </a:lnTo>
                <a:lnTo>
                  <a:pt x="0" y="5"/>
                </a:lnTo>
                <a:lnTo>
                  <a:pt x="4" y="0"/>
                </a:lnTo>
                <a:lnTo>
                  <a:pt x="16" y="0"/>
                </a:lnTo>
                <a:lnTo>
                  <a:pt x="30" y="5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2" name="Freeform 479">
            <a:extLst>
              <a:ext uri="{FF2B5EF4-FFF2-40B4-BE49-F238E27FC236}">
                <a16:creationId xmlns:a16="http://schemas.microsoft.com/office/drawing/2014/main" id="{CB00C9B2-4141-43ED-BD00-BBCAEFC8BA4F}"/>
              </a:ext>
            </a:extLst>
          </p:cNvPr>
          <p:cNvSpPr>
            <a:spLocks/>
          </p:cNvSpPr>
          <p:nvPr/>
        </p:nvSpPr>
        <p:spPr bwMode="gray">
          <a:xfrm>
            <a:off x="1397690" y="2095351"/>
            <a:ext cx="25808" cy="52573"/>
          </a:xfrm>
          <a:custGeom>
            <a:avLst/>
            <a:gdLst>
              <a:gd name="T0" fmla="*/ 10 w 16"/>
              <a:gd name="T1" fmla="*/ 23 h 24"/>
              <a:gd name="T2" fmla="*/ 7 w 16"/>
              <a:gd name="T3" fmla="*/ 24 h 24"/>
              <a:gd name="T4" fmla="*/ 6 w 16"/>
              <a:gd name="T5" fmla="*/ 20 h 24"/>
              <a:gd name="T6" fmla="*/ 0 w 16"/>
              <a:gd name="T7" fmla="*/ 16 h 24"/>
              <a:gd name="T8" fmla="*/ 6 w 16"/>
              <a:gd name="T9" fmla="*/ 15 h 24"/>
              <a:gd name="T10" fmla="*/ 9 w 16"/>
              <a:gd name="T11" fmla="*/ 10 h 24"/>
              <a:gd name="T12" fmla="*/ 4 w 16"/>
              <a:gd name="T13" fmla="*/ 11 h 24"/>
              <a:gd name="T14" fmla="*/ 10 w 16"/>
              <a:gd name="T15" fmla="*/ 6 h 24"/>
              <a:gd name="T16" fmla="*/ 9 w 16"/>
              <a:gd name="T17" fmla="*/ 3 h 24"/>
              <a:gd name="T18" fmla="*/ 13 w 16"/>
              <a:gd name="T19" fmla="*/ 0 h 24"/>
              <a:gd name="T20" fmla="*/ 16 w 16"/>
              <a:gd name="T21" fmla="*/ 12 h 24"/>
              <a:gd name="T22" fmla="*/ 13 w 16"/>
              <a:gd name="T23" fmla="*/ 11 h 24"/>
              <a:gd name="T24" fmla="*/ 12 w 16"/>
              <a:gd name="T25" fmla="*/ 14 h 24"/>
              <a:gd name="T26" fmla="*/ 10 w 16"/>
              <a:gd name="T27" fmla="*/ 23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4">
                <a:moveTo>
                  <a:pt x="10" y="23"/>
                </a:moveTo>
                <a:lnTo>
                  <a:pt x="7" y="24"/>
                </a:lnTo>
                <a:lnTo>
                  <a:pt x="6" y="20"/>
                </a:lnTo>
                <a:lnTo>
                  <a:pt x="0" y="16"/>
                </a:lnTo>
                <a:lnTo>
                  <a:pt x="6" y="15"/>
                </a:lnTo>
                <a:lnTo>
                  <a:pt x="9" y="10"/>
                </a:lnTo>
                <a:lnTo>
                  <a:pt x="4" y="11"/>
                </a:lnTo>
                <a:lnTo>
                  <a:pt x="10" y="6"/>
                </a:lnTo>
                <a:lnTo>
                  <a:pt x="9" y="3"/>
                </a:lnTo>
                <a:lnTo>
                  <a:pt x="13" y="0"/>
                </a:lnTo>
                <a:lnTo>
                  <a:pt x="16" y="12"/>
                </a:lnTo>
                <a:lnTo>
                  <a:pt x="13" y="11"/>
                </a:lnTo>
                <a:lnTo>
                  <a:pt x="12" y="14"/>
                </a:lnTo>
                <a:lnTo>
                  <a:pt x="10" y="23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3" name="Freeform 480">
            <a:extLst>
              <a:ext uri="{FF2B5EF4-FFF2-40B4-BE49-F238E27FC236}">
                <a16:creationId xmlns:a16="http://schemas.microsoft.com/office/drawing/2014/main" id="{31DBFC05-5CB7-4045-9E24-8BAA615B3AF4}"/>
              </a:ext>
            </a:extLst>
          </p:cNvPr>
          <p:cNvSpPr>
            <a:spLocks/>
          </p:cNvSpPr>
          <p:nvPr/>
        </p:nvSpPr>
        <p:spPr bwMode="gray">
          <a:xfrm>
            <a:off x="1413174" y="2034988"/>
            <a:ext cx="34410" cy="38943"/>
          </a:xfrm>
          <a:custGeom>
            <a:avLst/>
            <a:gdLst>
              <a:gd name="T0" fmla="*/ 15 w 17"/>
              <a:gd name="T1" fmla="*/ 9 h 18"/>
              <a:gd name="T2" fmla="*/ 12 w 17"/>
              <a:gd name="T3" fmla="*/ 10 h 18"/>
              <a:gd name="T4" fmla="*/ 0 w 17"/>
              <a:gd name="T5" fmla="*/ 18 h 18"/>
              <a:gd name="T6" fmla="*/ 3 w 17"/>
              <a:gd name="T7" fmla="*/ 14 h 18"/>
              <a:gd name="T8" fmla="*/ 12 w 17"/>
              <a:gd name="T9" fmla="*/ 0 h 18"/>
              <a:gd name="T10" fmla="*/ 17 w 17"/>
              <a:gd name="T11" fmla="*/ 1 h 18"/>
              <a:gd name="T12" fmla="*/ 15 w 17"/>
              <a:gd name="T13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" h="18">
                <a:moveTo>
                  <a:pt x="15" y="9"/>
                </a:moveTo>
                <a:lnTo>
                  <a:pt x="12" y="10"/>
                </a:lnTo>
                <a:lnTo>
                  <a:pt x="0" y="18"/>
                </a:lnTo>
                <a:lnTo>
                  <a:pt x="3" y="14"/>
                </a:lnTo>
                <a:lnTo>
                  <a:pt x="12" y="0"/>
                </a:lnTo>
                <a:lnTo>
                  <a:pt x="17" y="1"/>
                </a:lnTo>
                <a:lnTo>
                  <a:pt x="15" y="9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4" name="Freeform 481">
            <a:extLst>
              <a:ext uri="{FF2B5EF4-FFF2-40B4-BE49-F238E27FC236}">
                <a16:creationId xmlns:a16="http://schemas.microsoft.com/office/drawing/2014/main" id="{3D2C216F-C10C-4E67-BB5D-8F4B5AB2EF66}"/>
              </a:ext>
            </a:extLst>
          </p:cNvPr>
          <p:cNvSpPr>
            <a:spLocks/>
          </p:cNvSpPr>
          <p:nvPr/>
        </p:nvSpPr>
        <p:spPr bwMode="gray">
          <a:xfrm>
            <a:off x="654409" y="2138189"/>
            <a:ext cx="46455" cy="17526"/>
          </a:xfrm>
          <a:custGeom>
            <a:avLst/>
            <a:gdLst>
              <a:gd name="T0" fmla="*/ 24 w 24"/>
              <a:gd name="T1" fmla="*/ 6 h 8"/>
              <a:gd name="T2" fmla="*/ 19 w 24"/>
              <a:gd name="T3" fmla="*/ 0 h 8"/>
              <a:gd name="T4" fmla="*/ 0 w 24"/>
              <a:gd name="T5" fmla="*/ 7 h 8"/>
              <a:gd name="T6" fmla="*/ 6 w 24"/>
              <a:gd name="T7" fmla="*/ 8 h 8"/>
              <a:gd name="T8" fmla="*/ 24 w 24"/>
              <a:gd name="T9" fmla="*/ 6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" h="8">
                <a:moveTo>
                  <a:pt x="24" y="6"/>
                </a:moveTo>
                <a:lnTo>
                  <a:pt x="19" y="0"/>
                </a:lnTo>
                <a:lnTo>
                  <a:pt x="0" y="7"/>
                </a:lnTo>
                <a:lnTo>
                  <a:pt x="6" y="8"/>
                </a:lnTo>
                <a:lnTo>
                  <a:pt x="24" y="6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5" name="Freeform 482">
            <a:extLst>
              <a:ext uri="{FF2B5EF4-FFF2-40B4-BE49-F238E27FC236}">
                <a16:creationId xmlns:a16="http://schemas.microsoft.com/office/drawing/2014/main" id="{EC4C8B09-5FCB-443A-B24C-878DBC1B9D50}"/>
              </a:ext>
            </a:extLst>
          </p:cNvPr>
          <p:cNvSpPr>
            <a:spLocks/>
          </p:cNvSpPr>
          <p:nvPr/>
        </p:nvSpPr>
        <p:spPr bwMode="gray">
          <a:xfrm>
            <a:off x="785172" y="1964893"/>
            <a:ext cx="34410" cy="17526"/>
          </a:xfrm>
          <a:custGeom>
            <a:avLst/>
            <a:gdLst>
              <a:gd name="T0" fmla="*/ 18 w 18"/>
              <a:gd name="T1" fmla="*/ 6 h 9"/>
              <a:gd name="T2" fmla="*/ 11 w 18"/>
              <a:gd name="T3" fmla="*/ 9 h 9"/>
              <a:gd name="T4" fmla="*/ 0 w 18"/>
              <a:gd name="T5" fmla="*/ 5 h 9"/>
              <a:gd name="T6" fmla="*/ 18 w 18"/>
              <a:gd name="T7" fmla="*/ 0 h 9"/>
              <a:gd name="T8" fmla="*/ 18 w 18"/>
              <a:gd name="T9" fmla="*/ 6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9">
                <a:moveTo>
                  <a:pt x="18" y="6"/>
                </a:moveTo>
                <a:lnTo>
                  <a:pt x="11" y="9"/>
                </a:lnTo>
                <a:lnTo>
                  <a:pt x="0" y="5"/>
                </a:lnTo>
                <a:lnTo>
                  <a:pt x="18" y="0"/>
                </a:lnTo>
                <a:lnTo>
                  <a:pt x="18" y="6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6" name="Freeform 483">
            <a:extLst>
              <a:ext uri="{FF2B5EF4-FFF2-40B4-BE49-F238E27FC236}">
                <a16:creationId xmlns:a16="http://schemas.microsoft.com/office/drawing/2014/main" id="{4C32872E-0587-40B0-ABC5-9E5E8BE1EF02}"/>
              </a:ext>
            </a:extLst>
          </p:cNvPr>
          <p:cNvSpPr>
            <a:spLocks/>
          </p:cNvSpPr>
          <p:nvPr/>
        </p:nvSpPr>
        <p:spPr bwMode="gray">
          <a:xfrm>
            <a:off x="1394246" y="2034988"/>
            <a:ext cx="29251" cy="25313"/>
          </a:xfrm>
          <a:custGeom>
            <a:avLst/>
            <a:gdLst>
              <a:gd name="T0" fmla="*/ 13 w 17"/>
              <a:gd name="T1" fmla="*/ 10 h 12"/>
              <a:gd name="T2" fmla="*/ 12 w 17"/>
              <a:gd name="T3" fmla="*/ 7 h 12"/>
              <a:gd name="T4" fmla="*/ 8 w 17"/>
              <a:gd name="T5" fmla="*/ 3 h 12"/>
              <a:gd name="T6" fmla="*/ 17 w 17"/>
              <a:gd name="T7" fmla="*/ 6 h 12"/>
              <a:gd name="T8" fmla="*/ 16 w 17"/>
              <a:gd name="T9" fmla="*/ 3 h 12"/>
              <a:gd name="T10" fmla="*/ 11 w 17"/>
              <a:gd name="T11" fmla="*/ 3 h 12"/>
              <a:gd name="T12" fmla="*/ 13 w 17"/>
              <a:gd name="T13" fmla="*/ 0 h 12"/>
              <a:gd name="T14" fmla="*/ 6 w 17"/>
              <a:gd name="T15" fmla="*/ 2 h 12"/>
              <a:gd name="T16" fmla="*/ 5 w 17"/>
              <a:gd name="T17" fmla="*/ 6 h 12"/>
              <a:gd name="T18" fmla="*/ 0 w 17"/>
              <a:gd name="T19" fmla="*/ 6 h 12"/>
              <a:gd name="T20" fmla="*/ 4 w 17"/>
              <a:gd name="T21" fmla="*/ 12 h 12"/>
              <a:gd name="T22" fmla="*/ 6 w 17"/>
              <a:gd name="T23" fmla="*/ 7 h 12"/>
              <a:gd name="T24" fmla="*/ 13 w 17"/>
              <a:gd name="T25" fmla="*/ 1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" h="12">
                <a:moveTo>
                  <a:pt x="13" y="10"/>
                </a:moveTo>
                <a:lnTo>
                  <a:pt x="12" y="7"/>
                </a:lnTo>
                <a:lnTo>
                  <a:pt x="8" y="3"/>
                </a:lnTo>
                <a:lnTo>
                  <a:pt x="17" y="6"/>
                </a:lnTo>
                <a:lnTo>
                  <a:pt x="16" y="3"/>
                </a:lnTo>
                <a:lnTo>
                  <a:pt x="11" y="3"/>
                </a:lnTo>
                <a:lnTo>
                  <a:pt x="13" y="0"/>
                </a:lnTo>
                <a:lnTo>
                  <a:pt x="6" y="2"/>
                </a:lnTo>
                <a:lnTo>
                  <a:pt x="5" y="6"/>
                </a:lnTo>
                <a:lnTo>
                  <a:pt x="0" y="6"/>
                </a:lnTo>
                <a:lnTo>
                  <a:pt x="4" y="12"/>
                </a:lnTo>
                <a:lnTo>
                  <a:pt x="6" y="7"/>
                </a:lnTo>
                <a:lnTo>
                  <a:pt x="13" y="1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7" name="Freeform 484">
            <a:extLst>
              <a:ext uri="{FF2B5EF4-FFF2-40B4-BE49-F238E27FC236}">
                <a16:creationId xmlns:a16="http://schemas.microsoft.com/office/drawing/2014/main" id="{B40402ED-7E8F-4623-AD24-6E5475A272A3}"/>
              </a:ext>
            </a:extLst>
          </p:cNvPr>
          <p:cNvSpPr>
            <a:spLocks/>
          </p:cNvSpPr>
          <p:nvPr/>
        </p:nvSpPr>
        <p:spPr bwMode="gray">
          <a:xfrm>
            <a:off x="1389086" y="2056408"/>
            <a:ext cx="18926" cy="42837"/>
          </a:xfrm>
          <a:custGeom>
            <a:avLst/>
            <a:gdLst>
              <a:gd name="T0" fmla="*/ 0 w 9"/>
              <a:gd name="T1" fmla="*/ 20 h 20"/>
              <a:gd name="T2" fmla="*/ 9 w 9"/>
              <a:gd name="T3" fmla="*/ 0 h 20"/>
              <a:gd name="T4" fmla="*/ 2 w 9"/>
              <a:gd name="T5" fmla="*/ 4 h 20"/>
              <a:gd name="T6" fmla="*/ 0 w 9"/>
              <a:gd name="T7" fmla="*/ 2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" h="20">
                <a:moveTo>
                  <a:pt x="0" y="20"/>
                </a:moveTo>
                <a:lnTo>
                  <a:pt x="9" y="0"/>
                </a:lnTo>
                <a:lnTo>
                  <a:pt x="2" y="4"/>
                </a:lnTo>
                <a:lnTo>
                  <a:pt x="0" y="2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8" name="Freeform 485">
            <a:extLst>
              <a:ext uri="{FF2B5EF4-FFF2-40B4-BE49-F238E27FC236}">
                <a16:creationId xmlns:a16="http://schemas.microsoft.com/office/drawing/2014/main" id="{F4D0D0E5-74C4-4571-8DDA-63FF1D98910E}"/>
              </a:ext>
            </a:extLst>
          </p:cNvPr>
          <p:cNvSpPr>
            <a:spLocks/>
          </p:cNvSpPr>
          <p:nvPr/>
        </p:nvSpPr>
        <p:spPr bwMode="gray">
          <a:xfrm>
            <a:off x="1420056" y="2070038"/>
            <a:ext cx="22367" cy="21419"/>
          </a:xfrm>
          <a:custGeom>
            <a:avLst/>
            <a:gdLst>
              <a:gd name="T0" fmla="*/ 10 w 11"/>
              <a:gd name="T1" fmla="*/ 6 h 10"/>
              <a:gd name="T2" fmla="*/ 11 w 11"/>
              <a:gd name="T3" fmla="*/ 5 h 10"/>
              <a:gd name="T4" fmla="*/ 5 w 11"/>
              <a:gd name="T5" fmla="*/ 0 h 10"/>
              <a:gd name="T6" fmla="*/ 0 w 11"/>
              <a:gd name="T7" fmla="*/ 8 h 10"/>
              <a:gd name="T8" fmla="*/ 4 w 11"/>
              <a:gd name="T9" fmla="*/ 10 h 10"/>
              <a:gd name="T10" fmla="*/ 8 w 11"/>
              <a:gd name="T11" fmla="*/ 6 h 10"/>
              <a:gd name="T12" fmla="*/ 10 w 11"/>
              <a:gd name="T13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10">
                <a:moveTo>
                  <a:pt x="10" y="6"/>
                </a:moveTo>
                <a:lnTo>
                  <a:pt x="11" y="5"/>
                </a:lnTo>
                <a:lnTo>
                  <a:pt x="5" y="0"/>
                </a:lnTo>
                <a:lnTo>
                  <a:pt x="0" y="8"/>
                </a:lnTo>
                <a:lnTo>
                  <a:pt x="4" y="10"/>
                </a:lnTo>
                <a:lnTo>
                  <a:pt x="8" y="6"/>
                </a:lnTo>
                <a:lnTo>
                  <a:pt x="10" y="6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9" name="Freeform 486">
            <a:extLst>
              <a:ext uri="{FF2B5EF4-FFF2-40B4-BE49-F238E27FC236}">
                <a16:creationId xmlns:a16="http://schemas.microsoft.com/office/drawing/2014/main" id="{C6F1B545-7629-4A8A-BC1D-CBB5E142FF01}"/>
              </a:ext>
            </a:extLst>
          </p:cNvPr>
          <p:cNvSpPr>
            <a:spLocks/>
          </p:cNvSpPr>
          <p:nvPr/>
        </p:nvSpPr>
        <p:spPr bwMode="gray">
          <a:xfrm>
            <a:off x="1401131" y="2077827"/>
            <a:ext cx="18926" cy="21419"/>
          </a:xfrm>
          <a:custGeom>
            <a:avLst/>
            <a:gdLst>
              <a:gd name="T0" fmla="*/ 10 w 10"/>
              <a:gd name="T1" fmla="*/ 4 h 11"/>
              <a:gd name="T2" fmla="*/ 0 w 10"/>
              <a:gd name="T3" fmla="*/ 11 h 11"/>
              <a:gd name="T4" fmla="*/ 4 w 10"/>
              <a:gd name="T5" fmla="*/ 0 h 11"/>
              <a:gd name="T6" fmla="*/ 10 w 10"/>
              <a:gd name="T7" fmla="*/ 4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" h="11">
                <a:moveTo>
                  <a:pt x="10" y="4"/>
                </a:moveTo>
                <a:lnTo>
                  <a:pt x="0" y="11"/>
                </a:lnTo>
                <a:lnTo>
                  <a:pt x="4" y="0"/>
                </a:lnTo>
                <a:lnTo>
                  <a:pt x="10" y="4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40" name="Freeform 488">
            <a:extLst>
              <a:ext uri="{FF2B5EF4-FFF2-40B4-BE49-F238E27FC236}">
                <a16:creationId xmlns:a16="http://schemas.microsoft.com/office/drawing/2014/main" id="{21A53294-66E1-4053-8A1B-3D2FA9F6546E}"/>
              </a:ext>
            </a:extLst>
          </p:cNvPr>
          <p:cNvSpPr>
            <a:spLocks/>
          </p:cNvSpPr>
          <p:nvPr/>
        </p:nvSpPr>
        <p:spPr bwMode="gray">
          <a:xfrm>
            <a:off x="2565946" y="2607456"/>
            <a:ext cx="60218" cy="21419"/>
          </a:xfrm>
          <a:custGeom>
            <a:avLst/>
            <a:gdLst>
              <a:gd name="T0" fmla="*/ 31 w 31"/>
              <a:gd name="T1" fmla="*/ 1 h 8"/>
              <a:gd name="T2" fmla="*/ 23 w 31"/>
              <a:gd name="T3" fmla="*/ 3 h 8"/>
              <a:gd name="T4" fmla="*/ 24 w 31"/>
              <a:gd name="T5" fmla="*/ 0 h 8"/>
              <a:gd name="T6" fmla="*/ 0 w 31"/>
              <a:gd name="T7" fmla="*/ 8 h 8"/>
              <a:gd name="T8" fmla="*/ 16 w 31"/>
              <a:gd name="T9" fmla="*/ 5 h 8"/>
              <a:gd name="T10" fmla="*/ 31 w 31"/>
              <a:gd name="T1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" h="8">
                <a:moveTo>
                  <a:pt x="31" y="1"/>
                </a:moveTo>
                <a:lnTo>
                  <a:pt x="23" y="3"/>
                </a:lnTo>
                <a:lnTo>
                  <a:pt x="24" y="0"/>
                </a:lnTo>
                <a:lnTo>
                  <a:pt x="0" y="8"/>
                </a:lnTo>
                <a:lnTo>
                  <a:pt x="16" y="5"/>
                </a:lnTo>
                <a:lnTo>
                  <a:pt x="31" y="1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41" name="Freeform 491">
            <a:extLst>
              <a:ext uri="{FF2B5EF4-FFF2-40B4-BE49-F238E27FC236}">
                <a16:creationId xmlns:a16="http://schemas.microsoft.com/office/drawing/2014/main" id="{9688FA1C-A9F4-44FF-BBE9-49479EED2A70}"/>
              </a:ext>
            </a:extLst>
          </p:cNvPr>
          <p:cNvSpPr>
            <a:spLocks/>
          </p:cNvSpPr>
          <p:nvPr/>
        </p:nvSpPr>
        <p:spPr bwMode="gray">
          <a:xfrm>
            <a:off x="3959597" y="3074776"/>
            <a:ext cx="228834" cy="243397"/>
          </a:xfrm>
          <a:custGeom>
            <a:avLst/>
            <a:gdLst>
              <a:gd name="T0" fmla="*/ 2 w 119"/>
              <a:gd name="T1" fmla="*/ 102 h 111"/>
              <a:gd name="T2" fmla="*/ 0 w 119"/>
              <a:gd name="T3" fmla="*/ 111 h 111"/>
              <a:gd name="T4" fmla="*/ 0 w 119"/>
              <a:gd name="T5" fmla="*/ 102 h 111"/>
              <a:gd name="T6" fmla="*/ 10 w 119"/>
              <a:gd name="T7" fmla="*/ 83 h 111"/>
              <a:gd name="T8" fmla="*/ 20 w 119"/>
              <a:gd name="T9" fmla="*/ 62 h 111"/>
              <a:gd name="T10" fmla="*/ 17 w 119"/>
              <a:gd name="T11" fmla="*/ 65 h 111"/>
              <a:gd name="T12" fmla="*/ 28 w 119"/>
              <a:gd name="T13" fmla="*/ 51 h 111"/>
              <a:gd name="T14" fmla="*/ 33 w 119"/>
              <a:gd name="T15" fmla="*/ 39 h 111"/>
              <a:gd name="T16" fmla="*/ 39 w 119"/>
              <a:gd name="T17" fmla="*/ 26 h 111"/>
              <a:gd name="T18" fmla="*/ 50 w 119"/>
              <a:gd name="T19" fmla="*/ 17 h 111"/>
              <a:gd name="T20" fmla="*/ 57 w 119"/>
              <a:gd name="T21" fmla="*/ 0 h 111"/>
              <a:gd name="T22" fmla="*/ 72 w 119"/>
              <a:gd name="T23" fmla="*/ 0 h 111"/>
              <a:gd name="T24" fmla="*/ 88 w 119"/>
              <a:gd name="T25" fmla="*/ 0 h 111"/>
              <a:gd name="T26" fmla="*/ 104 w 119"/>
              <a:gd name="T27" fmla="*/ 0 h 111"/>
              <a:gd name="T28" fmla="*/ 119 w 119"/>
              <a:gd name="T29" fmla="*/ 0 h 111"/>
              <a:gd name="T30" fmla="*/ 119 w 119"/>
              <a:gd name="T31" fmla="*/ 6 h 111"/>
              <a:gd name="T32" fmla="*/ 118 w 119"/>
              <a:gd name="T33" fmla="*/ 26 h 111"/>
              <a:gd name="T34" fmla="*/ 107 w 119"/>
              <a:gd name="T35" fmla="*/ 26 h 111"/>
              <a:gd name="T36" fmla="*/ 95 w 119"/>
              <a:gd name="T37" fmla="*/ 26 h 111"/>
              <a:gd name="T38" fmla="*/ 84 w 119"/>
              <a:gd name="T39" fmla="*/ 26 h 111"/>
              <a:gd name="T40" fmla="*/ 72 w 119"/>
              <a:gd name="T41" fmla="*/ 26 h 111"/>
              <a:gd name="T42" fmla="*/ 72 w 119"/>
              <a:gd name="T43" fmla="*/ 48 h 111"/>
              <a:gd name="T44" fmla="*/ 71 w 119"/>
              <a:gd name="T45" fmla="*/ 68 h 111"/>
              <a:gd name="T46" fmla="*/ 58 w 119"/>
              <a:gd name="T47" fmla="*/ 74 h 111"/>
              <a:gd name="T48" fmla="*/ 57 w 119"/>
              <a:gd name="T49" fmla="*/ 89 h 111"/>
              <a:gd name="T50" fmla="*/ 57 w 119"/>
              <a:gd name="T51" fmla="*/ 102 h 111"/>
              <a:gd name="T52" fmla="*/ 44 w 119"/>
              <a:gd name="T53" fmla="*/ 102 h 111"/>
              <a:gd name="T54" fmla="*/ 29 w 119"/>
              <a:gd name="T55" fmla="*/ 102 h 111"/>
              <a:gd name="T56" fmla="*/ 16 w 119"/>
              <a:gd name="T57" fmla="*/ 102 h 111"/>
              <a:gd name="T58" fmla="*/ 2 w 119"/>
              <a:gd name="T59" fmla="*/ 102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19" h="111">
                <a:moveTo>
                  <a:pt x="2" y="102"/>
                </a:moveTo>
                <a:lnTo>
                  <a:pt x="0" y="111"/>
                </a:lnTo>
                <a:lnTo>
                  <a:pt x="0" y="102"/>
                </a:lnTo>
                <a:lnTo>
                  <a:pt x="10" y="83"/>
                </a:lnTo>
                <a:lnTo>
                  <a:pt x="20" y="62"/>
                </a:lnTo>
                <a:lnTo>
                  <a:pt x="17" y="65"/>
                </a:lnTo>
                <a:lnTo>
                  <a:pt x="28" y="51"/>
                </a:lnTo>
                <a:lnTo>
                  <a:pt x="33" y="39"/>
                </a:lnTo>
                <a:lnTo>
                  <a:pt x="39" y="26"/>
                </a:lnTo>
                <a:lnTo>
                  <a:pt x="50" y="17"/>
                </a:lnTo>
                <a:lnTo>
                  <a:pt x="57" y="0"/>
                </a:lnTo>
                <a:lnTo>
                  <a:pt x="72" y="0"/>
                </a:lnTo>
                <a:lnTo>
                  <a:pt x="88" y="0"/>
                </a:lnTo>
                <a:lnTo>
                  <a:pt x="104" y="0"/>
                </a:lnTo>
                <a:lnTo>
                  <a:pt x="119" y="0"/>
                </a:lnTo>
                <a:lnTo>
                  <a:pt x="119" y="6"/>
                </a:lnTo>
                <a:lnTo>
                  <a:pt x="118" y="26"/>
                </a:lnTo>
                <a:lnTo>
                  <a:pt x="107" y="26"/>
                </a:lnTo>
                <a:lnTo>
                  <a:pt x="95" y="26"/>
                </a:lnTo>
                <a:lnTo>
                  <a:pt x="84" y="26"/>
                </a:lnTo>
                <a:lnTo>
                  <a:pt x="72" y="26"/>
                </a:lnTo>
                <a:lnTo>
                  <a:pt x="72" y="48"/>
                </a:lnTo>
                <a:lnTo>
                  <a:pt x="71" y="68"/>
                </a:lnTo>
                <a:lnTo>
                  <a:pt x="58" y="74"/>
                </a:lnTo>
                <a:lnTo>
                  <a:pt x="57" y="89"/>
                </a:lnTo>
                <a:lnTo>
                  <a:pt x="57" y="102"/>
                </a:lnTo>
                <a:lnTo>
                  <a:pt x="44" y="102"/>
                </a:lnTo>
                <a:lnTo>
                  <a:pt x="29" y="102"/>
                </a:lnTo>
                <a:lnTo>
                  <a:pt x="16" y="102"/>
                </a:lnTo>
                <a:lnTo>
                  <a:pt x="2" y="102"/>
                </a:lnTo>
                <a:close/>
              </a:path>
            </a:pathLst>
          </a:custGeom>
          <a:solidFill>
            <a:schemeClr val="accent3"/>
          </a:solidFill>
          <a:ln w="63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42" name="RectangleLegend1">
            <a:extLst>
              <a:ext uri="{FF2B5EF4-FFF2-40B4-BE49-F238E27FC236}">
                <a16:creationId xmlns:a16="http://schemas.microsoft.com/office/drawing/2014/main" id="{307EB961-2C15-4488-A90E-90FE8FF76013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1734933" y="1764622"/>
            <a:ext cx="388818" cy="23366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90</a:t>
            </a:r>
          </a:p>
        </p:txBody>
      </p:sp>
      <p:sp>
        <p:nvSpPr>
          <p:cNvPr id="443" name="RectangleLegend1">
            <a:extLst>
              <a:ext uri="{FF2B5EF4-FFF2-40B4-BE49-F238E27FC236}">
                <a16:creationId xmlns:a16="http://schemas.microsoft.com/office/drawing/2014/main" id="{59849D5B-C3FD-4EC6-90BB-2044BB0C1E23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1659777" y="2606037"/>
            <a:ext cx="388818" cy="2769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300</a:t>
            </a:r>
          </a:p>
        </p:txBody>
      </p:sp>
      <p:sp>
        <p:nvSpPr>
          <p:cNvPr id="444" name="TextBox 443">
            <a:extLst>
              <a:ext uri="{FF2B5EF4-FFF2-40B4-BE49-F238E27FC236}">
                <a16:creationId xmlns:a16="http://schemas.microsoft.com/office/drawing/2014/main" id="{667141AB-3325-497D-A030-B87B035E27C4}"/>
              </a:ext>
            </a:extLst>
          </p:cNvPr>
          <p:cNvSpPr txBox="1"/>
          <p:nvPr/>
        </p:nvSpPr>
        <p:spPr>
          <a:xfrm flipH="1">
            <a:off x="1609206" y="2000112"/>
            <a:ext cx="617157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anada</a:t>
            </a:r>
          </a:p>
        </p:txBody>
      </p:sp>
      <p:sp>
        <p:nvSpPr>
          <p:cNvPr id="445" name="TextBox 444">
            <a:extLst>
              <a:ext uri="{FF2B5EF4-FFF2-40B4-BE49-F238E27FC236}">
                <a16:creationId xmlns:a16="http://schemas.microsoft.com/office/drawing/2014/main" id="{AEADE0B5-B0C8-4AE1-97BF-F87815EAB0DB}"/>
              </a:ext>
            </a:extLst>
          </p:cNvPr>
          <p:cNvSpPr txBox="1"/>
          <p:nvPr/>
        </p:nvSpPr>
        <p:spPr>
          <a:xfrm flipH="1">
            <a:off x="1759960" y="2402968"/>
            <a:ext cx="50623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</a:t>
            </a:r>
          </a:p>
        </p:txBody>
      </p:sp>
      <p:sp>
        <p:nvSpPr>
          <p:cNvPr id="446" name="RectangleLegend1">
            <a:extLst>
              <a:ext uri="{FF2B5EF4-FFF2-40B4-BE49-F238E27FC236}">
                <a16:creationId xmlns:a16="http://schemas.microsoft.com/office/drawing/2014/main" id="{1A2CB94D-719F-40E2-ABC5-45F583D7D4C2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1450651" y="3247414"/>
            <a:ext cx="388818" cy="23366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00</a:t>
            </a:r>
          </a:p>
        </p:txBody>
      </p:sp>
      <p:sp>
        <p:nvSpPr>
          <p:cNvPr id="447" name="TextBox 446">
            <a:extLst>
              <a:ext uri="{FF2B5EF4-FFF2-40B4-BE49-F238E27FC236}">
                <a16:creationId xmlns:a16="http://schemas.microsoft.com/office/drawing/2014/main" id="{03E1C486-B999-4720-BDD8-22C7009F0F5E}"/>
              </a:ext>
            </a:extLst>
          </p:cNvPr>
          <p:cNvSpPr txBox="1"/>
          <p:nvPr/>
        </p:nvSpPr>
        <p:spPr>
          <a:xfrm flipH="1">
            <a:off x="1416854" y="3480686"/>
            <a:ext cx="554639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exico</a:t>
            </a:r>
          </a:p>
        </p:txBody>
      </p:sp>
      <p:sp>
        <p:nvSpPr>
          <p:cNvPr id="448" name="RectangleLegend1">
            <a:extLst>
              <a:ext uri="{FF2B5EF4-FFF2-40B4-BE49-F238E27FC236}">
                <a16:creationId xmlns:a16="http://schemas.microsoft.com/office/drawing/2014/main" id="{658C7996-4D2A-448A-9819-C0E5CD9A18BC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2850604" y="4182181"/>
            <a:ext cx="388818" cy="23366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00</a:t>
            </a:r>
          </a:p>
        </p:txBody>
      </p:sp>
      <p:sp>
        <p:nvSpPr>
          <p:cNvPr id="449" name="TextBox 448">
            <a:extLst>
              <a:ext uri="{FF2B5EF4-FFF2-40B4-BE49-F238E27FC236}">
                <a16:creationId xmlns:a16="http://schemas.microsoft.com/office/drawing/2014/main" id="{5DB89B08-4B4A-463A-9BAC-6F143C655279}"/>
              </a:ext>
            </a:extLst>
          </p:cNvPr>
          <p:cNvSpPr txBox="1"/>
          <p:nvPr/>
        </p:nvSpPr>
        <p:spPr>
          <a:xfrm flipH="1">
            <a:off x="2864627" y="4417140"/>
            <a:ext cx="384721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razil</a:t>
            </a:r>
          </a:p>
        </p:txBody>
      </p:sp>
      <p:sp>
        <p:nvSpPr>
          <p:cNvPr id="451" name="TextBox 450">
            <a:extLst>
              <a:ext uri="{FF2B5EF4-FFF2-40B4-BE49-F238E27FC236}">
                <a16:creationId xmlns:a16="http://schemas.microsoft.com/office/drawing/2014/main" id="{604A5F5A-7C51-4B53-BE0C-39CAB32161B0}"/>
              </a:ext>
            </a:extLst>
          </p:cNvPr>
          <p:cNvSpPr txBox="1"/>
          <p:nvPr/>
        </p:nvSpPr>
        <p:spPr>
          <a:xfrm flipH="1">
            <a:off x="4013100" y="1474897"/>
            <a:ext cx="193964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K</a:t>
            </a:r>
          </a:p>
        </p:txBody>
      </p:sp>
      <p:sp>
        <p:nvSpPr>
          <p:cNvPr id="453" name="TextBox 452">
            <a:extLst>
              <a:ext uri="{FF2B5EF4-FFF2-40B4-BE49-F238E27FC236}">
                <a16:creationId xmlns:a16="http://schemas.microsoft.com/office/drawing/2014/main" id="{A3F143F0-C051-4258-8AEF-507642D7645E}"/>
              </a:ext>
            </a:extLst>
          </p:cNvPr>
          <p:cNvSpPr txBox="1"/>
          <p:nvPr/>
        </p:nvSpPr>
        <p:spPr>
          <a:xfrm flipH="1">
            <a:off x="3501888" y="2014202"/>
            <a:ext cx="63144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U</a:t>
            </a:r>
          </a:p>
        </p:txBody>
      </p:sp>
      <p:sp>
        <p:nvSpPr>
          <p:cNvPr id="454" name="RectangleLegend1">
            <a:extLst>
              <a:ext uri="{FF2B5EF4-FFF2-40B4-BE49-F238E27FC236}">
                <a16:creationId xmlns:a16="http://schemas.microsoft.com/office/drawing/2014/main" id="{8882AA04-CF8E-4612-B5A5-6D5D8C2119B3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4548028" y="1672280"/>
            <a:ext cx="388818" cy="23366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70</a:t>
            </a:r>
          </a:p>
        </p:txBody>
      </p:sp>
      <p:sp>
        <p:nvSpPr>
          <p:cNvPr id="455" name="TextBox 454">
            <a:extLst>
              <a:ext uri="{FF2B5EF4-FFF2-40B4-BE49-F238E27FC236}">
                <a16:creationId xmlns:a16="http://schemas.microsoft.com/office/drawing/2014/main" id="{229A0785-0404-4F23-81B0-E1AF1633B0C3}"/>
              </a:ext>
            </a:extLst>
          </p:cNvPr>
          <p:cNvSpPr txBox="1"/>
          <p:nvPr/>
        </p:nvSpPr>
        <p:spPr>
          <a:xfrm flipH="1">
            <a:off x="4461996" y="1489438"/>
            <a:ext cx="577081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rway</a:t>
            </a:r>
          </a:p>
        </p:txBody>
      </p:sp>
      <p:sp>
        <p:nvSpPr>
          <p:cNvPr id="456" name="RectangleLegend1">
            <a:extLst>
              <a:ext uri="{FF2B5EF4-FFF2-40B4-BE49-F238E27FC236}">
                <a16:creationId xmlns:a16="http://schemas.microsoft.com/office/drawing/2014/main" id="{81222968-D9D3-49F3-A316-3BB9BC4DE59E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6986929" y="2708930"/>
            <a:ext cx="388818" cy="23366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500</a:t>
            </a:r>
          </a:p>
        </p:txBody>
      </p:sp>
      <p:sp>
        <p:nvSpPr>
          <p:cNvPr id="457" name="TextBox 456">
            <a:extLst>
              <a:ext uri="{FF2B5EF4-FFF2-40B4-BE49-F238E27FC236}">
                <a16:creationId xmlns:a16="http://schemas.microsoft.com/office/drawing/2014/main" id="{D0434937-F9D9-40D0-BD58-574797660EF3}"/>
              </a:ext>
            </a:extLst>
          </p:cNvPr>
          <p:cNvSpPr txBox="1"/>
          <p:nvPr/>
        </p:nvSpPr>
        <p:spPr>
          <a:xfrm flipH="1">
            <a:off x="7052115" y="2961311"/>
            <a:ext cx="450444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ina</a:t>
            </a:r>
          </a:p>
        </p:txBody>
      </p:sp>
      <p:sp>
        <p:nvSpPr>
          <p:cNvPr id="458" name="RectangleLegend1">
            <a:extLst>
              <a:ext uri="{FF2B5EF4-FFF2-40B4-BE49-F238E27FC236}">
                <a16:creationId xmlns:a16="http://schemas.microsoft.com/office/drawing/2014/main" id="{47910EAB-EE6A-41A7-9B04-53FF2BDA6D89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8003467" y="2615771"/>
            <a:ext cx="388818" cy="23366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40</a:t>
            </a:r>
          </a:p>
        </p:txBody>
      </p:sp>
      <p:sp>
        <p:nvSpPr>
          <p:cNvPr id="459" name="TextBox 458">
            <a:extLst>
              <a:ext uri="{FF2B5EF4-FFF2-40B4-BE49-F238E27FC236}">
                <a16:creationId xmlns:a16="http://schemas.microsoft.com/office/drawing/2014/main" id="{871C2574-E777-4542-908C-2B4539B33E6D}"/>
              </a:ext>
            </a:extLst>
          </p:cNvPr>
          <p:cNvSpPr txBox="1"/>
          <p:nvPr/>
        </p:nvSpPr>
        <p:spPr>
          <a:xfrm flipH="1">
            <a:off x="7998006" y="2831694"/>
            <a:ext cx="484107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Japan</a:t>
            </a:r>
          </a:p>
        </p:txBody>
      </p:sp>
      <p:sp>
        <p:nvSpPr>
          <p:cNvPr id="460" name="RectangleLegend1">
            <a:extLst>
              <a:ext uri="{FF2B5EF4-FFF2-40B4-BE49-F238E27FC236}">
                <a16:creationId xmlns:a16="http://schemas.microsoft.com/office/drawing/2014/main" id="{3B4746EF-39A8-41B7-9CA3-71421F2A1B92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7764681" y="4650859"/>
            <a:ext cx="388818" cy="23366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400</a:t>
            </a:r>
          </a:p>
        </p:txBody>
      </p:sp>
      <p:sp>
        <p:nvSpPr>
          <p:cNvPr id="461" name="TextBox 460">
            <a:extLst>
              <a:ext uri="{FF2B5EF4-FFF2-40B4-BE49-F238E27FC236}">
                <a16:creationId xmlns:a16="http://schemas.microsoft.com/office/drawing/2014/main" id="{C8429D02-46B4-4741-99C3-6A770F634A6E}"/>
              </a:ext>
            </a:extLst>
          </p:cNvPr>
          <p:cNvSpPr txBox="1"/>
          <p:nvPr/>
        </p:nvSpPr>
        <p:spPr>
          <a:xfrm flipH="1">
            <a:off x="7633639" y="4902150"/>
            <a:ext cx="646011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ustralia</a:t>
            </a:r>
          </a:p>
        </p:txBody>
      </p:sp>
      <p:sp>
        <p:nvSpPr>
          <p:cNvPr id="462" name="RectangleLegend1">
            <a:extLst>
              <a:ext uri="{FF2B5EF4-FFF2-40B4-BE49-F238E27FC236}">
                <a16:creationId xmlns:a16="http://schemas.microsoft.com/office/drawing/2014/main" id="{0CD67D4B-F0CC-4D33-B3E1-20A628094C48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4971311" y="4957837"/>
            <a:ext cx="388818" cy="23366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40</a:t>
            </a:r>
          </a:p>
        </p:txBody>
      </p:sp>
      <p:sp>
        <p:nvSpPr>
          <p:cNvPr id="463" name="TextBox 462">
            <a:extLst>
              <a:ext uri="{FF2B5EF4-FFF2-40B4-BE49-F238E27FC236}">
                <a16:creationId xmlns:a16="http://schemas.microsoft.com/office/drawing/2014/main" id="{AC715359-5C2A-480D-860F-28F6B3D75C2E}"/>
              </a:ext>
            </a:extLst>
          </p:cNvPr>
          <p:cNvSpPr txBox="1"/>
          <p:nvPr/>
        </p:nvSpPr>
        <p:spPr>
          <a:xfrm flipH="1">
            <a:off x="4712996" y="5237603"/>
            <a:ext cx="905697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th Africa</a:t>
            </a:r>
          </a:p>
        </p:txBody>
      </p:sp>
      <p:grpSp>
        <p:nvGrpSpPr>
          <p:cNvPr id="949" name="Group 948">
            <a:extLst>
              <a:ext uri="{FF2B5EF4-FFF2-40B4-BE49-F238E27FC236}">
                <a16:creationId xmlns:a16="http://schemas.microsoft.com/office/drawing/2014/main" id="{34815228-1A7C-46C2-A694-1A8C8268D278}"/>
              </a:ext>
            </a:extLst>
          </p:cNvPr>
          <p:cNvGrpSpPr/>
          <p:nvPr/>
        </p:nvGrpSpPr>
        <p:grpSpPr>
          <a:xfrm>
            <a:off x="9222922" y="1959386"/>
            <a:ext cx="2651707" cy="2732680"/>
            <a:chOff x="10024071" y="1959520"/>
            <a:chExt cx="2651707" cy="2732680"/>
          </a:xfrm>
        </p:grpSpPr>
        <p:sp>
          <p:nvSpPr>
            <p:cNvPr id="937" name="RectangleLegend1">
              <a:extLst>
                <a:ext uri="{FF2B5EF4-FFF2-40B4-BE49-F238E27FC236}">
                  <a16:creationId xmlns:a16="http://schemas.microsoft.com/office/drawing/2014/main" id="{30996893-10D1-42E8-A062-8E9AD7B9D2F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047320" y="1981934"/>
              <a:ext cx="599590" cy="353631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38" name="Legend1">
              <a:extLst>
                <a:ext uri="{FF2B5EF4-FFF2-40B4-BE49-F238E27FC236}">
                  <a16:creationId xmlns:a16="http://schemas.microsoft.com/office/drawing/2014/main" id="{3A8AAC55-6DD6-4F30-B71B-2EA07E0BED41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788911" y="1959520"/>
              <a:ext cx="1886867" cy="630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vailable storage resources </a:t>
              </a:r>
            </a:p>
            <a:p>
              <a:pPr marL="0" marR="0" lvl="0" indent="0" algn="l" defTabSz="7553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tCO</a:t>
              </a:r>
              <a:r>
                <a:rPr kumimoji="0" lang="en-US" sz="13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39" name="RectangleLegend1">
              <a:extLst>
                <a:ext uri="{FF2B5EF4-FFF2-40B4-BE49-F238E27FC236}">
                  <a16:creationId xmlns:a16="http://schemas.microsoft.com/office/drawing/2014/main" id="{BA47164B-080F-4ADD-8508-A8650BDFC77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049651" y="3215860"/>
              <a:ext cx="597581" cy="30481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40" name="RectangleLegend2">
              <a:extLst>
                <a:ext uri="{FF2B5EF4-FFF2-40B4-BE49-F238E27FC236}">
                  <a16:creationId xmlns:a16="http://schemas.microsoft.com/office/drawing/2014/main" id="{4BE257D8-6407-460B-B3E2-9A4DE270B02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049651" y="3627612"/>
              <a:ext cx="597580" cy="266917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41" name="RectangleLegend3">
              <a:extLst>
                <a:ext uri="{FF2B5EF4-FFF2-40B4-BE49-F238E27FC236}">
                  <a16:creationId xmlns:a16="http://schemas.microsoft.com/office/drawing/2014/main" id="{DA8EA4CB-E2F5-43E5-8AB9-41EF25556F7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049651" y="4025472"/>
              <a:ext cx="597580" cy="252290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42" name="RectangleLegend4">
              <a:extLst>
                <a:ext uri="{FF2B5EF4-FFF2-40B4-BE49-F238E27FC236}">
                  <a16:creationId xmlns:a16="http://schemas.microsoft.com/office/drawing/2014/main" id="{B95DB8FA-535B-48B7-B19F-CC1CE8F58E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049651" y="4423357"/>
              <a:ext cx="597580" cy="268843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grpSp>
          <p:nvGrpSpPr>
            <p:cNvPr id="936" name="Group 935">
              <a:extLst>
                <a:ext uri="{FF2B5EF4-FFF2-40B4-BE49-F238E27FC236}">
                  <a16:creationId xmlns:a16="http://schemas.microsoft.com/office/drawing/2014/main" id="{06682229-02D7-4F46-86AD-D7E2A911E414}"/>
                </a:ext>
              </a:extLst>
            </p:cNvPr>
            <p:cNvGrpSpPr/>
            <p:nvPr/>
          </p:nvGrpSpPr>
          <p:grpSpPr>
            <a:xfrm>
              <a:off x="10901287" y="3228492"/>
              <a:ext cx="734175" cy="1422941"/>
              <a:chOff x="10481187" y="3264764"/>
              <a:chExt cx="734175" cy="1422941"/>
            </a:xfrm>
          </p:grpSpPr>
          <p:sp>
            <p:nvSpPr>
              <p:cNvPr id="943" name="Legend1">
                <a:extLst>
                  <a:ext uri="{FF2B5EF4-FFF2-40B4-BE49-F238E27FC236}">
                    <a16:creationId xmlns:a16="http://schemas.microsoft.com/office/drawing/2014/main" id="{0FFA2734-C624-45ED-A2F5-6302C443A82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10481187" y="3264764"/>
                <a:ext cx="532197" cy="2154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l" defTabSz="7553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876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0-25%</a:t>
                </a:r>
              </a:p>
            </p:txBody>
          </p:sp>
          <p:sp>
            <p:nvSpPr>
              <p:cNvPr id="944" name="Legend2">
                <a:extLst>
                  <a:ext uri="{FF2B5EF4-FFF2-40B4-BE49-F238E27FC236}">
                    <a16:creationId xmlns:a16="http://schemas.microsoft.com/office/drawing/2014/main" id="{7EF31BDF-B59A-4C9C-97D2-AD0CD3D5505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0481187" y="3676515"/>
                <a:ext cx="633187" cy="2154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l" defTabSz="7553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876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25-50%</a:t>
                </a:r>
              </a:p>
            </p:txBody>
          </p:sp>
          <p:sp>
            <p:nvSpPr>
              <p:cNvPr id="945" name="Legend3">
                <a:extLst>
                  <a:ext uri="{FF2B5EF4-FFF2-40B4-BE49-F238E27FC236}">
                    <a16:creationId xmlns:a16="http://schemas.microsoft.com/office/drawing/2014/main" id="{6B6F43F2-81AD-4AB3-840E-D1028B2DA95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0481187" y="4074376"/>
                <a:ext cx="633187" cy="2154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l" defTabSz="7553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876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50-75%</a:t>
                </a:r>
              </a:p>
            </p:txBody>
          </p:sp>
          <p:sp>
            <p:nvSpPr>
              <p:cNvPr id="946" name="Legend4">
                <a:extLst>
                  <a:ext uri="{FF2B5EF4-FFF2-40B4-BE49-F238E27FC236}">
                    <a16:creationId xmlns:a16="http://schemas.microsoft.com/office/drawing/2014/main" id="{A207244A-A05A-4D60-B41C-EB52C4446CC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10481187" y="4472261"/>
                <a:ext cx="734175" cy="2154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l" defTabSz="7553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876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75-100%</a:t>
                </a:r>
              </a:p>
            </p:txBody>
          </p:sp>
        </p:grpSp>
        <p:sp>
          <p:nvSpPr>
            <p:cNvPr id="947" name="Legend1">
              <a:extLst>
                <a:ext uri="{FF2B5EF4-FFF2-40B4-BE49-F238E27FC236}">
                  <a16:creationId xmlns:a16="http://schemas.microsoft.com/office/drawing/2014/main" id="{96E69EA8-1D71-46F7-B209-C5946258CC52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024071" y="2709052"/>
              <a:ext cx="2638568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torage resource confidence and maturity</a:t>
              </a:r>
            </a:p>
          </p:txBody>
        </p:sp>
      </p:grp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91F6A091-BF37-479F-AC24-8E26FF3066F0}"/>
              </a:ext>
            </a:extLst>
          </p:cNvPr>
          <p:cNvCxnSpPr>
            <a:cxnSpLocks/>
            <a:stCxn id="413" idx="5"/>
            <a:endCxn id="450" idx="4"/>
          </p:cNvCxnSpPr>
          <p:nvPr/>
        </p:nvCxnSpPr>
        <p:spPr>
          <a:xfrm flipH="1" flipV="1">
            <a:off x="4114530" y="1880408"/>
            <a:ext cx="231669" cy="313857"/>
          </a:xfrm>
          <a:prstGeom prst="line">
            <a:avLst/>
          </a:prstGeom>
          <a:ln>
            <a:solidFill>
              <a:srgbClr val="007C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0" name="RectangleLegend1">
            <a:extLst>
              <a:ext uri="{FF2B5EF4-FFF2-40B4-BE49-F238E27FC236}">
                <a16:creationId xmlns:a16="http://schemas.microsoft.com/office/drawing/2014/main" id="{51CD7A48-5A78-4AEE-96C6-6BD184D600F8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3920121" y="1646746"/>
            <a:ext cx="388818" cy="23366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70</a:t>
            </a:r>
          </a:p>
        </p:txBody>
      </p: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17AFE30D-0657-43A8-ACFF-4FD5109C0503}"/>
              </a:ext>
            </a:extLst>
          </p:cNvPr>
          <p:cNvCxnSpPr>
            <a:cxnSpLocks/>
            <a:stCxn id="343" idx="54"/>
          </p:cNvCxnSpPr>
          <p:nvPr/>
        </p:nvCxnSpPr>
        <p:spPr>
          <a:xfrm flipH="1" flipV="1">
            <a:off x="3843288" y="2312002"/>
            <a:ext cx="717584" cy="119866"/>
          </a:xfrm>
          <a:prstGeom prst="line">
            <a:avLst/>
          </a:prstGeom>
          <a:ln>
            <a:solidFill>
              <a:srgbClr val="00B0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2" name="RectangleLegend1">
            <a:extLst>
              <a:ext uri="{FF2B5EF4-FFF2-40B4-BE49-F238E27FC236}">
                <a16:creationId xmlns:a16="http://schemas.microsoft.com/office/drawing/2014/main" id="{A1412D97-80B0-455C-AB33-3D44AF1AA56F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3620675" y="2195200"/>
            <a:ext cx="388818" cy="23366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70</a:t>
            </a:r>
          </a:p>
        </p:txBody>
      </p:sp>
      <p:sp>
        <p:nvSpPr>
          <p:cNvPr id="484" name="5. Source">
            <a:extLst>
              <a:ext uri="{FF2B5EF4-FFF2-40B4-BE49-F238E27FC236}">
                <a16:creationId xmlns:a16="http://schemas.microsoft.com/office/drawing/2014/main" id="{6066CCD4-F2DF-4780-BBA1-390F90CEEF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lobal CSS Institute in McKinsey &amp; Company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carbonization of the industrial sectors: the next frontier 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390514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0" name="Object 119" hidden="1">
            <a:extLst>
              <a:ext uri="{FF2B5EF4-FFF2-40B4-BE49-F238E27FC236}">
                <a16:creationId xmlns:a16="http://schemas.microsoft.com/office/drawing/2014/main" id="{8E1E47EC-3634-4B22-B94A-98ACF4529E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945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1" name="think-cell Slide" r:id="rId32" imgW="395" imgH="394" progId="TCLayout.ActiveDocument.1">
                  <p:embed/>
                </p:oleObj>
              </mc:Choice>
              <mc:Fallback>
                <p:oleObj name="think-cell Slide" r:id="rId32" imgW="395" imgH="394" progId="TCLayout.ActiveDocument.1">
                  <p:embed/>
                  <p:pic>
                    <p:nvPicPr>
                      <p:cNvPr id="120" name="Object 119" hidden="1">
                        <a:extLst>
                          <a:ext uri="{FF2B5EF4-FFF2-40B4-BE49-F238E27FC236}">
                            <a16:creationId xmlns:a16="http://schemas.microsoft.com/office/drawing/2014/main" id="{8E1E47EC-3634-4B22-B94A-98ACF4529E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Rectangle 118" hidden="1">
            <a:extLst>
              <a:ext uri="{FF2B5EF4-FFF2-40B4-BE49-F238E27FC236}">
                <a16:creationId xmlns:a16="http://schemas.microsoft.com/office/drawing/2014/main" id="{93E8E124-4ADC-4452-A284-EA93F078E27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400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E1A7D67-463B-44B6-8924-30CB5EB9974E}"/>
              </a:ext>
            </a:extLst>
          </p:cNvPr>
          <p:cNvCxnSpPr>
            <a:cxnSpLocks/>
          </p:cNvCxnSpPr>
          <p:nvPr/>
        </p:nvCxnSpPr>
        <p:spPr>
          <a:xfrm>
            <a:off x="1019175" y="2252663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5727D63-A4A8-4F00-BEEF-FA6AB43F8684}"/>
              </a:ext>
            </a:extLst>
          </p:cNvPr>
          <p:cNvCxnSpPr>
            <a:cxnSpLocks/>
          </p:cNvCxnSpPr>
          <p:nvPr/>
        </p:nvCxnSpPr>
        <p:spPr>
          <a:xfrm>
            <a:off x="1019175" y="1863725"/>
            <a:ext cx="5256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677C9B6-E7DF-495C-8823-CA8DB74489B0}"/>
              </a:ext>
            </a:extLst>
          </p:cNvPr>
          <p:cNvCxnSpPr>
            <a:cxnSpLocks/>
          </p:cNvCxnSpPr>
          <p:nvPr/>
        </p:nvCxnSpPr>
        <p:spPr>
          <a:xfrm>
            <a:off x="1019175" y="3030538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4AF4907-49BE-444F-A5FC-87C58D00A395}"/>
              </a:ext>
            </a:extLst>
          </p:cNvPr>
          <p:cNvCxnSpPr>
            <a:cxnSpLocks/>
          </p:cNvCxnSpPr>
          <p:nvPr/>
        </p:nvCxnSpPr>
        <p:spPr>
          <a:xfrm>
            <a:off x="1019175" y="2641600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BFF02D5-9E7C-4A19-BC05-F9B1C974E3AA}"/>
              </a:ext>
            </a:extLst>
          </p:cNvPr>
          <p:cNvCxnSpPr>
            <a:cxnSpLocks/>
          </p:cNvCxnSpPr>
          <p:nvPr/>
        </p:nvCxnSpPr>
        <p:spPr>
          <a:xfrm>
            <a:off x="1019175" y="3419475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85D2B58-6B3B-4066-825C-C18C560D6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302163"/>
            <a:ext cx="11540428" cy="314060"/>
          </a:xfrm>
        </p:spPr>
        <p:txBody>
          <a:bodyPr/>
          <a:lstStyle/>
          <a:p>
            <a:r>
              <a:rPr lang="en-GB" dirty="0"/>
              <a:t>In a zero-carbon economy, hydrogen consumption could be multiplied by more than 10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A173EF2-3E5F-40EB-B32B-A4E2DBBDB6BB}"/>
              </a:ext>
            </a:extLst>
          </p:cNvPr>
          <p:cNvCxnSpPr>
            <a:cxnSpLocks/>
          </p:cNvCxnSpPr>
          <p:nvPr/>
        </p:nvCxnSpPr>
        <p:spPr>
          <a:xfrm>
            <a:off x="1019175" y="4973638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E575384-816A-4094-8CBC-71D85461B0B7}"/>
              </a:ext>
            </a:extLst>
          </p:cNvPr>
          <p:cNvCxnSpPr>
            <a:cxnSpLocks/>
          </p:cNvCxnSpPr>
          <p:nvPr/>
        </p:nvCxnSpPr>
        <p:spPr>
          <a:xfrm>
            <a:off x="1019175" y="5751513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764328D-CDB8-4117-B752-A3459B839D96}"/>
              </a:ext>
            </a:extLst>
          </p:cNvPr>
          <p:cNvCxnSpPr>
            <a:cxnSpLocks/>
          </p:cNvCxnSpPr>
          <p:nvPr/>
        </p:nvCxnSpPr>
        <p:spPr>
          <a:xfrm>
            <a:off x="1019175" y="3808413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72BAB83-5DE5-41DC-A15A-C5832593B0C3}"/>
              </a:ext>
            </a:extLst>
          </p:cNvPr>
          <p:cNvCxnSpPr>
            <a:cxnSpLocks/>
          </p:cNvCxnSpPr>
          <p:nvPr/>
        </p:nvCxnSpPr>
        <p:spPr>
          <a:xfrm>
            <a:off x="1019175" y="4195763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5AD9B7CB-4165-4687-A549-69A330CD087C}"/>
              </a:ext>
            </a:extLst>
          </p:cNvPr>
          <p:cNvCxnSpPr>
            <a:cxnSpLocks/>
          </p:cNvCxnSpPr>
          <p:nvPr/>
        </p:nvCxnSpPr>
        <p:spPr>
          <a:xfrm>
            <a:off x="1019175" y="4584700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1E23088A-E16F-418A-B825-86E9A172CD54}"/>
              </a:ext>
            </a:extLst>
          </p:cNvPr>
          <p:cNvCxnSpPr>
            <a:cxnSpLocks/>
          </p:cNvCxnSpPr>
          <p:nvPr/>
        </p:nvCxnSpPr>
        <p:spPr>
          <a:xfrm>
            <a:off x="1019175" y="5362575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C6185B96-DAF4-4C31-B4AD-6C8E30B8C97D}"/>
              </a:ext>
            </a:extLst>
          </p:cNvPr>
          <p:cNvSpPr/>
          <p:nvPr/>
        </p:nvSpPr>
        <p:spPr>
          <a:xfrm>
            <a:off x="1020763" y="3463925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ight-duty transpor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3BBD1D3-5342-463D-8596-C5C199D7BCFE}"/>
              </a:ext>
            </a:extLst>
          </p:cNvPr>
          <p:cNvSpPr/>
          <p:nvPr/>
        </p:nvSpPr>
        <p:spPr>
          <a:xfrm>
            <a:off x="1020763" y="3852863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eavy-duty transpor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501FA8-510E-4EA8-AB02-3087174E703C}"/>
              </a:ext>
            </a:extLst>
          </p:cNvPr>
          <p:cNvSpPr/>
          <p:nvPr/>
        </p:nvSpPr>
        <p:spPr>
          <a:xfrm>
            <a:off x="1020763" y="4241800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ipping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51B27DC-424C-4143-8627-C87753C1DA0A}"/>
              </a:ext>
            </a:extLst>
          </p:cNvPr>
          <p:cNvSpPr/>
          <p:nvPr/>
        </p:nvSpPr>
        <p:spPr>
          <a:xfrm>
            <a:off x="1020763" y="4630738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iation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4D83A0A-6614-470D-B892-DD8730473748}"/>
              </a:ext>
            </a:extLst>
          </p:cNvPr>
          <p:cNvSpPr/>
          <p:nvPr/>
        </p:nvSpPr>
        <p:spPr>
          <a:xfrm>
            <a:off x="1020763" y="3074988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ther industries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35D46D8-D76E-4369-8EBD-8FF8656B52D0}"/>
              </a:ext>
            </a:extLst>
          </p:cNvPr>
          <p:cNvSpPr/>
          <p:nvPr/>
        </p:nvSpPr>
        <p:spPr>
          <a:xfrm>
            <a:off x="1020763" y="5019675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uilding heating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F06C0F2-AD76-45DE-83D1-0961103FEF3B}"/>
              </a:ext>
            </a:extLst>
          </p:cNvPr>
          <p:cNvSpPr/>
          <p:nvPr/>
        </p:nvSpPr>
        <p:spPr>
          <a:xfrm>
            <a:off x="1020763" y="1519238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eme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B2F36C1-BCA5-44D4-BA6F-3988820A604E}"/>
              </a:ext>
            </a:extLst>
          </p:cNvPr>
          <p:cNvSpPr/>
          <p:nvPr/>
        </p:nvSpPr>
        <p:spPr>
          <a:xfrm>
            <a:off x="1020763" y="1908175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teel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8318E34-19D5-4F1F-B57C-F5CFD748BADB}"/>
              </a:ext>
            </a:extLst>
          </p:cNvPr>
          <p:cNvSpPr/>
          <p:nvPr/>
        </p:nvSpPr>
        <p:spPr>
          <a:xfrm>
            <a:off x="1020763" y="2686050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micals – feedstock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F1436A0-9CBA-468E-8523-4794DE1DEEC7}"/>
              </a:ext>
            </a:extLst>
          </p:cNvPr>
          <p:cNvSpPr/>
          <p:nvPr/>
        </p:nvSpPr>
        <p:spPr>
          <a:xfrm>
            <a:off x="1020763" y="5797550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Other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8F992FD9-F185-474F-96BF-2DB8A72FD355}"/>
              </a:ext>
            </a:extLst>
          </p:cNvPr>
          <p:cNvSpPr/>
          <p:nvPr/>
        </p:nvSpPr>
        <p:spPr>
          <a:xfrm>
            <a:off x="1020763" y="2297113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micals – energy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68132BFC-D10D-4552-9845-054653D93903}"/>
              </a:ext>
            </a:extLst>
          </p:cNvPr>
          <p:cNvSpPr/>
          <p:nvPr/>
        </p:nvSpPr>
        <p:spPr>
          <a:xfrm>
            <a:off x="1020763" y="5408613"/>
            <a:ext cx="2576513" cy="298450"/>
          </a:xfrm>
          <a:prstGeom prst="rect">
            <a:avLst/>
          </a:prstGeom>
          <a:solidFill>
            <a:srgbClr val="89AA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griculture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C6E52A13-997F-402A-A983-9EE2DAF5D21C}"/>
              </a:ext>
            </a:extLst>
          </p:cNvPr>
          <p:cNvCxnSpPr>
            <a:cxnSpLocks/>
          </p:cNvCxnSpPr>
          <p:nvPr/>
        </p:nvCxnSpPr>
        <p:spPr>
          <a:xfrm>
            <a:off x="1019175" y="6140450"/>
            <a:ext cx="781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E4EE9389-84CE-458E-9031-D785B5096199}"/>
              </a:ext>
            </a:extLst>
          </p:cNvPr>
          <p:cNvSpPr/>
          <p:nvPr/>
        </p:nvSpPr>
        <p:spPr>
          <a:xfrm>
            <a:off x="1020763" y="6186488"/>
            <a:ext cx="2576513" cy="2984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tal</a:t>
            </a:r>
          </a:p>
        </p:txBody>
      </p:sp>
      <p:sp>
        <p:nvSpPr>
          <p:cNvPr id="255" name="Speech Bubble: Rectangle 254">
            <a:extLst>
              <a:ext uri="{FF2B5EF4-FFF2-40B4-BE49-F238E27FC236}">
                <a16:creationId xmlns:a16="http://schemas.microsoft.com/office/drawing/2014/main" id="{5D755FBC-1842-4EE4-B65B-0847CA8D423B}"/>
              </a:ext>
            </a:extLst>
          </p:cNvPr>
          <p:cNvSpPr/>
          <p:nvPr/>
        </p:nvSpPr>
        <p:spPr>
          <a:xfrm>
            <a:off x="9105813" y="6069375"/>
            <a:ext cx="1332000" cy="360000"/>
          </a:xfrm>
          <a:prstGeom prst="wedgeRectCallout">
            <a:avLst>
              <a:gd name="adj1" fmla="val -71055"/>
              <a:gd name="adj2" fmla="val 17326"/>
            </a:avLst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x11 vs. 2017</a:t>
            </a:r>
          </a:p>
        </p:txBody>
      </p:sp>
      <p:sp>
        <p:nvSpPr>
          <p:cNvPr id="102" name="AutoShape 250">
            <a:extLst>
              <a:ext uri="{FF2B5EF4-FFF2-40B4-BE49-F238E27FC236}">
                <a16:creationId xmlns:a16="http://schemas.microsoft.com/office/drawing/2014/main" id="{DBD8410B-6CF5-4A19-95DC-61479201C0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4912" y="933902"/>
            <a:ext cx="6765925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ydrogen consumption in a near zero carbon economy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Century Gothic"/>
                <a:ea typeface="ＭＳ Ｐゴシック"/>
              </a:rPr>
              <a:t>m, </a:t>
            </a:r>
            <a:r>
              <a:rPr lang="en-US" sz="1400" dirty="0" err="1">
                <a:solidFill>
                  <a:srgbClr val="FFFFFF">
                    <a:lumMod val="50000"/>
                  </a:srgbClr>
                </a:solidFill>
                <a:latin typeface="Century Gothic"/>
                <a:ea typeface="ＭＳ Ｐゴシック"/>
              </a:rPr>
              <a:t>tonn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104" name="AutoShape 249">
            <a:extLst>
              <a:ext uri="{FF2B5EF4-FFF2-40B4-BE49-F238E27FC236}">
                <a16:creationId xmlns:a16="http://schemas.microsoft.com/office/drawing/2014/main" id="{F078663D-080F-4094-A614-65A7E35B874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711575" y="1401716"/>
            <a:ext cx="6765925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5. Source">
            <a:extLst>
              <a:ext uri="{FF2B5EF4-FFF2-40B4-BE49-F238E27FC236}">
                <a16:creationId xmlns:a16="http://schemas.microsoft.com/office/drawing/2014/main" id="{0522D709-0292-41A9-B770-CD6DDBE3B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SYSTEMIQ analysis for th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ransitions Commission analysis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13C8492-B727-4648-8926-61B2D6BAE53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119813" y="2568575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2FD3E271-A1DB-4506-9369-80F0675AB0E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541963" y="2182813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526B4A5-E828-49C7-9CD7-E706F141968B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979863" y="1795463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4FDE51A6-977A-4821-9A9E-BDCD403AA08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781925" y="4886325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7AEFEF5-AC01-4B5A-872E-E6A8BFD9970B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119813" y="2954338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27F0C852-7933-4E0B-A1AE-D4788AC604E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119813" y="3341688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59B72356-CF6A-4388-B0ED-85BAA0FB886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372225" y="3727450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F20F8663-F750-414F-92D0-22490BF49DB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697663" y="4113213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B5A8A4A0-41C7-4677-B781-1B71BBEEFAB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659688" y="4498975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53A2E776-8CFC-4192-8339-F672A781FC70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367713" y="5272088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540DFF7A-12C3-4D71-AF35-236802E3A078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8367713" y="5657850"/>
            <a:ext cx="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4B70D236-DF60-42AC-8DC3-16BA0F634FE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367713" y="6045200"/>
            <a:ext cx="0" cy="171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DC3DA5AF-B00E-4EFB-8068-516656BACD6D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116638" y="2740026"/>
            <a:ext cx="6350" cy="214313"/>
          </a:xfrm>
          <a:prstGeom prst="rect">
            <a:avLst/>
          </a:prstGeom>
          <a:solidFill>
            <a:srgbClr val="C2AF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3DDAE09-BFC1-432A-9A2B-93A7EAF6ABA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116638" y="3125788"/>
            <a:ext cx="6350" cy="215900"/>
          </a:xfrm>
          <a:prstGeom prst="rect">
            <a:avLst/>
          </a:prstGeom>
          <a:solidFill>
            <a:srgbClr val="C2AF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4A315E8-3CCD-4608-9408-B4207915355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8364538" y="5443539"/>
            <a:ext cx="6350" cy="214313"/>
          </a:xfrm>
          <a:prstGeom prst="rect">
            <a:avLst/>
          </a:prstGeom>
          <a:solidFill>
            <a:srgbClr val="C2AF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088E1F62-DA6B-4015-8B28-92B27F897788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364538" y="5829300"/>
            <a:ext cx="6350" cy="215900"/>
          </a:xfrm>
          <a:prstGeom prst="rect">
            <a:avLst/>
          </a:prstGeom>
          <a:solidFill>
            <a:srgbClr val="C2AF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5BB47D9D-2904-4940-B7B9-BF0D3828B80A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844985884"/>
              </p:ext>
            </p:extLst>
          </p:nvPr>
        </p:nvGraphicFramePr>
        <p:xfrm>
          <a:off x="3662363" y="1412875"/>
          <a:ext cx="4999037" cy="5186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65" name="Rectangle 164">
            <a:extLst>
              <a:ext uri="{FF2B5EF4-FFF2-40B4-BE49-F238E27FC236}">
                <a16:creationId xmlns:a16="http://schemas.microsoft.com/office/drawing/2014/main" id="{355F307A-0BBB-434A-B565-2E38F299459A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8393113" y="5830888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DFF9D5F-9051-4264-8213-987489665690}" type="datetime'''''''''''''''''''''''''''0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D332F125-DC8A-443C-9AFC-C5EB4E1CB89E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6145213" y="2740025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9CBD7DD-8529-44D8-9FAE-38644FE84105}" type="datetime'''''''''''''''''''''''0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EC9A76C1-6C88-43F6-A8DF-69C2DC680BED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7685088" y="4284663"/>
            <a:ext cx="3460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EF292A9-47EC-4946-ABC7-391FCAE1DAAA}" type="datetime'''''1''''''3''''''''''''''''''''''''''6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3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820F425C-B717-42C5-8E71-273AE4754750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145213" y="3127375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CC53850-5A85-42C4-8B10-739C229655AB}" type="datetime'''''''''''''''''''''''''''''''0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C5590F1C-4DF4-4DCD-BA9A-003A33AED4EC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8393113" y="5443538"/>
            <a:ext cx="1492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F93B094-3018-4CF3-8937-B963328A9ACB}" type="datetime'''''''''''''''''''''''''''''''''''''''''''''''''''''''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98376D45-7F8C-4370-8552-981553035BE0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8393113" y="6216650"/>
            <a:ext cx="3460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C93C1DA-754B-45D4-BC12-DF8ACD849570}" type="datetime'''''''''''''''''''''''''''''''''''''''6''5''3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5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B481104-3D87-404A-A2DC-2E43916241FE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6624638" y="1584325"/>
            <a:ext cx="250825" cy="187325"/>
          </a:xfrm>
          <a:prstGeom prst="rect">
            <a:avLst/>
          </a:prstGeom>
          <a:solidFill>
            <a:srgbClr val="C2AF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DD22203A-2463-472F-9391-2CB9BE9B8405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624638" y="1847850"/>
            <a:ext cx="250825" cy="187325"/>
          </a:xfrm>
          <a:prstGeom prst="rect">
            <a:avLst/>
          </a:prstGeom>
          <a:solidFill>
            <a:srgbClr val="9B7AB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710324A-F909-4E38-8D47-61718199D9FA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6926263" y="1579563"/>
            <a:ext cx="25733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A85C731-3A28-4950-B616-F20C1F08AC60}" type="datetime'''''Hy''''dr''o''''''''''ge''''n dir''ect co''n''''sumption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ydrogen direct consump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2520A16E-CB16-4B49-9F45-BEF1C90B3916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6926263" y="1843088"/>
            <a:ext cx="34798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CE91ADC-226D-491F-86A5-ACF0E1B9B345}" type="datetime'H''ydr''o''gen used ''''f''or ammonia produ''''ct''i''o''n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ydrogen used for ammonia production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8618121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" name="Object 121" hidden="1">
            <a:extLst>
              <a:ext uri="{FF2B5EF4-FFF2-40B4-BE49-F238E27FC236}">
                <a16:creationId xmlns:a16="http://schemas.microsoft.com/office/drawing/2014/main" id="{8C6AC818-6AE9-4825-94B2-E22007828B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5" name="think-cell Slide" r:id="rId27" imgW="395" imgH="394" progId="TCLayout.ActiveDocument.1">
                  <p:embed/>
                </p:oleObj>
              </mc:Choice>
              <mc:Fallback>
                <p:oleObj name="think-cell Slide" r:id="rId27" imgW="395" imgH="394" progId="TCLayout.ActiveDocument.1">
                  <p:embed/>
                  <p:pic>
                    <p:nvPicPr>
                      <p:cNvPr id="122" name="Object 121" hidden="1">
                        <a:extLst>
                          <a:ext uri="{FF2B5EF4-FFF2-40B4-BE49-F238E27FC236}">
                            <a16:creationId xmlns:a16="http://schemas.microsoft.com/office/drawing/2014/main" id="{8C6AC818-6AE9-4825-94B2-E22007828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8" name="Rectangle 117" hidden="1">
            <a:extLst>
              <a:ext uri="{FF2B5EF4-FFF2-40B4-BE49-F238E27FC236}">
                <a16:creationId xmlns:a16="http://schemas.microsoft.com/office/drawing/2014/main" id="{957F97AC-228B-485D-99AD-58261F2CBD2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Verdana" panose="020B0604030504040204" pitchFamily="34" charset="0"/>
              <a:sym typeface="Century Gothic" panose="020B0502020202020204" pitchFamily="34" charset="0"/>
            </a:endParaRPr>
          </a:p>
        </p:txBody>
      </p:sp>
      <p:graphicFrame>
        <p:nvGraphicFramePr>
          <p:cNvPr id="100" name="Chart 99">
            <a:extLst>
              <a:ext uri="{FF2B5EF4-FFF2-40B4-BE49-F238E27FC236}">
                <a16:creationId xmlns:a16="http://schemas.microsoft.com/office/drawing/2014/main" id="{BA2CF3AF-14F1-42E8-989B-9B2354FB2E00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1106488" y="1751013"/>
          <a:ext cx="7843837" cy="4560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8D0011E2-0B7B-4612-89B6-9B0C1D7CBFB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773238" y="6245225"/>
            <a:ext cx="3810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41760A-CD40-4A26-B276-811AD8957422}" type="datetime'''''''''''''''''''''''''''''2''''00''''''8''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ctr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08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D985E5C3-7829-4B4C-871D-16609BBD1E6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252788" y="6245225"/>
            <a:ext cx="3810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A349FDF-0740-4F58-978E-5EE6B21BBC5F}" type="datetime'''''2''''''''''0''''''''''1''''''''''''''''''''''''''''7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ctr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7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B6328842-92DE-4915-86FE-CA3B1CC5527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677275" y="6245225"/>
            <a:ext cx="3810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E29F7B-9105-4805-8E00-0BC5A6838A6C}" type="datetime'''''2''''''''0''''''''''''''''''''''''''''''''''5''''''''''0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ctr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50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C8DDF9C6-E0FB-4B9F-8597-019D99BE9F1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030413" y="1944688"/>
            <a:ext cx="231775" cy="173038"/>
          </a:xfrm>
          <a:prstGeom prst="rect">
            <a:avLst/>
          </a:prstGeom>
          <a:solidFill>
            <a:srgbClr val="F38B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13778D6-E639-400D-98DA-066D79ABC70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030413" y="2443163"/>
            <a:ext cx="231775" cy="17303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A43973D-079A-4D78-BE29-53283109AE1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030413" y="2193925"/>
            <a:ext cx="231775" cy="173038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70F81D-3BEA-40B1-94F5-5B0B366F89F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030413" y="2692400"/>
            <a:ext cx="231775" cy="17303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B52A0A5-9EC5-406C-8281-5E4CA83742A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312988" y="2436813"/>
            <a:ext cx="155416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8367ED-1694-4482-A097-032DFE33D1FB}" type="datetime'Wi''nd'' ''-'' H''i''sto''''''r''i''''''''''c da''t''''a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Wind - Historic data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BB778984-4F29-4E4E-9C47-7107680D62A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312988" y="1938338"/>
            <a:ext cx="136366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C1E83A-B860-4BF7-9AA8-1EB94ABC0BA7}" type="datetime'PV'''''' ''''''- ''''H''''i''sto''r''i''c da''''''ta''''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V - Historic data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D03479E-7D02-43C2-AD1D-F8940A636DE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312988" y="2187575"/>
            <a:ext cx="116205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7D0917F-D2E5-4E50-BF97-0432ECF63D1A}" type="datetime'''PV - P''r''o''''j''''''''''ec''t''''''i''''''''o''''''n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V - Projection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F39E179A-1088-4E80-AAA9-5CB9770E84F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312988" y="2686050"/>
            <a:ext cx="135255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92D2791-649B-4323-97E1-143F13CB8D8C}" type="datetime'''W''in''''''d -'''' ''''P''''''''''''roject''i''o''n''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Wind - Projection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140" name="Footer Placeholder 2">
            <a:extLst>
              <a:ext uri="{FF2B5EF4-FFF2-40B4-BE49-F238E27FC236}">
                <a16:creationId xmlns:a16="http://schemas.microsoft.com/office/drawing/2014/main" id="{104D37FD-A0FD-4C61-8C35-DFECB3BC8260}"/>
              </a:ext>
            </a:extLst>
          </p:cNvPr>
          <p:cNvSpPr txBox="1">
            <a:spLocks/>
          </p:cNvSpPr>
          <p:nvPr/>
        </p:nvSpPr>
        <p:spPr>
          <a:xfrm>
            <a:off x="7761064" y="2620334"/>
            <a:ext cx="1249363" cy="18415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l" defTabSz="804591" rtl="0" eaLnBrk="1" latinLnBrk="0" hangingPunct="1">
              <a:defRPr sz="1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02296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591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6887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183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11478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3774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16070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8365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9336" marR="0" lvl="0" indent="-399336" algn="l" defTabSz="8045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96,000 TWh -</a:t>
            </a:r>
          </a:p>
        </p:txBody>
      </p:sp>
      <p:graphicFrame>
        <p:nvGraphicFramePr>
          <p:cNvPr id="155" name="Chart 154">
            <a:extLst>
              <a:ext uri="{FF2B5EF4-FFF2-40B4-BE49-F238E27FC236}">
                <a16:creationId xmlns:a16="http://schemas.microsoft.com/office/drawing/2014/main" id="{7EA499DE-D224-4BCC-A873-BDAF38A87F27}"/>
              </a:ext>
            </a:extLst>
          </p:cNvPr>
          <p:cNvGraphicFramePr/>
          <p:nvPr>
            <p:custDataLst>
              <p:tags r:id="rId16"/>
            </p:custDataLst>
            <p:extLst/>
          </p:nvPr>
        </p:nvGraphicFramePr>
        <p:xfrm>
          <a:off x="9745663" y="1789113"/>
          <a:ext cx="619125" cy="4483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A9CC3B9-99C9-4A96-82DD-095243E06D88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0182225" y="2051050"/>
            <a:ext cx="331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F7CE30F-1924-46B6-9904-50353D42889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0182225" y="2733675"/>
            <a:ext cx="331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E401B82-3A4B-4AD5-B030-A9B4EF589A4D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471150" y="2047876"/>
            <a:ext cx="0" cy="6889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0E71AF10-D748-4033-B966-FA656C7757B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9713913" y="1843088"/>
            <a:ext cx="6810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2308B4-D31B-43ED-BA34-A9E5ADB0B82B}" type="datetime'1''''15'''''''''''',0''''00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ctr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5,00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Verdana" panose="020B0604030504040204" pitchFamily="34" charset="0"/>
              <a:sym typeface="+mn-lt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3757339-7533-49DA-9A41-8CCEB8D99D34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10256838" y="2263775"/>
            <a:ext cx="430213" cy="2587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9EC7C6A-2EAE-460C-AAE5-E0EA025E7CB0}" type="datetime'''''''''''''''''''1''''''''''''''''''''''''6''''''%'''''''''">
              <a:rPr kumimoji="0" lang="en-GB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Verdana" panose="020B0604030504040204" pitchFamily="34" charset="0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6%</a:t>
            </a:fld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Verdana" panose="020B0604030504040204" pitchFamily="34" charset="0"/>
              <a:sym typeface="+mn-lt"/>
            </a:endParaRPr>
          </a:p>
        </p:txBody>
      </p:sp>
      <p:sp>
        <p:nvSpPr>
          <p:cNvPr id="51" name="5. Source">
            <a:extLst>
              <a:ext uri="{FF2B5EF4-FFF2-40B4-BE49-F238E27FC236}">
                <a16:creationId xmlns:a16="http://schemas.microsoft.com/office/drawing/2014/main" id="{9674ABB2-C6B5-4C93-993F-25143D5A7C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64550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Historic data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 EIA (2017) / Projection: 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2" name="AutoShape 250">
            <a:extLst>
              <a:ext uri="{FF2B5EF4-FFF2-40B4-BE49-F238E27FC236}">
                <a16:creationId xmlns:a16="http://schemas.microsoft.com/office/drawing/2014/main" id="{22D4E674-C46B-4E85-A66E-54A7AB6813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9566" y="1014620"/>
            <a:ext cx="9823236" cy="4185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ower generation from solar PV and wind if annual deployment rates increase at 10% per year between 2018 and 20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Wh/yea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7BC25AF-8DEF-4D59-9745-C1D35AA86B81}"/>
              </a:ext>
            </a:extLst>
          </p:cNvPr>
          <p:cNvCxnSpPr>
            <a:cxnSpLocks/>
          </p:cNvCxnSpPr>
          <p:nvPr/>
        </p:nvCxnSpPr>
        <p:spPr>
          <a:xfrm flipV="1">
            <a:off x="1149566" y="1433196"/>
            <a:ext cx="9567864" cy="14056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itle 1">
            <a:extLst>
              <a:ext uri="{FF2B5EF4-FFF2-40B4-BE49-F238E27FC236}">
                <a16:creationId xmlns:a16="http://schemas.microsoft.com/office/drawing/2014/main" id="{9EAADB5E-2CEE-4D4C-9002-BF493741A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18" y="132139"/>
            <a:ext cx="10438456" cy="628121"/>
          </a:xfrm>
        </p:spPr>
        <p:txBody>
          <a:bodyPr/>
          <a:lstStyle/>
          <a:p>
            <a:r>
              <a:rPr lang="en-GB" dirty="0"/>
              <a:t>Global solar and wind power generation needs to grow exponentially</a:t>
            </a:r>
            <a:br>
              <a:rPr lang="en-GB" dirty="0"/>
            </a:br>
            <a:r>
              <a:rPr lang="en-GB" dirty="0"/>
              <a:t>in order to meet the expected power demand of a decarbonized economy</a:t>
            </a:r>
            <a:endParaRPr lang="en-GB" baseline="-25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A5B088-FA26-4C2C-9D91-33CBD3C4D7CA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2030413" y="3024188"/>
            <a:ext cx="231775" cy="17303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0472E5-16B4-4110-AC70-583D8BB81F75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030413" y="3273425"/>
            <a:ext cx="231775" cy="173038"/>
          </a:xfrm>
          <a:prstGeom prst="rect">
            <a:avLst/>
          </a:prstGeom>
          <a:pattFill prst="ltUpDiag">
            <a:fgClr>
              <a:schemeClr val="tx1"/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6F0FBD11-CEFF-4BFC-A0B6-01C57D26C7B5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2312987" y="3017838"/>
            <a:ext cx="53673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2BC937E-5627-47A3-8789-A87B17840498}" type="thinkcell&lt;?xml version=&quot;1.0&quot; encoding=&quot;UTF-16&quot; standalone=&quot;yes&quot;?&gt;&lt;root reqver=&quot;24162&quot;&gt;&lt;version val=&quot;27042&quot;/&gt;&lt;PersistentType&gt;&lt;m_guid val=&quot;8b98d3d1-2023-43db-8964-fd44c51ae60f&quot;/&gt;&lt;m_prec&gt;&lt;m_yearfmt&gt;&lt;begin val=&quot;0&quot;/&gt;&lt;end val=&quot;4&quot;/&gt;&lt;/m_yearfmt&gt;&lt;/m_prec&gt;&lt;/PersistentType&gt;&lt;/root&gt;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Total power demand possibly met by solar PV and wind genera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B7AA66A-29F3-441F-987D-4489CABDC9D9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2312988" y="3267075"/>
            <a:ext cx="53879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CD74B60-4E8A-49E7-B308-9DCF4856AFD9}" type="thinkcell&lt;?xml version=&quot;1.0&quot; encoding=&quot;UTF-16&quot; standalone=&quot;yes&quot;?&gt;&lt;root reqver=&quot;24162&quot;&gt;&lt;version val=&quot;27042&quot;/&gt;&lt;PersistentType&gt;&lt;m_guid val=&quot;c21f462f-9572-4f59-8380-90ee5906090d&quot;/&gt;&lt;m_prec&gt;&lt;m_yearfmt&gt;&lt;begin val=&quot;0&quot;/&gt;&lt;end val=&quot;4&quot;/&gt;&lt;/m_yearfmt&gt;&lt;/m_prec&gt;&lt;/PersistentType&gt;&lt;/root&gt;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maining power demand to be met by other zero-carbon source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3B3234-0A86-4E6E-883E-C7CCB134A5E1}"/>
              </a:ext>
            </a:extLst>
          </p:cNvPr>
          <p:cNvSpPr txBox="1"/>
          <p:nvPr/>
        </p:nvSpPr>
        <p:spPr>
          <a:xfrm>
            <a:off x="9224412" y="6197441"/>
            <a:ext cx="16696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50 maxim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ower demand</a:t>
            </a:r>
          </a:p>
        </p:txBody>
      </p:sp>
    </p:spTree>
    <p:extLst>
      <p:ext uri="{BB962C8B-B14F-4D97-AF65-F5344CB8AC3E}">
        <p14:creationId xmlns:p14="http://schemas.microsoft.com/office/powerpoint/2010/main" val="339779946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" name="Object 121" hidden="1">
            <a:extLst>
              <a:ext uri="{FF2B5EF4-FFF2-40B4-BE49-F238E27FC236}">
                <a16:creationId xmlns:a16="http://schemas.microsoft.com/office/drawing/2014/main" id="{8C6AC818-6AE9-4825-94B2-E22007828B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9" name="think-cell Slide" r:id="rId41" imgW="395" imgH="394" progId="TCLayout.ActiveDocument.1">
                  <p:embed/>
                </p:oleObj>
              </mc:Choice>
              <mc:Fallback>
                <p:oleObj name="think-cell Slide" r:id="rId41" imgW="395" imgH="394" progId="TCLayout.ActiveDocument.1">
                  <p:embed/>
                  <p:pic>
                    <p:nvPicPr>
                      <p:cNvPr id="122" name="Object 121" hidden="1">
                        <a:extLst>
                          <a:ext uri="{FF2B5EF4-FFF2-40B4-BE49-F238E27FC236}">
                            <a16:creationId xmlns:a16="http://schemas.microsoft.com/office/drawing/2014/main" id="{8C6AC818-6AE9-4825-94B2-E22007828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8" name="Rectangle 117" hidden="1">
            <a:extLst>
              <a:ext uri="{FF2B5EF4-FFF2-40B4-BE49-F238E27FC236}">
                <a16:creationId xmlns:a16="http://schemas.microsoft.com/office/drawing/2014/main" id="{957F97AC-228B-485D-99AD-58261F2CBD2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/>
              <a:cs typeface="Verdana" panose="020B0604030504040204" pitchFamily="34" charset="0"/>
              <a:sym typeface="Century Gothic" panose="020B0502020202020204" pitchFamily="34" charset="0"/>
            </a:endParaRP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F8BA7514-7CB0-441F-A8DF-41DE7837A3B6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111125" y="1839913"/>
          <a:ext cx="4591050" cy="4006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8D0011E2-0B7B-4612-89B6-9B0C1D7CBFB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85800" y="5780088"/>
            <a:ext cx="3810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41760A-CD40-4A26-B276-811AD8957422}" type="datetime'''''''''''''''''''''''''''''2''''00''''''8''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ctr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08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D985E5C3-7829-4B4C-871D-16609BBD1E6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87488" y="5780088"/>
            <a:ext cx="3810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A349FDF-0740-4F58-978E-5EE6B21BBC5F}" type="datetime'''''2''''''''''0''''''''''1''''''''''''''''''''''''''''7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ctr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7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B6328842-92DE-4915-86FE-CA3B1CC5527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429125" y="5780088"/>
            <a:ext cx="3810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E29F7B-9105-4805-8E00-0BC5A6838A6C}" type="datetime'''''2''''''''0''''''''''''''''''''''''''''''''''5''''''''''0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j-lt"/>
              </a:rPr>
              <a:pPr marL="0" marR="0" lvl="0" indent="0" algn="ctr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50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j-lt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C8DDF9C6-E0FB-4B9F-8597-019D99BE9F1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36625" y="2035175"/>
            <a:ext cx="214313" cy="160338"/>
          </a:xfrm>
          <a:prstGeom prst="rect">
            <a:avLst/>
          </a:prstGeom>
          <a:solidFill>
            <a:srgbClr val="F38B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A43973D-079A-4D78-BE29-53283109AE1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36625" y="2268538"/>
            <a:ext cx="214313" cy="160338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70F81D-3BEA-40B1-94F5-5B0B366F89F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36625" y="2735263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13778D6-E639-400D-98DA-066D79ABC70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936625" y="2501900"/>
            <a:ext cx="214313" cy="16033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D03479E-7D02-43C2-AD1D-F8940A636DE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201738" y="2263775"/>
            <a:ext cx="10747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7D0917F-D2E5-4E50-BF97-0432ECF63D1A}" type="datetime'''PV - P''r''o''''j''''''''''ec''t''''''i''''''''o''''''n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V - Projection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BB778984-4F29-4E4E-9C47-7107680D62A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01738" y="2030413"/>
            <a:ext cx="12636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C1E83A-B860-4BF7-9AA8-1EB94ABC0BA7}" type="datetime'PV'''''' ''''''- ''''H''''i''sto''r''i''c da''''''ta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V - Historic dat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F39E179A-1088-4E80-AAA9-5CB9770E84F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201738" y="2730500"/>
            <a:ext cx="12525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92D2791-649B-4323-97E1-143F13CB8D8C}" type="datetime'''W''in''''''d -'''' ''''P''''''''''''roject''i''o''n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Wind - Projection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B52A0A5-9EC5-406C-8281-5E4CA83742A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201738" y="2497138"/>
            <a:ext cx="14414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8367ED-1694-4482-A097-032DFE33D1FB}" type="datetime'Wi''nd'' ''-'' H''i''sto''''''r''i''''''''''c da''t''''a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Wind - Historic dat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140" name="Footer Placeholder 2">
            <a:extLst>
              <a:ext uri="{FF2B5EF4-FFF2-40B4-BE49-F238E27FC236}">
                <a16:creationId xmlns:a16="http://schemas.microsoft.com/office/drawing/2014/main" id="{104D37FD-A0FD-4C61-8C35-DFECB3BC8260}"/>
              </a:ext>
            </a:extLst>
          </p:cNvPr>
          <p:cNvSpPr txBox="1">
            <a:spLocks/>
          </p:cNvSpPr>
          <p:nvPr/>
        </p:nvSpPr>
        <p:spPr>
          <a:xfrm>
            <a:off x="3621088" y="2400300"/>
            <a:ext cx="1249363" cy="18415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l" defTabSz="804591" rtl="0" eaLnBrk="1" latinLnBrk="0" hangingPunct="1">
              <a:defRPr sz="1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02296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591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6887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183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11478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3774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16070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8365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9336" marR="0" lvl="0" indent="-399336" algn="l" defTabSz="8045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9,600 TWh -</a:t>
            </a:r>
          </a:p>
        </p:txBody>
      </p:sp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B29B8094-D18B-438D-864B-AA6E7EB98EB3}"/>
              </a:ext>
            </a:extLst>
          </p:cNvPr>
          <p:cNvGraphicFramePr/>
          <p:nvPr>
            <p:custDataLst>
              <p:tags r:id="rId16"/>
            </p:custDataLst>
            <p:extLst/>
          </p:nvPr>
        </p:nvGraphicFramePr>
        <p:xfrm>
          <a:off x="5005388" y="1885950"/>
          <a:ext cx="619125" cy="3921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E401B82-3A4B-4AD5-B030-A9B4EF589A4D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5541963" y="2033588"/>
            <a:ext cx="0" cy="4127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A9CC3B9-99C9-4A96-82DD-095243E06D8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5441950" y="2036763"/>
            <a:ext cx="142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F7CE30F-1924-46B6-9904-50353D42889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441950" y="2443163"/>
            <a:ext cx="142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0E71AF10-D748-4033-B966-FA656C7757B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021263" y="1828800"/>
            <a:ext cx="5842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8B3965-18B2-49DE-B206-B2657E617096}" type="datetime'''''''''''''''''''''10'''''',''8''''''''''''''0''''''''''0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ctr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,80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Verdana" panose="020B0604030504040204" pitchFamily="34" charset="0"/>
              <a:sym typeface="+mn-lt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3757339-7533-49DA-9A41-8CCEB8D99D34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632450" y="2111375"/>
            <a:ext cx="430213" cy="2587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4FCAD73-AB91-408C-ACB2-BF078D109659}" type="datetime'''''''''11''%'''''''''''">
              <a:rPr kumimoji="0" lang="en-GB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Verdana" panose="020B0604030504040204" pitchFamily="34" charset="0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1%</a:t>
            </a:fld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Verdana" panose="020B0604030504040204" pitchFamily="34" charset="0"/>
              <a:sym typeface="+mn-lt"/>
            </a:endParaRPr>
          </a:p>
        </p:txBody>
      </p:sp>
      <p:sp>
        <p:nvSpPr>
          <p:cNvPr id="51" name="5. Source">
            <a:extLst>
              <a:ext uri="{FF2B5EF4-FFF2-40B4-BE49-F238E27FC236}">
                <a16:creationId xmlns:a16="http://schemas.microsoft.com/office/drawing/2014/main" id="{9674ABB2-C6B5-4C93-993F-25143D5A7C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394423"/>
            <a:ext cx="11778784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Projections based on annual deployment rates increasing at 10% per year from 2018 to 2050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Historic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 EIA (2017) / Power demand in 2050: Shell Sky Scenario (2018) / Projection: 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2" name="AutoShape 250">
            <a:extLst>
              <a:ext uri="{FF2B5EF4-FFF2-40B4-BE49-F238E27FC236}">
                <a16:creationId xmlns:a16="http://schemas.microsoft.com/office/drawing/2014/main" id="{22D4E674-C46B-4E85-A66E-54A7AB6813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261" y="1045294"/>
            <a:ext cx="5760000" cy="4185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 – Possible power generation from solar PV and wind in an accelerated renewable deployment scenario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/ 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Wh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/yea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7BC25AF-8DEF-4D59-9745-C1D35AA86B81}"/>
              </a:ext>
            </a:extLst>
          </p:cNvPr>
          <p:cNvCxnSpPr>
            <a:cxnSpLocks/>
          </p:cNvCxnSpPr>
          <p:nvPr/>
        </p:nvCxnSpPr>
        <p:spPr>
          <a:xfrm flipV="1">
            <a:off x="233261" y="1456752"/>
            <a:ext cx="5760000" cy="21174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F53B3234-0A86-4E6E-883E-C7CCB134A5E1}"/>
              </a:ext>
            </a:extLst>
          </p:cNvPr>
          <p:cNvSpPr txBox="1"/>
          <p:nvPr/>
        </p:nvSpPr>
        <p:spPr>
          <a:xfrm>
            <a:off x="4478338" y="5721350"/>
            <a:ext cx="1670050" cy="492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5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mand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B5834A5E-C4AF-4F6A-A36F-2A54E1F95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123279"/>
            <a:ext cx="11720615" cy="628121"/>
          </a:xfrm>
        </p:spPr>
        <p:txBody>
          <a:bodyPr/>
          <a:lstStyle/>
          <a:p>
            <a:r>
              <a:rPr lang="en-US" dirty="0"/>
              <a:t>Given varying historic deployment rates and future demand growth, there will be important regional differences in how much of power demand can be met by variable renewables</a:t>
            </a:r>
          </a:p>
        </p:txBody>
      </p:sp>
      <p:sp>
        <p:nvSpPr>
          <p:cNvPr id="37" name="AutoShape 250">
            <a:extLst>
              <a:ext uri="{FF2B5EF4-FFF2-40B4-BE49-F238E27FC236}">
                <a16:creationId xmlns:a16="http://schemas.microsoft.com/office/drawing/2014/main" id="{DC87913A-02E2-4E72-BE1E-1C182BF738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8741" y="1033889"/>
            <a:ext cx="5760000" cy="4185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dia – Power generation from solar PV and wind in an accelerated renewable deployment scenario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/ 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Wh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/year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C2363DF-53E7-45BB-B34C-6DF04E528023}"/>
              </a:ext>
            </a:extLst>
          </p:cNvPr>
          <p:cNvCxnSpPr>
            <a:cxnSpLocks/>
          </p:cNvCxnSpPr>
          <p:nvPr/>
        </p:nvCxnSpPr>
        <p:spPr>
          <a:xfrm flipV="1">
            <a:off x="6198741" y="1445347"/>
            <a:ext cx="5760000" cy="21174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1" name="Chart 120">
            <a:extLst>
              <a:ext uri="{FF2B5EF4-FFF2-40B4-BE49-F238E27FC236}">
                <a16:creationId xmlns:a16="http://schemas.microsoft.com/office/drawing/2014/main" id="{1B0FC4CF-4B3F-4D38-86C1-225568890539}"/>
              </a:ext>
            </a:extLst>
          </p:cNvPr>
          <p:cNvGraphicFramePr/>
          <p:nvPr>
            <p:custDataLst>
              <p:tags r:id="rId22"/>
            </p:custDataLst>
            <p:extLst/>
          </p:nvPr>
        </p:nvGraphicFramePr>
        <p:xfrm>
          <a:off x="6118225" y="1839913"/>
          <a:ext cx="4591050" cy="4006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0604DB8C-BA94-4EA4-A181-4399EF3FA0F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494588" y="5780088"/>
            <a:ext cx="3810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08B9A9-5E6D-4269-A4D6-C3371A709B21}" type="datetime'''''''''''2''''''''0''''1''''''''''''''''''''''''''7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n-lt"/>
              </a:rPr>
              <a:pPr marL="0" marR="0" lvl="0" indent="0" algn="ctr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7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51E214B6-3460-48DC-956B-92720FE3F4B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692900" y="5780088"/>
            <a:ext cx="3810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FBDFB7E-BA71-4DE9-9CC0-5954C2757A9B}" type="datetime'''''''''''2''''''''''''''0''0''''''8''''''''''''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n-lt"/>
              </a:rPr>
              <a:pPr marL="0" marR="0" lvl="0" indent="0" algn="ctr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08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459C680E-6A6B-4233-A814-B343E61F0DA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436225" y="5780088"/>
            <a:ext cx="3810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3F20F3E-D779-45F1-B27F-5D6A98815318}" type="datetime'''''''''''2''''''''''''''''''''''''''''''''''''0''''5''0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j-cs"/>
                <a:sym typeface="+mn-lt"/>
              </a:rPr>
              <a:pPr marL="0" marR="0" lvl="0" indent="0" algn="ctr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50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j-cs"/>
              <a:sym typeface="+mn-lt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A5BED38-57B7-43FA-B502-EC5B2943AC8A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943725" y="2501900"/>
            <a:ext cx="214313" cy="16033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D8E85A7-5D0D-474B-ADE6-B3B4C2C6B0B7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6943725" y="2035175"/>
            <a:ext cx="214313" cy="160338"/>
          </a:xfrm>
          <a:prstGeom prst="rect">
            <a:avLst/>
          </a:prstGeom>
          <a:solidFill>
            <a:srgbClr val="F38B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5137978-4B89-4B3E-8A1D-EC4CA7ACB549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943725" y="2735263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6D06B2D-C993-4B86-B4BE-CD2AF022E129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6943725" y="2268538"/>
            <a:ext cx="214313" cy="160338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F33C941F-E0B0-4535-B4A9-8BFE66D8F66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208838" y="2730500"/>
            <a:ext cx="12525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97BDDF4-5171-4DAA-A438-4F19D075F021}" type="datetime'''W''''i''''nd'' - ''''''Pro''j''e''c''t''i''o''''''n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Wind - Projection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B2067E85-AD5B-4B25-AC0F-829B3D19E11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208838" y="2030413"/>
            <a:ext cx="12636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5F56C-F075-422B-B30D-E25CA1A0E272}" type="datetime'''''PV ''-'''''' H''''i''''stor''''i''''c'''''' ''''''''dat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V - Historic dat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29B334E8-31EB-434D-A804-36F513D53C0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208838" y="2263775"/>
            <a:ext cx="10747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4B197D-22FD-43D2-916C-732604F5522E}" type="datetime'''''''''PV ''-'' P''''r''''''''''o''je''cti''o''''''''''''n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V - Projection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2C32C96B-9A7A-47D6-ABD1-BEBC4256930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208838" y="2497138"/>
            <a:ext cx="14414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60B458F-39FF-496F-8BD5-3CE55CBC73B7}" type="datetime'''''Wi''''''''''''nd'' ''-'' ''''Hi''''''''s''toric d''at''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  <a:sym typeface="+mn-lt"/>
              </a:rPr>
              <a:pPr marL="0" marR="0" lvl="0" indent="0" algn="l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Wind - Historic dat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  <a:sym typeface="+mn-lt"/>
            </a:endParaRPr>
          </a:p>
        </p:txBody>
      </p:sp>
      <p:sp>
        <p:nvSpPr>
          <p:cNvPr id="94" name="Footer Placeholder 2">
            <a:extLst>
              <a:ext uri="{FF2B5EF4-FFF2-40B4-BE49-F238E27FC236}">
                <a16:creationId xmlns:a16="http://schemas.microsoft.com/office/drawing/2014/main" id="{634DDE6F-5128-4BEB-977C-5E5977F027D2}"/>
              </a:ext>
            </a:extLst>
          </p:cNvPr>
          <p:cNvSpPr txBox="1">
            <a:spLocks/>
          </p:cNvSpPr>
          <p:nvPr/>
        </p:nvSpPr>
        <p:spPr>
          <a:xfrm>
            <a:off x="9567862" y="3567113"/>
            <a:ext cx="1249363" cy="18415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l" defTabSz="804591" rtl="0" eaLnBrk="1" latinLnBrk="0" hangingPunct="1">
              <a:defRPr sz="1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02296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591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6887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183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11478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3774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16070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8365" algn="l" defTabSz="804591" rtl="0" eaLnBrk="1" latinLnBrk="0" hangingPunct="1">
              <a:defRPr sz="1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9336" marR="0" lvl="0" indent="-399336" algn="l" defTabSz="8045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5,780 TWh -</a:t>
            </a:r>
          </a:p>
        </p:txBody>
      </p:sp>
      <p:graphicFrame>
        <p:nvGraphicFramePr>
          <p:cNvPr id="126" name="Chart 125">
            <a:extLst>
              <a:ext uri="{FF2B5EF4-FFF2-40B4-BE49-F238E27FC236}">
                <a16:creationId xmlns:a16="http://schemas.microsoft.com/office/drawing/2014/main" id="{0B2A7D60-C117-4944-8356-FD33AB5F6F16}"/>
              </a:ext>
            </a:extLst>
          </p:cNvPr>
          <p:cNvGraphicFramePr/>
          <p:nvPr>
            <p:custDataLst>
              <p:tags r:id="rId34"/>
            </p:custDataLst>
            <p:extLst/>
          </p:nvPr>
        </p:nvGraphicFramePr>
        <p:xfrm>
          <a:off x="11012488" y="1885950"/>
          <a:ext cx="619125" cy="3921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E1FB6845-F502-4FB5-8CE7-C8AC8CD45927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11449049" y="2413000"/>
            <a:ext cx="331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19E97082-094B-49D9-9E99-A50D1E61670C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11449049" y="3751263"/>
            <a:ext cx="331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3B704368-E8E5-45A8-90BB-8B209958CA8D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auto">
          <a:xfrm>
            <a:off x="11737975" y="2409826"/>
            <a:ext cx="0" cy="13446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76924084-43C5-4111-91B3-E738E4AEAF5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1077576" y="2205038"/>
            <a:ext cx="4873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603706" rtl="0" eaLnBrk="1" latinLnBrk="0" hangingPunct="1">
              <a:spcBef>
                <a:spcPts val="397"/>
              </a:spcBef>
              <a:buFontTx/>
              <a:buNone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5034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57403" indent="-182370" algn="l" defTabSz="603706" rtl="0" eaLnBrk="1" latinLnBrk="0" hangingPunct="1">
              <a:spcBef>
                <a:spcPts val="397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2436" indent="-175034" algn="l" defTabSz="603706" rtl="0" eaLnBrk="1" latinLnBrk="0" hangingPunct="1">
              <a:spcBef>
                <a:spcPts val="397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07468" indent="-175034" algn="l" defTabSz="603706" rtl="0" eaLnBrk="1" latinLnBrk="0" hangingPunct="1">
              <a:spcBef>
                <a:spcPts val="397"/>
              </a:spcBef>
              <a:buSzPct val="8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660192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2045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898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5751" indent="-150926" algn="l" defTabSz="6037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370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704E546-5088-4A83-AE71-48C920AE1BBD}" type="datetime'9'''''''''''',''''''''''''''7''''00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ctr" defTabSz="6037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,70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Verdana" panose="020B0604030504040204" pitchFamily="34" charset="0"/>
              <a:sym typeface="+mn-lt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DC243947-9712-4893-8DEF-8601C65DC002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11523663" y="2952750"/>
            <a:ext cx="430213" cy="2587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6E1F8E8-0EE1-4AA4-BA86-243B3B3C1DCD}" type="datetime'''''4''''''''''''''''''''''''''''0''''''''''''''%'''''''''''''">
              <a:rPr kumimoji="0" lang="en-GB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Verdana" panose="020B0604030504040204" pitchFamily="34" charset="0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0%</a:t>
            </a:fld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Verdana" panose="020B0604030504040204" pitchFamily="34" charset="0"/>
              <a:sym typeface="+mn-lt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113EBC4-10BA-4C86-B85B-E0481C4E7D9A}"/>
              </a:ext>
            </a:extLst>
          </p:cNvPr>
          <p:cNvSpPr txBox="1"/>
          <p:nvPr/>
        </p:nvSpPr>
        <p:spPr>
          <a:xfrm>
            <a:off x="10485438" y="5721350"/>
            <a:ext cx="1670050" cy="492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05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mand</a:t>
            </a:r>
          </a:p>
        </p:txBody>
      </p:sp>
    </p:spTree>
    <p:extLst>
      <p:ext uri="{BB962C8B-B14F-4D97-AF65-F5344CB8AC3E}">
        <p14:creationId xmlns:p14="http://schemas.microsoft.com/office/powerpoint/2010/main" val="13077452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Slide" r:id="rId32" imgW="449" imgH="450" progId="TCLayout.ActiveDocument.1">
                  <p:embed/>
                </p:oleObj>
              </mc:Choice>
              <mc:Fallback>
                <p:oleObj name="think-cell Slide" r:id="rId32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Arial Unicode MS" panose="020B0604020202020204" pitchFamily="34" charset="-128"/>
              <a:sym typeface="Century Gothic" panose="020B0502020202020204" pitchFamily="34" charset="0"/>
            </a:endParaRPr>
          </a:p>
        </p:txBody>
      </p:sp>
      <p:graphicFrame>
        <p:nvGraphicFramePr>
          <p:cNvPr id="51" name="Chart 50">
            <a:extLst>
              <a:ext uri="{FF2B5EF4-FFF2-40B4-BE49-F238E27FC236}">
                <a16:creationId xmlns:a16="http://schemas.microsoft.com/office/drawing/2014/main" id="{4BBCC1F7-CC22-4259-9612-F81D0C6CC17F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1504950" y="2171700"/>
          <a:ext cx="9199563" cy="283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EE392D6F-7E83-46F9-B9F6-54DB88A66A0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994025" y="2398713"/>
            <a:ext cx="13446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34E6549-8956-467C-9260-189BA73B619D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4295775" y="2395538"/>
            <a:ext cx="0" cy="8651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A3AACB6-AB4C-427D-8ECC-9477627EC15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415338" y="3563938"/>
            <a:ext cx="13446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929575-3F2A-4918-83F9-9A2BA18D65C2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V="1">
            <a:off x="9717088" y="3560763"/>
            <a:ext cx="0" cy="2794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DAB891A-45CA-4C70-AA22-429B6737D45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1830388" y="2352675"/>
            <a:ext cx="119063" cy="61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C73E3D5-3EE2-4FC2-B65A-870D872EAD7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1830388" y="2497138"/>
            <a:ext cx="119062" cy="104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60119C6-89CC-4925-BDE6-A3A5B87855E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V="1">
            <a:off x="1830388" y="2617789"/>
            <a:ext cx="119063" cy="233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46B1B6-9C70-461C-8F3F-D216CEBFB17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1830388" y="2881314"/>
            <a:ext cx="119063" cy="2190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321BDD-CE4E-4BAE-B526-9FBF80993F8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1830388" y="3128963"/>
            <a:ext cx="119063" cy="220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4067A6D3-DE70-498C-B421-7972E8EE868D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9050338" y="4978400"/>
            <a:ext cx="13350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1C8F6E1-1297-4E36-8EDF-0425E820AF51}" type="datetime'S''upply-si''de de''''carboniza''tion and ef''f''ic''ienc''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upply-side decarbonization and efficiency</a:t>
            </a:fld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*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21E89EE7-C6E3-48E4-823D-063A727D91F8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243763" y="4978400"/>
            <a:ext cx="13350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847600A-2AA4-4C9B-A2B7-F0D4CCA9799A}" type="datetime'Su''''''''''p''''ply-s''''''id''e d''ec''a''rbonizati''''on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upply-side decarboniza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36231BA-7FDC-4BAC-9485-0FD7027577A4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1822450" y="4978400"/>
            <a:ext cx="13350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093A43F-DAA4-4798-87DC-072D59E3866F}" type="datetime'Suppl''y-s''''i''''''de dec''''''ar''b''on''i''''''zatio''n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upply-side decarbonization</a:t>
            </a:fld>
            <a:b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</a:b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77A9E9CC-1827-40D5-99B7-C7616174BAF2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629025" y="4978400"/>
            <a:ext cx="1335088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D8639C0-A03C-4368-BE05-44956232A804}" type="datetime'Supply''-side deca''rbonization a''n''d ''effici''''''enc''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upply-side decarbonization and efficiency</a:t>
            </a:fld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*</a:t>
            </a:r>
            <a:b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</a:b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EC05C7-B1BD-4FAE-B87F-C73E51D0F5B0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017588" y="2254250"/>
            <a:ext cx="7874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B8A689D-9569-445D-A89D-949ADF2321D1}" type="datetime'Am''''m''''''''o''''n''''''''i''a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mmonia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7F9894-CC65-4DA7-B9D1-204FB0560448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1417638" y="2503488"/>
            <a:ext cx="3873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3B1190A-984D-438A-AEA9-B12307750049}" type="datetime'St''''''''''''''''''''''''e''''''''''''''''e''''''''''l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tee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7A44C4-3C0E-451E-A94A-7C224EBFEF9C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1122363" y="2752725"/>
            <a:ext cx="6826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7759BD2-C8BE-4C5A-B01E-71F0CA3F8C08}" type="datetime'''''E''t''''''h''''yle''n''''''''''''''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thylen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C23FFBD-6EB8-43E7-A8C4-96317085A3E5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1143000" y="3001963"/>
            <a:ext cx="6619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7CEE7CC-083B-4013-AEA0-5A75FD4F27EA}" type="datetime'''''C''''''''''''''''''''''e''m''''''''''''''e''''''''n''''t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33F76C-7B00-4273-B2D2-DE136993DF4D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00013" y="3251200"/>
            <a:ext cx="17049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D311A38-D441-4773-9BC7-566C96D3AC32}" type="datetime'''''''H''e''a''''''v''y-''''roa''d'' t''rans''''po''''rt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eavy-road transpor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F34183B-6468-47A5-8BC6-D64530A95870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1147763" y="3500438"/>
            <a:ext cx="6572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070E093-8FB9-468E-9D9F-DBE27BEB12F0}" type="datetime'''''''A''''''v''''''''''''i''a''''ti''''''''o''''''n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via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F9253AC-4DF4-435F-94BA-33D9C6592933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1119188" y="4303713"/>
            <a:ext cx="6858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38FB3E0-36C1-46BB-B1F3-6BA218C74E28}" type="datetime'S''''''''''hi''''''''''pp''''''''''''i''n''''''g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hipp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1EC7589-B4DC-42D2-ACBE-0743BCE7C030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9569450" y="3840163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9773BBC-C80F-4C9F-9DEA-03D4C15FAE48}" type="datetime'0''''''''''.''5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277ED3B1-93B4-48EF-805F-E45591BB64AA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2341563" y="2160588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704419D-D308-4A86-A632-54D2300BCD76}" type="datetime'1''''''''''''''''''''''''''''.''''''''''''''''''''''5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.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93A515F-39CB-4B81-A0E7-12DDB3701D6D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4148138" y="326072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923EAE0-2590-43D7-ABC5-8D2B9E733A61}" type="datetime'''''''0''''''''''.''''8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8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3645976-3921-4F95-81D1-9F810113B5CF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7762875" y="3325813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279B465-011D-4D4E-AFE6-76E51DED8153}" type="datetime'''''0''''''''''''.''''''''''''''''''8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8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B97C930-BDAD-4B7E-A590-4D47A70B26D0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9807575" y="3538538"/>
            <a:ext cx="498475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7870380-9CA1-4257-ACD1-332D61D7E45C}" type="datetime'''''''''''''''''''3''''''''''''''''8''''''''''''%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8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B810F6F3-B5AE-4821-809E-349239A28FAA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3994150" y="2635250"/>
            <a:ext cx="6048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D6DFBF7-37C5-4127-89A8-F8BFD98E1073}" type="datetime'''''-''''''''''''''''''''''''''''''''4''4''''''%''''''''''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44%</a:t>
            </a:fld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CD826743-A4AE-48E3-9A32-79AB421DA605}"/>
              </a:ext>
            </a:extLst>
          </p:cNvPr>
          <p:cNvSpPr/>
          <p:nvPr/>
        </p:nvSpPr>
        <p:spPr>
          <a:xfrm>
            <a:off x="7892724" y="1062567"/>
            <a:ext cx="576000" cy="252000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X%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8EDA9E4D-DC70-4712-AD6E-D19FBE023299}"/>
              </a:ext>
            </a:extLst>
          </p:cNvPr>
          <p:cNvSpPr txBox="1"/>
          <p:nvPr/>
        </p:nvSpPr>
        <p:spPr>
          <a:xfrm>
            <a:off x="8452242" y="958536"/>
            <a:ext cx="21890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hare of global projected GDP, 2050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FC2FDA30-D70B-4FF1-B951-017EC697A7E6}"/>
              </a:ext>
            </a:extLst>
          </p:cNvPr>
          <p:cNvSpPr/>
          <p:nvPr/>
        </p:nvSpPr>
        <p:spPr>
          <a:xfrm>
            <a:off x="1594884" y="5642839"/>
            <a:ext cx="3527979" cy="477838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igh-cost scenario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E6F41029-61B0-4CCF-9D26-4702A5E9AFD9}"/>
              </a:ext>
            </a:extLst>
          </p:cNvPr>
          <p:cNvSpPr/>
          <p:nvPr/>
        </p:nvSpPr>
        <p:spPr>
          <a:xfrm>
            <a:off x="3719775" y="1650815"/>
            <a:ext cx="1152000" cy="360363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.25%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4977BA48-359B-4666-940B-9161003FAB07}"/>
              </a:ext>
            </a:extLst>
          </p:cNvPr>
          <p:cNvSpPr/>
          <p:nvPr/>
        </p:nvSpPr>
        <p:spPr>
          <a:xfrm>
            <a:off x="1933085" y="1629935"/>
            <a:ext cx="1152000" cy="360363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.45%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3147CF89-D18D-4E2B-8B94-CDCECE2B1763}"/>
              </a:ext>
            </a:extLst>
          </p:cNvPr>
          <p:cNvSpPr/>
          <p:nvPr/>
        </p:nvSpPr>
        <p:spPr>
          <a:xfrm>
            <a:off x="9222815" y="1650815"/>
            <a:ext cx="1152000" cy="360363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.15%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FF8301D6-3010-4AD0-9F3E-88F3867A9CBE}"/>
              </a:ext>
            </a:extLst>
          </p:cNvPr>
          <p:cNvSpPr/>
          <p:nvPr/>
        </p:nvSpPr>
        <p:spPr>
          <a:xfrm>
            <a:off x="7335306" y="1661320"/>
            <a:ext cx="1152000" cy="360363"/>
          </a:xfrm>
          <a:prstGeom prst="ellipse">
            <a:avLst/>
          </a:prstGeom>
          <a:ln>
            <a:solidFill>
              <a:srgbClr val="4C6C9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0.24%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31E3C56-2403-40E7-A385-C09108556DC5}"/>
              </a:ext>
            </a:extLst>
          </p:cNvPr>
          <p:cNvSpPr/>
          <p:nvPr/>
        </p:nvSpPr>
        <p:spPr>
          <a:xfrm>
            <a:off x="7243763" y="5646738"/>
            <a:ext cx="3353354" cy="477838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ow-cost scenario</a:t>
            </a:r>
          </a:p>
        </p:txBody>
      </p:sp>
      <p:sp>
        <p:nvSpPr>
          <p:cNvPr id="58" name="5. Source">
            <a:extLst>
              <a:ext uri="{FF2B5EF4-FFF2-40B4-BE49-F238E27FC236}">
                <a16:creationId xmlns:a16="http://schemas.microsoft.com/office/drawing/2014/main" id="{9E7A9039-1214-4A1C-A485-60C26DA039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67" y="6227762"/>
            <a:ext cx="11778784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The term “efficiency” covers energy efficiency, materials efficiency, materials circularity, and demand management in transport.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 based on McKinsey &amp; Company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carbonization of industrial sectors: the next frontier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nd Material Economics analysis for the Energy Transitions Commission (2018)</a:t>
            </a:r>
          </a:p>
        </p:txBody>
      </p:sp>
      <p:sp>
        <p:nvSpPr>
          <p:cNvPr id="85" name="AutoShape 250">
            <a:extLst>
              <a:ext uri="{FF2B5EF4-FFF2-40B4-BE49-F238E27FC236}">
                <a16:creationId xmlns:a16="http://schemas.microsoft.com/office/drawing/2014/main" id="{B7805719-0349-41D2-83B8-6BCE2C9362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732" y="981869"/>
            <a:ext cx="11838411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tal cost of decarboniz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rillion US$ per year, 2050 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86" name="AutoShape 249">
            <a:extLst>
              <a:ext uri="{FF2B5EF4-FFF2-40B4-BE49-F238E27FC236}">
                <a16:creationId xmlns:a16="http://schemas.microsoft.com/office/drawing/2014/main" id="{AC200D31-09DE-491D-8AC6-0D55C1B74F1C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232732" y="1429819"/>
            <a:ext cx="10073318" cy="2116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itle 1">
            <a:extLst>
              <a:ext uri="{FF2B5EF4-FFF2-40B4-BE49-F238E27FC236}">
                <a16:creationId xmlns:a16="http://schemas.microsoft.com/office/drawing/2014/main" id="{E647E0DC-8D49-4EA6-BB0A-94C01C772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91" y="125867"/>
            <a:ext cx="11391432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Decarbonizing harder-to-abate sectors would cost significantly less</a:t>
            </a:r>
            <a:br>
              <a:rPr lang="en-GB" sz="2000" dirty="0"/>
            </a:br>
            <a:r>
              <a:rPr lang="en-GB" sz="2000" dirty="0"/>
              <a:t>if pursuing energy efficiency improvement and demand management opportunities</a:t>
            </a: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44932333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616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3" name="think-cell Slide" r:id="rId28" imgW="526" imgH="526" progId="TCLayout.ActiveDocument.1">
                  <p:embed/>
                </p:oleObj>
              </mc:Choice>
              <mc:Fallback>
                <p:oleObj name="think-cell Slide" r:id="rId28" imgW="526" imgH="526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2616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4"/>
            </p:custDataLst>
          </p:nvPr>
        </p:nvSpPr>
        <p:spPr bwMode="auto">
          <a:xfrm>
            <a:off x="1524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0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Arial Unicode MS" panose="020B0604020202020204"/>
              <a:cs typeface="+mn-cs"/>
              <a:sym typeface="+mn-lt"/>
            </a:endParaRPr>
          </a:p>
        </p:txBody>
      </p:sp>
      <p:sp>
        <p:nvSpPr>
          <p:cNvPr id="77" name="Rectangle 75">
            <a:extLst>
              <a:ext uri="{FF2B5EF4-FFF2-40B4-BE49-F238E27FC236}">
                <a16:creationId xmlns:a16="http://schemas.microsoft.com/office/drawing/2014/main" id="{67AB4E70-4933-496A-A819-E4B54624221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84790" y="5150636"/>
            <a:ext cx="2675205" cy="9794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altLang="de-DE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C41B8D6-CC6F-4A87-A922-E38976A14C99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84790" y="4583113"/>
            <a:ext cx="2675205" cy="41433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altLang="de-DE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5" name="Rectangle 75">
            <a:extLst>
              <a:ext uri="{FF2B5EF4-FFF2-40B4-BE49-F238E27FC236}">
                <a16:creationId xmlns:a16="http://schemas.microsoft.com/office/drawing/2014/main" id="{E9CA006C-6B18-4DAD-92C7-CC02AD3BAF59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84790" y="4030663"/>
            <a:ext cx="2675205" cy="4143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altLang="de-DE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9" name="Rectangle 75">
            <a:extLst>
              <a:ext uri="{FF2B5EF4-FFF2-40B4-BE49-F238E27FC236}">
                <a16:creationId xmlns:a16="http://schemas.microsoft.com/office/drawing/2014/main" id="{1A450F2A-A147-4958-9061-B28EC042D11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84790" y="3462338"/>
            <a:ext cx="2675205" cy="414338"/>
          </a:xfrm>
          <a:prstGeom prst="rect">
            <a:avLst/>
          </a:prstGeom>
          <a:solidFill>
            <a:srgbClr val="ED5C05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altLang="de-DE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4" name="Rectangle 75">
            <a:extLst>
              <a:ext uri="{FF2B5EF4-FFF2-40B4-BE49-F238E27FC236}">
                <a16:creationId xmlns:a16="http://schemas.microsoft.com/office/drawing/2014/main" id="{EEEAD1D0-BA4E-4A5C-AABA-734AC2BCFE31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84790" y="2903538"/>
            <a:ext cx="2675205" cy="412750"/>
          </a:xfrm>
          <a:prstGeom prst="rect">
            <a:avLst/>
          </a:prstGeom>
          <a:solidFill>
            <a:srgbClr val="F38B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altLang="de-DE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8" name="Rectangle 75">
            <a:extLst>
              <a:ext uri="{FF2B5EF4-FFF2-40B4-BE49-F238E27FC236}">
                <a16:creationId xmlns:a16="http://schemas.microsoft.com/office/drawing/2014/main" id="{82D366A7-7ABC-4F43-AAB8-A2981DC1924C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84791" y="1778000"/>
            <a:ext cx="2675204" cy="97948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altLang="de-DE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90" y="125867"/>
            <a:ext cx="11838415" cy="6281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Electrification – direct or through the use of electricity-based fuels – only reduces carbon emissions if the carbon intensity of electricity is below a certain threshold</a:t>
            </a:r>
            <a:endParaRPr lang="en-GB" sz="1800" b="0" dirty="0"/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9BD2843B-D2AB-4108-A734-DCD338E55CD7}"/>
              </a:ext>
            </a:extLst>
          </p:cNvPr>
          <p:cNvSpPr/>
          <p:nvPr/>
        </p:nvSpPr>
        <p:spPr>
          <a:xfrm>
            <a:off x="10231437" y="-382218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2</a:t>
            </a:r>
          </a:p>
        </p:txBody>
      </p:sp>
      <p:graphicFrame>
        <p:nvGraphicFramePr>
          <p:cNvPr id="126" name="Chart 125">
            <a:extLst>
              <a:ext uri="{FF2B5EF4-FFF2-40B4-BE49-F238E27FC236}">
                <a16:creationId xmlns:a16="http://schemas.microsoft.com/office/drawing/2014/main" id="{FDA0A5F8-5960-4DB2-BA58-98C22049A868}"/>
              </a:ext>
            </a:extLst>
          </p:cNvPr>
          <p:cNvGraphicFramePr/>
          <p:nvPr>
            <p:custDataLst>
              <p:tags r:id="rId11"/>
            </p:custDataLst>
            <p:extLst/>
          </p:nvPr>
        </p:nvGraphicFramePr>
        <p:xfrm>
          <a:off x="2944813" y="1625600"/>
          <a:ext cx="6273800" cy="4922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07" name="Rectangle 106">
            <a:extLst>
              <a:ext uri="{FF2B5EF4-FFF2-40B4-BE49-F238E27FC236}">
                <a16:creationId xmlns:a16="http://schemas.microsoft.com/office/drawing/2014/main" id="{D9A6E21F-4274-40DF-80D6-384E89BB3999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3124200" y="5815013"/>
            <a:ext cx="369888" cy="198438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643784B-22D2-45C7-9BDB-75086A51A920}" type="datetime'''''''''''''''''0''.''0''''''3''''''''''''''''''''''''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.03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E244F84-64D3-476D-B0B1-8697A31878E3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355725" y="3011488"/>
            <a:ext cx="16383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2EA8568-2643-4D55-A692-7FE87A677D7F}" type="datetime'Shi''''''''ppin''g ''''''''''''(a''m''m''''o''''n''''ia)'''''">
              <a:rPr kumimoji="0" lang="en-US" altLang="en-US" sz="13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hipping (ammonia)</a:t>
            </a:fld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E70AA056-E091-443E-BC67-AC9BAE2CFBFD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8990013" y="6096000"/>
            <a:ext cx="8620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gCO</a:t>
            </a:r>
            <a:r>
              <a:rPr kumimoji="0" lang="en-US" altLang="en-US" sz="1300" b="0" i="0" u="none" strike="noStrike" kern="1200" cap="none" spc="0" normalizeH="0" baseline="-25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2</a:t>
            </a:r>
            <a:r>
              <a:rPr kumimoji="0" lang="en-US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t>/kWh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4D7BAAF-519B-43F8-945C-0241B46D3AAD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58825" y="5254625"/>
            <a:ext cx="22352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4DA23EA-AAE6-41BD-A610-0D7B5055F7F3}" type="datetime'P''l''as''t''''ics - ''O''l''e''''fins (''hy''''drog''e''n)'''">
              <a:rPr kumimoji="0" lang="en-US" altLang="en-US" sz="13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lastics - Olefins (hydrogen)</a:t>
            </a:fld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2E70257A-BDAB-4DD9-8E8B-07518E75EEC1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1949450" y="1889125"/>
            <a:ext cx="10445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7187FC8-BA28-41A7-A761-8CBAC8CAFAB5}" type="datetime'''T''''''rucki''''''ng'''''''''''''''''''''' (''EV)'">
              <a:rPr kumimoji="0" lang="en-US" altLang="en-US" sz="13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Trucking (EV)</a:t>
            </a:fld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A62D4EA-A6B1-46F0-A1EB-29D887DE606F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1081088" y="4692650"/>
            <a:ext cx="19129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83E32A2-906B-4948-96B7-05B388740E2A}" type="datetime'C''em''''en''''t ''(''el''ectr''if''i''''''cat''ion'''''')'">
              <a:rPr kumimoji="0" lang="en-US" altLang="en-US" sz="13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 (electrification)</a:t>
            </a:fld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4D2C9F-CE2F-48F2-BAE6-198E88E622B5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657350" y="4132263"/>
            <a:ext cx="13366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8438942-E6D8-4F0C-A33E-F7B7A2859353}" type="datetime'''''St''ee''''''l'''''' ''''(''''''h''''''y''dr''og''''en)'">
              <a:rPr kumimoji="0" lang="en-US" altLang="en-US" sz="13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teel (hydrogen)</a:t>
            </a:fld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A068DC64-AA39-4A26-927B-C7FF0EAF0BEB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1741488" y="2449513"/>
            <a:ext cx="12525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B73D6C4-4766-45D4-8D18-1F9CE8BE8889}" type="datetime'T''''''''''r''''''uck''i''''''''''''n''g (F''C''''''''EV'')'''">
              <a:rPr kumimoji="0" lang="en-US" altLang="en-US" sz="13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Trucking (FCEV)</a:t>
            </a:fld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35274DA-41A2-4FE2-836E-BA9072872D3C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1533525" y="3571875"/>
            <a:ext cx="14605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E9D32D0-430F-48B4-945D-3B564FC13EA3}" type="datetime'''A''''viati''o''n'' (''''''''s''y''''nf''''u''el''s'''')'''''">
              <a:rPr kumimoji="0" lang="en-US" altLang="en-US" sz="13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viation (synfuels)</a:t>
            </a:fld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3688236-5854-4113-A236-7CC804EBE024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1022350" y="5815013"/>
            <a:ext cx="19716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92F2FF5-7E08-426D-B268-D384D9AA7D88}" type="datetime'''P''la''s''''tics -'' ''''BT''''X'''''' (''hyd''rog''e''n'')'">
              <a:rPr kumimoji="0" lang="en-US" altLang="en-US" sz="13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lastics - BTX (hydrogen)</a:t>
            </a:fld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DABDD2B-6D4C-41EF-8135-790D4C22F6D8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8529638" y="996950"/>
            <a:ext cx="231775" cy="17303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E2C58E7-D14F-42EE-BDF7-2F40E5606E39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529638" y="1246188"/>
            <a:ext cx="231775" cy="173038"/>
          </a:xfrm>
          <a:prstGeom prst="rect">
            <a:avLst/>
          </a:prstGeom>
          <a:solidFill>
            <a:srgbClr val="96969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EBBF74F2-5F8D-4E31-9773-6A23C441A714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8812213" y="990600"/>
            <a:ext cx="26304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FD4A665-FECF-4676-AA49-7DF037D3A642}" type="datetime'''Elect''ri''''ficatio''n'' is'''' carbon-re''du''''ci''''ng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lectrification is carbon-reducing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2EE9240F-27ED-4066-8C48-0B947099FF8A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8812213" y="1239838"/>
            <a:ext cx="27273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E6D02CD-9B4A-429D-BB0C-D293AC1ACB75}" type="datetime'El''ect''''ri''fic''at''''ion is carb''on-''increa''''''sing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lectrification is carbon-increasing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2" name="5. Source">
            <a:extLst>
              <a:ext uri="{FF2B5EF4-FFF2-40B4-BE49-F238E27FC236}">
                <a16:creationId xmlns:a16="http://schemas.microsoft.com/office/drawing/2014/main" id="{223257A6-A90F-4D1C-A78F-B5CBE6965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69251"/>
            <a:ext cx="12192000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Transport: SYSTEMIQ analysis for Energy Transitions Commission (2018) / Industry: Material Economics analysis for Energy Transitions Commission (2018)</a:t>
            </a: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34" name="AutoShape 249">
            <a:extLst>
              <a:ext uri="{FF2B5EF4-FFF2-40B4-BE49-F238E27FC236}">
                <a16:creationId xmlns:a16="http://schemas.microsoft.com/office/drawing/2014/main" id="{7BF887E3-3636-46F8-BE18-B7DAF3BA24F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25302" y="1505733"/>
            <a:ext cx="11180751" cy="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AutoShape 250">
            <a:extLst>
              <a:ext uri="{FF2B5EF4-FFF2-40B4-BE49-F238E27FC236}">
                <a16:creationId xmlns:a16="http://schemas.microsoft.com/office/drawing/2014/main" id="{CD69A39E-8A84-4BC0-BEA4-1CB700221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302" y="1033505"/>
            <a:ext cx="11589903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arbon intensity of electricity below which electrification reduces carbon emissions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rams 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/kWh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7115645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>
            <a:extLst>
              <a:ext uri="{FF2B5EF4-FFF2-40B4-BE49-F238E27FC236}">
                <a16:creationId xmlns:a16="http://schemas.microsoft.com/office/drawing/2014/main" id="{BDE2CB06-524D-4588-A765-2208F44F30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7" name="think-cell Slide" r:id="rId33" imgW="395" imgH="394" progId="TCLayout.ActiveDocument.1">
                  <p:embed/>
                </p:oleObj>
              </mc:Choice>
              <mc:Fallback>
                <p:oleObj name="think-cell Slide" r:id="rId33" imgW="395" imgH="394" progId="TCLayout.ActiveDocument.1">
                  <p:embed/>
                  <p:pic>
                    <p:nvPicPr>
                      <p:cNvPr id="67" name="Object 66" hidden="1">
                        <a:extLst>
                          <a:ext uri="{FF2B5EF4-FFF2-40B4-BE49-F238E27FC236}">
                            <a16:creationId xmlns:a16="http://schemas.microsoft.com/office/drawing/2014/main" id="{BDE2CB06-524D-4588-A765-2208F44F3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107274D8-84D2-4804-B902-2DE7461C886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0152F2-0A8B-4FBF-B6B3-CFF95F128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110155"/>
            <a:ext cx="10930038" cy="628121"/>
          </a:xfrm>
        </p:spPr>
        <p:txBody>
          <a:bodyPr/>
          <a:lstStyle/>
          <a:p>
            <a:r>
              <a:rPr lang="en-GB" dirty="0"/>
              <a:t>The use of fossil fuels will drastically decrease in a decarbonized economy,</a:t>
            </a:r>
            <a:br>
              <a:rPr lang="en-GB" dirty="0"/>
            </a:br>
            <a:r>
              <a:rPr lang="en-GB" dirty="0"/>
              <a:t>while zero-carbon electricity will become the predominant form of energy</a:t>
            </a:r>
            <a:endParaRPr lang="en-GB" b="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B34D1C0D-0C66-49B9-9CFB-A014C60BEA28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546100" y="2141538"/>
          <a:ext cx="7508875" cy="3219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65" name="Rectangle 64">
            <a:extLst>
              <a:ext uri="{FF2B5EF4-FFF2-40B4-BE49-F238E27FC236}">
                <a16:creationId xmlns:a16="http://schemas.microsoft.com/office/drawing/2014/main" id="{87E6F4E7-954B-4F04-9E02-C2C3345DA98F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6683375" y="3783013"/>
            <a:ext cx="231775" cy="198438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B6299D2-E3B7-4A45-A16B-D08C6C38D4BA}" type="datetime'''1''''''''''''''''''''0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A7A56B09-179E-42CC-973C-6CBF7AAE7CDF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476375" y="3011488"/>
            <a:ext cx="139700" cy="198438"/>
          </a:xfrm>
          <a:prstGeom prst="rect">
            <a:avLst/>
          </a:prstGeom>
          <a:solidFill>
            <a:srgbClr val="9DB1C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D2604B3-B9AE-493B-87F2-4A0AC1A88BE8}" type="datetime'''''8''''''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8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F10FA5A-9ED4-42B0-A0D8-A4AAF07017C7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4551363" y="5334000"/>
            <a:ext cx="13350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6371147-608A-4B3F-9E8F-7D3956ECE277}" type="datetime'E''TC ''s''upply-''side &#10;d''eca''rboni''''zation''''&#10;pathwa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TC supply-side 
decarbonization
pathwa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4A4E61-6BEA-4396-8FCE-56D4D1A0BC06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208089" y="5334000"/>
            <a:ext cx="6762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1B92ABA-58BA-4BF2-A321-64CBA9E2E8CE}" type="datetime'I''E''''''A ''2''''''''''''''0''''''''''''''1''''''''''4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EA 201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C709287-6201-45F4-AA9C-41CDA836E5D6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7239000" y="3810000"/>
            <a:ext cx="139700" cy="198438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CE9FACC-67E3-4F5B-9CA1-4CF5EAAC0846}" type="datetime'''''''''''''''''''4'''''''''''''''''''''''''''''''''''''">
              <a:rPr kumimoji="0" lang="en-US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BB849DFD-644A-4CE2-9649-913E4C942A10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4894263" y="3276600"/>
            <a:ext cx="139700" cy="198438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60F63A8-996F-4452-B62B-18B1AF3E2115}" type="datetime'''''''''''''''''''''''''''''''''''''''''''''7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623A9AA-78A3-4F53-93C4-9AC6C620035B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473324" y="5334000"/>
            <a:ext cx="18176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IEA 2050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t>Reference technology 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t>scenario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544AFB77-96B9-4CF0-B7F7-CB1F31AB1B96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5357813" y="3221038"/>
            <a:ext cx="231775" cy="198438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4973383-0319-4630-88C9-137BFE916C8D}" type="datetime'''''2''''''''2''''''''''''''''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2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3F9965D-9012-4FBA-A714-E34C087E6E6B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6386513" y="5334000"/>
            <a:ext cx="1335088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D9F4BAC-86F8-4286-A9E3-DE1431D002FC}" type="datetime'ETC supply-side &#10;+'' effici''ency&#10;decarbonizati''on&#10;pathw''a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TC supply-side 
+ efficiency
decarbonization
pathwa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AFF1C39-EBC6-40C5-A511-19213FD2C474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1384300" y="2813050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E3A5B6A-A3F0-45E4-A50B-BE225E61B305}" type="datetime'''''''''5''''''6''''''''''''''''''''''''9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6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EB67708-D089-4BED-9D88-8DEC5EF3B8C0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3219450" y="2000250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9659691-0423-4E78-8455-1F7E17A45E35}" type="datetime'''''''''7''''''''''''''9''''''''''''''''''''''''''6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9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291C408E-59B2-4CB3-97E8-875220B8464C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5056188" y="2603500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5E10DFE-84E8-40F4-8695-FD8C171E3F88}" type="datetime'''''''''''''''''''''''''''''''''''''63''''''''''''''''''9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3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8E8EE0E4-AA5D-489B-A1CC-E02C2A44C05B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891338" y="3344863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5563BF2-2CAE-48B8-BB05-EE69FA856EEA}" type="datetime'''''4''''''''''4''''''''''''''''''''''''''''''''''''6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4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41B71C-B2B3-47CD-8565-BA0888BA070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8639176" y="2686050"/>
            <a:ext cx="231775" cy="173038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832DA3-54F9-49F3-A6A1-4EF8EABBE377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639176" y="3433763"/>
            <a:ext cx="231775" cy="173038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91280D-6B6E-4817-9402-EB1B05A3260D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639176" y="2935288"/>
            <a:ext cx="231775" cy="173038"/>
          </a:xfrm>
          <a:prstGeom prst="rect">
            <a:avLst/>
          </a:prstGeom>
          <a:solidFill>
            <a:srgbClr val="D6D7D9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DFDACE6-332B-45A8-8DA4-6B05D7F625AC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639176" y="3184525"/>
            <a:ext cx="231775" cy="173038"/>
          </a:xfrm>
          <a:prstGeom prst="rect">
            <a:avLst/>
          </a:prstGeom>
          <a:solidFill>
            <a:srgbClr val="96969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DFE5E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3711B5-05A0-485D-B5EC-1EEB77F339C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8639176" y="3683000"/>
            <a:ext cx="231775" cy="17303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13ABEF-0F10-4197-B858-5C0B4D955CC0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639175" y="3932238"/>
            <a:ext cx="231775" cy="17303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783B300-F49E-47CA-B2BE-8DB66F50EFDB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8921750" y="3676650"/>
            <a:ext cx="15255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376810E-CE2E-4945-BA9D-20D57E61132B}" type="datetime'''''B''i''o''''''m''''as''''''''s'''' and w''a''''s''''''t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iomass and wast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9EA16D7-6479-4A80-957B-BA9A0DB5BD9B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8921750" y="2679700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7BF7E9F-2DCE-42CA-9B6D-A474B098A15B}" type="datetime'''''''''''''''''O''''t''h''''''er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ther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451CEF4-B68C-471D-845D-1B96A881E50E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8921750" y="3427413"/>
            <a:ext cx="3889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33AF320-941B-48E6-A00F-3CC144E3A99E}" type="datetime'C''''''''''o''''''''''''a''''''''''''''''''''''''''l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oa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3CEED561-4ADC-4DAD-B550-F32796B8185B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8921750" y="3925888"/>
            <a:ext cx="2324100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B95E7B1-74AA-4A44-9A03-0FA8B3FA55C9}" type="thinkcell&lt;?xml version=&quot;1.0&quot; encoding=&quot;UTF-16&quot; standalone=&quot;yes&quot;?&gt;&lt;root reqver=&quot;24162&quot;&gt;&lt;version val=&quot;27048&quot;/&gt;&lt;PersistentType&gt;&lt;m_guid val=&quot;d413ad5f-59ec-4c01-829b-ff544a476b0c&quot;/&gt;&lt;m_prec&gt;&lt;m_yearfmt&gt;&lt;begin val=&quot;0&quot;/&gt;&lt;end val=&quot;4&quot;/&gt;&lt;/m_yearfmt&gt;&lt;/m_prec&gt;&lt;/PersistentType&gt;&lt;/root&gt;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Direct zero-carbon electricity
generation (solar, wind,
hydro, nuclear…)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A6638AC-8DFC-4A04-88D0-8F8D3B3BE136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8921751" y="2928938"/>
            <a:ext cx="9191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96E2F44-F93B-4118-BE43-E728A991F65D}" type="datetime'N''''a''''''''''''''''''tur''''a''l'''' ''g''a''''''''''''s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Natural ga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23E523C-874F-4C0F-9236-8D65B7D28A06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921750" y="3178175"/>
            <a:ext cx="2095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8B65663-D455-4D60-8B22-5CD29AB1998B}" type="datetime'''''''''''''''''''''''''''''''''O''''''''il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i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BE0131A-2C7E-40B5-A811-BD99526A0B2A}"/>
              </a:ext>
            </a:extLst>
          </p:cNvPr>
          <p:cNvGrpSpPr/>
          <p:nvPr/>
        </p:nvGrpSpPr>
        <p:grpSpPr>
          <a:xfrm>
            <a:off x="1021310" y="1599961"/>
            <a:ext cx="7129632" cy="288000"/>
            <a:chOff x="1021310" y="1150959"/>
            <a:chExt cx="7129632" cy="435880"/>
          </a:xfrm>
        </p:grpSpPr>
        <p:sp>
          <p:nvSpPr>
            <p:cNvPr id="155" name="Rectangle 75">
              <a:extLst>
                <a:ext uri="{FF2B5EF4-FFF2-40B4-BE49-F238E27FC236}">
                  <a16:creationId xmlns:a16="http://schemas.microsoft.com/office/drawing/2014/main" id="{81815E45-7F21-4BD6-B503-62E6CA410F40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1021310" y="1150959"/>
              <a:ext cx="1049829" cy="435879"/>
            </a:xfrm>
            <a:prstGeom prst="rect">
              <a:avLst/>
            </a:prstGeom>
            <a:solidFill>
              <a:srgbClr val="4C6C9C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14</a:t>
              </a:r>
            </a:p>
          </p:txBody>
        </p:sp>
        <p:sp>
          <p:nvSpPr>
            <p:cNvPr id="156" name="Rectangle 75">
              <a:extLst>
                <a:ext uri="{FF2B5EF4-FFF2-40B4-BE49-F238E27FC236}">
                  <a16:creationId xmlns:a16="http://schemas.microsoft.com/office/drawing/2014/main" id="{E117D307-9A04-44E7-82FB-56C097B811B9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2789770" y="1150959"/>
              <a:ext cx="5361172" cy="435879"/>
            </a:xfrm>
            <a:prstGeom prst="rect">
              <a:avLst/>
            </a:prstGeom>
            <a:solidFill>
              <a:srgbClr val="4C6C9C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50</a:t>
              </a:r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id="{08B54F5F-0FBB-4E8A-98DC-178EDE462962}"/>
                </a:ext>
              </a:extLst>
            </p:cNvPr>
            <p:cNvSpPr/>
            <p:nvPr/>
          </p:nvSpPr>
          <p:spPr>
            <a:xfrm rot="5400000">
              <a:off x="2255385" y="1224900"/>
              <a:ext cx="435878" cy="288000"/>
            </a:xfrm>
            <a:prstGeom prst="triangle">
              <a:avLst/>
            </a:prstGeom>
            <a:solidFill>
              <a:srgbClr val="4C6C9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</p:grp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1490805-151A-4F7B-93F2-3C613222BDA9}"/>
              </a:ext>
            </a:extLst>
          </p:cNvPr>
          <p:cNvCxnSpPr>
            <a:cxnSpLocks/>
          </p:cNvCxnSpPr>
          <p:nvPr/>
        </p:nvCxnSpPr>
        <p:spPr>
          <a:xfrm>
            <a:off x="8379766" y="2081137"/>
            <a:ext cx="0" cy="3171926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5. Source">
            <a:extLst>
              <a:ext uri="{FF2B5EF4-FFF2-40B4-BE49-F238E27FC236}">
                <a16:creationId xmlns:a16="http://schemas.microsoft.com/office/drawing/2014/main" id="{C24FC7B0-63B7-401E-9719-CDA2D73C6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2533"/>
            <a:ext cx="11778784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The ETC illustrative pathways presents an illustrative mix of supply-side and demand-side decarbonization solutions to reach net zero carbon emissions from the energy and industrial systems by mid-century. It is not a scenario, but a quantification exercise to identify likely orders of magnitude.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; IEA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echnology Perspectives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3" name="AutoShape 250">
            <a:extLst>
              <a:ext uri="{FF2B5EF4-FFF2-40B4-BE49-F238E27FC236}">
                <a16:creationId xmlns:a16="http://schemas.microsoft.com/office/drawing/2014/main" id="{EC1B3F4D-CCB7-4DAB-84C3-348F36ED4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100" y="1014620"/>
            <a:ext cx="10426702" cy="4185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rimary energy dem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J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735B026-2ABF-4623-9BAA-C30219DF44BB}"/>
              </a:ext>
            </a:extLst>
          </p:cNvPr>
          <p:cNvCxnSpPr>
            <a:cxnSpLocks/>
          </p:cNvCxnSpPr>
          <p:nvPr/>
        </p:nvCxnSpPr>
        <p:spPr>
          <a:xfrm>
            <a:off x="561788" y="1425843"/>
            <a:ext cx="10155642" cy="7353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663774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1" name="think-cell Slide" r:id="rId33" imgW="353" imgH="353" progId="TCLayout.ActiveDocument.1">
                  <p:embed/>
                </p:oleObj>
              </mc:Choice>
              <mc:Fallback>
                <p:oleObj name="think-cell Slide" r:id="rId33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A36EEF92-99DA-40FA-A21A-AACC27373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90" y="268658"/>
            <a:ext cx="12015209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Incremental innovation is needed to ensure the deployment of key technologies at scale</a:t>
            </a:r>
            <a:endParaRPr lang="en-GB" sz="1800" b="0" dirty="0"/>
          </a:p>
        </p:txBody>
      </p:sp>
      <p:sp>
        <p:nvSpPr>
          <p:cNvPr id="47" name="5. Source">
            <a:extLst>
              <a:ext uri="{FF2B5EF4-FFF2-40B4-BE49-F238E27FC236}">
                <a16:creationId xmlns:a16="http://schemas.microsoft.com/office/drawing/2014/main" id="{21640472-E1EB-41C9-AE6F-8CDD6DE7D7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1" name="AutoShape 250">
            <a:extLst>
              <a:ext uri="{FF2B5EF4-FFF2-40B4-BE49-F238E27FC236}">
                <a16:creationId xmlns:a16="http://schemas.microsoft.com/office/drawing/2014/main" id="{30C4D7CB-80ED-4402-B9F5-E2914C300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9384" y="1046475"/>
            <a:ext cx="5195081" cy="4185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Key incremental innovation need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 decarbonize the harder-to-abate sectors</a:t>
            </a:r>
          </a:p>
        </p:txBody>
      </p:sp>
      <p:cxnSp>
        <p:nvCxnSpPr>
          <p:cNvPr id="50" name="AutoShape 249">
            <a:extLst>
              <a:ext uri="{FF2B5EF4-FFF2-40B4-BE49-F238E27FC236}">
                <a16:creationId xmlns:a16="http://schemas.microsoft.com/office/drawing/2014/main" id="{702AD379-63BB-487D-99A3-DF191496CC2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748583" y="1483511"/>
            <a:ext cx="5649247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AutoShape 250">
            <a:extLst>
              <a:ext uri="{FF2B5EF4-FFF2-40B4-BE49-F238E27FC236}">
                <a16:creationId xmlns:a16="http://schemas.microsoft.com/office/drawing/2014/main" id="{E0CE0566-FAC2-43C9-AC7F-BDFC2AD8F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781" y="1246530"/>
            <a:ext cx="1809172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novation area</a:t>
            </a:r>
          </a:p>
        </p:txBody>
      </p:sp>
      <p:cxnSp>
        <p:nvCxnSpPr>
          <p:cNvPr id="62" name="AutoShape 249">
            <a:extLst>
              <a:ext uri="{FF2B5EF4-FFF2-40B4-BE49-F238E27FC236}">
                <a16:creationId xmlns:a16="http://schemas.microsoft.com/office/drawing/2014/main" id="{1D83B8E7-1428-4BE1-98CF-9633FD0B9C0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13393" y="1483512"/>
            <a:ext cx="2377486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AutoShape 250">
            <a:extLst>
              <a:ext uri="{FF2B5EF4-FFF2-40B4-BE49-F238E27FC236}">
                <a16:creationId xmlns:a16="http://schemas.microsoft.com/office/drawing/2014/main" id="{5CF8EBA4-38E2-44A2-8DF8-F1E948594E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0469" y="1246530"/>
            <a:ext cx="3008678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dicative target</a:t>
            </a:r>
          </a:p>
        </p:txBody>
      </p:sp>
      <p:sp>
        <p:nvSpPr>
          <p:cNvPr id="48" name="Rectangle 75">
            <a:extLst>
              <a:ext uri="{FF2B5EF4-FFF2-40B4-BE49-F238E27FC236}">
                <a16:creationId xmlns:a16="http://schemas.microsoft.com/office/drawing/2014/main" id="{9F0AFD44-58E8-4DFE-856E-BB84EE87379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6790" y="3413123"/>
            <a:ext cx="2463917" cy="1235260"/>
          </a:xfrm>
          <a:prstGeom prst="rect">
            <a:avLst/>
          </a:prstGeom>
          <a:solidFill>
            <a:srgbClr val="4C6C9C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1116000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ydrogen</a:t>
            </a:r>
          </a:p>
        </p:txBody>
      </p:sp>
      <p:sp>
        <p:nvSpPr>
          <p:cNvPr id="49" name="Rectangle 75">
            <a:extLst>
              <a:ext uri="{FF2B5EF4-FFF2-40B4-BE49-F238E27FC236}">
                <a16:creationId xmlns:a16="http://schemas.microsoft.com/office/drawing/2014/main" id="{0ECD9368-D0CE-4A66-B0F9-775AC3659A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6790" y="4762109"/>
            <a:ext cx="2463917" cy="792945"/>
          </a:xfrm>
          <a:prstGeom prst="rect">
            <a:avLst/>
          </a:prstGeom>
          <a:solidFill>
            <a:srgbClr val="4C6C9C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1116000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ochemistry and synthetic chemistry</a:t>
            </a:r>
          </a:p>
        </p:txBody>
      </p:sp>
      <p:sp>
        <p:nvSpPr>
          <p:cNvPr id="45" name="Rectangle 75">
            <a:extLst>
              <a:ext uri="{FF2B5EF4-FFF2-40B4-BE49-F238E27FC236}">
                <a16:creationId xmlns:a16="http://schemas.microsoft.com/office/drawing/2014/main" id="{BCA493F0-967F-4AD4-A7FC-278565EAAD2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76790" y="2961993"/>
            <a:ext cx="2463917" cy="337404"/>
          </a:xfrm>
          <a:prstGeom prst="rect">
            <a:avLst/>
          </a:prstGeom>
          <a:solidFill>
            <a:srgbClr val="4C6C9C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1116000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ification</a:t>
            </a:r>
          </a:p>
        </p:txBody>
      </p:sp>
      <p:sp>
        <p:nvSpPr>
          <p:cNvPr id="52" name="Rectangle 75">
            <a:extLst>
              <a:ext uri="{FF2B5EF4-FFF2-40B4-BE49-F238E27FC236}">
                <a16:creationId xmlns:a16="http://schemas.microsoft.com/office/drawing/2014/main" id="{C53C7AA5-0D6A-40DB-8E8B-37B758B1C0B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76790" y="5669044"/>
            <a:ext cx="2463917" cy="790744"/>
          </a:xfrm>
          <a:prstGeom prst="rect">
            <a:avLst/>
          </a:prstGeom>
          <a:solidFill>
            <a:srgbClr val="4C6C9C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1116000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arbon capture </a:t>
            </a:r>
          </a:p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nd use</a:t>
            </a:r>
          </a:p>
        </p:txBody>
      </p:sp>
      <p:pic>
        <p:nvPicPr>
          <p:cNvPr id="18453" name="Picture 21" descr="RÃ©sultat de recherche d'images pour &quot;plug icon&quot;">
            <a:extLst>
              <a:ext uri="{FF2B5EF4-FFF2-40B4-BE49-F238E27FC236}">
                <a16:creationId xmlns:a16="http://schemas.microsoft.com/office/drawing/2014/main" id="{59E7A7EB-A262-43D3-8ED7-C2B6292EF0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89" r="29871"/>
          <a:stretch/>
        </p:blipFill>
        <p:spPr bwMode="auto">
          <a:xfrm>
            <a:off x="1962538" y="2957514"/>
            <a:ext cx="353110" cy="337409"/>
          </a:xfrm>
          <a:prstGeom prst="snip1Rect">
            <a:avLst>
              <a:gd name="adj" fmla="val 31301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1" name="Group 80">
            <a:extLst>
              <a:ext uri="{FF2B5EF4-FFF2-40B4-BE49-F238E27FC236}">
                <a16:creationId xmlns:a16="http://schemas.microsoft.com/office/drawing/2014/main" id="{56A73438-EF6B-4D85-B270-867C418EFBEA}"/>
              </a:ext>
            </a:extLst>
          </p:cNvPr>
          <p:cNvGrpSpPr/>
          <p:nvPr/>
        </p:nvGrpSpPr>
        <p:grpSpPr>
          <a:xfrm>
            <a:off x="1731915" y="3612210"/>
            <a:ext cx="814355" cy="834209"/>
            <a:chOff x="2439637" y="4259117"/>
            <a:chExt cx="519871" cy="519872"/>
          </a:xfrm>
        </p:grpSpPr>
        <p:pic>
          <p:nvPicPr>
            <p:cNvPr id="83" name="Picture 5" descr="RÃ©sultat de recherche d'images pour &quot;hydrogen icon&quot;">
              <a:extLst>
                <a:ext uri="{FF2B5EF4-FFF2-40B4-BE49-F238E27FC236}">
                  <a16:creationId xmlns:a16="http://schemas.microsoft.com/office/drawing/2014/main" id="{A9E47C7C-5337-4BDC-B433-E5A82F74D5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8900000">
              <a:off x="2439637" y="4259117"/>
              <a:ext cx="519871" cy="5198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A1B6432C-F19E-472D-951E-DF6DF2FB2FC0}"/>
                </a:ext>
              </a:extLst>
            </p:cNvPr>
            <p:cNvSpPr/>
            <p:nvPr/>
          </p:nvSpPr>
          <p:spPr>
            <a:xfrm>
              <a:off x="2575014" y="4399692"/>
              <a:ext cx="275303" cy="275303"/>
            </a:xfrm>
            <a:prstGeom prst="ellipse">
              <a:avLst/>
            </a:prstGeom>
            <a:solidFill>
              <a:srgbClr val="ABABA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</a:t>
              </a:r>
              <a:r>
                <a:rPr kumimoji="0" lang="en-GB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</a:p>
          </p:txBody>
        </p:sp>
      </p:grpSp>
      <p:pic>
        <p:nvPicPr>
          <p:cNvPr id="18455" name="Picture 23" descr="RÃ©sultat de recherche d'images pour &quot;Biochemistry icon&quot;">
            <a:extLst>
              <a:ext uri="{FF2B5EF4-FFF2-40B4-BE49-F238E27FC236}">
                <a16:creationId xmlns:a16="http://schemas.microsoft.com/office/drawing/2014/main" id="{29E07756-6B9F-40E4-95E0-9F14153EAB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126" y="4833204"/>
            <a:ext cx="639929" cy="639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547E5BC1-5904-4720-8148-9C4B1F458329}"/>
              </a:ext>
            </a:extLst>
          </p:cNvPr>
          <p:cNvGrpSpPr>
            <a:grpSpLocks noChangeAspect="1"/>
          </p:cNvGrpSpPr>
          <p:nvPr/>
        </p:nvGrpSpPr>
        <p:grpSpPr>
          <a:xfrm>
            <a:off x="1499683" y="5711272"/>
            <a:ext cx="1215466" cy="691530"/>
            <a:chOff x="1799257" y="5889523"/>
            <a:chExt cx="1209242" cy="609871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42DC5DC-A9AF-4EB3-B2AC-0E802BD1AA8C}"/>
                </a:ext>
              </a:extLst>
            </p:cNvPr>
            <p:cNvGrpSpPr/>
            <p:nvPr/>
          </p:nvGrpSpPr>
          <p:grpSpPr>
            <a:xfrm>
              <a:off x="1799257" y="5889523"/>
              <a:ext cx="1209242" cy="609871"/>
              <a:chOff x="1799257" y="4510054"/>
              <a:chExt cx="1209242" cy="1209242"/>
            </a:xfrm>
          </p:grpSpPr>
          <p:pic>
            <p:nvPicPr>
              <p:cNvPr id="18466" name="Picture 34" descr="RÃ©sultat de recherche d'images pour &quot;vial icon&quot;">
                <a:extLst>
                  <a:ext uri="{FF2B5EF4-FFF2-40B4-BE49-F238E27FC236}">
                    <a16:creationId xmlns:a16="http://schemas.microsoft.com/office/drawing/2014/main" id="{604CB560-B81B-4664-8CA7-F89193EBE56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8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99257" y="4510054"/>
                <a:ext cx="1209242" cy="12092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B72CFB2-9703-458A-BF24-89E36E94BABF}"/>
                  </a:ext>
                </a:extLst>
              </p:cNvPr>
              <p:cNvSpPr/>
              <p:nvPr/>
            </p:nvSpPr>
            <p:spPr>
              <a:xfrm>
                <a:off x="2162243" y="5049303"/>
                <a:ext cx="478800" cy="630000"/>
              </a:xfrm>
              <a:prstGeom prst="rect">
                <a:avLst/>
              </a:prstGeom>
              <a:solidFill>
                <a:srgbClr val="4C6C9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16143FBC-E6C0-4ED7-9807-9B806E77B90F}"/>
                </a:ext>
              </a:extLst>
            </p:cNvPr>
            <p:cNvGrpSpPr/>
            <p:nvPr/>
          </p:nvGrpSpPr>
          <p:grpSpPr>
            <a:xfrm>
              <a:off x="2169729" y="6193154"/>
              <a:ext cx="587379" cy="301859"/>
              <a:chOff x="1320326" y="6211101"/>
              <a:chExt cx="587379" cy="301859"/>
            </a:xfrm>
          </p:grpSpPr>
          <p:pic>
            <p:nvPicPr>
              <p:cNvPr id="18463" name="Picture 31" descr="RÃ©sultat de recherche d'images pour &quot;cloud icon&quot;">
                <a:extLst>
                  <a:ext uri="{FF2B5EF4-FFF2-40B4-BE49-F238E27FC236}">
                    <a16:creationId xmlns:a16="http://schemas.microsoft.com/office/drawing/2014/main" id="{28109DD7-AE51-4E69-B7A2-C29F2C310FC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32504" y="6211101"/>
                <a:ext cx="437507" cy="2472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8EE6561-FCE0-4B9E-92F2-8FE46D94DB0C}"/>
                  </a:ext>
                </a:extLst>
              </p:cNvPr>
              <p:cNvSpPr txBox="1"/>
              <p:nvPr/>
            </p:nvSpPr>
            <p:spPr>
              <a:xfrm>
                <a:off x="1320326" y="6235961"/>
                <a:ext cx="58737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6C9C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CO</a:t>
                </a:r>
                <a:r>
                  <a:rPr kumimoji="0" lang="en-GB" sz="1200" b="1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4C6C9C"/>
                    </a:solidFill>
                    <a:effectLst/>
                    <a:uLnTx/>
                    <a:uFillTx/>
                    <a:latin typeface="Century Gothic"/>
                    <a:ea typeface="ＭＳ Ｐゴシック"/>
                    <a:cs typeface="+mn-cs"/>
                  </a:rPr>
                  <a:t>2</a:t>
                </a:r>
              </a:p>
            </p:txBody>
          </p:sp>
        </p:grpSp>
      </p:grpSp>
      <p:sp>
        <p:nvSpPr>
          <p:cNvPr id="65" name="Rectangle 75">
            <a:extLst>
              <a:ext uri="{FF2B5EF4-FFF2-40B4-BE49-F238E27FC236}">
                <a16:creationId xmlns:a16="http://schemas.microsoft.com/office/drawing/2014/main" id="{0AFCC0D2-411E-49A8-9DFA-6092452EEA3A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748584" y="3414203"/>
            <a:ext cx="5621419" cy="338216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aper electrolysis</a:t>
            </a:r>
          </a:p>
        </p:txBody>
      </p:sp>
      <p:sp>
        <p:nvSpPr>
          <p:cNvPr id="66" name="Rectangle 75">
            <a:extLst>
              <a:ext uri="{FF2B5EF4-FFF2-40B4-BE49-F238E27FC236}">
                <a16:creationId xmlns:a16="http://schemas.microsoft.com/office/drawing/2014/main" id="{237FA881-CB63-4AC2-AC7E-968183F4EF7B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748584" y="3866413"/>
            <a:ext cx="5621419" cy="338216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aper hydrogen fuel-cells and tanks</a:t>
            </a:r>
          </a:p>
        </p:txBody>
      </p:sp>
      <p:sp>
        <p:nvSpPr>
          <p:cNvPr id="67" name="Rectangle 75">
            <a:extLst>
              <a:ext uri="{FF2B5EF4-FFF2-40B4-BE49-F238E27FC236}">
                <a16:creationId xmlns:a16="http://schemas.microsoft.com/office/drawing/2014/main" id="{08810303-3453-420F-9ED9-0CC76A36C694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748584" y="2961993"/>
            <a:ext cx="5621419" cy="338216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eaper and more efficient batteries</a:t>
            </a:r>
          </a:p>
        </p:txBody>
      </p:sp>
      <p:sp>
        <p:nvSpPr>
          <p:cNvPr id="70" name="Rectangle 75">
            <a:extLst>
              <a:ext uri="{FF2B5EF4-FFF2-40B4-BE49-F238E27FC236}">
                <a16:creationId xmlns:a16="http://schemas.microsoft.com/office/drawing/2014/main" id="{1D42F58E-DF05-44F9-B0AF-C1519366CA7D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748584" y="4318623"/>
            <a:ext cx="5621419" cy="338216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ong distance transport of hydrogen</a:t>
            </a:r>
          </a:p>
        </p:txBody>
      </p:sp>
      <p:sp>
        <p:nvSpPr>
          <p:cNvPr id="71" name="Rectangle 75">
            <a:extLst>
              <a:ext uri="{FF2B5EF4-FFF2-40B4-BE49-F238E27FC236}">
                <a16:creationId xmlns:a16="http://schemas.microsoft.com/office/drawing/2014/main" id="{90162783-0C8D-4DCE-A5BB-7AF35D9F1677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748584" y="4770834"/>
            <a:ext cx="5621419" cy="338216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creased efficiency in biomass transformation</a:t>
            </a:r>
            <a:endParaRPr kumimoji="0" lang="en-US" altLang="de-DE" sz="125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2" name="Rectangle 75">
            <a:extLst>
              <a:ext uri="{FF2B5EF4-FFF2-40B4-BE49-F238E27FC236}">
                <a16:creationId xmlns:a16="http://schemas.microsoft.com/office/drawing/2014/main" id="{0F916CF8-44BB-4951-9B09-9871AB899403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748584" y="5223044"/>
            <a:ext cx="5621419" cy="338216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oenergy and bio-feedstocks from lignocellulosic sources and algae</a:t>
            </a:r>
            <a:endParaRPr kumimoji="0" lang="en-US" altLang="de-DE" sz="125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9" name="Rectangle 75">
            <a:extLst>
              <a:ext uri="{FF2B5EF4-FFF2-40B4-BE49-F238E27FC236}">
                <a16:creationId xmlns:a16="http://schemas.microsoft.com/office/drawing/2014/main" id="{46D2C50A-0B9A-4524-9F33-754EE39E7EA7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748584" y="5669372"/>
            <a:ext cx="5621419" cy="338216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ore efficient carbon capture, especially for cement</a:t>
            </a:r>
            <a:endParaRPr kumimoji="0" lang="en-US" altLang="de-DE" sz="125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7F026E1-0A0F-4642-8A4F-CDE5B439E1FB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748584" y="6121578"/>
            <a:ext cx="5621419" cy="338216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e of carbon in concrete, aggregates and </a:t>
            </a: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arbon fiber</a:t>
            </a:r>
          </a:p>
        </p:txBody>
      </p:sp>
      <p:cxnSp>
        <p:nvCxnSpPr>
          <p:cNvPr id="64" name="AutoShape 249">
            <a:extLst>
              <a:ext uri="{FF2B5EF4-FFF2-40B4-BE49-F238E27FC236}">
                <a16:creationId xmlns:a16="http://schemas.microsoft.com/office/drawing/2014/main" id="{3A58EA42-48F8-4E88-9B64-70CBD6179A6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550469" y="1483511"/>
            <a:ext cx="3490459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6" name="Rectangle 75">
            <a:extLst>
              <a:ext uri="{FF2B5EF4-FFF2-40B4-BE49-F238E27FC236}">
                <a16:creationId xmlns:a16="http://schemas.microsoft.com/office/drawing/2014/main" id="{B196BA3B-C7FB-490F-9AEB-DB5BBD4B38AE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8550476" y="3414203"/>
            <a:ext cx="3490452" cy="338216"/>
          </a:xfrm>
          <a:prstGeom prst="rect">
            <a:avLst/>
          </a:prstGeom>
          <a:solidFill>
            <a:srgbClr val="FFCB84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olysis equipment: US$250/kWh </a:t>
            </a:r>
          </a:p>
        </p:txBody>
      </p:sp>
      <p:sp>
        <p:nvSpPr>
          <p:cNvPr id="97" name="Rectangle 75">
            <a:extLst>
              <a:ext uri="{FF2B5EF4-FFF2-40B4-BE49-F238E27FC236}">
                <a16:creationId xmlns:a16="http://schemas.microsoft.com/office/drawing/2014/main" id="{7714C692-AE2C-4393-B956-AAF0D9600353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8550476" y="3866413"/>
            <a:ext cx="3490452" cy="338216"/>
          </a:xfrm>
          <a:prstGeom prst="rect">
            <a:avLst/>
          </a:prstGeom>
          <a:solidFill>
            <a:srgbClr val="FFCB84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Fuel-cells: US$80/kW</a:t>
            </a:r>
          </a:p>
        </p:txBody>
      </p:sp>
      <p:sp>
        <p:nvSpPr>
          <p:cNvPr id="98" name="Rectangle 75">
            <a:extLst>
              <a:ext uri="{FF2B5EF4-FFF2-40B4-BE49-F238E27FC236}">
                <a16:creationId xmlns:a16="http://schemas.microsoft.com/office/drawing/2014/main" id="{8D5131E8-2845-4A0B-8A89-99F2D6A4944A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8550476" y="2961993"/>
            <a:ext cx="3490452" cy="338216"/>
          </a:xfrm>
          <a:prstGeom prst="rect">
            <a:avLst/>
          </a:prstGeom>
          <a:solidFill>
            <a:srgbClr val="FFCB84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ithium ion batteries: US$100/kWh</a:t>
            </a:r>
          </a:p>
        </p:txBody>
      </p:sp>
      <p:sp>
        <p:nvSpPr>
          <p:cNvPr id="99" name="Rectangle 75">
            <a:extLst>
              <a:ext uri="{FF2B5EF4-FFF2-40B4-BE49-F238E27FC236}">
                <a16:creationId xmlns:a16="http://schemas.microsoft.com/office/drawing/2014/main" id="{98B8CDA3-1B2E-40ED-ABC2-727F5B14B76F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8550476" y="4318623"/>
            <a:ext cx="3490452" cy="338216"/>
          </a:xfrm>
          <a:prstGeom prst="rect">
            <a:avLst/>
          </a:prstGeom>
          <a:solidFill>
            <a:srgbClr val="FFCB84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ternational H</a:t>
            </a:r>
            <a:r>
              <a:rPr kumimoji="0" lang="en-US" altLang="de-DE" sz="1250" b="0" i="0" u="none" strike="noStrike" kern="1200" cap="none" spc="0" normalizeH="0" baseline="-2500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transport: US$2c/kWh</a:t>
            </a:r>
          </a:p>
        </p:txBody>
      </p:sp>
      <p:sp>
        <p:nvSpPr>
          <p:cNvPr id="107" name="Rectangle 75">
            <a:extLst>
              <a:ext uri="{FF2B5EF4-FFF2-40B4-BE49-F238E27FC236}">
                <a16:creationId xmlns:a16="http://schemas.microsoft.com/office/drawing/2014/main" id="{05CF4C6B-E77D-4B2D-A2CC-B0A46DCE4663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8550476" y="4770834"/>
            <a:ext cx="3490452" cy="338216"/>
          </a:xfrm>
          <a:prstGeom prst="rect">
            <a:avLst/>
          </a:prstGeom>
          <a:solidFill>
            <a:srgbClr val="FFCB84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lid biomass to fuel efficiency: 50% </a:t>
            </a:r>
          </a:p>
        </p:txBody>
      </p:sp>
      <p:sp>
        <p:nvSpPr>
          <p:cNvPr id="110" name="Rectangle 75">
            <a:extLst>
              <a:ext uri="{FF2B5EF4-FFF2-40B4-BE49-F238E27FC236}">
                <a16:creationId xmlns:a16="http://schemas.microsoft.com/office/drawing/2014/main" id="{B2B8C6AA-E25A-47C7-ABDB-7B4C0048E4CA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8550476" y="5223044"/>
            <a:ext cx="3490452" cy="338216"/>
          </a:xfrm>
          <a:prstGeom prst="rect">
            <a:avLst/>
          </a:prstGeom>
          <a:solidFill>
            <a:srgbClr val="FFCB84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st premium of biofuels: &lt;50%</a:t>
            </a:r>
            <a:endParaRPr kumimoji="0" lang="en-US" altLang="de-DE" sz="125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16" name="Rectangle 75">
            <a:extLst>
              <a:ext uri="{FF2B5EF4-FFF2-40B4-BE49-F238E27FC236}">
                <a16:creationId xmlns:a16="http://schemas.microsoft.com/office/drawing/2014/main" id="{35ED5609-993C-4D1A-A22B-D241388EF369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8550476" y="5669372"/>
            <a:ext cx="3490452" cy="338216"/>
          </a:xfrm>
          <a:prstGeom prst="rect">
            <a:avLst/>
          </a:prstGeom>
          <a:solidFill>
            <a:srgbClr val="FFCB84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apture efficiency: 95%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8427D901-DF76-4F1E-8227-0D6FCF35C226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8550476" y="6121578"/>
            <a:ext cx="3490452" cy="338216"/>
          </a:xfrm>
          <a:prstGeom prst="rect">
            <a:avLst/>
          </a:prstGeom>
          <a:solidFill>
            <a:srgbClr val="FFCB84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st-competitive CO</a:t>
            </a:r>
            <a:r>
              <a:rPr kumimoji="0" lang="en-US" altLang="de-DE" sz="1250" b="0" i="0" u="none" strike="noStrike" kern="1200" cap="none" spc="0" normalizeH="0" baseline="-2500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based products</a:t>
            </a:r>
          </a:p>
        </p:txBody>
      </p:sp>
      <p:sp>
        <p:nvSpPr>
          <p:cNvPr id="55" name="Rectangle 75">
            <a:extLst>
              <a:ext uri="{FF2B5EF4-FFF2-40B4-BE49-F238E27FC236}">
                <a16:creationId xmlns:a16="http://schemas.microsoft.com/office/drawing/2014/main" id="{C5922ED9-14FE-4CA3-A9B0-324ED029A628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176790" y="1594176"/>
            <a:ext cx="2463917" cy="1241880"/>
          </a:xfrm>
          <a:prstGeom prst="rect">
            <a:avLst/>
          </a:prstGeom>
          <a:solidFill>
            <a:srgbClr val="4C6C9C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1116000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s efficiency</a:t>
            </a:r>
          </a:p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and circularity</a:t>
            </a:r>
          </a:p>
        </p:txBody>
      </p:sp>
      <p:pic>
        <p:nvPicPr>
          <p:cNvPr id="56" name="Picture 27" descr="RÃ©sultat de recherche d'images pour &quot;recycling icon&quot;">
            <a:extLst>
              <a:ext uri="{FF2B5EF4-FFF2-40B4-BE49-F238E27FC236}">
                <a16:creationId xmlns:a16="http://schemas.microsoft.com/office/drawing/2014/main" id="{CF4E9FD0-A3F2-4D9C-B89F-144FB79E3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110" y="1854594"/>
            <a:ext cx="729963" cy="729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CCF9A8D5-928B-409C-9EEF-855626BA7281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2748584" y="1591265"/>
            <a:ext cx="5621419" cy="338216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ew designs for consumer products</a:t>
            </a:r>
            <a:endParaRPr kumimoji="0" lang="en-US" altLang="de-DE" sz="125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9" name="Rectangle 75">
            <a:extLst>
              <a:ext uri="{FF2B5EF4-FFF2-40B4-BE49-F238E27FC236}">
                <a16:creationId xmlns:a16="http://schemas.microsoft.com/office/drawing/2014/main" id="{42C30631-07D2-4808-9AEC-86731705FFB0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748584" y="2043475"/>
            <a:ext cx="5621419" cy="338216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s traceability, collection, sorting and recycling technologies</a:t>
            </a:r>
            <a:endParaRPr kumimoji="0" lang="en-US" altLang="de-DE" sz="125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014A836-50C6-4707-BDF5-E2232C922D60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2748584" y="2495685"/>
            <a:ext cx="5621419" cy="338216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ew business models: product-as-a-service, sharing...</a:t>
            </a:r>
            <a:endParaRPr kumimoji="0" lang="en-US" altLang="de-DE" sz="125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44A1CFC-E85D-4C17-9DB5-272EAD6869EA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8550476" y="1591265"/>
            <a:ext cx="3490452" cy="338216"/>
          </a:xfrm>
          <a:prstGeom prst="rect">
            <a:avLst/>
          </a:prstGeom>
          <a:solidFill>
            <a:srgbClr val="FFCB84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verage car weight: -60% vs today</a:t>
            </a:r>
            <a:endParaRPr kumimoji="0" lang="en-US" altLang="de-DE" sz="125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68" name="Rectangle 75">
            <a:extLst>
              <a:ext uri="{FF2B5EF4-FFF2-40B4-BE49-F238E27FC236}">
                <a16:creationId xmlns:a16="http://schemas.microsoft.com/office/drawing/2014/main" id="{B8D31F4C-5E42-4F48-ADC7-2C5827B47C64}"/>
              </a:ext>
            </a:extLst>
          </p:cNvPr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8550476" y="2043475"/>
            <a:ext cx="3490452" cy="338216"/>
          </a:xfrm>
          <a:prstGeom prst="rect">
            <a:avLst/>
          </a:prstGeom>
          <a:solidFill>
            <a:srgbClr val="FFCB84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lastics recycling: 50% of end-of-life plastic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5916C93-22FF-45E7-93B1-88ED8DA0E602}"/>
              </a:ext>
            </a:extLst>
          </p:cNvPr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8550476" y="2495685"/>
            <a:ext cx="3490452" cy="338216"/>
          </a:xfrm>
          <a:prstGeom prst="rect">
            <a:avLst/>
          </a:prstGeom>
          <a:solidFill>
            <a:srgbClr val="FFCB84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25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ars used as sharing vehicle: &gt;60% of fleet </a:t>
            </a:r>
          </a:p>
        </p:txBody>
      </p:sp>
    </p:spTree>
    <p:extLst>
      <p:ext uri="{BB962C8B-B14F-4D97-AF65-F5344CB8AC3E}">
        <p14:creationId xmlns:p14="http://schemas.microsoft.com/office/powerpoint/2010/main" val="247320829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5" name="think-cell Slide" r:id="rId17" imgW="353" imgH="353" progId="TCLayout.ActiveDocument.1">
                  <p:embed/>
                </p:oleObj>
              </mc:Choice>
              <mc:Fallback>
                <p:oleObj name="think-cell Slide" r:id="rId17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A36EEF92-99DA-40FA-A21A-AACC27373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90" y="268658"/>
            <a:ext cx="12015209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Breakthrough innovation could considerably facilitate and accelerate full decarbonization</a:t>
            </a:r>
            <a:endParaRPr lang="en-GB" sz="1800" b="0" dirty="0"/>
          </a:p>
        </p:txBody>
      </p:sp>
      <p:sp>
        <p:nvSpPr>
          <p:cNvPr id="47" name="5. Source">
            <a:extLst>
              <a:ext uri="{FF2B5EF4-FFF2-40B4-BE49-F238E27FC236}">
                <a16:creationId xmlns:a16="http://schemas.microsoft.com/office/drawing/2014/main" id="{21640472-E1EB-41C9-AE6F-8CDD6DE7D7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1" name="AutoShape 250">
            <a:extLst>
              <a:ext uri="{FF2B5EF4-FFF2-40B4-BE49-F238E27FC236}">
                <a16:creationId xmlns:a16="http://schemas.microsoft.com/office/drawing/2014/main" id="{30C4D7CB-80ED-4402-B9F5-E2914C300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3764" y="1046475"/>
            <a:ext cx="3735154" cy="4185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jor breakthrough innovation needed to decarbonize the harder-to-abate sectors</a:t>
            </a:r>
          </a:p>
        </p:txBody>
      </p:sp>
      <p:sp>
        <p:nvSpPr>
          <p:cNvPr id="57" name="AutoShape 250">
            <a:extLst>
              <a:ext uri="{FF2B5EF4-FFF2-40B4-BE49-F238E27FC236}">
                <a16:creationId xmlns:a16="http://schemas.microsoft.com/office/drawing/2014/main" id="{E0CE0566-FAC2-43C9-AC7F-BDFC2AD8F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790" y="1246530"/>
            <a:ext cx="1809172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novation area</a:t>
            </a:r>
          </a:p>
        </p:txBody>
      </p:sp>
      <p:cxnSp>
        <p:nvCxnSpPr>
          <p:cNvPr id="62" name="AutoShape 249">
            <a:extLst>
              <a:ext uri="{FF2B5EF4-FFF2-40B4-BE49-F238E27FC236}">
                <a16:creationId xmlns:a16="http://schemas.microsoft.com/office/drawing/2014/main" id="{1D83B8E7-1428-4BE1-98CF-9633FD0B9C0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76402" y="1483512"/>
            <a:ext cx="2256182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AutoShape 250">
            <a:extLst>
              <a:ext uri="{FF2B5EF4-FFF2-40B4-BE49-F238E27FC236}">
                <a16:creationId xmlns:a16="http://schemas.microsoft.com/office/drawing/2014/main" id="{5CF8EBA4-38E2-44A2-8DF8-F1E948594E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2522" y="1246530"/>
            <a:ext cx="559870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otential timing of technology commercial readiness</a:t>
            </a:r>
          </a:p>
        </p:txBody>
      </p:sp>
      <p:sp>
        <p:nvSpPr>
          <p:cNvPr id="49" name="Rectangle 75">
            <a:extLst>
              <a:ext uri="{FF2B5EF4-FFF2-40B4-BE49-F238E27FC236}">
                <a16:creationId xmlns:a16="http://schemas.microsoft.com/office/drawing/2014/main" id="{0ECD9368-D0CE-4A66-B0F9-775AC3659AE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6790" y="3851083"/>
            <a:ext cx="2341946" cy="504000"/>
          </a:xfrm>
          <a:prstGeom prst="rect">
            <a:avLst/>
          </a:prstGeom>
          <a:solidFill>
            <a:srgbClr val="4C6C9C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1116000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o/Synthetic chemistry</a:t>
            </a:r>
          </a:p>
        </p:txBody>
      </p:sp>
      <p:sp>
        <p:nvSpPr>
          <p:cNvPr id="45" name="Rectangle 75">
            <a:extLst>
              <a:ext uri="{FF2B5EF4-FFF2-40B4-BE49-F238E27FC236}">
                <a16:creationId xmlns:a16="http://schemas.microsoft.com/office/drawing/2014/main" id="{BCA493F0-967F-4AD4-A7FC-278565EAAD2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6790" y="1843101"/>
            <a:ext cx="2341946" cy="1169915"/>
          </a:xfrm>
          <a:prstGeom prst="rect">
            <a:avLst/>
          </a:prstGeom>
          <a:solidFill>
            <a:srgbClr val="4C6C9C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1116000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ification</a:t>
            </a:r>
          </a:p>
        </p:txBody>
      </p:sp>
      <p:sp>
        <p:nvSpPr>
          <p:cNvPr id="53" name="Rectangle 75">
            <a:extLst>
              <a:ext uri="{FF2B5EF4-FFF2-40B4-BE49-F238E27FC236}">
                <a16:creationId xmlns:a16="http://schemas.microsoft.com/office/drawing/2014/main" id="{8D319D05-F1B6-47E0-86ED-F0BCC6DCA01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76790" y="4520410"/>
            <a:ext cx="2341946" cy="1842656"/>
          </a:xfrm>
          <a:prstGeom prst="rect">
            <a:avLst/>
          </a:prstGeom>
          <a:solidFill>
            <a:srgbClr val="4C6C9C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1116000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ew materials</a:t>
            </a:r>
          </a:p>
        </p:txBody>
      </p:sp>
      <p:pic>
        <p:nvPicPr>
          <p:cNvPr id="18453" name="Picture 21" descr="RÃ©sultat de recherche d'images pour &quot;plug icon&quot;">
            <a:extLst>
              <a:ext uri="{FF2B5EF4-FFF2-40B4-BE49-F238E27FC236}">
                <a16:creationId xmlns:a16="http://schemas.microsoft.com/office/drawing/2014/main" id="{59E7A7EB-A262-43D3-8ED7-C2B6292EF0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89" r="29871"/>
          <a:stretch/>
        </p:blipFill>
        <p:spPr bwMode="auto">
          <a:xfrm>
            <a:off x="1522924" y="1996392"/>
            <a:ext cx="892946" cy="853241"/>
          </a:xfrm>
          <a:prstGeom prst="snip1Rect">
            <a:avLst>
              <a:gd name="adj" fmla="val 31301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55" name="Picture 23" descr="RÃ©sultat de recherche d'images pour &quot;Biochemistry icon&quot;">
            <a:extLst>
              <a:ext uri="{FF2B5EF4-FFF2-40B4-BE49-F238E27FC236}">
                <a16:creationId xmlns:a16="http://schemas.microsoft.com/office/drawing/2014/main" id="{29E07756-6B9F-40E4-95E0-9F14153EAB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3653" y="3855749"/>
            <a:ext cx="471488" cy="471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Rectangle 75">
            <a:extLst>
              <a:ext uri="{FF2B5EF4-FFF2-40B4-BE49-F238E27FC236}">
                <a16:creationId xmlns:a16="http://schemas.microsoft.com/office/drawing/2014/main" id="{0AFCC0D2-411E-49A8-9DFA-6092452EEA3A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671839" y="2512429"/>
            <a:ext cx="3292190" cy="504000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ochemical reduction of iron for steel production</a:t>
            </a:r>
          </a:p>
        </p:txBody>
      </p:sp>
      <p:sp>
        <p:nvSpPr>
          <p:cNvPr id="66" name="Rectangle 75">
            <a:extLst>
              <a:ext uri="{FF2B5EF4-FFF2-40B4-BE49-F238E27FC236}">
                <a16:creationId xmlns:a16="http://schemas.microsoft.com/office/drawing/2014/main" id="{237FA881-CB63-4AC2-AC7E-968183F4EF7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671839" y="3851083"/>
            <a:ext cx="3292190" cy="504000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nthetic chemistry, including direct air capture of CO</a:t>
            </a:r>
            <a:r>
              <a:rPr kumimoji="0" lang="en-US" altLang="de-DE" sz="1300" b="0" i="0" u="none" strike="noStrike" kern="1200" cap="none" spc="0" normalizeH="0" baseline="-2500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</a:p>
        </p:txBody>
      </p:sp>
      <p:sp>
        <p:nvSpPr>
          <p:cNvPr id="67" name="Rectangle 75">
            <a:extLst>
              <a:ext uri="{FF2B5EF4-FFF2-40B4-BE49-F238E27FC236}">
                <a16:creationId xmlns:a16="http://schemas.microsoft.com/office/drawing/2014/main" id="{08810303-3453-420F-9ED9-0CC76A36C694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671839" y="1843102"/>
            <a:ext cx="3292190" cy="504000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lectric furnaces for cement and chemicals</a:t>
            </a:r>
          </a:p>
        </p:txBody>
      </p:sp>
      <p:sp>
        <p:nvSpPr>
          <p:cNvPr id="70" name="Rectangle 75">
            <a:extLst>
              <a:ext uri="{FF2B5EF4-FFF2-40B4-BE49-F238E27FC236}">
                <a16:creationId xmlns:a16="http://schemas.microsoft.com/office/drawing/2014/main" id="{1D42F58E-DF05-44F9-B0AF-C1519366CA7D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671839" y="4520410"/>
            <a:ext cx="3292190" cy="504000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ow-carbon cement and concrete chemistries</a:t>
            </a:r>
          </a:p>
        </p:txBody>
      </p:sp>
      <p:sp>
        <p:nvSpPr>
          <p:cNvPr id="71" name="Rectangle 75">
            <a:extLst>
              <a:ext uri="{FF2B5EF4-FFF2-40B4-BE49-F238E27FC236}">
                <a16:creationId xmlns:a16="http://schemas.microsoft.com/office/drawing/2014/main" id="{90162783-0C8D-4DCE-A5BB-7AF35D9F1677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671839" y="5189737"/>
            <a:ext cx="3292190" cy="504000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iomaterials for construction</a:t>
            </a:r>
            <a:endParaRPr kumimoji="0" lang="en-US" altLang="de-DE" sz="130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2" name="Rectangle 75">
            <a:extLst>
              <a:ext uri="{FF2B5EF4-FFF2-40B4-BE49-F238E27FC236}">
                <a16:creationId xmlns:a16="http://schemas.microsoft.com/office/drawing/2014/main" id="{0F916CF8-44BB-4951-9B09-9871AB899403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671839" y="5859066"/>
            <a:ext cx="3292190" cy="504000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ellulose-based </a:t>
            </a:r>
            <a:r>
              <a:rPr kumimoji="0" lang="en-GB" altLang="de-D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fibers</a:t>
            </a:r>
            <a:r>
              <a:rPr kumimoji="0" lang="en-GB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as a substitute for plastics</a:t>
            </a:r>
            <a:endParaRPr kumimoji="0" lang="en-US" altLang="de-DE" sz="130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pic>
        <p:nvPicPr>
          <p:cNvPr id="41988" name="Picture 4" descr="RÃ©sultat de recherche d'images pour &quot;biochemistry icon&quot;">
            <a:extLst>
              <a:ext uri="{FF2B5EF4-FFF2-40B4-BE49-F238E27FC236}">
                <a16:creationId xmlns:a16="http://schemas.microsoft.com/office/drawing/2014/main" id="{76AA6F29-8D1A-40C9-8EE7-38CE493764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06"/>
          <a:stretch/>
        </p:blipFill>
        <p:spPr bwMode="auto">
          <a:xfrm>
            <a:off x="1511774" y="5061903"/>
            <a:ext cx="915246" cy="768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4" name="AutoShape 249">
            <a:extLst>
              <a:ext uri="{FF2B5EF4-FFF2-40B4-BE49-F238E27FC236}">
                <a16:creationId xmlns:a16="http://schemas.microsoft.com/office/drawing/2014/main" id="{3A58EA42-48F8-4E88-9B64-70CBD6179A6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342522" y="1465051"/>
            <a:ext cx="5618378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099331A-48F2-43BA-BFA8-7CF428B462AE}"/>
              </a:ext>
            </a:extLst>
          </p:cNvPr>
          <p:cNvGrpSpPr/>
          <p:nvPr/>
        </p:nvGrpSpPr>
        <p:grpSpPr>
          <a:xfrm>
            <a:off x="6529335" y="1572467"/>
            <a:ext cx="4846588" cy="4887320"/>
            <a:chOff x="6263864" y="1572467"/>
            <a:chExt cx="3656884" cy="4887320"/>
          </a:xfrm>
        </p:grpSpPr>
        <p:sp>
          <p:nvSpPr>
            <p:cNvPr id="68" name="AutoShape 250">
              <a:extLst>
                <a:ext uri="{FF2B5EF4-FFF2-40B4-BE49-F238E27FC236}">
                  <a16:creationId xmlns:a16="http://schemas.microsoft.com/office/drawing/2014/main" id="{2F199E9C-50F2-4B25-B60F-4244412944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3864" y="1572467"/>
              <a:ext cx="559723" cy="218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20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C1846BB-679E-4B6C-A35D-37A8CEB681F3}"/>
                </a:ext>
              </a:extLst>
            </p:cNvPr>
            <p:cNvCxnSpPr>
              <a:cxnSpLocks/>
            </p:cNvCxnSpPr>
            <p:nvPr/>
          </p:nvCxnSpPr>
          <p:spPr>
            <a:xfrm>
              <a:off x="6543725" y="1843101"/>
              <a:ext cx="0" cy="4616686"/>
            </a:xfrm>
            <a:prstGeom prst="line">
              <a:avLst/>
            </a:prstGeom>
            <a:ln>
              <a:solidFill>
                <a:srgbClr val="4C6C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AutoShape 250">
              <a:extLst>
                <a:ext uri="{FF2B5EF4-FFF2-40B4-BE49-F238E27FC236}">
                  <a16:creationId xmlns:a16="http://schemas.microsoft.com/office/drawing/2014/main" id="{5D516DA2-DD4C-492E-9339-BF76A2328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6251" y="1572467"/>
              <a:ext cx="559723" cy="218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30</a:t>
              </a: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56BA0950-3392-4D6D-BB21-D807A7A82720}"/>
                </a:ext>
              </a:extLst>
            </p:cNvPr>
            <p:cNvCxnSpPr>
              <a:cxnSpLocks/>
            </p:cNvCxnSpPr>
            <p:nvPr/>
          </p:nvCxnSpPr>
          <p:spPr>
            <a:xfrm>
              <a:off x="7576112" y="1843101"/>
              <a:ext cx="0" cy="4616686"/>
            </a:xfrm>
            <a:prstGeom prst="line">
              <a:avLst/>
            </a:prstGeom>
            <a:ln>
              <a:solidFill>
                <a:srgbClr val="4C6C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AutoShape 250">
              <a:extLst>
                <a:ext uri="{FF2B5EF4-FFF2-40B4-BE49-F238E27FC236}">
                  <a16:creationId xmlns:a16="http://schemas.microsoft.com/office/drawing/2014/main" id="{FCA03DB3-8CF9-44E3-A699-FDCB597D2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28638" y="1572467"/>
              <a:ext cx="559723" cy="218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40</a:t>
              </a: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0174813E-A051-43BB-BAC7-B6EB3547CB48}"/>
                </a:ext>
              </a:extLst>
            </p:cNvPr>
            <p:cNvCxnSpPr>
              <a:cxnSpLocks/>
            </p:cNvCxnSpPr>
            <p:nvPr/>
          </p:nvCxnSpPr>
          <p:spPr>
            <a:xfrm>
              <a:off x="8608499" y="1843101"/>
              <a:ext cx="0" cy="4616686"/>
            </a:xfrm>
            <a:prstGeom prst="line">
              <a:avLst/>
            </a:prstGeom>
            <a:ln>
              <a:solidFill>
                <a:srgbClr val="4C6C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AutoShape 250">
              <a:extLst>
                <a:ext uri="{FF2B5EF4-FFF2-40B4-BE49-F238E27FC236}">
                  <a16:creationId xmlns:a16="http://schemas.microsoft.com/office/drawing/2014/main" id="{57A841A2-8CB2-4DAD-AD42-AFD1AD1EC0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61025" y="1572467"/>
              <a:ext cx="559723" cy="218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50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4A91B0CD-1EBA-42A6-8517-218FB8BC6A30}"/>
                </a:ext>
              </a:extLst>
            </p:cNvPr>
            <p:cNvCxnSpPr>
              <a:cxnSpLocks/>
            </p:cNvCxnSpPr>
            <p:nvPr/>
          </p:nvCxnSpPr>
          <p:spPr>
            <a:xfrm>
              <a:off x="9640886" y="1843101"/>
              <a:ext cx="0" cy="4616686"/>
            </a:xfrm>
            <a:prstGeom prst="line">
              <a:avLst/>
            </a:prstGeom>
            <a:ln>
              <a:solidFill>
                <a:srgbClr val="4C6C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E75518D7-E475-4D59-B08D-C38FC580CEF1}"/>
              </a:ext>
            </a:extLst>
          </p:cNvPr>
          <p:cNvSpPr/>
          <p:nvPr/>
        </p:nvSpPr>
        <p:spPr>
          <a:xfrm>
            <a:off x="9636757" y="1842790"/>
            <a:ext cx="2304472" cy="504000"/>
          </a:xfrm>
          <a:prstGeom prst="homePlate">
            <a:avLst>
              <a:gd name="adj" fmla="val 31996"/>
            </a:avLst>
          </a:prstGeom>
          <a:solidFill>
            <a:srgbClr val="97A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9" name="Arrow: Pentagon 88">
            <a:extLst>
              <a:ext uri="{FF2B5EF4-FFF2-40B4-BE49-F238E27FC236}">
                <a16:creationId xmlns:a16="http://schemas.microsoft.com/office/drawing/2014/main" id="{77BB2656-3A6F-4BFB-8411-62AF212B88FC}"/>
              </a:ext>
            </a:extLst>
          </p:cNvPr>
          <p:cNvSpPr/>
          <p:nvPr/>
        </p:nvSpPr>
        <p:spPr>
          <a:xfrm>
            <a:off x="10345538" y="2513009"/>
            <a:ext cx="1595692" cy="504000"/>
          </a:xfrm>
          <a:prstGeom prst="homePlate">
            <a:avLst>
              <a:gd name="adj" fmla="val 31996"/>
            </a:avLst>
          </a:prstGeom>
          <a:solidFill>
            <a:srgbClr val="97A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0" name="Arrow: Pentagon 89">
            <a:extLst>
              <a:ext uri="{FF2B5EF4-FFF2-40B4-BE49-F238E27FC236}">
                <a16:creationId xmlns:a16="http://schemas.microsoft.com/office/drawing/2014/main" id="{A3859C8A-954A-4DD9-B045-2580E293C47E}"/>
              </a:ext>
            </a:extLst>
          </p:cNvPr>
          <p:cNvSpPr/>
          <p:nvPr/>
        </p:nvSpPr>
        <p:spPr>
          <a:xfrm>
            <a:off x="8033670" y="3853447"/>
            <a:ext cx="3907558" cy="504000"/>
          </a:xfrm>
          <a:prstGeom prst="homePlate">
            <a:avLst>
              <a:gd name="adj" fmla="val 31996"/>
            </a:avLst>
          </a:prstGeom>
          <a:solidFill>
            <a:srgbClr val="97A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2" name="Arrow: Pentagon 91">
            <a:extLst>
              <a:ext uri="{FF2B5EF4-FFF2-40B4-BE49-F238E27FC236}">
                <a16:creationId xmlns:a16="http://schemas.microsoft.com/office/drawing/2014/main" id="{BB371CF9-C06D-4C18-88AD-0C67B31B16C0}"/>
              </a:ext>
            </a:extLst>
          </p:cNvPr>
          <p:cNvSpPr/>
          <p:nvPr/>
        </p:nvSpPr>
        <p:spPr>
          <a:xfrm>
            <a:off x="8033670" y="4523666"/>
            <a:ext cx="3907559" cy="504000"/>
          </a:xfrm>
          <a:prstGeom prst="homePlate">
            <a:avLst>
              <a:gd name="adj" fmla="val 31996"/>
            </a:avLst>
          </a:prstGeom>
          <a:solidFill>
            <a:srgbClr val="97A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3" name="Arrow: Pentagon 92">
            <a:extLst>
              <a:ext uri="{FF2B5EF4-FFF2-40B4-BE49-F238E27FC236}">
                <a16:creationId xmlns:a16="http://schemas.microsoft.com/office/drawing/2014/main" id="{5C37C613-8577-4234-B95E-79189BCC8B4C}"/>
              </a:ext>
            </a:extLst>
          </p:cNvPr>
          <p:cNvSpPr/>
          <p:nvPr/>
        </p:nvSpPr>
        <p:spPr>
          <a:xfrm>
            <a:off x="8995657" y="5193885"/>
            <a:ext cx="2945572" cy="504000"/>
          </a:xfrm>
          <a:prstGeom prst="homePlate">
            <a:avLst>
              <a:gd name="adj" fmla="val 31996"/>
            </a:avLst>
          </a:prstGeom>
          <a:solidFill>
            <a:srgbClr val="97A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94" name="Arrow: Pentagon 93">
            <a:extLst>
              <a:ext uri="{FF2B5EF4-FFF2-40B4-BE49-F238E27FC236}">
                <a16:creationId xmlns:a16="http://schemas.microsoft.com/office/drawing/2014/main" id="{6370A6AC-7F03-46AB-84AF-C0B98DB20035}"/>
              </a:ext>
            </a:extLst>
          </p:cNvPr>
          <p:cNvSpPr/>
          <p:nvPr/>
        </p:nvSpPr>
        <p:spPr>
          <a:xfrm>
            <a:off x="7576458" y="5864104"/>
            <a:ext cx="4364771" cy="504000"/>
          </a:xfrm>
          <a:prstGeom prst="homePlate">
            <a:avLst>
              <a:gd name="adj" fmla="val 31996"/>
            </a:avLst>
          </a:prstGeom>
          <a:solidFill>
            <a:srgbClr val="97A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60" name="AutoShape 249">
            <a:extLst>
              <a:ext uri="{FF2B5EF4-FFF2-40B4-BE49-F238E27FC236}">
                <a16:creationId xmlns:a16="http://schemas.microsoft.com/office/drawing/2014/main" id="{F48247AD-7B26-43BF-AFB1-249603FDFE5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673764" y="1483512"/>
            <a:ext cx="3292191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Rectangle 75">
            <a:extLst>
              <a:ext uri="{FF2B5EF4-FFF2-40B4-BE49-F238E27FC236}">
                <a16:creationId xmlns:a16="http://schemas.microsoft.com/office/drawing/2014/main" id="{E9A72973-BA07-4ACC-97BE-3B41D21F8960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671839" y="3181756"/>
            <a:ext cx="3292190" cy="504000"/>
          </a:xfrm>
          <a:prstGeom prst="rect">
            <a:avLst/>
          </a:prstGeom>
          <a:ln>
            <a:solidFill>
              <a:srgbClr val="4C6C9C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ydrogen reduction of iron for steel production</a:t>
            </a:r>
          </a:p>
        </p:txBody>
      </p:sp>
      <p:sp>
        <p:nvSpPr>
          <p:cNvPr id="43" name="Arrow: Pentagon 42">
            <a:extLst>
              <a:ext uri="{FF2B5EF4-FFF2-40B4-BE49-F238E27FC236}">
                <a16:creationId xmlns:a16="http://schemas.microsoft.com/office/drawing/2014/main" id="{A62409CD-37AD-4D8A-B06E-2598DF339B51}"/>
              </a:ext>
            </a:extLst>
          </p:cNvPr>
          <p:cNvSpPr/>
          <p:nvPr/>
        </p:nvSpPr>
        <p:spPr>
          <a:xfrm>
            <a:off x="9636756" y="3183228"/>
            <a:ext cx="2304472" cy="504000"/>
          </a:xfrm>
          <a:prstGeom prst="homePlate">
            <a:avLst>
              <a:gd name="adj" fmla="val 31996"/>
            </a:avLst>
          </a:prstGeom>
          <a:solidFill>
            <a:srgbClr val="97A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4" name="Rectangle 75">
            <a:extLst>
              <a:ext uri="{FF2B5EF4-FFF2-40B4-BE49-F238E27FC236}">
                <a16:creationId xmlns:a16="http://schemas.microsoft.com/office/drawing/2014/main" id="{6E6F65DA-4146-4117-A873-BE4FBEB4EE5E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76790" y="3178382"/>
            <a:ext cx="2341946" cy="504000"/>
          </a:xfrm>
          <a:prstGeom prst="rect">
            <a:avLst/>
          </a:prstGeom>
          <a:solidFill>
            <a:srgbClr val="4C6C9C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576" tIns="37319" rIns="1116000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ydrogen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048DAF1-179C-4039-AC2D-92E52C225C93}"/>
              </a:ext>
            </a:extLst>
          </p:cNvPr>
          <p:cNvGrpSpPr>
            <a:grpSpLocks noChangeAspect="1"/>
          </p:cNvGrpSpPr>
          <p:nvPr/>
        </p:nvGrpSpPr>
        <p:grpSpPr>
          <a:xfrm>
            <a:off x="1725091" y="3159340"/>
            <a:ext cx="488613" cy="500527"/>
            <a:chOff x="2439637" y="4259117"/>
            <a:chExt cx="519871" cy="519872"/>
          </a:xfrm>
        </p:grpSpPr>
        <p:pic>
          <p:nvPicPr>
            <p:cNvPr id="48" name="Picture 5" descr="RÃ©sultat de recherche d'images pour &quot;hydrogen icon&quot;">
              <a:extLst>
                <a:ext uri="{FF2B5EF4-FFF2-40B4-BE49-F238E27FC236}">
                  <a16:creationId xmlns:a16="http://schemas.microsoft.com/office/drawing/2014/main" id="{79DC0F4B-5CFD-4C39-9B26-6A1AEEEAD4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8900000">
              <a:off x="2439637" y="4259117"/>
              <a:ext cx="519871" cy="5198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9E557B6-3AF1-47BA-AC3E-B67BF40FA972}"/>
                </a:ext>
              </a:extLst>
            </p:cNvPr>
            <p:cNvSpPr/>
            <p:nvPr/>
          </p:nvSpPr>
          <p:spPr>
            <a:xfrm>
              <a:off x="2575014" y="4399692"/>
              <a:ext cx="275303" cy="275303"/>
            </a:xfrm>
            <a:prstGeom prst="ellipse">
              <a:avLst/>
            </a:prstGeom>
            <a:solidFill>
              <a:srgbClr val="ABABA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</a:t>
              </a:r>
              <a:r>
                <a:rPr kumimoji="0" lang="en-GB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068090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A36EEF92-99DA-40FA-A21A-AACC27373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90" y="268658"/>
            <a:ext cx="12015209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Innovation in next generation batteries is focused on energy capacity and safety</a:t>
            </a:r>
            <a:endParaRPr lang="en-GB" sz="1800" b="0" dirty="0"/>
          </a:p>
        </p:txBody>
      </p:sp>
      <p:sp>
        <p:nvSpPr>
          <p:cNvPr id="47" name="5. Source">
            <a:extLst>
              <a:ext uri="{FF2B5EF4-FFF2-40B4-BE49-F238E27FC236}">
                <a16:creationId xmlns:a16="http://schemas.microsoft.com/office/drawing/2014/main" id="{21640472-E1EB-41C9-AE6F-8CDD6DE7D7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80137"/>
            <a:ext cx="11778784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: Lithium Cobalt Oxide 2:  Lithium Nickel Manganese Oxide 3: Lithium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itanat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Oxide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rthur D. Little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Future of batterie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; 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7" name="AutoShape 250">
            <a:extLst>
              <a:ext uri="{FF2B5EF4-FFF2-40B4-BE49-F238E27FC236}">
                <a16:creationId xmlns:a16="http://schemas.microsoft.com/office/drawing/2014/main" id="{E0CE0566-FAC2-43C9-AC7F-BDFC2AD8F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402" y="1039700"/>
            <a:ext cx="1809172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attery characteristics</a:t>
            </a:r>
          </a:p>
        </p:txBody>
      </p:sp>
      <p:cxnSp>
        <p:nvCxnSpPr>
          <p:cNvPr id="62" name="AutoShape 249">
            <a:extLst>
              <a:ext uri="{FF2B5EF4-FFF2-40B4-BE49-F238E27FC236}">
                <a16:creationId xmlns:a16="http://schemas.microsoft.com/office/drawing/2014/main" id="{1D83B8E7-1428-4BE1-98CF-9633FD0B9C0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76402" y="1276682"/>
            <a:ext cx="1763075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0B67A0EB-B43A-485D-ACD5-87BC2A57F1F5}"/>
              </a:ext>
            </a:extLst>
          </p:cNvPr>
          <p:cNvSpPr/>
          <p:nvPr/>
        </p:nvSpPr>
        <p:spPr>
          <a:xfrm>
            <a:off x="176402" y="1670552"/>
            <a:ext cx="1673663" cy="1425336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ow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nstrained by cathode chemistry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60CBDB3-47B0-407B-80D0-85329791A2AE}"/>
              </a:ext>
            </a:extLst>
          </p:cNvPr>
          <p:cNvSpPr/>
          <p:nvPr/>
        </p:nvSpPr>
        <p:spPr>
          <a:xfrm>
            <a:off x="176402" y="3311593"/>
            <a:ext cx="1673663" cy="1425336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harg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nstrained by anode chemistr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F6C0406-8DE8-4253-AB5F-B0D9F8139CE8}"/>
              </a:ext>
            </a:extLst>
          </p:cNvPr>
          <p:cNvSpPr/>
          <p:nvPr/>
        </p:nvSpPr>
        <p:spPr>
          <a:xfrm>
            <a:off x="176402" y="4952633"/>
            <a:ext cx="1673663" cy="1425336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afe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nstrained by electrolyte chemistry</a:t>
            </a:r>
          </a:p>
        </p:txBody>
      </p:sp>
      <p:sp>
        <p:nvSpPr>
          <p:cNvPr id="46" name="AutoShape 250">
            <a:extLst>
              <a:ext uri="{FF2B5EF4-FFF2-40B4-BE49-F238E27FC236}">
                <a16:creationId xmlns:a16="http://schemas.microsoft.com/office/drawing/2014/main" id="{AFCEDEA9-DBF8-4BE5-8722-6A8049354A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2135" y="1039700"/>
            <a:ext cx="1880373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aseline </a:t>
            </a:r>
          </a:p>
        </p:txBody>
      </p:sp>
      <p:cxnSp>
        <p:nvCxnSpPr>
          <p:cNvPr id="48" name="AutoShape 249">
            <a:extLst>
              <a:ext uri="{FF2B5EF4-FFF2-40B4-BE49-F238E27FC236}">
                <a16:creationId xmlns:a16="http://schemas.microsoft.com/office/drawing/2014/main" id="{EF6C532F-2367-46C7-9DDB-27A6F0DFEC0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111732" y="1276682"/>
            <a:ext cx="1880776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AutoShape 250">
            <a:extLst>
              <a:ext uri="{FF2B5EF4-FFF2-40B4-BE49-F238E27FC236}">
                <a16:creationId xmlns:a16="http://schemas.microsoft.com/office/drawing/2014/main" id="{25C49457-A081-409E-A137-0E4C9BC175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5627" y="1039700"/>
            <a:ext cx="1880373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novation</a:t>
            </a:r>
          </a:p>
        </p:txBody>
      </p:sp>
      <p:cxnSp>
        <p:nvCxnSpPr>
          <p:cNvPr id="51" name="AutoShape 249">
            <a:extLst>
              <a:ext uri="{FF2B5EF4-FFF2-40B4-BE49-F238E27FC236}">
                <a16:creationId xmlns:a16="http://schemas.microsoft.com/office/drawing/2014/main" id="{7CC2E868-0734-4EAD-9D5F-682A0B26D5B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215224" y="1276682"/>
            <a:ext cx="2344976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AutoShape 250">
            <a:extLst>
              <a:ext uri="{FF2B5EF4-FFF2-40B4-BE49-F238E27FC236}">
                <a16:creationId xmlns:a16="http://schemas.microsoft.com/office/drawing/2014/main" id="{85EF3610-1C18-4DB5-BB4D-A5CF4675C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4854" y="1039700"/>
            <a:ext cx="1880373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otential gain</a:t>
            </a:r>
          </a:p>
        </p:txBody>
      </p:sp>
      <p:cxnSp>
        <p:nvCxnSpPr>
          <p:cNvPr id="54" name="AutoShape 249">
            <a:extLst>
              <a:ext uri="{FF2B5EF4-FFF2-40B4-BE49-F238E27FC236}">
                <a16:creationId xmlns:a16="http://schemas.microsoft.com/office/drawing/2014/main" id="{3EF46007-B4F8-490F-AF8D-F1314D6ECAD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734854" y="1276682"/>
            <a:ext cx="2536737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AutoShape 250">
            <a:extLst>
              <a:ext uri="{FF2B5EF4-FFF2-40B4-BE49-F238E27FC236}">
                <a16:creationId xmlns:a16="http://schemas.microsoft.com/office/drawing/2014/main" id="{A485AC31-1973-4A93-9FB4-FBA5112276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4327" y="1039700"/>
            <a:ext cx="1880373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ssue to overcome</a:t>
            </a:r>
          </a:p>
        </p:txBody>
      </p:sp>
      <p:cxnSp>
        <p:nvCxnSpPr>
          <p:cNvPr id="56" name="AutoShape 249">
            <a:extLst>
              <a:ext uri="{FF2B5EF4-FFF2-40B4-BE49-F238E27FC236}">
                <a16:creationId xmlns:a16="http://schemas.microsoft.com/office/drawing/2014/main" id="{BD6AF66D-BBE8-4F09-ADAE-B3FC23E19B6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9573923" y="1276682"/>
            <a:ext cx="2068728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015A374-814F-44BE-975F-E8012F8CA0A5}"/>
              </a:ext>
            </a:extLst>
          </p:cNvPr>
          <p:cNvSpPr txBox="1"/>
          <p:nvPr/>
        </p:nvSpPr>
        <p:spPr>
          <a:xfrm>
            <a:off x="2010362" y="1670552"/>
            <a:ext cx="220486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5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CO</a:t>
            </a:r>
            <a:r>
              <a:rPr kumimoji="0" lang="en-GB" sz="1350" b="1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1</a:t>
            </a: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: most mature cathode chemistry with voltages lower than 4.5V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5752358-7A0E-4282-A41C-72B59CD4D332}"/>
              </a:ext>
            </a:extLst>
          </p:cNvPr>
          <p:cNvSpPr txBox="1"/>
          <p:nvPr/>
        </p:nvSpPr>
        <p:spPr>
          <a:xfrm>
            <a:off x="2010362" y="3311593"/>
            <a:ext cx="2204861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5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raphite</a:t>
            </a: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: carbon-based anode chemistry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712D45D-8810-419F-9F2B-615ED529B0B5}"/>
              </a:ext>
            </a:extLst>
          </p:cNvPr>
          <p:cNvSpPr txBox="1"/>
          <p:nvPr/>
        </p:nvSpPr>
        <p:spPr>
          <a:xfrm>
            <a:off x="2010362" y="4952633"/>
            <a:ext cx="2204861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5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urrent electrolyte</a:t>
            </a: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: organic solvents, dissolved lithium salts and polyolefin separator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D202C837-44F7-4F65-BEDF-942191D62E09}"/>
              </a:ext>
            </a:extLst>
          </p:cNvPr>
          <p:cNvSpPr/>
          <p:nvPr/>
        </p:nvSpPr>
        <p:spPr>
          <a:xfrm>
            <a:off x="4215223" y="1318978"/>
            <a:ext cx="144000" cy="144000"/>
          </a:xfrm>
          <a:prstGeom prst="rect">
            <a:avLst/>
          </a:prstGeom>
          <a:solidFill>
            <a:srgbClr val="97A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18D495A-5784-44AD-BABD-D34D315059F6}"/>
              </a:ext>
            </a:extLst>
          </p:cNvPr>
          <p:cNvSpPr txBox="1"/>
          <p:nvPr/>
        </p:nvSpPr>
        <p:spPr>
          <a:xfrm>
            <a:off x="4294840" y="1260458"/>
            <a:ext cx="14362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crementa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4A684C1-B0B5-4507-88BA-B400D9A0434C}"/>
              </a:ext>
            </a:extLst>
          </p:cNvPr>
          <p:cNvSpPr/>
          <p:nvPr/>
        </p:nvSpPr>
        <p:spPr>
          <a:xfrm>
            <a:off x="5408511" y="1318978"/>
            <a:ext cx="144000" cy="144000"/>
          </a:xfrm>
          <a:prstGeom prst="rect">
            <a:avLst/>
          </a:prstGeom>
          <a:solidFill>
            <a:srgbClr val="FFCB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F290F01-F47D-4192-8B39-53D498F6DF1C}"/>
              </a:ext>
            </a:extLst>
          </p:cNvPr>
          <p:cNvSpPr txBox="1"/>
          <p:nvPr/>
        </p:nvSpPr>
        <p:spPr>
          <a:xfrm>
            <a:off x="5492539" y="1258221"/>
            <a:ext cx="14362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Breakthrough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3D1BC9E-A449-4271-8413-9558822CBBF9}"/>
              </a:ext>
            </a:extLst>
          </p:cNvPr>
          <p:cNvSpPr/>
          <p:nvPr/>
        </p:nvSpPr>
        <p:spPr>
          <a:xfrm>
            <a:off x="4215223" y="1670552"/>
            <a:ext cx="2344977" cy="663981"/>
          </a:xfrm>
          <a:prstGeom prst="rect">
            <a:avLst/>
          </a:prstGeom>
          <a:solidFill>
            <a:srgbClr val="97A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crease of LCO performance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039CF51-BEE6-4089-9007-E8736655E1A9}"/>
              </a:ext>
            </a:extLst>
          </p:cNvPr>
          <p:cNvSpPr/>
          <p:nvPr/>
        </p:nvSpPr>
        <p:spPr>
          <a:xfrm>
            <a:off x="4215223" y="2431904"/>
            <a:ext cx="2344977" cy="663981"/>
          </a:xfrm>
          <a:prstGeom prst="rect">
            <a:avLst/>
          </a:prstGeom>
          <a:solidFill>
            <a:srgbClr val="FFCB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MNO</a:t>
            </a:r>
            <a:r>
              <a:rPr kumimoji="0" lang="en-GB" sz="1350" b="0" i="0" u="none" strike="noStrike" kern="1200" cap="none" spc="0" normalizeH="0" baseline="30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batterie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E98237C-9CD6-4479-9583-4A6D072DEEF4}"/>
              </a:ext>
            </a:extLst>
          </p:cNvPr>
          <p:cNvSpPr txBox="1"/>
          <p:nvPr/>
        </p:nvSpPr>
        <p:spPr>
          <a:xfrm>
            <a:off x="6647841" y="2431904"/>
            <a:ext cx="292608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creases capacity and voltage (5V)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EA0B788-CC42-4C43-9DD0-30FDB8187DAE}"/>
              </a:ext>
            </a:extLst>
          </p:cNvPr>
          <p:cNvSpPr txBox="1"/>
          <p:nvPr/>
        </p:nvSpPr>
        <p:spPr>
          <a:xfrm>
            <a:off x="9573923" y="2431904"/>
            <a:ext cx="234497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afety risk of electrolyte break down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3A06CCD-7B18-4AEB-98C4-E608AF11DD03}"/>
              </a:ext>
            </a:extLst>
          </p:cNvPr>
          <p:cNvSpPr txBox="1"/>
          <p:nvPr/>
        </p:nvSpPr>
        <p:spPr>
          <a:xfrm>
            <a:off x="6647841" y="1670550"/>
            <a:ext cx="292608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creases voltage and energy capacity (incremental)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470638-8A03-46EB-B37D-F65314E15ABE}"/>
              </a:ext>
            </a:extLst>
          </p:cNvPr>
          <p:cNvCxnSpPr>
            <a:cxnSpLocks/>
          </p:cNvCxnSpPr>
          <p:nvPr/>
        </p:nvCxnSpPr>
        <p:spPr>
          <a:xfrm>
            <a:off x="4215223" y="2383219"/>
            <a:ext cx="756356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83CC5C65-A14F-451B-853E-2AE116F08613}"/>
              </a:ext>
            </a:extLst>
          </p:cNvPr>
          <p:cNvCxnSpPr>
            <a:cxnSpLocks/>
          </p:cNvCxnSpPr>
          <p:nvPr/>
        </p:nvCxnSpPr>
        <p:spPr>
          <a:xfrm>
            <a:off x="176402" y="3203741"/>
            <a:ext cx="1160238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2FE12F1-C234-4521-9CB6-CD11A291B4D7}"/>
              </a:ext>
            </a:extLst>
          </p:cNvPr>
          <p:cNvCxnSpPr>
            <a:cxnSpLocks/>
          </p:cNvCxnSpPr>
          <p:nvPr/>
        </p:nvCxnSpPr>
        <p:spPr>
          <a:xfrm>
            <a:off x="176402" y="4844781"/>
            <a:ext cx="1160238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BCA4EF59-EC3B-48B7-8231-E576DDDA105D}"/>
              </a:ext>
            </a:extLst>
          </p:cNvPr>
          <p:cNvSpPr txBox="1"/>
          <p:nvPr/>
        </p:nvSpPr>
        <p:spPr>
          <a:xfrm>
            <a:off x="9573923" y="1670550"/>
            <a:ext cx="243198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igh cost and supply security of cobalt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D930C141-5F11-41D0-8779-6C7D3F1AF4E9}"/>
              </a:ext>
            </a:extLst>
          </p:cNvPr>
          <p:cNvSpPr/>
          <p:nvPr/>
        </p:nvSpPr>
        <p:spPr>
          <a:xfrm>
            <a:off x="4215223" y="3311595"/>
            <a:ext cx="2344977" cy="663981"/>
          </a:xfrm>
          <a:prstGeom prst="rect">
            <a:avLst/>
          </a:prstGeom>
          <a:solidFill>
            <a:srgbClr val="97A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TO anodes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B2365904-14C6-4CBD-9824-061D3045CD5C}"/>
              </a:ext>
            </a:extLst>
          </p:cNvPr>
          <p:cNvSpPr/>
          <p:nvPr/>
        </p:nvSpPr>
        <p:spPr>
          <a:xfrm>
            <a:off x="4215223" y="4072947"/>
            <a:ext cx="2344977" cy="663981"/>
          </a:xfrm>
          <a:prstGeom prst="rect">
            <a:avLst/>
          </a:prstGeom>
          <a:solidFill>
            <a:srgbClr val="FFCB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Full silica or lithium  anod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0155B0C1-9322-4B0A-A3AC-FE5A4557AAE7}"/>
              </a:ext>
            </a:extLst>
          </p:cNvPr>
          <p:cNvSpPr txBox="1"/>
          <p:nvPr/>
        </p:nvSpPr>
        <p:spPr>
          <a:xfrm>
            <a:off x="6647841" y="4072947"/>
            <a:ext cx="292608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creases energy density by 40%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F6F2BFF-4275-43D0-B550-124F8D50F5DC}"/>
              </a:ext>
            </a:extLst>
          </p:cNvPr>
          <p:cNvSpPr txBox="1"/>
          <p:nvPr/>
        </p:nvSpPr>
        <p:spPr>
          <a:xfrm>
            <a:off x="9573923" y="4072947"/>
            <a:ext cx="234497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ycle lifetime limitation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58A9B00-A67B-48B2-8687-E8B12B5AA838}"/>
              </a:ext>
            </a:extLst>
          </p:cNvPr>
          <p:cNvSpPr txBox="1"/>
          <p:nvPr/>
        </p:nvSpPr>
        <p:spPr>
          <a:xfrm>
            <a:off x="6647841" y="3311593"/>
            <a:ext cx="292608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llows extremely fast charg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igh cycle lifetime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14436EF0-DCC1-4D94-B4DC-6201AAD245B3}"/>
              </a:ext>
            </a:extLst>
          </p:cNvPr>
          <p:cNvCxnSpPr>
            <a:cxnSpLocks/>
          </p:cNvCxnSpPr>
          <p:nvPr/>
        </p:nvCxnSpPr>
        <p:spPr>
          <a:xfrm>
            <a:off x="4215223" y="4024262"/>
            <a:ext cx="756356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5626A9B4-3AF2-46B9-8F9D-B2FB26DD4FCA}"/>
              </a:ext>
            </a:extLst>
          </p:cNvPr>
          <p:cNvSpPr txBox="1"/>
          <p:nvPr/>
        </p:nvSpPr>
        <p:spPr>
          <a:xfrm>
            <a:off x="9573923" y="3311593"/>
            <a:ext cx="243198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igh co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ow energy capacity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AF0B0D4-2B50-4E3D-9D94-DE9EA44C48CD}"/>
              </a:ext>
            </a:extLst>
          </p:cNvPr>
          <p:cNvSpPr/>
          <p:nvPr/>
        </p:nvSpPr>
        <p:spPr>
          <a:xfrm>
            <a:off x="4215223" y="4952633"/>
            <a:ext cx="2344977" cy="1398155"/>
          </a:xfrm>
          <a:prstGeom prst="rect">
            <a:avLst/>
          </a:prstGeom>
          <a:solidFill>
            <a:srgbClr val="FFCB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lid-state electrolyt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B5D54905-9057-4CCE-BBBD-6CBD9D725853}"/>
              </a:ext>
            </a:extLst>
          </p:cNvPr>
          <p:cNvSpPr txBox="1"/>
          <p:nvPr/>
        </p:nvSpPr>
        <p:spPr>
          <a:xfrm>
            <a:off x="6647841" y="4952633"/>
            <a:ext cx="3007788" cy="1401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nlocks new classes of: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athodes with higher voltage (5V) and +10% energy dens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ure lithium and silica anodes with high energy densit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mproves battery safety (non-inflammable)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29EDE9B0-FAD6-46CD-ACB1-51AA06DC4E7E}"/>
              </a:ext>
            </a:extLst>
          </p:cNvPr>
          <p:cNvSpPr txBox="1"/>
          <p:nvPr/>
        </p:nvSpPr>
        <p:spPr>
          <a:xfrm>
            <a:off x="9573923" y="4952633"/>
            <a:ext cx="234497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High manufacturing cost </a:t>
            </a:r>
          </a:p>
        </p:txBody>
      </p:sp>
    </p:spTree>
    <p:extLst>
      <p:ext uri="{BB962C8B-B14F-4D97-AF65-F5344CB8AC3E}">
        <p14:creationId xmlns:p14="http://schemas.microsoft.com/office/powerpoint/2010/main" val="278222116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3" name="think-cell Slide" r:id="rId16" imgW="353" imgH="353" progId="TCLayout.ActiveDocument.1">
                  <p:embed/>
                </p:oleObj>
              </mc:Choice>
              <mc:Fallback>
                <p:oleObj name="think-cell Slide" r:id="rId16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A36EEF92-99DA-40FA-A21A-AACC27373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92" y="109814"/>
            <a:ext cx="11601992" cy="6281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arbon pricing initiatives already exist in many countries, but they do not always cover all harder-to-abate sectors and their price levels are too low to drive change in those sectors</a:t>
            </a:r>
            <a:endParaRPr lang="en-GB" sz="1800" b="0" dirty="0"/>
          </a:p>
        </p:txBody>
      </p:sp>
      <p:sp>
        <p:nvSpPr>
          <p:cNvPr id="47" name="5. Source">
            <a:extLst>
              <a:ext uri="{FF2B5EF4-FFF2-40B4-BE49-F238E27FC236}">
                <a16:creationId xmlns:a16="http://schemas.microsoft.com/office/drawing/2014/main" id="{21640472-E1EB-41C9-AE6F-8CDD6DE7D7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81001"/>
            <a:ext cx="84528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 / ETS: Emissions Trading Syste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7" name="AutoShape 250">
            <a:extLst>
              <a:ext uri="{FF2B5EF4-FFF2-40B4-BE49-F238E27FC236}">
                <a16:creationId xmlns:a16="http://schemas.microsoft.com/office/drawing/2014/main" id="{E0CE0566-FAC2-43C9-AC7F-BDFC2AD8F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402" y="1120003"/>
            <a:ext cx="1809172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ype of scheme</a:t>
            </a:r>
          </a:p>
        </p:txBody>
      </p:sp>
      <p:cxnSp>
        <p:nvCxnSpPr>
          <p:cNvPr id="62" name="AutoShape 249">
            <a:extLst>
              <a:ext uri="{FF2B5EF4-FFF2-40B4-BE49-F238E27FC236}">
                <a16:creationId xmlns:a16="http://schemas.microsoft.com/office/drawing/2014/main" id="{1D83B8E7-1428-4BE1-98CF-9633FD0B9C0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76402" y="1356990"/>
            <a:ext cx="1207899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AutoShape 250">
            <a:extLst>
              <a:ext uri="{FF2B5EF4-FFF2-40B4-BE49-F238E27FC236}">
                <a16:creationId xmlns:a16="http://schemas.microsoft.com/office/drawing/2014/main" id="{A485AC31-1973-4A93-9FB4-FBA5112276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572" y="1120003"/>
            <a:ext cx="1880373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ectors</a:t>
            </a:r>
          </a:p>
        </p:txBody>
      </p:sp>
      <p:cxnSp>
        <p:nvCxnSpPr>
          <p:cNvPr id="56" name="AutoShape 249">
            <a:extLst>
              <a:ext uri="{FF2B5EF4-FFF2-40B4-BE49-F238E27FC236}">
                <a16:creationId xmlns:a16="http://schemas.microsoft.com/office/drawing/2014/main" id="{BD6AF66D-BBE8-4F09-ADAE-B3FC23E19B6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984168" y="1356990"/>
            <a:ext cx="2758502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AutoShape 250">
            <a:extLst>
              <a:ext uri="{FF2B5EF4-FFF2-40B4-BE49-F238E27FC236}">
                <a16:creationId xmlns:a16="http://schemas.microsoft.com/office/drawing/2014/main" id="{805E1212-6283-451A-980E-60F219F2A0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27" y="919948"/>
            <a:ext cx="1880373" cy="4185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Year o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mplementation</a:t>
            </a:r>
          </a:p>
        </p:txBody>
      </p:sp>
      <p:sp>
        <p:nvSpPr>
          <p:cNvPr id="73" name="AutoShape 250">
            <a:extLst>
              <a:ext uri="{FF2B5EF4-FFF2-40B4-BE49-F238E27FC236}">
                <a16:creationId xmlns:a16="http://schemas.microsoft.com/office/drawing/2014/main" id="{2151518D-62AB-4767-8C7A-DC6BA81ADE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429" y="919948"/>
            <a:ext cx="2758830" cy="4185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overnment revenu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, 2017</a:t>
            </a:r>
            <a:endParaRPr kumimoji="0" lang="en-US" sz="1300" b="0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B67A0EB-B43A-485D-ACD5-87BC2A57F1F5}"/>
              </a:ext>
            </a:extLst>
          </p:cNvPr>
          <p:cNvSpPr/>
          <p:nvPr/>
        </p:nvSpPr>
        <p:spPr>
          <a:xfrm>
            <a:off x="176403" y="1435685"/>
            <a:ext cx="1338600" cy="1915702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arbon Tax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60CBDB3-47B0-407B-80D0-85329791A2AE}"/>
              </a:ext>
            </a:extLst>
          </p:cNvPr>
          <p:cNvSpPr/>
          <p:nvPr/>
        </p:nvSpPr>
        <p:spPr>
          <a:xfrm>
            <a:off x="176403" y="3474519"/>
            <a:ext cx="1338600" cy="2909668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mission Trading Scheme</a:t>
            </a:r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83CC5C65-A14F-451B-853E-2AE116F08613}"/>
              </a:ext>
            </a:extLst>
          </p:cNvPr>
          <p:cNvCxnSpPr>
            <a:cxnSpLocks/>
          </p:cNvCxnSpPr>
          <p:nvPr/>
        </p:nvCxnSpPr>
        <p:spPr>
          <a:xfrm>
            <a:off x="176402" y="3408293"/>
            <a:ext cx="1160238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3E589DB-B70C-4615-B167-018F7AAD7952}"/>
              </a:ext>
            </a:extLst>
          </p:cNvPr>
          <p:cNvGrpSpPr/>
          <p:nvPr/>
        </p:nvGrpSpPr>
        <p:grpSpPr>
          <a:xfrm>
            <a:off x="1612085" y="1878080"/>
            <a:ext cx="10166699" cy="4059893"/>
            <a:chOff x="1612085" y="1748584"/>
            <a:chExt cx="8285923" cy="4176565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D470638-8A03-46EB-B37D-F65314E15ABE}"/>
                </a:ext>
              </a:extLst>
            </p:cNvPr>
            <p:cNvCxnSpPr>
              <a:cxnSpLocks/>
            </p:cNvCxnSpPr>
            <p:nvPr/>
          </p:nvCxnSpPr>
          <p:spPr>
            <a:xfrm>
              <a:off x="1612085" y="1748584"/>
              <a:ext cx="828592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E7A35090-EE79-4C44-A7E7-3031BE26AFCB}"/>
                </a:ext>
              </a:extLst>
            </p:cNvPr>
            <p:cNvCxnSpPr>
              <a:cxnSpLocks/>
            </p:cNvCxnSpPr>
            <p:nvPr/>
          </p:nvCxnSpPr>
          <p:spPr>
            <a:xfrm>
              <a:off x="1612085" y="2270655"/>
              <a:ext cx="828592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BBBCAC6-407E-4F23-90AF-FF7CA4D51A78}"/>
                </a:ext>
              </a:extLst>
            </p:cNvPr>
            <p:cNvCxnSpPr>
              <a:cxnSpLocks/>
            </p:cNvCxnSpPr>
            <p:nvPr/>
          </p:nvCxnSpPr>
          <p:spPr>
            <a:xfrm>
              <a:off x="1612085" y="2792726"/>
              <a:ext cx="828592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DB2BFC85-A1EC-4B23-B491-3E4A1B93D3DC}"/>
                </a:ext>
              </a:extLst>
            </p:cNvPr>
            <p:cNvCxnSpPr>
              <a:cxnSpLocks/>
            </p:cNvCxnSpPr>
            <p:nvPr/>
          </p:nvCxnSpPr>
          <p:spPr>
            <a:xfrm>
              <a:off x="1612085" y="3839832"/>
              <a:ext cx="828592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0C197D3-9142-4D2F-BAAB-CD8B0D921FF3}"/>
                </a:ext>
              </a:extLst>
            </p:cNvPr>
            <p:cNvCxnSpPr>
              <a:cxnSpLocks/>
            </p:cNvCxnSpPr>
            <p:nvPr/>
          </p:nvCxnSpPr>
          <p:spPr>
            <a:xfrm>
              <a:off x="1612085" y="4358939"/>
              <a:ext cx="828592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37B2BC94-7A9D-4520-BBCB-42EC84467D99}"/>
                </a:ext>
              </a:extLst>
            </p:cNvPr>
            <p:cNvCxnSpPr>
              <a:cxnSpLocks/>
            </p:cNvCxnSpPr>
            <p:nvPr/>
          </p:nvCxnSpPr>
          <p:spPr>
            <a:xfrm>
              <a:off x="1612085" y="4881009"/>
              <a:ext cx="828592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12F2D1EF-2B8F-463A-BB60-8C669B710B51}"/>
                </a:ext>
              </a:extLst>
            </p:cNvPr>
            <p:cNvCxnSpPr>
              <a:cxnSpLocks/>
            </p:cNvCxnSpPr>
            <p:nvPr/>
          </p:nvCxnSpPr>
          <p:spPr>
            <a:xfrm>
              <a:off x="1612085" y="5403079"/>
              <a:ext cx="828592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7C7E0546-4457-477F-9966-4997D7BA5BD8}"/>
                </a:ext>
              </a:extLst>
            </p:cNvPr>
            <p:cNvCxnSpPr>
              <a:cxnSpLocks/>
            </p:cNvCxnSpPr>
            <p:nvPr/>
          </p:nvCxnSpPr>
          <p:spPr>
            <a:xfrm>
              <a:off x="1612085" y="5925149"/>
              <a:ext cx="828592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AutoShape 250">
            <a:extLst>
              <a:ext uri="{FF2B5EF4-FFF2-40B4-BE49-F238E27FC236}">
                <a16:creationId xmlns:a16="http://schemas.microsoft.com/office/drawing/2014/main" id="{AFCEDEA9-DBF8-4BE5-8722-6A8049354A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2552" y="1120003"/>
            <a:ext cx="2184595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Country/Region</a:t>
            </a:r>
          </a:p>
        </p:txBody>
      </p:sp>
      <p:cxnSp>
        <p:nvCxnSpPr>
          <p:cNvPr id="48" name="AutoShape 249">
            <a:extLst>
              <a:ext uri="{FF2B5EF4-FFF2-40B4-BE49-F238E27FC236}">
                <a16:creationId xmlns:a16="http://schemas.microsoft.com/office/drawing/2014/main" id="{EF6C532F-2367-46C7-9DDB-27A6F0DFEC0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612084" y="1356990"/>
            <a:ext cx="2185063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AutoShape 250">
            <a:extLst>
              <a:ext uri="{FF2B5EF4-FFF2-40B4-BE49-F238E27FC236}">
                <a16:creationId xmlns:a16="http://schemas.microsoft.com/office/drawing/2014/main" id="{25C49457-A081-409E-A137-0E4C9BC175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43175" y="919948"/>
            <a:ext cx="1235608" cy="4185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Price lev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/tCO</a:t>
            </a:r>
            <a:r>
              <a:rPr kumimoji="0" lang="en-US" sz="1300" b="0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e</a:t>
            </a:r>
          </a:p>
        </p:txBody>
      </p:sp>
      <p:cxnSp>
        <p:nvCxnSpPr>
          <p:cNvPr id="51" name="AutoShape 249">
            <a:extLst>
              <a:ext uri="{FF2B5EF4-FFF2-40B4-BE49-F238E27FC236}">
                <a16:creationId xmlns:a16="http://schemas.microsoft.com/office/drawing/2014/main" id="{7CC2E868-0734-4EAD-9D5F-682A0B26D5B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542963" y="1356990"/>
            <a:ext cx="1235821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0" name="AutoShape 249">
            <a:extLst>
              <a:ext uri="{FF2B5EF4-FFF2-40B4-BE49-F238E27FC236}">
                <a16:creationId xmlns:a16="http://schemas.microsoft.com/office/drawing/2014/main" id="{7CFD4947-751D-46DF-A742-8B1324D2335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845478" y="1356990"/>
            <a:ext cx="1258934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1" name="AutoShape 249">
            <a:extLst>
              <a:ext uri="{FF2B5EF4-FFF2-40B4-BE49-F238E27FC236}">
                <a16:creationId xmlns:a16="http://schemas.microsoft.com/office/drawing/2014/main" id="{E9213485-35D1-4DB3-8148-0AC9B35D554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207429" y="1356990"/>
            <a:ext cx="2240287" cy="0"/>
          </a:xfrm>
          <a:prstGeom prst="straightConnector1">
            <a:avLst/>
          </a:prstGeom>
          <a:noFill/>
          <a:ln w="9525">
            <a:solidFill>
              <a:srgbClr val="5C79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DDC7EFD-28FA-4E98-A457-B0ACD124D14B}"/>
              </a:ext>
            </a:extLst>
          </p:cNvPr>
          <p:cNvGrpSpPr/>
          <p:nvPr/>
        </p:nvGrpSpPr>
        <p:grpSpPr>
          <a:xfrm>
            <a:off x="1612253" y="5439240"/>
            <a:ext cx="10143587" cy="461665"/>
            <a:chOff x="1612084" y="1379355"/>
            <a:chExt cx="10143587" cy="461665"/>
          </a:xfrm>
        </p:grpSpPr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53A06CCD-7B18-4AEB-98C4-E608AF11DD03}"/>
                </a:ext>
              </a:extLst>
            </p:cNvPr>
            <p:cNvSpPr txBox="1"/>
            <p:nvPr/>
          </p:nvSpPr>
          <p:spPr>
            <a:xfrm>
              <a:off x="8177627" y="1482226"/>
              <a:ext cx="2159837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2,487 million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B21A2B4-8F45-4857-B469-21B72496295D}"/>
                </a:ext>
              </a:extLst>
            </p:cNvPr>
            <p:cNvSpPr txBox="1"/>
            <p:nvPr/>
          </p:nvSpPr>
          <p:spPr>
            <a:xfrm>
              <a:off x="7169230" y="1478142"/>
              <a:ext cx="1207899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12</a:t>
              </a:r>
            </a:p>
          </p:txBody>
        </p:sp>
        <p:sp>
          <p:nvSpPr>
            <p:cNvPr id="45" name="Rectangle 75">
              <a:extLst>
                <a:ext uri="{FF2B5EF4-FFF2-40B4-BE49-F238E27FC236}">
                  <a16:creationId xmlns:a16="http://schemas.microsoft.com/office/drawing/2014/main" id="{6E626B54-73CC-41EF-B9DF-208BBF91D697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1612084" y="1431867"/>
              <a:ext cx="2183232" cy="384938"/>
            </a:xfrm>
            <a:prstGeom prst="rect">
              <a:avLst/>
            </a:prstGeom>
            <a:ln>
              <a:solidFill>
                <a:srgbClr val="4C6C9C"/>
              </a:solidFill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108000" tIns="37319" rIns="108000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Tokyo Cap-and-Trade Program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93D1BC9E-A449-4271-8413-9558822CBBF9}"/>
                </a:ext>
              </a:extLst>
            </p:cNvPr>
            <p:cNvSpPr/>
            <p:nvPr/>
          </p:nvSpPr>
          <p:spPr>
            <a:xfrm>
              <a:off x="10519850" y="1431867"/>
              <a:ext cx="1235821" cy="384938"/>
            </a:xfrm>
            <a:prstGeom prst="rect">
              <a:avLst/>
            </a:prstGeom>
            <a:solidFill>
              <a:srgbClr val="97ADC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3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BCA4EF59-EC3B-48B7-8231-E576DDDA105D}"/>
                </a:ext>
              </a:extLst>
            </p:cNvPr>
            <p:cNvSpPr txBox="1"/>
            <p:nvPr/>
          </p:nvSpPr>
          <p:spPr>
            <a:xfrm>
              <a:off x="3892395" y="1379355"/>
              <a:ext cx="3073298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Industry, power, transport and buildings sectors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496DE3A-5AA0-453E-9028-4103101EADEA}"/>
              </a:ext>
            </a:extLst>
          </p:cNvPr>
          <p:cNvGrpSpPr/>
          <p:nvPr/>
        </p:nvGrpSpPr>
        <p:grpSpPr>
          <a:xfrm>
            <a:off x="1612084" y="2393055"/>
            <a:ext cx="10143587" cy="461665"/>
            <a:chOff x="1612084" y="1886223"/>
            <a:chExt cx="10143587" cy="46166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3E7ECB2-E5D5-49DE-8894-3A4667D7E402}"/>
                </a:ext>
              </a:extLst>
            </p:cNvPr>
            <p:cNvSpPr txBox="1"/>
            <p:nvPr/>
          </p:nvSpPr>
          <p:spPr>
            <a:xfrm>
              <a:off x="8177627" y="1989714"/>
              <a:ext cx="2159837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   624 million 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723A3BF1-44A9-4237-A548-53AB58AFB483}"/>
                </a:ext>
              </a:extLst>
            </p:cNvPr>
            <p:cNvSpPr txBox="1"/>
            <p:nvPr/>
          </p:nvSpPr>
          <p:spPr>
            <a:xfrm>
              <a:off x="7169230" y="1985630"/>
              <a:ext cx="1207899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14</a:t>
              </a:r>
            </a:p>
          </p:txBody>
        </p:sp>
        <p:sp>
          <p:nvSpPr>
            <p:cNvPr id="49" name="Rectangle 75">
              <a:extLst>
                <a:ext uri="{FF2B5EF4-FFF2-40B4-BE49-F238E27FC236}">
                  <a16:creationId xmlns:a16="http://schemas.microsoft.com/office/drawing/2014/main" id="{745A6BD6-A7A7-4704-8401-C70C4E995AB3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612084" y="1939355"/>
              <a:ext cx="2183232" cy="384938"/>
            </a:xfrm>
            <a:prstGeom prst="rect">
              <a:avLst/>
            </a:prstGeom>
            <a:ln>
              <a:solidFill>
                <a:srgbClr val="4C6C9C"/>
              </a:solidFill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108000" tIns="37319" rIns="108000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Mexico carbon tax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039CF51-BEE6-4089-9007-E8736655E1A9}"/>
                </a:ext>
              </a:extLst>
            </p:cNvPr>
            <p:cNvSpPr/>
            <p:nvPr/>
          </p:nvSpPr>
          <p:spPr>
            <a:xfrm>
              <a:off x="10519850" y="1939355"/>
              <a:ext cx="1235821" cy="384938"/>
            </a:xfrm>
            <a:prstGeom prst="rect">
              <a:avLst/>
            </a:prstGeom>
            <a:solidFill>
              <a:srgbClr val="97ADC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0.4-3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50FA5C2E-70F2-4E68-9EE0-3CF5F2E522C3}"/>
                </a:ext>
              </a:extLst>
            </p:cNvPr>
            <p:cNvSpPr txBox="1"/>
            <p:nvPr/>
          </p:nvSpPr>
          <p:spPr>
            <a:xfrm>
              <a:off x="3892397" y="1886223"/>
              <a:ext cx="3073299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ll sectors and fossil fuels, except natural gas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18C9078-ECC7-4186-9688-3B387D85BB06}"/>
              </a:ext>
            </a:extLst>
          </p:cNvPr>
          <p:cNvGrpSpPr/>
          <p:nvPr/>
        </p:nvGrpSpPr>
        <p:grpSpPr>
          <a:xfrm>
            <a:off x="1612084" y="1388897"/>
            <a:ext cx="10143587" cy="461665"/>
            <a:chOff x="1612084" y="2393091"/>
            <a:chExt cx="10143587" cy="461665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99EE1ED-0BAB-4962-BA75-575F49A16692}"/>
                </a:ext>
              </a:extLst>
            </p:cNvPr>
            <p:cNvSpPr txBox="1"/>
            <p:nvPr/>
          </p:nvSpPr>
          <p:spPr>
            <a:xfrm>
              <a:off x="8177627" y="2497201"/>
              <a:ext cx="2159837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1,652 million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15439B3A-0A65-46ED-AF57-1C7990FACAFD}"/>
                </a:ext>
              </a:extLst>
            </p:cNvPr>
            <p:cNvSpPr txBox="1"/>
            <p:nvPr/>
          </p:nvSpPr>
          <p:spPr>
            <a:xfrm>
              <a:off x="7169230" y="2493117"/>
              <a:ext cx="1207899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1991</a:t>
              </a:r>
            </a:p>
          </p:txBody>
        </p:sp>
        <p:sp>
          <p:nvSpPr>
            <p:cNvPr id="53" name="Rectangle 75">
              <a:extLst>
                <a:ext uri="{FF2B5EF4-FFF2-40B4-BE49-F238E27FC236}">
                  <a16:creationId xmlns:a16="http://schemas.microsoft.com/office/drawing/2014/main" id="{EF920473-95A3-436E-96AC-72ED32603259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612084" y="2446842"/>
              <a:ext cx="2183232" cy="384938"/>
            </a:xfrm>
            <a:prstGeom prst="rect">
              <a:avLst/>
            </a:prstGeom>
            <a:ln>
              <a:solidFill>
                <a:srgbClr val="4C6C9C"/>
              </a:solidFill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108000" tIns="37319" rIns="108000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Norway carbon tax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954705F8-0BBD-42D5-98FC-EFBE8DB3E39D}"/>
                </a:ext>
              </a:extLst>
            </p:cNvPr>
            <p:cNvSpPr/>
            <p:nvPr/>
          </p:nvSpPr>
          <p:spPr>
            <a:xfrm>
              <a:off x="10519850" y="2446842"/>
              <a:ext cx="1235821" cy="384938"/>
            </a:xfrm>
            <a:prstGeom prst="rect">
              <a:avLst/>
            </a:prstGeom>
            <a:solidFill>
              <a:srgbClr val="97ADC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4-64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B4849FD2-B825-4B16-B236-70541F05A686}"/>
                </a:ext>
              </a:extLst>
            </p:cNvPr>
            <p:cNvSpPr txBox="1"/>
            <p:nvPr/>
          </p:nvSpPr>
          <p:spPr>
            <a:xfrm>
              <a:off x="3892397" y="2393091"/>
              <a:ext cx="3073299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ll sectors and fossil fuels, including natural gas.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A5AF2D2-E9F1-41B9-9B5A-76B6E1D9FDE7}"/>
              </a:ext>
            </a:extLst>
          </p:cNvPr>
          <p:cNvGrpSpPr/>
          <p:nvPr/>
        </p:nvGrpSpPr>
        <p:grpSpPr>
          <a:xfrm>
            <a:off x="1612084" y="2912081"/>
            <a:ext cx="10143587" cy="461665"/>
            <a:chOff x="1612084" y="2899959"/>
            <a:chExt cx="10143587" cy="461665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ED8A4A8C-6AEE-4B7D-B96F-F2E638BD4343}"/>
                </a:ext>
              </a:extLst>
            </p:cNvPr>
            <p:cNvSpPr txBox="1"/>
            <p:nvPr/>
          </p:nvSpPr>
          <p:spPr>
            <a:xfrm>
              <a:off x="8177627" y="3004687"/>
              <a:ext cx="2159837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   217 million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CA9B2E8-3F60-42AE-A510-E1AD7F13EECD}"/>
                </a:ext>
              </a:extLst>
            </p:cNvPr>
            <p:cNvSpPr txBox="1"/>
            <p:nvPr/>
          </p:nvSpPr>
          <p:spPr>
            <a:xfrm>
              <a:off x="7169230" y="3000603"/>
              <a:ext cx="1207899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14</a:t>
              </a:r>
            </a:p>
          </p:txBody>
        </p:sp>
        <p:sp>
          <p:nvSpPr>
            <p:cNvPr id="44" name="Rectangle 75">
              <a:extLst>
                <a:ext uri="{FF2B5EF4-FFF2-40B4-BE49-F238E27FC236}">
                  <a16:creationId xmlns:a16="http://schemas.microsoft.com/office/drawing/2014/main" id="{1700D992-2210-4619-B6C0-E542A7DF5EE8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612084" y="2954329"/>
              <a:ext cx="2183232" cy="384938"/>
            </a:xfrm>
            <a:prstGeom prst="rect">
              <a:avLst/>
            </a:prstGeom>
            <a:ln>
              <a:solidFill>
                <a:srgbClr val="4C6C9C"/>
              </a:solidFill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108000" tIns="37319" rIns="108000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pain GHG tax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0AD1BB76-7F32-487A-B849-1D42E57992AF}"/>
                </a:ext>
              </a:extLst>
            </p:cNvPr>
            <p:cNvSpPr/>
            <p:nvPr/>
          </p:nvSpPr>
          <p:spPr>
            <a:xfrm>
              <a:off x="10519850" y="2954329"/>
              <a:ext cx="1235821" cy="384938"/>
            </a:xfrm>
            <a:prstGeom prst="rect">
              <a:avLst/>
            </a:prstGeom>
            <a:solidFill>
              <a:srgbClr val="97ADC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5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82794064-4445-4746-BFA6-B8FBC5AE0C48}"/>
                </a:ext>
              </a:extLst>
            </p:cNvPr>
            <p:cNvSpPr txBox="1"/>
            <p:nvPr/>
          </p:nvSpPr>
          <p:spPr>
            <a:xfrm>
              <a:off x="3892397" y="2899959"/>
              <a:ext cx="3368268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Fluorinated GHG emissions only (HFCs, PFCs, and SF6) from all sectors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DCC65270-D695-4630-B40F-1B050EAFFCAB}"/>
              </a:ext>
            </a:extLst>
          </p:cNvPr>
          <p:cNvGrpSpPr/>
          <p:nvPr/>
        </p:nvGrpSpPr>
        <p:grpSpPr>
          <a:xfrm>
            <a:off x="1612084" y="1939662"/>
            <a:ext cx="10143587" cy="384938"/>
            <a:chOff x="1612084" y="3461816"/>
            <a:chExt cx="10143587" cy="384938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F9D3A10-BA4A-4A23-94BF-613109AD0930}"/>
                </a:ext>
              </a:extLst>
            </p:cNvPr>
            <p:cNvSpPr txBox="1"/>
            <p:nvPr/>
          </p:nvSpPr>
          <p:spPr>
            <a:xfrm>
              <a:off x="8177627" y="3512174"/>
              <a:ext cx="2159837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1,241 million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6FC0F71A-4476-494C-B76D-23FCA61F51DE}"/>
                </a:ext>
              </a:extLst>
            </p:cNvPr>
            <p:cNvSpPr txBox="1"/>
            <p:nvPr/>
          </p:nvSpPr>
          <p:spPr>
            <a:xfrm>
              <a:off x="7169230" y="3508090"/>
              <a:ext cx="1207899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13</a:t>
              </a:r>
            </a:p>
          </p:txBody>
        </p:sp>
        <p:sp>
          <p:nvSpPr>
            <p:cNvPr id="54" name="Rectangle 75">
              <a:extLst>
                <a:ext uri="{FF2B5EF4-FFF2-40B4-BE49-F238E27FC236}">
                  <a16:creationId xmlns:a16="http://schemas.microsoft.com/office/drawing/2014/main" id="{67BE5B50-4DB7-4DED-B3F5-B4B3E8D42FBB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612084" y="3461816"/>
              <a:ext cx="2183232" cy="384938"/>
            </a:xfrm>
            <a:prstGeom prst="rect">
              <a:avLst/>
            </a:prstGeom>
            <a:ln>
              <a:solidFill>
                <a:srgbClr val="4C6C9C"/>
              </a:solidFill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108000" tIns="37319" rIns="108000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K carbon price floor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AC889A18-6130-4302-A98C-6403460318D0}"/>
                </a:ext>
              </a:extLst>
            </p:cNvPr>
            <p:cNvSpPr/>
            <p:nvPr/>
          </p:nvSpPr>
          <p:spPr>
            <a:xfrm>
              <a:off x="10519850" y="3461816"/>
              <a:ext cx="1235821" cy="384938"/>
            </a:xfrm>
            <a:prstGeom prst="rect">
              <a:avLst/>
            </a:prstGeom>
            <a:solidFill>
              <a:srgbClr val="97ADC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5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8D21E3F6-144A-446C-BC81-C8126E3763AD}"/>
                </a:ext>
              </a:extLst>
            </p:cNvPr>
            <p:cNvSpPr txBox="1"/>
            <p:nvPr/>
          </p:nvSpPr>
          <p:spPr>
            <a:xfrm>
              <a:off x="3892397" y="3499160"/>
              <a:ext cx="3073299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Power sector </a:t>
              </a: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0E886C59-F61B-47A3-A820-6CC12FED4521}"/>
              </a:ext>
            </a:extLst>
          </p:cNvPr>
          <p:cNvGrpSpPr/>
          <p:nvPr/>
        </p:nvGrpSpPr>
        <p:grpSpPr>
          <a:xfrm>
            <a:off x="1612084" y="4933665"/>
            <a:ext cx="10143587" cy="461665"/>
            <a:chOff x="1612084" y="3913695"/>
            <a:chExt cx="10143587" cy="461665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68C7FB32-E904-45FF-9F63-C573F2B3C778}"/>
                </a:ext>
              </a:extLst>
            </p:cNvPr>
            <p:cNvSpPr txBox="1"/>
            <p:nvPr/>
          </p:nvSpPr>
          <p:spPr>
            <a:xfrm>
              <a:off x="8177627" y="4019661"/>
              <a:ext cx="2159837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2,024 million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CBA4B4E-C7DA-473E-9394-509F2AD8467D}"/>
                </a:ext>
              </a:extLst>
            </p:cNvPr>
            <p:cNvSpPr txBox="1"/>
            <p:nvPr/>
          </p:nvSpPr>
          <p:spPr>
            <a:xfrm>
              <a:off x="7169230" y="4015577"/>
              <a:ext cx="1207899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12</a:t>
              </a:r>
            </a:p>
          </p:txBody>
        </p:sp>
        <p:sp>
          <p:nvSpPr>
            <p:cNvPr id="60" name="Rectangle 75">
              <a:extLst>
                <a:ext uri="{FF2B5EF4-FFF2-40B4-BE49-F238E27FC236}">
                  <a16:creationId xmlns:a16="http://schemas.microsoft.com/office/drawing/2014/main" id="{2BF42194-ADB9-44E7-9CF8-763A1654EC3A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612084" y="3969303"/>
              <a:ext cx="2183232" cy="384938"/>
            </a:xfrm>
            <a:prstGeom prst="rect">
              <a:avLst/>
            </a:prstGeom>
            <a:ln>
              <a:solidFill>
                <a:srgbClr val="4C6C9C"/>
              </a:solidFill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108000" tIns="37319" rIns="108000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alifornia Cap-and-Trade Program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E41E68B7-CA93-4B96-9F1E-0F86E9C994FF}"/>
                </a:ext>
              </a:extLst>
            </p:cNvPr>
            <p:cNvSpPr/>
            <p:nvPr/>
          </p:nvSpPr>
          <p:spPr>
            <a:xfrm>
              <a:off x="10519850" y="3969303"/>
              <a:ext cx="1235821" cy="384938"/>
            </a:xfrm>
            <a:prstGeom prst="rect">
              <a:avLst/>
            </a:prstGeom>
            <a:solidFill>
              <a:srgbClr val="97ADC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15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8DA956E5-8CB2-4EC2-A833-D71B7830CC34}"/>
                </a:ext>
              </a:extLst>
            </p:cNvPr>
            <p:cNvSpPr txBox="1"/>
            <p:nvPr/>
          </p:nvSpPr>
          <p:spPr>
            <a:xfrm>
              <a:off x="3892397" y="3913695"/>
              <a:ext cx="3273569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Industry, power, transport and buildings sectors</a:t>
              </a: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62A00FF2-F998-4EBF-828D-541D4CBFAF3E}"/>
              </a:ext>
            </a:extLst>
          </p:cNvPr>
          <p:cNvGrpSpPr/>
          <p:nvPr/>
        </p:nvGrpSpPr>
        <p:grpSpPr>
          <a:xfrm>
            <a:off x="1612084" y="3418103"/>
            <a:ext cx="10143587" cy="461665"/>
            <a:chOff x="1612084" y="4420563"/>
            <a:chExt cx="10143587" cy="461665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608AC6A8-A547-4A03-8DA6-5C5A9929AD38}"/>
                </a:ext>
              </a:extLst>
            </p:cNvPr>
            <p:cNvSpPr txBox="1"/>
            <p:nvPr/>
          </p:nvSpPr>
          <p:spPr>
            <a:xfrm>
              <a:off x="8177627" y="4527147"/>
              <a:ext cx="2159837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6,850 million 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719647A0-2834-4101-9866-E68295F3BA06}"/>
                </a:ext>
              </a:extLst>
            </p:cNvPr>
            <p:cNvSpPr txBox="1"/>
            <p:nvPr/>
          </p:nvSpPr>
          <p:spPr>
            <a:xfrm>
              <a:off x="7169230" y="4523063"/>
              <a:ext cx="1207899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05</a:t>
              </a:r>
            </a:p>
          </p:txBody>
        </p:sp>
        <p:sp>
          <p:nvSpPr>
            <p:cNvPr id="63" name="Rectangle 75">
              <a:extLst>
                <a:ext uri="{FF2B5EF4-FFF2-40B4-BE49-F238E27FC236}">
                  <a16:creationId xmlns:a16="http://schemas.microsoft.com/office/drawing/2014/main" id="{5A0E4364-7CE7-4717-943A-A72E291F8E11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612084" y="4476788"/>
              <a:ext cx="2183232" cy="384938"/>
            </a:xfrm>
            <a:prstGeom prst="rect">
              <a:avLst/>
            </a:prstGeom>
            <a:ln>
              <a:solidFill>
                <a:srgbClr val="4C6C9C"/>
              </a:solidFill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108000" tIns="37319" rIns="108000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European Union Emissions Trading System</a:t>
              </a:r>
              <a:endParaRPr kumimoji="0" lang="en-US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571FDB64-A047-4852-8868-47B5012EC0D2}"/>
                </a:ext>
              </a:extLst>
            </p:cNvPr>
            <p:cNvSpPr/>
            <p:nvPr/>
          </p:nvSpPr>
          <p:spPr>
            <a:xfrm>
              <a:off x="10519850" y="4476788"/>
              <a:ext cx="1235821" cy="384938"/>
            </a:xfrm>
            <a:prstGeom prst="rect">
              <a:avLst/>
            </a:prstGeom>
            <a:solidFill>
              <a:srgbClr val="97ADC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16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C891BE5B-C5F4-43B9-AB90-DEFE924EBF2E}"/>
                </a:ext>
              </a:extLst>
            </p:cNvPr>
            <p:cNvSpPr txBox="1"/>
            <p:nvPr/>
          </p:nvSpPr>
          <p:spPr>
            <a:xfrm>
              <a:off x="3892397" y="4420563"/>
              <a:ext cx="3073299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Power, industry (with some free allocations) &amp; intra-European aviation</a:t>
              </a: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0EF17C17-8236-4A6D-909C-BA2C20EC097C}"/>
              </a:ext>
            </a:extLst>
          </p:cNvPr>
          <p:cNvGrpSpPr/>
          <p:nvPr/>
        </p:nvGrpSpPr>
        <p:grpSpPr>
          <a:xfrm>
            <a:off x="1612084" y="5977653"/>
            <a:ext cx="10143587" cy="384938"/>
            <a:chOff x="1612084" y="4984274"/>
            <a:chExt cx="10143587" cy="384938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BAA2F9B0-CF92-4ABB-BE8C-FCE8C3F2F5B3}"/>
                </a:ext>
              </a:extLst>
            </p:cNvPr>
            <p:cNvSpPr txBox="1"/>
            <p:nvPr/>
          </p:nvSpPr>
          <p:spPr>
            <a:xfrm>
              <a:off x="8177627" y="5034633"/>
              <a:ext cx="2159837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       3 million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B4E0DF49-DC66-40C9-AF87-510003F20773}"/>
                </a:ext>
              </a:extLst>
            </p:cNvPr>
            <p:cNvSpPr txBox="1"/>
            <p:nvPr/>
          </p:nvSpPr>
          <p:spPr>
            <a:xfrm>
              <a:off x="7169230" y="5030549"/>
              <a:ext cx="1207899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13</a:t>
              </a:r>
            </a:p>
          </p:txBody>
        </p:sp>
        <p:sp>
          <p:nvSpPr>
            <p:cNvPr id="64" name="Rectangle 75">
              <a:extLst>
                <a:ext uri="{FF2B5EF4-FFF2-40B4-BE49-F238E27FC236}">
                  <a16:creationId xmlns:a16="http://schemas.microsoft.com/office/drawing/2014/main" id="{6B30D026-0297-4BAF-925F-BCA78230DFCB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12084" y="4984274"/>
              <a:ext cx="2183232" cy="384938"/>
            </a:xfrm>
            <a:prstGeom prst="rect">
              <a:avLst/>
            </a:prstGeom>
            <a:ln>
              <a:solidFill>
                <a:srgbClr val="4C6C9C"/>
              </a:solidFill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108000" tIns="37319" rIns="108000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Guangdong Pilot ETS (China)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758FB98B-E6C5-4C94-84DF-3E8E305DDBDC}"/>
                </a:ext>
              </a:extLst>
            </p:cNvPr>
            <p:cNvSpPr/>
            <p:nvPr/>
          </p:nvSpPr>
          <p:spPr>
            <a:xfrm>
              <a:off x="10519850" y="4984274"/>
              <a:ext cx="1235821" cy="384938"/>
            </a:xfrm>
            <a:prstGeom prst="rect">
              <a:avLst/>
            </a:prstGeom>
            <a:solidFill>
              <a:srgbClr val="97ADC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5BE86810-2223-4688-9DE2-33BD9520FECF}"/>
                </a:ext>
              </a:extLst>
            </p:cNvPr>
            <p:cNvSpPr txBox="1"/>
            <p:nvPr/>
          </p:nvSpPr>
          <p:spPr>
            <a:xfrm>
              <a:off x="3892397" y="5019764"/>
              <a:ext cx="3073299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Industry, power and aviation sectors</a:t>
              </a: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8C9516B1-DF48-4AF0-B264-4E86FA53EE3B}"/>
              </a:ext>
            </a:extLst>
          </p:cNvPr>
          <p:cNvGrpSpPr/>
          <p:nvPr/>
        </p:nvGrpSpPr>
        <p:grpSpPr>
          <a:xfrm>
            <a:off x="1612084" y="4414364"/>
            <a:ext cx="10143587" cy="461665"/>
            <a:chOff x="1612084" y="5434299"/>
            <a:chExt cx="10143587" cy="461665"/>
          </a:xfrm>
        </p:grpSpPr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D50B9C67-B09B-4F33-A9DB-E705C3518370}"/>
                </a:ext>
              </a:extLst>
            </p:cNvPr>
            <p:cNvSpPr txBox="1"/>
            <p:nvPr/>
          </p:nvSpPr>
          <p:spPr>
            <a:xfrm>
              <a:off x="8177627" y="5542119"/>
              <a:ext cx="2159837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  198 million 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335A0D48-223B-4D91-A696-6FA36F5C01AD}"/>
                </a:ext>
              </a:extLst>
            </p:cNvPr>
            <p:cNvSpPr txBox="1"/>
            <p:nvPr/>
          </p:nvSpPr>
          <p:spPr>
            <a:xfrm>
              <a:off x="7169230" y="5538035"/>
              <a:ext cx="1207899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09</a:t>
              </a:r>
            </a:p>
          </p:txBody>
        </p:sp>
        <p:sp>
          <p:nvSpPr>
            <p:cNvPr id="52" name="Rectangle 75">
              <a:extLst>
                <a:ext uri="{FF2B5EF4-FFF2-40B4-BE49-F238E27FC236}">
                  <a16:creationId xmlns:a16="http://schemas.microsoft.com/office/drawing/2014/main" id="{D5B3257A-8B04-43FC-ADBF-98E73C12F7E9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612084" y="5491760"/>
              <a:ext cx="2183232" cy="384938"/>
            </a:xfrm>
            <a:prstGeom prst="rect">
              <a:avLst/>
            </a:prstGeom>
            <a:ln>
              <a:solidFill>
                <a:srgbClr val="4C6C9C"/>
              </a:solidFill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108000" tIns="37319" rIns="108000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A Regional GHG Initiative</a:t>
              </a:r>
              <a:endParaRPr kumimoji="0" lang="en-US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A4B6DB6A-561F-491F-9FD1-B8FCE3BADF06}"/>
                </a:ext>
              </a:extLst>
            </p:cNvPr>
            <p:cNvSpPr/>
            <p:nvPr/>
          </p:nvSpPr>
          <p:spPr>
            <a:xfrm>
              <a:off x="10519850" y="5491760"/>
              <a:ext cx="1235821" cy="384938"/>
            </a:xfrm>
            <a:prstGeom prst="rect">
              <a:avLst/>
            </a:prstGeom>
            <a:solidFill>
              <a:srgbClr val="97ADC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4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1704A34E-3B8C-4DD1-A22B-803CDDA1C825}"/>
                </a:ext>
              </a:extLst>
            </p:cNvPr>
            <p:cNvSpPr txBox="1"/>
            <p:nvPr/>
          </p:nvSpPr>
          <p:spPr>
            <a:xfrm>
              <a:off x="3892397" y="5434299"/>
              <a:ext cx="3073299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arbon emissions from power plants. First mandatory ETS in the USA.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26FAE9F3-A5EA-4832-A21D-E00611E607DC}"/>
              </a:ext>
            </a:extLst>
          </p:cNvPr>
          <p:cNvGrpSpPr/>
          <p:nvPr/>
        </p:nvGrpSpPr>
        <p:grpSpPr>
          <a:xfrm>
            <a:off x="1612084" y="3974407"/>
            <a:ext cx="10143587" cy="384938"/>
            <a:chOff x="1612084" y="5999249"/>
            <a:chExt cx="10143587" cy="384938"/>
          </a:xfrm>
        </p:grpSpPr>
        <p:sp>
          <p:nvSpPr>
            <p:cNvPr id="58" name="Rectangle 75">
              <a:extLst>
                <a:ext uri="{FF2B5EF4-FFF2-40B4-BE49-F238E27FC236}">
                  <a16:creationId xmlns:a16="http://schemas.microsoft.com/office/drawing/2014/main" id="{3C5A5ABC-942A-4D93-BFDC-127F32301588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612084" y="5999249"/>
              <a:ext cx="2183232" cy="384938"/>
            </a:xfrm>
            <a:prstGeom prst="rect">
              <a:avLst/>
            </a:prstGeom>
            <a:ln>
              <a:solidFill>
                <a:srgbClr val="4C6C9C"/>
              </a:solidFill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108000" tIns="37319" rIns="108000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witzerland Emissions Trading System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C5CAE901-8112-45E1-9CF3-DF71F477530A}"/>
                </a:ext>
              </a:extLst>
            </p:cNvPr>
            <p:cNvSpPr txBox="1"/>
            <p:nvPr/>
          </p:nvSpPr>
          <p:spPr>
            <a:xfrm>
              <a:off x="8177627" y="6049608"/>
              <a:ext cx="2159837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      5 million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8237094E-4FE1-4347-8C2D-5A5E428400FA}"/>
                </a:ext>
              </a:extLst>
            </p:cNvPr>
            <p:cNvSpPr/>
            <p:nvPr/>
          </p:nvSpPr>
          <p:spPr>
            <a:xfrm>
              <a:off x="10519850" y="5999249"/>
              <a:ext cx="1235821" cy="384938"/>
            </a:xfrm>
            <a:prstGeom prst="rect">
              <a:avLst/>
            </a:prstGeom>
            <a:solidFill>
              <a:srgbClr val="97ADC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8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6D8D6FBE-4509-4C7F-82CB-082B591D8F0B}"/>
                </a:ext>
              </a:extLst>
            </p:cNvPr>
            <p:cNvSpPr txBox="1"/>
            <p:nvPr/>
          </p:nvSpPr>
          <p:spPr>
            <a:xfrm>
              <a:off x="7169230" y="6045524"/>
              <a:ext cx="1207899" cy="2923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008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F28F3385-557C-46C1-9BCF-2C327065B537}"/>
                </a:ext>
              </a:extLst>
            </p:cNvPr>
            <p:cNvSpPr txBox="1"/>
            <p:nvPr/>
          </p:nvSpPr>
          <p:spPr>
            <a:xfrm>
              <a:off x="3892397" y="6033504"/>
              <a:ext cx="3073299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Industry and power sect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7653471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7" name="think-cell Slide" r:id="rId99" imgW="449" imgH="450" progId="TCLayout.ActiveDocument.1">
                  <p:embed/>
                </p:oleObj>
              </mc:Choice>
              <mc:Fallback>
                <p:oleObj name="think-cell Slide" r:id="rId99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30F5A4-7B87-4EE6-B387-A65337FC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32" y="265139"/>
            <a:ext cx="11870324" cy="307777"/>
          </a:xfrm>
        </p:spPr>
        <p:txBody>
          <a:bodyPr/>
          <a:lstStyle/>
          <a:p>
            <a:r>
              <a:rPr lang="en-US" sz="2000" dirty="0"/>
              <a:t>Demand-side decarbonization is feasible at a lower cost than supply-side decarbonization</a:t>
            </a:r>
            <a:endParaRPr lang="en-GB" sz="2000" b="0" baseline="-25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9EA2236-2690-438D-94DA-688427C793A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061575" y="1746250"/>
            <a:ext cx="123825" cy="1620838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7043CA0-269C-41CC-9B5A-34FA6522E5F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451975" y="1989138"/>
            <a:ext cx="609600" cy="1377950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E475B615-82C2-4805-9A7E-1F01D6C63C5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709025" y="2070100"/>
            <a:ext cx="742950" cy="1296988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619A16A8-1CEF-40FE-85AE-00FA16EC0DE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497888" y="2393950"/>
            <a:ext cx="211138" cy="97313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1E9F8A54-E704-4462-A979-B4DE20BCF1E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301038" y="2474913"/>
            <a:ext cx="196850" cy="89217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5C962A9-EEAF-4172-9797-F96102EFFD41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807325" y="2557463"/>
            <a:ext cx="493713" cy="809625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492D35-58E0-4642-80D3-9DB16DFA41FD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610475" y="2719388"/>
            <a:ext cx="196850" cy="647700"/>
          </a:xfrm>
          <a:prstGeom prst="rect">
            <a:avLst/>
          </a:prstGeom>
          <a:solidFill>
            <a:srgbClr val="9DB1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46E3DCB5-B8E2-4B9D-BC82-2AA3A779263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062663" y="2800350"/>
            <a:ext cx="1547813" cy="5667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61E5684-CB3A-472A-8212-C536CE72C172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862638" y="2881313"/>
            <a:ext cx="200025" cy="485775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DAA5334B-5DA7-4A79-B497-81E17B885F6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408613" y="3286125"/>
            <a:ext cx="454025" cy="8096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CF5AD769-D2EA-479D-AFC3-EAFA35D183F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830763" y="3367088"/>
            <a:ext cx="577850" cy="161925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CB514F77-C552-450E-8CF4-2CF0D46B021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995738" y="3367088"/>
            <a:ext cx="835025" cy="24288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4B4AEE88-CED4-4A24-A30D-1DBE420C97A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435350" y="3367088"/>
            <a:ext cx="560388" cy="242887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4F94CFB-17CC-475D-ABF4-3E5717D99BA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195638" y="3367088"/>
            <a:ext cx="239713" cy="647700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59A59D59-27DC-40AA-BECB-9722FB7805C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239963" y="3367088"/>
            <a:ext cx="955675" cy="97313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7631CACF-83FA-458F-BF86-DBC707B92B1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041525" y="3367088"/>
            <a:ext cx="198438" cy="1620837"/>
          </a:xfrm>
          <a:prstGeom prst="rect">
            <a:avLst/>
          </a:prstGeom>
          <a:solidFill>
            <a:srgbClr val="9DB1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77B369D-C450-4E62-92C0-23837771EECD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719263" y="3367088"/>
            <a:ext cx="322263" cy="1620837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659FC3C-56F3-431D-828A-E7BD482C3EA1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655763" y="3367088"/>
            <a:ext cx="63500" cy="1620837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F186CA2-2545-41E0-85C6-160981A4776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392238" y="3367088"/>
            <a:ext cx="263525" cy="1620837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0A335C8-DF83-4D21-9D8D-481916CA7D4A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281113" y="3367088"/>
            <a:ext cx="111125" cy="1620837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441" name="Straight Connector 440">
            <a:extLst>
              <a:ext uri="{FF2B5EF4-FFF2-40B4-BE49-F238E27FC236}">
                <a16:creationId xmlns:a16="http://schemas.microsoft.com/office/drawing/2014/main" id="{9E8E89F3-41BF-47A3-9244-3E8F9CB6739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278606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ACB3E5B-EFC5-40C2-A2BA-510B6AF6B09C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276350" y="3367088"/>
            <a:ext cx="90392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5" name="Straight Connector 444">
            <a:extLst>
              <a:ext uri="{FF2B5EF4-FFF2-40B4-BE49-F238E27FC236}">
                <a16:creationId xmlns:a16="http://schemas.microsoft.com/office/drawing/2014/main" id="{A18510BB-0EA9-4BB1-BC27-99D298301F78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880586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6294323F-F2FF-4AAC-A351-250588AC01C5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222375" y="17462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72B39605-E37E-4438-BCAD-BACE63EEBF43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1281113" y="3697288"/>
            <a:ext cx="0" cy="12954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6" name="Straight Connector 445">
            <a:extLst>
              <a:ext uri="{FF2B5EF4-FFF2-40B4-BE49-F238E27FC236}">
                <a16:creationId xmlns:a16="http://schemas.microsoft.com/office/drawing/2014/main" id="{881C230D-48B6-4F00-9798-99D2C9E7826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1031081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4B9B53C2-7468-40B1-8D6C-4FB16ACE129A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128111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59364BA6-83FF-4CB4-8BBB-3FA977D52F35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1281113" y="1741488"/>
            <a:ext cx="0" cy="17430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BA99CCD-6B0F-42C3-B0FE-8C6C0B9E9CDE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1222375" y="33670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28CB2CB-E178-4043-BF6B-55E52BD2CE8E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1222375" y="25574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3" name="Straight Connector 442">
            <a:extLst>
              <a:ext uri="{FF2B5EF4-FFF2-40B4-BE49-F238E27FC236}">
                <a16:creationId xmlns:a16="http://schemas.microsoft.com/office/drawing/2014/main" id="{7270E104-65B4-421F-BAF6-2F8475FE7400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V="1">
            <a:off x="579596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60D6E98A-54FD-40E4-A6F5-BAC122B7932F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1222375" y="49879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Straight Connector 441">
            <a:extLst>
              <a:ext uri="{FF2B5EF4-FFF2-40B4-BE49-F238E27FC236}">
                <a16:creationId xmlns:a16="http://schemas.microsoft.com/office/drawing/2014/main" id="{6D3B7C76-A29E-4AA3-A6DE-A2013F35EEEB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429101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7414FAA7-BE39-40F7-AFAD-D52F62139C75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222375" y="41783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4" name="Straight Connector 443">
            <a:extLst>
              <a:ext uri="{FF2B5EF4-FFF2-40B4-BE49-F238E27FC236}">
                <a16:creationId xmlns:a16="http://schemas.microsoft.com/office/drawing/2014/main" id="{79607067-62A6-48F5-978A-1FD1716B3AB4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V="1">
            <a:off x="7300913" y="33670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5" name="Rectangle 434">
            <a:extLst>
              <a:ext uri="{FF2B5EF4-FFF2-40B4-BE49-F238E27FC236}">
                <a16:creationId xmlns:a16="http://schemas.microsoft.com/office/drawing/2014/main" id="{C6476AC9-5B72-43F3-8010-553198B8A7F5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2687638" y="3484563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64FF167-5847-4211-873F-D3A7A728B683}" type="datetime'''''5''''''''''0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77404B0F-CBD1-47F3-8ADF-A47D845833F0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64832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D1680CC-3BBB-4D84-B65B-3C253FE0DF92}" type="datetime'''''''''''''1''''''''''''''''''''''''''''''''''50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D8B578EF-AFF6-46B6-8A4F-B8A61089E245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865822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63C1413-A18A-4085-A653-31A1F9DD77C3}" type="datetime'''''''2''''5''''''''''''''''''''''''''0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66070A31-A766-49A9-A448-3266890ECE68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414337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9037CF8-2840-4D33-B5A4-7D03D90BB578}" type="datetime'''''''''1''''''''0''''''''''''''''''0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D73572F2-D795-41AA-A3EC-E25B2EBC596C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908050" y="245110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EFC7EFB-0541-4347-859D-953C0EEC2956}" type="datetime'''''''''''''''5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1FFDA935-74C5-443D-B222-E0122334C58A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849313" y="4071938"/>
            <a:ext cx="2555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5384E3A-8D06-48D1-847F-C4675CEE6C30}" type="datetime'''''-''''''''''''''''''''''5''''''''''''''''''''''''0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5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5798B984-1E8B-486D-A554-5EDCAE5BB4A9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750888" y="4881563"/>
            <a:ext cx="3540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E0004A0-0B94-443F-BE59-38E157ED9FC0}" type="datetime'''''-''''''''1''''0''''''''''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-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0D519791-4822-4CE7-8842-7EC8D8CE2826}"/>
              </a:ext>
            </a:extLst>
          </p:cNvPr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1231900" y="3484563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4851B02-2644-48D8-A493-997B286DB7BD}" type="datetime'''''''''''''''''''''''''''0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EDB41A7F-4D66-4195-8BE6-598D66BF5186}"/>
              </a:ext>
            </a:extLst>
          </p:cNvPr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715327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53F77BF-AB84-4231-8A49-745B4796D179}" type="datetime'2''''''''''''''''''''0''''0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E5F8385D-EDA3-4755-8458-30138AB028B8}"/>
              </a:ext>
            </a:extLst>
          </p:cNvPr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809625" y="1639888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911617F-0FDE-432A-8EA8-917B78C6E30B}" type="datetime'''''''''''''1''''''''''''''''''''''''''''''0''''''''0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E3C44FAC-1E6F-4672-B2B0-D52829995488}"/>
              </a:ext>
            </a:extLst>
          </p:cNvPr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1006475" y="3260725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A1F7207-0B99-43B2-AA61-6CB408D8F320}" type="datetime'''''''''0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40" name="Rectangle 439">
            <a:extLst>
              <a:ext uri="{FF2B5EF4-FFF2-40B4-BE49-F238E27FC236}">
                <a16:creationId xmlns:a16="http://schemas.microsoft.com/office/drawing/2014/main" id="{FFAF3295-12BD-4605-BE25-5C64A23121BD}"/>
              </a:ext>
            </a:extLst>
          </p:cNvPr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10163175" y="3484563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6666280-4130-48C5-A7E3-2E714391A1A2}" type="datetime'3''''''0''''0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300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473DD89-D75D-4FF0-AD48-6DDFD3C789ED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5635625" y="4987925"/>
            <a:ext cx="0" cy="646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F96D67-5A44-413D-8888-F2BF68B9D9F7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 flipV="1">
            <a:off x="6835775" y="4987925"/>
            <a:ext cx="0" cy="1174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B94FA1-1788-420C-9A8C-953A7430548A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 flipV="1">
            <a:off x="5962650" y="4987925"/>
            <a:ext cx="0" cy="9985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164CD85-3A21-4DD9-8091-85B8C8828673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V="1">
            <a:off x="1879600" y="4987925"/>
            <a:ext cx="0" cy="646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E45D386-B396-4832-A708-0B971236E416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V="1">
            <a:off x="8399463" y="4987925"/>
            <a:ext cx="0" cy="822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06B334B-38C8-45D6-A770-C2DFC5B10C6E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 flipV="1">
            <a:off x="8602663" y="4987925"/>
            <a:ext cx="0" cy="646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72D169B-70D8-44CD-8E33-315043EC0DF3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 flipV="1">
            <a:off x="9080500" y="4987925"/>
            <a:ext cx="0" cy="469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CF0449B-13BD-4846-9A9D-B62939FE4232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 flipV="1">
            <a:off x="1687513" y="4987925"/>
            <a:ext cx="0" cy="469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50D4868-AAFC-4659-A7EB-C513A28DBDF4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 flipV="1">
            <a:off x="7708900" y="4987925"/>
            <a:ext cx="0" cy="9985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31A4FE6-F339-4D30-B265-B28517575175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 flipV="1">
            <a:off x="2139950" y="4987925"/>
            <a:ext cx="0" cy="822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7B8FAF0-1718-48B1-8395-60447A0574FA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 flipV="1">
            <a:off x="5119688" y="4987925"/>
            <a:ext cx="0" cy="469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EAE4FB6-CCC6-41F3-A9BA-360F40706DD1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 flipV="1">
            <a:off x="2717800" y="4987925"/>
            <a:ext cx="0" cy="9985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401F50D-CA17-4950-9528-C47F4E03B9CD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 flipV="1">
            <a:off x="3314700" y="4987925"/>
            <a:ext cx="0" cy="822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Rectangle 302">
            <a:extLst>
              <a:ext uri="{FF2B5EF4-FFF2-40B4-BE49-F238E27FC236}">
                <a16:creationId xmlns:a16="http://schemas.microsoft.com/office/drawing/2014/main" id="{11B4D5A1-20BF-4EC9-9A97-846153F16CDA}"/>
              </a:ext>
            </a:extLst>
          </p:cNvPr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auto">
          <a:xfrm>
            <a:off x="1778000" y="5986463"/>
            <a:ext cx="18796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C1364B2-AD47-47A5-A578-5EEEC8A450B3}" type="datetime'Hi''''ghe''''''r ''''qua''lit''y r''''ecycl''i''''''n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Higher quality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21A2B767-BC50-46AC-A276-94ABE1D8F421}"/>
              </a:ext>
            </a:extLst>
          </p:cNvPr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auto">
          <a:xfrm>
            <a:off x="3859213" y="5457825"/>
            <a:ext cx="1524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AF4932D-F76A-435E-84CB-0CE41F813EE8}" type="datetime'Incr''e''''a''''s''''''''e'' ''''''col''le''c''ti''o''''n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ncrease colle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4721677-68D2-4A3C-A637-D728E611CD14}"/>
              </a:ext>
            </a:extLst>
          </p:cNvPr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auto">
          <a:xfrm>
            <a:off x="350838" y="5281613"/>
            <a:ext cx="12795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E30DE4F-C1A7-47AC-8BE1-AFCB10E12877}" type="datetime''' P''''''''rol''''''o''''''''n''g ''li''''''f''e''''ti''me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 Prolong lifetim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6246C38-09B9-47D3-8F5D-8BB26BC8B7D1}"/>
              </a:ext>
            </a:extLst>
          </p:cNvPr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auto">
          <a:xfrm>
            <a:off x="868363" y="5105400"/>
            <a:ext cx="4984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32D1E9C6-746C-4351-8BBD-928F570CE1AF}" type="datetime''''''' S''''''''''h''''a''''''''''''r''''''''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 Shar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16D28E7D-470F-43C5-A00B-BD1F2463ED2E}"/>
              </a:ext>
            </a:extLst>
          </p:cNvPr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auto">
          <a:xfrm>
            <a:off x="7635875" y="5986463"/>
            <a:ext cx="15557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105B1B1-B3E3-4A3D-9546-9BDDA29BEF32}" type="datetime'''''M''ateria''ls'' ''''''e''''''ff''ici''enc''''y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Materials efficienc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D399598B-F9B8-4496-B07A-87911E640613}"/>
              </a:ext>
            </a:extLst>
          </p:cNvPr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296863" y="5457825"/>
            <a:ext cx="1397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6E4DC64-5019-4DB8-ADA0-72AF66FB3F30}" type="datetime'''R''em''anuf''''''''act''ur''''''''''i''''''''n''g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manufactur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55D921E-8EB7-4595-A177-48DF33844F55}"/>
              </a:ext>
            </a:extLst>
          </p:cNvPr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473075" y="5634038"/>
            <a:ext cx="15430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0BF3E15-0F3C-4FA7-8058-186BB50F2F1A}" type="datetime'''F''''lo''or sp''ac''e'' sh''''''a''rin''''''''''''g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Floor space shar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FB91DD83-75E6-4BE9-B75A-164F7628A3D6}"/>
              </a:ext>
            </a:extLst>
          </p:cNvPr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4435475" y="5986463"/>
            <a:ext cx="16017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A784BA1-CB7D-4031-82A1-5BF6C026C54D}" type="datetime'''A''v''o''''i''d ''d''o''wn''''''''g''''''''r''adi''''ng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void downgrad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0AD67B0E-0E24-4D86-913F-BB4B7DBCB727}"/>
              </a:ext>
            </a:extLst>
          </p:cNvPr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auto">
          <a:xfrm>
            <a:off x="3221038" y="5810250"/>
            <a:ext cx="24812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EB61352-C084-40A5-B4F2-D229961BAB25}" type="datetime'''''''Redu''ced ''''w''a''ste i''n c''''''o''ns''tructio''n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duced waste in constru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1E74234F-01ED-4991-92C8-AA43E28AF977}"/>
              </a:ext>
            </a:extLst>
          </p:cNvPr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auto">
          <a:xfrm>
            <a:off x="3460750" y="5281613"/>
            <a:ext cx="12779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5BFA598-A10D-4519-A87F-4530C6746F07}" type="datetime'''Redu''''''''ce'''''' ''''''c''o''pp''e''''''''''''''''r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duce copper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78CA6C60-7756-4489-AF41-96D789B1A78B}"/>
              </a:ext>
            </a:extLst>
          </p:cNvPr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auto">
          <a:xfrm>
            <a:off x="8523288" y="5634038"/>
            <a:ext cx="20431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B022E8A9-CFD1-4C55-AAC3-087D004E5201}" type="datetime'R''''''e''d''u''''''ce'' fa''''bri''cat''io''''''n'' l''osses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duce fabrication losse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9B5FE283-5973-4147-A0C0-D3D91B3B9BF8}"/>
              </a:ext>
            </a:extLst>
          </p:cNvPr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auto">
          <a:xfrm>
            <a:off x="7832725" y="5105400"/>
            <a:ext cx="5254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F244366-B256-4A23-82F0-2C2BCE333C7D}" type="datetime'''''R''e''''''''u''''''''''s''e'''''''''''''''''''''''''' 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use 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FD345C32-C1F4-4F32-8C70-7819CB89B9C1}"/>
              </a:ext>
            </a:extLst>
          </p:cNvPr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auto">
          <a:xfrm>
            <a:off x="628650" y="5810250"/>
            <a:ext cx="15859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843F7123-ACD7-4FA5-BE11-9AB99E142CAE}" type="datetime'''S''h''aring ''''''an''''''''''''''d ''l''''''if''etim''e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haring and lifetim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2534CA89-300D-43A2-AFDE-0BF079DED0AC}"/>
              </a:ext>
            </a:extLst>
          </p:cNvPr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auto">
          <a:xfrm>
            <a:off x="8326438" y="5810250"/>
            <a:ext cx="15668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2573DB92-2650-4B0B-978B-0C26CDEC2250}" type="datetime'''''C''h''''''''''''em''''ical'' ''rec''''''''yclin''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hemical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53F5F6A4-C03F-4C23-99A3-D9621139443D}"/>
              </a:ext>
            </a:extLst>
          </p:cNvPr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auto">
          <a:xfrm>
            <a:off x="8734425" y="5457825"/>
            <a:ext cx="14446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AA22C00-C9F1-4C1C-9465-1F73878E35A3}" type="datetime'C''''''e''m''e''''''nt'' ''r''ec''''''''y''''c''''lin''''g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 recycl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150D4267-4EA4-4C1D-97BA-4279CB3DE9C9}"/>
              </a:ext>
            </a:extLst>
          </p:cNvPr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auto">
          <a:xfrm>
            <a:off x="4173538" y="5105400"/>
            <a:ext cx="4794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9A542AF-13A6-4687-A8B8-ECBAE0FC9B3B}" type="datetime'''''''''''R''e''''''''''''''''''''u''s''''''''e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Reuse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9936708C-3265-434B-83F4-52B013678718}"/>
              </a:ext>
            </a:extLst>
          </p:cNvPr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auto">
          <a:xfrm>
            <a:off x="10086975" y="5105400"/>
            <a:ext cx="11652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64A227E-9CF7-4780-876B-D03E12CF54D8}" type="datetime'''''L''''''igh''''''''t''''w''e''''''''''''i''gh''''tin''g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Lightweighting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BA2C0D70-0AF7-4C5F-80DA-734396D0D5DF}"/>
              </a:ext>
            </a:extLst>
          </p:cNvPr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auto">
          <a:xfrm>
            <a:off x="5340350" y="6162675"/>
            <a:ext cx="29924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54B6BC9-8201-4026-B2D1-BF7F82819361}" type="datetime'I''''''n''creased re''''cycling at'' current q''ua''''lity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ncreased recycling at current qualit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726177FE-5F50-4A25-BE2F-66CEB1AE4299}"/>
              </a:ext>
            </a:extLst>
          </p:cNvPr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auto">
          <a:xfrm>
            <a:off x="9477375" y="5281613"/>
            <a:ext cx="15557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8398D5D-C391-4953-AD9D-C88A92600643}" type="datetime'''M''''''a''''te''r''i''a''''ls'' ''e''ff''ic''i''e''ncy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Materials efficienc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FBE35771-33A4-4743-A63E-21A7420C2E17}"/>
              </a:ext>
            </a:extLst>
          </p:cNvPr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auto">
          <a:xfrm>
            <a:off x="4313238" y="5634038"/>
            <a:ext cx="1524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7088BAE2-1B71-4C0E-BDD3-8641707BE114}" type="datetime'I''n''''''''c''rease'' ''''c''oll''''''''''''ecti''on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Increase collection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472" name="Rectangle 471">
            <a:extLst>
              <a:ext uri="{FF2B5EF4-FFF2-40B4-BE49-F238E27FC236}">
                <a16:creationId xmlns:a16="http://schemas.microsoft.com/office/drawing/2014/main" id="{D9130C7B-8DB8-4F93-8609-FBFE1959142B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10817225" y="2308225"/>
            <a:ext cx="231775" cy="173038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2F4A417D-5C16-48AB-9CDA-A0A0F78043BE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10817225" y="2058988"/>
            <a:ext cx="231775" cy="17303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69" name="Rectangle 468">
            <a:extLst>
              <a:ext uri="{FF2B5EF4-FFF2-40B4-BE49-F238E27FC236}">
                <a16:creationId xmlns:a16="http://schemas.microsoft.com/office/drawing/2014/main" id="{290E436B-FDC8-439D-829B-162B90D8BF6A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10817225" y="1560513"/>
            <a:ext cx="231775" cy="173038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4EDE944B-0CDE-467B-A109-48DE11890093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10817225" y="1809750"/>
            <a:ext cx="231775" cy="1730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A685D70-1DDA-4845-AFAC-6C249B3AFE2A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10817225" y="2557463"/>
            <a:ext cx="231775" cy="173038"/>
          </a:xfrm>
          <a:prstGeom prst="rect">
            <a:avLst/>
          </a:prstGeom>
          <a:solidFill>
            <a:srgbClr val="E3CC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72A03ED-DA2B-480D-894E-4C8F7EF2F9CD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10817225" y="2806700"/>
            <a:ext cx="231775" cy="173038"/>
          </a:xfrm>
          <a:prstGeom prst="rect">
            <a:avLst/>
          </a:prstGeom>
          <a:solidFill>
            <a:srgbClr val="BB5C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1C92D22-941A-4755-A588-49930530BFA4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10817225" y="3055938"/>
            <a:ext cx="231775" cy="173038"/>
          </a:xfrm>
          <a:prstGeom prst="rect">
            <a:avLst/>
          </a:prstGeom>
          <a:solidFill>
            <a:srgbClr val="9DB1C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68" name="Rectangle 367">
            <a:extLst>
              <a:ext uri="{FF2B5EF4-FFF2-40B4-BE49-F238E27FC236}">
                <a16:creationId xmlns:a16="http://schemas.microsoft.com/office/drawing/2014/main" id="{488282C5-F51F-40B2-89B7-7A6F67D343CF}"/>
              </a:ext>
            </a:extLst>
          </p:cNvPr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auto">
          <a:xfrm>
            <a:off x="11099800" y="1554163"/>
            <a:ext cx="800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6B688A1-65E8-4B01-9124-0F8F67EAFD5C}" type="datetime'''''''''''''Al''''''''''''u''''m''''''''i''''''''nu''m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Aluminum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432BEA12-EADE-43A3-8EA4-F3A4AE16BFF9}"/>
              </a:ext>
            </a:extLst>
          </p:cNvPr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auto">
          <a:xfrm>
            <a:off x="11099800" y="1803400"/>
            <a:ext cx="5667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1223B3BA-5F07-47A0-9D56-8B41B92C2CE5}" type="datetime'''''''''''''''Pl''''''''a''''st''ic''''''''''''''''s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Plastic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D58B817A-03B2-4FCA-904F-D13581C40183}"/>
              </a:ext>
            </a:extLst>
          </p:cNvPr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auto">
          <a:xfrm>
            <a:off x="11099801" y="2551113"/>
            <a:ext cx="6826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B3CD51C-5E22-465B-A712-4EC182393FC9}" type="datetime'''''B''u''''''i''''''''''l''''d''''''''''i''''n''''gs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uilding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71DAEDD2-72B0-4F53-857A-74575E7C4FDF}"/>
              </a:ext>
            </a:extLst>
          </p:cNvPr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auto">
          <a:xfrm>
            <a:off x="11099800" y="2052638"/>
            <a:ext cx="3873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4F63B173-BFC7-49F0-BB0B-2258A419EA77}" type="datetime'''''S''''''''''tee''''''''''''''''''''''''''l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Steel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371" name="Rectangle 370">
            <a:extLst>
              <a:ext uri="{FF2B5EF4-FFF2-40B4-BE49-F238E27FC236}">
                <a16:creationId xmlns:a16="http://schemas.microsoft.com/office/drawing/2014/main" id="{6B92C3DA-B800-43EF-AE6B-2F2B8078094B}"/>
              </a:ext>
            </a:extLst>
          </p:cNvPr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auto">
          <a:xfrm>
            <a:off x="11099800" y="2301875"/>
            <a:ext cx="6619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A0C6D879-91F4-4E16-80AD-43469B578302}" type="datetime'C''''''e''''m''''''e''''n''''''t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ement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9E0F2D8E-0E71-4D96-A836-61DEF72B7B4A}"/>
              </a:ext>
            </a:extLst>
          </p:cNvPr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auto">
          <a:xfrm>
            <a:off x="11099801" y="2800350"/>
            <a:ext cx="3603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FFF698EF-2352-4948-BFCB-02ABF935828D}" type="datetime'C''''''''''''''''a''''''''r''''''''''''''''''s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Car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572BE54-7D36-48A6-88D7-581BE765E2D8}"/>
              </a:ext>
            </a:extLst>
          </p:cNvPr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auto">
          <a:xfrm>
            <a:off x="11099800" y="3049588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5FB154C-9867-4549-AE1E-1CDA32956455}" type="datetime'''''''''''''''''''''''''O''the''r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Other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07" name="5. Source">
            <a:extLst>
              <a:ext uri="{FF2B5EF4-FFF2-40B4-BE49-F238E27FC236}">
                <a16:creationId xmlns:a16="http://schemas.microsoft.com/office/drawing/2014/main" id="{2CE4B490-5817-4775-BA1E-12482324B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terial Economics (2018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he circular economy: a powerful force for climate change 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C49B278-2D38-4D68-8776-A969C9151917}"/>
              </a:ext>
            </a:extLst>
          </p:cNvPr>
          <p:cNvGrpSpPr/>
          <p:nvPr/>
        </p:nvGrpSpPr>
        <p:grpSpPr>
          <a:xfrm>
            <a:off x="232731" y="1011186"/>
            <a:ext cx="11739183" cy="449354"/>
            <a:chOff x="176793" y="1011186"/>
            <a:chExt cx="11838412" cy="449354"/>
          </a:xfrm>
        </p:grpSpPr>
        <p:sp>
          <p:nvSpPr>
            <p:cNvPr id="109" name="AutoShape 250">
              <a:extLst>
                <a:ext uri="{FF2B5EF4-FFF2-40B4-BE49-F238E27FC236}">
                  <a16:creationId xmlns:a16="http://schemas.microsoft.com/office/drawing/2014/main" id="{7F31AFBF-C42A-4E4E-B102-E17F0100D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794" y="1011186"/>
              <a:ext cx="11838411" cy="449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batement cost for demand-side decarbonization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/tonne CO</a:t>
              </a:r>
              <a:r>
                <a:rPr kumimoji="0" lang="en-GB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 per year 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cxnSp>
          <p:nvCxnSpPr>
            <p:cNvPr id="110" name="AutoShape 249">
              <a:extLst>
                <a:ext uri="{FF2B5EF4-FFF2-40B4-BE49-F238E27FC236}">
                  <a16:creationId xmlns:a16="http://schemas.microsoft.com/office/drawing/2014/main" id="{4B521D01-280B-420D-93AD-D9EFB6A2E837}"/>
                </a:ext>
              </a:extLst>
            </p:cNvPr>
            <p:cNvCxnSpPr>
              <a:cxnSpLocks noChangeShapeType="1"/>
              <a:endCxn id="109" idx="6"/>
            </p:cNvCxnSpPr>
            <p:nvPr/>
          </p:nvCxnSpPr>
          <p:spPr bwMode="auto">
            <a:xfrm flipV="1">
              <a:off x="176793" y="1460540"/>
              <a:ext cx="11838412" cy="0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40764917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3372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2" name="think-cell Slide" r:id="rId11" imgW="449" imgH="450" progId="TCLayout.ActiveDocument.1">
                  <p:embed/>
                </p:oleObj>
              </mc:Choice>
              <mc:Fallback>
                <p:oleObj name="think-cell Slide" r:id="rId11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2000" b="1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30F5A4-7B87-4EE6-B387-A65337FC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32" y="126914"/>
            <a:ext cx="11870324" cy="615553"/>
          </a:xfrm>
        </p:spPr>
        <p:txBody>
          <a:bodyPr/>
          <a:lstStyle/>
          <a:p>
            <a:r>
              <a:rPr lang="en-GB" sz="2000" dirty="0"/>
              <a:t>The potential for energy efficiency improvement is greater in heavy-duty transport than in heavy industry, due to split incentives across the value chain</a:t>
            </a:r>
          </a:p>
        </p:txBody>
      </p:sp>
      <p:sp>
        <p:nvSpPr>
          <p:cNvPr id="103" name="5. Source">
            <a:extLst>
              <a:ext uri="{FF2B5EF4-FFF2-40B4-BE49-F238E27FC236}">
                <a16:creationId xmlns:a16="http://schemas.microsoft.com/office/drawing/2014/main" id="{F789F04A-4D93-4944-8A7B-98F153A995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: Energy Transitions Commission(2018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), Mission Possible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0981EB2A-59D3-4860-ABCA-9F8FD025BFE7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7377" t="32351" r="72836" b="55401"/>
          <a:stretch/>
        </p:blipFill>
        <p:spPr>
          <a:xfrm>
            <a:off x="233363" y="1488860"/>
            <a:ext cx="1610862" cy="1259952"/>
          </a:xfrm>
          <a:prstGeom prst="rect">
            <a:avLst/>
          </a:prstGeom>
        </p:spPr>
      </p:pic>
      <p:sp>
        <p:nvSpPr>
          <p:cNvPr id="105" name="Rectangle 104">
            <a:extLst>
              <a:ext uri="{FF2B5EF4-FFF2-40B4-BE49-F238E27FC236}">
                <a16:creationId xmlns:a16="http://schemas.microsoft.com/office/drawing/2014/main" id="{165B0B59-F1D5-419D-86F7-DFE2BD0F232A}"/>
              </a:ext>
            </a:extLst>
          </p:cNvPr>
          <p:cNvSpPr/>
          <p:nvPr/>
        </p:nvSpPr>
        <p:spPr>
          <a:xfrm>
            <a:off x="3120713" y="1488860"/>
            <a:ext cx="2808000" cy="12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Engine efficiency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Aerodynamics and </a:t>
            </a:r>
            <a:r>
              <a:rPr lang="en-US" sz="1400" err="1">
                <a:solidFill>
                  <a:srgbClr val="595959"/>
                </a:solidFill>
              </a:rPr>
              <a:t>tyre</a:t>
            </a:r>
            <a:r>
              <a:rPr lang="en-US" sz="1400">
                <a:solidFill>
                  <a:srgbClr val="595959"/>
                </a:solidFill>
              </a:rPr>
              <a:t> design</a:t>
            </a:r>
          </a:p>
        </p:txBody>
      </p:sp>
      <p:sp>
        <p:nvSpPr>
          <p:cNvPr id="106" name="Rectangle 75">
            <a:extLst>
              <a:ext uri="{FF2B5EF4-FFF2-40B4-BE49-F238E27FC236}">
                <a16:creationId xmlns:a16="http://schemas.microsoft.com/office/drawing/2014/main" id="{2521EF7D-8973-497C-9960-737581D19C9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960469" y="1488860"/>
            <a:ext cx="1044000" cy="126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30/45%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12E6370-696C-4307-BBE3-14EAFA002018}"/>
              </a:ext>
            </a:extLst>
          </p:cNvPr>
          <p:cNvSpPr/>
          <p:nvPr/>
        </p:nvSpPr>
        <p:spPr>
          <a:xfrm>
            <a:off x="9150637" y="1488860"/>
            <a:ext cx="2808000" cy="12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Switch to dry kilns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Multistage cyclone heaters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Decrease in clinker-to-cement ratio</a:t>
            </a:r>
          </a:p>
        </p:txBody>
      </p:sp>
      <p:sp>
        <p:nvSpPr>
          <p:cNvPr id="111" name="Rectangle 75">
            <a:extLst>
              <a:ext uri="{FF2B5EF4-FFF2-40B4-BE49-F238E27FC236}">
                <a16:creationId xmlns:a16="http://schemas.microsoft.com/office/drawing/2014/main" id="{BE01CF85-AD57-4C4B-925E-49D778664E7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990393" y="1488860"/>
            <a:ext cx="1044000" cy="1260000"/>
          </a:xfrm>
          <a:prstGeom prst="rect">
            <a:avLst/>
          </a:prstGeom>
          <a:solidFill>
            <a:srgbClr val="004876"/>
          </a:solidFill>
          <a:ln>
            <a:noFill/>
          </a:ln>
          <a:effec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10%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F1D05DAF-6829-4B1D-A41B-8AD13A79D02F}"/>
              </a:ext>
            </a:extLst>
          </p:cNvPr>
          <p:cNvSpPr/>
          <p:nvPr/>
        </p:nvSpPr>
        <p:spPr>
          <a:xfrm>
            <a:off x="3120713" y="2996136"/>
            <a:ext cx="2808000" cy="12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Machinery efficiency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Wind assistance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Ship design, hull and propulsion</a:t>
            </a:r>
          </a:p>
        </p:txBody>
      </p:sp>
      <p:sp>
        <p:nvSpPr>
          <p:cNvPr id="113" name="Rectangle 75">
            <a:extLst>
              <a:ext uri="{FF2B5EF4-FFF2-40B4-BE49-F238E27FC236}">
                <a16:creationId xmlns:a16="http://schemas.microsoft.com/office/drawing/2014/main" id="{43F690A8-55B8-49A6-98E9-A806ADA6EA1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960469" y="2996136"/>
            <a:ext cx="1044000" cy="1260000"/>
          </a:xfrm>
          <a:prstGeom prst="rect">
            <a:avLst/>
          </a:prstGeom>
          <a:solidFill>
            <a:srgbClr val="F38B00"/>
          </a:solidFill>
          <a:ln>
            <a:noFill/>
          </a:ln>
          <a:effec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30/55%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B579A08-760B-475B-AB98-B1CD3709E124}"/>
              </a:ext>
            </a:extLst>
          </p:cNvPr>
          <p:cNvSpPr/>
          <p:nvPr/>
        </p:nvSpPr>
        <p:spPr>
          <a:xfrm>
            <a:off x="3120713" y="4503412"/>
            <a:ext cx="2808000" cy="12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Engine efficiency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Aircraft design</a:t>
            </a:r>
          </a:p>
        </p:txBody>
      </p:sp>
      <p:sp>
        <p:nvSpPr>
          <p:cNvPr id="115" name="Rectangle 75">
            <a:extLst>
              <a:ext uri="{FF2B5EF4-FFF2-40B4-BE49-F238E27FC236}">
                <a16:creationId xmlns:a16="http://schemas.microsoft.com/office/drawing/2014/main" id="{B4B165C4-7982-4D2D-82E9-D78F81C738D1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960469" y="4503412"/>
            <a:ext cx="1044000" cy="1260000"/>
          </a:xfrm>
          <a:prstGeom prst="rect">
            <a:avLst/>
          </a:prstGeom>
          <a:solidFill>
            <a:srgbClr val="ED5C05"/>
          </a:solidFill>
          <a:ln>
            <a:noFill/>
          </a:ln>
          <a:effec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30/45%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F7B65B9-51F3-4A7C-825E-F28D71335C68}"/>
              </a:ext>
            </a:extLst>
          </p:cNvPr>
          <p:cNvSpPr/>
          <p:nvPr/>
        </p:nvSpPr>
        <p:spPr>
          <a:xfrm>
            <a:off x="9150637" y="2996136"/>
            <a:ext cx="2808000" cy="12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Re-use of high pressure gas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Coke dry quenching</a:t>
            </a:r>
          </a:p>
        </p:txBody>
      </p:sp>
      <p:sp>
        <p:nvSpPr>
          <p:cNvPr id="117" name="Rectangle 75">
            <a:extLst>
              <a:ext uri="{FF2B5EF4-FFF2-40B4-BE49-F238E27FC236}">
                <a16:creationId xmlns:a16="http://schemas.microsoft.com/office/drawing/2014/main" id="{53DD5E2C-6EB5-4D62-9EDC-2D5E2475A39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990393" y="2996136"/>
            <a:ext cx="1044000" cy="1260000"/>
          </a:xfrm>
          <a:prstGeom prst="rect">
            <a:avLst/>
          </a:prstGeom>
          <a:solidFill>
            <a:srgbClr val="007CBA"/>
          </a:solidFill>
          <a:ln>
            <a:noFill/>
          </a:ln>
          <a:effec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15-20%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9BC7921-6998-4415-A296-A7824101F70D}"/>
              </a:ext>
            </a:extLst>
          </p:cNvPr>
          <p:cNvSpPr/>
          <p:nvPr/>
        </p:nvSpPr>
        <p:spPr>
          <a:xfrm>
            <a:off x="9150637" y="4503412"/>
            <a:ext cx="2808000" cy="12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Energy efficiency in monomer production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Naphtha catalytic </a:t>
            </a:r>
            <a:r>
              <a:rPr lang="en-US" sz="1400" err="1">
                <a:solidFill>
                  <a:srgbClr val="595959"/>
                </a:solidFill>
              </a:rPr>
              <a:t>craking</a:t>
            </a:r>
            <a:endParaRPr lang="en-US" sz="1400">
              <a:solidFill>
                <a:srgbClr val="595959"/>
              </a:solidFill>
            </a:endParaRPr>
          </a:p>
        </p:txBody>
      </p:sp>
      <p:sp>
        <p:nvSpPr>
          <p:cNvPr id="119" name="Rectangle 75">
            <a:extLst>
              <a:ext uri="{FF2B5EF4-FFF2-40B4-BE49-F238E27FC236}">
                <a16:creationId xmlns:a16="http://schemas.microsoft.com/office/drawing/2014/main" id="{0D0BD951-7580-49E8-B48C-8495377AA496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990393" y="4503412"/>
            <a:ext cx="1044000" cy="1260000"/>
          </a:xfrm>
          <a:prstGeom prst="rect">
            <a:avLst/>
          </a:prstGeom>
          <a:solidFill>
            <a:srgbClr val="00B09A"/>
          </a:solidFill>
          <a:ln>
            <a:noFill/>
          </a:ln>
          <a:effec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15-20%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67F1F497-486D-4473-AF36-49C4E39AFF59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17350" t="32381" r="72863" b="55401"/>
          <a:stretch/>
        </p:blipFill>
        <p:spPr>
          <a:xfrm>
            <a:off x="233363" y="4503412"/>
            <a:ext cx="1610862" cy="1256884"/>
          </a:xfrm>
          <a:prstGeom prst="rect">
            <a:avLst/>
          </a:prstGeom>
        </p:spPr>
      </p:pic>
      <p:pic>
        <p:nvPicPr>
          <p:cNvPr id="121" name="Picture 120">
            <a:extLst>
              <a:ext uri="{FF2B5EF4-FFF2-40B4-BE49-F238E27FC236}">
                <a16:creationId xmlns:a16="http://schemas.microsoft.com/office/drawing/2014/main" id="{836FB39A-3C66-48A7-9793-95B1B2C33E57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17302" t="32572" r="72911" b="55210"/>
          <a:stretch/>
        </p:blipFill>
        <p:spPr>
          <a:xfrm>
            <a:off x="233363" y="2996137"/>
            <a:ext cx="1610862" cy="1256884"/>
          </a:xfrm>
          <a:prstGeom prst="rect">
            <a:avLst/>
          </a:prstGeom>
        </p:spPr>
      </p:pic>
      <p:pic>
        <p:nvPicPr>
          <p:cNvPr id="122" name="Picture 121">
            <a:extLst>
              <a:ext uri="{FF2B5EF4-FFF2-40B4-BE49-F238E27FC236}">
                <a16:creationId xmlns:a16="http://schemas.microsoft.com/office/drawing/2014/main" id="{2FDC2346-7563-4A71-BA8D-3FC4C4DC644E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23705" t="32440" r="66508" b="55311"/>
          <a:stretch/>
        </p:blipFill>
        <p:spPr>
          <a:xfrm>
            <a:off x="6263289" y="2996136"/>
            <a:ext cx="1610862" cy="1260000"/>
          </a:xfrm>
          <a:prstGeom prst="rect">
            <a:avLst/>
          </a:prstGeom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id="{68DD7EEA-0846-48F5-A825-48452236D16B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23752" t="32381" r="66460" b="55401"/>
          <a:stretch/>
        </p:blipFill>
        <p:spPr>
          <a:xfrm>
            <a:off x="6263287" y="1491928"/>
            <a:ext cx="1610862" cy="1256884"/>
          </a:xfrm>
          <a:prstGeom prst="rect">
            <a:avLst/>
          </a:prstGeom>
        </p:spPr>
      </p:pic>
      <p:pic>
        <p:nvPicPr>
          <p:cNvPr id="125" name="Picture 124">
            <a:extLst>
              <a:ext uri="{FF2B5EF4-FFF2-40B4-BE49-F238E27FC236}">
                <a16:creationId xmlns:a16="http://schemas.microsoft.com/office/drawing/2014/main" id="{7FEDE6A0-C2E1-4B10-8BE6-7EA81876ABA2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23829" t="32572" r="66384" b="55279"/>
          <a:stretch/>
        </p:blipFill>
        <p:spPr>
          <a:xfrm>
            <a:off x="6263287" y="4506983"/>
            <a:ext cx="1610862" cy="1249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58185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6340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6" name="think-cell Slide" r:id="rId8" imgW="449" imgH="450" progId="TCLayout.ActiveDocument.1">
                  <p:embed/>
                </p:oleObj>
              </mc:Choice>
              <mc:Fallback>
                <p:oleObj name="think-cell Slide" r:id="rId8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2000" b="1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30F5A4-7B87-4EE6-B387-A65337FC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32" y="286405"/>
            <a:ext cx="11870324" cy="307777"/>
          </a:xfrm>
        </p:spPr>
        <p:txBody>
          <a:bodyPr/>
          <a:lstStyle/>
          <a:p>
            <a:r>
              <a:rPr lang="en-GB" sz="2000" dirty="0"/>
              <a:t>The potential for energy efficiency improvement in heavy-duty transport varies between 30-55%</a:t>
            </a:r>
          </a:p>
        </p:txBody>
      </p:sp>
      <p:sp>
        <p:nvSpPr>
          <p:cNvPr id="103" name="5. Source">
            <a:extLst>
              <a:ext uri="{FF2B5EF4-FFF2-40B4-BE49-F238E27FC236}">
                <a16:creationId xmlns:a16="http://schemas.microsoft.com/office/drawing/2014/main" id="{F789F04A-4D93-4944-8A7B-98F153A995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: Energy Transitions Commission(2018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), Mission Possible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0981EB2A-59D3-4860-ABCA-9F8FD025BFE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7377" t="32351" r="72836" b="55401"/>
          <a:stretch/>
        </p:blipFill>
        <p:spPr>
          <a:xfrm>
            <a:off x="3327438" y="1488860"/>
            <a:ext cx="1610862" cy="1259952"/>
          </a:xfrm>
          <a:prstGeom prst="rect">
            <a:avLst/>
          </a:prstGeom>
        </p:spPr>
      </p:pic>
      <p:sp>
        <p:nvSpPr>
          <p:cNvPr id="105" name="Rectangle 104">
            <a:extLst>
              <a:ext uri="{FF2B5EF4-FFF2-40B4-BE49-F238E27FC236}">
                <a16:creationId xmlns:a16="http://schemas.microsoft.com/office/drawing/2014/main" id="{165B0B59-F1D5-419D-86F7-DFE2BD0F232A}"/>
              </a:ext>
            </a:extLst>
          </p:cNvPr>
          <p:cNvSpPr/>
          <p:nvPr/>
        </p:nvSpPr>
        <p:spPr>
          <a:xfrm>
            <a:off x="6214788" y="1488860"/>
            <a:ext cx="2808000" cy="12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Engine efficiency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Aerodynamics and </a:t>
            </a:r>
            <a:r>
              <a:rPr lang="en-US" sz="1400" err="1">
                <a:solidFill>
                  <a:srgbClr val="595959"/>
                </a:solidFill>
              </a:rPr>
              <a:t>tyre</a:t>
            </a:r>
            <a:r>
              <a:rPr lang="en-US" sz="1400">
                <a:solidFill>
                  <a:srgbClr val="595959"/>
                </a:solidFill>
              </a:rPr>
              <a:t> design</a:t>
            </a:r>
          </a:p>
        </p:txBody>
      </p:sp>
      <p:sp>
        <p:nvSpPr>
          <p:cNvPr id="106" name="Rectangle 75">
            <a:extLst>
              <a:ext uri="{FF2B5EF4-FFF2-40B4-BE49-F238E27FC236}">
                <a16:creationId xmlns:a16="http://schemas.microsoft.com/office/drawing/2014/main" id="{2521EF7D-8973-497C-9960-737581D19C9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54544" y="1488860"/>
            <a:ext cx="1044000" cy="126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30/45%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F1D05DAF-6829-4B1D-A41B-8AD13A79D02F}"/>
              </a:ext>
            </a:extLst>
          </p:cNvPr>
          <p:cNvSpPr/>
          <p:nvPr/>
        </p:nvSpPr>
        <p:spPr>
          <a:xfrm>
            <a:off x="6214788" y="2996136"/>
            <a:ext cx="2808000" cy="12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Machinery efficiency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Wind assistance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Ship design, hull and propulsion</a:t>
            </a:r>
          </a:p>
        </p:txBody>
      </p:sp>
      <p:sp>
        <p:nvSpPr>
          <p:cNvPr id="113" name="Rectangle 75">
            <a:extLst>
              <a:ext uri="{FF2B5EF4-FFF2-40B4-BE49-F238E27FC236}">
                <a16:creationId xmlns:a16="http://schemas.microsoft.com/office/drawing/2014/main" id="{43F690A8-55B8-49A6-98E9-A806ADA6EA18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54544" y="2996136"/>
            <a:ext cx="1044000" cy="1260000"/>
          </a:xfrm>
          <a:prstGeom prst="rect">
            <a:avLst/>
          </a:prstGeom>
          <a:solidFill>
            <a:srgbClr val="F38B00"/>
          </a:solidFill>
          <a:ln>
            <a:noFill/>
          </a:ln>
          <a:effec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30/55%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B579A08-760B-475B-AB98-B1CD3709E124}"/>
              </a:ext>
            </a:extLst>
          </p:cNvPr>
          <p:cNvSpPr/>
          <p:nvPr/>
        </p:nvSpPr>
        <p:spPr>
          <a:xfrm>
            <a:off x="6214788" y="4503412"/>
            <a:ext cx="2808000" cy="12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Engine efficiency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Aircraft design</a:t>
            </a:r>
          </a:p>
        </p:txBody>
      </p:sp>
      <p:sp>
        <p:nvSpPr>
          <p:cNvPr id="115" name="Rectangle 75">
            <a:extLst>
              <a:ext uri="{FF2B5EF4-FFF2-40B4-BE49-F238E27FC236}">
                <a16:creationId xmlns:a16="http://schemas.microsoft.com/office/drawing/2014/main" id="{B4B165C4-7982-4D2D-82E9-D78F81C738D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054544" y="4503412"/>
            <a:ext cx="1044000" cy="1260000"/>
          </a:xfrm>
          <a:prstGeom prst="rect">
            <a:avLst/>
          </a:prstGeom>
          <a:solidFill>
            <a:srgbClr val="ED5C05"/>
          </a:solidFill>
          <a:ln>
            <a:noFill/>
          </a:ln>
          <a:effec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30/45%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67F1F497-486D-4473-AF36-49C4E39AFF5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7350" t="32381" r="72863" b="55401"/>
          <a:stretch/>
        </p:blipFill>
        <p:spPr>
          <a:xfrm>
            <a:off x="3327438" y="4503412"/>
            <a:ext cx="1610862" cy="1256884"/>
          </a:xfrm>
          <a:prstGeom prst="rect">
            <a:avLst/>
          </a:prstGeom>
        </p:spPr>
      </p:pic>
      <p:pic>
        <p:nvPicPr>
          <p:cNvPr id="121" name="Picture 120">
            <a:extLst>
              <a:ext uri="{FF2B5EF4-FFF2-40B4-BE49-F238E27FC236}">
                <a16:creationId xmlns:a16="http://schemas.microsoft.com/office/drawing/2014/main" id="{836FB39A-3C66-48A7-9793-95B1B2C33E5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7302" t="32572" r="72911" b="55210"/>
          <a:stretch/>
        </p:blipFill>
        <p:spPr>
          <a:xfrm>
            <a:off x="3327438" y="2996137"/>
            <a:ext cx="1610862" cy="1256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14557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657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0" name="think-cell Slide" r:id="rId8" imgW="449" imgH="450" progId="TCLayout.ActiveDocument.1">
                  <p:embed/>
                </p:oleObj>
              </mc:Choice>
              <mc:Fallback>
                <p:oleObj name="think-cell Slide" r:id="rId8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2000" b="1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30F5A4-7B87-4EE6-B387-A65337FC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32" y="286405"/>
            <a:ext cx="11870324" cy="307777"/>
          </a:xfrm>
        </p:spPr>
        <p:txBody>
          <a:bodyPr/>
          <a:lstStyle/>
          <a:p>
            <a:r>
              <a:rPr lang="en-GB" sz="2000" dirty="0"/>
              <a:t>The potential for energy efficiency improvement in heavy industry varies between 10-20%</a:t>
            </a:r>
          </a:p>
        </p:txBody>
      </p:sp>
      <p:sp>
        <p:nvSpPr>
          <p:cNvPr id="103" name="5. Source">
            <a:extLst>
              <a:ext uri="{FF2B5EF4-FFF2-40B4-BE49-F238E27FC236}">
                <a16:creationId xmlns:a16="http://schemas.microsoft.com/office/drawing/2014/main" id="{F789F04A-4D93-4944-8A7B-98F153A995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53917"/>
            <a:ext cx="11778784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: Energy Transitions Commission(2018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), Mission Possible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12E6370-696C-4307-BBE3-14EAFA002018}"/>
              </a:ext>
            </a:extLst>
          </p:cNvPr>
          <p:cNvSpPr/>
          <p:nvPr/>
        </p:nvSpPr>
        <p:spPr>
          <a:xfrm>
            <a:off x="6226678" y="1488860"/>
            <a:ext cx="2808000" cy="12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Switch to dry kilns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Multistage cyclone heaters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Decrease in clinker-to-cement ratio</a:t>
            </a:r>
          </a:p>
        </p:txBody>
      </p:sp>
      <p:sp>
        <p:nvSpPr>
          <p:cNvPr id="111" name="Rectangle 75">
            <a:extLst>
              <a:ext uri="{FF2B5EF4-FFF2-40B4-BE49-F238E27FC236}">
                <a16:creationId xmlns:a16="http://schemas.microsoft.com/office/drawing/2014/main" id="{BE01CF85-AD57-4C4B-925E-49D778664E7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66434" y="1488860"/>
            <a:ext cx="1044000" cy="1260000"/>
          </a:xfrm>
          <a:prstGeom prst="rect">
            <a:avLst/>
          </a:prstGeom>
          <a:solidFill>
            <a:srgbClr val="004876"/>
          </a:solidFill>
          <a:ln>
            <a:noFill/>
          </a:ln>
          <a:effec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10%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F7B65B9-51F3-4A7C-825E-F28D71335C68}"/>
              </a:ext>
            </a:extLst>
          </p:cNvPr>
          <p:cNvSpPr/>
          <p:nvPr/>
        </p:nvSpPr>
        <p:spPr>
          <a:xfrm>
            <a:off x="6226678" y="2996136"/>
            <a:ext cx="2808000" cy="12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Re-use of high pressure gas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Coke dry quenching</a:t>
            </a:r>
          </a:p>
        </p:txBody>
      </p:sp>
      <p:sp>
        <p:nvSpPr>
          <p:cNvPr id="117" name="Rectangle 75">
            <a:extLst>
              <a:ext uri="{FF2B5EF4-FFF2-40B4-BE49-F238E27FC236}">
                <a16:creationId xmlns:a16="http://schemas.microsoft.com/office/drawing/2014/main" id="{53DD5E2C-6EB5-4D62-9EDC-2D5E2475A39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66434" y="2996136"/>
            <a:ext cx="1044000" cy="1260000"/>
          </a:xfrm>
          <a:prstGeom prst="rect">
            <a:avLst/>
          </a:prstGeom>
          <a:solidFill>
            <a:srgbClr val="007CBA"/>
          </a:solidFill>
          <a:ln>
            <a:noFill/>
          </a:ln>
          <a:effec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15-20%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9BC7921-6998-4415-A296-A7824101F70D}"/>
              </a:ext>
            </a:extLst>
          </p:cNvPr>
          <p:cNvSpPr/>
          <p:nvPr/>
        </p:nvSpPr>
        <p:spPr>
          <a:xfrm>
            <a:off x="6226678" y="4503412"/>
            <a:ext cx="2808000" cy="12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Energy efficiency in monomer production</a:t>
            </a:r>
          </a:p>
          <a:p>
            <a:pPr marL="285750" lvl="0" indent="-285750" defTabSz="8953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595959"/>
                </a:solidFill>
              </a:rPr>
              <a:t>Naphtha catalytic </a:t>
            </a:r>
            <a:r>
              <a:rPr lang="en-US" sz="1400" err="1">
                <a:solidFill>
                  <a:srgbClr val="595959"/>
                </a:solidFill>
              </a:rPr>
              <a:t>craking</a:t>
            </a:r>
            <a:endParaRPr lang="en-US" sz="1400">
              <a:solidFill>
                <a:srgbClr val="595959"/>
              </a:solidFill>
            </a:endParaRPr>
          </a:p>
        </p:txBody>
      </p:sp>
      <p:sp>
        <p:nvSpPr>
          <p:cNvPr id="119" name="Rectangle 75">
            <a:extLst>
              <a:ext uri="{FF2B5EF4-FFF2-40B4-BE49-F238E27FC236}">
                <a16:creationId xmlns:a16="http://schemas.microsoft.com/office/drawing/2014/main" id="{0D0BD951-7580-49E8-B48C-8495377AA496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066434" y="4503412"/>
            <a:ext cx="1044000" cy="1260000"/>
          </a:xfrm>
          <a:prstGeom prst="rect">
            <a:avLst/>
          </a:prstGeom>
          <a:solidFill>
            <a:srgbClr val="00B09A"/>
          </a:solidFill>
          <a:ln>
            <a:noFill/>
          </a:ln>
          <a:effectLst/>
        </p:spPr>
        <p:txBody>
          <a:bodyPr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15-20%</a:t>
            </a: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2FDC2346-7563-4A71-BA8D-3FC4C4DC644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3705" t="32440" r="66508" b="55311"/>
          <a:stretch/>
        </p:blipFill>
        <p:spPr>
          <a:xfrm>
            <a:off x="3339330" y="2996136"/>
            <a:ext cx="1610862" cy="1260000"/>
          </a:xfrm>
          <a:prstGeom prst="rect">
            <a:avLst/>
          </a:prstGeom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id="{68DD7EEA-0846-48F5-A825-48452236D16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3752" t="32381" r="66460" b="55401"/>
          <a:stretch/>
        </p:blipFill>
        <p:spPr>
          <a:xfrm>
            <a:off x="3339328" y="1491928"/>
            <a:ext cx="1610862" cy="1256884"/>
          </a:xfrm>
          <a:prstGeom prst="rect">
            <a:avLst/>
          </a:prstGeom>
        </p:spPr>
      </p:pic>
      <p:pic>
        <p:nvPicPr>
          <p:cNvPr id="125" name="Picture 124">
            <a:extLst>
              <a:ext uri="{FF2B5EF4-FFF2-40B4-BE49-F238E27FC236}">
                <a16:creationId xmlns:a16="http://schemas.microsoft.com/office/drawing/2014/main" id="{7FEDE6A0-C2E1-4B10-8BE6-7EA81876ABA2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3829" t="32572" r="66384" b="55279"/>
          <a:stretch/>
        </p:blipFill>
        <p:spPr>
          <a:xfrm>
            <a:off x="3339328" y="4506983"/>
            <a:ext cx="1610862" cy="1249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946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C9D6C-D0AA-483F-9B9F-AF53FB3279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Slide" r:id="rId19" imgW="449" imgH="450" progId="TCLayout.ActiveDocument.1">
                  <p:embed/>
                </p:oleObj>
              </mc:Choice>
              <mc:Fallback>
                <p:oleObj name="think-cell Slide" r:id="rId19" imgW="449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AC9D6C-D0AA-483F-9B9F-AF53FB327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69A89C-153E-4FF5-A346-0AF9F058A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9B8C0A2-2BCE-46AD-BFF8-7D7F6BA0E0F4}"/>
              </a:ext>
            </a:extLst>
          </p:cNvPr>
          <p:cNvGrpSpPr/>
          <p:nvPr/>
        </p:nvGrpSpPr>
        <p:grpSpPr>
          <a:xfrm>
            <a:off x="2598739" y="3084121"/>
            <a:ext cx="7401733" cy="720000"/>
            <a:chOff x="2598739" y="3083887"/>
            <a:chExt cx="7401733" cy="720000"/>
          </a:xfrm>
        </p:grpSpPr>
        <p:sp>
          <p:nvSpPr>
            <p:cNvPr id="38" name="Rectangle 75">
              <a:extLst>
                <a:ext uri="{FF2B5EF4-FFF2-40B4-BE49-F238E27FC236}">
                  <a16:creationId xmlns:a16="http://schemas.microsoft.com/office/drawing/2014/main" id="{D50B31F8-C7AB-4C35-93E5-F284F5865ED4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5282690" y="3083887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500 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per tonne of ethylene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72B3E76-9CB7-4E95-9BCA-9C2E92BF1B97}"/>
                </a:ext>
              </a:extLst>
            </p:cNvPr>
            <p:cNvSpPr/>
            <p:nvPr/>
          </p:nvSpPr>
          <p:spPr>
            <a:xfrm>
              <a:off x="8542635" y="3183006"/>
              <a:ext cx="1457837" cy="521763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50%*</a:t>
              </a:r>
            </a:p>
          </p:txBody>
        </p:sp>
        <p:sp>
          <p:nvSpPr>
            <p:cNvPr id="40" name="Rectangle 75">
              <a:extLst>
                <a:ext uri="{FF2B5EF4-FFF2-40B4-BE49-F238E27FC236}">
                  <a16:creationId xmlns:a16="http://schemas.microsoft.com/office/drawing/2014/main" id="{80D533AC-005F-4684-872F-E6F6B3B2FE38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598739" y="3083887"/>
              <a:ext cx="2101081" cy="720000"/>
            </a:xfrm>
            <a:prstGeom prst="rect">
              <a:avLst/>
            </a:prstGeom>
            <a:solidFill>
              <a:srgbClr val="00B09A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Plastics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630F5A4-7B87-4EE6-B387-A65337FC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32" y="138419"/>
            <a:ext cx="10159965" cy="628121"/>
          </a:xfrm>
        </p:spPr>
        <p:txBody>
          <a:bodyPr/>
          <a:lstStyle/>
          <a:p>
            <a:r>
              <a:rPr lang="en-US" dirty="0"/>
              <a:t>Decarbonization of the harder-to-abate sectors would have a significant impact on the price of intermediate products</a:t>
            </a:r>
            <a:endParaRPr lang="en-GB" sz="1800" b="0" baseline="-25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E31650B-9DE1-4976-8EA7-2AEA92DC7976}"/>
              </a:ext>
            </a:extLst>
          </p:cNvPr>
          <p:cNvCxnSpPr>
            <a:cxnSpLocks/>
          </p:cNvCxnSpPr>
          <p:nvPr/>
        </p:nvCxnSpPr>
        <p:spPr>
          <a:xfrm>
            <a:off x="1451149" y="3906597"/>
            <a:ext cx="877439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5. Source">
            <a:extLst>
              <a:ext uri="{FF2B5EF4-FFF2-40B4-BE49-F238E27FC236}">
                <a16:creationId xmlns:a16="http://schemas.microsoft.com/office/drawing/2014/main" id="{53CFC668-76EE-471B-ACF0-840EDF64E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6394422"/>
            <a:ext cx="11778784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*Assuming an initial price of US$1000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onn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for ethylene, although the price of ethylene is very volatile.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F6BDE2C-D535-4B9B-954C-94C651423EC0}"/>
              </a:ext>
            </a:extLst>
          </p:cNvPr>
          <p:cNvGrpSpPr/>
          <p:nvPr/>
        </p:nvGrpSpPr>
        <p:grpSpPr>
          <a:xfrm>
            <a:off x="2598739" y="4002341"/>
            <a:ext cx="7401733" cy="720000"/>
            <a:chOff x="2598739" y="4002341"/>
            <a:chExt cx="7401733" cy="720000"/>
          </a:xfrm>
        </p:grpSpPr>
        <p:sp>
          <p:nvSpPr>
            <p:cNvPr id="41" name="Rectangle 75">
              <a:extLst>
                <a:ext uri="{FF2B5EF4-FFF2-40B4-BE49-F238E27FC236}">
                  <a16:creationId xmlns:a16="http://schemas.microsoft.com/office/drawing/2014/main" id="{E97D921F-3A0D-44A2-BB1D-4A4301C38380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5282690" y="4002341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No price impact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8C31C810-5B32-4ED8-A89D-E07D0835E940}"/>
                </a:ext>
              </a:extLst>
            </p:cNvPr>
            <p:cNvSpPr/>
            <p:nvPr/>
          </p:nvSpPr>
          <p:spPr>
            <a:xfrm>
              <a:off x="8542635" y="4101460"/>
              <a:ext cx="1457837" cy="521763"/>
            </a:xfrm>
            <a:prstGeom prst="ellipse">
              <a:avLst/>
            </a:prstGeom>
            <a:solidFill>
              <a:srgbClr val="9CC31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None</a:t>
              </a:r>
            </a:p>
          </p:txBody>
        </p:sp>
        <p:sp>
          <p:nvSpPr>
            <p:cNvPr id="17" name="Rectangle 75">
              <a:extLst>
                <a:ext uri="{FF2B5EF4-FFF2-40B4-BE49-F238E27FC236}">
                  <a16:creationId xmlns:a16="http://schemas.microsoft.com/office/drawing/2014/main" id="{F23CE97D-8BB8-4B8B-9A68-74E902CA092E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598739" y="4002341"/>
              <a:ext cx="2101081" cy="72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Heavy-road transport 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10881D3-AD96-421C-B8B6-71722F9D8D49}"/>
              </a:ext>
            </a:extLst>
          </p:cNvPr>
          <p:cNvGrpSpPr/>
          <p:nvPr/>
        </p:nvGrpSpPr>
        <p:grpSpPr>
          <a:xfrm>
            <a:off x="2598739" y="4829280"/>
            <a:ext cx="7401733" cy="720000"/>
            <a:chOff x="2598739" y="4829280"/>
            <a:chExt cx="7401733" cy="720000"/>
          </a:xfrm>
        </p:grpSpPr>
        <p:sp>
          <p:nvSpPr>
            <p:cNvPr id="57" name="Rectangle 75">
              <a:extLst>
                <a:ext uri="{FF2B5EF4-FFF2-40B4-BE49-F238E27FC236}">
                  <a16:creationId xmlns:a16="http://schemas.microsoft.com/office/drawing/2014/main" id="{9DD5AFB2-D488-4A7A-93E7-753973CBB4DD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5282690" y="4829280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4 million 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on typical bulk carrier voyage cost per annum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F9783B50-FB22-4438-8C36-2BA939D8124B}"/>
                </a:ext>
              </a:extLst>
            </p:cNvPr>
            <p:cNvSpPr/>
            <p:nvPr/>
          </p:nvSpPr>
          <p:spPr>
            <a:xfrm>
              <a:off x="8542635" y="4928399"/>
              <a:ext cx="1457837" cy="521763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110%</a:t>
              </a:r>
            </a:p>
          </p:txBody>
        </p:sp>
        <p:sp>
          <p:nvSpPr>
            <p:cNvPr id="18" name="Rectangle 75">
              <a:extLst>
                <a:ext uri="{FF2B5EF4-FFF2-40B4-BE49-F238E27FC236}">
                  <a16:creationId xmlns:a16="http://schemas.microsoft.com/office/drawing/2014/main" id="{1E48F66F-D7CF-43EE-BFCA-F3B23B7FEB6B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98739" y="4829280"/>
              <a:ext cx="2101081" cy="720000"/>
            </a:xfrm>
            <a:prstGeom prst="rect">
              <a:avLst/>
            </a:prstGeom>
            <a:solidFill>
              <a:srgbClr val="F38B00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hipping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A7F47FE-D18D-405F-9A6C-E40C7D1B5320}"/>
              </a:ext>
            </a:extLst>
          </p:cNvPr>
          <p:cNvGrpSpPr/>
          <p:nvPr/>
        </p:nvGrpSpPr>
        <p:grpSpPr>
          <a:xfrm>
            <a:off x="2598739" y="5654016"/>
            <a:ext cx="7401733" cy="720000"/>
            <a:chOff x="2598739" y="5654016"/>
            <a:chExt cx="7401733" cy="720000"/>
          </a:xfrm>
        </p:grpSpPr>
        <p:sp>
          <p:nvSpPr>
            <p:cNvPr id="61" name="Rectangle 75">
              <a:extLst>
                <a:ext uri="{FF2B5EF4-FFF2-40B4-BE49-F238E27FC236}">
                  <a16:creationId xmlns:a16="http://schemas.microsoft.com/office/drawing/2014/main" id="{BFCAEBAE-37D5-4A57-A30D-E31D99602480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282690" y="5654016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0.3-0.6 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per liter of jet fuel equivalent</a:t>
              </a: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71BC206F-91FF-4A3E-A51D-4E57097AB675}"/>
                </a:ext>
              </a:extLst>
            </p:cNvPr>
            <p:cNvSpPr/>
            <p:nvPr/>
          </p:nvSpPr>
          <p:spPr>
            <a:xfrm>
              <a:off x="8542635" y="5753135"/>
              <a:ext cx="1457837" cy="521763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50-100%</a:t>
              </a:r>
            </a:p>
          </p:txBody>
        </p:sp>
        <p:sp>
          <p:nvSpPr>
            <p:cNvPr id="19" name="Rectangle 75">
              <a:extLst>
                <a:ext uri="{FF2B5EF4-FFF2-40B4-BE49-F238E27FC236}">
                  <a16:creationId xmlns:a16="http://schemas.microsoft.com/office/drawing/2014/main" id="{F21E9724-0105-46F4-BE24-94F3FEF3098B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598739" y="5654016"/>
              <a:ext cx="2101081" cy="720000"/>
            </a:xfrm>
            <a:prstGeom prst="rect">
              <a:avLst/>
            </a:prstGeom>
            <a:solidFill>
              <a:srgbClr val="ED5C05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Aviation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5977C53-88FF-412A-AA47-F42849801CA9}"/>
              </a:ext>
            </a:extLst>
          </p:cNvPr>
          <p:cNvGrpSpPr/>
          <p:nvPr/>
        </p:nvGrpSpPr>
        <p:grpSpPr>
          <a:xfrm>
            <a:off x="2598739" y="2261648"/>
            <a:ext cx="7401733" cy="720000"/>
            <a:chOff x="2598739" y="1439175"/>
            <a:chExt cx="7401733" cy="720000"/>
          </a:xfrm>
        </p:grpSpPr>
        <p:sp>
          <p:nvSpPr>
            <p:cNvPr id="21" name="Rectangle 75">
              <a:extLst>
                <a:ext uri="{FF2B5EF4-FFF2-40B4-BE49-F238E27FC236}">
                  <a16:creationId xmlns:a16="http://schemas.microsoft.com/office/drawing/2014/main" id="{9E6E374C-B5B4-4F31-99E9-59ED7AB42DF4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282690" y="1439175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120 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per tonne of steel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B25E1A6-6551-4690-A680-81F5F9E2F9F2}"/>
                </a:ext>
              </a:extLst>
            </p:cNvPr>
            <p:cNvSpPr/>
            <p:nvPr/>
          </p:nvSpPr>
          <p:spPr>
            <a:xfrm>
              <a:off x="8542635" y="1538294"/>
              <a:ext cx="1457837" cy="521763"/>
            </a:xfrm>
            <a:prstGeom prst="ellipse">
              <a:avLst/>
            </a:prstGeom>
            <a:solidFill>
              <a:srgbClr val="FFE69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20%</a:t>
              </a:r>
            </a:p>
          </p:txBody>
        </p:sp>
        <p:sp>
          <p:nvSpPr>
            <p:cNvPr id="13" name="Rectangle 75">
              <a:extLst>
                <a:ext uri="{FF2B5EF4-FFF2-40B4-BE49-F238E27FC236}">
                  <a16:creationId xmlns:a16="http://schemas.microsoft.com/office/drawing/2014/main" id="{DF5A73AF-B8DF-4D08-AF2D-2FDB116884C6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598739" y="1439175"/>
              <a:ext cx="2101081" cy="720000"/>
            </a:xfrm>
            <a:prstGeom prst="rect">
              <a:avLst/>
            </a:prstGeom>
            <a:solidFill>
              <a:srgbClr val="007CBA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Steel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0BD50DB-D8F3-4267-8B2B-99FE72053099}"/>
              </a:ext>
            </a:extLst>
          </p:cNvPr>
          <p:cNvGrpSpPr/>
          <p:nvPr/>
        </p:nvGrpSpPr>
        <p:grpSpPr>
          <a:xfrm>
            <a:off x="2598739" y="1439175"/>
            <a:ext cx="7401733" cy="720000"/>
            <a:chOff x="2598739" y="2259943"/>
            <a:chExt cx="7401733" cy="720000"/>
          </a:xfrm>
        </p:grpSpPr>
        <p:sp>
          <p:nvSpPr>
            <p:cNvPr id="22" name="Rectangle 75">
              <a:extLst>
                <a:ext uri="{FF2B5EF4-FFF2-40B4-BE49-F238E27FC236}">
                  <a16:creationId xmlns:a16="http://schemas.microsoft.com/office/drawing/2014/main" id="{BCF674B3-5814-433C-8321-04F9A8FD2C8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282690" y="2259943"/>
              <a:ext cx="2573284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100 per tonne of cement</a:t>
              </a:r>
            </a:p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(</a:t>
              </a:r>
              <a:r>
                <a:rPr kumimoji="0" lang="en-GB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$30 per tonne of concrete</a:t>
              </a:r>
              <a:r>
                <a:rPr kumimoji="0" lang="en-US" alt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)</a:t>
              </a:r>
              <a:endParaRPr kumimoji="0" lang="en-GB" alt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2F76257-2083-4A48-8473-FA962E4E3176}"/>
                </a:ext>
              </a:extLst>
            </p:cNvPr>
            <p:cNvSpPr/>
            <p:nvPr/>
          </p:nvSpPr>
          <p:spPr>
            <a:xfrm>
              <a:off x="8542635" y="2359062"/>
              <a:ext cx="1457837" cy="521763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+100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(+30%)</a:t>
              </a:r>
            </a:p>
          </p:txBody>
        </p:sp>
        <p:sp>
          <p:nvSpPr>
            <p:cNvPr id="14" name="Rectangle 75">
              <a:extLst>
                <a:ext uri="{FF2B5EF4-FFF2-40B4-BE49-F238E27FC236}">
                  <a16:creationId xmlns:a16="http://schemas.microsoft.com/office/drawing/2014/main" id="{DD73D2E3-6DC8-45E1-9B42-A431D1992B27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598739" y="2259943"/>
              <a:ext cx="2101081" cy="720000"/>
            </a:xfrm>
            <a:prstGeom prst="rect">
              <a:avLst/>
            </a:prstGeom>
            <a:solidFill>
              <a:srgbClr val="004876"/>
            </a:solidFill>
            <a:ln>
              <a:noFill/>
            </a:ln>
            <a:effectLst/>
            <a:extLst/>
          </p:spPr>
          <p:txBody>
            <a:bodyPr lIns="36576" tIns="37319" rIns="37319" bIns="3731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Cement</a:t>
              </a:r>
            </a:p>
          </p:txBody>
        </p:sp>
      </p:grpSp>
      <p:sp>
        <p:nvSpPr>
          <p:cNvPr id="68" name="Rectangle 75">
            <a:extLst>
              <a:ext uri="{FF2B5EF4-FFF2-40B4-BE49-F238E27FC236}">
                <a16:creationId xmlns:a16="http://schemas.microsoft.com/office/drawing/2014/main" id="{CF6A92DF-8220-455A-889E-14F45ED2CF86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475901" y="1439175"/>
            <a:ext cx="957715" cy="2364946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  <a:extLst/>
        </p:spPr>
        <p:txBody>
          <a:bodyPr vert="vert270"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dustry</a:t>
            </a:r>
          </a:p>
        </p:txBody>
      </p:sp>
      <p:sp>
        <p:nvSpPr>
          <p:cNvPr id="69" name="Rectangle 75">
            <a:extLst>
              <a:ext uri="{FF2B5EF4-FFF2-40B4-BE49-F238E27FC236}">
                <a16:creationId xmlns:a16="http://schemas.microsoft.com/office/drawing/2014/main" id="{E99341A6-7C61-4876-8502-DB68D3EC8F0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475901" y="4005712"/>
            <a:ext cx="957715" cy="2368303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  <a:extLst/>
        </p:spPr>
        <p:txBody>
          <a:bodyPr vert="vert270" lIns="36576" tIns="37319" rIns="37319" bIns="3731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Transport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8CB88BE-BFC8-4F71-B951-5E417E4EE3A5}"/>
              </a:ext>
            </a:extLst>
          </p:cNvPr>
          <p:cNvGrpSpPr/>
          <p:nvPr/>
        </p:nvGrpSpPr>
        <p:grpSpPr>
          <a:xfrm>
            <a:off x="5282690" y="900636"/>
            <a:ext cx="4717782" cy="449355"/>
            <a:chOff x="176793" y="1304063"/>
            <a:chExt cx="11838412" cy="156477"/>
          </a:xfrm>
        </p:grpSpPr>
        <p:sp>
          <p:nvSpPr>
            <p:cNvPr id="73" name="AutoShape 250">
              <a:extLst>
                <a:ext uri="{FF2B5EF4-FFF2-40B4-BE49-F238E27FC236}">
                  <a16:creationId xmlns:a16="http://schemas.microsoft.com/office/drawing/2014/main" id="{ABE8239A-547A-47DF-9CD6-830E0CD067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793" y="1304063"/>
              <a:ext cx="11838412" cy="1564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C6C9C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Impact on intermediate product cost</a:t>
              </a:r>
              <a:endParaRPr kumimoji="0" lang="en-US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 / % price increase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cxnSp>
          <p:nvCxnSpPr>
            <p:cNvPr id="74" name="AutoShape 249">
              <a:extLst>
                <a:ext uri="{FF2B5EF4-FFF2-40B4-BE49-F238E27FC236}">
                  <a16:creationId xmlns:a16="http://schemas.microsoft.com/office/drawing/2014/main" id="{E8A12923-B0A8-4832-8964-BED862FB1CB5}"/>
                </a:ext>
              </a:extLst>
            </p:cNvPr>
            <p:cNvCxnSpPr>
              <a:cxnSpLocks noChangeShapeType="1"/>
              <a:stCxn id="73" idx="4"/>
              <a:endCxn id="73" idx="6"/>
            </p:cNvCxnSpPr>
            <p:nvPr/>
          </p:nvCxnSpPr>
          <p:spPr bwMode="auto">
            <a:xfrm>
              <a:off x="176793" y="1460540"/>
              <a:ext cx="11838412" cy="0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0983747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1D3839F-DF91-44B7-805E-56121D2AAA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1D3839F-DF91-44B7-805E-56121D2AA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7F0A3EB-0DD7-43B2-88F9-13E1393283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300" u="none" strike="noStrike" kern="1200" cap="none" spc="0" normalizeH="0" noProof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90D3717F-E471-442A-BDB0-4C2DAF564BD3}"/>
              </a:ext>
            </a:extLst>
          </p:cNvPr>
          <p:cNvSpPr txBox="1">
            <a:spLocks/>
          </p:cNvSpPr>
          <p:nvPr/>
        </p:nvSpPr>
        <p:spPr bwMode="auto">
          <a:xfrm>
            <a:off x="186571" y="103111"/>
            <a:ext cx="1188138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913526" fontAlgn="base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GB" sz="2100">
                <a:solidFill>
                  <a:srgbClr val="4C6C9B"/>
                </a:solidFill>
                <a:ea typeface="ＭＳ Ｐゴシック"/>
              </a:rPr>
              <a:t>Zero-carbon options will be cost-competitive in most sectors, except harder-to-abate ones, where B2B costs will increase</a:t>
            </a:r>
            <a:endParaRPr lang="en-US" sz="2100">
              <a:solidFill>
                <a:srgbClr val="4C6C9B"/>
              </a:solidFill>
              <a:ea typeface="ＭＳ Ｐゴシック"/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01A7EF22-8B81-47D3-B9D8-4E3B7EE0C795}"/>
              </a:ext>
            </a:extLst>
          </p:cNvPr>
          <p:cNvSpPr txBox="1">
            <a:spLocks/>
          </p:cNvSpPr>
          <p:nvPr/>
        </p:nvSpPr>
        <p:spPr bwMode="auto">
          <a:xfrm>
            <a:off x="186571" y="107396"/>
            <a:ext cx="1188138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913526" fontAlgn="base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endParaRPr lang="en-GB" sz="2100">
              <a:solidFill>
                <a:srgbClr val="4C6C9B"/>
              </a:solidFill>
              <a:ea typeface="ＭＳ Ｐゴシック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GB" sz="2100">
                <a:solidFill>
                  <a:srgbClr val="4C6C9B"/>
                </a:solidFill>
                <a:ea typeface="ＭＳ Ｐゴシック"/>
              </a:rPr>
              <a:t>				 , but with only marginal impact on consumer prices</a:t>
            </a:r>
            <a:endParaRPr lang="en-US" sz="2100">
              <a:solidFill>
                <a:srgbClr val="4C6C9B"/>
              </a:solidFill>
              <a:ea typeface="ＭＳ Ｐゴシック"/>
            </a:endParaRPr>
          </a:p>
        </p:txBody>
      </p:sp>
      <p:sp>
        <p:nvSpPr>
          <p:cNvPr id="69" name="5. Source">
            <a:extLst>
              <a:ext uri="{FF2B5EF4-FFF2-40B4-BE49-F238E27FC236}">
                <a16:creationId xmlns:a16="http://schemas.microsoft.com/office/drawing/2014/main" id="{0C090AD7-832D-4A06-AFF8-04F3FFE3C2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81775"/>
            <a:ext cx="11779250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SYSTEMIQ analysis for th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ransitions Commission analysis (2018)</a:t>
            </a: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19" name="AutoShape 249">
            <a:extLst>
              <a:ext uri="{FF2B5EF4-FFF2-40B4-BE49-F238E27FC236}">
                <a16:creationId xmlns:a16="http://schemas.microsoft.com/office/drawing/2014/main" id="{35CA1F85-FE3F-4445-8E48-59ED2C58ADD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835690" y="1302113"/>
            <a:ext cx="2555996" cy="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AutoShape 250">
            <a:extLst>
              <a:ext uri="{FF2B5EF4-FFF2-40B4-BE49-F238E27FC236}">
                <a16:creationId xmlns:a16="http://schemas.microsoft.com/office/drawing/2014/main" id="{D34C150B-77BE-4C19-80BA-87F786936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2253" y="861131"/>
            <a:ext cx="2555996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>
                <a:solidFill>
                  <a:srgbClr val="4C6C9C"/>
                </a:solidFill>
                <a:latin typeface="Century Gothic"/>
                <a:ea typeface="ＭＳ Ｐゴシック"/>
              </a:rPr>
              <a:t>Impact on consumer prices</a:t>
            </a:r>
            <a:endParaRPr kumimoji="0" lang="en-US" sz="1400" b="1" i="0" u="none" strike="noStrike" kern="1200" cap="none" spc="0" normalizeH="0" baseline="-25000" noProof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 / % increase</a:t>
            </a:r>
            <a:endParaRPr kumimoji="0" lang="en-US" sz="1400" b="1" i="0" u="none" strike="noStrike" kern="1200" cap="none" spc="0" normalizeH="0" baseline="-2500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0374372-5E0E-42AF-9A3C-28BAD617BC43}"/>
              </a:ext>
            </a:extLst>
          </p:cNvPr>
          <p:cNvGrpSpPr/>
          <p:nvPr/>
        </p:nvGrpSpPr>
        <p:grpSpPr>
          <a:xfrm>
            <a:off x="482809" y="852472"/>
            <a:ext cx="8286144" cy="5665209"/>
            <a:chOff x="482809" y="852472"/>
            <a:chExt cx="8286144" cy="5665209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6BB12EE-15EF-4EB6-A48D-5D183C6EDAFA}"/>
                </a:ext>
              </a:extLst>
            </p:cNvPr>
            <p:cNvSpPr/>
            <p:nvPr/>
          </p:nvSpPr>
          <p:spPr>
            <a:xfrm>
              <a:off x="7929747" y="1794232"/>
              <a:ext cx="839206" cy="4723442"/>
            </a:xfrm>
            <a:prstGeom prst="rect">
              <a:avLst/>
            </a:prstGeom>
            <a:solidFill>
              <a:srgbClr val="CFDAE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8F83417F-350A-4F48-BBC7-743403ABB9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5626"/>
            <a:stretch/>
          </p:blipFill>
          <p:spPr>
            <a:xfrm>
              <a:off x="504071" y="2253339"/>
              <a:ext cx="7574571" cy="4264342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06A7A3D-D3A3-40C4-AE63-3E30DC364657}"/>
                </a:ext>
              </a:extLst>
            </p:cNvPr>
            <p:cNvSpPr/>
            <p:nvPr/>
          </p:nvSpPr>
          <p:spPr>
            <a:xfrm flipV="1">
              <a:off x="504070" y="1326930"/>
              <a:ext cx="8264882" cy="1020131"/>
            </a:xfrm>
            <a:prstGeom prst="rect">
              <a:avLst/>
            </a:prstGeom>
            <a:solidFill>
              <a:srgbClr val="CFDAE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cxnSp>
          <p:nvCxnSpPr>
            <p:cNvPr id="15" name="AutoShape 249">
              <a:extLst>
                <a:ext uri="{FF2B5EF4-FFF2-40B4-BE49-F238E27FC236}">
                  <a16:creationId xmlns:a16="http://schemas.microsoft.com/office/drawing/2014/main" id="{F3DFE44A-D230-4468-B7F1-1207057F585E}"/>
                </a:ext>
              </a:extLst>
            </p:cNvPr>
            <p:cNvCxnSpPr>
              <a:cxnSpLocks noChangeShapeType="1"/>
              <a:endCxn id="16" idx="6"/>
            </p:cNvCxnSpPr>
            <p:nvPr/>
          </p:nvCxnSpPr>
          <p:spPr bwMode="auto">
            <a:xfrm flipV="1">
              <a:off x="487483" y="1301826"/>
              <a:ext cx="8173343" cy="22874"/>
            </a:xfrm>
            <a:prstGeom prst="straightConnector1">
              <a:avLst/>
            </a:prstGeom>
            <a:noFill/>
            <a:ln w="9525">
              <a:solidFill>
                <a:srgbClr val="4C6C9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>
              <a:extLst>
                <a:ext uri="{FF2B5EF4-FFF2-40B4-BE49-F238E27FC236}">
                  <a16:creationId xmlns:a16="http://schemas.microsoft.com/office/drawing/2014/main" id="{EDEE2B24-903E-4878-A715-040CA84EB9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809" y="852472"/>
              <a:ext cx="8178017" cy="449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400" b="1">
                  <a:solidFill>
                    <a:srgbClr val="4C6C9C"/>
                  </a:solidFill>
                  <a:latin typeface="Century Gothic"/>
                  <a:ea typeface="ＭＳ Ｐゴシック"/>
                </a:rPr>
                <a:t>Indicative supply-side abatement cost &amp; Impact on B2B prices</a:t>
              </a:r>
              <a:endParaRPr kumimoji="0" lang="en-US" sz="1400" b="1" i="0" u="none" strike="noStrike" kern="1200" cap="none" spc="0" normalizeH="0" baseline="-25000" noProof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US$/tonne of CO</a:t>
              </a:r>
              <a:r>
                <a:rPr kumimoji="0" lang="en-GB" sz="1400" b="0" i="0" u="none" strike="noStrike" kern="1200" cap="none" spc="0" normalizeH="0" baseline="-2500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2</a:t>
              </a:r>
              <a:r>
                <a:rPr kumimoji="0" lang="en-GB" sz="1400" b="0" i="0" u="none" strike="noStrike" kern="1200" cap="none" spc="0" normalizeH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entury Gothic"/>
                  <a:ea typeface="ＭＳ Ｐゴシック"/>
                  <a:cs typeface="+mn-cs"/>
                </a:rPr>
                <a:t> / % increase</a:t>
              </a:r>
              <a:endParaRPr kumimoji="0" lang="en-US" sz="1400" b="1" i="0" u="none" strike="noStrike" kern="1200" cap="none" spc="0" normalizeH="0" baseline="-2500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0182816-7533-4B53-9C38-8DEC1F59AB08}"/>
                </a:ext>
              </a:extLst>
            </p:cNvPr>
            <p:cNvSpPr/>
            <p:nvPr/>
          </p:nvSpPr>
          <p:spPr>
            <a:xfrm>
              <a:off x="8006252" y="2552148"/>
              <a:ext cx="742003" cy="421309"/>
            </a:xfrm>
            <a:prstGeom prst="ellipse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+20%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858A728-F8D6-4678-BDAF-056EDC7543DE}"/>
                </a:ext>
              </a:extLst>
            </p:cNvPr>
            <p:cNvSpPr/>
            <p:nvPr/>
          </p:nvSpPr>
          <p:spPr>
            <a:xfrm>
              <a:off x="8006252" y="3227684"/>
              <a:ext cx="742003" cy="421309"/>
            </a:xfrm>
            <a:prstGeom prst="ellipse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+100%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0CBFFAB6-FB2F-4CED-A1E7-D328113AEF9F}"/>
                </a:ext>
              </a:extLst>
            </p:cNvPr>
            <p:cNvSpPr/>
            <p:nvPr/>
          </p:nvSpPr>
          <p:spPr>
            <a:xfrm>
              <a:off x="8006252" y="3903220"/>
              <a:ext cx="742003" cy="421309"/>
            </a:xfrm>
            <a:prstGeom prst="ellipse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+50%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87CB4DB-15AA-43FE-B22B-A9C5787D534D}"/>
                </a:ext>
              </a:extLst>
            </p:cNvPr>
            <p:cNvSpPr/>
            <p:nvPr/>
          </p:nvSpPr>
          <p:spPr>
            <a:xfrm>
              <a:off x="8006252" y="4578756"/>
              <a:ext cx="742003" cy="421309"/>
            </a:xfrm>
            <a:prstGeom prst="ellipse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None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5486802-416D-4E2F-8149-D43D6597FC61}"/>
                </a:ext>
              </a:extLst>
            </p:cNvPr>
            <p:cNvSpPr/>
            <p:nvPr/>
          </p:nvSpPr>
          <p:spPr>
            <a:xfrm>
              <a:off x="8006252" y="5254292"/>
              <a:ext cx="742003" cy="421309"/>
            </a:xfrm>
            <a:prstGeom prst="ellipse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+50-100%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D632DB2-D4AA-4995-885E-DFC28205683D}"/>
                </a:ext>
              </a:extLst>
            </p:cNvPr>
            <p:cNvSpPr/>
            <p:nvPr/>
          </p:nvSpPr>
          <p:spPr>
            <a:xfrm>
              <a:off x="8006252" y="5929826"/>
              <a:ext cx="742003" cy="421309"/>
            </a:xfrm>
            <a:prstGeom prst="ellipse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+110%</a:t>
              </a:r>
            </a:p>
          </p:txBody>
        </p:sp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BEE6E53C-3A3A-499D-8856-6A9DAB4E90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6542" b="84304"/>
            <a:stretch/>
          </p:blipFill>
          <p:spPr>
            <a:xfrm>
              <a:off x="504071" y="1341334"/>
              <a:ext cx="7574571" cy="462651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20F16A16-E1E8-46DF-BD37-8073BC9DED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616688" y="1807061"/>
              <a:ext cx="404338" cy="540000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59C26F1-2F4C-4189-BDBA-B4C264D34B44}"/>
                </a:ext>
              </a:extLst>
            </p:cNvPr>
            <p:cNvSpPr txBox="1"/>
            <p:nvPr/>
          </p:nvSpPr>
          <p:spPr>
            <a:xfrm>
              <a:off x="1091724" y="1919832"/>
              <a:ext cx="69897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rgbClr val="71B000"/>
                  </a:solidFill>
                </a:rPr>
                <a:t>In most sectors of the economy, clean electrification is or will soon be cost-competitive</a:t>
              </a: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5520F0B7-0894-4809-9808-4008415A4ED2}"/>
                </a:ext>
              </a:extLst>
            </p:cNvPr>
            <p:cNvSpPr/>
            <p:nvPr/>
          </p:nvSpPr>
          <p:spPr>
            <a:xfrm>
              <a:off x="8010104" y="1851027"/>
              <a:ext cx="742003" cy="421309"/>
            </a:xfrm>
            <a:prstGeom prst="ellipse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Non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3900D0B-BFD4-463D-9995-B70D8E4CAFCC}"/>
              </a:ext>
            </a:extLst>
          </p:cNvPr>
          <p:cNvGrpSpPr/>
          <p:nvPr/>
        </p:nvGrpSpPr>
        <p:grpSpPr>
          <a:xfrm>
            <a:off x="8768952" y="1714574"/>
            <a:ext cx="2687337" cy="4802353"/>
            <a:chOff x="8768952" y="1714574"/>
            <a:chExt cx="2687337" cy="4802353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A4B41EA-388B-405B-B488-32FB704773B6}"/>
                </a:ext>
              </a:extLst>
            </p:cNvPr>
            <p:cNvSpPr/>
            <p:nvPr/>
          </p:nvSpPr>
          <p:spPr>
            <a:xfrm>
              <a:off x="10751820" y="2443998"/>
              <a:ext cx="696430" cy="1999184"/>
            </a:xfrm>
            <a:prstGeom prst="rect">
              <a:avLst/>
            </a:prstGeom>
            <a:solidFill>
              <a:srgbClr val="E9935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AC0F9AB-B71F-476B-B686-E3BC19C71E5A}"/>
                </a:ext>
              </a:extLst>
            </p:cNvPr>
            <p:cNvSpPr/>
            <p:nvPr/>
          </p:nvSpPr>
          <p:spPr>
            <a:xfrm>
              <a:off x="10609044" y="4497601"/>
              <a:ext cx="839205" cy="2019323"/>
            </a:xfrm>
            <a:prstGeom prst="rect">
              <a:avLst/>
            </a:prstGeom>
            <a:solidFill>
              <a:srgbClr val="84A8B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BAB66DF-B6B8-4CAF-9A27-31195F617559}"/>
                </a:ext>
              </a:extLst>
            </p:cNvPr>
            <p:cNvSpPr/>
            <p:nvPr/>
          </p:nvSpPr>
          <p:spPr>
            <a:xfrm>
              <a:off x="9473710" y="4498374"/>
              <a:ext cx="1477923" cy="2018553"/>
            </a:xfrm>
            <a:prstGeom prst="rect">
              <a:avLst/>
            </a:prstGeom>
            <a:solidFill>
              <a:srgbClr val="7198A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F36F50E9-5F4D-4DD2-8F1C-72A661832FB3}"/>
                </a:ext>
              </a:extLst>
            </p:cNvPr>
            <p:cNvSpPr/>
            <p:nvPr/>
          </p:nvSpPr>
          <p:spPr>
            <a:xfrm>
              <a:off x="8768952" y="2443998"/>
              <a:ext cx="2081231" cy="2004590"/>
            </a:xfrm>
            <a:prstGeom prst="rect">
              <a:avLst/>
            </a:prstGeom>
            <a:solidFill>
              <a:srgbClr val="E9935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D09466A4-9CBE-4D6D-95D5-3E8DE1EA229F}"/>
                </a:ext>
              </a:extLst>
            </p:cNvPr>
            <p:cNvGrpSpPr/>
            <p:nvPr/>
          </p:nvGrpSpPr>
          <p:grpSpPr>
            <a:xfrm>
              <a:off x="8768953" y="3119974"/>
              <a:ext cx="2576617" cy="629212"/>
              <a:chOff x="8768953" y="2265740"/>
              <a:chExt cx="2576617" cy="629212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BD443C30-AA06-49A7-AB2D-3E51D235F76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69006" t="1315" r="2360" b="75164"/>
              <a:stretch/>
            </p:blipFill>
            <p:spPr>
              <a:xfrm>
                <a:off x="10703161" y="2265740"/>
                <a:ext cx="642409" cy="629212"/>
              </a:xfrm>
              <a:prstGeom prst="rect">
                <a:avLst/>
              </a:prstGeom>
            </p:spPr>
          </p:pic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D3EFBE5D-5FEF-4BC4-8EC6-483B1CCF444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t="1315" r="46223" b="78962"/>
              <a:stretch/>
            </p:blipFill>
            <p:spPr>
              <a:xfrm>
                <a:off x="8768953" y="2265740"/>
                <a:ext cx="1438822" cy="629212"/>
              </a:xfrm>
              <a:prstGeom prst="rect">
                <a:avLst/>
              </a:prstGeom>
            </p:spPr>
          </p:pic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C7E4158-B64E-466D-AEEF-ECA8A9A58293}"/>
                </a:ext>
              </a:extLst>
            </p:cNvPr>
            <p:cNvGrpSpPr/>
            <p:nvPr/>
          </p:nvGrpSpPr>
          <p:grpSpPr>
            <a:xfrm>
              <a:off x="8768954" y="2456559"/>
              <a:ext cx="2576616" cy="631714"/>
              <a:chOff x="8768954" y="2940345"/>
              <a:chExt cx="2576616" cy="631714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99E31831-0F57-427F-816F-E5B8AF75FB2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442" t="37220" r="37715" b="43758"/>
              <a:stretch/>
            </p:blipFill>
            <p:spPr>
              <a:xfrm>
                <a:off x="8768954" y="2940345"/>
                <a:ext cx="1722450" cy="631714"/>
              </a:xfrm>
              <a:prstGeom prst="rect">
                <a:avLst/>
              </a:prstGeom>
            </p:spPr>
          </p:pic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55015FF1-813F-45B2-B530-31177D6D92D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68385" t="35031" r="2718" b="41216"/>
              <a:stretch/>
            </p:blipFill>
            <p:spPr>
              <a:xfrm>
                <a:off x="10703160" y="2942411"/>
                <a:ext cx="642410" cy="629648"/>
              </a:xfrm>
              <a:prstGeom prst="rect">
                <a:avLst/>
              </a:prstGeom>
            </p:spPr>
          </p:pic>
        </p:grp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E06B8AE7-956B-4DDB-A512-2587E837AD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68385" t="35031" r="2718" b="41216"/>
            <a:stretch/>
          </p:blipFill>
          <p:spPr>
            <a:xfrm>
              <a:off x="10703160" y="3783556"/>
              <a:ext cx="648000" cy="635127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B11A74C9-2E18-4C6E-B848-83121C9BD0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31" t="71077" r="50411" b="7378"/>
            <a:stretch/>
          </p:blipFill>
          <p:spPr>
            <a:xfrm>
              <a:off x="8768953" y="3750539"/>
              <a:ext cx="1336140" cy="692643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C0DD8E87-FBE6-4507-A372-B07B81D0DD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65987" t="1520" r="4730" b="73311"/>
            <a:stretch/>
          </p:blipFill>
          <p:spPr>
            <a:xfrm>
              <a:off x="10690668" y="4502333"/>
              <a:ext cx="642409" cy="654057"/>
            </a:xfrm>
            <a:prstGeom prst="rect">
              <a:avLst/>
            </a:prstGeom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59802128-4B71-419C-AEDF-B732D258AF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2741" r="41350" b="78786"/>
            <a:stretch/>
          </p:blipFill>
          <p:spPr>
            <a:xfrm>
              <a:off x="8768953" y="4498374"/>
              <a:ext cx="1756433" cy="655309"/>
            </a:xfrm>
            <a:prstGeom prst="rect">
              <a:avLst/>
            </a:prstGeom>
          </p:spPr>
        </p:pic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E74D886-DECC-4CDB-B348-7E7896EDAFBD}"/>
                </a:ext>
              </a:extLst>
            </p:cNvPr>
            <p:cNvGrpSpPr/>
            <p:nvPr/>
          </p:nvGrpSpPr>
          <p:grpSpPr>
            <a:xfrm>
              <a:off x="8768952" y="5791389"/>
              <a:ext cx="2564125" cy="722768"/>
              <a:chOff x="8768952" y="5023102"/>
              <a:chExt cx="2564125" cy="722768"/>
            </a:xfrm>
          </p:grpSpPr>
          <p:pic>
            <p:nvPicPr>
              <p:cNvPr id="52" name="Picture 51">
                <a:extLst>
                  <a:ext uri="{FF2B5EF4-FFF2-40B4-BE49-F238E27FC236}">
                    <a16:creationId xmlns:a16="http://schemas.microsoft.com/office/drawing/2014/main" id="{63B5F480-014A-43BA-9CBA-9FA56657758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36886" r="42032" b="42740"/>
              <a:stretch/>
            </p:blipFill>
            <p:spPr>
              <a:xfrm>
                <a:off x="8768952" y="5023102"/>
                <a:ext cx="1735991" cy="722768"/>
              </a:xfrm>
              <a:prstGeom prst="rect">
                <a:avLst/>
              </a:prstGeom>
            </p:spPr>
          </p:pic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B13FDB87-73D5-4072-B5DD-B38C0C65946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66775" t="35707" r="5545" b="40534"/>
              <a:stretch/>
            </p:blipFill>
            <p:spPr>
              <a:xfrm>
                <a:off x="10691938" y="5027844"/>
                <a:ext cx="641139" cy="651876"/>
              </a:xfrm>
              <a:prstGeom prst="rect">
                <a:avLst/>
              </a:prstGeom>
            </p:spPr>
          </p:pic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E7B36701-4444-43B5-9688-961BA8377C86}"/>
                </a:ext>
              </a:extLst>
            </p:cNvPr>
            <p:cNvGrpSpPr/>
            <p:nvPr/>
          </p:nvGrpSpPr>
          <p:grpSpPr>
            <a:xfrm>
              <a:off x="8768953" y="5128997"/>
              <a:ext cx="2562854" cy="679022"/>
              <a:chOff x="8768953" y="5678410"/>
              <a:chExt cx="2562854" cy="679022"/>
            </a:xfrm>
          </p:grpSpPr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86256C18-FFB9-471B-9C58-0796AE3FF2B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71489" r="35413" b="9371"/>
              <a:stretch/>
            </p:blipFill>
            <p:spPr>
              <a:xfrm>
                <a:off x="8768953" y="5678410"/>
                <a:ext cx="1934207" cy="679022"/>
              </a:xfrm>
              <a:prstGeom prst="rect">
                <a:avLst/>
              </a:prstGeom>
            </p:spPr>
          </p:pic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B6B41D45-190D-4CF3-8E6D-1A71A41A6EA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66769" t="69705" r="4960" b="6464"/>
              <a:stretch/>
            </p:blipFill>
            <p:spPr>
              <a:xfrm>
                <a:off x="10690668" y="5688767"/>
                <a:ext cx="641139" cy="640188"/>
              </a:xfrm>
              <a:prstGeom prst="rect">
                <a:avLst/>
              </a:prstGeom>
            </p:spPr>
          </p:pic>
        </p:grp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3BE11459-E2FA-475C-B481-92BF9A6035AB}"/>
                </a:ext>
              </a:extLst>
            </p:cNvPr>
            <p:cNvSpPr/>
            <p:nvPr/>
          </p:nvSpPr>
          <p:spPr>
            <a:xfrm>
              <a:off x="10617084" y="1714574"/>
              <a:ext cx="839205" cy="658267"/>
            </a:xfrm>
            <a:prstGeom prst="rect">
              <a:avLst/>
            </a:prstGeom>
            <a:solidFill>
              <a:srgbClr val="84A8B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97497FA1-8B47-4FCD-B9A5-BD8690B48863}"/>
                </a:ext>
              </a:extLst>
            </p:cNvPr>
            <p:cNvSpPr/>
            <p:nvPr/>
          </p:nvSpPr>
          <p:spPr>
            <a:xfrm>
              <a:off x="9481750" y="1715348"/>
              <a:ext cx="1477923" cy="658016"/>
            </a:xfrm>
            <a:prstGeom prst="rect">
              <a:avLst/>
            </a:prstGeom>
            <a:solidFill>
              <a:srgbClr val="7198A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DD9D76AD-4609-438E-B387-06AC22653E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65987" t="1520" r="4730" b="73311"/>
            <a:stretch/>
          </p:blipFill>
          <p:spPr>
            <a:xfrm>
              <a:off x="10698708" y="1719306"/>
              <a:ext cx="642409" cy="654057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4A122CE4-615B-46BE-A50E-BD110E3011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2741" r="41350" b="78786"/>
            <a:stretch/>
          </p:blipFill>
          <p:spPr>
            <a:xfrm>
              <a:off x="8776993" y="1715347"/>
              <a:ext cx="1756433" cy="655309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4F29A57-18D4-4811-84C9-069691F599E4}"/>
                </a:ext>
              </a:extLst>
            </p:cNvPr>
            <p:cNvSpPr/>
            <p:nvPr/>
          </p:nvSpPr>
          <p:spPr>
            <a:xfrm>
              <a:off x="9481749" y="2104156"/>
              <a:ext cx="835516" cy="149183"/>
            </a:xfrm>
            <a:prstGeom prst="rect">
              <a:avLst/>
            </a:prstGeom>
            <a:solidFill>
              <a:srgbClr val="618BA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8386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20" grpId="0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1D3839F-DF91-44B7-805E-56121D2AAA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1D3839F-DF91-44B7-805E-56121D2AA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7F0A3EB-0DD7-43B2-88F9-13E1393283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1300" u="none" strike="noStrike" kern="1200" cap="none" spc="0" normalizeH="0" noProof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sym typeface="Century Gothic" panose="020B0502020202020204" pitchFamily="34" charset="0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90D3717F-E471-442A-BDB0-4C2DAF564BD3}"/>
              </a:ext>
            </a:extLst>
          </p:cNvPr>
          <p:cNvSpPr txBox="1">
            <a:spLocks/>
          </p:cNvSpPr>
          <p:nvPr/>
        </p:nvSpPr>
        <p:spPr bwMode="auto">
          <a:xfrm>
            <a:off x="186571" y="103111"/>
            <a:ext cx="1188138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913526" fontAlgn="base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defTabSz="913526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GB" sz="2100" dirty="0">
                <a:solidFill>
                  <a:srgbClr val="4C6C9B"/>
                </a:solidFill>
                <a:ea typeface="ＭＳ Ｐゴシック"/>
              </a:rPr>
              <a:t>Zero-carbon materials will be more expensive than existing high-carbon materials for the foreseeable future, but this will have only marginal impact on consumer prices</a:t>
            </a:r>
            <a:endParaRPr lang="en-US" sz="2100" dirty="0">
              <a:solidFill>
                <a:srgbClr val="4C6C9B"/>
              </a:solidFill>
              <a:ea typeface="ＭＳ Ｐゴシック"/>
            </a:endParaRPr>
          </a:p>
        </p:txBody>
      </p:sp>
      <p:sp>
        <p:nvSpPr>
          <p:cNvPr id="69" name="5. Source">
            <a:extLst>
              <a:ext uri="{FF2B5EF4-FFF2-40B4-BE49-F238E27FC236}">
                <a16:creationId xmlns:a16="http://schemas.microsoft.com/office/drawing/2014/main" id="{0C090AD7-832D-4A06-AFF8-04F3FFE3C2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581775"/>
            <a:ext cx="11779250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SYSTEMIQ analysis for th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ransitions Commission analysis (2018)</a:t>
            </a: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19" name="AutoShape 249">
            <a:extLst>
              <a:ext uri="{FF2B5EF4-FFF2-40B4-BE49-F238E27FC236}">
                <a16:creationId xmlns:a16="http://schemas.microsoft.com/office/drawing/2014/main" id="{35CA1F85-FE3F-4445-8E48-59ED2C58ADD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835690" y="2046398"/>
            <a:ext cx="2555996" cy="0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AutoShape 250">
            <a:extLst>
              <a:ext uri="{FF2B5EF4-FFF2-40B4-BE49-F238E27FC236}">
                <a16:creationId xmlns:a16="http://schemas.microsoft.com/office/drawing/2014/main" id="{D34C150B-77BE-4C19-80BA-87F786936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2253" y="1605416"/>
            <a:ext cx="2555996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>
                <a:solidFill>
                  <a:srgbClr val="4C6C9C"/>
                </a:solidFill>
                <a:latin typeface="Century Gothic"/>
                <a:ea typeface="ＭＳ Ｐゴシック"/>
              </a:rPr>
              <a:t>Impact on consumer prices</a:t>
            </a:r>
            <a:endParaRPr kumimoji="0" lang="en-US" sz="1400" b="1" i="0" u="none" strike="noStrike" kern="1200" cap="none" spc="0" normalizeH="0" baseline="-25000" noProof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 / % increase</a:t>
            </a:r>
            <a:endParaRPr kumimoji="0" lang="en-US" sz="1400" b="1" i="0" u="none" strike="noStrike" kern="1200" cap="none" spc="0" normalizeH="0" baseline="-2500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cxnSp>
        <p:nvCxnSpPr>
          <p:cNvPr id="15" name="AutoShape 249">
            <a:extLst>
              <a:ext uri="{FF2B5EF4-FFF2-40B4-BE49-F238E27FC236}">
                <a16:creationId xmlns:a16="http://schemas.microsoft.com/office/drawing/2014/main" id="{F3DFE44A-D230-4468-B7F1-1207057F585E}"/>
              </a:ext>
            </a:extLst>
          </p:cNvPr>
          <p:cNvCxnSpPr>
            <a:cxnSpLocks noChangeShapeType="1"/>
            <a:endCxn id="16" idx="6"/>
          </p:cNvCxnSpPr>
          <p:nvPr/>
        </p:nvCxnSpPr>
        <p:spPr bwMode="auto">
          <a:xfrm flipV="1">
            <a:off x="487483" y="2046111"/>
            <a:ext cx="8173343" cy="22874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AutoShape 250">
            <a:extLst>
              <a:ext uri="{FF2B5EF4-FFF2-40B4-BE49-F238E27FC236}">
                <a16:creationId xmlns:a16="http://schemas.microsoft.com/office/drawing/2014/main" id="{EDEE2B24-903E-4878-A715-040CA84EB9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809" y="1596757"/>
            <a:ext cx="8178017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>
                <a:solidFill>
                  <a:srgbClr val="4C6C9C"/>
                </a:solidFill>
                <a:latin typeface="Century Gothic"/>
                <a:ea typeface="ＭＳ Ｐゴシック"/>
              </a:rPr>
              <a:t>Indicative supply-side abatement cost &amp; Impact on B2B prices</a:t>
            </a:r>
            <a:endParaRPr kumimoji="0" lang="en-US" sz="1400" b="1" i="0" u="none" strike="noStrike" kern="1200" cap="none" spc="0" normalizeH="0" baseline="-25000" noProof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/tonne of CO</a:t>
            </a:r>
            <a:r>
              <a:rPr kumimoji="0" lang="en-GB" sz="1400" b="0" i="0" u="none" strike="noStrike" kern="1200" cap="none" spc="0" normalizeH="0" baseline="-2500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0" i="0" u="none" strike="noStrike" kern="1200" cap="none" spc="0" normalizeH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 / % increase</a:t>
            </a:r>
            <a:endParaRPr kumimoji="0" lang="en-US" sz="1400" b="1" i="0" u="none" strike="noStrike" kern="1200" cap="none" spc="0" normalizeH="0" baseline="-2500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6D733B-B6E6-454E-91D1-4FB76E914CBC}"/>
              </a:ext>
            </a:extLst>
          </p:cNvPr>
          <p:cNvGrpSpPr/>
          <p:nvPr/>
        </p:nvGrpSpPr>
        <p:grpSpPr>
          <a:xfrm>
            <a:off x="504070" y="2220076"/>
            <a:ext cx="8264883" cy="2865025"/>
            <a:chOff x="504070" y="1645915"/>
            <a:chExt cx="8264883" cy="2865025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6BB12EE-15EF-4EB6-A48D-5D183C6EDAFA}"/>
                </a:ext>
              </a:extLst>
            </p:cNvPr>
            <p:cNvSpPr/>
            <p:nvPr/>
          </p:nvSpPr>
          <p:spPr>
            <a:xfrm>
              <a:off x="7929747" y="1794232"/>
              <a:ext cx="839206" cy="2716708"/>
            </a:xfrm>
            <a:prstGeom prst="rect">
              <a:avLst/>
            </a:prstGeom>
            <a:solidFill>
              <a:srgbClr val="CFDAE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8F83417F-350A-4F48-BBC7-743403ABB9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5626" b="39705"/>
            <a:stretch/>
          </p:blipFill>
          <p:spPr>
            <a:xfrm>
              <a:off x="504071" y="2253339"/>
              <a:ext cx="7574571" cy="2257601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06A7A3D-D3A3-40C4-AE63-3E30DC364657}"/>
                </a:ext>
              </a:extLst>
            </p:cNvPr>
            <p:cNvSpPr/>
            <p:nvPr/>
          </p:nvSpPr>
          <p:spPr>
            <a:xfrm flipV="1">
              <a:off x="504070" y="1645915"/>
              <a:ext cx="8264882" cy="646330"/>
            </a:xfrm>
            <a:prstGeom prst="rect">
              <a:avLst/>
            </a:prstGeom>
            <a:solidFill>
              <a:srgbClr val="CFDAE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0182816-7533-4B53-9C38-8DEC1F59AB08}"/>
                </a:ext>
              </a:extLst>
            </p:cNvPr>
            <p:cNvSpPr/>
            <p:nvPr/>
          </p:nvSpPr>
          <p:spPr>
            <a:xfrm>
              <a:off x="8006252" y="2552148"/>
              <a:ext cx="742003" cy="421309"/>
            </a:xfrm>
            <a:prstGeom prst="ellipse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+20%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858A728-F8D6-4678-BDAF-056EDC7543DE}"/>
                </a:ext>
              </a:extLst>
            </p:cNvPr>
            <p:cNvSpPr/>
            <p:nvPr/>
          </p:nvSpPr>
          <p:spPr>
            <a:xfrm>
              <a:off x="8006252" y="3227684"/>
              <a:ext cx="742003" cy="421309"/>
            </a:xfrm>
            <a:prstGeom prst="ellipse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+100%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0CBFFAB6-FB2F-4CED-A1E7-D328113AEF9F}"/>
                </a:ext>
              </a:extLst>
            </p:cNvPr>
            <p:cNvSpPr/>
            <p:nvPr/>
          </p:nvSpPr>
          <p:spPr>
            <a:xfrm>
              <a:off x="8006252" y="3903220"/>
              <a:ext cx="742003" cy="421309"/>
            </a:xfrm>
            <a:prstGeom prst="ellipse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+50%</a:t>
              </a:r>
            </a:p>
          </p:txBody>
        </p:sp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BEE6E53C-3A3A-499D-8856-6A9DAB4E90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6542" b="84304"/>
            <a:stretch/>
          </p:blipFill>
          <p:spPr>
            <a:xfrm>
              <a:off x="504071" y="1660319"/>
              <a:ext cx="7574571" cy="462651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21CB051-0C4B-42F7-8CCC-6FE6B0AE2540}"/>
              </a:ext>
            </a:extLst>
          </p:cNvPr>
          <p:cNvGrpSpPr/>
          <p:nvPr/>
        </p:nvGrpSpPr>
        <p:grpSpPr>
          <a:xfrm>
            <a:off x="8768952" y="3018159"/>
            <a:ext cx="2679298" cy="2004590"/>
            <a:chOff x="8768952" y="2443998"/>
            <a:chExt cx="2679298" cy="2004590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A4B41EA-388B-405B-B488-32FB704773B6}"/>
                </a:ext>
              </a:extLst>
            </p:cNvPr>
            <p:cNvSpPr/>
            <p:nvPr/>
          </p:nvSpPr>
          <p:spPr>
            <a:xfrm>
              <a:off x="10751820" y="2443998"/>
              <a:ext cx="696430" cy="1999184"/>
            </a:xfrm>
            <a:prstGeom prst="rect">
              <a:avLst/>
            </a:prstGeom>
            <a:solidFill>
              <a:srgbClr val="E9935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F36F50E9-5F4D-4DD2-8F1C-72A661832FB3}"/>
                </a:ext>
              </a:extLst>
            </p:cNvPr>
            <p:cNvSpPr/>
            <p:nvPr/>
          </p:nvSpPr>
          <p:spPr>
            <a:xfrm>
              <a:off x="8768952" y="2443998"/>
              <a:ext cx="2081231" cy="2004590"/>
            </a:xfrm>
            <a:prstGeom prst="rect">
              <a:avLst/>
            </a:prstGeom>
            <a:solidFill>
              <a:srgbClr val="E9935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D09466A4-9CBE-4D6D-95D5-3E8DE1EA229F}"/>
                </a:ext>
              </a:extLst>
            </p:cNvPr>
            <p:cNvGrpSpPr/>
            <p:nvPr/>
          </p:nvGrpSpPr>
          <p:grpSpPr>
            <a:xfrm>
              <a:off x="8768953" y="3119974"/>
              <a:ext cx="2576617" cy="629212"/>
              <a:chOff x="8768953" y="2265740"/>
              <a:chExt cx="2576617" cy="629212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BD443C30-AA06-49A7-AB2D-3E51D235F76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69006" t="1315" r="2360" b="75164"/>
              <a:stretch/>
            </p:blipFill>
            <p:spPr>
              <a:xfrm>
                <a:off x="10703161" y="2265740"/>
                <a:ext cx="642409" cy="629212"/>
              </a:xfrm>
              <a:prstGeom prst="rect">
                <a:avLst/>
              </a:prstGeom>
            </p:spPr>
          </p:pic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D3EFBE5D-5FEF-4BC4-8EC6-483B1CCF444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t="1315" r="46223" b="78962"/>
              <a:stretch/>
            </p:blipFill>
            <p:spPr>
              <a:xfrm>
                <a:off x="8768953" y="2265740"/>
                <a:ext cx="1438822" cy="629212"/>
              </a:xfrm>
              <a:prstGeom prst="rect">
                <a:avLst/>
              </a:prstGeom>
            </p:spPr>
          </p:pic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C7E4158-B64E-466D-AEEF-ECA8A9A58293}"/>
                </a:ext>
              </a:extLst>
            </p:cNvPr>
            <p:cNvGrpSpPr/>
            <p:nvPr/>
          </p:nvGrpSpPr>
          <p:grpSpPr>
            <a:xfrm>
              <a:off x="8768954" y="2456559"/>
              <a:ext cx="2576616" cy="631714"/>
              <a:chOff x="8768954" y="2940345"/>
              <a:chExt cx="2576616" cy="631714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99E31831-0F57-427F-816F-E5B8AF75FB2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442" t="37220" r="37715" b="43758"/>
              <a:stretch/>
            </p:blipFill>
            <p:spPr>
              <a:xfrm>
                <a:off x="8768954" y="2940345"/>
                <a:ext cx="1722450" cy="631714"/>
              </a:xfrm>
              <a:prstGeom prst="rect">
                <a:avLst/>
              </a:prstGeom>
            </p:spPr>
          </p:pic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55015FF1-813F-45B2-B530-31177D6D92D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68385" t="35031" r="2718" b="41216"/>
              <a:stretch/>
            </p:blipFill>
            <p:spPr>
              <a:xfrm>
                <a:off x="10703160" y="2942411"/>
                <a:ext cx="642410" cy="629648"/>
              </a:xfrm>
              <a:prstGeom prst="rect">
                <a:avLst/>
              </a:prstGeom>
            </p:spPr>
          </p:pic>
        </p:grp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E06B8AE7-956B-4DDB-A512-2587E837AD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68385" t="35031" r="2718" b="41216"/>
            <a:stretch/>
          </p:blipFill>
          <p:spPr>
            <a:xfrm>
              <a:off x="10703160" y="3783556"/>
              <a:ext cx="648000" cy="635127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B11A74C9-2E18-4C6E-B848-83121C9BD0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1" t="71077" r="50411" b="7378"/>
            <a:stretch/>
          </p:blipFill>
          <p:spPr>
            <a:xfrm>
              <a:off x="8768953" y="3750539"/>
              <a:ext cx="1336140" cy="6926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1330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45" name="Title 1"/>
          <p:cNvSpPr txBox="1">
            <a:spLocks/>
          </p:cNvSpPr>
          <p:nvPr/>
        </p:nvSpPr>
        <p:spPr bwMode="auto">
          <a:xfrm>
            <a:off x="230912" y="133181"/>
            <a:ext cx="11340000" cy="627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2040" b="1" i="0" u="none" strike="noStrike" kern="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Low-cost, low-carbon electricity is likely to be available in most geographies,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2040" b="1" i="0" u="none" strike="noStrike" kern="0" cap="none" spc="0" normalizeH="0" baseline="0" noProof="0" dirty="0">
                <a:ln>
                  <a:noFill/>
                </a:ln>
                <a:solidFill>
                  <a:srgbClr val="004876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with electricity below $35/MWh produced in most favorable locations</a:t>
            </a: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A0248B9B-2048-4204-86F6-9F2AA6B5C5B5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830263" y="1841500"/>
          <a:ext cx="2433637" cy="3455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5B817151-5649-4880-9DF1-6937302C2AE7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320925" y="2278063"/>
            <a:ext cx="139700" cy="198438"/>
          </a:xfrm>
          <a:prstGeom prst="rect">
            <a:avLst/>
          </a:prstGeom>
          <a:solidFill>
            <a:srgbClr val="FFCB84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4F9EC96-01E8-4302-8358-0B1B43712301}" type="datetime'''''''''''''''''2'''''''''''''''''''''''''''''''''''"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B638D3B-7FE0-48A2-A485-02400B4BB521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373188" y="5270500"/>
            <a:ext cx="13462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  <a:sym typeface="+mn-lt"/>
              </a:rPr>
              <a:t>Breakdown by flexibility services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4EDD735-928B-45A8-A2F1-478FC0597CA9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930400" y="2079625"/>
            <a:ext cx="2317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5F40221A-E240-4570-AC35-E5E0C0F6D7D4}" type="datetime'''''''''''''''7''''''''''''''''''''''''''''''''''0'''''''''''"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0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5306403-1699-465F-AF29-CDEE396D4645}"/>
              </a:ext>
            </a:extLst>
          </p:cNvPr>
          <p:cNvSpPr txBox="1"/>
          <p:nvPr/>
        </p:nvSpPr>
        <p:spPr>
          <a:xfrm>
            <a:off x="3442824" y="3762900"/>
            <a:ext cx="206737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Intraday balancing/ </a:t>
            </a: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Ramping capacity cost*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73E0F34-507C-45C0-A87C-DB5B4A783F0D}"/>
              </a:ext>
            </a:extLst>
          </p:cNvPr>
          <p:cNvSpPr txBox="1"/>
          <p:nvPr/>
        </p:nvSpPr>
        <p:spPr>
          <a:xfrm>
            <a:off x="3426422" y="4318502"/>
            <a:ext cx="180396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Levelized renewable 
generation cos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295F12-A56F-42AD-A953-91FA9050E8A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162726" y="4448677"/>
            <a:ext cx="146718" cy="1397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AE673ED-EE42-4F4A-BA88-2A29287BA3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162726" y="3891488"/>
            <a:ext cx="146718" cy="1397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9F2E2ED-6462-4DE5-A92E-50EDDB8BF1B1}"/>
              </a:ext>
            </a:extLst>
          </p:cNvPr>
          <p:cNvSpPr txBox="1"/>
          <p:nvPr/>
        </p:nvSpPr>
        <p:spPr>
          <a:xfrm>
            <a:off x="3442824" y="3231088"/>
            <a:ext cx="159389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Interday/Seasonal </a:t>
            </a: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</a:b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balancing cost*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6AB999F-0E50-4AF7-B837-40D189F6702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162726" y="3358088"/>
            <a:ext cx="146718" cy="1397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86DBBA7-CF1A-49DE-AD8C-68A638ACA27A}"/>
              </a:ext>
            </a:extLst>
          </p:cNvPr>
          <p:cNvSpPr txBox="1"/>
          <p:nvPr/>
        </p:nvSpPr>
        <p:spPr>
          <a:xfrm>
            <a:off x="3431152" y="2925117"/>
            <a:ext cx="1137065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t>Reserves cos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F0416B3-420C-47D0-A75B-33A2EF22633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162726" y="2958454"/>
            <a:ext cx="146718" cy="139700"/>
          </a:xfrm>
          <a:prstGeom prst="rect">
            <a:avLst/>
          </a:prstGeom>
          <a:solidFill>
            <a:srgbClr val="FFC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1791D16A-B1DA-4DDA-9A54-623866FF6AF8}"/>
              </a:ext>
            </a:extLst>
          </p:cNvPr>
          <p:cNvSpPr/>
          <p:nvPr/>
        </p:nvSpPr>
        <p:spPr>
          <a:xfrm>
            <a:off x="5735638" y="2252663"/>
            <a:ext cx="287338" cy="3335338"/>
          </a:xfrm>
          <a:prstGeom prst="rightArrow">
            <a:avLst>
              <a:gd name="adj1" fmla="val 50000"/>
              <a:gd name="adj2" fmla="val 100203"/>
            </a:avLst>
          </a:prstGeom>
          <a:solidFill>
            <a:srgbClr val="4C6C9C"/>
          </a:solidFill>
          <a:ln w="9525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4BA3FB4-790D-4A95-8947-B9B558BB0E28}"/>
              </a:ext>
            </a:extLst>
          </p:cNvPr>
          <p:cNvSpPr>
            <a:spLocks/>
          </p:cNvSpPr>
          <p:nvPr/>
        </p:nvSpPr>
        <p:spPr>
          <a:xfrm>
            <a:off x="6584954" y="2355852"/>
            <a:ext cx="1259851" cy="468093"/>
          </a:xfrm>
          <a:prstGeom prst="ellipse">
            <a:avLst/>
          </a:prstGeom>
          <a:solidFill>
            <a:srgbClr val="4C6C9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70/MWh</a:t>
            </a:r>
          </a:p>
        </p:txBody>
      </p:sp>
      <p:sp>
        <p:nvSpPr>
          <p:cNvPr id="43" name="3. Unit of measure">
            <a:extLst>
              <a:ext uri="{FF2B5EF4-FFF2-40B4-BE49-F238E27FC236}">
                <a16:creationId xmlns:a16="http://schemas.microsoft.com/office/drawing/2014/main" id="{9F90568B-EAFE-4B08-9076-7A0968F7FB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2420" y="5185649"/>
            <a:ext cx="2699681" cy="200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 baseline="0"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In favorable geographie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3F82478C-9D35-4F1C-802D-BD784915B4DC}"/>
              </a:ext>
            </a:extLst>
          </p:cNvPr>
          <p:cNvSpPr>
            <a:spLocks/>
          </p:cNvSpPr>
          <p:nvPr/>
        </p:nvSpPr>
        <p:spPr>
          <a:xfrm>
            <a:off x="6584954" y="5051650"/>
            <a:ext cx="1259851" cy="468093"/>
          </a:xfrm>
          <a:prstGeom prst="ellipse">
            <a:avLst/>
          </a:prstGeom>
          <a:solidFill>
            <a:srgbClr val="4C6C9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&lt;US$35/MWh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309884E-695B-4B50-8B91-DAC907946A74}"/>
              </a:ext>
            </a:extLst>
          </p:cNvPr>
          <p:cNvSpPr>
            <a:spLocks/>
          </p:cNvSpPr>
          <p:nvPr/>
        </p:nvSpPr>
        <p:spPr>
          <a:xfrm>
            <a:off x="6584954" y="3703886"/>
            <a:ext cx="1259851" cy="468093"/>
          </a:xfrm>
          <a:prstGeom prst="ellipse">
            <a:avLst/>
          </a:prstGeom>
          <a:solidFill>
            <a:srgbClr val="4C6C9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55/MWh</a:t>
            </a:r>
          </a:p>
        </p:txBody>
      </p:sp>
      <p:sp>
        <p:nvSpPr>
          <p:cNvPr id="52" name="3. Unit of measure">
            <a:extLst>
              <a:ext uri="{FF2B5EF4-FFF2-40B4-BE49-F238E27FC236}">
                <a16:creationId xmlns:a16="http://schemas.microsoft.com/office/drawing/2014/main" id="{700B9770-7FED-4D5B-8A33-40E762F66B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2420" y="2392584"/>
            <a:ext cx="3098011" cy="400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 baseline="0"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ximum in most geographies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with batteries and gas peaking plants only</a:t>
            </a:r>
          </a:p>
        </p:txBody>
      </p:sp>
      <p:sp>
        <p:nvSpPr>
          <p:cNvPr id="53" name="3. Unit of measure">
            <a:extLst>
              <a:ext uri="{FF2B5EF4-FFF2-40B4-BE49-F238E27FC236}">
                <a16:creationId xmlns:a16="http://schemas.microsoft.com/office/drawing/2014/main" id="{39240756-4C39-48D6-862C-DC63E29CB2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2420" y="3565153"/>
            <a:ext cx="3098011" cy="800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 baseline="0"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chievable in most geographies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when using other sources of flexibility (e.g. dispatchable hydro,</a:t>
            </a: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demand management…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182E034-4DEC-4B6F-A74E-11CEA801786F}"/>
              </a:ext>
            </a:extLst>
          </p:cNvPr>
          <p:cNvSpPr txBox="1"/>
          <p:nvPr/>
        </p:nvSpPr>
        <p:spPr>
          <a:xfrm>
            <a:off x="10309412" y="6245225"/>
            <a:ext cx="16587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6" name="AutoShape 250">
            <a:extLst>
              <a:ext uri="{FF2B5EF4-FFF2-40B4-BE49-F238E27FC236}">
                <a16:creationId xmlns:a16="http://schemas.microsoft.com/office/drawing/2014/main" id="{13022F81-3DE9-4489-8FBA-6303A671C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8700" y="1470118"/>
            <a:ext cx="9213973" cy="44901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Maximum all-in cost of power generation in a near-total-variable-renewable power system by 2035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4C6C9C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US$/MWh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80" name="5. Source">
            <a:extLst>
              <a:ext uri="{FF2B5EF4-FFF2-40B4-BE49-F238E27FC236}">
                <a16:creationId xmlns:a16="http://schemas.microsoft.com/office/drawing/2014/main" id="{63C0D670-C025-4992-A1CA-7FA6AD4A74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999919"/>
            <a:ext cx="12192000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b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Based on German resource and load profile / *Considers only two flexibility technologies: CCGT &amp; Lithium-ion batteries / Levelized renewable energy generation cost includes all energy potentially produced, including amount curtailed or stored/shifted. </a:t>
            </a: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Adapted from Climate Policy Initiative for the Energy Transitions Commission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Low-cost, low-carbon power system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8E7AB0E-5AAE-4744-BE85-D883186F1781}"/>
              </a:ext>
            </a:extLst>
          </p:cNvPr>
          <p:cNvCxnSpPr>
            <a:cxnSpLocks/>
          </p:cNvCxnSpPr>
          <p:nvPr/>
        </p:nvCxnSpPr>
        <p:spPr>
          <a:xfrm>
            <a:off x="1217434" y="1930765"/>
            <a:ext cx="9900087" cy="0"/>
          </a:xfrm>
          <a:prstGeom prst="line">
            <a:avLst/>
          </a:prstGeom>
          <a:ln>
            <a:solidFill>
              <a:srgbClr val="4C6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59827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>
            <a:extLst>
              <a:ext uri="{FF2B5EF4-FFF2-40B4-BE49-F238E27FC236}">
                <a16:creationId xmlns:a16="http://schemas.microsoft.com/office/drawing/2014/main" id="{BDE2CB06-524D-4588-A765-2208F44F30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67" name="Object 66" hidden="1">
                        <a:extLst>
                          <a:ext uri="{FF2B5EF4-FFF2-40B4-BE49-F238E27FC236}">
                            <a16:creationId xmlns:a16="http://schemas.microsoft.com/office/drawing/2014/main" id="{BDE2CB06-524D-4588-A765-2208F44F3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107274D8-84D2-4804-B902-2DE7461C886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1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 panose="020B0502020202020204" pitchFamily="34" charset="0"/>
              <a:ea typeface="Arial Unicode MS" panose="020B0604020202020204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0152F2-0A8B-4FBF-B6B3-CFF95F128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546" y="255297"/>
            <a:ext cx="11537238" cy="314060"/>
          </a:xfrm>
        </p:spPr>
        <p:txBody>
          <a:bodyPr/>
          <a:lstStyle/>
          <a:p>
            <a:r>
              <a:rPr lang="en-US" dirty="0"/>
              <a:t>Electricity from renewables and nuclear could account for ~60% of primary energy demand </a:t>
            </a:r>
            <a:endParaRPr lang="en-GB" sz="1800" b="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77C6E7FF-1645-4B6F-9CFB-EECED0FC2D99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1439863" y="2087563"/>
          <a:ext cx="9477375" cy="3457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71" name="Rectangle 170">
            <a:extLst>
              <a:ext uri="{FF2B5EF4-FFF2-40B4-BE49-F238E27FC236}">
                <a16:creationId xmlns:a16="http://schemas.microsoft.com/office/drawing/2014/main" id="{052176FA-2CF4-4346-8436-473615EB3F4D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879475" y="4791075"/>
            <a:ext cx="116998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91869287-F6A6-4DAE-870C-1B65A049C1CA}" type="datetime'''E''lectr''icity ''f''rom''&#10; ren''ewabl''es&#10; a''''nd nuclear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Electricity from
 renewables
 and nuclear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2D391CB4-6325-4E7A-B441-7592D6876800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247775" y="4541838"/>
            <a:ext cx="8016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0AEDBBCC-3A3D-491C-933C-2ABA633B8325}" type="datetime'''''''B''''''''''i''''''o''''ene''r''g''''''''y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Bioenergy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4C7D448-7FE5-40E3-9F2F-3BA54408D758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206625" y="5518150"/>
            <a:ext cx="1733550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t>Current trend  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t>(IEA 2050 Reference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t>Technology scenario)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20DDF1C-5E80-47D4-A2D1-1443115E5276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5035550" y="5518151"/>
            <a:ext cx="22844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t>ETC Indicative Pathway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t>Supply-side decarbonization 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DFCD6F9-765E-4AB4-98FE-ACA8C4AB2D6D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8140700" y="5518150"/>
            <a:ext cx="2284413" cy="83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t>ETC Indicative Pathway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/>
                <a:sym typeface="+mn-lt"/>
              </a:rPr>
              <a:t>Supply-side decarbonization and efficiency*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99F74A7D-3853-4FAE-91AD-5FD3D7C06E3D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6015038" y="2595563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CC781815-168C-4B33-AEAD-DECF77D3F6EE}" type="datetime'''''''''6''''''''''''''''''''''''3''''''''''9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63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9FAC2835-20A8-48B8-971C-60085928C55B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265239" y="3219450"/>
            <a:ext cx="7842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D12D9FAD-9C57-4B54-88A4-5055AADAE3D1}" type="datetime'''Fos''''''s''''''i''l ''''''f''''u''''e''''''l''s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anose="020B0604020202020204"/>
                <a:sym typeface="+mn-lt"/>
              </a:rPr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Fossil fuels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anose="020B0604020202020204"/>
              <a:sym typeface="+mn-lt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809BBEC1-BEC1-4A75-8E7B-ED0A120AF35D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911475" y="1946275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ED9BC338-EE34-4EEB-9407-4596CBEBD1C9}" type="datetime'''''7''''''9''''6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79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/>
              <a:sym typeface="+mn-lt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0B0DA8AB-0676-482C-980E-AD6A6063C3F4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9120188" y="3395663"/>
            <a:ext cx="323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876"/>
              </a:buClr>
              <a:buSzTx/>
              <a:buFontTx/>
              <a:buNone/>
              <a:tabLst/>
              <a:defRPr/>
            </a:pPr>
            <a:fld id="{656F3B7F-FD96-4C7B-9036-B1D1ED2AC3A2}" type="datetime'''''''''''''''''''''4''''''''''''''46'''''''''''''''''''''''''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Arial Unicode MS" pitchFamily="34" charset="-128"/>
              </a:rPr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876"/>
                </a:buClr>
                <a:buSzTx/>
                <a:buFontTx/>
                <a:buNone/>
                <a:tabLst/>
                <a:defRPr/>
              </a:pPr>
              <a:t>44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entury Gothic"/>
              <a:ea typeface="Arial Unicode MS" pitchFamily="34" charset="-128"/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3DE1726-6531-4C11-BD80-6A5A35326755}"/>
              </a:ext>
            </a:extLst>
          </p:cNvPr>
          <p:cNvSpPr/>
          <p:nvPr/>
        </p:nvSpPr>
        <p:spPr>
          <a:xfrm>
            <a:off x="10570211" y="-380596"/>
            <a:ext cx="1544638" cy="216000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xhibit 10</a:t>
            </a:r>
          </a:p>
        </p:txBody>
      </p:sp>
      <p:cxnSp>
        <p:nvCxnSpPr>
          <p:cNvPr id="53" name="AutoShape 249">
            <a:extLst>
              <a:ext uri="{FF2B5EF4-FFF2-40B4-BE49-F238E27FC236}">
                <a16:creationId xmlns:a16="http://schemas.microsoft.com/office/drawing/2014/main" id="{80981DE0-7F64-4359-BCE9-AA78B17D8C80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793750" y="1599224"/>
            <a:ext cx="10123488" cy="1688"/>
          </a:xfrm>
          <a:prstGeom prst="straightConnector1">
            <a:avLst/>
          </a:prstGeom>
          <a:noFill/>
          <a:ln w="9525">
            <a:solidFill>
              <a:srgbClr val="4C6C9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AutoShape 250">
            <a:extLst>
              <a:ext uri="{FF2B5EF4-FFF2-40B4-BE49-F238E27FC236}">
                <a16:creationId xmlns:a16="http://schemas.microsoft.com/office/drawing/2014/main" id="{2C2E7F8A-3E3C-4EF9-8D14-024BCF775C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843" y="1117946"/>
            <a:ext cx="8771852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Global primary energy demand in a net-zero-CO</a:t>
            </a:r>
            <a:r>
              <a:rPr kumimoji="0" lang="en-GB" sz="1400" b="1" i="0" u="none" strike="noStrike" kern="1200" cap="none" spc="0" normalizeH="0" baseline="-2500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2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C6C9C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-emissions econom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J/year, mid-century</a:t>
            </a:r>
            <a:endParaRPr kumimoji="0" lang="en-US" sz="1400" b="1" i="0" u="none" strike="noStrike" kern="1200" cap="none" spc="0" normalizeH="0" baseline="-25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  <p:sp>
        <p:nvSpPr>
          <p:cNvPr id="57" name="5. Source">
            <a:extLst>
              <a:ext uri="{FF2B5EF4-FFF2-40B4-BE49-F238E27FC236}">
                <a16:creationId xmlns:a16="http://schemas.microsoft.com/office/drawing/2014/main" id="{AFC80013-33DC-4211-87DC-CA039503EE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96335"/>
            <a:ext cx="11778784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Note: The term “efficiency” covers energy efficiency, materials efficiency, materials circularity, and demand management in transport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  <a:p>
            <a:pPr marL="0" marR="0" lvl="0" indent="0" algn="l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2963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SYSTEMIQ analysis for the Energy Transitions Commission (2018); IEA (2017),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ea typeface="ＭＳ Ｐゴシック"/>
                <a:cs typeface="+mn-cs"/>
              </a:rPr>
              <a:t>Energy Technology Perspectives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5639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5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87463945572226275971E+00&quot;&gt;&lt;m_msothmcolidx val=&quot;0&quot;/&gt;&lt;m_rgb r=&quot;C2&quot; g=&quot;AF&quot; b=&quot;D6&quot;/&gt;&lt;m_nBrightness tagver0=&quot;26206&quot; tagname0=&quot;m_nBrightnessUNRECOGNIZED&quot; val=&quot;0&quot;/&gt;&lt;/elem&gt;&lt;elem m_fUsage=&quot;3.45786148900000078754E+00&quot;&gt;&lt;m_msothmcolidx val=&quot;0&quot;/&gt;&lt;m_rgb r=&quot;9B&quot; g=&quot;7A&quot; b=&quot;B6&quot;/&gt;&lt;m_nBrightness tagver0=&quot;26206&quot; tagname0=&quot;m_nBrightnessUNRECOGNIZED&quot; val=&quot;0&quot;/&gt;&lt;/elem&gt;&lt;elem m_fUsage=&quot;9.82521152660005947510E-01&quot;&gt;&lt;m_msothmcolidx val=&quot;0&quot;/&gt;&lt;m_rgb r=&quot;DA&quot; g=&quot;DA&quot; b=&quot;DA&quot;/&gt;&lt;m_nBrightness tagver0=&quot;26206&quot; tagname0=&quot;m_nBrightnessUNRECOGNIZED&quot; val=&quot;0&quot;/&gt;&lt;/elem&gt;&lt;elem m_fUsage=&quot;4.78296900000000135833E-01&quot;&gt;&lt;m_msothmcolidx val=&quot;0&quot;/&gt;&lt;m_rgb r=&quot;4A&quot; g=&quot;22&quot; b=&quot;60&quot;/&gt;&lt;m_nBrightness tagver0=&quot;26206&quot; tagname0=&quot;m_nBrightnessUNRECOGNIZED&quot; val=&quot;0&quot;/&gt;&lt;/elem&gt;&lt;elem m_fUsage=&quot;3.20387190652483333508E-01&quot;&gt;&lt;m_msothmcolidx val=&quot;0&quot;/&gt;&lt;m_rgb r=&quot;D9&quot; g=&quot;D9&quot; b=&quot;D9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Kxdx39SKO6YHcEmaFVNA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CGcKG7QOOyezDHEFWlFw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Z93lpCT4KFrQe5Q2DC0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..2rlGQpqELJZX9GkJsA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1MOKWnR6.wA.n1fVAhuw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GsnvuSRzqqocp1SRmj3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HswirRSFGkrFH9kW4t1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KqDmRRYylUuz1xNjsaw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LfmLIQRyT9DzrUuQIEQ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GwAFvUScSN49cKEACnjA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0jUxkuSgqbgSw84vCMP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3RyL7HS8.10ARxyiUOH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wZwS5qS52y4fRBAxb_vA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xzM90MTd6zvZTmFtJiUQ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I_lhi9QTqEUEQjou619g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FOALTVRDGTHu.KVjigDg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IghLnJRpyUqkh1HZmgLw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Q7QD1HSQulTL6aRUet0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lrYOWYR1ilUGJdQNSOwA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EBN48bScKIx55dEsgJ8Q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dy_nezRPqxoZtFInmOMw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WhLwbdQCK8M9fAi7pfs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pBwVkTTBqNOQuu5CiFYg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mJPYXnTUih2HCArsvrHg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EnfijGTNi__WWDf.93Mw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lG9PFcQeSbfCUDqTjrsw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9O6HRCTiaP4iLtEWWEwg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aTGdDGRpua.8sHWPq_NA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wg2T46RdmoacwmMroP0A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RoLlZvSduZVz17VuUJLw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iD26.IQZSm2piV4lDji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XZiotyStmoF2lMG8F_e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QNIs.0SQO3NEvUfy21hQ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T5nI4hTF2C98i5An5iTw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84HpyqRuO7FiNKyeusOQ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oIHFmSQMaiqYZ3GDOmIw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8OBN1S3Ck1WbGuea6yQ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TJp76oSqSneccRuuwM6w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4EhuNdSwKjeokeH.vsV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hVtF4_SkGR_2ZY5QBEmw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iDyNhuQlKdTnIVk99X3Q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vpmLu6RTCSROtbRfhl6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pbNSLqRP24dvss50BAjg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YQpds0TzW4vl1V2LjeMg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TtmDxJRSmhjqCcYsY5iw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HrI4zaQOqKCNbIfiXV6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HHFvo7S.uyADTcNIsYKQ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OtxSMRSrKbPGMd4wjZE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sN7_cdSCOzp0fsu7F2Eg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hzmzryQbuzVW2cwPMyB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wyxdtZRIajV7Xe0Kn9iw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eTaUmXTKy1XwWsHFXuP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iWebFVTnyIrff6AXRRHQ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Kxdx39SKO6YHcEmaFVNA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3RyL7HS8.10ARxyiUOHw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LsjO3tR22LxBtV8OqIfg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UnxCkUTX2gR4KGjMHLcw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wPbxiSQ2GePv3E6SUxsA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Zdot_nQKGihUF3wW3Mk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ixPuDDSNK_2WqErUcu6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3QSatqRCSEB_UfaAG1ew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_ZRAzQSIKrHFMZZ1iJdQ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RzFS0CRWmzgYlgw8QRBQ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SPjV.4RHy5A5BhCqZSsg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PoQuSrQs22DqqMBYkypw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UTp7rNQn6FkkNn.6A8D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3jiuC7S_WX8zdD7dPp5A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1usDSwSBekymYwCAeX.A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y9YLZqTJCeH8aFSdb96Q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JvGlbqS0Klf2ItuRleJ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cJK440TAe5CB3Y9AM3qw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35CWptTc2PoyAbnCjt.Q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5M9mdaTNqVKN1PWN1JC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efbUieTP.TtiVIF5SVxQ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sXlEIxTeWhdEwTth2iYA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Pg0NkZSmu58DhH1bysig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tr_5.HS1a3GAg6O3m3Z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3kC2y2S8ysPrYz3IDXaQ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bLAZqSIOYPhn4zKmZdg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5XAeFSR_ew4zMEt891xA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ExmME8QYi3A7.ucOTQEg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xxshOqTRKAsoIx3J3Xe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7mG5ivS3elckMJ0q1AbA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ixPuDDSNK_2WqErUcu6A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E1PL3.QeSCZHAn5JRAow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8J6WimRSyN84CzbhFHXQ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ykgQh0R6izEpUYrY27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HCvf81SGuxMVBf4_wBUg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r6RJ9MQqCH73zsD_jqlQ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ildvETRSCPSEcB4OZvZg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l.dOAiTM.UkNLE1rAXrA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N7dLnBRq6YPaf.7hykyw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5g8GG1Qa.6Iar.lPh_Sw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rMuc8zTK2heh3AI56cuQ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dRseHSTXOwe3CGuTubOw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_lNe11TTK30P0weJX66Q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rJ1_iORPWDAU6sXvh5K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6azEcOSZiUZzJvaF9up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zheQGnTiin4LPQSHfq9A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tOxRpnT52A2I0luyD0_w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Aq0vFQTbmFYFnf_hlTOg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JreGdZTfWwedu8lGFOw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H5z8VNTI2VYjpZ_BW87w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Dwz6vST9KimCAY.4yCNg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RCofkSQR2i0CXBc4BUyw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Emma2PREmnvOtPSb0Gs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x4JKPBQCe8LQTqe.eFs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xgJsNkQLWM5fjkifdWhw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fenlg7Ta6MrxfRi513s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4qm7wBT2iszJrE4RK7YQ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Lg_j6cR7uvazPdHKl7Zg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5LbZrBQL22rQcph15m1g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hYrbJfSA.IS1tTC7VbN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xOaJaoTE2zzKGjRw6U6g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Y0inWFT1mnZph0WdfSrg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5NIH93TiGXQSUH5hn9og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Mu_yBWT3qmM_WDScT3jw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HJLiUYTX2icco2V9A1Fg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0hqVkPS8ucpw.qor8V5Q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erCFeVQIWd5osMnIRrRw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RePKc9Q9WIYmH5CPznWg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yWCQl7S6OZm3gvGe8SRg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1hD9wZQaWgiUKoUjejtA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_knEOeTGWTGffj.Otliw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JyOWE8QJ.TXujsAcTJaA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8j.mmqRCeqbzR2EzKK0A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siOf7dR3OzveEZGkznHw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8MPq6lQkedJsYMxa.sYA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kTrVqTTeC1z60yC3Pp_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h.847sT9K_OP0AQGl13w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K9r7d.SOKXsfoG8nd48w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8OmUZ7QqOtcjafZZG0GQ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iTvhB3ROKHGKBQpPsIrw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dGd9T_SHyBCuMSKPmPag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Ekc7f5SoKjox.Jhx1tVQ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OskjIiQMqrDk9HiIHoAg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8tIyyfQ02B7mbASryMYg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kdqkJfRAmzo15F0ydcGw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Sp5eRpQc.C4CrKTzyj9w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Z_x5ksRzagnnJTsga0Lw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yVifi_QnC7Ayvpv1Xiew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KA1DFuQ7q9DfHyp0BwtA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aTL95NR7epJBdfSKtBbw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SINC4GSPOouX.6xsR9Sw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BLo3vPSz2VN84ySAnsiQ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pCt_pRMuJxjb.SkqIUA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5GnS1JTsqNG4.kRy7NgQ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FAJKs0RCa3omkR_iCQoA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9hMfg3RI.2ds3SLyUz9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_slWVlTZ.xpmRmz9uyFA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DoDaPNQp.zSo4QaJ5n0A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eKg4rzSIinp.irmdURkA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b3RCHZQmueSRqnxAlFpw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HHCwDGQgevAp1MKtq7Fg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RcadvbQq.5gxutOwTCww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kjvFvGTByEM9550bxNLA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tjtRNmQa6J7UUQqm21DQ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Pgbd2aTpmG18cNXUbwkQ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5vysz2TJ6OSvm5TeoAuQ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5yqbbgS2K8AzmsDl.Bz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jjGYvUQFOcVmy.DN4cc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f.SN0ySPCpRogGZEXf3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tOMj.QmKfp8HPhQd7Tg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PxlhxeRfK0_11RR_AJNg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uhmqSbTcCDL21StNGtcA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YpGHvDRuOA2_v1JdSBJQ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hcv5UKQU6XmHL2n4fkTw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hmoUQ5QpKRDeq5yxitgw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RFJrniR_GlOgGEepXQyQ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Wq00pST6eGbTSrGdE9Fw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vEKmkKQrSBEo4gwaclN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C4kjYpSBW.6X7ozV0Q4w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OSbo4VTkOJQRdvb1F_2A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6vC_3XQwumrzawAOxIGw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h3qEipTtySd110jvqe_w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lXgpmPQRayUWVruSHlDw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VBzVgIRbKqhOdtI5u0TA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C0eJRKS_mfANBXmSfR0Q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pjXJdnRCiMH26um12cn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xc8ai1TY2.KbXT3hFtqA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f4WwJARoaZKSIeD77pOA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06Q7cpTGKh.X7TodR2nQ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2Ks9hESbyorr7UGDVe2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NbK5MUSwanBvGmIbfiTw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7pWdc_QGKDqdfLKbos4A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u1UmKYScuXQpnHHSl.vQ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v2_XdeTu2K9Vh8MK3M7Q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YhkAdkTVSK.QgzG0xo.Q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2SPwSQR0muBQuY595EMw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ncFpaOQxy2zCU539RY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lnHspORFWEv2SNFFdvIg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BLI3QTT22TESjXXpjMkg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rXpiG9SyuuFfKd5cJQGQ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uIgB49SLm2dvlMwHfTJw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c65yD4SlqVh8xrYyyMxw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87._4qR9.pcaK3AEOw8w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KFh8sQW2N41M0so54oA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S5B6W3TZGoYy2d9WiB3Q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822zYCQ22y1OPntZVacQ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QLOw7nRlCyl2NsdtR9Fw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w_She5TUW0PBorHEzog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6jzi9QQYyuBxW4Y2.jNQ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y3laBwTFKtjBnh79UDiA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9MvcUITW66ifSWwpEpJA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IZ2w7oQZOOBlRgwO2l0w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Jig_tURgmwIQYoyUnkXg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ZV1bLuRqORBQf_QP5Svw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EitmMKSdSFTnRwk6_odg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BGMtehTM6UGXieg4uHRA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YqCXQlT0C0.2nb17ycIA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XNYGdI70SiqiCU.3rsfw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uhxu4L2ESXoHARSb_5s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i6V3L.TOiCYMH.lx9Mog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1lz.FqNkqk2GuejqurZg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hr34W1UGyV9.9kTS0UQ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Qq3b69ekynddmqKa69_A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Mg4riyEkS_QMCEOF3FJg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UXDaGSpU.6AqdaBLD5pw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2uFxfrM06cZHM9bQnVdw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vp9t5o2kWcLX8smRvuTA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Kf2.dlfk21bwSmJIuHeQ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RI2YytW0GUvvslVy0_pw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QhFv8yTkKII7SrkGJ_I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NQPR3ATjaCR1R9F9ZFcA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pxJ1O800KEDslRldcv4Q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CTs_yxUyDfc04NxhhtA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HrL_pCfkWs14l_1Fnntw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MDRiumBkKdJZzLadZLSQ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Unrl3PRkW_Y6PBvSyHMw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Pnl6cpWEuJokcgkOW73g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ptIGWLjk2vf3ZSZ2lPwg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YjZ0sa.ES0qBNGqdq_JA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Oc4kXHdUOw2bzbmhQ9hQ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rLbh5Zr0OS2BXqccSJR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SuGThSR0.XGEXiyzILTA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.tm3D2WUmY9U2blibVvg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LWlmKee0aGrxsgVV_UGQ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M.UvczEUSInlNmq2XYdg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LW4.5.N0.UK6WQkNGWgg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f_0xYKakevL_XlPU.muA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3Yl2lIYkeh4eNXUyld0A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guLmm73k2TJzgWO8t3tw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nUS7KEy0Wy4LvVjnZZIg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6xYyJjmkmBS4TRXyVj6g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J_Qyos1UWL6Hs_Le9CI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d1cA4kRa2CDQU2fbrnVw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1AYvbXwk.ljBLwUvqv1g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roabJ860W_763Br5gARg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HsEOp0Y0WvGfuFPq8upQ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kqKTRzz0SRX8e7THNHbQ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bexrnnrEqLnspXI5q37A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9VxcrmHUaHNzE9ty2.Tg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HdtZZoIUSQO2_49fWgHQ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G5E1Wy0y8qORDIKKTWQ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dorHcTOEO1TAFKbcGTQA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jZfTsGDUCAbgU1Gsmh3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blw4mYShi9QHKrqsJxDw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gN2AFTgUuwOEdDvFnFcQ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PuxGS7FUOHHRW1ABbM_w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DM.bQHw0yw4ecjd34vzw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YOQm51OEit0Nq.l7CKQQ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Vl63LZJUiMy0GUjoqq9g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.mfczH2EOPdHbYoxaCIg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Y.1whLs0mqh6FAekjPnQ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ATfKjrkyBwFNENJb5.Q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fECq5ZmUe3NUi7HtBUyA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5My91D0C6qG8zKmDBA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nNNpuhS7.QkaQQHLJPog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jFqF1dTk6VgUOWfkR4uw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FBRi02s0y2x_tigc7TCQ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WhivrtYUS2AzlvPFh0ug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8Xam7RkEe2ukDc50nXUw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QeAIQruEKAvri4Gaw38Q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Z8ibBfIEm6DibkEtFTHQ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hO.vKPESkGqXLJR8Olw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bnsF9j4k6gTg1oXmMwyA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IOz2hukeezzokvQo2.g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ageqekY0yE2foY3LduQ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r0HpYARQaHEIOcpq0D5w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wKke0zEKzJzUtg8o9dw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tsVrsYN0qKAUM7ctbEOA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NPSuFFl0CruMzI2rslKA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GL4T8bUe68Q24MPf3_A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AQz.QZIk.eNw_iFJ81vg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vpjd4l4kaOC2g3B3xOVg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n1K7C8UybPV5z_1fFyQ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TrMePsvU.R1gzB5iTQIw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cww7k8X0.opKYof7lxuQ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IL8yviUSaapgErZX6o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ktUG7ETyWtiKybiJM3Yw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8jScy4HkmxMcbk8ebhgA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jQXrvHbk.2_AzHLJqHxg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CCd20UoUSO9pkiMbyOWQ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9q3p6i3UKqxTL7JgOjtg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Q9RonEd0al7oo0HtExAQ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NjOTWlRUe1iRG42PpoeA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Itr6WKJUq3KvPfHg8qbg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hdn9sS9EGP7wQIzS.jAw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YcVjdnI0W5VlOnR3C7YQ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0A4wv8a0adMpj5eUUe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z404sgSBuD7HAFFqZkXQ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DzXQg8b0KWfKrEOm8MmQ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NuEM2k0.TTJNA0gxEMA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Mdy1eR_0uVi6bMzdHJHw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Z4pU9PkU6FhRjz81vduA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_jKQV21ESdZGRZQFIVPg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1dWNwiZkiCyKDYKm9ZFg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fxIboXLEmNM_qQRpW1xA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07Hpj4I0y19YsdO.jfAA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skzH3KYEOG6GeEenzY_A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LP_Kw10EiAwW.i2q1lI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XN_YAT2ib5QiS3ieJsQ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e2_KID8EK7pRf1V_X8Jw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Scw5y9U0qkDD5P70UCGA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YHU.Oo9k2Hm.5PseFsIw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ApASNuQE2vq63eQVkkcw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8ouQXO.02fUXE.BulVkw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pys9L6hUiWkl1NM6WtNQ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cw6fX4_U6jrLzFy5khoA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D_dgDrEyDB1MyJ0MeRg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54pnsDESUqvvr.JkBuQ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h.s12uEuAhzXjxUQPA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qzGfYVRmau0tm_tXzUcg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EfnkVIb0q_2d9_ygO6JA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_6pfkv.E.jv9oVj7l9TA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BhIXHYiEWKxeAPzzxAmA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FTgv6weU2gXcqslcq0ZQ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XwBi98pEKMlxGnoMFx6w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ynsKaT10W3cef.hdd4JQ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mEYp9o10yLpZfsRHIB3w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F2FqMKUy3PhAPuWk0xw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7I5G5WEUiz3HkyEjumfA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et2lowxkyfGX_lF3iCM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tBcdpDQiaVBIIxMJqoIg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5d.xMLESEW140OyfHKw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MCW.6VKUC4uUDJ5dSo9A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Eeu1t.ikygWBC75BSHGw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o54H_tXEacP.lGpSlAHA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bhtNJ60SixxnASG4tSg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qCacPIHkODWpUgUB7vgA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KQm_D1.0G4C78Q8Gqn8g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MeFfF5YEqohmdJDtixsA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TAwCcPoUi03MUO8KXWtQ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DLRL17jUqjcyWmCXTAS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QawP_QRkOmJjYTYF7cHg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Eck4YSukq1tImpuIYpMQ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W_Qixhe0Kv1fvX_eWGUw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6pjJrOUOBHL1Bj3XIFA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3CBAz2Jkubfj6VEhvAmg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rtKeKL4EqCRUhV.muNnw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no10EhakaVhcboSgtuSg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okrsNv0WHcDbsn0tj3w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w8P_rN50OK8PAEoZqiZQ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fQGyaG5EW9FlbP4a.s5Q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PsEGkc4EGMpwnK0Sxc5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uKmY7kRHuEH_PVtGXMQg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i3WZEUqE6aSuodHNH_BQ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OqpzzI0OirYZQwU1Qqg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OtxcveqEm1OI711P89yQ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1q7ZtfqUKkI3p1MmyXHA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hqMkfaUOmpNAfVdCX0A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U91eas0WZGndblp3WhA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TtT2nM0UClZ4bP64ucEg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5F3Xk.1kS8_vZ5h8PPdA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S.lKYRNUyXKFPGFaP5FA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XLqWYDekWWw1MkBZHr9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GzKCnbRYSVxgUXb_IYCw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jZcGSIeEeH2l6hJgG2dg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wBTkg_DUup8HrDyYrktw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jsFhM3LEKf9xvrhD_W8g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MObm5i5kWfUiRRanXAhg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7SP.xSBkOoiejxgaAm0A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Z5KJ04EyGKOE8HhiXIw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m9Ekr0k6jhdSNEktFHQ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orOsEfNE6t29auzgcCsg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0mEsBsiUyqbn8Cxo8Zaw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yD_qzvpk6SRMTFs6UrW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QvkspUTZa2yug7DsK3kQ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HRAErd0EmHp8gvIcKA8Q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_4hWU0X0SF7vriqR8MHQ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iyi8wL50.Ar3AvGvBBWA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cP496rzEmONj6aqek9tw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_ueGP2ZkObX80AYfaX7g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m0_05L0q4tf0qWxnLFw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l6hG.U9E2ItGTbVJuIIg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vK5.9R.ESyYJ5ponpb8A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4AQgzQOUOrpfB4P5WZuw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TPNUn.cUOLAm5x.St.k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V74Rr_SSi0_L7v_CILiw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acovmYakudFpprGIeHew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9MFREROkKQoU1kjhCMIw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EUIz6IZEC_ldfvrGDd4g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lEVHaGDkeRuu64YBKDmQ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bSwE1zj0CP_fgf9B5ntw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6PyeI3IE6S0M2eReOO_g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J6Pp6f1E6H403_CbR.qw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82K41_t0KrJE4Svx9Rdw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4ijWU9UEmQ0tm1HnLPow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R5am2tEyq50Ks7Ss4v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yUrN.LUOh3601oERdCw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FcqHAF7kut7Y8bJW.HYA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5g4QvapkSBkTiDnWGmKg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9KICvMv0eX7Lai35joGw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_u6NRWq0CCz3nlEk0XLw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3jiuC7S_WX8zdD7dPp5A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3kC2y2S8ysPrYz3IDX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z.0V6SoeVj_3toiu05w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HCvf81SGuxMVBf4_wBUg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zheQGnTiin4LPQSHfq9A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iIJcqNSI.EXmpqkefIhw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Sp5eRpQc.C4CrKTzyj9w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0hqVkPS8ucpw.qor8V5Q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h.847sT9K_OP0AQGl13w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NQPR3ATjaCR1R9F9ZFcA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XN_YAT2ib5QiS3ieJsQ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6jzi9QQYyuBxW4Y2.jNQ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z404sgSBuD7HAFFqZkX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ktUG7ETyWtiKybiJM3Yw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d1cA4kRa2CDQU2fbrnVw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i6V3L.TOiCYMH.lx9Mog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lnHspORFWEv2SNFFdvIg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jjGYvUQFOcVmy.DN4ccQ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xc8ai1TY2.KbXT3hFtqA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_slWVlTZ.xpmRmz9uyFA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C4kjYpSBW.6X7ozV0Q4w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SuGThSR0.XGEXiyzILTA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blw4mYShi9QHKrqsJxD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nNNpuhS7.QkaQQHLJPog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r0HpYARQaHEIOcpq0D5w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qzGfYVRmau0tm_tXzUcg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tBcdpDQiaVBIIxMJqoIg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QawP_QRkOmJjYTYF7cHg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uKmY7kRHuEH_PVtGXMQg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GzKCnbRYSVxgUXb_IYCw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QvkspUTZa2yug7DsK3kQ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V74Rr_SSi0_L7v_CILiw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z.0V6SoeVj_3toiu05w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3kMWkmRY67e0rFMw9diA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fls8yqT9CRaJ04hZWTdw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DV3G6uRqm.48ZjkSyBxw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LIMJgBQ9SoeY1VOUMIvQ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nh4q.OSQGpmnnr1nY0b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OFrgFrQASBlbCmTjpl9Q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jBPh8oQhu9fg8KIN0_Tw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vQAGVgS765AW8ePDbSVA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2s58j8T9GBCtxgXAltMw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p79HamSgu2MpajBj50OA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YhdeQ8SXGdq9glxNTsgw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mT8ZSnSYiH3vGNqaLZ1w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9w8woiSi22n3WIPee5Mw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KI1BNZQ66AwBqIT5IihQ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qusXGHQRC_q3.u.8vV2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3kMWkmRY67e0rFMw9diA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In20uHQH.UBrKSTPjN8w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pv5MONTZuIsGBz9HNTEA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pbNSLqRP24dvss50BAjg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c0r5zcRye.Ry7LnkX2.w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YQpds0TzW4vl1V2LjeM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mQp9AeQZCuaTKqdTIf1w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TtmDxJRSmhjqCcYsY5iw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0JHekoQYGTK8QrJsU_MA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cVuwroTfizxHinAxvSVg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HrI4zaQOqKCNbIfiXV6A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yT91ebQoiVr1wuE.JU3g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Zdot_nQKGihUF3wW3Mkw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LStygSQsWVvo31OlOSKA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LStygSQsWVvo31OlOSKA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pQHqkSQJmc3bKNthTE_g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6dMtejTLOLp3HEQcVhFQ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.ABoCsSTiYqKJkvEXAZQ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rqRTz0QFONAH7YNf5yYg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d3zNkaQnqfKb6Mbxb34A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pQHqkSQJmc3bKNthTE_g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wt3COkRhGGvX7Md_MFZw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oUMCQDSNeLXggBEJzyDQ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utZkMpRoeIQnlqOpJsYg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OXA.bRQlaGJp.7WNuj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6dMtejTLOLp3HEQcVhFQ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.PIWcqTpOLVZhwUkOTRA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_dps3XST2G95TKx2eWSg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2masBXQLSIOlRxwXvYrw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pbsXGmTZSWEJOXf70j0w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l1bi.ZSOq_5VquMDvzAA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piOzzBSi2Q5x34UxX8WA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FeqM_ETxa1HAiuCa0gWQ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8aMKKdTdWAnNQxGiEkpw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vwqdy4Rs6X4nXxIZO1ZQ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clje5Q_aD..yqRG.NN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.ABoCsSTiYqKJkvEXAZQ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cNh3pQSHinG5wf82Il6Q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cYqANpRziLKU1ASzrtYw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O.8LSzRZGovrWXkcEV4w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pZOVIQM2jQZAmSvD3hQ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uGOeCRRwOkC.moqEsIKw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P43KDiS9C0oUbmbUWIpg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CqbnsWQL6wDdHORTd58w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.0Lb3sQE2YGleDDOF8_A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OYtTe7Q1OaFSfW4xmzng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TSvy1jThCmk3rhUWM4s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rqRTz0QFONAH7YNf5yYg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.Ago3DT2ieB3bP3R8rOA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bSVEnzRZOifZpFYxAd6A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kjH78QIS.5WuBZKkLmw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ZWHY9uS62hHjp1pOOKyw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Ch_vlLSV264HuvetShNg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.9urIAThifJdqvtBckbQ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3V42dmS26M8lFeArY6sQ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m4vI3KTR.I.OHpxeuEDg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iiahstRhye4wKv117QpQ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novw.Sf.B42mDQFw0I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d3zNkaQnqfKb6Mbxb34A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_J_OAxSMqVaI_9SKcItA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RcgF0_SD2snepFOyZr8A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Sf2XyPRbmGyT4ou4YYRA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l3HgMQS2qiBV3FLWvJPA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8c9W0eT4CwUnFA0kVZJw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loWxxT2ObwPG69r6bhg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6.0lrhQ9a.ZbuCz7Z3pQ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lnyS.eS6iFDve0Kg7wfA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tBUprrSd.cm2gZejK5eA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woILyzSEOgmvj4jbWjB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dguE7gT1asneEHkngRaQ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v8NxSYQY6IahPzBMh7PA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FHs7S2TMOqy8E.4vOolA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iCPkKfTyi_5QAnAcVT8Q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1y6yoR.aXMubpiIqffA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C_AQg7QjaXjLWTfQjmjg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CF58CZQLONiPl0MYcHJw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WzqlhTTiivyf3wvPJhw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RDxxA7Tc.kAnUSeR9mTw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Jfda5zSUu8H7o60CVkO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cm98vdQMKjMGSfLTXG6g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HahJLhQSuTNnZKzEByJA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xXgOnpRnqdwIMHJraAzw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aZAteITLKEZKT4ibJWcQ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CEMlJvTJOfqGPpj4slgA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uzKeqiQ26FVZh5rGTW.A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GsnvuSRzqqocp1SRmj3A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wZwS5qS52y4fRBAxb_vA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Q7QD1HSQulTL6aRUet0w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0jUxkuSgqbgSw84vCMP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KqDmRRYylUuz1xNjsaw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lrYOWYR1ilUGJdQNSOwA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..2rlGQpqELJZX9GkJsA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IghLnJRpyUqkh1HZmgLw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GwAFvUScSN49cKEACnjA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LfmLIQRyT9DzrUuQIEQ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Z93lpCT4KFrQe5Q2DC0A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hIYK3bTjiCr4x78gI65Q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CGcKG7QOOyezDHEFWlFw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jH17qUTvetaWtudH1ZN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MsfveQTCSVQFd_2L.Lw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xzM90MTd6zvZTmFtJiUQ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HswirRSFGkrFH9kW4t1A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FOALTVRDGTHu.KVjigDg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1MOKWnR6.wA.n1fVAhuw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I_lhi9QTqEUEQjou619g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pBwVkTTBqNOQuu5CiFYg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EBN48bScKIx55dEsgJ8Q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dy_nezRPqxoZtFInmOMw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WhLwbdQCK8M9fAi7pfs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mJPYXnTUih2HCArsvrHg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EnfijGTNi__WWDf.93Mw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lG9PFcQeSbfCUDqTjrsw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aTGdDGRpua.8sHWPq_NA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wg2T46RdmoacwmMroP0A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iD26.IQZSm2piV4lDjiA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9O6HRCTiaP4iLtEWWEwg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RoLlZvSduZVz17VuUJLw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XZiotyStmoF2lMG8F_ew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QNIs.0SQO3NEvUfy21h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pRBGLpSPCf8BferhaO.g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6xBJ8iSFee.yPYskMH6A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O4p91NTfuhFLs3wmRRJA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oKXSnHScK82gA99gKT0Q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hoi4EDSayFnWin.OmIuQ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mYt4aZQQaQsfkrzR5sqw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aFGXwRMCom67jCTYKMw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s8EEYVTOWIlEizzIvm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6M31XPQ9isD.S5OShTSQ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S6cg72T.eXb3HvEtx43Q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goBB0FQ2eVmO5yS7Eweg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80Q_fxSDaf7w2SVu8Fww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G406rgRBKZfIT_LsXztQ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AYVJk_SsC_y0KktgpZbw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UJX__OSjmmHan4IG30XA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r541CQQH.E0fSSlmy7eg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CqPM4hRBiKCeus9s1w0A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VDd5IMQda66qbhwuPesA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6xBJ8iSFee.yPYskMH6A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O4p91NTfuhFLs3wmRRJA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M2EGdQSDuJRUc3fhu4fA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zHXLTXQJ.O3EuyEj5IQA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hoi4EDSayFnWin.OmIuQ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AFtPcLS22B3Mc6jOiITQ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oKXSnHScK82gA99gKT0Q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KG4PjvTba3jHP0QjAK5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hEXHt7T_i5LpX37St_uw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aHLMTNRfmU0JXweM431w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xYI1tcTAqtBYiKGbCOzw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6M31XPQ9isD.S5OShTSQ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aFGXwRMCom67jCTYKMw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S6cg72T.eXb3HvEtx43Q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mYt4aZQQaQsfkrzR5sqw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goBB0FQ2eVmO5yS7Eweg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80Q_fxSDaf7w2SVu8Fww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G406rgRBKZfIT_LsXz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s8EEYVTOWIlEizzIvmUA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AYVJk_SsC_y0KktgpZbw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OLBRdcRJWNqpf0srg7fw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r541CQQH.E0fSSlmy7eg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UJX__OSjmmHan4IG30XA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NV9n.lRfW3RWJejdO4qw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9SV0qZRE6JWI.AxNS95Q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CqPM4hRBiKCeus9s1w0A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VDd5IMQda66qbhwuPesA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6xBJ8iSFee.yPYskMH6A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O4p91NTfuhFLs3wmRRJA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M2EGdQSDuJRUc3fhu4fA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.lycn1RymKoUaoKEiFYg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8Mwg7yRyqDjsBNtoh3dQ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efUM5EROqMZJwny4g2Xg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6XiO7GQwSmR23YDzkAnA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nba0SyQ8O9q5DL783n3w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c7qn1yQ7GifyM3ycj9zA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klTJ01RmCEFycibqf0Bg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hLPcLHTbCTpXAReJbI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zHXLTXQJ.O3EuyEj5IQA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YET0IyQjS.YaBiUGAV5g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p.oeQlQMmmnRlA24VTnQ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Sxo.TNS6OjKzPYJRkstA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69D58eRaWHWkgGQk6skQ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KOEEuSmG.FRr1wvMtSQ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MYot3JRgiuy7XWWOCRAw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yTi8UtTO.MXH6HOG19hA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GO7TXBSJaBhsKVc.c_k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hoi4EDSayFnWin.OmIuQ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_oTZ71TGGSA71QU5M0lQ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zMOI9IR1CCycjvYPIFjg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Mh3wMLQl2hrX8St9ILWg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CdgmbiTTKK.aJ5Q_u22g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6uegvpRjK4OQ.HwRK2Nw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8Y3QEGRjSGLKZ4_T_d5g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WaqNo8RZaFuGUYJGPrZQ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obvd6BS7miLx7eJysdag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jCgaJWSJmJKgKqRllwrQ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WX06kRXKQ71tnNS3l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AFtPcLS22B3Mc6jOiITQ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d4.55ERfGOPvuzax.61g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BjLP3eTc.vF18eRZ39zg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RNAkGQRtS908rIo1vMWw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QNIWKdTmqYG8DKflfWAQ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qCOKplQnesyFadX62oyw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m_CIpDQ7GPc4h5IC8tGg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TEkpUZR.ycq2hXTFVJcA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_tCl8WQ0KlDscZlulQYw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.Y_lfUT9S2Zdl_N58Tk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oKXSnHScK82gA99gKT0Q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26iQGbTdqABa7bFTmdaA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e9XJ9EQbGGoCW38uADyA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ADjbn_Rn62SQM45gccpA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uaUanKQEaGTX6helrgTg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SmgusSJSTabuD2raHSQ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d2WMlISXOuLMwOhQMMcg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iGNLSQTrqI59qUX2_R3g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RxYaf4RqeZ0qjmtV1S_w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MRtPP_SvqWYsRW1HIa3w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.4ExcRSgWutq7hbCGGD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KG4PjvTba3jHP0QjAK5w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_mcmraQsKdpMQ.dkFnUw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.nouLQl.q5JCSvuOXxA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773YlyTqSQjnfkZ_Mn4g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FbsTsASoOxZzPIC9T3qw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h8ycEBS9uBy1hC0e_FdA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HFN.mRQv.503O5Hd.EmA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OKZzibQbGlKREQqvTaqg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cg.HHlTvasB6xfrOHWMQ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ZTToGrQOqoscJR47B6fg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wjH_QcR0OmoFmgih.S3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hEXHt7T_i5LpX37St_uw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twjnQgSBCy7OxzUYfnfQ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.pwutZTRO_GpP12wFbkQ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1IEbefQgCar7D1czTj_w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M7xMUgRdCTu0fqckXGrw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VjPp9CSHOU_8vJgQzN2A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MSY7qYQBuferb_hx69KA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.PIWcqTpOLVZhwUkOTRA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k0RpwWTbmt_Pk1RtyxG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aHLMTNRfmU0JXweM431w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Y.iOBrR4Ofi71GGKoYeg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pbsXGmTZSWEJOXf70j0w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7YNk6ERMunHifkHkDQyg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wjtCXMQBWYc41oy50jJA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HHnxqQtejAt2QvhvsxA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8aMKKdTdWAnNQxGiEkpw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AQjiM8SzqdkRvGm_t1wg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1P7Gi7QoG5S8wdL0lweA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cNh3pQSHinG5wf82Il6Q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tfS9yFQRyVuIwCZA41C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xYI1tcTAqtBYiKGbCOzw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.MaWQ9Q8O5LBq0UI0kFw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rfOKs5Sgy8fYIkuDg9Zw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m5RwWVTbeH1SWNFCyDjA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RvClFWR4mU2zEKIibi7Q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.9urIAThifJdqvtBckbQ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kjH78QIS.5WuBZKkLmw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ZWHY9uS62hHjp1pOOKyw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.0Lb3sQE2YGleDDOF8_A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iiahstRhye4wKv117QpQ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.Ago3DT2ieB3bP3R8rO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6M31XPQ9isD.S5OShTSQ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W9XJKsTI6DcN30bcsMhg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Ch_vlLSV264HuvetShNg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m4vI3KTR.I.OHpxeuEDg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novw.Sf.B42mDQFw0IA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iVWG4XRAi8WfmxcPQnVg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cNy8CvR26Wn0TRJjrHZA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BMRxHcQEus50PS1_JZxA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POBd7uR9.uCp9gffZ.tQ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TSvy1jThCmk3rhUWM4sQ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3HiGMFQnmTzLQtSjD9S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aFGXwRMCom67jCTYKMw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0aT4atSseWuMZxPZ3hiA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dJ8iJDTkGeJA3aUpyA8Q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n51uVXRl68AK1dyhcNfw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f4m0zfQeKZLq_WByuIrQ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CqbnsWQL6wDdHORTd58w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v8NxSYQY6IahPzBMh7PA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AbA7zZSqyco7XuGqFUyg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loWxxT2ObwPG69r6bhg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dguE7gT1asneEHkngRaQ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zP84x4RgadvktIfcPWB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S6cg72T.eXb3HvEtx43Q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6.0lrhQ9a.ZbuCz7Z3pQ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FnAD.KRfKo8uJLyGAafw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mayEf1TyKr3y9O31lP_A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6cu.1kRmydVKAkLC_WbA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.GCh6TRWmE5p9RTlCmBQ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yhHMTpTPSCKXCfDImC0g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as0u8bQh6qsS2qjfpGEA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AU7sDMToaoVUgz7Iaomg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LNhUY3S_6JhxBXD2Q5yg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RcgF0_SD2snepFOyZr8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mYt4aZQQaQsfkrzR5sqw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tBUprrSd.cm2gZejK5eA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lnyS.eS6iFDve0Kg7wfA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8c9W0eT4CwUnFA0kVZJw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CEMlJvTJOfqGPpj4slgA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RDxxA7Tc.kAnUSeR9mTw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C_AQg7QjaXjLWTfQjmjg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CF58CZQLONiPl0MYcHJw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aZAteITLKEZKT4ibJWcQ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WjoTlvSmWdAJMfZCipBA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4BxOkBTZaNOIntWtyN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goBB0FQ2eVmO5yS7Eweg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uzKeqiQ26FVZh5rGTW.A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cm98vdQMKjMGSfLTXG6g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1y6yoR.aXMubpiIqffA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xXgOnpRnqdwIMHJraAzw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iCPkKfTyi_5QAnAcVT8Q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5xhbmWQHKtiekOcn.XXQ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I_lhi9QTqEUEQjou619g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IghLnJRpyUqkh1HZmgLw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GwAFvUScSN49cKEACnjA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FOALTVRDGTHu.KVjigD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80Q_fxSDaf7w2SVu8Fww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hIYK3bTjiCr4x78gI65Q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wZwS5qS52y4fRBAxb_vA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..2rlGQpqELJZX9GkJsA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lrYOWYR1ilUGJdQNSOwA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Q7QD1HSQulTL6aRUet0w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jH17qUTvetaWtudH1ZNQ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0jUxkuSgqbgSw84vCMPw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Z93lpCT4KFrQe5Q2DC0A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GsnvuSRzqqocp1SRmj3A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KqDmRRYylUuz1xNjsa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G406rgRBKZfIT_LsXztQ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CGcKG7QOOyezDHEFWlFw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LfmLIQRyT9DzrUuQIEQ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MsfveQTCSVQFd_2L.Lw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1MOKWnR6.wA.n1fVAhuw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xzM90MTd6zvZTmFtJiUQ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c1EhqGToKTxfv_BtTZTA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knWZXeQmuO2czq2gze8Q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LixAC5Q7G_ToHy91x4G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s8EEYVTOWIlEizzIvmUA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fHTiKPR1.ImPoiXLKHoQ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Q41hrRSqye9pmFCMNWEQ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NVdAYgSC6uLQZpDsZyFA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62dLf0Q5C8mFWOCFiRBw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fhtZUHQ8avGk47DYyccQ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iO7ahbTqaVGHSoOb0M6w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0JoljpQVOzTfu0hiu20w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5MjgobRnuDBxT5.SK6qg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e3uDz7TByPbkLjjc6qxg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7tcLjXTQKeaTXoMCEH5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AYVJk_SsC_y0KktgpZbw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WIiWAgR9yFaUyXy3k14Q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eoRr4HS16_vx5UeXxQrA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PMbHtJRqack9Tqkll1hg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lHZRaTSqGRWYAxO9rwBQ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8ynoM.QL6LRe4xTgeV0Q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8IBXrBR0uO1JWI3ggGsw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EW2nqTSmqpblMXlL6s0g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3uLjAZQ_KUdsN68Gw0Bg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b00rRGRGiY029zlgGgnA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sr7mjKQ7SBWW8PG1P7G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OLBRdcRJWNqpf0srg7fw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W6_YKHRlaua.r29FtZVw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fpUM66TnmwwujhImAORA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GDQkdBSgCKBdhUtKKSvQ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OryJL8T8K2ycuZX6gcLA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OIeYB9SaSk4nSsV5CxBg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RC_EDXQVihjlSn4kta7g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zLgsa0Q521fbMT1pp1fA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RO6cdnQZyUS7FcvU4hLA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yDmFSRRxeBOjvfLPvlqA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EKjDOGRYe5EIJaZM0m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r541CQQH.E0fSSlmy7eg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LH.zCJR1qNUPgK8jcyvA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FOqKVZQfKQQ613LE1arA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HbfuZmS8yJc_fSFmpXZQ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739UEaQj2PQmUEr53SAg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P8RfxRQXSPNgD2xnCxlQ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pkm9MKSL28uduP2_aFKA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0EO7Y1S.OTOinDPZIhjA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Yg6SBfQKGEqOfyxtkoMg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qvjZIySfOuIMpKpsllvg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C9oRFwShOXohlc4l6lK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UJX__OSjmmHan4IG30XA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WH0FtCRnCRzjPlDLOyrw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259_4NRRqXJQlbBfiAxQ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iNxWfEQc2BfeG5uHfI2w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CipM.XQIan4kKdUKC0vA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VHs9qNRCKuRcMVx.mHBQ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y7N3WkTB6IlGTRrPcVeg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yb7vTaTH6Pxmj3eHziKQ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UawizZQ4KHhGiHMUbPe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NV9n.lRfW3RWJejdO4qw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dOJIBSRcu8nJFgJiW7Tw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IjgXLTQ5Cm36vNPNKzWw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2t75HdRAenNCL4IqsvFw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9Pa0.gTW6aq.NcmQQWzw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eWQ0ruQr2KK5HG3CYu1A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9k_gEFR8OmNgeQN0jM5A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9diiscQcW8MnTfDIcMtQ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HDpqyeQ3.Y5NQSKgGwTw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e9.L15Sr6DvknBpeygPw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QDel9HTbe0ZrFnCy07P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9SV0qZRE6JWI.AxNS95Q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.52ltsRHuYaQeb_12Yww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vhfq3ZRuOWvo7xb_FXOw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aD0KylQOuYErKHMZBhbw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rcqQNSMiyOPKa1VxYWw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IzJDUbQum3hLHMuIQGzg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Z_0agkRcOTsmWI0zZS2w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nEygfLT0mkChPMvO3PVg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A1VCFYQz2hDANgwcR5rg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n1LGRnRdy1UTeGZFHO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CqPM4hRBiKCeus9s1w0A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YIZ4eKSJ6r8rGgu7lQgA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QyqbEcQIONJQhayLXRfQ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W3dlWbTLmF_eu9Uv6i_A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KiU_vbTOmGCuSsTpQA0A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4veopwQROqoB9NGbtYXg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kNYHMnTwyqXJGfs4de0A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Eq.6ASx6Jk.QyXGSxcQ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GZPhhTCSRlLVSDB1UaA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o3m6f5QdGU5lJfRoyu8g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a_gMb.RWiISdAIJKBFs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U7SSsbT0uCxrNgFuGVKQ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hboynkTOiOk4eNYcZwMw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Qf0DbyQ6S6GjDd6UK1RA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XdOuLzT_.SItzr66pLaw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2MAG_pSOuldNkHyqtqQA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nRnDVSQlSBaKoCJqLRwQ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Lg8jLxT2SDdYPv65VMEw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z5fd_pRi6dFeAfxJCLZQ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sCw4bASxuTCEBS4jTtw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wZ_n77R5GT1Tw9jz1Hnw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n41ol7TTOmlaudjJWmFg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TgE9t2QeeT4agKQHNh.Q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YuSVLkRbe8E6..GcEQnQ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v_uUz6QxmqUSx0H4eTbQ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WbZDHJT_u9v9n5HbMEzQ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IbGNGXTc6.JDsqq3ThWQ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cHCle8SG2nNz.oqw88rg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nYMvmPQmS8zhofhKnIsQ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fj_GQxTRmAXK69rh1AH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g_9Y40S2q42Y3k1WqDdA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og5KRmQlawlLPo5nJckQ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gqsX.9Rgy_XoV8pW.XiQ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3qzViQQlaO3BAzRiDOow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z2Ux9iRgONN7Gesyfquw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x_y83TLihGWwFnw2qUQ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aM6yCvSQuh6yoRVaFvIA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QsSe5DSj.js9c.wer15g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BjsGp8S0G0ORt8SkFbCw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hboynkTOiOk4eNYcZwMw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9AgNN4SgSf3Z.vWP0B7w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wU0kWdSYmHrnzTx1R9sg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X3h0EeS2SByT.O3Ea2zQ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4_50KTCOMd.ooUsqp2w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G3X5UXQWe2jadKRMCRmw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PnC0YKRGu56QI.6sQmqg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S.L9KdRy2vz0NHJkDZN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kI1TUVRdu729E3OjcnJA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z5fd_pRi6dFeAfxJCLZQ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Lg8jLxT2SDdYPv65VMEw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ZMe0JnTQSS0bKw6gju3w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rdyyjSQei3xFdKXWHkgQ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6frkRnRSOiaBuzfeNkYw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0k93qXSAOdJGJt9ZlWiA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WbZDHJT_u9v9n5HbMEzQ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v_uUz6QxmqUSx0H4eTbQ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lsWap5SOa57Bobx1Eon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CQXjJxRl.a5mxvyg5q8w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ruKmVCRMGUZvf3ZPhuog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fwRvG4R26dENzQVQxYBQ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jwbRh1Sl25xxhKBy6JJQ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.wUITyQfOiZKOkppSo1g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tw2uB.TFujMOMrhmC5nA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Ck0uJLTZCBY74FceCRhA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FoKx50QbysfbrR0yvd3w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ixPuDDSNK_2WqErUcu6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aD0KylQOuYErKHMZBhbw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NrBw50QSe9hctpFHKOnw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T3rIq5R9SXUTfVjXFVcA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XXbEHeQBq6ozBlEBIQ8w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PLHJY5T7e783Tu09MvBw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ScxuB3QS2IMB9BBCAoqg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FMdgcLSnWknJeW5cA7Hg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7HYKNoQhminb4ergt2hw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lfjJtLSFGgjaumjbvU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P9CBmQm6qseDPXq83SQ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URpI58QcSCrnjgMD9zow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hsM6ijT7CPlQaR6NeWsg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4AzVsyTjyL.lNpKHXRNg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Zp0UtpTJKV7G3SBNuhxA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m2nfZlS1umSrMfPe1LWA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oK2D5ZRNCUY9tMTBJD5g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o1DmXKR5yYr2x2N8zisQ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_gC3F1S3CfAQ6BL8hcWw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ruAsTYRwWgqVsNp23dF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e3AdboQ1if5mH82O0QJQ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PXzMWVRlSVzwkYMOQR6Q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aonIT9Q96djfdyBvzHdA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I4kT_XRyWwRzMY7xsgIA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63uXYYQ7uQcOsslf9kwg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vjzHlaSw2oHyMDo5msLQ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xqi.XBQjOF7mh7WqtGLg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1796RCSRuHeO8s8tcAmg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mkPVDpSzqOUUPQxEgkXQ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5nXbwQQe6mPhu8i9xH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Px3ezERxC7TOSuarWeNw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jMvXqCQ9.1JsmZAx.vHA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JupvpfQcKKFTLjL3B_xA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wsFfwDSsOtOI1rB571AA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93ChbsR2KCHoXH.40OUA"/>
</p:tagLst>
</file>

<file path=ppt/tags/tag2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OHDD2lRZiE5TvQcXnuyQ"/>
</p:tagLst>
</file>

<file path=ppt/tags/tag2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5YPVISQCS9tm1piDU6lg"/>
</p:tagLst>
</file>

<file path=ppt/tags/tag2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z.0V6SoeVj_3toiu05w"/>
</p:tagLst>
</file>

<file path=ppt/tags/tag2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qJHZ6Qve8K4oQ925iC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H67fOsSYWrVGZ9o_CVXQ"/>
</p:tagLst>
</file>

<file path=ppt/tags/tag2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yr2etYRuO0_ZLsZR2v3Q"/>
</p:tagLst>
</file>

<file path=ppt/tags/tag2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581JDRZGqN0jhecBRkw"/>
</p:tagLst>
</file>

<file path=ppt/tags/tag2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gaGnYS.aYUGMzCMhIYQ"/>
</p:tagLst>
</file>

<file path=ppt/tags/tag2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mgMMxCRc2bwlSWGnorgA"/>
</p:tagLst>
</file>

<file path=ppt/tags/tag2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mgMMxCRc2bwlSWGnorgA"/>
</p:tagLst>
</file>

<file path=ppt/tags/tag2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mgMMxCRc2bwlSWGnorgA"/>
</p:tagLst>
</file>

<file path=ppt/tags/tag2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NO6l_kS6S4h8_W6_nm0w"/>
</p:tagLst>
</file>

<file path=ppt/tags/tag2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pC5nsmTdS_HfaLeFokx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xqknTNSjapJ9slraeUBw"/>
</p:tagLst>
</file>

<file path=ppt/tags/tag2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AQ6hDbTcWcIExslKREzw"/>
</p:tagLst>
</file>

<file path=ppt/tags/tag2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C8RxK2SzmohvY8tcvwog"/>
</p:tagLst>
</file>

<file path=ppt/tags/tag2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giFfeYQjmgf7wKVTDiTw"/>
</p:tagLst>
</file>

<file path=ppt/tags/tag2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_.H20jQw2r_Gn8AoR7AQ"/>
</p:tagLst>
</file>

<file path=ppt/tags/tag2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5H.y_cQPmLKYVrOPpDkA"/>
</p:tagLst>
</file>

<file path=ppt/tags/tag2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JuHC3YQM6mo5gzqdFBmQ"/>
</p:tagLst>
</file>

<file path=ppt/tags/tag2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ixPuDDSNK_2WqErUcu6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ZFs9PhSU66hvlfUwahmA"/>
</p:tagLst>
</file>

<file path=ppt/tags/tag2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aD0KylQOuYErKHMZBhbw"/>
</p:tagLst>
</file>

<file path=ppt/tags/tag2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XXbEHeQBq6ozBlEBIQ8w"/>
</p:tagLst>
</file>

<file path=ppt/tags/tag2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P9CBmQm6qseDPXq83SQ"/>
</p:tagLst>
</file>

<file path=ppt/tags/tag2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PLHJY5T7e783Tu09MvB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T3rIq5R9SXUTfVjXFVcA"/>
</p:tagLst>
</file>

<file path=ppt/tags/tag2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NrBw50QSe9hctpFHKOnw"/>
</p:tagLst>
</file>

<file path=ppt/tags/tag2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ScxuB3QS2IMB9BBCAoqg"/>
</p:tagLst>
</file>

<file path=ppt/tags/tag2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7HYKNoQhminb4ergt2hw"/>
</p:tagLst>
</file>

<file path=ppt/tags/tag2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lfjJtLSFGgjaumjbvUyw"/>
</p:tagLst>
</file>

<file path=ppt/tags/tag2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URpI58QcSCrnjgMD9zow"/>
</p:tagLst>
</file>

<file path=ppt/tags/tag2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hsM6ijT7CPlQaR6NeWsg"/>
</p:tagLst>
</file>

<file path=ppt/tags/tag2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FMdgcLSnWknJeW5cA7Hg"/>
</p:tagLst>
</file>

<file path=ppt/tags/tag2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4AzVsyTjyL.lNpKHXRNg"/>
</p:tagLst>
</file>

<file path=ppt/tags/tag2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EF8.V_RXWYwIN4NsNoc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4uctjRR7WeZGKOKAm6vw"/>
</p:tagLst>
</file>

<file path=ppt/tags/tag2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de97zSTw2LUrtLJ8kgOA"/>
</p:tagLst>
</file>

<file path=ppt/tags/tag2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vjzHlaSw2oHyMDo5msLQ"/>
</p:tagLst>
</file>

<file path=ppt/tags/tag2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63uXYYQ7uQcOsslf9kwg"/>
</p:tagLst>
</file>

<file path=ppt/tags/tag2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aonIT9Q96djfdyBvzHdA"/>
</p:tagLst>
</file>

<file path=ppt/tags/tag2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PXzMWVRlSVzwkYMOQR6Q"/>
</p:tagLst>
</file>

<file path=ppt/tags/tag2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e3AdboQ1if5mH82O0QJQ"/>
</p:tagLst>
</file>

<file path=ppt/tags/tag2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I4kT_XRyWwRzMY7xsgIA"/>
</p:tagLst>
</file>

<file path=ppt/tags/tag2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lV.7PxS7Wqip_7TT5_4w"/>
</p:tagLst>
</file>

<file path=ppt/tags/tag2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xqi.XBQjOF7mh7WqtGL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1796RCSRuHeO8s8tcAmg"/>
</p:tagLst>
</file>

<file path=ppt/tags/tag2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s1YtnRLyv1UnxmohE.w"/>
</p:tagLst>
</file>

<file path=ppt/tags/tag2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KfD46vQnW1xTrMH02cqA"/>
</p:tagLst>
</file>

<file path=ppt/tags/tag2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mkPVDpSzqOUUPQxEgkXQ"/>
</p:tagLst>
</file>

<file path=ppt/tags/tag2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1FfMZMRvqYMOx2igg5Xw"/>
</p:tagLst>
</file>

<file path=ppt/tags/tag2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4XXvFXR7mly7GNjB56Xw"/>
</p:tagLst>
</file>

<file path=ppt/tags/tag2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WasXJgTvSb.7A8g6V1mw"/>
</p:tagLst>
</file>

<file path=ppt/tags/tag2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GadYn6Sr2h6zsV5TSphA"/>
</p:tagLst>
</file>

<file path=ppt/tags/tag2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BKMyx1S8mQfyzbM85Rgg"/>
</p:tagLst>
</file>

<file path=ppt/tags/tag2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c8RvfjSoub2h7cBiskf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1S4dCiQb.cJYE.HjLmzg"/>
</p:tagLst>
</file>

<file path=ppt/tags/tag2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YwmIqGTuqenkpw2Dywow"/>
</p:tagLst>
</file>

<file path=ppt/tags/tag2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swVBbmSW.usamAsiP_MQ"/>
</p:tagLst>
</file>

<file path=ppt/tags/tag2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hTr4jYS2uvjAVAwkPNaw"/>
</p:tagLst>
</file>

<file path=ppt/tags/tag2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hboynkTOiOk4eNYcZwMw"/>
</p:tagLst>
</file>

<file path=ppt/tags/tag2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mmCxfQYqdA070oD7Zzw"/>
</p:tagLst>
</file>

<file path=ppt/tags/tag2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zh5MpzRsu8q5SWUM2aGg"/>
</p:tagLst>
</file>

<file path=ppt/tags/tag2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jGxlRsTAyHQ.rayl9q8Q"/>
</p:tagLst>
</file>

<file path=ppt/tags/tag2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33yK5mQcWM1AFoUfwCa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z.0V6SoeVj_3toiu05w"/>
</p:tagLst>
</file>

<file path=ppt/tags/tag2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MydkCiRrSeVwMBxHaQeg"/>
</p:tagLst>
</file>

<file path=ppt/tags/tag2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hqk4G2TZ6Yp8DbPyCoAg"/>
</p:tagLst>
</file>

<file path=ppt/tags/tag2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LX5YGtTmCqA6oK.23X2g"/>
</p:tagLst>
</file>

<file path=ppt/tags/tag2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CmQMacQamvIYHTGPMmnw"/>
</p:tagLst>
</file>

<file path=ppt/tags/tag2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9NLzWRQLCIj_uaOPj9ZA"/>
</p:tagLst>
</file>

<file path=ppt/tags/tag2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mrhqK1TmuY8breU3fzhA"/>
</p:tagLst>
</file>

<file path=ppt/tags/tag2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S1bdlPQLW9U70qM5OW5g"/>
</p:tagLst>
</file>

<file path=ppt/tags/tag2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iIJcTaSFehzIFNufmJMA"/>
</p:tagLst>
</file>

<file path=ppt/tags/tag2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OUO7P2S6yaUxoFG3e.ww"/>
</p:tagLst>
</file>

<file path=ppt/tags/tag2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dEfqJvQr2rv3zjnePIF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qJHZ6Qve8K4oQ925iCw"/>
</p:tagLst>
</file>

<file path=ppt/tags/tag2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bEEv.FTPqG9.Fi8gTNaA"/>
</p:tagLst>
</file>

<file path=ppt/tags/tag2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tmhjMgTcaRD2eZFjudCQ"/>
</p:tagLst>
</file>

<file path=ppt/tags/tag2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hVeOKQQ6.I2Y1x1DakWA"/>
</p:tagLst>
</file>

<file path=ppt/tags/tag2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5kAOJjS3ywjxoDdc2Rvw"/>
</p:tagLst>
</file>

<file path=ppt/tags/tag2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.tUWeGROeaPW44.bpiYw"/>
</p:tagLst>
</file>

<file path=ppt/tags/tag2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nnD_0DQ9uE0w6pyN8VTQ"/>
</p:tagLst>
</file>

<file path=ppt/tags/tag2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kZH208Q76x5htoL22EzQ"/>
</p:tagLst>
</file>

<file path=ppt/tags/tag2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Wgls.4Q0iEny7CAwJ80Q"/>
</p:tagLst>
</file>

<file path=ppt/tags/tag2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ZyYemDQiK8p53RkjaCCw"/>
</p:tagLst>
</file>

<file path=ppt/tags/tag2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h70Uu0RbWrYP0dDxIbG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H67fOsSYWrVGZ9o_CVXQ"/>
</p:tagLst>
</file>

<file path=ppt/tags/tag2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.HeVUxRYil7bCOkyK_dg"/>
</p:tagLst>
</file>

<file path=ppt/tags/tag2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3PGEyISDmbGD_QMK.fAg"/>
</p:tagLst>
</file>

<file path=ppt/tags/tag2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YNnbIeRxSTDT7Y.utLXg"/>
</p:tagLst>
</file>

<file path=ppt/tags/tag2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oVbhr.Q46BN2hijO.5AA"/>
</p:tagLst>
</file>

<file path=ppt/tags/tag2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nhH02RTZy4NoiCdauIcA"/>
</p:tagLst>
</file>

<file path=ppt/tags/tag2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1u5RTHQs2QqlnPBjxW5w"/>
</p:tagLst>
</file>

<file path=ppt/tags/tag2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D_VVkPRWm5nuumBzaEUw"/>
</p:tagLst>
</file>

<file path=ppt/tags/tag2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4bFQXVTge43qg_C..84w"/>
</p:tagLst>
</file>

<file path=ppt/tags/tag2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O4mhdxQYi9ouNDQIRVxA"/>
</p:tagLst>
</file>

<file path=ppt/tags/tag2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2AoRwURAGSOKKGFQwyB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yr2etYRuO0_ZLsZR2v3Q"/>
</p:tagLst>
</file>

<file path=ppt/tags/tag2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KDG3hSRGuRcRbHQwVR8w"/>
</p:tagLst>
</file>

<file path=ppt/tags/tag2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SBYv4nQRa2JAeJdpxsIg"/>
</p:tagLst>
</file>

<file path=ppt/tags/tag2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2_pUS7TJyTC.3GnMKxZw"/>
</p:tagLst>
</file>

<file path=ppt/tags/tag2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ZprIvyQXapnF4jDiNaVQ"/>
</p:tagLst>
</file>

<file path=ppt/tags/tag2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YfHe2aTMqBJWifYzO9ZA"/>
</p:tagLst>
</file>

<file path=ppt/tags/tag2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71rd_WTnmprRfS_daCuA"/>
</p:tagLst>
</file>

<file path=ppt/tags/tag2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kJrMx7RTW8yt7H42TO9g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581JDRZGqN0jhecBRkw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aD0KylQOuYErKHMZBhbw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Or1ERVSSGRvO0uGzLh9w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VikmY0TCmgmK.D_2wTfQ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9ZhVbTRK2ZHsBva9MvEg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WOzzlHReSaayFwTKvV8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gaGnYS.aYUGMzCMhIYQ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04RLMuQdqU9XKVnd8JYA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Z_ggMkTY6PCrwfx2uyxg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zSggh5T9ualgUNi_ZNrg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WVgvgqTH.fa8CvtzrDow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4jQfn_S9OMwGLT_0ZAGA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1FEsFJSYeJ39mdKRXw9Q"/>
</p:tagLst>
</file>

<file path=ppt/tags/tag2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BCcHZRpqGT2VAo9IdnA"/>
</p:tagLst>
</file>

<file path=ppt/tags/tag2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0X5SUZRoeSHU4vyYvd3w"/>
</p:tagLst>
</file>

<file path=ppt/tags/tag2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MaDMAJROeMdoXoHjNfTA"/>
</p:tagLst>
</file>

<file path=ppt/tags/tag2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8HHCDeQbuTQ0QjI9V_8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mgMMxCRc2bwlSWGnorgA"/>
</p:tagLst>
</file>

<file path=ppt/tags/tag2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RzcOJ3S7GgY5kdXnml.Q"/>
</p:tagLst>
</file>

<file path=ppt/tags/tag2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ETaUrKQDS_u7w0Xu9DDw"/>
</p:tagLst>
</file>

<file path=ppt/tags/tag2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Qa52BJRvGoQVeK4nYzrQ"/>
</p:tagLst>
</file>

<file path=ppt/tags/tag2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TRibJOSmay9gVfl.YFNw"/>
</p:tagLst>
</file>

<file path=ppt/tags/tag2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AdTmsSQPyozzbqOMaQVQ"/>
</p:tagLst>
</file>

<file path=ppt/tags/tag2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xH58hRS1.smYUf6y6evw"/>
</p:tagLst>
</file>

<file path=ppt/tags/tag2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xR.Y8AS9eAKX_yiPcluQ"/>
</p:tagLst>
</file>

<file path=ppt/tags/tag2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Hflk3rQI2dl.Ht92Zg.w"/>
</p:tagLst>
</file>

<file path=ppt/tags/tag2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tCB.lQSiqxdMxrpgPJXw"/>
</p:tagLst>
</file>

<file path=ppt/tags/tag2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zue2N6Q1a22H.aX5kqj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mgMMxCRc2bwlSWGnorgA"/>
</p:tagLst>
</file>

<file path=ppt/tags/tag2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pqQpWkSYuRY22blNZsaQ"/>
</p:tagLst>
</file>

<file path=ppt/tags/tag2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GjZd1AQGmh47kU3Qjk3Q"/>
</p:tagLst>
</file>

<file path=ppt/tags/tag2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gVouNbSXWITzPdyZ57fQ"/>
</p:tagLst>
</file>

<file path=ppt/tags/tag2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h5kxs6QmiiBecpeSWyYQ"/>
</p:tagLst>
</file>

<file path=ppt/tags/tag2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HxVKbkTje6WMiywb9H_A"/>
</p:tagLst>
</file>

<file path=ppt/tags/tag2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anBFXZTsKxIDuk.JRUEg"/>
</p:tagLst>
</file>

<file path=ppt/tags/tag2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IMj3GpQ_Kgj9T7aCPLiA"/>
</p:tagLst>
</file>

<file path=ppt/tags/tag2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m76BIYSbeE8V_GwoIuHw"/>
</p:tagLst>
</file>

<file path=ppt/tags/tag2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fAM_BHQ3SgtaWmrgK6T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mgMMxCRc2bwlSWGnorgA"/>
</p:tagLst>
</file>

<file path=ppt/tags/tag2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KC7rNqSKy_pUmPx6skpA"/>
</p:tagLst>
</file>

<file path=ppt/tags/tag2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hMsOrRZW4TRcp8MW8bQ"/>
</p:tagLst>
</file>

<file path=ppt/tags/tag2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LgLSl7QVWIhGO5xy2oew"/>
</p:tagLst>
</file>

<file path=ppt/tags/tag2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5SUEkiQGqzVI7xflBkLA"/>
</p:tagLst>
</file>

<file path=ppt/tags/tag2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Ltkn8PTGuSt0.UOK6MYA"/>
</p:tagLst>
</file>

<file path=ppt/tags/tag2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BQoeiRScy1b9X8lCP6wg"/>
</p:tagLst>
</file>

<file path=ppt/tags/tag2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dpyyp7TC2ub7Iujs7KkA"/>
</p:tagLst>
</file>

<file path=ppt/tags/tag2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Pv2JoTCW4VWaIwaWB4g"/>
</p:tagLst>
</file>

<file path=ppt/tags/tag2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yxo6xMQQW5EiirzN0BJg"/>
</p:tagLst>
</file>

<file path=ppt/tags/tag2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WulYuzSA2QWlxZXOvje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yvq4B_Sm6AgGvV0MruBQ"/>
</p:tagLst>
</file>

<file path=ppt/tags/tag2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_5QEUPQOyGmt03KedzNQ"/>
</p:tagLst>
</file>

<file path=ppt/tags/tag2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fE0QyBQneuk2sySy3Caw"/>
</p:tagLst>
</file>

<file path=ppt/tags/tag2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63u6X6Qcy7vt60Yuuzjw"/>
</p:tagLst>
</file>

<file path=ppt/tags/tag2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Bg8VsnSUCZM4zhIuOhtQ"/>
</p:tagLst>
</file>

<file path=ppt/tags/tag2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GxgD9QTiexT92Jh.lKHw"/>
</p:tagLst>
</file>

<file path=ppt/tags/tag2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QcjHNoRXuCSdGV8.a.Pw"/>
</p:tagLst>
</file>

<file path=ppt/tags/tag2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h5kxs6QmiiBecpeSWyYQ"/>
</p:tagLst>
</file>

<file path=ppt/tags/tag2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IfeXogRv2afiM91tEPM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hboynkTOiOk4eNYcZwMw"/>
</p:tagLst>
</file>

<file path=ppt/tags/tag2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anBFXZTsKxIDuk.JRUEg"/>
</p:tagLst>
</file>

<file path=ppt/tags/tag2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IMj3GpQ_Kgj9T7aCPLiA"/>
</p:tagLst>
</file>

<file path=ppt/tags/tag2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m76BIYSbeE8V_GwoIuHw"/>
</p:tagLst>
</file>

<file path=ppt/tags/tag2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fAM_BHQ3SgtaWmrgK6TQ"/>
</p:tagLst>
</file>

<file path=ppt/tags/tag2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hMsOrRZW4TRcp8MW8bQ"/>
</p:tagLst>
</file>

<file path=ppt/tags/tag2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LgLSl7QVWIhGO5xy2oew"/>
</p:tagLst>
</file>

<file path=ppt/tags/tag2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KC7rNqSKy_pUmPx6skpA"/>
</p:tagLst>
</file>

<file path=ppt/tags/tag2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BQoeiRScy1b9X8lCP6wg"/>
</p:tagLst>
</file>

<file path=ppt/tags/tag2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Ltkn8PTGuSt0.UOK6MYA"/>
</p:tagLst>
</file>

<file path=ppt/tags/tag2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dpyyp7TC2ub7Iujs7Kk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PkW1PJRNGFV_oJIm8l5A"/>
</p:tagLst>
</file>

<file path=ppt/tags/tag2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5SUEkiQGqzVI7xflBkLA"/>
</p:tagLst>
</file>

<file path=ppt/tags/tag2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V.tFiUSSOrngk5hQoTfA"/>
</p:tagLst>
</file>

<file path=ppt/tags/tag2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yvq4B_Sm6AgGvV0MruBQ"/>
</p:tagLst>
</file>

<file path=ppt/tags/tag2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yxo6xMQQW5EiirzN0BJg"/>
</p:tagLst>
</file>

<file path=ppt/tags/tag2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WulYuzSA2QWlxZXOvjeA"/>
</p:tagLst>
</file>

<file path=ppt/tags/tag2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_5QEUPQOyGmt03KedzNQ"/>
</p:tagLst>
</file>

<file path=ppt/tags/tag2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fE0QyBQneuk2sySy3Caw"/>
</p:tagLst>
</file>

<file path=ppt/tags/tag2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oT9fnUQkisfLa1Ugdaaw"/>
</p:tagLst>
</file>

<file path=ppt/tags/tag2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12LFQ9Tgav.2MNaGiY5Q"/>
</p:tagLst>
</file>

<file path=ppt/tags/tag2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uRkLdvRvuGKaUqMbms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kIxLILTfqFF8k2zQ2l4w"/>
</p:tagLst>
</file>

<file path=ppt/tags/tag2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yJ2GDS2m_H62NNbqXwg"/>
</p:tagLst>
</file>

<file path=ppt/tags/tag2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XIlFJ1SpiHqYa6H3vb2g"/>
</p:tagLst>
</file>

<file path=ppt/tags/tag2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9vEbt9Q5mSK2lHJ6FBPA"/>
</p:tagLst>
</file>

<file path=ppt/tags/tag2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8Oksd_RH6VoaUIln4yrA"/>
</p:tagLst>
</file>

<file path=ppt/tags/tag2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VRNURSVqTPxI5qWCmvg"/>
</p:tagLst>
</file>

<file path=ppt/tags/tag2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iioUdAS_a4LuHOk.xZcg"/>
</p:tagLst>
</file>

<file path=ppt/tags/tag2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1i2KSFTQWay2B9ySxcOQ"/>
</p:tagLst>
</file>

<file path=ppt/tags/tag2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SCtsUiRQqy1WEULJdd4A"/>
</p:tagLst>
</file>

<file path=ppt/tags/tag2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fMI2iMSOy_8LqXwd1M9g"/>
</p:tagLst>
</file>

<file path=ppt/tags/tag2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KCv0K0T0m8c_S5TYkEI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m3DMYATDe9UNdzxH1rGQ"/>
</p:tagLst>
</file>

<file path=ppt/tags/tag2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IRfXhsQSah7j0ObrGyRA"/>
</p:tagLst>
</file>

<file path=ppt/tags/tag2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luQslJRbW3sIFE9eZcHA"/>
</p:tagLst>
</file>

<file path=ppt/tags/tag2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CA_CkqS7CnwfhzX3t8xw"/>
</p:tagLst>
</file>

<file path=ppt/tags/tag2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Igu3ujTt60hPkFUlkM3g"/>
</p:tagLst>
</file>

<file path=ppt/tags/tag2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1LoDL2Rq6G77CVGfXK7A"/>
</p:tagLst>
</file>

<file path=ppt/tags/tag2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2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2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tjH7RfRxez0uLoYFagLA"/>
</p:tagLst>
</file>

<file path=ppt/tags/tag2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pb_NhiS..ndBKnwo4zBQ"/>
</p:tagLst>
</file>

<file path=ppt/tags/tag2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mNwyl0SqiNU4EGRerbkw"/>
</p:tagLst>
</file>

<file path=ppt/tags/tag2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abgSTvRuSxdBSyEIWBGw"/>
</p:tagLst>
</file>

<file path=ppt/tags/tag2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26pL54QIKd2HtggU81ng"/>
</p:tagLst>
</file>

<file path=ppt/tags/tag2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qJUK5OR3WDNC0fjXZP5w"/>
</p:tagLst>
</file>

<file path=ppt/tags/tag2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iDyNhuQlKdTnIVk99X3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3XzmKiSdGCdbCbvHdpTA"/>
</p:tagLst>
</file>

<file path=ppt/tags/tag2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DFKx6PT.6jM0K9PMkPEw"/>
</p:tagLst>
</file>

<file path=ppt/tags/tag2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TZ6nxOTM.FqRx8RFK0Qg"/>
</p:tagLst>
</file>

<file path=ppt/tags/tag2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vpmLu6RTCSROtbRfhl6Q"/>
</p:tagLst>
</file>

<file path=ppt/tags/tag2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m9SJ_XSbqZcpMdXQdZsw"/>
</p:tagLst>
</file>

<file path=ppt/tags/tag2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n1eWluR4WQeTTLZY9jGA"/>
</p:tagLst>
</file>

<file path=ppt/tags/tag2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pbNSLqRP24dvss50BAjg"/>
</p:tagLst>
</file>

<file path=ppt/tags/tag2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YQpds0TzW4vl1V2LjeMg"/>
</p:tagLst>
</file>

<file path=ppt/tags/tag2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TtmDxJRSmhjqCcYsY5iw"/>
</p:tagLst>
</file>

<file path=ppt/tags/tag2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HrI4zaQOqKCNbIfiXV6A"/>
</p:tagLst>
</file>

<file path=ppt/tags/tag2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AlO58eRO.ftf.mfBPDEg"/>
</p:tagLst>
</file>

<file path=ppt/tags/tag2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hboynkTOiOk4eNYcZwMw"/>
</p:tagLst>
</file>

<file path=ppt/tags/tag2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2e8eJ7QVOJxmE7gEVcMg"/>
</p:tagLst>
</file>

<file path=ppt/tags/tag2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sCw4bASxuTCEBS4jTtwQ"/>
</p:tagLst>
</file>

<file path=ppt/tags/tag2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2MAG_pSOuldNkHyqtqQA"/>
</p:tagLst>
</file>

<file path=ppt/tags/tag2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XdOuLzT_.SItzr66pLaw"/>
</p:tagLst>
</file>

<file path=ppt/tags/tag2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Lg8jLxT2SDdYPv65VMEw"/>
</p:tagLst>
</file>

<file path=ppt/tags/tag2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nRnDVSQlSBaKoCJqLRwQ"/>
</p:tagLst>
</file>

<file path=ppt/tags/tag2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TgE9t2QeeT4agKQHNh.Q"/>
</p:tagLst>
</file>

<file path=ppt/tags/tag2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z5fd_pRi6dFeAfxJCLZQ"/>
</p:tagLst>
</file>

<file path=ppt/tags/tag2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n41ol7TTOmlaudjJWmF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Yfw1BRSOFo7Yv46rDow"/>
</p:tagLst>
</file>

<file path=ppt/tags/tag2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YuSVLkRbe8E6..GcEQnQ"/>
</p:tagLst>
</file>

<file path=ppt/tags/tag2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v_uUz6QxmqUSx0H4eTbQ"/>
</p:tagLst>
</file>

<file path=ppt/tags/tag2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WbZDHJT_u9v9n5HbMEzQ"/>
</p:tagLst>
</file>

<file path=ppt/tags/tag2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wZ_n77R5GT1Tw9jz1Hnw"/>
</p:tagLst>
</file>

<file path=ppt/tags/tag2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IbGNGXTc6.JDsqq3ThWQ"/>
</p:tagLst>
</file>

<file path=ppt/tags/tag2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nYMvmPQmS8zhofhKnIsQ"/>
</p:tagLst>
</file>

<file path=ppt/tags/tag2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cHCle8SG2nNz.oqw88rg"/>
</p:tagLst>
</file>

<file path=ppt/tags/tag2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g_9Y40S2q42Y3k1WqDdA"/>
</p:tagLst>
</file>

<file path=ppt/tags/tag2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og5KRmQlawlLPo5nJckQ"/>
</p:tagLst>
</file>

<file path=ppt/tags/tag2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gqsX.9Rgy_XoV8pW.Xi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Jv4mHrQZWHx_v3P0lBQw"/>
</p:tagLst>
</file>

<file path=ppt/tags/tag2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fj_GQxTRmAXK69rh1AHQ"/>
</p:tagLst>
</file>

<file path=ppt/tags/tag2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aM6yCvSQuh6yoRVaFvIA"/>
</p:tagLst>
</file>

<file path=ppt/tags/tag2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z2Ux9iRgONN7Gesyfquw"/>
</p:tagLst>
</file>

<file path=ppt/tags/tag2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3qzViQQlaO3BAzRiDOow"/>
</p:tagLst>
</file>

<file path=ppt/tags/tag2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BjsGp8S0G0ORt8SkFbCw"/>
</p:tagLst>
</file>

<file path=ppt/tags/tag2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x_y83TLihGWwFnw2qUQ"/>
</p:tagLst>
</file>

<file path=ppt/tags/tag2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QsSe5DSj.js9c.wer15g"/>
</p:tagLst>
</file>

<file path=ppt/tags/tag2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B299cwTaejVceUMrGrWg"/>
</p:tagLst>
</file>

<file path=ppt/tags/tag2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z.0V6SoeVj_3toiu05w"/>
</p:tagLst>
</file>

<file path=ppt/tags/tag2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FKcTrAQ9usB39ix7IpGA"/>
</p:tagLst>
</file>

<file path=ppt/tags/tag2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z.0V6SoeVj_3toiu05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BFHayQ7OCuqtTOZUZHA"/>
</p:tagLst>
</file>

<file path=ppt/tags/tag2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z.0V6SoeVj_3toiu05w"/>
</p:tagLst>
</file>

<file path=ppt/tags/tag2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z.0V6SoeVj_3toiu05w"/>
</p:tagLst>
</file>

<file path=ppt/tags/tag2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r2aCR9T56dml.toqkVBQ"/>
</p:tagLst>
</file>

<file path=ppt/tags/tag2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2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wt3COkRhGGvX7Md_MFZw"/>
</p:tagLst>
</file>

<file path=ppt/tags/tag2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oUMCQDSNeLXggBEJzyDQ"/>
</p:tagLst>
</file>

<file path=ppt/tags/tag2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utZkMpRoeIQnlqOpJsY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hhPrzAT1694rijfvU5nQ"/>
</p:tagLst>
</file>

<file path=ppt/tags/tag2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OXA.bRQlaGJp.7WNujQw"/>
</p:tagLst>
</file>

<file path=ppt/tags/tag2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.PIWcqTpOLVZhwUkOTRA"/>
</p:tagLst>
</file>

<file path=ppt/tags/tag2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_dps3XST2G95TKx2eWSg"/>
</p:tagLst>
</file>

<file path=ppt/tags/tag2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2masBXQLSIOlRxwXvYrw"/>
</p:tagLst>
</file>

<file path=ppt/tags/tag2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pbsXGmTZSWEJOXf70j0w"/>
</p:tagLst>
</file>

<file path=ppt/tags/tag2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l1bi.ZSOq_5VquMDvzAA"/>
</p:tagLst>
</file>

<file path=ppt/tags/tag2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piOzzBSi2Q5x34UxX8WA"/>
</p:tagLst>
</file>

<file path=ppt/tags/tag2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FeqM_ETxa1HAiuCa0gWQ"/>
</p:tagLst>
</file>

<file path=ppt/tags/tag2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8aMKKdTdWAnNQxGiEkpw"/>
</p:tagLst>
</file>

<file path=ppt/tags/tag2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vwqdy4Rs6X4nXxIZO1Z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6N3uGERZqMp3sq6Zlo.Q"/>
</p:tagLst>
</file>

<file path=ppt/tags/tag2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clje5Q_aD..yqRG.NNw"/>
</p:tagLst>
</file>

<file path=ppt/tags/tag2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cNh3pQSHinG5wf82Il6Q"/>
</p:tagLst>
</file>

<file path=ppt/tags/tag2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cYqANpRziLKU1ASzrtYw"/>
</p:tagLst>
</file>

<file path=ppt/tags/tag2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O.8LSzRZGovrWXkcEV4w"/>
</p:tagLst>
</file>

<file path=ppt/tags/tag2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pZOVIQM2jQZAmSvD3hQ"/>
</p:tagLst>
</file>

<file path=ppt/tags/tag2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uGOeCRRwOkC.moqEsIKw"/>
</p:tagLst>
</file>

<file path=ppt/tags/tag2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P43KDiS9C0oUbmbUWIpg"/>
</p:tagLst>
</file>

<file path=ppt/tags/tag2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CqbnsWQL6wDdHORTd58w"/>
</p:tagLst>
</file>

<file path=ppt/tags/tag2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.0Lb3sQE2YGleDDOF8_A"/>
</p:tagLst>
</file>

<file path=ppt/tags/tag2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OYtTe7Q1OaFSfW4xmzn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a37kyjSDq3frnMblVilA"/>
</p:tagLst>
</file>

<file path=ppt/tags/tag2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TSvy1jThCmk3rhUWM4sQ"/>
</p:tagLst>
</file>

<file path=ppt/tags/tag2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.Ago3DT2ieB3bP3R8rOA"/>
</p:tagLst>
</file>

<file path=ppt/tags/tag2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bSVEnzRZOifZpFYxAd6A"/>
</p:tagLst>
</file>

<file path=ppt/tags/tag2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kjH78QIS.5WuBZKkLmw"/>
</p:tagLst>
</file>

<file path=ppt/tags/tag2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ZWHY9uS62hHjp1pOOKyw"/>
</p:tagLst>
</file>

<file path=ppt/tags/tag2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Ch_vlLSV264HuvetShNg"/>
</p:tagLst>
</file>

<file path=ppt/tags/tag2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.9urIAThifJdqvtBckbQ"/>
</p:tagLst>
</file>

<file path=ppt/tags/tag2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3V42dmS26M8lFeArY6sQ"/>
</p:tagLst>
</file>

<file path=ppt/tags/tag2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m4vI3KTR.I.OHpxeuEDg"/>
</p:tagLst>
</file>

<file path=ppt/tags/tag2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iiahstRhye4wKv117Qp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_Ew5eRju.kdyS11zVLA"/>
</p:tagLst>
</file>

<file path=ppt/tags/tag2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novw.Sf.B42mDQFw0IA"/>
</p:tagLst>
</file>

<file path=ppt/tags/tag2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_J_OAxSMqVaI_9SKcItA"/>
</p:tagLst>
</file>

<file path=ppt/tags/tag2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RcgF0_SD2snepFOyZr8A"/>
</p:tagLst>
</file>

<file path=ppt/tags/tag2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Sf2XyPRbmGyT4ou4YYRA"/>
</p:tagLst>
</file>

<file path=ppt/tags/tag2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l3HgMQS2qiBV3FLWvJPA"/>
</p:tagLst>
</file>

<file path=ppt/tags/tag2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8c9W0eT4CwUnFA0kVZJw"/>
</p:tagLst>
</file>

<file path=ppt/tags/tag2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loWxxT2ObwPG69r6bhg"/>
</p:tagLst>
</file>

<file path=ppt/tags/tag2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6.0lrhQ9a.ZbuCz7Z3pQ"/>
</p:tagLst>
</file>

<file path=ppt/tags/tag2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lnyS.eS6iFDve0Kg7wfA"/>
</p:tagLst>
</file>

<file path=ppt/tags/tag2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tBUprrSd.cm2gZejK5e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0DrZolR1W1X1zxmtvaVg"/>
</p:tagLst>
</file>

<file path=ppt/tags/tag2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woILyzSEOgmvj4jbWjBQ"/>
</p:tagLst>
</file>

<file path=ppt/tags/tag2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dguE7gT1asneEHkngRaQ"/>
</p:tagLst>
</file>

<file path=ppt/tags/tag2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v8NxSYQY6IahPzBMh7PA"/>
</p:tagLst>
</file>

<file path=ppt/tags/tag2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FHs7S2TMOqy8E.4vOolA"/>
</p:tagLst>
</file>

<file path=ppt/tags/tag2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iCPkKfTyi_5QAnAcVT8Q"/>
</p:tagLst>
</file>

<file path=ppt/tags/tag2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1y6yoR.aXMubpiIqffA"/>
</p:tagLst>
</file>

<file path=ppt/tags/tag2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C_AQg7QjaXjLWTfQjmjg"/>
</p:tagLst>
</file>

<file path=ppt/tags/tag2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CF58CZQLONiPl0MYcHJw"/>
</p:tagLst>
</file>

<file path=ppt/tags/tag2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WzqlhTTiivyf3wvPJhw"/>
</p:tagLst>
</file>

<file path=ppt/tags/tag2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RDxxA7Tc.kAnUSeR9mT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Y_wG76SMapDb2_7IBEbg"/>
</p:tagLst>
</file>

<file path=ppt/tags/tag2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Jfda5zSUu8H7o60CVkOQ"/>
</p:tagLst>
</file>

<file path=ppt/tags/tag2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cm98vdQMKjMGSfLTXG6g"/>
</p:tagLst>
</file>

<file path=ppt/tags/tag2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HahJLhQSuTNnZKzEByJA"/>
</p:tagLst>
</file>

<file path=ppt/tags/tag2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xXgOnpRnqdwIMHJraAzw"/>
</p:tagLst>
</file>

<file path=ppt/tags/tag2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aZAteITLKEZKT4ibJWcQ"/>
</p:tagLst>
</file>

<file path=ppt/tags/tag2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CEMlJvTJOfqGPpj4slgA"/>
</p:tagLst>
</file>

<file path=ppt/tags/tag2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uzKeqiQ26FVZh5rGTW.A"/>
</p:tagLst>
</file>

<file path=ppt/tags/tag2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GsnvuSRzqqocp1SRmj3A"/>
</p:tagLst>
</file>

<file path=ppt/tags/tag2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wZwS5qS52y4fRBAxb_vA"/>
</p:tagLst>
</file>

<file path=ppt/tags/tag2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Q7QD1HSQulTL6aRUet0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WO_mkmRRevEp3.4NEsdA"/>
</p:tagLst>
</file>

<file path=ppt/tags/tag2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0jUxkuSgqbgSw84vCMPw"/>
</p:tagLst>
</file>

<file path=ppt/tags/tag2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KqDmRRYylUuz1xNjsaw"/>
</p:tagLst>
</file>

<file path=ppt/tags/tag2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lrYOWYR1ilUGJdQNSOwA"/>
</p:tagLst>
</file>

<file path=ppt/tags/tag2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..2rlGQpqELJZX9GkJsA"/>
</p:tagLst>
</file>

<file path=ppt/tags/tag2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IghLnJRpyUqkh1HZmgLw"/>
</p:tagLst>
</file>

<file path=ppt/tags/tag2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GwAFvUScSN49cKEACnjA"/>
</p:tagLst>
</file>

<file path=ppt/tags/tag2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LfmLIQRyT9DzrUuQIEQ"/>
</p:tagLst>
</file>

<file path=ppt/tags/tag2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Z93lpCT4KFrQe5Q2DC0A"/>
</p:tagLst>
</file>

<file path=ppt/tags/tag2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hIYK3bTjiCr4x78gI65Q"/>
</p:tagLst>
</file>

<file path=ppt/tags/tag2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CGcKG7QOOyezDHEFWl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FIXkMARpuPqrdv8kHFhQ"/>
</p:tagLst>
</file>

<file path=ppt/tags/tag2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jH17qUTvetaWtudH1ZNQ"/>
</p:tagLst>
</file>

<file path=ppt/tags/tag2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MsfveQTCSVQFd_2L.Lw"/>
</p:tagLst>
</file>

<file path=ppt/tags/tag2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xzM90MTd6zvZTmFtJiUQ"/>
</p:tagLst>
</file>

<file path=ppt/tags/tag2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HswirRSFGkrFH9kW4t1A"/>
</p:tagLst>
</file>

<file path=ppt/tags/tag2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FOALTVRDGTHu.KVjigDg"/>
</p:tagLst>
</file>

<file path=ppt/tags/tag2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1MOKWnR6.wA.n1fVAhuw"/>
</p:tagLst>
</file>

<file path=ppt/tags/tag2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I_lhi9QTqEUEQjou619g"/>
</p:tagLst>
</file>

<file path=ppt/tags/tag2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pBwVkTTBqNOQuu5CiFYg"/>
</p:tagLst>
</file>

<file path=ppt/tags/tag2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EBN48bScKIx55dEsgJ8Q"/>
</p:tagLst>
</file>

<file path=ppt/tags/tag2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dy_nezRPqxoZtFInmOM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SthoFCS0SxfsF39gFInQ"/>
</p:tagLst>
</file>

<file path=ppt/tags/tag2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WhLwbdQCK8M9fAi7pfsQ"/>
</p:tagLst>
</file>

<file path=ppt/tags/tag2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mJPYXnTUih2HCArsvrHg"/>
</p:tagLst>
</file>

<file path=ppt/tags/tag2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EnfijGTNi__WWDf.93Mw"/>
</p:tagLst>
</file>

<file path=ppt/tags/tag2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lG9PFcQeSbfCUDqTjrsw"/>
</p:tagLst>
</file>

<file path=ppt/tags/tag2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aTGdDGRpua.8sHWPq_NA"/>
</p:tagLst>
</file>

<file path=ppt/tags/tag2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wg2T46RdmoacwmMroP0A"/>
</p:tagLst>
</file>

<file path=ppt/tags/tag2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iD26.IQZSm2piV4lDjiA"/>
</p:tagLst>
</file>

<file path=ppt/tags/tag2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9O6HRCTiaP4iLtEWWEwg"/>
</p:tagLst>
</file>

<file path=ppt/tags/tag2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RoLlZvSduZVz17VuUJLw"/>
</p:tagLst>
</file>

<file path=ppt/tags/tag2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XZiotyStmoF2lMG8F_e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q1_qHQRX.7RiOtIfw1iQ"/>
</p:tagLst>
</file>

<file path=ppt/tags/tag2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QNIs.0SQO3NEvUfy21hQ"/>
</p:tagLst>
</file>

<file path=ppt/tags/tag2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2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KFJ0TNSN.y1kO7ZJf84g"/>
</p:tagLst>
</file>

<file path=ppt/tags/tag2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2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2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EGnNuT_0OcU5z9tKmBFA"/>
</p:tagLst>
</file>

<file path=ppt/tags/tag2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UbfTU.SnukMKIeAwhMiw"/>
</p:tagLst>
</file>

<file path=ppt/tags/tag2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BFHayQ7OCuqtTOZUZHA"/>
</p:tagLst>
</file>

<file path=ppt/tags/tag2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BFHayQ7OCuqtTOZUZH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kaKD6TSnGmHpJb5Vkrb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3psQpmRT6o6unTdaz_6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aSvmseTMaZDK5aZVCWx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b3X7ZgQ6GwkkRad3mQl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90smowRTeGT6jP9hDd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HfPc55RVKYifdHLz86I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sm4OkrSzqdSUCMvpG.k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VrA2S4Ryy1idRv6o1hW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XsohUOQQiSC36EQFLJf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SXAp8kQ9WzUXRss5aLL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l_u0oPRK.BmuBYhA_Fg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UKCtB7RUmMJ9G5eIgQI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doErrpQx.LhEbfVWvcU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MVWsLTTPiE9zKlUh.VV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r2aCR9T56dml.toqkVB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VjGfbRTxmSkP20LM71w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jaPlNQcCeEPWhrGaAi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SSkRm.S0asVOwtZYvk5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orkUHUR9iz0KE5SLTp_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2grzpFQoi.8988NHNBv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aSiqBSQYKz1j_esFplt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vm2kd2RtiYlwx2dWNXU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b_JOZdSMKyJn2sgdwaD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A4CITsRzaoWEie5mZs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vfvB38TSCww_7fqRMuk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1CrEAPQlOeNMpw4YtCO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ACOGYRTGbpUIQF.fDM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_bq4amR4SRPEWJ3qs3f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4vSaO6SvOPlkGVxTyI3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36U20yTGmFgisYJHa7P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zDwYsLSqGZP5_1fOc.Y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sVEpcoTimU95i2wYmKg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iR6YoiRYOg_WSmE_KNP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tIDbboT.Wgb0Ipa.Fy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u7kfT8RHuIIPTjPGLOx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zmT4JnQqGsTvEDtzYDb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_8A6OkRwKgOmADsU0P8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j_x_02TuCuMnfszGxtK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NQP8XCRea4eLl11fL.p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LlTod_R4utVJ4myw3fj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7aGu4YR1y0b8pouji3F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7x8dIxSN.ni6pDWO2LZ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mtPI.mT72tiCPFzVf5E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REAgUPSeGWmqfMlYAII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1JP8AkTnKXSkdWZ_VG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P7PEoGRFuhIJG5AQZna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v7dN2MSLehxIxrjP94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IEOWAmQhS3dRb0NpPeI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9ooYkvSgi0JP9bvu_3M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bgANpQQuukAuc_dTfNP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YfAJ17QIePzErFeNGjE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zpItqmQ.agZzuaI.ngb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0CUtDUSlmcUMSC87QiP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VZcI8MRASQNj3ClHmi9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.b124FSKSO9QRyS5dX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WJW3SgQfqJyabAqwk9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WJW3SgQfqJyabAqwk9A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QKN06pSwOydwnmiprPN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1VWYIPS_iwwXVNq6UIs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R6JvUOQAmYh9mmp6vBH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.VLu52Tkm58Fj7de_w_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pjXJdnRCiMH26um12cn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f4WwJARoaZKSIeD77pO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wYmXr.QWaAJxidLR4o1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2OUuxNSaGtl4aJWtyXz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K.W8.RTU60n3.O9tw8n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DwbhTHQ6C44.LpSDIEy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_2epNaTYmsfNwuSrbB8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QQS2T7SO.UJpp6mDqXK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7q8WrDSmKp0a06G8dfT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ssOoS6RCamksKXwXbnc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xYyj_FQna28CFjvbv1I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lm_brwTj.x5F2Ks0vAJ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xWmbO5Sf2i9I8nvzBj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XNYGdI70SiqiCU.3rsf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uhxu4L2ESXoHARSb_5s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1lz.FqNkqk2GuejqurZ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hr34W1UGyV9.9kTS0U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Qq3b69ekynddmqKa69_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Mg4riyEkS_QMCEOF3FJ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UXDaGSpU.6AqdaBLD5p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2uFxfrM06cZHM9bQnVd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vp9t5o2kWcLX8smRvuT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Kf2.dlfk21bwSmJIuH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RI2YytW0GUvvslVy0_p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QhFv8yTkKII7SrkGJ_I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pxJ1O800KEDslRldcv4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CTs_yxUyDfc04Nxhht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HrL_pCfkWs14l_1Fnnt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MDRiumBkKdJZzLadZLS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Unrl3PRkW_Y6PBvSyHM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Pnl6cpWEuJokcgkOW73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ptIGWLjk2vf3ZSZ2lPw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YjZ0sa.ES0qBNGqdq_J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Oc4kXHdUOw2bzbmhQ9h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rLbh5Zr0OS2BXqccSJR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.tm3D2WUmY9U2blibVv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LWlmKee0aGrxsgVV_UG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M.UvczEUSInlNmq2XYd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LW4.5.N0.UK6WQkNGWg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f_0xYKakevL_XlPU.mu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3Yl2lIYkeh4eNXUyld0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guLmm73k2TJzgWO8t3t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nUS7KEy0Wy4LvVjnZZ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6xYyJjmkmBS4TRXyVj6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J_Qyos1UWL6Hs_Le9CI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1AYvbXwk.ljBLwUvqv1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roabJ860W_763Br5gAR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HsEOp0Y0WvGfuFPq8up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kqKTRzz0SRX8e7THNHb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bexrnnrEqLnspXI5q37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9VxcrmHUaHNzE9ty2.T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HdtZZoIUSQO2_49fWgH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G5E1Wy0y8qORDIKKTW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dorHcTOEO1TAFKbcGTQ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jZfTsGDUCAbgU1Gsmh3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gN2AFTgUuwOEdDvFnFc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PuxGS7FUOHHRW1ABbM_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DM.bQHw0yw4ecjd34vz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YOQm51OEit0Nq.l7CKQ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Vl63LZJUiMy0GUjoqq9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.mfczH2EOPdHbYoxaC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Y.1whLs0mqh6FAekjPn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ATfKjrkyBwFNENJb5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fECq5ZmUe3NUi7HtBUy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5My91D0C6qG8zKmDBA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jFqF1dTk6VgUOWfkR4u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FBRi02s0y2x_tigc7TC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WhivrtYUS2AzlvPFh0u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8Xam7RkEe2ukDc50nXU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QeAIQruEKAvri4Gaw38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Z8ibBfIEm6DibkEtFTH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hO.vKPESkGqXLJR8Ol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bnsF9j4k6gTg1oXmMw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IOz2hukeezzokvQo2.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ageqekY0yE2foY3LduQ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wKke0zEKzJzUtg8o9d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tsVrsYN0qKAUM7ctbEO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NPSuFFl0CruMzI2rslK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GL4T8bUe68Q24MPf3_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AQz.QZIk.eNw_iFJ81v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vpjd4l4kaOC2g3B3xOV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n1K7C8UybPV5z_1fFy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TrMePsvU.R1gzB5iTQ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cww7k8X0.opKYof7lxu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IL8yviUSaapgErZX6o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8jScy4HkmxMcbk8ebhg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jQXrvHbk.2_AzHLJqHx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CCd20UoUSO9pkiMbyOW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9q3p6i3UKqxTL7JgOjt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Q9RonEd0al7oo0HtExA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NjOTWlRUe1iRG42Ppoe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Itr6WKJUq3KvPfHg8qb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hdn9sS9EGP7wQIzS.j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YcVjdnI0W5VlOnR3C7Y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0A4wv8a0adMpj5eUUe4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DzXQg8b0KWfKrEOm8Mm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NuEM2k0.TTJNA0gxEM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Mdy1eR_0uVi6bMzdHJH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Z4pU9PkU6FhRjz81vdu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_jKQV21ESdZGRZQFIVP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1dWNwiZkiCyKDYKm9ZF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fxIboXLEmNM_qQRpW1x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07Hpj4I0y19YsdO.jfA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skzH3KYEOG6GeEenzY_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LP_Kw10EiAwW.i2q1lI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e2_KID8EK7pRf1V_X8J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Scw5y9U0qkDD5P70UCG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YHU.Oo9k2Hm.5PseFsI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ApASNuQE2vq63eQVkkc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8ouQXO.02fUXE.BulVk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pys9L6hUiWkl1NM6WtN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cw6fX4_U6jrLzFy5kho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D_dgDrEyDB1MyJ0MeR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54pnsDESUqvvr.JkBu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h.s12uEuAhzXjxUQPA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EfnkVIb0q_2d9_ygO6J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_6pfkv.E.jv9oVj7l9T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BhIXHYiEWKxeAPzzxAm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FTgv6weU2gXcqslcq0Z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XwBi98pEKMlxGnoMFx6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ynsKaT10W3cef.hdd4J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mEYp9o10yLpZfsRHIB3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F2FqMKUy3PhAPuWk0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7I5G5WEUiz3HkyEjumf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et2lowxkyfGX_lF3iCM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5d.xMLESEW140OyfHK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MCW.6VKUC4uUDJ5dSo9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Eeu1t.ikygWBC75BSHG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o54H_tXEacP.lGpSlAH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bhtNJ60SixxnASG4tS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qCacPIHkODWpUgUB7vg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KQm_D1.0G4C78Q8Gqn8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MeFfF5YEqohmdJDtix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TAwCcPoUi03MUO8KXWt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DLRL17jUqjcyWmCXTAS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Eck4YSukq1tImpuIYpM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W_Qixhe0Kv1fvX_eWGU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6pjJrOUOBHL1Bj3XIF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3CBAz2Jkubfj6VEhvAm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rtKeKL4EqCRUhV.muNn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no10EhakaVhcboSgtuS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okrsNv0WHcDbsn0tj3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w8P_rN50OK8PAEoZqi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fQGyaG5EW9FlbP4a.s5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PsEGkc4EGMpwnK0Sxc5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i3WZEUqE6aSuodHNH_B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OqpzzI0OirYZQwU1Qq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OtxcveqEm1OI711P89y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1q7ZtfqUKkI3p1MmyXH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hqMkfaUOmpNAfVdCX0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U91eas0WZGndblp3Wh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TtT2nM0UClZ4bP64ucE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5F3Xk.1kS8_vZ5h8PPd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S.lKYRNUyXKFPGFaP5F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XLqWYDekWWw1MkBZHr9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jZcGSIeEeH2l6hJgG2d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wBTkg_DUup8HrDyYrkt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jsFhM3LEKf9xvrhD_W8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MObm5i5kWfUiRRanXAh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7SP.xSBkOoiejxgaAm0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Z5KJ04EyGKOE8HhiXI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m9Ekr0k6jhdSNEktFH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orOsEfNE6t29auzgcCs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0mEsBsiUyqbn8Cxo8Za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yD_qzvpk6SRMTFs6UrW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HRAErd0EmHp8gvIcKA8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_4hWU0X0SF7vriqR8MH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iyi8wL50.Ar3AvGvBBW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cP496rzEmONj6aqek9t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_ueGP2ZkObX80AYfaX7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m0_05L0q4tf0qWxnLF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l6hG.U9E2ItGTbVJuII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vK5.9R.ESyYJ5ponpb8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4AQgzQOUOrpfB4P5WZu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TPNUn.cUOLAm5x.St.k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acovmYakudFpprGIeHe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9MFREROkKQoU1kjhCMI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EUIz6IZEC_ldfvrGDd4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lEVHaGDkeRuu64YBKDm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bSwE1zj0CP_fgf9B5nt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6PyeI3IE6S0M2eReOO_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J6Pp6f1E6H403_CbR.q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82K41_t0KrJE4Svx9Rd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4ijWU9UEmQ0tm1HnLPo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R5am2tEyq50Ks7Ss4v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yUrN.LUOh3601oERdC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FcqHAF7kut7Y8bJW.HY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5g4QvapkSBkTiDnWGmK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9KICvMv0eX7Lai35joG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_u6NRWq0CCz3nlEk0XL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qilgLnRBmqGCBZXjXSA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pjXJdnRCiMH26um12cn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f4WwJARoaZKSIeD77pO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zHIZHsQO6LRvvq4jfKY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BDG6yGTtG5cGRkOhnQB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udN99ySJ6visD8KCpWR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.QT8NNTKOa3H_11mZU8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8R7sHpTrGXAyGXZvWvr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v34zCWSjWR2JLr37MBC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o6CRN3R6mV_4AhthA4D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Qdaf9gSJm..gd26qo5t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GR9RNsR4uBcVT4TSfwF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J4SZrVTdeFLgS1lqXXx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PJIPuoSvyN6kwMqOjNj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rbM5OSSIqsK1ODMkmxz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pjLlQOTpm0cwcuXmsf1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Qy0_cURt6ZshEGmtd34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s5.5V_QciO_KpIb1_Xt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LdRjS1RPqTna2Q2Abe6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8Qya0DTcmYsEo9NAQv9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93.aDJRbmEzRRiCP.re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w_6tqSq6ERK3Ly7mN3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8eqMpjR6Ct1fGwVJ79Q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Yx1gWtQVCmfrD5aia39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hdBPhnTFyOVlGKmnilq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FrlKXFRgOF9IgGmKXvT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.HC9ewR8GbvvFfAVd0n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vMMDJNRrWkAJvNWQPgm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fzqJcgTYeACqdAr0qyM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jq.QQDQICWqFfgK1IJ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BUOd17RCa6BXruvHDbO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gXXJ9PQWGU.zeLX.GsG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qIt7bcSXOffMX1j2ZeK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fmNkTyR6GLA33_2Y1Q2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D1iLC2Re6fI5eFoK2pO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fwb.A5T86BqUnv4cFS3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XNYGdI70SiqiCU.3rsf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uhxu4L2ESXoHARSb_5s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1lz.FqNkqk2GuejqurZ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hr34W1UGyV9.9kTS0U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Qq3b69ekynddmqKa69_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Mg4riyEkS_QMCEOF3FJ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UXDaGSpU.6AqdaBLD5p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2uFxfrM06cZHM9bQnVd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vp9t5o2kWcLX8smRvuT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Kf2.dlfk21bwSmJIuHe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RI2YytW0GUvvslVy0_p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QhFv8yTkKII7SrkGJ_I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pxJ1O800KEDslRldcv4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CTs_yxUyDfc04Nxhh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u7kfT8RHuIIPTjPGLOx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HrL_pCfkWs14l_1Fnnt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MDRiumBkKdJZzLadZLS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Unrl3PRkW_Y6PBvSyHMw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Pnl6cpWEuJokcgkOW73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ptIGWLjk2vf3ZSZ2lPwg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YjZ0sa.ES0qBNGqdq_J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Oc4kXHdUOw2bzbmhQ9h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rLbh5Zr0OS2BXqccSJR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.tm3D2WUmY9U2blibVv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LWlmKee0aGrxsgVV_U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M.UvczEUSInlNmq2XYd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LW4.5.N0.UK6WQkNGWg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f_0xYKakevL_XlPU.mu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3Yl2lIYkeh4eNXUyld0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guLmm73k2TJzgWO8t3t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nUS7KEy0Wy4LvVjnZZI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6xYyJjmkmBS4TRXyVj6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J_Qyos1UWL6Hs_Le9CI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1AYvbXwk.ljBLwUvqv1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roabJ860W_763Br5gAR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HsEOp0Y0WvGfuFPq8up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kqKTRzz0SRX8e7THNHb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bexrnnrEqLnspXI5q37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9VxcrmHUaHNzE9ty2.T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HdtZZoIUSQO2_49fWgH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G5E1Wy0y8qORDIKKTW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dorHcTOEO1TAFKbcGTQ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jZfTsGDUCAbgU1Gsmh3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gN2AFTgUuwOEdDvFnFc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PuxGS7FUOHHRW1ABbM_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DM.bQHw0yw4ecjd34vz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YOQm51OEit0Nq.l7CKQ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Vl63LZJUiMy0GUjoqq9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.mfczH2EOPdHbYoxaCI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Y.1whLs0mqh6FAekjPn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ATfKjrkyBwFNENJb5.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fECq5ZmUe3NUi7HtBUy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5My91D0C6qG8zKmDBA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jFqF1dTk6VgUOWfkR4u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FBRi02s0y2x_tigc7T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3jiuC7S_WX8zdD7dPp5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WhivrtYUS2AzlvPFh0u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8Xam7RkEe2ukDc50nXU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QeAIQruEKAvri4Gaw38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Z8ibBfIEm6DibkEtFTH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hO.vKPESkGqXLJR8Ol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bnsF9j4k6gTg1oXmMwy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IOz2hukeezzokvQo2.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ageqekY0yE2foY3LduQ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wKke0zEKzJzUtg8o9d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tsVrsYN0qKAUM7ctbE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3kC2y2S8ysPrYz3IDXa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NPSuFFl0CruMzI2rslK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GL4T8bUe68Q24MPf3_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AQz.QZIk.eNw_iFJ81v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vpjd4l4kaOC2g3B3xOV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n1K7C8UybPV5z_1fFy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TrMePsvU.R1gzB5iTQI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cww7k8X0.opKYof7lxu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IL8yviUSaapgErZX6o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8jScy4HkmxMcbk8ebhg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jQXrvHbk.2_AzHLJqH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HCvf81SGuxMVBf4_wBU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CCd20UoUSO9pkiMbyOW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9q3p6i3UKqxTL7JgOjt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Q9RonEd0al7oo0HtExA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NjOTWlRUe1iRG42Ppoe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Itr6WKJUq3KvPfHg8qb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hdn9sS9EGP7wQIzS.jA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YcVjdnI0W5VlOnR3C7Y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0A4wv8a0adMpj5eUUe4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DzXQg8b0KWfKrEOm8Mm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NuEM2k0.TTJNA0gxEM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7lqkmlRVy62YLq9Wkea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Mdy1eR_0uVi6bMzdHJH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Z4pU9PkU6FhRjz81vdu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_jKQV21ESdZGRZQFIVP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1dWNwiZkiCyKDYKm9ZF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fxIboXLEmNM_qQRpW1x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07Hpj4I0y19YsdO.jfA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skzH3KYEOG6GeEenzY_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LP_Kw10EiAwW.i2q1lI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e2_KID8EK7pRf1V_X8J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Scw5y9U0qkDD5P70UC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h.847sT9K_OP0AQGl13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YHU.Oo9k2Hm.5PseFsI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ApASNuQE2vq63eQVkkc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8ouQXO.02fUXE.BulVk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pys9L6hUiWkl1NM6WtN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cw6fX4_U6jrLzFy5kho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D_dgDrEyDB1MyJ0MeR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54pnsDESUqvvr.JkBu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h.s12uEuAhzXjxUQPA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EfnkVIb0q_2d9_ygO6J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_6pfkv.E.jv9oVj7l9T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Sp5eRpQc.C4CrKTzyj9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BhIXHYiEWKxeAPzzxAm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FTgv6weU2gXcqslcq0Z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XwBi98pEKMlxGnoMFx6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ynsKaT10W3cef.hdd4J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mEYp9o10yLpZfsRHIB3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F2FqMKUy3PhAPuWk0x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7I5G5WEUiz3HkyEjumf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et2lowxkyfGX_lF3iCM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5d.xMLESEW140OyfHK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MCW.6VKUC4uUDJ5dSo9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0hqVkPS8ucpw.qor8V5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Eeu1t.ikygWBC75BSHG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o54H_tXEacP.lGpSlAH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bhtNJ60SixxnASG4tS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qCacPIHkODWpUgUB7vg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KQm_D1.0G4C78Q8Gqn8g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MeFfF5YEqohmdJDtixs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TAwCcPoUi03MUO8KXWt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DLRL17jUqjcyWmCXTAS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Eck4YSukq1tImpuIYpM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W_Qixhe0Kv1fvX_eWGU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6jzi9QQYyuBxW4Y2.jN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6pjJrOUOBHL1Bj3XIF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3CBAz2Jkubfj6VEhvAm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rtKeKL4EqCRUhV.muNnw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no10EhakaVhcboSgtuS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okrsNv0WHcDbsn0tj3w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w8P_rN50OK8PAEoZqiZ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fQGyaG5EW9FlbP4a.s5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PsEGkc4EGMpwnK0Sxc5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i3WZEUqE6aSuodHNH_B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OqpzzI0OirYZQwU1Qq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i6V3L.TOiCYMH.lx9Mo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OtxcveqEm1OI711P89y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1q7ZtfqUKkI3p1MmyXH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hqMkfaUOmpNAfVdCX0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U91eas0WZGndblp3Wh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TtT2nM0UClZ4bP64ucE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5F3Xk.1kS8_vZ5h8PPd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S.lKYRNUyXKFPGFaP5F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XLqWYDekWWw1MkBZHr9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jZcGSIeEeH2l6hJgG2d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wBTkg_DUup8HrDyYrkt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lnHspORFWEv2SNFFdvI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jsFhM3LEKf9xvrhD_W8g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MObm5i5kWfUiRRanXAh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7SP.xSBkOoiejxgaAm0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Z5KJ04EyGKOE8HhiXI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m9Ekr0k6jhdSNEktFH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orOsEfNE6t29auzgcCs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0mEsBsiUyqbn8Cxo8Za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yD_qzvpk6SRMTFs6UrW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HRAErd0EmHp8gvIcKA8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_4hWU0X0SF7vriqR8MH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jjGYvUQFOcVmy.DN4cc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iyi8wL50.Ar3AvGvBBW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cP496rzEmONj6aqek9t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_ueGP2ZkObX80AYfaX7g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m0_05L0q4tf0qWxnLF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l6hG.U9E2ItGTbVJuII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vK5.9R.ESyYJ5ponpb8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4AQgzQOUOrpfB4P5WZu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TPNUn.cUOLAm5x.St.k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acovmYakudFpprGIeHe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9MFREROkKQoU1kjhCM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d1cA4kRa2CDQU2fbrnV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EUIz6IZEC_ldfvrGDd4g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lEVHaGDkeRuu64YBKDm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bSwE1zj0CP_fgf9B5nt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6PyeI3IE6S0M2eReOO_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J6Pp6f1E6H403_CbR.q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82K41_t0KrJE4Svx9Rd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4ijWU9UEmQ0tm1HnLPo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R5am2tEyq50Ks7Ss4v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yUrN.LUOh3601oERdC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FcqHAF7kut7Y8bJW.H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blw4mYShi9QHKrqsJxD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5g4QvapkSBkTiDnWGmK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9KICvMv0eX7Lai35joG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_u6NRWq0CCz3nlEk0XL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hFdXTKSJmDmkvudvw6OQ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pjXJdnRCiMH26um12cn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f4WwJARoaZKSIeD77pO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12PE6GS5uIljDC9DCsa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nNNpuhS7.QkaQQHLJPo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o6HwEUQBSS4yaY0Mcuo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U.CdBNQsa.USixEmoZc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H3kNQqSReOk5jRHXg2n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zLJSI5QPmZcJDybaVrf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DvTl2CQjyxQ.HCCuSMdw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cP4u1hSE.37Qy9a74Xa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X7cV2dSC25w60u8ZK4l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xWmbO5Sf2i9I8nvzBjf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x3S5cBSWixyJ2jb2oQt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_3tc5mTGaaIibzIv5hi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qzGfYVRmau0tm_tXzUc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LXCbmoTf.O6DbSrgD3Z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XNYGdI70SiqiCU.3rsf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uhxu4L2ESXoHARSb_5s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1lz.FqNkqk2GuejqurZ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hr34W1UGyV9.9kTS0U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Qq3b69ekynddmqKa69_A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Mg4riyEkS_QMCEOF3FJ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UXDaGSpU.6AqdaBLD5pw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2uFxfrM06cZHM9bQnVd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vp9t5o2kWcLX8smRvu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vIMlHeR4OmV1Re.15xvg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Kf2.dlfk21bwSmJIuHeQ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RI2YytW0GUvvslVy0_p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QhFv8yTkKII7SrkGJ_I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pxJ1O800KEDslRldcv4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CTs_yxUyDfc04Nxhht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HrL_pCfkWs14l_1Fnntw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MDRiumBkKdJZzLadZLSQ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Unrl3PRkW_Y6PBvSyHM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Pnl6cpWEuJokcgkOW73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ptIGWLjk2vf3ZSZ2lPw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Fk9799QyOB54BCsTzEI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YjZ0sa.ES0qBNGqdq_J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Oc4kXHdUOw2bzbmhQ9h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rLbh5Zr0OS2BXqccSJR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.tm3D2WUmY9U2blibVvg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LWlmKee0aGrxsgVV_UG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M.UvczEUSInlNmq2XYd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LW4.5.N0.UK6WQkNGWg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f_0xYKakevL_XlPU.muA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3Yl2lIYkeh4eNXUyld0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guLmm73k2TJzgWO8t3t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XsTLpaRTOktMntd85Wxw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nUS7KEy0Wy4LvVjnZZI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6xYyJjmkmBS4TRXyVj6g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J_Qyos1UWL6Hs_Le9CI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1AYvbXwk.ljBLwUvqv1g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roabJ860W_763Br5gARg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HsEOp0Y0WvGfuFPq8up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kqKTRzz0SRX8e7THNHb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bexrnnrEqLnspXI5q37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9VxcrmHUaHNzE9ty2.T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HdtZZoIUSQO2_49fWgH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KI0yW7TJe4iqra7KjUG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G5E1Wy0y8qORDIKKTW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dorHcTOEO1TAFKbcGTQA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jZfTsGDUCAbgU1Gsmh3w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gN2AFTgUuwOEdDvFnFcQ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PuxGS7FUOHHRW1ABbM_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DM.bQHw0yw4ecjd34vzw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YOQm51OEit0Nq.l7CKQ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Vl63LZJUiMy0GUjoqq9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.mfczH2EOPdHbYoxaCI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Y.1whLs0mqh6FAekjPn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GvStjkQkWJMdLN4TJt3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ATfKjrkyBwFNENJb5.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fECq5ZmUe3NUi7HtBUy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5My91D0C6qG8zKmDBA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jFqF1dTk6VgUOWfkR4u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FBRi02s0y2x_tigc7TC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WhivrtYUS2AzlvPFh0u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8Xam7RkEe2ukDc50nXU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QeAIQruEKAvri4Gaw38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Z8ibBfIEm6DibkEtFTHQ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hO.vKPESkGqXLJR8O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79orlCSqONWeyD4jD77Q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bnsF9j4k6gTg1oXmMwy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IOz2hukeezzokvQo2.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ageqekY0yE2foY3LduQ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wKke0zEKzJzUtg8o9dw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tsVrsYN0qKAUM7ctbEO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NPSuFFl0CruMzI2rslKA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GL4T8bUe68Q24MPf3_A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AQz.QZIk.eNw_iFJ81v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vpjd4l4kaOC2g3B3xOV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n1K7C8UybPV5z_1fF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nhCRC4TwetVk6Pmqrvh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TrMePsvU.R1gzB5iTQIw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cww7k8X0.opKYof7lxu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IL8yviUSaapgErZX6og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8jScy4HkmxMcbk8ebhgA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jQXrvHbk.2_AzHLJqHx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CCd20UoUSO9pkiMbyOWQ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9q3p6i3UKqxTL7JgOjtg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Q9RonEd0al7oo0HtExA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NjOTWlRUe1iRG42PpoeA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Itr6WKJUq3KvPfHg8qb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61vdswQEmcyAFs1foTP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hdn9sS9EGP7wQIzS.jA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YcVjdnI0W5VlOnR3C7Y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0A4wv8a0adMpj5eUUe4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DzXQg8b0KWfKrEOm8MmQ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NuEM2k0.TTJNA0gxEM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Mdy1eR_0uVi6bMzdHJHw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Z4pU9PkU6FhRjz81vdu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_jKQV21ESdZGRZQFIVP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1dWNwiZkiCyKDYKm9ZF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fxIboXLEmNM_qQRpW1x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wXTE5RSzmraPuCq6mIj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07Hpj4I0y19YsdO.jfA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skzH3KYEOG6GeEenzY_A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LP_Kw10EiAwW.i2q1lI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e2_KID8EK7pRf1V_X8J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Scw5y9U0qkDD5P70UCGA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YHU.Oo9k2Hm.5PseFsI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ApASNuQE2vq63eQVkkc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8ouQXO.02fUXE.BulVkw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pys9L6hUiWkl1NM6WtN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cw6fX4_U6jrLzFy5kho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D_dgDrEyDB1MyJ0MeRg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54pnsDESUqvvr.JkBu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h.s12uEuAhzXjxUQPAw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EfnkVIb0q_2d9_ygO6J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_6pfkv.E.jv9oVj7l9TA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BhIXHYiEWKxeAPzzxAm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FTgv6weU2gXcqslcq0Z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XwBi98pEKMlxGnoMFx6w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ynsKaT10W3cef.hdd4J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mEYp9o10yLpZfsRHIB3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F2FqMKUy3PhAPuWk0xw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7I5G5WEUiz3HkyEjumf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et2lowxkyfGX_lF3iCM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5d.xMLESEW140OyfHK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MCW.6VKUC4uUDJ5dSo9A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Eeu1t.ikygWBC75BSHG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o54H_tXEacP.lGpSlAH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bhtNJ60SixxnASG4tSg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qCacPIHkODWpUgUB7vgA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KQm_D1.0G4C78Q8Gqn8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MeFfF5YEqohmdJDtixs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TAwCcPoUi03MUO8KXWtQ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DLRL17jUqjcyWmCXTASQ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Eck4YSukq1tImpuIYpMQ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W_Qixhe0Kv1fvX_eWGUw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6pjJrOUOBHL1Bj3XIFA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3CBAz2Jkubfj6VEhvAm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rtKeKL4EqCRUhV.muNn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no10EhakaVhcboSgtuSg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okrsNv0WHcDbsn0tj3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LEaWBVTt.Mjm0vR2ATx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w8P_rN50OK8PAEoZqiZ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fQGyaG5EW9FlbP4a.s5Q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PsEGkc4EGMpwnK0Sxc5w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i3WZEUqE6aSuodHNH_B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OqpzzI0OirYZQwU1Qqg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OtxcveqEm1OI711P89y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1q7ZtfqUKkI3p1MmyXHA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hqMkfaUOmpNAfVdCX0A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U91eas0WZGndblp3WhA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TtT2nM0UClZ4bP64ucE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iDyNhuQlKdTnIVk99X3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5F3Xk.1kS8_vZ5h8PPdA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S.lKYRNUyXKFPGFaP5F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XLqWYDekWWw1MkBZHr9g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jZcGSIeEeH2l6hJgG2d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wBTkg_DUup8HrDyYrktw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jsFhM3LEKf9xvrhD_W8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MObm5i5kWfUiRRanXAhg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7SP.xSBkOoiejxgaAm0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Z5KJ04EyGKOE8HhiXIw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m9Ekr0k6jhdSNEktF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vpmLu6RTCSROtbRfhl6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orOsEfNE6t29auzgcCsg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0mEsBsiUyqbn8Cxo8Zaw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yD_qzvpk6SRMTFs6UrW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HRAErd0EmHp8gvIcKA8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_4hWU0X0SF7vriqR8MH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iyi8wL50.Ar3AvGvBBWA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cP496rzEmONj6aqek9tw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_ueGP2ZkObX80AYfaX7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m0_05L0q4tf0qWxnLFw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l6hG.U9E2ItGTbVJuII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pbNSLqRP24dvss50BAjg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vK5.9R.ESyYJ5ponpb8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4AQgzQOUOrpfB4P5WZuw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TPNUn.cUOLAm5x.St.kg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acovmYakudFpprGIeHew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9MFREROkKQoU1kjhCMIw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EUIz6IZEC_ldfvrGDd4g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lEVHaGDkeRuu64YBKDmQ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bSwE1zj0CP_fgf9B5ntw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6PyeI3IE6S0M2eReOO_g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J6Pp6f1E6H403_CbR.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YQpds0TzW4vl1V2LjeM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82K41_t0KrJE4Svx9Rdw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4ijWU9UEmQ0tm1HnLPow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R5am2tEyq50Ks7Ss4v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yUrN.LUOh3601oERdC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FcqHAF7kut7Y8bJW.HY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5g4QvapkSBkTiDnWGmKg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9KICvMv0eX7Lai35joGw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_u6NRWq0CCz3nlEk0XLw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a90881d60a351007b01921c32b1475f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TtmDxJRSmhjqCcYsY5iw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WPL7vSHKz72ViRlm5o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3jiuC7S_WX8zdD7dPp5A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3kC2y2S8ysPrYz3IDXa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HCvf81SGuxMVBf4_wBUg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9jBfz5TCmfHjt.iUEkN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0hqVkPS8ucpw.qor8V5Q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h.847sT9K_OP0AQGl13w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Sp5eRpQc.C4CrKTzyj9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6jzi9QQYyuBxW4Y2.jN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lnHspORFWEv2SNFFdvI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HrI4zaQOqKCNbIfiXV6A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i6V3L.TOiCYMH.lx9Mog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jjGYvUQFOcVmy.DN4ccQ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nNNpuhS7.QkaQQHLJPog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d1cA4kRa2CDQU2fbrnVw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blw4mYShi9QHKrqsJxDw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qzGfYVRmau0tm_tXzUcg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vIMlHeR4OmV1Re.15xv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XsTLpaRTOktMntd85Wx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KI0yW7TJe4iqra7KjUGw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Fk9799QyOB54BCsTzEI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n6vbeEQy6fgMddZGaVW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61vdswQEmcyAFs1foTPg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GvStjkQkWJMdLN4TJt3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nhCRC4TwetVk6Pmqrvhg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79orlCSqONWeyD4jD77Q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wXTE5RSzmraPuCq6mIjA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SqXSBfRQmQuGfV.6ELrw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wt3COkRhGGvX7Md_MFZ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oUMCQDSNeLXggBEJzyD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utZkMpRoeIQnlqOpJsY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OtxSMRSrKbPGMd4wjZE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OXA.bRQlaGJp.7WNujQ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.PIWcqTpOLVZhwUkOTRA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_dps3XST2G95TKx2eWSg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2masBXQLSIOlRxwXvYrw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pbsXGmTZSWEJOXf70j0w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l1bi.ZSOq_5VquMDvzA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piOzzBSi2Q5x34UxX8WA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FeqM_ETxa1HAiuCa0gW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8aMKKdTdWAnNQxGiEkpw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vwqdy4Rs6X4nXxIZO1Z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sN7_cdSCOzp0fsu7F2Eg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clje5Q_aD..yqRG.NNw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cNh3pQSHinG5wf82Il6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cYqANpRziLKU1ASzrtYw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O.8LSzRZGovrWXkcEV4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pZOVIQM2jQZAmSvD3h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uGOeCRRwOkC.moqEsIKw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P43KDiS9C0oUbmbUWIpg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.Ago3DT2ieB3bP3R8rO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.0Lb3sQE2YGleDDOF8_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TSvy1jThCmk3rhUWM4s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mO9QjzTly0_mduL2n95A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ZWHY9uS62hHjp1pOOKyw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kjH78QIS.5WuBZKkLmw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.9urIAThifJdqvtBckbQ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Ch_vlLSV264HuvetShNg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3V42dmS26M8lFeArY6sQ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_J_OAxSMqVaI_9SKcItA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OYtTe7Q1OaFSfW4xmzng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iiahstRhye4wKv117QpQ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novw.Sf.B42mDQFw0I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CqbnsWQL6wDdHORTd58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wyxdtZRIajV7Xe0Kn9iw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m4vI3KTR.I.OHpxeuEDg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bSVEnzRZOifZpFYxAd6A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RcgF0_SD2snepFOyZr8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woILyzSEOgmvj4jbWjBQ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lnyS.eS6iFDve0Kg7wfA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v8NxSYQY6IahPzBMh7PA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loWxxT2ObwPG69r6bh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6.0lrhQ9a.ZbuCz7Z3p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tBUprrSd.cm2gZejK5e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FHs7S2TMOqy8E.4vOol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eTaUmXTKy1XwWsHFXuP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l3HgMQS2qiBV3FLWvJP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8c9W0eT4CwUnFA0kVZJw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dguE7gT1asneEHkngRaQ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Sf2XyPRbmGyT4ou4YYR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Jfda5zSUu8H7o60CVkO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RDxxA7Tc.kAnUSeR9mTw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WzqlhTTiivyf3wvPJhw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cm98vdQMKjMGSfLTXG6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CF58CZQLONiPl0MYcHJw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xXgOnpRnqdwIMHJraAz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iWebFVTnyIrff6AXRRH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CEMlJvTJOfqGPpj4slgA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uzKeqiQ26FVZh5rGTW.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aZAteITLKEZKT4ibJWcQ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iCPkKfTyi_5QAnAcVT8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C_AQg7QjaXjLWTfQjmjg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1y6yoR.aXMubpiIqffA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HahJLhQSuTNnZKzEByJA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hIYK3bTjiCr4x78gI65Q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MsfveQTCSVQFd_2L.Lw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jH17qUTvetaWtudH1ZNQ"/>
</p:tagLst>
</file>

<file path=ppt/theme/theme1.xml><?xml version="1.0" encoding="utf-8"?>
<a:theme xmlns:a="http://schemas.openxmlformats.org/drawingml/2006/main" name="ETC_CF_AM5425">
  <a:themeElements>
    <a:clrScheme name="Current">
      <a:dk1>
        <a:srgbClr val="595959"/>
      </a:dk1>
      <a:lt1>
        <a:srgbClr val="FFFFFF"/>
      </a:lt1>
      <a:dk2>
        <a:srgbClr val="004876"/>
      </a:dk2>
      <a:lt2>
        <a:srgbClr val="FFFFFF"/>
      </a:lt2>
      <a:accent1>
        <a:srgbClr val="D9F0FA"/>
      </a:accent1>
      <a:accent2>
        <a:srgbClr val="40B4E5"/>
      </a:accent2>
      <a:accent3>
        <a:srgbClr val="00B09A"/>
      </a:accent3>
      <a:accent4>
        <a:srgbClr val="007CBA"/>
      </a:accent4>
      <a:accent5>
        <a:srgbClr val="004876"/>
      </a:accent5>
      <a:accent6>
        <a:srgbClr val="4D4D4D"/>
      </a:accent6>
      <a:hlink>
        <a:srgbClr val="00B09A"/>
      </a:hlink>
      <a:folHlink>
        <a:srgbClr val="007CBA"/>
      </a:folHlink>
    </a:clrScheme>
    <a:fontScheme name="Custom 343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004876"/>
        </a:dk2>
        <a:lt2>
          <a:srgbClr val="FFFFFF"/>
        </a:lt2>
        <a:accent1>
          <a:srgbClr val="D9F0FA"/>
        </a:accent1>
        <a:accent2>
          <a:srgbClr val="40B4E5"/>
        </a:accent2>
        <a:accent3>
          <a:srgbClr val="00B09A"/>
        </a:accent3>
        <a:accent4>
          <a:srgbClr val="007CBA"/>
        </a:accent4>
        <a:accent5>
          <a:srgbClr val="004876"/>
        </a:accent5>
        <a:accent6>
          <a:srgbClr val="4D4D4D"/>
        </a:accent6>
        <a:hlink>
          <a:srgbClr val="00B09A"/>
        </a:hlink>
        <a:folHlink>
          <a:srgbClr val="007CB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MS-AM5425_20150915-Rapport-slides-16x9.potx" id="{A724B7FA-9A1C-4D24-84A6-D655726D2910}" vid="{AECCD332-08E4-4C10-9351-B36D25D0DE52}"/>
    </a:ext>
  </a:extLst>
</a:theme>
</file>

<file path=ppt/theme/theme2.xml><?xml version="1.0" encoding="utf-8"?>
<a:theme xmlns:a="http://schemas.openxmlformats.org/drawingml/2006/main" name="1_ETC_CF_AM5425">
  <a:themeElements>
    <a:clrScheme name="Current">
      <a:dk1>
        <a:srgbClr val="595959"/>
      </a:dk1>
      <a:lt1>
        <a:srgbClr val="FFFFFF"/>
      </a:lt1>
      <a:dk2>
        <a:srgbClr val="004876"/>
      </a:dk2>
      <a:lt2>
        <a:srgbClr val="FFFFFF"/>
      </a:lt2>
      <a:accent1>
        <a:srgbClr val="D9F0FA"/>
      </a:accent1>
      <a:accent2>
        <a:srgbClr val="40B4E5"/>
      </a:accent2>
      <a:accent3>
        <a:srgbClr val="00B09A"/>
      </a:accent3>
      <a:accent4>
        <a:srgbClr val="007CBA"/>
      </a:accent4>
      <a:accent5>
        <a:srgbClr val="004876"/>
      </a:accent5>
      <a:accent6>
        <a:srgbClr val="4D4D4D"/>
      </a:accent6>
      <a:hlink>
        <a:srgbClr val="00B09A"/>
      </a:hlink>
      <a:folHlink>
        <a:srgbClr val="007CBA"/>
      </a:folHlink>
    </a:clrScheme>
    <a:fontScheme name="Custom 343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004876"/>
        </a:dk2>
        <a:lt2>
          <a:srgbClr val="FFFFFF"/>
        </a:lt2>
        <a:accent1>
          <a:srgbClr val="D9F0FA"/>
        </a:accent1>
        <a:accent2>
          <a:srgbClr val="40B4E5"/>
        </a:accent2>
        <a:accent3>
          <a:srgbClr val="00B09A"/>
        </a:accent3>
        <a:accent4>
          <a:srgbClr val="007CBA"/>
        </a:accent4>
        <a:accent5>
          <a:srgbClr val="004876"/>
        </a:accent5>
        <a:accent6>
          <a:srgbClr val="4D4D4D"/>
        </a:accent6>
        <a:hlink>
          <a:srgbClr val="00B09A"/>
        </a:hlink>
        <a:folHlink>
          <a:srgbClr val="007CB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MS-AM5425_20150915-Rapport-slides-16x9.potx" id="{A724B7FA-9A1C-4D24-84A6-D655726D2910}" vid="{AECCD332-08E4-4C10-9351-B36D25D0DE5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aa96ceb-2ceb-4b4d-897e-b6661887608b" xsi:nil="true"/>
    <lcf76f155ced4ddcb4097134ff3c332f xmlns="f689e3f1-3f94-4d67-a0ad-10c84a7ba916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25264799389F4083CAFC10E22C2C0D" ma:contentTypeVersion="14" ma:contentTypeDescription="Create a new document." ma:contentTypeScope="" ma:versionID="40d30b3d1612194e9fcc94a6aff5b4ad">
  <xsd:schema xmlns:xsd="http://www.w3.org/2001/XMLSchema" xmlns:xs="http://www.w3.org/2001/XMLSchema" xmlns:p="http://schemas.microsoft.com/office/2006/metadata/properties" xmlns:ns2="f689e3f1-3f94-4d67-a0ad-10c84a7ba916" xmlns:ns3="4aa96ceb-2ceb-4b4d-897e-b6661887608b" targetNamespace="http://schemas.microsoft.com/office/2006/metadata/properties" ma:root="true" ma:fieldsID="3ad4eae923b06d32bbeb07a55790fc52" ns2:_="" ns3:_="">
    <xsd:import namespace="f689e3f1-3f94-4d67-a0ad-10c84a7ba916"/>
    <xsd:import namespace="4aa96ceb-2ceb-4b4d-897e-b666188760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89e3f1-3f94-4d67-a0ad-10c84a7ba9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fd27762-0251-4a48-b483-e1f79c0a654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a96ceb-2ceb-4b4d-897e-b6661887608b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79773a2a-dfc1-433d-8b55-95311d7e2fde}" ma:internalName="TaxCatchAll" ma:showField="CatchAllData" ma:web="4aa96ceb-2ceb-4b4d-897e-b666188760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81BF7C7-822B-4FB8-BFB3-449A596377AE}">
  <ds:schemaRefs>
    <ds:schemaRef ds:uri="http://purl.org/dc/terms/"/>
    <ds:schemaRef ds:uri="f6f44a7d-d6f5-4042-8792-19cb5f90fb06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09a707c-2025-4805-aeac-d3203eded9f2"/>
    <ds:schemaRef ds:uri="http://schemas.microsoft.com/sharepoint/v3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3356E9B-552A-436A-9AFE-AAD5472ACD2B}"/>
</file>

<file path=customXml/itemProps3.xml><?xml version="1.0" encoding="utf-8"?>
<ds:datastoreItem xmlns:ds="http://schemas.openxmlformats.org/officeDocument/2006/customXml" ds:itemID="{DFA1FCE3-C4C8-4D01-841B-5D8A4099DD3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8</TotalTime>
  <Words>6974</Words>
  <Application>Microsoft Office PowerPoint</Application>
  <PresentationFormat>Widescreen</PresentationFormat>
  <Paragraphs>1861</Paragraphs>
  <Slides>71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1</vt:i4>
      </vt:variant>
    </vt:vector>
  </HeadingPairs>
  <TitlesOfParts>
    <vt:vector size="81" baseType="lpstr">
      <vt:lpstr>Arial</vt:lpstr>
      <vt:lpstr>Calibri</vt:lpstr>
      <vt:lpstr>Century Gothic</vt:lpstr>
      <vt:lpstr>Georgia</vt:lpstr>
      <vt:lpstr>inherit</vt:lpstr>
      <vt:lpstr>Segoe UI</vt:lpstr>
      <vt:lpstr>Verdana</vt:lpstr>
      <vt:lpstr>ETC_CF_AM5425</vt:lpstr>
      <vt:lpstr>1_ETC_CF_AM5425</vt:lpstr>
      <vt:lpstr>think-cell Slide</vt:lpstr>
      <vt:lpstr>PowerPoint Presentation</vt:lpstr>
      <vt:lpstr>Whether electricity-based decarbonization is cheaper than a carbon capture route will be strongly driven by the electricity price</vt:lpstr>
      <vt:lpstr>Demand management can cut emissions from the harder-to-abate sectors in transport by 20% by 2050</vt:lpstr>
      <vt:lpstr>Electric drive trains will dominate in heavy-road transport and short-haul shipping and aviation</vt:lpstr>
      <vt:lpstr>Costs of supply-side decarbonization vary greatly by sectors  </vt:lpstr>
      <vt:lpstr>Decarbonizing harder-to-abate sectors would cost significantly less if pursuing energy efficiency improvement and demand management opportunities</vt:lpstr>
      <vt:lpstr>Decarbonization of the harder-to-abate sectors would have a significant impact on the price of intermediate products</vt:lpstr>
      <vt:lpstr>PowerPoint Presentation</vt:lpstr>
      <vt:lpstr>Electricity from renewables and nuclear could account for ~60% of primary energy demand </vt:lpstr>
      <vt:lpstr>PowerPoint Presentation</vt:lpstr>
      <vt:lpstr>PowerPoint Presentation</vt:lpstr>
      <vt:lpstr>With no action, emissions from harder-to-abate sectors could increase by 50% by mid-century </vt:lpstr>
      <vt:lpstr>Cement annual global production is expected to increase by 12% by mid-century</vt:lpstr>
      <vt:lpstr>Steel annual global production is expected to increase by 30% by mid-century</vt:lpstr>
      <vt:lpstr>Plastics annual global production could increase by up to 150% by mid-century</vt:lpstr>
      <vt:lpstr>PowerPoint Presentation</vt:lpstr>
      <vt:lpstr>Demand-side decarbonization is feasible at a lower cost than supply-side decarbonization</vt:lpstr>
      <vt:lpstr>In each industry sector, there is a trade-off between three major decarbonization routes: electrification (direct or indirect), carbon capture or use of biomass</vt:lpstr>
      <vt:lpstr>The electricity-based decarbonization route can be cheaper than the carbon capture route depending on industry and on local electricity prices</vt:lpstr>
      <vt:lpstr>The decarbonization cost per tonne of CO2 will vary depending on industry and on local electricity prices </vt:lpstr>
      <vt:lpstr>Electricity is the major energy source used in aluminum production</vt:lpstr>
      <vt:lpstr>PowerPoint Presentation</vt:lpstr>
      <vt:lpstr>PowerPoint Presentation</vt:lpstr>
      <vt:lpstr>Heavy-duty transport demand is expected to increase significantly in the next 30 years</vt:lpstr>
      <vt:lpstr>The growth in heavy-duty transport emissions is concentrated in Asia</vt:lpstr>
      <vt:lpstr>Demand management can cut emissions from the harder-to-abate sectors in  transport by 20% by 2050</vt:lpstr>
      <vt:lpstr>Electric drivetrains will dominate in heavy-road transport and short-haul shipping and aviation</vt:lpstr>
      <vt:lpstr>Battery prices have decreased annually by 20% in the last decade and are expected to reach US$100/kWh by 2025</vt:lpstr>
      <vt:lpstr>PowerPoint Presentation</vt:lpstr>
      <vt:lpstr>The electricity-based decarbonization route (direct or indirect) can be cheaper than the biofuels route depending on transport mode and on electricity prices</vt:lpstr>
      <vt:lpstr>The decarbonization cost per tonne of CO2 will vary across heavy-duty transport sectors and will also depend on local electricity prices </vt:lpstr>
      <vt:lpstr>Costs of supply-side decarbonization vary greatly by sectors  </vt:lpstr>
      <vt:lpstr>Demand-side decarbonization is feasible at a lower cost than supply-side decarbonization</vt:lpstr>
      <vt:lpstr>Decarbonizing harder-to-abate sectors using supply-side decarbonization technologies only would cost less than 1% of global GDP by 2050</vt:lpstr>
      <vt:lpstr>Decarbonizing the harder-to-abate sectors would cost significantly less if pursuing energy efficiency improvement and demand management opportunities</vt:lpstr>
      <vt:lpstr>Decarbonization of the harder-to-abate sectors would have a significant impact on the price of intermediate products</vt:lpstr>
      <vt:lpstr>Decarbonization of the harder-to-abate sectors would have a very small impact on prices for end consumers</vt:lpstr>
      <vt:lpstr>PowerPoint Presentation</vt:lpstr>
      <vt:lpstr>PowerPoint Presentation</vt:lpstr>
      <vt:lpstr>CO2 emissions from plastics could be reduced by almost 60% in a circular 2050 scenario</vt:lpstr>
      <vt:lpstr>Many forms of plastics mechanical recycling should be economic without a carbon price and could even deliver CO2 reductions at negative abatement costs </vt:lpstr>
      <vt:lpstr>PowerPoint Presentation</vt:lpstr>
      <vt:lpstr>Global emissions from cement production could be reduced by circa 35% by 2050 in a circular scenario with some recycling and significant materials efficiency improvement in buildings</vt:lpstr>
      <vt:lpstr>ETC illustrative pathway –  Final energy mix in a zero-carbon economy</vt:lpstr>
      <vt:lpstr>ETC illustrative pathway –  Primary energy mix in a zero-carbon economy</vt:lpstr>
      <vt:lpstr>Gross electricity generation will need to reach 86,000 to 115,000 TWh/year by 2050 in a zero-carbon economy</vt:lpstr>
      <vt:lpstr>Clean electricity can play a major role to decarbonize all sectors of the economy, both through direct electrification and through electricity-based fuels</vt:lpstr>
      <vt:lpstr>In a zero-carbon economy, final electricity consumption could reach up to 115,000 TWh</vt:lpstr>
      <vt:lpstr>PowerPoint Presentation</vt:lpstr>
      <vt:lpstr>Producing hydrogen from electrolysis may already be cost-competitive with the traditional SMR route in locations with low renewable electricity costs</vt:lpstr>
      <vt:lpstr>Availability of wind and solar resources differ significantly by region</vt:lpstr>
      <vt:lpstr>The role of biomass across multiple sectors will vary depending on the availability of alternative decarbonization options</vt:lpstr>
      <vt:lpstr>Availability of biomass differs per region</vt:lpstr>
      <vt:lpstr>In a zero-carbon economy, bioenergy needs could reach up to 123EJ</vt:lpstr>
      <vt:lpstr>Up to 8Gt of CO2 capture per annum may be required in 2050 </vt:lpstr>
      <vt:lpstr>Availability of CO2 underground storage resources is still uncertain in some regions, but appears to differ significantly across the globe</vt:lpstr>
      <vt:lpstr>In a zero-carbon economy, hydrogen consumption could be multiplied by more than 10</vt:lpstr>
      <vt:lpstr>Global solar and wind power generation needs to grow exponentially in order to meet the expected power demand of a decarbonized economy</vt:lpstr>
      <vt:lpstr>Given varying historic deployment rates and future demand growth, there will be important regional differences in how much of power demand can be met by variable renewables</vt:lpstr>
      <vt:lpstr>Electrification – direct or through the use of electricity-based fuels – only reduces carbon emissions if the carbon intensity of electricity is below a certain threshold</vt:lpstr>
      <vt:lpstr>The use of fossil fuels will drastically decrease in a decarbonized economy, while zero-carbon electricity will become the predominant form of energy</vt:lpstr>
      <vt:lpstr>Incremental innovation is needed to ensure the deployment of key technologies at scale</vt:lpstr>
      <vt:lpstr>Breakthrough innovation could considerably facilitate and accelerate full decarbonization</vt:lpstr>
      <vt:lpstr>Innovation in next generation batteries is focused on energy capacity and safety</vt:lpstr>
      <vt:lpstr>Carbon pricing initiatives already exist in many countries, but they do not always cover all harder-to-abate sectors and their price levels are too low to drive change in those sectors</vt:lpstr>
      <vt:lpstr>Demand-side decarbonization is feasible at a lower cost than supply-side decarbonization</vt:lpstr>
      <vt:lpstr>The potential for energy efficiency improvement is greater in heavy-duty transport than in heavy industry, due to split incentives across the value chain</vt:lpstr>
      <vt:lpstr>The potential for energy efficiency improvement in heavy-duty transport varies between 30-55%</vt:lpstr>
      <vt:lpstr>The potential for energy efficiency improvement in heavy industry varies between 10-20%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ugce Balik</dc:creator>
  <cp:lastModifiedBy>Faustine Delasalle</cp:lastModifiedBy>
  <cp:revision>50</cp:revision>
  <dcterms:created xsi:type="dcterms:W3CDTF">2018-11-08T12:09:27Z</dcterms:created>
  <dcterms:modified xsi:type="dcterms:W3CDTF">2019-11-18T12:3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25264799389F4083CAFC10E22C2C0D</vt:lpwstr>
  </property>
  <property fmtid="{D5CDD505-2E9C-101B-9397-08002B2CF9AE}" pid="3" name="Order">
    <vt:r8>3400</vt:r8>
  </property>
</Properties>
</file>